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3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4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5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6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7.xml" ContentType="application/vnd.openxmlformats-officedocument.theme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tags/tag4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drawings/drawing3.xml" ContentType="application/vnd.openxmlformats-officedocument.drawingml.chartshapes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notesSlides/notesSlide9.xml" ContentType="application/vnd.openxmlformats-officedocument.presentationml.notesSlide+xml"/>
  <Override PartName="/ppt/charts/chart5.xml" ContentType="application/vnd.openxmlformats-officedocument.drawingml.chart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45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4" r:id="rId2"/>
    <p:sldMasterId id="2147483740" r:id="rId3"/>
    <p:sldMasterId id="2147484290" r:id="rId4"/>
    <p:sldMasterId id="2147484569" r:id="rId5"/>
    <p:sldMasterId id="2147484684" r:id="rId6"/>
    <p:sldMasterId id="2147484810" r:id="rId7"/>
    <p:sldMasterId id="2147484852" r:id="rId8"/>
  </p:sldMasterIdLst>
  <p:notesMasterIdLst>
    <p:notesMasterId r:id="rId24"/>
  </p:notesMasterIdLst>
  <p:handoutMasterIdLst>
    <p:handoutMasterId r:id="rId25"/>
  </p:handoutMasterIdLst>
  <p:sldIdLst>
    <p:sldId id="748" r:id="rId9"/>
    <p:sldId id="1107" r:id="rId10"/>
    <p:sldId id="1037" r:id="rId11"/>
    <p:sldId id="1088" r:id="rId12"/>
    <p:sldId id="1135" r:id="rId13"/>
    <p:sldId id="1138" r:id="rId14"/>
    <p:sldId id="1139" r:id="rId15"/>
    <p:sldId id="1136" r:id="rId16"/>
    <p:sldId id="1137" r:id="rId17"/>
    <p:sldId id="1132" r:id="rId18"/>
    <p:sldId id="1133" r:id="rId19"/>
    <p:sldId id="1134" r:id="rId20"/>
    <p:sldId id="1121" r:id="rId21"/>
    <p:sldId id="1094" r:id="rId22"/>
    <p:sldId id="623" r:id="rId23"/>
  </p:sldIdLst>
  <p:sldSz cx="9144000" cy="5715000" type="screen16x10"/>
  <p:notesSz cx="6797675" cy="9926638"/>
  <p:custDataLst>
    <p:tags r:id="rId2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u32437" initials="im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B949D"/>
    <a:srgbClr val="A3A4A9"/>
    <a:srgbClr val="E84E0F"/>
    <a:srgbClr val="E4E4E4"/>
    <a:srgbClr val="EAEAEA"/>
    <a:srgbClr val="DDDDDD"/>
    <a:srgbClr val="DCDCDC"/>
    <a:srgbClr val="DCDDDE"/>
    <a:srgbClr val="DCDDDC"/>
    <a:srgbClr val="D3D5CD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346" autoAdjust="0"/>
    <p:restoredTop sz="78330" autoAdjust="0"/>
  </p:normalViewPr>
  <p:slideViewPr>
    <p:cSldViewPr snapToGrid="0" snapToObjects="1" showGuides="1">
      <p:cViewPr varScale="1">
        <p:scale>
          <a:sx n="62" d="100"/>
          <a:sy n="62" d="100"/>
        </p:scale>
        <p:origin x="-1050" y="-78"/>
      </p:cViewPr>
      <p:guideLst>
        <p:guide orient="horz" pos="2623"/>
        <p:guide orient="horz" pos="1229"/>
        <p:guide pos="266"/>
        <p:guide pos="4890"/>
      </p:guideLst>
    </p:cSldViewPr>
  </p:slideViewPr>
  <p:outlineViewPr>
    <p:cViewPr>
      <p:scale>
        <a:sx n="33" d="100"/>
        <a:sy n="33" d="100"/>
      </p:scale>
      <p:origin x="0" y="133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51" d="100"/>
          <a:sy n="51" d="100"/>
        </p:scale>
        <p:origin x="-2700" y="-108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presProps" Target="pres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\\no.ema.ad.pwcinternal.com\fiL\Bas\5.%20Klienter\Statkraft%20-%20ny%20strukturmal\Aktive%20prosjekter\Akt&#248;ranalyse%202013\1.%20Leveranser\Statkraft,%20Company%20analysis%2020130808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../embeddings/oleObject3.bin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1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u21348.ENERGYCORP\AppData\Local\Microsoft\Windows\Temporary%20Internet%20Files\Content.Outlook\ZRG5H5EO\Installierte%20Leistung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100936447559209"/>
          <c:y val="1.8959206812308966E-2"/>
          <c:w val="0.83074225041513761"/>
          <c:h val="0.7806226260056947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A6D3"/>
            </a:solidFill>
          </c:spPr>
          <c:invertIfNegative val="0"/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7"/>
            <c:invertIfNegative val="0"/>
            <c:bubble3D val="0"/>
          </c:dPt>
          <c:dPt>
            <c:idx val="8"/>
            <c:invertIfNegative val="0"/>
            <c:bubble3D val="0"/>
          </c:dPt>
          <c:dPt>
            <c:idx val="9"/>
            <c:invertIfNegative val="0"/>
            <c:bubble3D val="0"/>
          </c:dPt>
          <c:cat>
            <c:strRef>
              <c:f>'Top lists, renewables'!$C$4:$L$4</c:f>
              <c:strCache>
                <c:ptCount val="10"/>
                <c:pt idx="0">
                  <c:v>Statkraft</c:v>
                </c:pt>
                <c:pt idx="1">
                  <c:v>EDF</c:v>
                </c:pt>
                <c:pt idx="2">
                  <c:v>Vattenfall</c:v>
                </c:pt>
                <c:pt idx="3">
                  <c:v>Enel</c:v>
                </c:pt>
                <c:pt idx="4">
                  <c:v>Fortum</c:v>
                </c:pt>
                <c:pt idx="5">
                  <c:v>Verbund</c:v>
                </c:pt>
                <c:pt idx="6">
                  <c:v>Iberdrola</c:v>
                </c:pt>
                <c:pt idx="7">
                  <c:v>E.ON</c:v>
                </c:pt>
                <c:pt idx="8">
                  <c:v>GDF SUEZ</c:v>
                </c:pt>
                <c:pt idx="9">
                  <c:v>Hidroelectrica</c:v>
                </c:pt>
              </c:strCache>
            </c:strRef>
          </c:cat>
          <c:val>
            <c:numRef>
              <c:f>'Top lists, renewables'!$C$5:$L$5</c:f>
              <c:numCache>
                <c:formatCode>_(* #,##0.0_);_(* \(#,##0.0\);_(* "-"_);@_)</c:formatCode>
                <c:ptCount val="10"/>
                <c:pt idx="0">
                  <c:v>63.819458999999995</c:v>
                </c:pt>
                <c:pt idx="1">
                  <c:v>49.036337747001959</c:v>
                </c:pt>
                <c:pt idx="2">
                  <c:v>45.500000000000007</c:v>
                </c:pt>
                <c:pt idx="3">
                  <c:v>40.322750211238187</c:v>
                </c:pt>
                <c:pt idx="4">
                  <c:v>29.526426000000001</c:v>
                </c:pt>
                <c:pt idx="5">
                  <c:v>27.923309445979992</c:v>
                </c:pt>
                <c:pt idx="6">
                  <c:v>26.807000000000006</c:v>
                </c:pt>
                <c:pt idx="7">
                  <c:v>20.486333333333317</c:v>
                </c:pt>
                <c:pt idx="8">
                  <c:v>18.719446000000012</c:v>
                </c:pt>
                <c:pt idx="9">
                  <c:v>17.45999999999999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7691520"/>
        <c:axId val="84138624"/>
      </c:barChart>
      <c:catAx>
        <c:axId val="77691520"/>
        <c:scaling>
          <c:orientation val="minMax"/>
        </c:scaling>
        <c:delete val="0"/>
        <c:axPos val="b"/>
        <c:numFmt formatCode="_(* #,##0_);_(* \(#,##0\);_(* &quot;-&quot;_);@_)" sourceLinked="1"/>
        <c:majorTickMark val="out"/>
        <c:minorTickMark val="none"/>
        <c:tickLblPos val="nextTo"/>
        <c:crossAx val="84138624"/>
        <c:crosses val="autoZero"/>
        <c:auto val="1"/>
        <c:lblAlgn val="ctr"/>
        <c:lblOffset val="100"/>
        <c:noMultiLvlLbl val="0"/>
      </c:catAx>
      <c:valAx>
        <c:axId val="84138624"/>
        <c:scaling>
          <c:orientation val="minMax"/>
        </c:scaling>
        <c:delete val="0"/>
        <c:axPos val="l"/>
        <c:title>
          <c:tx>
            <c:rich>
              <a:bodyPr/>
              <a:lstStyle/>
              <a:p>
                <a:pPr>
                  <a:defRPr sz="800">
                    <a:latin typeface="Arial" pitchFamily="34" charset="0"/>
                    <a:cs typeface="Arial" pitchFamily="34" charset="0"/>
                  </a:defRPr>
                </a:pPr>
                <a:r>
                  <a:rPr lang="nb-NO" sz="800">
                    <a:latin typeface="Arial" pitchFamily="34" charset="0"/>
                    <a:cs typeface="Arial" pitchFamily="34" charset="0"/>
                  </a:rPr>
                  <a:t>Renewable</a:t>
                </a:r>
                <a:r>
                  <a:rPr lang="nb-NO" sz="800" baseline="0">
                    <a:latin typeface="Arial" pitchFamily="34" charset="0"/>
                    <a:cs typeface="Arial" pitchFamily="34" charset="0"/>
                  </a:rPr>
                  <a:t> e</a:t>
                </a:r>
                <a:r>
                  <a:rPr lang="nb-NO" sz="800">
                    <a:latin typeface="Arial" pitchFamily="34" charset="0"/>
                    <a:cs typeface="Arial" pitchFamily="34" charset="0"/>
                  </a:rPr>
                  <a:t>lectricity production (TWh)</a:t>
                </a:r>
              </a:p>
            </c:rich>
          </c:tx>
          <c:layout/>
          <c:overlay val="0"/>
        </c:title>
        <c:numFmt formatCode="_(* #,##0_);_(* \(#,##0\);_(* &quot;-&quot;_);_(@" sourceLinked="0"/>
        <c:majorTickMark val="none"/>
        <c:minorTickMark val="none"/>
        <c:tickLblPos val="nextTo"/>
        <c:spPr>
          <a:noFill/>
          <a:ln>
            <a:noFill/>
          </a:ln>
        </c:spPr>
        <c:crossAx val="7769152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800"/>
      </a:pPr>
      <a:endParaRPr lang="en-US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Top lists, totals'!$B$19</c:f>
              <c:strCache>
                <c:ptCount val="1"/>
                <c:pt idx="0">
                  <c:v>Hydro</c:v>
                </c:pt>
              </c:strCache>
            </c:strRef>
          </c:tx>
          <c:spPr>
            <a:solidFill>
              <a:srgbClr val="00A6D3"/>
            </a:solidFill>
          </c:spPr>
          <c:invertIfNegative val="0"/>
          <c:cat>
            <c:strRef>
              <c:f>'Top lists, totals'!$C$18:$L$18</c:f>
              <c:strCache>
                <c:ptCount val="10"/>
                <c:pt idx="0">
                  <c:v>EDF</c:v>
                </c:pt>
                <c:pt idx="1">
                  <c:v>RWE</c:v>
                </c:pt>
                <c:pt idx="2">
                  <c:v>E.ON</c:v>
                </c:pt>
                <c:pt idx="3">
                  <c:v>Enel</c:v>
                </c:pt>
                <c:pt idx="4">
                  <c:v>Vattenfall</c:v>
                </c:pt>
                <c:pt idx="5">
                  <c:v>GDF SUEZ</c:v>
                </c:pt>
                <c:pt idx="6">
                  <c:v>Iberdrola</c:v>
                </c:pt>
                <c:pt idx="7">
                  <c:v>Fortum</c:v>
                </c:pt>
                <c:pt idx="8">
                  <c:v>CEZ</c:v>
                </c:pt>
                <c:pt idx="9">
                  <c:v>Statkraft</c:v>
                </c:pt>
              </c:strCache>
            </c:strRef>
          </c:cat>
          <c:val>
            <c:numRef>
              <c:f>'Top lists, totals'!$C$19:$L$19</c:f>
              <c:numCache>
                <c:formatCode>_(* #,##0.0_);_(* \(#,##0.0\);_(* "-"_);@_)</c:formatCode>
                <c:ptCount val="10"/>
                <c:pt idx="0">
                  <c:v>40.920099999999998</c:v>
                </c:pt>
                <c:pt idx="1">
                  <c:v>3.6</c:v>
                </c:pt>
                <c:pt idx="2">
                  <c:v>17.2</c:v>
                </c:pt>
                <c:pt idx="3">
                  <c:v>27.775472015749472</c:v>
                </c:pt>
                <c:pt idx="4">
                  <c:v>39.400000000000006</c:v>
                </c:pt>
                <c:pt idx="5">
                  <c:v>11.539940000000005</c:v>
                </c:pt>
                <c:pt idx="6">
                  <c:v>9.7289999999999992</c:v>
                </c:pt>
                <c:pt idx="7">
                  <c:v>29.526426000000004</c:v>
                </c:pt>
                <c:pt idx="8">
                  <c:v>2.1019999999999999</c:v>
                </c:pt>
                <c:pt idx="9">
                  <c:v>63.919458999999996</c:v>
                </c:pt>
              </c:numCache>
            </c:numRef>
          </c:val>
        </c:ser>
        <c:ser>
          <c:idx val="1"/>
          <c:order val="1"/>
          <c:tx>
            <c:strRef>
              <c:f>'Top lists, totals'!$B$20</c:f>
              <c:strCache>
                <c:ptCount val="1"/>
                <c:pt idx="0">
                  <c:v>Wind</c:v>
                </c:pt>
              </c:strCache>
            </c:strRef>
          </c:tx>
          <c:spPr>
            <a:solidFill>
              <a:srgbClr val="00A6D3"/>
            </a:solidFill>
          </c:spPr>
          <c:invertIfNegative val="0"/>
          <c:cat>
            <c:strRef>
              <c:f>'Top lists, totals'!$C$18:$L$18</c:f>
              <c:strCache>
                <c:ptCount val="10"/>
                <c:pt idx="0">
                  <c:v>EDF</c:v>
                </c:pt>
                <c:pt idx="1">
                  <c:v>RWE</c:v>
                </c:pt>
                <c:pt idx="2">
                  <c:v>E.ON</c:v>
                </c:pt>
                <c:pt idx="3">
                  <c:v>Enel</c:v>
                </c:pt>
                <c:pt idx="4">
                  <c:v>Vattenfall</c:v>
                </c:pt>
                <c:pt idx="5">
                  <c:v>GDF SUEZ</c:v>
                </c:pt>
                <c:pt idx="6">
                  <c:v>Iberdrola</c:v>
                </c:pt>
                <c:pt idx="7">
                  <c:v>Fortum</c:v>
                </c:pt>
                <c:pt idx="8">
                  <c:v>CEZ</c:v>
                </c:pt>
                <c:pt idx="9">
                  <c:v>Statkraft</c:v>
                </c:pt>
              </c:strCache>
            </c:strRef>
          </c:cat>
          <c:val>
            <c:numRef>
              <c:f>'Top lists, totals'!$C$20:$L$20</c:f>
              <c:numCache>
                <c:formatCode>_(* #,##0.0_);_(* \(#,##0.0\);_(* "-"_);@_)</c:formatCode>
                <c:ptCount val="10"/>
                <c:pt idx="0">
                  <c:v>4.0836119267607405</c:v>
                </c:pt>
                <c:pt idx="1">
                  <c:v>4.8</c:v>
                </c:pt>
                <c:pt idx="2">
                  <c:v>2.886333333333333</c:v>
                </c:pt>
                <c:pt idx="3">
                  <c:v>6.2472781954887218</c:v>
                </c:pt>
                <c:pt idx="4">
                  <c:v>3.6</c:v>
                </c:pt>
                <c:pt idx="5">
                  <c:v>5.0814230000000009</c:v>
                </c:pt>
                <c:pt idx="6">
                  <c:v>17.726999999999997</c:v>
                </c:pt>
                <c:pt idx="7">
                  <c:v>0</c:v>
                </c:pt>
                <c:pt idx="8">
                  <c:v>0.97499999999999998</c:v>
                </c:pt>
                <c:pt idx="9">
                  <c:v>0.8</c:v>
                </c:pt>
              </c:numCache>
            </c:numRef>
          </c:val>
        </c:ser>
        <c:ser>
          <c:idx val="2"/>
          <c:order val="2"/>
          <c:tx>
            <c:strRef>
              <c:f>'Top lists, totals'!$B$21</c:f>
              <c:strCache>
                <c:ptCount val="1"/>
                <c:pt idx="0">
                  <c:v>Biomass</c:v>
                </c:pt>
              </c:strCache>
            </c:strRef>
          </c:tx>
          <c:spPr>
            <a:solidFill>
              <a:srgbClr val="00A6D3"/>
            </a:solidFill>
          </c:spPr>
          <c:invertIfNegative val="0"/>
          <c:cat>
            <c:strRef>
              <c:f>'Top lists, totals'!$C$18:$L$18</c:f>
              <c:strCache>
                <c:ptCount val="10"/>
                <c:pt idx="0">
                  <c:v>EDF</c:v>
                </c:pt>
                <c:pt idx="1">
                  <c:v>RWE</c:v>
                </c:pt>
                <c:pt idx="2">
                  <c:v>E.ON</c:v>
                </c:pt>
                <c:pt idx="3">
                  <c:v>Enel</c:v>
                </c:pt>
                <c:pt idx="4">
                  <c:v>Vattenfall</c:v>
                </c:pt>
                <c:pt idx="5">
                  <c:v>GDF SUEZ</c:v>
                </c:pt>
                <c:pt idx="6">
                  <c:v>Iberdrola</c:v>
                </c:pt>
                <c:pt idx="7">
                  <c:v>Fortum</c:v>
                </c:pt>
                <c:pt idx="8">
                  <c:v>CEZ</c:v>
                </c:pt>
                <c:pt idx="9">
                  <c:v>Statkraft</c:v>
                </c:pt>
              </c:strCache>
            </c:strRef>
          </c:cat>
          <c:val>
            <c:numRef>
              <c:f>'Top lists, totals'!$C$21:$L$21</c:f>
              <c:numCache>
                <c:formatCode>_(* #,##0.0_);_(* \(#,##0.0\);_(* "-"_);@_)</c:formatCode>
                <c:ptCount val="10"/>
                <c:pt idx="0">
                  <c:v>0</c:v>
                </c:pt>
                <c:pt idx="1">
                  <c:v>4</c:v>
                </c:pt>
                <c:pt idx="2">
                  <c:v>0</c:v>
                </c:pt>
                <c:pt idx="3">
                  <c:v>0</c:v>
                </c:pt>
                <c:pt idx="4">
                  <c:v>2.5</c:v>
                </c:pt>
                <c:pt idx="5">
                  <c:v>2.1066000000000003</c:v>
                </c:pt>
                <c:pt idx="6">
                  <c:v>0</c:v>
                </c:pt>
                <c:pt idx="7">
                  <c:v>0</c:v>
                </c:pt>
                <c:pt idx="8">
                  <c:v>0.93100000000000005</c:v>
                </c:pt>
                <c:pt idx="9">
                  <c:v>0.1</c:v>
                </c:pt>
              </c:numCache>
            </c:numRef>
          </c:val>
        </c:ser>
        <c:ser>
          <c:idx val="3"/>
          <c:order val="3"/>
          <c:tx>
            <c:strRef>
              <c:f>'Top lists, totals'!$B$22</c:f>
              <c:strCache>
                <c:ptCount val="1"/>
                <c:pt idx="0">
                  <c:v>Other renewables</c:v>
                </c:pt>
              </c:strCache>
            </c:strRef>
          </c:tx>
          <c:spPr>
            <a:solidFill>
              <a:srgbClr val="00A6D3"/>
            </a:solidFill>
          </c:spPr>
          <c:invertIfNegative val="0"/>
          <c:cat>
            <c:strRef>
              <c:f>'Top lists, totals'!$C$18:$L$18</c:f>
              <c:strCache>
                <c:ptCount val="10"/>
                <c:pt idx="0">
                  <c:v>EDF</c:v>
                </c:pt>
                <c:pt idx="1">
                  <c:v>RWE</c:v>
                </c:pt>
                <c:pt idx="2">
                  <c:v>E.ON</c:v>
                </c:pt>
                <c:pt idx="3">
                  <c:v>Enel</c:v>
                </c:pt>
                <c:pt idx="4">
                  <c:v>Vattenfall</c:v>
                </c:pt>
                <c:pt idx="5">
                  <c:v>GDF SUEZ</c:v>
                </c:pt>
                <c:pt idx="6">
                  <c:v>Iberdrola</c:v>
                </c:pt>
                <c:pt idx="7">
                  <c:v>Fortum</c:v>
                </c:pt>
                <c:pt idx="8">
                  <c:v>CEZ</c:v>
                </c:pt>
                <c:pt idx="9">
                  <c:v>Statkraft</c:v>
                </c:pt>
              </c:strCache>
            </c:strRef>
          </c:cat>
          <c:val>
            <c:numRef>
              <c:f>'Top lists, totals'!$C$22:$L$22</c:f>
              <c:numCache>
                <c:formatCode>_(* #,##0.0_);_(* \(#,##0.0\);_(* "-"_);@_)</c:formatCode>
                <c:ptCount val="10"/>
                <c:pt idx="0">
                  <c:v>4.1747693967206168</c:v>
                </c:pt>
                <c:pt idx="1">
                  <c:v>0</c:v>
                </c:pt>
                <c:pt idx="2">
                  <c:v>0.4</c:v>
                </c:pt>
                <c:pt idx="3">
                  <c:v>6.3</c:v>
                </c:pt>
                <c:pt idx="4">
                  <c:v>0</c:v>
                </c:pt>
                <c:pt idx="5">
                  <c:v>-8.5170000000000003E-3</c:v>
                </c:pt>
                <c:pt idx="6">
                  <c:v>-0.64900000000000002</c:v>
                </c:pt>
                <c:pt idx="7">
                  <c:v>0</c:v>
                </c:pt>
                <c:pt idx="8">
                  <c:v>0.14000000000000001</c:v>
                </c:pt>
                <c:pt idx="9">
                  <c:v>0</c:v>
                </c:pt>
              </c:numCache>
            </c:numRef>
          </c:val>
        </c:ser>
        <c:ser>
          <c:idx val="4"/>
          <c:order val="4"/>
          <c:tx>
            <c:strRef>
              <c:f>'Top lists, totals'!$B$23</c:f>
              <c:strCache>
                <c:ptCount val="1"/>
                <c:pt idx="0">
                  <c:v>Gas</c:v>
                </c:pt>
              </c:strCache>
            </c:strRef>
          </c:tx>
          <c:spPr>
            <a:solidFill>
              <a:srgbClr val="CBC7BF"/>
            </a:solidFill>
          </c:spPr>
          <c:invertIfNegative val="0"/>
          <c:cat>
            <c:strRef>
              <c:f>'Top lists, totals'!$C$18:$L$18</c:f>
              <c:strCache>
                <c:ptCount val="10"/>
                <c:pt idx="0">
                  <c:v>EDF</c:v>
                </c:pt>
                <c:pt idx="1">
                  <c:v>RWE</c:v>
                </c:pt>
                <c:pt idx="2">
                  <c:v>E.ON</c:v>
                </c:pt>
                <c:pt idx="3">
                  <c:v>Enel</c:v>
                </c:pt>
                <c:pt idx="4">
                  <c:v>Vattenfall</c:v>
                </c:pt>
                <c:pt idx="5">
                  <c:v>GDF SUEZ</c:v>
                </c:pt>
                <c:pt idx="6">
                  <c:v>Iberdrola</c:v>
                </c:pt>
                <c:pt idx="7">
                  <c:v>Fortum</c:v>
                </c:pt>
                <c:pt idx="8">
                  <c:v>CEZ</c:v>
                </c:pt>
                <c:pt idx="9">
                  <c:v>Statkraft</c:v>
                </c:pt>
              </c:strCache>
            </c:strRef>
          </c:cat>
          <c:val>
            <c:numRef>
              <c:f>'Top lists, totals'!$C$23:$L$23</c:f>
              <c:numCache>
                <c:formatCode>_(* #,##0.0_);_(* \(#,##0.0\);_(* "-"_);@_)</c:formatCode>
                <c:ptCount val="10"/>
                <c:pt idx="0">
                  <c:v>41.573999999999998</c:v>
                </c:pt>
                <c:pt idx="1">
                  <c:v>39.6</c:v>
                </c:pt>
                <c:pt idx="2">
                  <c:v>36</c:v>
                </c:pt>
                <c:pt idx="3">
                  <c:v>8.6169564131729288</c:v>
                </c:pt>
                <c:pt idx="4">
                  <c:v>11.5</c:v>
                </c:pt>
                <c:pt idx="5">
                  <c:v>64.164000000000001</c:v>
                </c:pt>
                <c:pt idx="6">
                  <c:v>7.2590000000000003</c:v>
                </c:pt>
                <c:pt idx="7">
                  <c:v>0</c:v>
                </c:pt>
                <c:pt idx="8">
                  <c:v>0.5084997197452229</c:v>
                </c:pt>
                <c:pt idx="9">
                  <c:v>1.5</c:v>
                </c:pt>
              </c:numCache>
            </c:numRef>
          </c:val>
        </c:ser>
        <c:ser>
          <c:idx val="5"/>
          <c:order val="5"/>
          <c:tx>
            <c:strRef>
              <c:f>'Top lists, totals'!$B$24</c:f>
              <c:strCache>
                <c:ptCount val="1"/>
                <c:pt idx="0">
                  <c:v>Coal</c:v>
                </c:pt>
              </c:strCache>
            </c:strRef>
          </c:tx>
          <c:spPr>
            <a:solidFill>
              <a:srgbClr val="CBC7BF"/>
            </a:solidFill>
          </c:spPr>
          <c:invertIfNegative val="0"/>
          <c:cat>
            <c:strRef>
              <c:f>'Top lists, totals'!$C$18:$L$18</c:f>
              <c:strCache>
                <c:ptCount val="10"/>
                <c:pt idx="0">
                  <c:v>EDF</c:v>
                </c:pt>
                <c:pt idx="1">
                  <c:v>RWE</c:v>
                </c:pt>
                <c:pt idx="2">
                  <c:v>E.ON</c:v>
                </c:pt>
                <c:pt idx="3">
                  <c:v>Enel</c:v>
                </c:pt>
                <c:pt idx="4">
                  <c:v>Vattenfall</c:v>
                </c:pt>
                <c:pt idx="5">
                  <c:v>GDF SUEZ</c:v>
                </c:pt>
                <c:pt idx="6">
                  <c:v>Iberdrola</c:v>
                </c:pt>
                <c:pt idx="7">
                  <c:v>Fortum</c:v>
                </c:pt>
                <c:pt idx="8">
                  <c:v>CEZ</c:v>
                </c:pt>
                <c:pt idx="9">
                  <c:v>Statkraft</c:v>
                </c:pt>
              </c:strCache>
            </c:strRef>
          </c:cat>
          <c:val>
            <c:numRef>
              <c:f>'Top lists, totals'!$C$24:$L$24</c:f>
              <c:numCache>
                <c:formatCode>_(* #,##0.0_);_(* \(#,##0.0\);_(* "-"_);@_)</c:formatCode>
                <c:ptCount val="10"/>
                <c:pt idx="0">
                  <c:v>0</c:v>
                </c:pt>
                <c:pt idx="1">
                  <c:v>141.6</c:v>
                </c:pt>
                <c:pt idx="2">
                  <c:v>73.8</c:v>
                </c:pt>
                <c:pt idx="3">
                  <c:v>59.359652953530535</c:v>
                </c:pt>
                <c:pt idx="4">
                  <c:v>69.5</c:v>
                </c:pt>
                <c:pt idx="5">
                  <c:v>23.686200000000007</c:v>
                </c:pt>
                <c:pt idx="6">
                  <c:v>15.61</c:v>
                </c:pt>
                <c:pt idx="7">
                  <c:v>0.12480000000000012</c:v>
                </c:pt>
                <c:pt idx="8">
                  <c:v>34.319000000000003</c:v>
                </c:pt>
                <c:pt idx="9">
                  <c:v>0</c:v>
                </c:pt>
              </c:numCache>
            </c:numRef>
          </c:val>
        </c:ser>
        <c:ser>
          <c:idx val="6"/>
          <c:order val="6"/>
          <c:tx>
            <c:strRef>
              <c:f>'Top lists, totals'!$B$25</c:f>
              <c:strCache>
                <c:ptCount val="1"/>
                <c:pt idx="0">
                  <c:v>Oil</c:v>
                </c:pt>
              </c:strCache>
            </c:strRef>
          </c:tx>
          <c:spPr>
            <a:solidFill>
              <a:srgbClr val="CBC7BF"/>
            </a:solidFill>
          </c:spPr>
          <c:invertIfNegative val="0"/>
          <c:cat>
            <c:strRef>
              <c:f>'Top lists, totals'!$C$18:$L$18</c:f>
              <c:strCache>
                <c:ptCount val="10"/>
                <c:pt idx="0">
                  <c:v>EDF</c:v>
                </c:pt>
                <c:pt idx="1">
                  <c:v>RWE</c:v>
                </c:pt>
                <c:pt idx="2">
                  <c:v>E.ON</c:v>
                </c:pt>
                <c:pt idx="3">
                  <c:v>Enel</c:v>
                </c:pt>
                <c:pt idx="4">
                  <c:v>Vattenfall</c:v>
                </c:pt>
                <c:pt idx="5">
                  <c:v>GDF SUEZ</c:v>
                </c:pt>
                <c:pt idx="6">
                  <c:v>Iberdrola</c:v>
                </c:pt>
                <c:pt idx="7">
                  <c:v>Fortum</c:v>
                </c:pt>
                <c:pt idx="8">
                  <c:v>CEZ</c:v>
                </c:pt>
                <c:pt idx="9">
                  <c:v>Statkraft</c:v>
                </c:pt>
              </c:strCache>
            </c:strRef>
          </c:cat>
          <c:val>
            <c:numRef>
              <c:f>'Top lists, totals'!$C$25:$L$25</c:f>
              <c:numCache>
                <c:formatCode>_(* #,##0.0_);_(* \(#,##0.0\);_(* "-"_);@_)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32.042634629378249</c:v>
                </c:pt>
                <c:pt idx="4">
                  <c:v>0.7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</c:ser>
        <c:ser>
          <c:idx val="7"/>
          <c:order val="7"/>
          <c:tx>
            <c:strRef>
              <c:f>'Top lists, totals'!$B$26</c:f>
              <c:strCache>
                <c:ptCount val="1"/>
                <c:pt idx="0">
                  <c:v>Nuclear</c:v>
                </c:pt>
              </c:strCache>
            </c:strRef>
          </c:tx>
          <c:spPr>
            <a:solidFill>
              <a:srgbClr val="CBC7BF"/>
            </a:solidFill>
          </c:spPr>
          <c:invertIfNegative val="0"/>
          <c:cat>
            <c:strRef>
              <c:f>'Top lists, totals'!$C$18:$L$18</c:f>
              <c:strCache>
                <c:ptCount val="10"/>
                <c:pt idx="0">
                  <c:v>EDF</c:v>
                </c:pt>
                <c:pt idx="1">
                  <c:v>RWE</c:v>
                </c:pt>
                <c:pt idx="2">
                  <c:v>E.ON</c:v>
                </c:pt>
                <c:pt idx="3">
                  <c:v>Enel</c:v>
                </c:pt>
                <c:pt idx="4">
                  <c:v>Vattenfall</c:v>
                </c:pt>
                <c:pt idx="5">
                  <c:v>GDF SUEZ</c:v>
                </c:pt>
                <c:pt idx="6">
                  <c:v>Iberdrola</c:v>
                </c:pt>
                <c:pt idx="7">
                  <c:v>Fortum</c:v>
                </c:pt>
                <c:pt idx="8">
                  <c:v>CEZ</c:v>
                </c:pt>
                <c:pt idx="9">
                  <c:v>Statkraft</c:v>
                </c:pt>
              </c:strCache>
            </c:strRef>
          </c:cat>
          <c:val>
            <c:numRef>
              <c:f>'Top lists, totals'!$C$26:$L$26</c:f>
              <c:numCache>
                <c:formatCode>_(* #,##0.0_);_(* \(#,##0.0\);_(* "-"_);@_)</c:formatCode>
                <c:ptCount val="10"/>
                <c:pt idx="0">
                  <c:v>473.72503077960874</c:v>
                </c:pt>
                <c:pt idx="1">
                  <c:v>30.7</c:v>
                </c:pt>
                <c:pt idx="2">
                  <c:v>64.622399999999999</c:v>
                </c:pt>
                <c:pt idx="3">
                  <c:v>41.4</c:v>
                </c:pt>
                <c:pt idx="4">
                  <c:v>48.9</c:v>
                </c:pt>
                <c:pt idx="5">
                  <c:v>38.016000000000005</c:v>
                </c:pt>
                <c:pt idx="6">
                  <c:v>26.026</c:v>
                </c:pt>
                <c:pt idx="7">
                  <c:v>39.274940000000001</c:v>
                </c:pt>
                <c:pt idx="8">
                  <c:v>30.324000000000002</c:v>
                </c:pt>
                <c:pt idx="9">
                  <c:v>0</c:v>
                </c:pt>
              </c:numCache>
            </c:numRef>
          </c:val>
        </c:ser>
        <c:ser>
          <c:idx val="8"/>
          <c:order val="8"/>
          <c:tx>
            <c:strRef>
              <c:f>'Top lists, totals'!$B$27</c:f>
              <c:strCache>
                <c:ptCount val="1"/>
                <c:pt idx="0">
                  <c:v>Other non-renewables</c:v>
                </c:pt>
              </c:strCache>
            </c:strRef>
          </c:tx>
          <c:spPr>
            <a:solidFill>
              <a:srgbClr val="CBC7BF"/>
            </a:solidFill>
          </c:spPr>
          <c:invertIfNegative val="0"/>
          <c:cat>
            <c:strRef>
              <c:f>'Top lists, totals'!$C$18:$L$18</c:f>
              <c:strCache>
                <c:ptCount val="10"/>
                <c:pt idx="0">
                  <c:v>EDF</c:v>
                </c:pt>
                <c:pt idx="1">
                  <c:v>RWE</c:v>
                </c:pt>
                <c:pt idx="2">
                  <c:v>E.ON</c:v>
                </c:pt>
                <c:pt idx="3">
                  <c:v>Enel</c:v>
                </c:pt>
                <c:pt idx="4">
                  <c:v>Vattenfall</c:v>
                </c:pt>
                <c:pt idx="5">
                  <c:v>GDF SUEZ</c:v>
                </c:pt>
                <c:pt idx="6">
                  <c:v>Iberdrola</c:v>
                </c:pt>
                <c:pt idx="7">
                  <c:v>Fortum</c:v>
                </c:pt>
                <c:pt idx="8">
                  <c:v>CEZ</c:v>
                </c:pt>
                <c:pt idx="9">
                  <c:v>Statkraft</c:v>
                </c:pt>
              </c:strCache>
            </c:strRef>
          </c:cat>
          <c:val>
            <c:numRef>
              <c:f>'Top lists, totals'!$C$27:$L$27</c:f>
              <c:numCache>
                <c:formatCode>_(* #,##0.0_);_(* \(#,##0.0\);_(* "-"_);@_)</c:formatCode>
                <c:ptCount val="10"/>
                <c:pt idx="0">
                  <c:v>65.09838105</c:v>
                </c:pt>
                <c:pt idx="1">
                  <c:v>2.8</c:v>
                </c:pt>
                <c:pt idx="2">
                  <c:v>3</c:v>
                </c:pt>
                <c:pt idx="3">
                  <c:v>0</c:v>
                </c:pt>
                <c:pt idx="4">
                  <c:v>2.8</c:v>
                </c:pt>
                <c:pt idx="5">
                  <c:v>2.2756000000000007</c:v>
                </c:pt>
                <c:pt idx="6">
                  <c:v>2.718</c:v>
                </c:pt>
                <c:pt idx="7">
                  <c:v>5.2999999999999972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94037632"/>
        <c:axId val="194039168"/>
      </c:barChart>
      <c:catAx>
        <c:axId val="194037632"/>
        <c:scaling>
          <c:orientation val="minMax"/>
        </c:scaling>
        <c:delete val="0"/>
        <c:axPos val="b"/>
        <c:numFmt formatCode="_(* #,##0_);_(* \(#,##0\);_(* &quot;-&quot;_);@_)" sourceLinked="1"/>
        <c:majorTickMark val="out"/>
        <c:minorTickMark val="none"/>
        <c:tickLblPos val="nextTo"/>
        <c:crossAx val="194039168"/>
        <c:crosses val="autoZero"/>
        <c:auto val="1"/>
        <c:lblAlgn val="ctr"/>
        <c:lblOffset val="100"/>
        <c:noMultiLvlLbl val="0"/>
      </c:catAx>
      <c:valAx>
        <c:axId val="194039168"/>
        <c:scaling>
          <c:orientation val="minMax"/>
          <c:min val="0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nb-NO"/>
                  <a:t>Electricity production (TWh)</a:t>
                </a:r>
              </a:p>
            </c:rich>
          </c:tx>
          <c:layout/>
          <c:overlay val="0"/>
        </c:title>
        <c:numFmt formatCode="_(* #,##0_);_(* \(#,##0\);_(* &quot;-&quot;_);_(@" sourceLinked="0"/>
        <c:majorTickMark val="none"/>
        <c:minorTickMark val="none"/>
        <c:tickLblPos val="nextTo"/>
        <c:spPr>
          <a:noFill/>
          <a:ln>
            <a:noFill/>
          </a:ln>
        </c:spPr>
        <c:crossAx val="19403763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800"/>
      </a:pPr>
      <a:endParaRPr lang="en-US"/>
    </a:p>
  </c:tx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riable OpEx</c:v>
                </c:pt>
              </c:strCache>
            </c:strRef>
          </c:tx>
          <c:invertIfNegative val="0"/>
          <c:cat>
            <c:strRef>
              <c:f>Sheet1!$A$2:$A$3</c:f>
              <c:strCache>
                <c:ptCount val="2"/>
                <c:pt idx="0">
                  <c:v>Combined Cycle Gas Turbine</c:v>
                </c:pt>
                <c:pt idx="1">
                  <c:v>Coal 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.08</c:v>
                </c:pt>
                <c:pt idx="1">
                  <c:v>3.67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uel costs</c:v>
                </c:pt>
              </c:strCache>
            </c:strRef>
          </c:tx>
          <c:invertIfNegative val="0"/>
          <c:cat>
            <c:strRef>
              <c:f>Sheet1!$A$2:$A$3</c:f>
              <c:strCache>
                <c:ptCount val="2"/>
                <c:pt idx="0">
                  <c:v>Combined Cycle Gas Turbine</c:v>
                </c:pt>
                <c:pt idx="1">
                  <c:v>Coal 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44.8</c:v>
                </c:pt>
                <c:pt idx="1">
                  <c:v>18.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2 costs</c:v>
                </c:pt>
              </c:strCache>
            </c:strRef>
          </c:tx>
          <c:spPr>
            <a:solidFill>
              <a:schemeClr val="accent4"/>
            </a:solidFill>
          </c:spPr>
          <c:invertIfNegative val="0"/>
          <c:cat>
            <c:strRef>
              <c:f>Sheet1!$A$2:$A$3</c:f>
              <c:strCache>
                <c:ptCount val="2"/>
                <c:pt idx="0">
                  <c:v>Combined Cycle Gas Turbine</c:v>
                </c:pt>
                <c:pt idx="1">
                  <c:v>Coal 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1.55</c:v>
                </c:pt>
                <c:pt idx="1">
                  <c:v>3.5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44373376"/>
        <c:axId val="244374912"/>
      </c:barChart>
      <c:catAx>
        <c:axId val="24437337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244374912"/>
        <c:crosses val="autoZero"/>
        <c:auto val="1"/>
        <c:lblAlgn val="ctr"/>
        <c:lblOffset val="100"/>
        <c:noMultiLvlLbl val="0"/>
      </c:catAx>
      <c:valAx>
        <c:axId val="24437491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2443733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714042525374817"/>
          <c:y val="3.1422965532942423E-2"/>
          <c:w val="0.877005279015177"/>
          <c:h val="0.9371540689341151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w</c:v>
                </c:pt>
              </c:strCache>
            </c:strRef>
          </c:tx>
          <c:invertIfNegative val="0"/>
          <c:cat>
            <c:numRef>
              <c:f>Sheet1!$A$2:$A$10</c:f>
              <c:numCache>
                <c:formatCode>General</c:formatCode>
                <c:ptCount val="9"/>
              </c:numCache>
            </c:num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1159</c:v>
                </c:pt>
                <c:pt idx="1">
                  <c:v>11010</c:v>
                </c:pt>
                <c:pt idx="2">
                  <c:v>7491</c:v>
                </c:pt>
                <c:pt idx="3">
                  <c:v>1900</c:v>
                </c:pt>
                <c:pt idx="4">
                  <c:v>1455</c:v>
                </c:pt>
                <c:pt idx="5">
                  <c:v>1216</c:v>
                </c:pt>
                <c:pt idx="6">
                  <c:v>419</c:v>
                </c:pt>
                <c:pt idx="7">
                  <c:v>220</c:v>
                </c:pt>
                <c:pt idx="8">
                  <c:v>12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ecommissioned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cat>
            <c:numRef>
              <c:f>Sheet1!$A$2:$A$10</c:f>
              <c:numCache>
                <c:formatCode>General</c:formatCode>
                <c:ptCount val="9"/>
              </c:numCache>
            </c:numRef>
          </c:cat>
          <c:val>
            <c:numRef>
              <c:f>Sheet1!$C$2:$C$10</c:f>
              <c:numCache>
                <c:formatCode>General</c:formatCode>
                <c:ptCount val="9"/>
                <c:pt idx="0">
                  <c:v>-324</c:v>
                </c:pt>
                <c:pt idx="1">
                  <c:v>0</c:v>
                </c:pt>
                <c:pt idx="2">
                  <c:v>-10146</c:v>
                </c:pt>
                <c:pt idx="3">
                  <c:v>-7723</c:v>
                </c:pt>
                <c:pt idx="4">
                  <c:v>-750</c:v>
                </c:pt>
                <c:pt idx="5">
                  <c:v>-19</c:v>
                </c:pt>
                <c:pt idx="6">
                  <c:v>0</c:v>
                </c:pt>
                <c:pt idx="7">
                  <c:v>-2792</c:v>
                </c:pt>
                <c:pt idx="8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45126656"/>
        <c:axId val="245128192"/>
      </c:barChart>
      <c:catAx>
        <c:axId val="245126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n-US"/>
          </a:p>
        </c:txPr>
        <c:crossAx val="245128192"/>
        <c:crosses val="autoZero"/>
        <c:auto val="1"/>
        <c:lblAlgn val="ctr"/>
        <c:lblOffset val="100"/>
        <c:noMultiLvlLbl val="0"/>
      </c:catAx>
      <c:valAx>
        <c:axId val="245128192"/>
        <c:scaling>
          <c:orientation val="minMax"/>
          <c:max val="12000"/>
          <c:min val="-1000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2451266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A$5</c:f>
              <c:strCache>
                <c:ptCount val="1"/>
                <c:pt idx="0">
                  <c:v>Biomass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cat>
            <c:numRef>
              <c:f>Sheet1!$B$4:$F$4</c:f>
              <c:numCache>
                <c:formatCode>General</c:formatCode>
                <c:ptCount val="5"/>
                <c:pt idx="0">
                  <c:v>2002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Sheet1!$B$5:$F$5</c:f>
              <c:numCache>
                <c:formatCode>#,##0</c:formatCode>
                <c:ptCount val="5"/>
                <c:pt idx="0">
                  <c:v>0.76100000000000001</c:v>
                </c:pt>
                <c:pt idx="1">
                  <c:v>4.9569999999999999</c:v>
                </c:pt>
                <c:pt idx="2">
                  <c:v>5.6239999999999997</c:v>
                </c:pt>
                <c:pt idx="3">
                  <c:v>6</c:v>
                </c:pt>
                <c:pt idx="4">
                  <c:v>6.3</c:v>
                </c:pt>
              </c:numCache>
            </c:numRef>
          </c:val>
        </c:ser>
        <c:ser>
          <c:idx val="1"/>
          <c:order val="1"/>
          <c:tx>
            <c:strRef>
              <c:f>Sheet1!$A$6</c:f>
              <c:strCache>
                <c:ptCount val="1"/>
                <c:pt idx="0">
                  <c:v>Oil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</c:spPr>
          <c:invertIfNegative val="0"/>
          <c:cat>
            <c:numRef>
              <c:f>Sheet1!$B$4:$F$4</c:f>
              <c:numCache>
                <c:formatCode>General</c:formatCode>
                <c:ptCount val="5"/>
                <c:pt idx="0">
                  <c:v>2002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Sheet1!$B$6:$F$6</c:f>
              <c:numCache>
                <c:formatCode>#,##0</c:formatCode>
                <c:ptCount val="5"/>
                <c:pt idx="0">
                  <c:v>6.6680000000000001</c:v>
                </c:pt>
                <c:pt idx="1">
                  <c:v>5.5</c:v>
                </c:pt>
                <c:pt idx="2">
                  <c:v>5.3</c:v>
                </c:pt>
                <c:pt idx="3">
                  <c:v>5.0999999999999996</c:v>
                </c:pt>
                <c:pt idx="4">
                  <c:v>5.0999999999999996</c:v>
                </c:pt>
              </c:numCache>
            </c:numRef>
          </c:val>
        </c:ser>
        <c:ser>
          <c:idx val="2"/>
          <c:order val="2"/>
          <c:tx>
            <c:strRef>
              <c:f>Sheet1!$A$7</c:f>
              <c:strCache>
                <c:ptCount val="1"/>
                <c:pt idx="0">
                  <c:v>Hydro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cat>
            <c:numRef>
              <c:f>Sheet1!$B$4:$F$4</c:f>
              <c:numCache>
                <c:formatCode>General</c:formatCode>
                <c:ptCount val="5"/>
                <c:pt idx="0">
                  <c:v>2002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Sheet1!$B$7:$F$7</c:f>
              <c:numCache>
                <c:formatCode>#,##0</c:formatCode>
                <c:ptCount val="5"/>
                <c:pt idx="0">
                  <c:v>9.3160000000000007</c:v>
                </c:pt>
                <c:pt idx="1">
                  <c:v>11.09</c:v>
                </c:pt>
                <c:pt idx="2">
                  <c:v>11.21</c:v>
                </c:pt>
                <c:pt idx="3">
                  <c:v>11.31</c:v>
                </c:pt>
                <c:pt idx="4">
                  <c:v>11.41</c:v>
                </c:pt>
              </c:numCache>
            </c:numRef>
          </c:val>
        </c:ser>
        <c:ser>
          <c:idx val="3"/>
          <c:order val="3"/>
          <c:tx>
            <c:strRef>
              <c:f>Sheet1!$A$8</c:f>
              <c:strCache>
                <c:ptCount val="1"/>
                <c:pt idx="0">
                  <c:v>Lignite</c:v>
                </c:pt>
              </c:strCache>
            </c:strRef>
          </c:tx>
          <c:spPr>
            <a:solidFill>
              <a:srgbClr val="996600"/>
            </a:solidFill>
          </c:spPr>
          <c:invertIfNegative val="0"/>
          <c:cat>
            <c:numRef>
              <c:f>Sheet1!$B$4:$F$4</c:f>
              <c:numCache>
                <c:formatCode>General</c:formatCode>
                <c:ptCount val="5"/>
                <c:pt idx="0">
                  <c:v>2002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Sheet1!$B$8:$F$8</c:f>
              <c:numCache>
                <c:formatCode>#,##0</c:formatCode>
                <c:ptCount val="5"/>
                <c:pt idx="0">
                  <c:v>19.803000000000001</c:v>
                </c:pt>
                <c:pt idx="1">
                  <c:v>19.71</c:v>
                </c:pt>
                <c:pt idx="2">
                  <c:v>19.417000000000002</c:v>
                </c:pt>
                <c:pt idx="3">
                  <c:v>20.838999999999999</c:v>
                </c:pt>
                <c:pt idx="4">
                  <c:v>20.838999999999999</c:v>
                </c:pt>
              </c:numCache>
            </c:numRef>
          </c:val>
        </c:ser>
        <c:ser>
          <c:idx val="4"/>
          <c:order val="4"/>
          <c:tx>
            <c:strRef>
              <c:f>Sheet1!$A$9</c:f>
              <c:strCache>
                <c:ptCount val="1"/>
                <c:pt idx="0">
                  <c:v>Hardcoal</c:v>
                </c:pt>
              </c:strCache>
            </c:strRef>
          </c:tx>
          <c:spPr>
            <a:solidFill>
              <a:schemeClr val="tx1"/>
            </a:solidFill>
          </c:spPr>
          <c:invertIfNegative val="0"/>
          <c:cat>
            <c:numRef>
              <c:f>Sheet1!$B$4:$F$4</c:f>
              <c:numCache>
                <c:formatCode>General</c:formatCode>
                <c:ptCount val="5"/>
                <c:pt idx="0">
                  <c:v>2002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Sheet1!$B$9:$F$9</c:f>
              <c:numCache>
                <c:formatCode>#,##0</c:formatCode>
                <c:ptCount val="5"/>
                <c:pt idx="0">
                  <c:v>25.11</c:v>
                </c:pt>
                <c:pt idx="1">
                  <c:v>25.23</c:v>
                </c:pt>
                <c:pt idx="2">
                  <c:v>24.58</c:v>
                </c:pt>
                <c:pt idx="3">
                  <c:v>24.061</c:v>
                </c:pt>
                <c:pt idx="4">
                  <c:v>24.061</c:v>
                </c:pt>
              </c:numCache>
            </c:numRef>
          </c:val>
        </c:ser>
        <c:ser>
          <c:idx val="5"/>
          <c:order val="5"/>
          <c:tx>
            <c:strRef>
              <c:f>Sheet1!$A$10</c:f>
              <c:strCache>
                <c:ptCount val="1"/>
                <c:pt idx="0">
                  <c:v>Gas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</c:spPr>
          <c:invertIfNegative val="0"/>
          <c:cat>
            <c:numRef>
              <c:f>Sheet1!$B$4:$F$4</c:f>
              <c:numCache>
                <c:formatCode>General</c:formatCode>
                <c:ptCount val="5"/>
                <c:pt idx="0">
                  <c:v>2002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Sheet1!$B$10:$F$10</c:f>
              <c:numCache>
                <c:formatCode>#,##0</c:formatCode>
                <c:ptCount val="5"/>
                <c:pt idx="0">
                  <c:v>16.222999999999999</c:v>
                </c:pt>
                <c:pt idx="1">
                  <c:v>20.350000000000001</c:v>
                </c:pt>
                <c:pt idx="2">
                  <c:v>21.26</c:v>
                </c:pt>
                <c:pt idx="3">
                  <c:v>21.2</c:v>
                </c:pt>
                <c:pt idx="4">
                  <c:v>21.2</c:v>
                </c:pt>
              </c:numCache>
            </c:numRef>
          </c:val>
        </c:ser>
        <c:ser>
          <c:idx val="6"/>
          <c:order val="6"/>
          <c:tx>
            <c:strRef>
              <c:f>Sheet1!$A$11</c:f>
              <c:strCache>
                <c:ptCount val="1"/>
                <c:pt idx="0">
                  <c:v>Nuclear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cat>
            <c:numRef>
              <c:f>Sheet1!$B$4:$F$4</c:f>
              <c:numCache>
                <c:formatCode>General</c:formatCode>
                <c:ptCount val="5"/>
                <c:pt idx="0">
                  <c:v>2002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Sheet1!$B$11:$F$11</c:f>
              <c:numCache>
                <c:formatCode>#,##0</c:formatCode>
                <c:ptCount val="5"/>
                <c:pt idx="0">
                  <c:v>21.283000000000001</c:v>
                </c:pt>
                <c:pt idx="1">
                  <c:v>20.477</c:v>
                </c:pt>
                <c:pt idx="2">
                  <c:v>12.068</c:v>
                </c:pt>
                <c:pt idx="3">
                  <c:v>12.068</c:v>
                </c:pt>
                <c:pt idx="4">
                  <c:v>12.068</c:v>
                </c:pt>
              </c:numCache>
            </c:numRef>
          </c:val>
        </c:ser>
        <c:ser>
          <c:idx val="7"/>
          <c:order val="7"/>
          <c:tx>
            <c:strRef>
              <c:f>Sheet1!$A$12</c:f>
              <c:strCache>
                <c:ptCount val="1"/>
                <c:pt idx="0">
                  <c:v>Wind</c:v>
                </c:pt>
              </c:strCache>
            </c:strRef>
          </c:tx>
          <c:spPr>
            <a:solidFill>
              <a:srgbClr val="00B0F0"/>
            </a:solidFill>
          </c:spPr>
          <c:invertIfNegative val="0"/>
          <c:cat>
            <c:numRef>
              <c:f>Sheet1!$B$4:$F$4</c:f>
              <c:numCache>
                <c:formatCode>General</c:formatCode>
                <c:ptCount val="5"/>
                <c:pt idx="0">
                  <c:v>2002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Sheet1!$B$12:$F$12</c:f>
              <c:numCache>
                <c:formatCode>#,##0</c:formatCode>
                <c:ptCount val="5"/>
                <c:pt idx="0">
                  <c:v>12.000999999999999</c:v>
                </c:pt>
                <c:pt idx="1">
                  <c:v>27.204000000000001</c:v>
                </c:pt>
                <c:pt idx="2">
                  <c:v>28.751999999999999</c:v>
                </c:pt>
                <c:pt idx="3">
                  <c:v>31.308</c:v>
                </c:pt>
                <c:pt idx="4">
                  <c:v>33.799999999999997</c:v>
                </c:pt>
              </c:numCache>
            </c:numRef>
          </c:val>
        </c:ser>
        <c:ser>
          <c:idx val="8"/>
          <c:order val="8"/>
          <c:tx>
            <c:strRef>
              <c:f>Sheet1!$A$13</c:f>
              <c:strCache>
                <c:ptCount val="1"/>
                <c:pt idx="0">
                  <c:v>Solar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cat>
            <c:numRef>
              <c:f>Sheet1!$B$4:$F$4</c:f>
              <c:numCache>
                <c:formatCode>General</c:formatCode>
                <c:ptCount val="5"/>
                <c:pt idx="0">
                  <c:v>2002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</c:numCache>
            </c:numRef>
          </c:cat>
          <c:val>
            <c:numRef>
              <c:f>Sheet1!$B$13:$F$13</c:f>
              <c:numCache>
                <c:formatCode>#,##0</c:formatCode>
                <c:ptCount val="5"/>
                <c:pt idx="0">
                  <c:v>0.22</c:v>
                </c:pt>
                <c:pt idx="1">
                  <c:v>17.488</c:v>
                </c:pt>
                <c:pt idx="2">
                  <c:v>24.785</c:v>
                </c:pt>
                <c:pt idx="3">
                  <c:v>32.389000000000003</c:v>
                </c:pt>
                <c:pt idx="4">
                  <c:v>34.2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100"/>
        <c:axId val="163316480"/>
        <c:axId val="163318016"/>
      </c:barChart>
      <c:catAx>
        <c:axId val="163316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163318016"/>
        <c:crosses val="autoZero"/>
        <c:auto val="1"/>
        <c:lblAlgn val="ctr"/>
        <c:lblOffset val="100"/>
        <c:noMultiLvlLbl val="0"/>
      </c:catAx>
      <c:valAx>
        <c:axId val="163318016"/>
        <c:scaling>
          <c:orientation val="minMax"/>
        </c:scaling>
        <c:delete val="0"/>
        <c:axPos val="l"/>
        <c:majorGridlines/>
        <c:numFmt formatCode="0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400"/>
            </a:pPr>
            <a:endParaRPr lang="en-US"/>
          </a:p>
        </c:txPr>
        <c:crossAx val="163316480"/>
        <c:crosses val="autoZero"/>
        <c:crossBetween val="between"/>
      </c:valAx>
    </c:plotArea>
    <c:legend>
      <c:legendPos val="b"/>
      <c:layout/>
      <c:overlay val="0"/>
      <c:spPr>
        <a:ln>
          <a:solidFill>
            <a:schemeClr val="tx2"/>
          </a:solidFill>
        </a:ln>
      </c:spPr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3889</cdr:x>
      <cdr:y>0.06481</cdr:y>
    </cdr:from>
    <cdr:to>
      <cdr:x>0.09444</cdr:x>
      <cdr:y>0.15741</cdr:y>
    </cdr:to>
    <cdr:sp macro="" textlink="">
      <cdr:nvSpPr>
        <cdr:cNvPr id="2" name="Chart Type" hidden="1"/>
        <cdr:cNvSpPr/>
      </cdr:nvSpPr>
      <cdr:spPr>
        <a:xfrm xmlns:a="http://schemas.openxmlformats.org/drawingml/2006/main">
          <a:off x="177800" y="177800"/>
          <a:ext cx="254000" cy="25400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nb-NO"/>
            <a:t>Column Regular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3889</cdr:x>
      <cdr:y>0.06481</cdr:y>
    </cdr:from>
    <cdr:to>
      <cdr:x>0.09444</cdr:x>
      <cdr:y>0.15741</cdr:y>
    </cdr:to>
    <cdr:sp macro="" textlink="">
      <cdr:nvSpPr>
        <cdr:cNvPr id="2" name="Chart Type" hidden="1"/>
        <cdr:cNvSpPr/>
      </cdr:nvSpPr>
      <cdr:spPr>
        <a:xfrm xmlns:a="http://schemas.openxmlformats.org/drawingml/2006/main">
          <a:off x="177800" y="177800"/>
          <a:ext cx="254000" cy="25400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nb-NO"/>
            <a:t>Column Stacked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9479</cdr:x>
      <cdr:y>0.89779</cdr:y>
    </cdr:from>
    <cdr:to>
      <cdr:x>0.95941</cdr:x>
      <cdr:y>0.9898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10972" y="3212802"/>
          <a:ext cx="4660885" cy="329321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vertOverflow="clip" wrap="square" rtlCol="0">
          <a:spAutoFit/>
        </a:bodyPr>
        <a:lstStyle xmlns:a="http://schemas.openxmlformats.org/drawingml/2006/main"/>
        <a:p xmlns:a="http://schemas.openxmlformats.org/drawingml/2006/main">
          <a:pPr>
            <a:lnSpc>
              <a:spcPct val="110000"/>
            </a:lnSpc>
            <a:spcBef>
              <a:spcPts val="800"/>
            </a:spcBef>
            <a:buClr>
              <a:schemeClr val="accent4"/>
            </a:buClr>
            <a:buSzPct val="80000"/>
          </a:pPr>
          <a:r>
            <a:rPr lang="nb-NO" sz="1400" dirty="0">
              <a:latin typeface="Arial" pitchFamily="34" charset="0"/>
              <a:cs typeface="Arial" pitchFamily="34" charset="0"/>
            </a:rPr>
            <a:t>	</a:t>
          </a:r>
          <a:r>
            <a:rPr lang="nb-NO" sz="1400" dirty="0" smtClean="0">
              <a:latin typeface="Arial" pitchFamily="34" charset="0"/>
              <a:cs typeface="Arial" pitchFamily="34" charset="0"/>
            </a:rPr>
            <a:t>CCGT 		     Kullkraftverk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6CA2CB-6339-4543-ADFD-8B03086E862B}" type="datetimeFigureOut">
              <a:rPr lang="en-US" smtClean="0"/>
              <a:pPr/>
              <a:t>4/24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2A19A6-3B51-4749-8262-104C6DE8CA6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039835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AB4B41-2594-914F-982C-E8D1F5D910F0}" type="datetimeFigureOut">
              <a:rPr lang="en-US" smtClean="0"/>
              <a:pPr/>
              <a:t>4/24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744538"/>
            <a:ext cx="59563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Click to edit Master text styles</a:t>
            </a:r>
          </a:p>
          <a:p>
            <a:pPr lvl="1"/>
            <a:r>
              <a:rPr lang="nb-NO" smtClean="0"/>
              <a:t>Second level</a:t>
            </a:r>
          </a:p>
          <a:p>
            <a:pPr lvl="2"/>
            <a:r>
              <a:rPr lang="nb-NO" smtClean="0"/>
              <a:t>Third level</a:t>
            </a:r>
          </a:p>
          <a:p>
            <a:pPr lvl="3"/>
            <a:r>
              <a:rPr lang="nb-NO" smtClean="0"/>
              <a:t>Fourth level</a:t>
            </a:r>
          </a:p>
          <a:p>
            <a:pPr lvl="4"/>
            <a:r>
              <a:rPr lang="nb-NO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E41BEC-07AB-7146-9F1F-70C99F49511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157159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Arial" pitchFamily="34" charset="0"/>
              <a:buNone/>
            </a:pPr>
            <a:endParaRPr lang="nb-NO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E41BEC-07AB-7146-9F1F-70C99F495112}" type="slidenum">
              <a:rPr lang="en-US" smtClean="0"/>
              <a:pPr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E41BEC-07AB-7146-9F1F-70C99F495112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2423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E41BEC-07AB-7146-9F1F-70C99F495112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900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E41BEC-07AB-7146-9F1F-70C99F495112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808566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093788" y="311150"/>
            <a:ext cx="4610100" cy="28813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3472667"/>
            <a:ext cx="5438140" cy="6092575"/>
          </a:xfrm>
        </p:spPr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1400" b="1" dirty="0" smtClean="0"/>
              <a:t>MARKEDSOPERASJONER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nb-NO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Når markedene endrer seg, gjelder det å se seg om etter nye mulighet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 Tyskland har vi på kort tid signert hundrevis av kontrakter med nye småskalaprodusenter av vindkraft og solkraf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Her har tusenvis av vanlige innbyggere – mange uten noen som helst kjennskap til energibransjen – startet egen kraftproduksj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 fjor forsynte de nye kraftprodusentene omtrent en fjerdedel av Tysklands elektrisitetsbehov. Men de har ikke vært tvunget til å lage prognoser på daglig produksjon eller å balansere og utjevne produksjonsavvi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I dette nye landskapet har Statkraft tilbudt markedsadgang til eiere og operatører av vind- og solpark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Nå har Statkraft totalt over 8.500 MW i kontrakter for krafthandel i Tyskland. Markedsandel: 25% av tysk vindkraf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Ca. halvparten av dette er kraftproduksjon som vi kan fjernstyre. Dette kan kalles et virtuelt kraftver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ette kartet viser vindkraftverkene i Tyskland som er en del av vårt virtuelle kraftver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kern="1200" noProof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 Storbritannia har</a:t>
            </a:r>
            <a:r>
              <a:rPr lang="nb-NO" sz="1400" kern="1200" baseline="0" noProof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Statkraft nå undertegnet Power </a:t>
            </a:r>
            <a:r>
              <a:rPr lang="nb-NO" sz="1400" kern="1200" baseline="0" noProof="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urchase</a:t>
            </a:r>
            <a:r>
              <a:rPr lang="nb-NO" sz="1400" kern="1200" baseline="0" noProof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Agreement (PPA) på </a:t>
            </a:r>
            <a:r>
              <a:rPr lang="nb-NO" sz="1400" kern="1200" noProof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57 lokasjoner</a:t>
            </a:r>
            <a:r>
              <a:rPr lang="nb-NO" sz="1400" kern="1200" baseline="0" noProof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med en total kapasitet på </a:t>
            </a:r>
            <a:r>
              <a:rPr lang="nb-NO" sz="1400" kern="1200" noProof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1280 MW.</a:t>
            </a:r>
            <a:endParaRPr lang="nb-NO" sz="1400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E41BEC-07AB-7146-9F1F-70C99F495112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1708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0688" y="744538"/>
            <a:ext cx="5956300" cy="3722687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E41BEC-07AB-7146-9F1F-70C99F495112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147171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Clr>
                <a:schemeClr val="bg2">
                  <a:lumMod val="50000"/>
                </a:schemeClr>
              </a:buClr>
              <a:buNone/>
            </a:pPr>
            <a:endParaRPr lang="nb-NO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E41BEC-07AB-7146-9F1F-70C99F495112}" type="slidenum">
              <a:rPr lang="en-US" smtClean="0"/>
              <a:pPr/>
              <a:t>15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i="1" dirty="0" smtClean="0"/>
              <a:t>OPPDATERT  MARS 2014</a:t>
            </a:r>
            <a:endParaRPr lang="nb-NO" i="1" baseline="0" dirty="0" smtClean="0"/>
          </a:p>
          <a:p>
            <a:endParaRPr lang="nb-NO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E41BEC-07AB-7146-9F1F-70C99F495112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74822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UROPAS STØRSTE PRODUSENT AV FORNYBAR ENERGI</a:t>
            </a:r>
            <a:endParaRPr lang="en-US" sz="1400" b="1" i="0" u="none" strike="noStrike" kern="1200" baseline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400" b="0" i="0" u="none" strike="noStrike" kern="1200" baseline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b="0" i="0" u="none" strike="noStrike" kern="1200" baseline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kraft</a:t>
            </a:r>
            <a:r>
              <a:rPr lang="en-US" sz="1400" b="0" i="0" u="none" strike="noStrike" kern="1200" baseline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s the largest producer of renewable electricity in Europe, the gap down to EDF has increased further compared to 2011 Mainly due to growth in hydropower production in </a:t>
            </a:r>
            <a:r>
              <a:rPr lang="en-US" sz="1400" b="0" i="0" u="none" strike="noStrike" kern="1200" baseline="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kraft</a:t>
            </a:r>
            <a:r>
              <a:rPr lang="en-US" sz="1400" b="0" i="0" u="none" strike="noStrike" kern="1200" baseline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GB" sz="1400" b="0" i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pitchFamily="34" charset="0"/>
              <a:buNone/>
            </a:pPr>
            <a:endParaRPr lang="en-GB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pitchFamily="34" charset="0"/>
              <a:buNone/>
            </a:pPr>
            <a:r>
              <a:rPr lang="en-GB" b="1" dirty="0" smtClean="0">
                <a:latin typeface="Arial" panose="020B0604020202020204" pitchFamily="34" charset="0"/>
                <a:cs typeface="Arial" panose="020B0604020202020204" pitchFamily="34" charset="0"/>
              </a:rPr>
              <a:t>Background:</a:t>
            </a:r>
          </a:p>
          <a:p>
            <a:pPr marL="0" indent="0">
              <a:buFont typeface="Arial" pitchFamily="34" charset="0"/>
              <a:buNone/>
            </a:pP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The main principles used to compile this top 10 list are: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Full consolidation of majority holdings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Proportional consolidation of significant minority holdings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Excluding energy consumption for pumped hydropower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Excluding energy from long-term purchasing contracts</a:t>
            </a:r>
          </a:p>
          <a:p>
            <a:pPr marL="628650" lvl="1" indent="-171450">
              <a:buFont typeface="Arial" pitchFamily="34" charset="0"/>
              <a:buChar char="•"/>
            </a:pP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Excluding production outside Europe</a:t>
            </a:r>
            <a:r>
              <a:rPr lang="en-GB" baseline="0" dirty="0" smtClean="0">
                <a:latin typeface="Arial" panose="020B0604020202020204" pitchFamily="34" charset="0"/>
                <a:cs typeface="Arial" panose="020B0604020202020204" pitchFamily="34" charset="0"/>
              </a:rPr>
              <a:t> + </a:t>
            </a:r>
            <a:r>
              <a:rPr lang="en-US" b="0" i="0" u="none" strike="noStrike" kern="1200" baseline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ssian Federation and Turkey</a:t>
            </a:r>
            <a:endParaRPr lang="en-GB" baseline="30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buFont typeface="Arial" pitchFamily="34" charset="0"/>
              <a:buNone/>
            </a:pPr>
            <a:endParaRPr lang="en-GB" baseline="30000" dirty="0" smtClean="0"/>
          </a:p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E41BEC-07AB-7146-9F1F-70C99F495112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620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400" baseline="0" dirty="0" smtClean="0">
              <a:latin typeface="+mn-lt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E41BEC-07AB-7146-9F1F-70C99F495112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54154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20688" y="4715153"/>
            <a:ext cx="5956300" cy="4860362"/>
          </a:xfrm>
        </p:spPr>
        <p:txBody>
          <a:bodyPr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57200" algn="l"/>
              </a:tabLst>
              <a:defRPr/>
            </a:pPr>
            <a:r>
              <a:rPr lang="nb-NO" sz="1400" b="1" dirty="0" smtClean="0"/>
              <a:t>STATKRAFT STØTTER EUS ENERGIOMLEGGING</a:t>
            </a:r>
            <a:endParaRPr kumimoji="0" lang="nb-NO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Times New Roman"/>
              <a:cs typeface="Times New Roman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457200" algn="l"/>
              </a:tabLst>
              <a:defRPr/>
            </a:pPr>
            <a:r>
              <a:rPr kumimoji="0" lang="nb-NO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Times New Roman"/>
                <a:cs typeface="Times New Roman"/>
              </a:rPr>
              <a:t>Statkraft er positive til et 40% reduksjonsmål. </a:t>
            </a:r>
            <a:endParaRPr kumimoji="0" lang="nb-NO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Times New Roman"/>
              <a:cs typeface="Times New Roman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457200" algn="l"/>
              </a:tabLst>
              <a:defRPr/>
            </a:pPr>
            <a:r>
              <a:rPr kumimoji="0" lang="nb-NO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Times New Roman"/>
                <a:cs typeface="Times New Roman"/>
              </a:rPr>
              <a:t>Viktig å få på plass strukturelle reformer av EU ETS som sikrer at forurensende kullkraft ikke er det som foretrekkes i markedet. Et styrket ETS er nødvendig for å omstille det europeiske energisystemet i retning lavutslippssamfunnet. CO2-prisen må opp et nivå slik at EUs klimamål kan nås på en kostnadseffektiv måte. 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457200" algn="l"/>
              </a:tabLst>
              <a:defRPr/>
            </a:pPr>
            <a:r>
              <a:rPr kumimoji="0" lang="nb-NO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Times New Roman"/>
                <a:cs typeface="Times New Roman"/>
              </a:rPr>
              <a:t>Bindende fornybarmål - for tidlig å si hvordan dette vil påvirke oss. Hvordan skal man nå 27% når medlemslandene selv setter målene?</a:t>
            </a:r>
            <a:endParaRPr kumimoji="0" lang="nb-NO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/>
              <a:ea typeface="Times New Roman"/>
              <a:cs typeface="Times New Roman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457200" algn="l"/>
              </a:tabLst>
              <a:defRPr/>
            </a:pPr>
            <a:r>
              <a:rPr kumimoji="0" lang="nb-NO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Times New Roman"/>
                <a:cs typeface="Times New Roman"/>
              </a:rPr>
              <a:t>Vi må sikre utviklingen av et integrert energimarked i Europa. På sikt må alle støtteordninger avvikles, ikke bare for fornybare, men også subsidier til kullproduksjon og kjernekraft. Statkraft heller ikke at </a:t>
            </a:r>
            <a:r>
              <a:rPr kumimoji="0" lang="nb-NO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Times New Roman"/>
                <a:cs typeface="Times New Roman"/>
              </a:rPr>
              <a:t>elsertifikatsystemet</a:t>
            </a:r>
            <a:r>
              <a:rPr kumimoji="0" lang="nb-NO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Times New Roman"/>
                <a:cs typeface="Times New Roman"/>
              </a:rPr>
              <a:t> med Sverige fortsetter utover </a:t>
            </a:r>
            <a:r>
              <a:rPr kumimoji="0" lang="nb-NO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Times New Roman"/>
                <a:cs typeface="Times New Roman"/>
              </a:rPr>
              <a:t>2020.</a:t>
            </a:r>
            <a:r>
              <a:rPr kumimoji="0" lang="nb-NO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/>
                <a:ea typeface="Times New Roman"/>
              </a:rPr>
              <a:t>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Bakgrunn:</a:t>
            </a:r>
            <a:endParaRPr kumimoji="0" lang="nb-NO" sz="11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EUs energi og klimapakke for 2030 lagt fram av EU-kommisjonen 22. januar 2014:</a:t>
            </a:r>
            <a:endParaRPr kumimoji="0" lang="nb-NO" sz="11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457200" algn="l"/>
              </a:tabLst>
              <a:defRPr/>
            </a:pPr>
            <a:r>
              <a:rPr kumimoji="0" lang="nb-NO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40% reduksjon i klimagassutslipp </a:t>
            </a:r>
            <a:r>
              <a:rPr kumimoji="0" lang="nb-NO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ift</a:t>
            </a:r>
            <a:r>
              <a:rPr kumimoji="0" lang="nb-NO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 1990-nivå (gjennom kun nasjonale tiltak –internasjonale kreditter unntatt)</a:t>
            </a:r>
            <a:endParaRPr kumimoji="0" lang="nb-NO" sz="11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457200" algn="l"/>
              </a:tabLst>
              <a:defRPr/>
            </a:pPr>
            <a:r>
              <a:rPr kumimoji="0" lang="nb-NO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Minst 27% vekst i fornybar energi - målet er «EU </a:t>
            </a:r>
            <a:r>
              <a:rPr kumimoji="0" lang="nb-NO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wide</a:t>
            </a:r>
            <a:r>
              <a:rPr kumimoji="0" lang="nb-NO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 binding» 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457200" algn="l"/>
              </a:tabLst>
              <a:defRPr/>
            </a:pPr>
            <a:r>
              <a:rPr kumimoji="0" lang="nb-NO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Kommisjonen vil komme til et </a:t>
            </a:r>
            <a:r>
              <a:rPr kumimoji="0" lang="nb-NO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event</a:t>
            </a:r>
            <a:r>
              <a:rPr kumimoji="0" lang="nb-NO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. mål for energieffektivisering senere i 2014.</a:t>
            </a:r>
            <a:endParaRPr kumimoji="0" lang="nb-NO" sz="11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457200" algn="l"/>
              </a:tabLst>
              <a:defRPr/>
            </a:pPr>
            <a:r>
              <a:rPr kumimoji="0" lang="nb-NO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Pakken ble diskutert på EU-toppmøtet 20-21. mars – enighet om å bli enige om klimamål innen oktober i år.</a:t>
            </a: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457200" algn="l"/>
              </a:tabLst>
              <a:defRPr/>
            </a:pPr>
            <a:r>
              <a:rPr lang="en-US" sz="1100" b="0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gså</a:t>
            </a:r>
            <a:r>
              <a:rPr lang="en-US" sz="1100" b="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1100" b="0" kern="1200" baseline="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nighet</a:t>
            </a:r>
            <a:r>
              <a:rPr lang="en-US" sz="1100" b="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m at </a:t>
            </a:r>
            <a:r>
              <a:rPr lang="en-US" sz="1100" b="0" kern="1200" baseline="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</a:t>
            </a:r>
            <a:r>
              <a:rPr lang="en-US" sz="1100" b="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1100" b="0" kern="1200" baseline="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uni</a:t>
            </a:r>
            <a:r>
              <a:rPr lang="en-US" sz="1100" b="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1100" b="0" kern="1200" baseline="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kal</a:t>
            </a:r>
            <a:r>
              <a:rPr lang="en-US" sz="1100" b="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1100" b="0" kern="1200" baseline="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ommisjonen</a:t>
            </a:r>
            <a:r>
              <a:rPr lang="en-US" sz="1100" b="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US" sz="1100" b="0" kern="1200" baseline="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omme</a:t>
            </a:r>
            <a:r>
              <a:rPr lang="en-US" sz="1100" b="0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med en </a:t>
            </a:r>
            <a:r>
              <a:rPr lang="en-US" sz="1100" b="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comprehensive plan for the reduction of EU energy dependence”, including energy efficiency, RES and other indigenous energy sources, and infrastructure. </a:t>
            </a:r>
            <a:endParaRPr kumimoji="0" lang="nb-NO" sz="11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E41BEC-07AB-7146-9F1F-70C99F495112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E41BEC-07AB-7146-9F1F-70C99F495112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17752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11213" y="744538"/>
            <a:ext cx="5168900" cy="32305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03434" y="4191857"/>
            <a:ext cx="5743254" cy="5517222"/>
          </a:xfrm>
        </p:spPr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GB" sz="14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AL VS.</a:t>
            </a:r>
            <a:r>
              <a:rPr lang="en-GB" sz="1400" b="1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GAS</a:t>
            </a:r>
            <a:endParaRPr lang="en-GB" sz="1400" b="1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ignificant </a:t>
            </a:r>
            <a:r>
              <a:rPr lang="en-GB" sz="14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crease in gas prices past years</a:t>
            </a:r>
            <a:r>
              <a:rPr lang="en-GB" sz="14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GB" sz="14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oal prices have gone down</a:t>
            </a:r>
            <a:r>
              <a:rPr lang="en-GB" sz="14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Main reason bei</a:t>
            </a:r>
            <a:r>
              <a:rPr lang="en-GB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ng </a:t>
            </a:r>
            <a:r>
              <a:rPr lang="en-GB" sz="14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Japanese energy-import after Fukushima. Affected gas prices in larger extent than coal prices.</a:t>
            </a:r>
            <a:endParaRPr lang="nb-NO" sz="14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4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GB" sz="14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mport cost of LNG </a:t>
            </a:r>
            <a:r>
              <a:rPr lang="en-GB" sz="14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as also been an important price driver, and </a:t>
            </a:r>
            <a:r>
              <a:rPr lang="en-GB" sz="14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igh demand and prices in Asia </a:t>
            </a:r>
            <a:r>
              <a:rPr lang="en-GB" sz="14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also affects the European prices.</a:t>
            </a:r>
            <a:endParaRPr lang="nb-NO" sz="14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4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n addition, the price of US coal has been reduced, due to large increase of use of </a:t>
            </a:r>
            <a:r>
              <a:rPr lang="en-GB" sz="14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hale gas</a:t>
            </a:r>
            <a:r>
              <a:rPr lang="en-GB" sz="14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Along with </a:t>
            </a:r>
            <a:r>
              <a:rPr lang="en-GB" sz="14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ore renewable energy coming into </a:t>
            </a:r>
            <a:r>
              <a:rPr lang="en-GB" sz="14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he European market, gas is being squeezed out. </a:t>
            </a:r>
            <a:endParaRPr lang="nb-NO" sz="14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4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endParaRPr lang="nb-NO" sz="14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No help coming from the EU ETS</a:t>
            </a:r>
            <a:r>
              <a:rPr lang="en-GB" sz="14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With low prices, there is no shift in the market from coal to gas. </a:t>
            </a:r>
            <a:endParaRPr lang="nb-NO" sz="14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4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endParaRPr lang="nb-NO" sz="14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Has had </a:t>
            </a:r>
            <a:r>
              <a:rPr lang="en-GB" sz="14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mpacts for </a:t>
            </a:r>
            <a:r>
              <a:rPr lang="en-GB" sz="1400" b="1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Statkraft</a:t>
            </a:r>
            <a:r>
              <a:rPr lang="en-GB" sz="14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. German gas power in cold reserve. Impossible to make profitable in today's market situation. </a:t>
            </a:r>
            <a:endParaRPr lang="nb-NO" sz="14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GB" sz="14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  <a:endParaRPr lang="nb-NO" sz="14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We still believe gas-fired power to be the most effective and environmentally-friendly technology to complement the production of renewable energy in Germany.</a:t>
            </a:r>
            <a:endParaRPr lang="nb-NO" sz="1400" kern="1200" dirty="0" smtClean="0"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BE41BEC-07AB-7146-9F1F-70C99F495112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87661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nb-NO" sz="1400" b="1" dirty="0" smtClean="0"/>
              <a:t>ENDRINGER I EUS KRAFTPRODUKSJON I 2013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400" b="1" i="0" u="none" strike="noStrike" kern="1200" baseline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0" i="0" u="none" strike="noStrike" kern="1200" baseline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all, during 2013, 35 GW of new power generating capacity was installed in the EU, 10 GW less than in 2012. </a:t>
            </a:r>
            <a:endParaRPr lang="en-US" sz="1400" b="0" i="0" u="none" strike="noStrike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0" i="0" u="none" strike="noStrike" kern="1200" baseline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ring 2013, 10 GW of gas capacity was decommissioned, as were 7.7 GW of coal, 2.7 GW of fuel oil and 750 MW of biomass capacity. </a:t>
            </a:r>
            <a:endParaRPr lang="en-US" sz="1400" b="0" i="0" u="none" strike="noStrike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b="0" i="0" u="none" strike="noStrike" baseline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2013, a total of 25.4 GW of renewable power capacity installations were installed. Over 72% of all new installed capacity in the EU was renewable. It was, furthermore, the sixth year running that over 55% of all new power capacity in the EU was renewable. </a:t>
            </a:r>
            <a:endParaRPr lang="nb-NO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noProof="0" dirty="0" smtClean="0">
                <a:latin typeface="Arial" panose="020B0604020202020204" pitchFamily="34" charset="0"/>
                <a:cs typeface="Arial" panose="020B0604020202020204" pitchFamily="34" charset="0"/>
              </a:rPr>
              <a:t>But</a:t>
            </a:r>
            <a:r>
              <a:rPr lang="en-GB" sz="1400" baseline="0" noProof="0" dirty="0" smtClean="0">
                <a:latin typeface="Arial" panose="020B0604020202020204" pitchFamily="34" charset="0"/>
                <a:cs typeface="Arial" panose="020B0604020202020204" pitchFamily="34" charset="0"/>
              </a:rPr>
              <a:t> even if renewables are coming into the market in the EU, there are some worries that the Europe would not meet its 20% renewable target in 2020. There is a slowdown in new renewable investments throughout Europe today.</a:t>
            </a:r>
            <a:endParaRPr lang="en-GB" sz="1400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E41BEC-07AB-7146-9F1F-70C99F495112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4833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E41BEC-07AB-7146-9F1F-70C99F495112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17752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49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31800" y="5163703"/>
            <a:ext cx="1369148" cy="409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3" descr="ST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990" t="63757"/>
          <a:stretch>
            <a:fillRect/>
          </a:stretch>
        </p:blipFill>
        <p:spPr bwMode="auto">
          <a:xfrm>
            <a:off x="3460750" y="2128153"/>
            <a:ext cx="5683250" cy="35868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438" y="0"/>
            <a:ext cx="5349692" cy="2744327"/>
          </a:xfrm>
        </p:spPr>
        <p:txBody>
          <a:bodyPr>
            <a:normAutofit/>
          </a:bodyPr>
          <a:lstStyle>
            <a:lvl1pPr algn="l">
              <a:defRPr sz="4000" cap="all">
                <a:solidFill>
                  <a:schemeClr val="accent6"/>
                </a:solidFill>
              </a:defRPr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5438" y="2857498"/>
            <a:ext cx="5349692" cy="1585452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rgbClr val="5F574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subtitle</a:t>
            </a:r>
            <a:r>
              <a:rPr lang="nb-NO" dirty="0" smtClean="0"/>
              <a:t> style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31800" y="2744242"/>
            <a:ext cx="5243330" cy="0"/>
          </a:xfrm>
          <a:prstGeom prst="line">
            <a:avLst/>
          </a:prstGeom>
          <a:ln w="6350" cmpd="sng">
            <a:solidFill>
              <a:srgbClr val="CBC7B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8779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0" y="1158556"/>
            <a:ext cx="8381000" cy="384604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5656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6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>
              <a:solidFill>
                <a:srgbClr val="FFFFFF"/>
              </a:solidFill>
            </a:endParaRPr>
          </a:p>
        </p:txBody>
      </p:sp>
      <p:pic>
        <p:nvPicPr>
          <p:cNvPr id="22" name="Picture 49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647541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38723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3966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24000" y="499374"/>
            <a:ext cx="8388000" cy="1026516"/>
          </a:xfrm>
        </p:spPr>
        <p:txBody>
          <a:bodyPr>
            <a:noAutofit/>
          </a:bodyPr>
          <a:lstStyle>
            <a:lvl1pPr>
              <a:defRPr lang="nb-NO" sz="3600" b="1" kern="1200" cap="all" smtClean="0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  <a:latin typeface="Arial"/>
                <a:ea typeface="+mj-ea"/>
                <a:cs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276225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nb-NO" sz="6800" b="1" smtClean="0">
                <a:solidFill>
                  <a:srgbClr val="FFFFFF"/>
                </a:solidFill>
                <a:cs typeface="Arial"/>
              </a:rPr>
              <a:t>1</a:t>
            </a:r>
            <a:endParaRPr lang="nb-NO" sz="68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3230981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nb-NO" sz="6800" b="1" smtClean="0">
                <a:solidFill>
                  <a:srgbClr val="FFFFFF"/>
                </a:solidFill>
                <a:cs typeface="Arial"/>
              </a:rPr>
              <a:t>2</a:t>
            </a:r>
            <a:endParaRPr lang="nb-NO" sz="68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39799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nb-NO" sz="6800" b="1" smtClean="0">
                <a:solidFill>
                  <a:srgbClr val="FFFFFF"/>
                </a:solidFill>
                <a:cs typeface="Arial"/>
              </a:rPr>
              <a:t>3</a:t>
            </a:r>
            <a:endParaRPr lang="nb-NO" sz="68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884718" y="341342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286455" y="314199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nb-NO" sz="6800" b="1" smtClean="0">
                <a:solidFill>
                  <a:srgbClr val="FFFFFF"/>
                </a:solidFill>
                <a:cs typeface="Arial"/>
              </a:rPr>
              <a:t>4</a:t>
            </a:r>
            <a:endParaRPr lang="nb-NO" sz="68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46698" y="3408494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6048435" y="3137067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nb-NO" sz="6800" b="1" smtClean="0">
                <a:solidFill>
                  <a:srgbClr val="FFFFFF"/>
                </a:solidFill>
                <a:cs typeface="Arial"/>
              </a:rPr>
              <a:t>6</a:t>
            </a:r>
            <a:endParaRPr lang="nb-NO" sz="68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841804" y="341342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3243541" y="314199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nb-NO" sz="6800" b="1" smtClean="0">
                <a:solidFill>
                  <a:srgbClr val="FFFFFF"/>
                </a:solidFill>
                <a:cs typeface="Arial"/>
              </a:rPr>
              <a:t>5</a:t>
            </a:r>
            <a:endParaRPr lang="nb-NO" sz="6800" b="1">
              <a:solidFill>
                <a:srgbClr val="FFFFFF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20081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0" y="1158556"/>
            <a:ext cx="8381000" cy="384604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64478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1199" y="1158556"/>
            <a:ext cx="4038600" cy="3846039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8556"/>
            <a:ext cx="4064000" cy="384604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198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8556"/>
            <a:ext cx="4064000" cy="384604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28625" y="1158556"/>
            <a:ext cx="3941763" cy="3846832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picture</a:t>
            </a:r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1735255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158556"/>
            <a:ext cx="4038600" cy="384604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70437" y="1158556"/>
            <a:ext cx="3941763" cy="3846832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picture</a:t>
            </a:r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971238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199" y="1158555"/>
            <a:ext cx="4040188" cy="488421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746250"/>
            <a:ext cx="4040188" cy="3258345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8555"/>
            <a:ext cx="4067174" cy="488421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746250"/>
            <a:ext cx="4067174" cy="3258345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3957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  <p:graphicFrame>
        <p:nvGraphicFramePr>
          <p:cNvPr id="8" name="Content Placeholder 4"/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725479988"/>
              </p:ext>
            </p:extLst>
          </p:nvPr>
        </p:nvGraphicFramePr>
        <p:xfrm>
          <a:off x="444452" y="1180366"/>
          <a:ext cx="8267748" cy="3560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66937"/>
                <a:gridCol w="2066937"/>
                <a:gridCol w="2066937"/>
                <a:gridCol w="2066937"/>
              </a:tblGrid>
              <a:tr h="890244">
                <a:tc>
                  <a:txBody>
                    <a:bodyPr/>
                    <a:lstStyle/>
                    <a:p>
                      <a:endParaRPr lang="nb-NO" sz="1600" b="1" noProof="0">
                        <a:latin typeface="Arial"/>
                        <a:cs typeface="Arial"/>
                      </a:endParaRPr>
                    </a:p>
                  </a:txBody>
                  <a:tcPr marL="92403" marR="92403"/>
                </a:tc>
                <a:tc>
                  <a:txBody>
                    <a:bodyPr/>
                    <a:lstStyle/>
                    <a:p>
                      <a:endParaRPr lang="nb-NO" sz="1600" b="1" noProof="0">
                        <a:latin typeface="Arial"/>
                        <a:cs typeface="Arial"/>
                      </a:endParaRPr>
                    </a:p>
                  </a:txBody>
                  <a:tcPr marL="92403" marR="92403"/>
                </a:tc>
                <a:tc>
                  <a:txBody>
                    <a:bodyPr/>
                    <a:lstStyle/>
                    <a:p>
                      <a:endParaRPr lang="nb-NO" sz="1600" b="1" noProof="0">
                        <a:latin typeface="Arial"/>
                        <a:cs typeface="Arial"/>
                      </a:endParaRPr>
                    </a:p>
                  </a:txBody>
                  <a:tcPr marL="92403" marR="92403"/>
                </a:tc>
                <a:tc>
                  <a:txBody>
                    <a:bodyPr/>
                    <a:lstStyle/>
                    <a:p>
                      <a:endParaRPr lang="nb-NO" sz="1600" b="1" noProof="0">
                        <a:latin typeface="Arial"/>
                        <a:cs typeface="Arial"/>
                      </a:endParaRPr>
                    </a:p>
                  </a:txBody>
                  <a:tcPr marL="92403" marR="92403"/>
                </a:tc>
              </a:tr>
              <a:tr h="890244"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890244"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/>
                    </a:solidFill>
                  </a:tcPr>
                </a:tc>
              </a:tr>
              <a:tr h="890244"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b="0" noProof="0" dirty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7216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013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2623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38150" y="1158875"/>
            <a:ext cx="8274050" cy="3846513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1418291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-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1199" y="1158556"/>
            <a:ext cx="4038600" cy="384603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600"/>
            </a:lvl2pPr>
            <a:lvl3pPr>
              <a:buClr>
                <a:schemeClr val="accent1"/>
              </a:buCl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8556"/>
            <a:ext cx="4038600" cy="3846040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600"/>
            </a:lvl2pPr>
            <a:lvl3pPr>
              <a:buClr>
                <a:schemeClr val="accent1"/>
              </a:buCl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73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-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9849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13741801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gn off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3336119"/>
            <a:ext cx="9144000" cy="237888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79214" y="2535152"/>
            <a:ext cx="555416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6000" b="1" smtClean="0">
                <a:solidFill>
                  <a:srgbClr val="FFFFFF"/>
                </a:solidFill>
                <a:cs typeface="Arial"/>
              </a:rPr>
              <a:t>TAKK</a:t>
            </a:r>
            <a:endParaRPr lang="nb-NO" sz="60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49297" y="3771900"/>
            <a:ext cx="5157788" cy="12795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179387" indent="0">
              <a:buNone/>
              <a:defRPr/>
            </a:lvl2pPr>
            <a:lvl3pPr marL="358775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676" y="3771899"/>
            <a:ext cx="2254724" cy="694744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6490370" y="5123370"/>
            <a:ext cx="2256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400" smtClean="0">
                <a:solidFill>
                  <a:srgbClr val="00B0DC"/>
                </a:solidFill>
                <a:cs typeface="Arial"/>
              </a:rPr>
              <a:t>www.statkraft.no</a:t>
            </a:r>
          </a:p>
        </p:txBody>
      </p:sp>
    </p:spTree>
    <p:extLst>
      <p:ext uri="{BB962C8B-B14F-4D97-AF65-F5344CB8AC3E}">
        <p14:creationId xmlns:p14="http://schemas.microsoft.com/office/powerpoint/2010/main" val="2522017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49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31800" y="5163703"/>
            <a:ext cx="1369148" cy="409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3" descr="ST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990" t="63757"/>
          <a:stretch>
            <a:fillRect/>
          </a:stretch>
        </p:blipFill>
        <p:spPr bwMode="auto">
          <a:xfrm>
            <a:off x="3460750" y="2128153"/>
            <a:ext cx="5683250" cy="35868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438" y="0"/>
            <a:ext cx="5349692" cy="2744327"/>
          </a:xfrm>
        </p:spPr>
        <p:txBody>
          <a:bodyPr>
            <a:normAutofit/>
          </a:bodyPr>
          <a:lstStyle>
            <a:lvl1pPr algn="l">
              <a:defRPr sz="4000" cap="all">
                <a:solidFill>
                  <a:schemeClr val="accent6"/>
                </a:solidFill>
              </a:defRPr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5438" y="2857498"/>
            <a:ext cx="5349692" cy="1585452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rgbClr val="5F574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subtitle</a:t>
            </a:r>
            <a:r>
              <a:rPr lang="nb-NO" dirty="0" smtClean="0"/>
              <a:t> style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31800" y="2744242"/>
            <a:ext cx="5243330" cy="0"/>
          </a:xfrm>
          <a:prstGeom prst="line">
            <a:avLst/>
          </a:prstGeom>
          <a:ln w="6350" cmpd="sng">
            <a:solidFill>
              <a:srgbClr val="CBC7B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3632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- imag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438" y="623836"/>
            <a:ext cx="8386762" cy="1780357"/>
          </a:xfrm>
        </p:spPr>
        <p:txBody>
          <a:bodyPr>
            <a:normAutofit/>
          </a:bodyPr>
          <a:lstStyle>
            <a:lvl1pPr algn="l">
              <a:defRPr sz="3600" cap="all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5438" y="2517364"/>
            <a:ext cx="5349692" cy="1585452"/>
          </a:xfrm>
        </p:spPr>
        <p:txBody>
          <a:bodyPr>
            <a:normAutofit/>
          </a:bodyPr>
          <a:lstStyle>
            <a:lvl1pPr marL="0" indent="0" algn="l">
              <a:buNone/>
              <a:defRPr sz="1600" b="1">
                <a:solidFill>
                  <a:srgbClr val="FFFFFF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subtitle</a:t>
            </a:r>
            <a:r>
              <a:rPr lang="nb-NO" dirty="0" smtClean="0"/>
              <a:t> styl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31800" y="2404108"/>
            <a:ext cx="8280400" cy="0"/>
          </a:xfrm>
          <a:prstGeom prst="line">
            <a:avLst/>
          </a:prstGeom>
          <a:ln w="635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1200" y="5266233"/>
            <a:ext cx="390845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 dirty="0">
              <a:solidFill>
                <a:srgbClr val="D5B700"/>
              </a:solidFill>
            </a:endParaRPr>
          </a:p>
        </p:txBody>
      </p:sp>
      <p:pic>
        <p:nvPicPr>
          <p:cNvPr id="11" name="Picture 49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14894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647541" y="2544933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38723" y="2544933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3966" y="2544933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000" y="622587"/>
            <a:ext cx="8388000" cy="1782000"/>
          </a:xfrm>
        </p:spPr>
        <p:txBody>
          <a:bodyPr/>
          <a:lstStyle>
            <a:lvl1pPr>
              <a:defRPr lang="nb-NO" sz="3600" b="1" kern="1200" cap="all" smtClean="0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  <a:latin typeface="Arial"/>
                <a:ea typeface="+mj-ea"/>
                <a:cs typeface="Arial"/>
              </a:defRPr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276225" y="2246484"/>
            <a:ext cx="79020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D5B700"/>
              </a:buClr>
              <a:buSzPct val="80000"/>
              <a:buFont typeface="Wingdings 3" charset="2"/>
              <a:buNone/>
            </a:pPr>
            <a:r>
              <a:rPr lang="en-US" sz="7200" b="1" dirty="0" smtClean="0">
                <a:solidFill>
                  <a:srgbClr val="FFFFFF"/>
                </a:solidFill>
                <a:cs typeface="Arial"/>
              </a:rPr>
              <a:t>1</a:t>
            </a:r>
            <a:endParaRPr lang="en-US" sz="7200" b="1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3230981" y="2246484"/>
            <a:ext cx="79020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D5B700"/>
              </a:buClr>
              <a:buSzPct val="80000"/>
              <a:buFont typeface="Wingdings 3" charset="2"/>
              <a:buNone/>
            </a:pPr>
            <a:r>
              <a:rPr lang="en-US" sz="7200" b="1" dirty="0" smtClean="0">
                <a:solidFill>
                  <a:srgbClr val="FFFFFF"/>
                </a:solidFill>
                <a:cs typeface="Arial"/>
              </a:rPr>
              <a:t>2</a:t>
            </a:r>
            <a:endParaRPr lang="en-US" sz="7200" b="1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039799" y="2246484"/>
            <a:ext cx="79020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D5B700"/>
              </a:buClr>
              <a:buSzPct val="80000"/>
              <a:buFont typeface="Wingdings 3" charset="2"/>
              <a:buNone/>
            </a:pPr>
            <a:r>
              <a:rPr lang="en-US" sz="7200" b="1" dirty="0" smtClean="0">
                <a:solidFill>
                  <a:srgbClr val="FFFFFF"/>
                </a:solidFill>
                <a:cs typeface="Arial"/>
              </a:rPr>
              <a:t>3</a:t>
            </a:r>
            <a:endParaRPr lang="en-US" sz="7200" b="1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1200" y="5266233"/>
            <a:ext cx="390845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 dirty="0">
              <a:solidFill>
                <a:srgbClr val="D5B700"/>
              </a:solidFill>
            </a:endParaRPr>
          </a:p>
        </p:txBody>
      </p:sp>
      <p:pic>
        <p:nvPicPr>
          <p:cNvPr id="15" name="Picture 49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26545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0" y="1158556"/>
            <a:ext cx="8381000" cy="3846040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4400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- ocher whit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0" y="1158556"/>
            <a:ext cx="8381000" cy="3846040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  <p:pic>
        <p:nvPicPr>
          <p:cNvPr id="8" name="Picture 49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92228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1199" y="1158556"/>
            <a:ext cx="4038600" cy="3846039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8556"/>
            <a:ext cx="4038600" cy="38460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7532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left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8556"/>
            <a:ext cx="4038600" cy="38460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28625" y="1158556"/>
            <a:ext cx="3941763" cy="3846832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1908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right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158556"/>
            <a:ext cx="4038600" cy="38460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70437" y="1158556"/>
            <a:ext cx="3941763" cy="3846832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65338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left -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8556"/>
            <a:ext cx="4038600" cy="3846040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600"/>
            </a:lvl2pPr>
            <a:lvl3pPr>
              <a:buClr>
                <a:schemeClr val="accent1"/>
              </a:buCl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28625" y="1158556"/>
            <a:ext cx="3941763" cy="384683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02220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>
            <a:lvl1pPr>
              <a:defRPr/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199" y="1158555"/>
            <a:ext cx="4040188" cy="488421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646976"/>
            <a:ext cx="4040188" cy="3357619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8555"/>
            <a:ext cx="4041775" cy="488421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746250"/>
            <a:ext cx="4041775" cy="32583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905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0" y="1158556"/>
            <a:ext cx="8381000" cy="384604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7852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-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1199" y="1158556"/>
            <a:ext cx="4038600" cy="384603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600"/>
            </a:lvl2pPr>
            <a:lvl3pPr>
              <a:buClr>
                <a:schemeClr val="accent1"/>
              </a:buCl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8556"/>
            <a:ext cx="4038600" cy="3846040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600"/>
            </a:lvl2pPr>
            <a:lvl3pPr>
              <a:buClr>
                <a:schemeClr val="accent1"/>
              </a:buCl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0350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left -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8556"/>
            <a:ext cx="4038600" cy="3846040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600"/>
            </a:lvl2pPr>
            <a:lvl3pPr>
              <a:buClr>
                <a:schemeClr val="accent1"/>
              </a:buCl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28625" y="1158556"/>
            <a:ext cx="3941763" cy="384683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704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right -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158556"/>
            <a:ext cx="4038600" cy="3846040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600"/>
            </a:lvl2pPr>
            <a:lvl3pPr>
              <a:buClr>
                <a:schemeClr val="accent1"/>
              </a:buCl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70437" y="1158556"/>
            <a:ext cx="3941763" cy="384683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571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-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>
            <a:lvl1pPr>
              <a:defRPr/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199" y="1158555"/>
            <a:ext cx="4040188" cy="488421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646976"/>
            <a:ext cx="4040188" cy="335761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600"/>
            </a:lvl2pPr>
            <a:lvl3pPr>
              <a:buClr>
                <a:schemeClr val="accent1"/>
              </a:buCl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8555"/>
            <a:ext cx="4041775" cy="488421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746250"/>
            <a:ext cx="4041775" cy="325834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600"/>
            </a:lvl2pPr>
            <a:lvl3pPr>
              <a:buClr>
                <a:schemeClr val="accent1"/>
              </a:buCl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38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Click to edit Master title styl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38150" y="1158875"/>
            <a:ext cx="8274050" cy="384651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224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984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145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445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096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right -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158556"/>
            <a:ext cx="4038600" cy="3846040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600"/>
            </a:lvl2pPr>
            <a:lvl3pPr>
              <a:buClr>
                <a:schemeClr val="accent1"/>
              </a:buCl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70437" y="1158556"/>
            <a:ext cx="3941763" cy="384683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4860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tel, innhold og 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314451" y="269875"/>
            <a:ext cx="7667625" cy="595313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314451" y="1301750"/>
            <a:ext cx="3686175" cy="3897313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quarter" idx="2"/>
          </p:nvPr>
        </p:nvSpPr>
        <p:spPr>
          <a:xfrm>
            <a:off x="5153026" y="1301750"/>
            <a:ext cx="3686175" cy="1885157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3"/>
          </p:nvPr>
        </p:nvSpPr>
        <p:spPr>
          <a:xfrm>
            <a:off x="5153026" y="3313907"/>
            <a:ext cx="3686175" cy="1885156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>
                <a:solidFill>
                  <a:srgbClr val="D5B700"/>
                </a:solidFill>
              </a:rPr>
              <a:t>side </a:t>
            </a:r>
            <a:fld id="{0F175FA8-80DA-4870-B34A-E8BE7B7EE0DD}" type="slidenum">
              <a:rPr lang="nb-NO">
                <a:solidFill>
                  <a:srgbClr val="D5B700"/>
                </a:solidFill>
              </a:rPr>
              <a:pPr>
                <a:defRPr/>
              </a:pPr>
              <a:t>‹#›</a:t>
            </a:fld>
            <a:endParaRPr lang="nb-NO">
              <a:solidFill>
                <a:srgbClr val="D5B700"/>
              </a:solidFill>
            </a:endParaRPr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>
          <a:xfrm>
            <a:off x="428626" y="5228167"/>
            <a:ext cx="809625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Plassholder for dato 7"/>
          <p:cNvSpPr>
            <a:spLocks noGrp="1"/>
          </p:cNvSpPr>
          <p:nvPr>
            <p:ph type="dt" sz="half" idx="12"/>
          </p:nvPr>
        </p:nvSpPr>
        <p:spPr>
          <a:xfrm>
            <a:off x="-57150" y="5414698"/>
            <a:ext cx="768350" cy="17462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latin typeface="Arial" charset="0"/>
                <a:ea typeface="ヒラギノ角ゴ Pro W3" pitchFamily="16" charset="-128"/>
              </a:defRPr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726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ign off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3336119"/>
            <a:ext cx="9144000" cy="237888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3" name="Picture 2" descr="ST_pure_pos_rgb_5cm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676" y="3771899"/>
            <a:ext cx="2254724" cy="694745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6490370" y="5123370"/>
            <a:ext cx="2256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 err="1" smtClean="0">
                <a:solidFill>
                  <a:srgbClr val="00A6D3"/>
                </a:solidFill>
                <a:cs typeface="Arial"/>
              </a:rPr>
              <a:t>www.statkraft.com</a:t>
            </a:r>
            <a:endParaRPr lang="en-US" sz="1400" dirty="0" smtClean="0">
              <a:solidFill>
                <a:srgbClr val="00A6D3"/>
              </a:solidFill>
              <a:cs typeface="Arial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79214" y="2535152"/>
            <a:ext cx="555416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 smtClean="0">
                <a:solidFill>
                  <a:srgbClr val="FFFFFF"/>
                </a:solidFill>
                <a:cs typeface="Arial"/>
              </a:rPr>
              <a:t>THANK YOU</a:t>
            </a:r>
            <a:endParaRPr lang="en-US" sz="6000" b="1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49297" y="3771900"/>
            <a:ext cx="5157788" cy="12795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179387" indent="0">
              <a:buNone/>
              <a:defRPr/>
            </a:lvl2pPr>
            <a:lvl3pPr marL="358775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3390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49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1800" y="5104069"/>
            <a:ext cx="1369148" cy="409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438" y="0"/>
            <a:ext cx="5349692" cy="2744327"/>
          </a:xfrm>
        </p:spPr>
        <p:txBody>
          <a:bodyPr>
            <a:noAutofit/>
          </a:bodyPr>
          <a:lstStyle>
            <a:lvl1pPr algn="l">
              <a:defRPr sz="4000" cap="all">
                <a:solidFill>
                  <a:schemeClr val="accent6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5438" y="2857498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5F574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37771" y="2319786"/>
            <a:ext cx="3606230" cy="3395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255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mage 1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en-GB" smtClean="0">
                <a:solidFill>
                  <a:srgbClr val="BBB3B0">
                    <a:lumMod val="50000"/>
                  </a:srgbClr>
                </a:solidFill>
              </a:rPr>
              <a:pPr/>
              <a:t>‹#›</a:t>
            </a:fld>
            <a:endParaRPr lang="en-GB">
              <a:solidFill>
                <a:srgbClr val="BBB3B0">
                  <a:lumMod val="50000"/>
                </a:srgb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25438" y="623836"/>
            <a:ext cx="8386762" cy="1780357"/>
          </a:xfrm>
        </p:spPr>
        <p:txBody>
          <a:bodyPr>
            <a:noAutofit/>
          </a:bodyPr>
          <a:lstStyle>
            <a:lvl1pPr algn="l">
              <a:defRPr sz="3600" b="1" cap="all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25438" y="2517364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rgbClr val="FFFFFF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/>
          </a:p>
        </p:txBody>
      </p:sp>
      <p:pic>
        <p:nvPicPr>
          <p:cNvPr id="10" name="Picture 49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342833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image 2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en-GB" smtClean="0">
                <a:solidFill>
                  <a:srgbClr val="BBB3B0">
                    <a:lumMod val="50000"/>
                  </a:srgbClr>
                </a:solidFill>
              </a:rPr>
              <a:pPr/>
              <a:t>‹#›</a:t>
            </a:fld>
            <a:endParaRPr lang="en-GB">
              <a:solidFill>
                <a:srgbClr val="BBB3B0">
                  <a:lumMod val="50000"/>
                </a:srgb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25438" y="623836"/>
            <a:ext cx="8386762" cy="1780357"/>
          </a:xfrm>
        </p:spPr>
        <p:txBody>
          <a:bodyPr>
            <a:noAutofit/>
          </a:bodyPr>
          <a:lstStyle>
            <a:lvl1pPr algn="l">
              <a:defRPr sz="3600" cap="all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25438" y="2517364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rgbClr val="FFFFFF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/>
          </a:p>
        </p:txBody>
      </p:sp>
      <p:pic>
        <p:nvPicPr>
          <p:cNvPr id="10" name="Picture 49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30356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3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pic>
        <p:nvPicPr>
          <p:cNvPr id="16" name="Picture 49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en-GB" smtClean="0">
                <a:solidFill>
                  <a:srgbClr val="BBB3B0">
                    <a:lumMod val="50000"/>
                  </a:srgbClr>
                </a:solidFill>
              </a:rPr>
              <a:pPr/>
              <a:t>‹#›</a:t>
            </a:fld>
            <a:endParaRPr lang="en-GB">
              <a:solidFill>
                <a:srgbClr val="BBB3B0">
                  <a:lumMod val="50000"/>
                </a:srgbClr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647541" y="2625999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38723" y="2625999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3966" y="2625999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24000" y="622587"/>
            <a:ext cx="8388000" cy="1782000"/>
          </a:xfrm>
        </p:spPr>
        <p:txBody>
          <a:bodyPr>
            <a:noAutofit/>
          </a:bodyPr>
          <a:lstStyle>
            <a:lvl1pPr>
              <a:defRPr lang="nb-NO" sz="3600" b="1" kern="1200" cap="all" smtClean="0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  <a:latin typeface="Arial"/>
                <a:ea typeface="+mj-ea"/>
                <a:cs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276225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en-GB" sz="6800" b="1" smtClean="0">
                <a:solidFill>
                  <a:srgbClr val="FFFFFF"/>
                </a:solidFill>
                <a:cs typeface="Arial"/>
              </a:rPr>
              <a:t>1</a:t>
            </a:r>
            <a:endParaRPr lang="en-GB" sz="68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3230981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en-GB" sz="6800" b="1" smtClean="0">
                <a:solidFill>
                  <a:srgbClr val="FFFFFF"/>
                </a:solidFill>
                <a:cs typeface="Arial"/>
              </a:rPr>
              <a:t>2</a:t>
            </a:r>
            <a:endParaRPr lang="en-GB" sz="68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39799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en-GB" sz="6800" b="1" smtClean="0">
                <a:solidFill>
                  <a:srgbClr val="FFFFFF"/>
                </a:solidFill>
                <a:cs typeface="Arial"/>
              </a:rPr>
              <a:t>3</a:t>
            </a:r>
            <a:endParaRPr lang="en-GB" sz="6800" b="1">
              <a:solidFill>
                <a:srgbClr val="FFFFFF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19348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6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pic>
        <p:nvPicPr>
          <p:cNvPr id="22" name="Picture 49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en-GB" smtClean="0">
                <a:solidFill>
                  <a:srgbClr val="BBB3B0">
                    <a:lumMod val="50000"/>
                  </a:srgbClr>
                </a:solidFill>
              </a:rPr>
              <a:pPr/>
              <a:t>‹#›</a:t>
            </a:fld>
            <a:endParaRPr lang="en-GB">
              <a:solidFill>
                <a:srgbClr val="BBB3B0">
                  <a:lumMod val="50000"/>
                </a:srgbClr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647541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38723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3966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24000" y="499374"/>
            <a:ext cx="8388000" cy="1026516"/>
          </a:xfrm>
        </p:spPr>
        <p:txBody>
          <a:bodyPr>
            <a:noAutofit/>
          </a:bodyPr>
          <a:lstStyle>
            <a:lvl1pPr>
              <a:defRPr lang="nb-NO" sz="3600" b="1" kern="1200" cap="all" smtClean="0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  <a:latin typeface="Arial"/>
                <a:ea typeface="+mj-ea"/>
                <a:cs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276225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en-GB" sz="6800" b="1" smtClean="0">
                <a:solidFill>
                  <a:srgbClr val="FFFFFF"/>
                </a:solidFill>
                <a:cs typeface="Arial"/>
              </a:rPr>
              <a:t>1</a:t>
            </a:r>
            <a:endParaRPr lang="en-GB" sz="68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3230981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en-GB" sz="6800" b="1" smtClean="0">
                <a:solidFill>
                  <a:srgbClr val="FFFFFF"/>
                </a:solidFill>
                <a:cs typeface="Arial"/>
              </a:rPr>
              <a:t>2</a:t>
            </a:r>
            <a:endParaRPr lang="en-GB" sz="68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39799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en-GB" sz="6800" b="1" smtClean="0">
                <a:solidFill>
                  <a:srgbClr val="FFFFFF"/>
                </a:solidFill>
                <a:cs typeface="Arial"/>
              </a:rPr>
              <a:t>3</a:t>
            </a:r>
            <a:endParaRPr lang="en-GB" sz="68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884718" y="341342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286455" y="314199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en-GB" sz="6800" b="1" smtClean="0">
                <a:solidFill>
                  <a:srgbClr val="FFFFFF"/>
                </a:solidFill>
                <a:cs typeface="Arial"/>
              </a:rPr>
              <a:t>4</a:t>
            </a:r>
            <a:endParaRPr lang="en-GB" sz="68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46698" y="3408494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6048435" y="3137067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en-GB" sz="6800" b="1" smtClean="0">
                <a:solidFill>
                  <a:srgbClr val="FFFFFF"/>
                </a:solidFill>
                <a:cs typeface="Arial"/>
              </a:rPr>
              <a:t>6</a:t>
            </a:r>
            <a:endParaRPr lang="en-GB" sz="68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841804" y="341342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3243541" y="314199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en-GB" sz="6800" b="1" smtClean="0">
                <a:solidFill>
                  <a:srgbClr val="FFFFFF"/>
                </a:solidFill>
                <a:cs typeface="Arial"/>
              </a:rPr>
              <a:t>5</a:t>
            </a:r>
            <a:endParaRPr lang="en-GB" sz="6800" b="1">
              <a:solidFill>
                <a:srgbClr val="FFFFFF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367760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0" y="1158556"/>
            <a:ext cx="8381000" cy="384604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fld id="{5B2ACB19-C0E1-7345-B8BA-15A723BE30E5}" type="slidenum">
              <a:rPr lang="en-GB" smtClean="0">
                <a:solidFill>
                  <a:srgbClr val="BBB3B0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BBB3B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3402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1199" y="1158556"/>
            <a:ext cx="4038600" cy="3846039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8556"/>
            <a:ext cx="4064000" cy="384604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en-GB" smtClean="0">
                <a:solidFill>
                  <a:srgbClr val="BBB3B0">
                    <a:lumMod val="50000"/>
                  </a:srgbClr>
                </a:solidFill>
              </a:rPr>
              <a:pPr/>
              <a:t>‹#›</a:t>
            </a:fld>
            <a:endParaRPr lang="en-GB">
              <a:solidFill>
                <a:srgbClr val="BBB3B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6854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8556"/>
            <a:ext cx="4064000" cy="384604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en-GB" smtClean="0">
                <a:solidFill>
                  <a:srgbClr val="BBB3B0">
                    <a:lumMod val="50000"/>
                  </a:srgbClr>
                </a:solidFill>
              </a:rPr>
              <a:pPr/>
              <a:t>‹#›</a:t>
            </a:fld>
            <a:endParaRPr lang="en-GB">
              <a:solidFill>
                <a:srgbClr val="BBB3B0">
                  <a:lumMod val="50000"/>
                </a:srgbClr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28625" y="1158556"/>
            <a:ext cx="3941763" cy="3846832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2516465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-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>
            <a:lvl1pPr>
              <a:defRPr/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199" y="1158555"/>
            <a:ext cx="4040188" cy="488421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646976"/>
            <a:ext cx="4040188" cy="335761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600"/>
            </a:lvl2pPr>
            <a:lvl3pPr>
              <a:buClr>
                <a:schemeClr val="accent1"/>
              </a:buCl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8555"/>
            <a:ext cx="4041775" cy="488421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746250"/>
            <a:ext cx="4041775" cy="325834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600"/>
            </a:lvl2pPr>
            <a:lvl3pPr>
              <a:buClr>
                <a:schemeClr val="accent1"/>
              </a:buCl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277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158556"/>
            <a:ext cx="4038600" cy="384604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en-GB" smtClean="0">
                <a:solidFill>
                  <a:srgbClr val="BBB3B0">
                    <a:lumMod val="50000"/>
                  </a:srgbClr>
                </a:solidFill>
              </a:rPr>
              <a:pPr/>
              <a:t>‹#›</a:t>
            </a:fld>
            <a:endParaRPr lang="en-GB">
              <a:solidFill>
                <a:srgbClr val="BBB3B0">
                  <a:lumMod val="50000"/>
                </a:srgbClr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70437" y="1158556"/>
            <a:ext cx="3941763" cy="3846832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6701090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199" y="1158555"/>
            <a:ext cx="4040188" cy="488421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746250"/>
            <a:ext cx="4040188" cy="3258345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8555"/>
            <a:ext cx="4067174" cy="488421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746250"/>
            <a:ext cx="4067174" cy="3258345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en-GB" smtClean="0">
                <a:solidFill>
                  <a:srgbClr val="BBB3B0">
                    <a:lumMod val="50000"/>
                  </a:srgbClr>
                </a:solidFill>
              </a:rPr>
              <a:pPr/>
              <a:t>‹#›</a:t>
            </a:fld>
            <a:endParaRPr lang="en-GB">
              <a:solidFill>
                <a:srgbClr val="BBB3B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4935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smtClean="0">
                <a:solidFill>
                  <a:srgbClr val="BBB3B0">
                    <a:lumMod val="50000"/>
                  </a:srgbClr>
                </a:solidFill>
              </a:rPr>
              <a:pPr/>
              <a:t>‹#›</a:t>
            </a:fld>
            <a:endParaRPr lang="en-GB">
              <a:solidFill>
                <a:srgbClr val="BBB3B0">
                  <a:lumMod val="50000"/>
                </a:srgbClr>
              </a:solidFill>
            </a:endParaRPr>
          </a:p>
        </p:txBody>
      </p:sp>
      <p:graphicFrame>
        <p:nvGraphicFramePr>
          <p:cNvPr id="8" name="Content Placeholder 4"/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329870412"/>
              </p:ext>
            </p:extLst>
          </p:nvPr>
        </p:nvGraphicFramePr>
        <p:xfrm>
          <a:off x="444452" y="1180366"/>
          <a:ext cx="8267748" cy="3560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66937"/>
                <a:gridCol w="2066937"/>
                <a:gridCol w="2066937"/>
                <a:gridCol w="2066937"/>
              </a:tblGrid>
              <a:tr h="890244">
                <a:tc>
                  <a:txBody>
                    <a:bodyPr/>
                    <a:lstStyle/>
                    <a:p>
                      <a:endParaRPr lang="en-GB" sz="1600" b="1" noProof="0">
                        <a:latin typeface="Arial"/>
                        <a:cs typeface="Arial"/>
                      </a:endParaRPr>
                    </a:p>
                  </a:txBody>
                  <a:tcPr marL="92403" marR="92403"/>
                </a:tc>
                <a:tc>
                  <a:txBody>
                    <a:bodyPr/>
                    <a:lstStyle/>
                    <a:p>
                      <a:endParaRPr lang="en-GB" sz="1600" b="1" noProof="0">
                        <a:latin typeface="Arial"/>
                        <a:cs typeface="Arial"/>
                      </a:endParaRPr>
                    </a:p>
                  </a:txBody>
                  <a:tcPr marL="92403" marR="92403"/>
                </a:tc>
                <a:tc>
                  <a:txBody>
                    <a:bodyPr/>
                    <a:lstStyle/>
                    <a:p>
                      <a:endParaRPr lang="en-GB" sz="1600" b="1" noProof="0">
                        <a:latin typeface="Arial"/>
                        <a:cs typeface="Arial"/>
                      </a:endParaRPr>
                    </a:p>
                  </a:txBody>
                  <a:tcPr marL="92403" marR="92403"/>
                </a:tc>
                <a:tc>
                  <a:txBody>
                    <a:bodyPr/>
                    <a:lstStyle/>
                    <a:p>
                      <a:endParaRPr lang="en-GB" sz="1600" b="1" noProof="0">
                        <a:latin typeface="Arial"/>
                        <a:cs typeface="Arial"/>
                      </a:endParaRPr>
                    </a:p>
                  </a:txBody>
                  <a:tcPr marL="92403" marR="92403"/>
                </a:tc>
              </a:tr>
              <a:tr h="890244">
                <a:tc>
                  <a:txBody>
                    <a:bodyPr/>
                    <a:lstStyle/>
                    <a:p>
                      <a:endParaRPr lang="en-GB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890244">
                <a:tc>
                  <a:txBody>
                    <a:bodyPr/>
                    <a:lstStyle/>
                    <a:p>
                      <a:endParaRPr lang="en-GB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/>
                    </a:solidFill>
                  </a:tcPr>
                </a:tc>
              </a:tr>
              <a:tr h="890244">
                <a:tc>
                  <a:txBody>
                    <a:bodyPr/>
                    <a:lstStyle/>
                    <a:p>
                      <a:endParaRPr lang="en-GB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b="0" noProof="0" dirty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46600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smtClean="0">
                <a:solidFill>
                  <a:srgbClr val="BBB3B0">
                    <a:lumMod val="50000"/>
                  </a:srgbClr>
                </a:solidFill>
              </a:rPr>
              <a:pPr/>
              <a:t>‹#›</a:t>
            </a:fld>
            <a:endParaRPr lang="en-GB">
              <a:solidFill>
                <a:srgbClr val="BBB3B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5824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smtClean="0">
                <a:solidFill>
                  <a:srgbClr val="BBB3B0">
                    <a:lumMod val="50000"/>
                  </a:srgbClr>
                </a:solidFill>
              </a:rPr>
              <a:pPr/>
              <a:t>‹#›</a:t>
            </a:fld>
            <a:endParaRPr lang="en-GB">
              <a:solidFill>
                <a:srgbClr val="BBB3B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1809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smtClean="0">
                <a:solidFill>
                  <a:srgbClr val="BBB3B0">
                    <a:lumMod val="50000"/>
                  </a:srgbClr>
                </a:solidFill>
              </a:rPr>
              <a:pPr/>
              <a:t>‹#›</a:t>
            </a:fld>
            <a:endParaRPr lang="en-GB">
              <a:solidFill>
                <a:srgbClr val="BBB3B0">
                  <a:lumMod val="50000"/>
                </a:srgbClr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38150" y="1158875"/>
            <a:ext cx="8274050" cy="3846513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7666081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-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smtClean="0">
                <a:solidFill>
                  <a:srgbClr val="BBB3B0">
                    <a:lumMod val="50000"/>
                  </a:srgbClr>
                </a:solidFill>
              </a:rPr>
              <a:pPr/>
              <a:t>‹#›</a:t>
            </a:fld>
            <a:endParaRPr lang="en-GB">
              <a:solidFill>
                <a:srgbClr val="BBB3B0">
                  <a:lumMod val="50000"/>
                </a:srgbClr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9849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8779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gn off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3336119"/>
            <a:ext cx="9144000" cy="237888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pic>
        <p:nvPicPr>
          <p:cNvPr id="3" name="Picture 2" descr="ST_pure_pos_rgb_5cm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676" y="3771899"/>
            <a:ext cx="2254724" cy="694745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6490370" y="5123370"/>
            <a:ext cx="2256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dirty="0" smtClean="0">
                <a:solidFill>
                  <a:srgbClr val="00B0DC"/>
                </a:solidFill>
                <a:cs typeface="Arial"/>
              </a:rPr>
              <a:t>www.statkraft.com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179214" y="2535152"/>
            <a:ext cx="555416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6000" b="1" smtClean="0">
                <a:solidFill>
                  <a:srgbClr val="FFFFFF"/>
                </a:solidFill>
                <a:cs typeface="Arial"/>
              </a:rPr>
              <a:t>THANK YOU</a:t>
            </a:r>
            <a:endParaRPr lang="en-GB" sz="60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49297" y="3771900"/>
            <a:ext cx="5157788" cy="12795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179387" indent="0">
              <a:buNone/>
              <a:defRPr/>
            </a:lvl2pPr>
            <a:lvl3pPr marL="358775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19198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0" y="1158556"/>
            <a:ext cx="8381000" cy="384604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smtClean="0">
                <a:solidFill>
                  <a:srgbClr val="BBB3B0">
                    <a:lumMod val="50000"/>
                  </a:srgbClr>
                </a:solidFill>
              </a:rPr>
              <a:pPr/>
              <a:t>‹#›</a:t>
            </a:fld>
            <a:endParaRPr lang="en-GB">
              <a:solidFill>
                <a:srgbClr val="BBB3B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5160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/image right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158556"/>
            <a:ext cx="4038600" cy="38460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BBB3B0">
                    <a:lumMod val="50000"/>
                  </a:srgbClr>
                </a:solidFill>
              </a:rPr>
              <a:pPr/>
              <a:t>‹#›</a:t>
            </a:fld>
            <a:endParaRPr lang="en-US">
              <a:solidFill>
                <a:srgbClr val="BBB3B0">
                  <a:lumMod val="50000"/>
                </a:srgbClr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70437" y="1158556"/>
            <a:ext cx="3941763" cy="3846832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5652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Click to edit Master title styl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38150" y="1158875"/>
            <a:ext cx="8274050" cy="384651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16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984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624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5220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110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tel, innhold og 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314451" y="269875"/>
            <a:ext cx="7667625" cy="595313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314451" y="1301750"/>
            <a:ext cx="3686175" cy="3897313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quarter" idx="2"/>
          </p:nvPr>
        </p:nvSpPr>
        <p:spPr>
          <a:xfrm>
            <a:off x="5153026" y="1301750"/>
            <a:ext cx="3686175" cy="1885157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3"/>
          </p:nvPr>
        </p:nvSpPr>
        <p:spPr>
          <a:xfrm>
            <a:off x="5153026" y="3313907"/>
            <a:ext cx="3686175" cy="1885156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/>
              <a:t>side </a:t>
            </a:r>
            <a:fld id="{0F175FA8-80DA-4870-B34A-E8BE7B7EE0DD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>
          <a:xfrm>
            <a:off x="428626" y="5228167"/>
            <a:ext cx="809625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8" name="Plassholder for dato 7"/>
          <p:cNvSpPr>
            <a:spLocks noGrp="1"/>
          </p:cNvSpPr>
          <p:nvPr>
            <p:ph type="dt" sz="half" idx="12"/>
          </p:nvPr>
        </p:nvSpPr>
        <p:spPr>
          <a:xfrm>
            <a:off x="-57150" y="5414698"/>
            <a:ext cx="768350" cy="17462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latin typeface="Arial" charset="0"/>
                <a:ea typeface="ヒラギノ角ゴ Pro W3" pitchFamily="16" charset="-128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7769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- imag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438" y="623836"/>
            <a:ext cx="8386762" cy="1780357"/>
          </a:xfrm>
        </p:spPr>
        <p:txBody>
          <a:bodyPr>
            <a:normAutofit/>
          </a:bodyPr>
          <a:lstStyle>
            <a:lvl1pPr algn="l">
              <a:defRPr sz="3600" cap="all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5438" y="2517364"/>
            <a:ext cx="5349692" cy="1585452"/>
          </a:xfrm>
        </p:spPr>
        <p:txBody>
          <a:bodyPr>
            <a:normAutofit/>
          </a:bodyPr>
          <a:lstStyle>
            <a:lvl1pPr marL="0" indent="0" algn="l">
              <a:buNone/>
              <a:defRPr sz="1600" b="1">
                <a:solidFill>
                  <a:srgbClr val="FFFFFF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subtitle</a:t>
            </a:r>
            <a:r>
              <a:rPr lang="nb-NO" dirty="0" smtClean="0"/>
              <a:t> styl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31800" y="2404108"/>
            <a:ext cx="8280400" cy="0"/>
          </a:xfrm>
          <a:prstGeom prst="line">
            <a:avLst/>
          </a:prstGeom>
          <a:ln w="635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1200" y="5266233"/>
            <a:ext cx="390845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fld id="{5B2ACB19-C0E1-7345-B8BA-15A723BE30E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49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157674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ign off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3336119"/>
            <a:ext cx="9144000" cy="237888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ST_pure_pos_rgb_5cm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676" y="3771899"/>
            <a:ext cx="2254724" cy="694745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6490370" y="5123370"/>
            <a:ext cx="2256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0" dirty="0" err="1" smtClean="0">
                <a:solidFill>
                  <a:schemeClr val="accent1"/>
                </a:solidFill>
                <a:latin typeface="Arial"/>
                <a:cs typeface="Arial"/>
              </a:rPr>
              <a:t>www.statkraft</a:t>
            </a:r>
            <a:r>
              <a:rPr lang="en-US" sz="1400" b="0" baseline="0" dirty="0" err="1" smtClean="0">
                <a:solidFill>
                  <a:schemeClr val="accent1"/>
                </a:solidFill>
                <a:latin typeface="Arial"/>
                <a:cs typeface="Arial"/>
              </a:rPr>
              <a:t>.com</a:t>
            </a:r>
            <a:endParaRPr lang="en-US" sz="1400" b="0" baseline="0" dirty="0" smtClean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79214" y="2535152"/>
            <a:ext cx="555416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 smtClean="0">
                <a:solidFill>
                  <a:schemeClr val="bg1"/>
                </a:solidFill>
                <a:latin typeface="Arial"/>
                <a:cs typeface="Arial"/>
              </a:rPr>
              <a:t>THANK YOU</a:t>
            </a:r>
            <a:endParaRPr lang="en-US" sz="60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49297" y="3771900"/>
            <a:ext cx="5157788" cy="12795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179387" indent="0">
              <a:buNone/>
              <a:defRPr/>
            </a:lvl2pPr>
            <a:lvl3pPr marL="358775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65717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0" y="1158556"/>
            <a:ext cx="8381000" cy="384604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4184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 baseline="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349378"/>
            <a:ext cx="8132762" cy="3247761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90948D5-43A5-4951-AF86-53E70FCC22DD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11195" y="773214"/>
            <a:ext cx="8137525" cy="359833"/>
          </a:xfrm>
        </p:spPr>
        <p:txBody>
          <a:bodyPr anchor="ctr"/>
          <a:lstStyle>
            <a:lvl1pPr marL="0" indent="0" algn="l">
              <a:buFontTx/>
              <a:buNone/>
              <a:defRPr sz="1800" b="1">
                <a:solidFill>
                  <a:schemeClr val="tx1"/>
                </a:solidFill>
              </a:defRPr>
            </a:lvl1pPr>
            <a:lvl2pPr marL="174625" indent="0">
              <a:buFontTx/>
              <a:buNone/>
              <a:defRPr sz="1800">
                <a:solidFill>
                  <a:schemeClr val="tx1"/>
                </a:solidFill>
              </a:defRPr>
            </a:lvl2pPr>
            <a:lvl3pPr marL="368300" indent="0">
              <a:buFontTx/>
              <a:buNone/>
              <a:defRPr sz="1800">
                <a:solidFill>
                  <a:schemeClr val="tx1"/>
                </a:solidFill>
              </a:defRPr>
            </a:lvl3pPr>
            <a:lvl4pPr marL="630237" indent="0">
              <a:buFontTx/>
              <a:buNone/>
              <a:defRPr sz="1800">
                <a:solidFill>
                  <a:schemeClr val="tx1"/>
                </a:solidFill>
              </a:defRPr>
            </a:lvl4pPr>
            <a:lvl5pPr marL="800100" indent="0">
              <a:buFontTx/>
              <a:buNone/>
              <a:defRPr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6"/>
          </p:nvPr>
        </p:nvSpPr>
        <p:spPr bwMode="auto">
          <a:xfrm>
            <a:off x="611193" y="4807479"/>
            <a:ext cx="8137525" cy="269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180975" indent="-180975">
              <a:buClr>
                <a:schemeClr val="tx1"/>
              </a:buClr>
              <a:buFont typeface="+mj-lt"/>
              <a:buAutoNum type="arabicPeriod"/>
              <a:defRPr sz="900"/>
            </a:lvl1pPr>
            <a:lvl2pPr marL="361950" indent="-187325">
              <a:buClr>
                <a:schemeClr val="tx1"/>
              </a:buClr>
              <a:buFont typeface="+mj-lt"/>
              <a:buAutoNum type="arabicPeriod"/>
              <a:defRPr sz="900"/>
            </a:lvl2pPr>
            <a:lvl3pPr marL="592138" indent="-228600">
              <a:buClr>
                <a:schemeClr val="tx1"/>
              </a:buClr>
              <a:buFont typeface="+mj-lt"/>
              <a:buAutoNum type="arabicPeriod"/>
              <a:defRPr sz="900"/>
            </a:lvl3pPr>
            <a:lvl4pPr marL="1506537" indent="-342900">
              <a:buClr>
                <a:schemeClr val="tx1"/>
              </a:buClr>
              <a:buFont typeface="+mj-lt"/>
              <a:buAutoNum type="arabicPeriod"/>
              <a:defRPr sz="900"/>
            </a:lvl4pPr>
            <a:lvl5pPr marL="1862137" indent="-342900">
              <a:buClr>
                <a:schemeClr val="tx1"/>
              </a:buClr>
              <a:buFont typeface="+mj-lt"/>
              <a:buAutoNum type="arabicPeriod"/>
              <a:defRPr sz="900"/>
            </a:lvl5pPr>
          </a:lstStyle>
          <a:p>
            <a:pPr marL="180975" marR="0" lvl="0" indent="-1809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ysClr val="windowText" lastClr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lick to edit Master text styles</a:t>
            </a:r>
          </a:p>
          <a:p>
            <a:pPr marL="180975" marR="0" lvl="1" indent="-180975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ysClr val="windowText" lastClr="000000"/>
              </a:buClr>
              <a:buSzTx/>
              <a:buFont typeface="+mj-lt"/>
              <a:buAutoNum type="arabicPeriod"/>
              <a:tabLst/>
              <a:defRPr/>
            </a:pPr>
            <a:r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econd level</a:t>
            </a:r>
          </a:p>
        </p:txBody>
      </p:sp>
      <p:sp>
        <p:nvSpPr>
          <p:cNvPr id="8" name="Date Placeholder 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724525" y="5515240"/>
            <a:ext cx="3024188" cy="89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srgbClr val="000000"/>
                </a:solidFill>
              </a:rPr>
              <a:t>24 May 2013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364162" y="5397000"/>
            <a:ext cx="3168000" cy="9045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 cap="all" baseline="0">
                <a:solidFill>
                  <a:schemeClr val="tx1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solidFill>
                  <a:srgbClr val="000000"/>
                </a:solidFill>
              </a:rPr>
              <a:t>Revealing Flexibility Value Proposal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4021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933306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49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1800" y="5163703"/>
            <a:ext cx="1369148" cy="409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13" descr="ST"/>
          <p:cNvPicPr>
            <a:picLocks noChangeAspect="1" noChangeArrowheads="1"/>
          </p:cNvPicPr>
          <p:nvPr userDrawn="1"/>
        </p:nvPicPr>
        <p:blipFill>
          <a:blip r:embed="rId7" cstate="print"/>
          <a:srcRect l="56990" t="63757"/>
          <a:stretch>
            <a:fillRect/>
          </a:stretch>
        </p:blipFill>
        <p:spPr bwMode="auto">
          <a:xfrm>
            <a:off x="3460750" y="2128153"/>
            <a:ext cx="5683250" cy="35868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431800" y="165427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smtClean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431800" y="297706"/>
            <a:ext cx="29815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</a:rPr>
              <a:t>Last Modified 25.10.2013 15:59 W. Europe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431800" y="431335"/>
            <a:ext cx="26609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smtClean="0">
                <a:solidFill>
                  <a:srgbClr val="000000"/>
                </a:solidFill>
                <a:latin typeface="Arial"/>
              </a:rPr>
              <a:t>Printed 17.10.2013 00:42 W. Europe Standard Time</a:t>
            </a: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431800" y="3944080"/>
            <a:ext cx="5036084" cy="476475"/>
            <a:chOff x="1663" y="3082"/>
            <a:chExt cx="3109" cy="353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82"/>
              <a:ext cx="3109" cy="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776F65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776F65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31800" y="1017956"/>
            <a:ext cx="6501780" cy="61555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>
              <a:defRPr sz="4000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nb-NO" noProof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31800" y="2681073"/>
            <a:ext cx="5036084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nb-NO" noProof="0" smtClean="0"/>
              <a:t>Click to edit Master subtitle style</a:t>
            </a:r>
          </a:p>
        </p:txBody>
      </p:sp>
      <p:sp>
        <p:nvSpPr>
          <p:cNvPr id="22" name="doc id"/>
          <p:cNvSpPr>
            <a:spLocks noChangeArrowheads="1"/>
          </p:cNvSpPr>
          <p:nvPr userDrawn="1"/>
        </p:nvSpPr>
        <p:spPr bwMode="auto">
          <a:xfrm>
            <a:off x="8041586" y="31046"/>
            <a:ext cx="670614" cy="1039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endParaRPr lang="nb-NO" sz="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6217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1"/>
          <p:cNvSpPr txBox="1">
            <a:spLocks/>
          </p:cNvSpPr>
          <p:nvPr userDrawn="1"/>
        </p:nvSpPr>
        <p:spPr bwMode="auto">
          <a:xfrm>
            <a:off x="431800" y="5488664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b="1" kern="1200" baseline="0" smtClean="0">
                <a:solidFill>
                  <a:srgbClr val="D5B700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400"/>
            <a:fld id="{42C328C1-A84F-4A39-A664-DBA00541A8C6}" type="slidenum">
              <a:rPr/>
              <a:pPr defTabSz="914400"/>
              <a:t>‹#›</a:t>
            </a:fld>
            <a:endParaRPr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35548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578916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2C328C1-A84F-4A39-A664-DBA00541A8C6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461786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49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1800" y="5104069"/>
            <a:ext cx="1369148" cy="409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438" y="0"/>
            <a:ext cx="5349692" cy="2744327"/>
          </a:xfrm>
        </p:spPr>
        <p:txBody>
          <a:bodyPr>
            <a:noAutofit/>
          </a:bodyPr>
          <a:lstStyle>
            <a:lvl1pPr algn="l">
              <a:defRPr sz="4000" cap="all">
                <a:solidFill>
                  <a:schemeClr val="accent6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5438" y="2857498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5F574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37771" y="2319786"/>
            <a:ext cx="3606230" cy="3395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67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mage 1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en-GB" smtClean="0">
                <a:solidFill>
                  <a:srgbClr val="E5D100"/>
                </a:solidFill>
              </a:rPr>
              <a:pPr/>
              <a:t>‹#›</a:t>
            </a:fld>
            <a:endParaRPr lang="en-GB">
              <a:solidFill>
                <a:srgbClr val="E5D1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25438" y="623836"/>
            <a:ext cx="8386762" cy="1780357"/>
          </a:xfrm>
        </p:spPr>
        <p:txBody>
          <a:bodyPr>
            <a:noAutofit/>
          </a:bodyPr>
          <a:lstStyle>
            <a:lvl1pPr algn="l">
              <a:defRPr sz="3600" b="1" cap="all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25438" y="2517364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rgbClr val="FFFFFF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/>
          </a:p>
        </p:txBody>
      </p:sp>
      <p:pic>
        <p:nvPicPr>
          <p:cNvPr id="10" name="Picture 49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2142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image 2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en-GB" smtClean="0">
                <a:solidFill>
                  <a:srgbClr val="E5D100"/>
                </a:solidFill>
              </a:rPr>
              <a:pPr/>
              <a:t>‹#›</a:t>
            </a:fld>
            <a:endParaRPr lang="en-GB">
              <a:solidFill>
                <a:srgbClr val="E5D1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25438" y="623836"/>
            <a:ext cx="8386762" cy="1780357"/>
          </a:xfrm>
        </p:spPr>
        <p:txBody>
          <a:bodyPr>
            <a:noAutofit/>
          </a:bodyPr>
          <a:lstStyle>
            <a:lvl1pPr algn="l">
              <a:defRPr sz="3600" cap="all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25438" y="2517364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rgbClr val="FFFFFF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/>
          </a:p>
        </p:txBody>
      </p:sp>
      <p:pic>
        <p:nvPicPr>
          <p:cNvPr id="10" name="Picture 49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55148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647541" y="2544933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38723" y="2544933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3966" y="2544933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000" y="622587"/>
            <a:ext cx="8388000" cy="1782000"/>
          </a:xfrm>
        </p:spPr>
        <p:txBody>
          <a:bodyPr/>
          <a:lstStyle>
            <a:lvl1pPr>
              <a:defRPr lang="nb-NO" sz="3600" b="1" kern="1200" cap="all" smtClean="0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  <a:latin typeface="Arial"/>
                <a:ea typeface="+mj-ea"/>
                <a:cs typeface="Arial"/>
              </a:defRPr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276225" y="2246484"/>
            <a:ext cx="79020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en-US" sz="7200" b="1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rPr>
              <a:t>1</a:t>
            </a:r>
            <a:endParaRPr lang="en-US" sz="7200" b="1" kern="1200" dirty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3230981" y="2246484"/>
            <a:ext cx="79020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en-US" sz="7200" b="1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rPr>
              <a:t>2</a:t>
            </a:r>
            <a:endParaRPr lang="en-US" sz="7200" b="1" kern="1200" dirty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039799" y="2246484"/>
            <a:ext cx="79020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800"/>
              </a:spcBef>
              <a:spcAft>
                <a:spcPts val="0"/>
              </a:spcAft>
              <a:buClr>
                <a:schemeClr val="accent4"/>
              </a:buClr>
              <a:buSzPct val="80000"/>
              <a:buFont typeface="Wingdings 3" charset="2"/>
              <a:buNone/>
              <a:tabLst/>
            </a:pPr>
            <a:r>
              <a:rPr lang="en-US" sz="7200" b="1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rPr>
              <a:t>3</a:t>
            </a:r>
            <a:endParaRPr lang="en-US" sz="7200" b="1" kern="1200" dirty="0">
              <a:solidFill>
                <a:schemeClr val="bg1"/>
              </a:solidFill>
              <a:latin typeface="Arial"/>
              <a:ea typeface="+mn-ea"/>
              <a:cs typeface="Arial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1200" y="5266233"/>
            <a:ext cx="390845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fld id="{5B2ACB19-C0E1-7345-B8BA-15A723BE30E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49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67869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3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pic>
        <p:nvPicPr>
          <p:cNvPr id="16" name="Picture 49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en-GB" smtClean="0">
                <a:solidFill>
                  <a:srgbClr val="E5D100"/>
                </a:solidFill>
              </a:rPr>
              <a:pPr/>
              <a:t>‹#›</a:t>
            </a:fld>
            <a:endParaRPr lang="en-GB">
              <a:solidFill>
                <a:srgbClr val="E5D100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647541" y="2625999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38723" y="2625999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3966" y="2625999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24000" y="622587"/>
            <a:ext cx="8388000" cy="1782000"/>
          </a:xfrm>
        </p:spPr>
        <p:txBody>
          <a:bodyPr>
            <a:noAutofit/>
          </a:bodyPr>
          <a:lstStyle>
            <a:lvl1pPr>
              <a:defRPr lang="nb-NO" sz="3600" b="1" kern="1200" cap="all" smtClean="0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  <a:latin typeface="Arial"/>
                <a:ea typeface="+mj-ea"/>
                <a:cs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276225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en-GB" sz="6800" b="1" smtClean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lang="en-GB" sz="6800" b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3230981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en-GB" sz="6800" b="1" smtClean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endParaRPr lang="en-GB" sz="6800" b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39799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en-GB" sz="6800" b="1" smtClean="0">
                <a:solidFill>
                  <a:srgbClr val="FFFFFF"/>
                </a:solidFill>
                <a:latin typeface="Arial"/>
                <a:cs typeface="Arial"/>
              </a:rPr>
              <a:t>3</a:t>
            </a:r>
            <a:endParaRPr lang="en-GB" sz="6800" b="1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8826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6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pic>
        <p:nvPicPr>
          <p:cNvPr id="22" name="Picture 49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en-GB" smtClean="0">
                <a:solidFill>
                  <a:srgbClr val="E5D100"/>
                </a:solidFill>
              </a:rPr>
              <a:pPr/>
              <a:t>‹#›</a:t>
            </a:fld>
            <a:endParaRPr lang="en-GB">
              <a:solidFill>
                <a:srgbClr val="E5D100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647541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38723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3966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24000" y="499374"/>
            <a:ext cx="8388000" cy="1026516"/>
          </a:xfrm>
        </p:spPr>
        <p:txBody>
          <a:bodyPr>
            <a:noAutofit/>
          </a:bodyPr>
          <a:lstStyle>
            <a:lvl1pPr>
              <a:defRPr lang="nb-NO" sz="3600" b="1" kern="1200" cap="all" smtClean="0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  <a:latin typeface="Arial"/>
                <a:ea typeface="+mj-ea"/>
                <a:cs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276225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en-GB" sz="6800" b="1" smtClean="0">
                <a:solidFill>
                  <a:srgbClr val="FFFFFF"/>
                </a:solidFill>
                <a:latin typeface="Arial"/>
                <a:cs typeface="Arial"/>
              </a:rPr>
              <a:t>1</a:t>
            </a:r>
            <a:endParaRPr lang="en-GB" sz="6800" b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3230981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en-GB" sz="6800" b="1" smtClean="0">
                <a:solidFill>
                  <a:srgbClr val="FFFFFF"/>
                </a:solidFill>
                <a:latin typeface="Arial"/>
                <a:cs typeface="Arial"/>
              </a:rPr>
              <a:t>2</a:t>
            </a:r>
            <a:endParaRPr lang="en-GB" sz="6800" b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39799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en-GB" sz="6800" b="1" smtClean="0">
                <a:solidFill>
                  <a:srgbClr val="FFFFFF"/>
                </a:solidFill>
                <a:latin typeface="Arial"/>
                <a:cs typeface="Arial"/>
              </a:rPr>
              <a:t>3</a:t>
            </a:r>
            <a:endParaRPr lang="en-GB" sz="6800" b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884718" y="341342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286455" y="314199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en-GB" sz="6800" b="1" smtClean="0">
                <a:solidFill>
                  <a:srgbClr val="FFFFFF"/>
                </a:solidFill>
                <a:latin typeface="Arial"/>
                <a:cs typeface="Arial"/>
              </a:rPr>
              <a:t>4</a:t>
            </a:r>
            <a:endParaRPr lang="en-GB" sz="6800" b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46698" y="3408494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6048435" y="3137067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en-GB" sz="6800" b="1" smtClean="0">
                <a:solidFill>
                  <a:srgbClr val="FFFFFF"/>
                </a:solidFill>
                <a:latin typeface="Arial"/>
                <a:cs typeface="Arial"/>
              </a:rPr>
              <a:t>6</a:t>
            </a:r>
            <a:endParaRPr lang="en-GB" sz="6800" b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841804" y="341342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3243541" y="314199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en-GB" sz="6800" b="1" smtClean="0">
                <a:solidFill>
                  <a:srgbClr val="FFFFFF"/>
                </a:solidFill>
                <a:latin typeface="Arial"/>
                <a:cs typeface="Arial"/>
              </a:rPr>
              <a:t>5</a:t>
            </a:r>
            <a:endParaRPr lang="en-GB" sz="6800" b="1">
              <a:solidFill>
                <a:srgbClr val="FFFFFF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34570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0" y="1158556"/>
            <a:ext cx="8381000" cy="384604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smtClean="0">
                <a:solidFill>
                  <a:srgbClr val="E5D100"/>
                </a:solidFill>
              </a:rPr>
              <a:pPr/>
              <a:t>‹#›</a:t>
            </a:fld>
            <a:endParaRPr lang="en-GB">
              <a:solidFill>
                <a:srgbClr val="E5D1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0427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1199" y="1158556"/>
            <a:ext cx="4038600" cy="3846039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8556"/>
            <a:ext cx="4064000" cy="384604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en-GB" smtClean="0">
                <a:solidFill>
                  <a:srgbClr val="E5D100"/>
                </a:solidFill>
              </a:rPr>
              <a:pPr/>
              <a:t>‹#›</a:t>
            </a:fld>
            <a:endParaRPr lang="en-GB">
              <a:solidFill>
                <a:srgbClr val="E5D1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5508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8556"/>
            <a:ext cx="4064000" cy="384604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en-GB" smtClean="0">
                <a:solidFill>
                  <a:srgbClr val="E5D100"/>
                </a:solidFill>
              </a:rPr>
              <a:pPr/>
              <a:t>‹#›</a:t>
            </a:fld>
            <a:endParaRPr lang="en-GB">
              <a:solidFill>
                <a:srgbClr val="E5D1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28625" y="1158556"/>
            <a:ext cx="3941763" cy="3846832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946952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158556"/>
            <a:ext cx="4038600" cy="384604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en-GB" smtClean="0">
                <a:solidFill>
                  <a:srgbClr val="E5D100"/>
                </a:solidFill>
              </a:rPr>
              <a:pPr/>
              <a:t>‹#›</a:t>
            </a:fld>
            <a:endParaRPr lang="en-GB">
              <a:solidFill>
                <a:srgbClr val="E5D1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70437" y="1158556"/>
            <a:ext cx="3941763" cy="3846832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8227766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199" y="1158555"/>
            <a:ext cx="4040188" cy="488421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746250"/>
            <a:ext cx="4040188" cy="3258345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8555"/>
            <a:ext cx="4067174" cy="488421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746250"/>
            <a:ext cx="4067174" cy="3258345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en-GB" smtClean="0">
                <a:solidFill>
                  <a:srgbClr val="E5D100"/>
                </a:solidFill>
              </a:rPr>
              <a:pPr/>
              <a:t>‹#›</a:t>
            </a:fld>
            <a:endParaRPr lang="en-GB">
              <a:solidFill>
                <a:srgbClr val="E5D1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2564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smtClean="0">
                <a:solidFill>
                  <a:srgbClr val="E5D100"/>
                </a:solidFill>
              </a:rPr>
              <a:pPr/>
              <a:t>‹#›</a:t>
            </a:fld>
            <a:endParaRPr lang="en-GB">
              <a:solidFill>
                <a:srgbClr val="E5D100"/>
              </a:solidFill>
            </a:endParaRPr>
          </a:p>
        </p:txBody>
      </p:sp>
      <p:graphicFrame>
        <p:nvGraphicFramePr>
          <p:cNvPr id="8" name="Content Placeholder 4"/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751990079"/>
              </p:ext>
            </p:extLst>
          </p:nvPr>
        </p:nvGraphicFramePr>
        <p:xfrm>
          <a:off x="444452" y="1180366"/>
          <a:ext cx="8267748" cy="3560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66937"/>
                <a:gridCol w="2066937"/>
                <a:gridCol w="2066937"/>
                <a:gridCol w="2066937"/>
              </a:tblGrid>
              <a:tr h="890244">
                <a:tc>
                  <a:txBody>
                    <a:bodyPr/>
                    <a:lstStyle/>
                    <a:p>
                      <a:endParaRPr lang="en-GB" sz="1600" b="1" noProof="0">
                        <a:latin typeface="Arial"/>
                        <a:cs typeface="Arial"/>
                      </a:endParaRPr>
                    </a:p>
                  </a:txBody>
                  <a:tcPr marL="92403" marR="92403"/>
                </a:tc>
                <a:tc>
                  <a:txBody>
                    <a:bodyPr/>
                    <a:lstStyle/>
                    <a:p>
                      <a:endParaRPr lang="en-GB" sz="1600" b="1" noProof="0">
                        <a:latin typeface="Arial"/>
                        <a:cs typeface="Arial"/>
                      </a:endParaRPr>
                    </a:p>
                  </a:txBody>
                  <a:tcPr marL="92403" marR="92403"/>
                </a:tc>
                <a:tc>
                  <a:txBody>
                    <a:bodyPr/>
                    <a:lstStyle/>
                    <a:p>
                      <a:endParaRPr lang="en-GB" sz="1600" b="1" noProof="0">
                        <a:latin typeface="Arial"/>
                        <a:cs typeface="Arial"/>
                      </a:endParaRPr>
                    </a:p>
                  </a:txBody>
                  <a:tcPr marL="92403" marR="92403"/>
                </a:tc>
                <a:tc>
                  <a:txBody>
                    <a:bodyPr/>
                    <a:lstStyle/>
                    <a:p>
                      <a:endParaRPr lang="en-GB" sz="1600" b="1" noProof="0">
                        <a:latin typeface="Arial"/>
                        <a:cs typeface="Arial"/>
                      </a:endParaRPr>
                    </a:p>
                  </a:txBody>
                  <a:tcPr marL="92403" marR="92403"/>
                </a:tc>
              </a:tr>
              <a:tr h="890244">
                <a:tc>
                  <a:txBody>
                    <a:bodyPr/>
                    <a:lstStyle/>
                    <a:p>
                      <a:endParaRPr lang="en-GB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890244">
                <a:tc>
                  <a:txBody>
                    <a:bodyPr/>
                    <a:lstStyle/>
                    <a:p>
                      <a:endParaRPr lang="en-GB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/>
                    </a:solidFill>
                  </a:tcPr>
                </a:tc>
              </a:tr>
              <a:tr h="890244">
                <a:tc>
                  <a:txBody>
                    <a:bodyPr/>
                    <a:lstStyle/>
                    <a:p>
                      <a:endParaRPr lang="en-GB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b="0" noProof="0" dirty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8521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smtClean="0">
                <a:solidFill>
                  <a:srgbClr val="E5D100"/>
                </a:solidFill>
              </a:rPr>
              <a:pPr/>
              <a:t>‹#›</a:t>
            </a:fld>
            <a:endParaRPr lang="en-GB">
              <a:solidFill>
                <a:srgbClr val="E5D1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68281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smtClean="0">
                <a:solidFill>
                  <a:srgbClr val="E5D100"/>
                </a:solidFill>
              </a:rPr>
              <a:pPr/>
              <a:t>‹#›</a:t>
            </a:fld>
            <a:endParaRPr lang="en-GB">
              <a:solidFill>
                <a:srgbClr val="E5D1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1830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0" y="1158556"/>
            <a:ext cx="8381000" cy="3846040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2917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smtClean="0">
                <a:solidFill>
                  <a:srgbClr val="E5D100"/>
                </a:solidFill>
              </a:rPr>
              <a:pPr/>
              <a:t>‹#›</a:t>
            </a:fld>
            <a:endParaRPr lang="en-GB">
              <a:solidFill>
                <a:srgbClr val="E5D100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38150" y="1158875"/>
            <a:ext cx="8274050" cy="3846513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887547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-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smtClean="0">
                <a:solidFill>
                  <a:srgbClr val="E5D100"/>
                </a:solidFill>
              </a:rPr>
              <a:pPr/>
              <a:t>‹#›</a:t>
            </a:fld>
            <a:endParaRPr lang="en-GB">
              <a:solidFill>
                <a:srgbClr val="E5D100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9849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753407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gn off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3336119"/>
            <a:ext cx="9144000" cy="237888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pic>
        <p:nvPicPr>
          <p:cNvPr id="3" name="Picture 2" descr="ST_pure_pos_rgb_5cm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676" y="3771899"/>
            <a:ext cx="2254724" cy="694745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6490370" y="5123370"/>
            <a:ext cx="2256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400" dirty="0" smtClean="0">
                <a:solidFill>
                  <a:srgbClr val="00B0DC"/>
                </a:solidFill>
                <a:latin typeface="Arial"/>
                <a:cs typeface="Arial"/>
              </a:rPr>
              <a:t>www.statkraft.com</a:t>
            </a:r>
          </a:p>
        </p:txBody>
      </p:sp>
      <p:sp>
        <p:nvSpPr>
          <p:cNvPr id="2" name="TextBox 1"/>
          <p:cNvSpPr txBox="1"/>
          <p:nvPr userDrawn="1"/>
        </p:nvSpPr>
        <p:spPr>
          <a:xfrm>
            <a:off x="179214" y="2535152"/>
            <a:ext cx="555416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6000" b="1" smtClean="0">
                <a:solidFill>
                  <a:srgbClr val="FFFFFF"/>
                </a:solidFill>
                <a:latin typeface="Arial"/>
                <a:cs typeface="Arial"/>
              </a:rPr>
              <a:t>THANK YOU</a:t>
            </a:r>
            <a:endParaRPr lang="en-GB" sz="6000" b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49297" y="3771900"/>
            <a:ext cx="5157788" cy="12795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179387" indent="0">
              <a:buNone/>
              <a:defRPr/>
            </a:lvl2pPr>
            <a:lvl3pPr marL="358775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68388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0" y="1158556"/>
            <a:ext cx="8381000" cy="3846040"/>
          </a:xfrm>
        </p:spPr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B2ACB19-C0E1-7345-B8BA-15A723BE30E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83660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image 1b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1"/>
            <a:ext cx="9144000" cy="5715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B2ACB19-C0E1-7345-B8BA-15A723BE30E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49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31199" y="142170"/>
            <a:ext cx="8381001" cy="777164"/>
          </a:xfrm>
        </p:spPr>
        <p:txBody>
          <a:bodyPr anchor="t" anchorCtr="0"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98973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647541" y="2544933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38723" y="2544933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3966" y="2544933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000" y="622587"/>
            <a:ext cx="8388000" cy="1782000"/>
          </a:xfrm>
        </p:spPr>
        <p:txBody>
          <a:bodyPr/>
          <a:lstStyle>
            <a:lvl1pPr>
              <a:defRPr lang="nb-NO" sz="3600" b="1" kern="1200" cap="all" smtClean="0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  <a:latin typeface="Arial"/>
                <a:ea typeface="+mj-ea"/>
                <a:cs typeface="Arial"/>
              </a:defRPr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276225" y="2246484"/>
            <a:ext cx="79020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D5B700"/>
              </a:buClr>
              <a:buSzPct val="80000"/>
              <a:buFont typeface="Wingdings 3" charset="2"/>
              <a:buNone/>
            </a:pPr>
            <a:r>
              <a:rPr lang="en-US" sz="7200" b="1" dirty="0" smtClean="0">
                <a:solidFill>
                  <a:srgbClr val="FFFFFF"/>
                </a:solidFill>
                <a:cs typeface="Arial"/>
              </a:rPr>
              <a:t>1</a:t>
            </a:r>
            <a:endParaRPr lang="en-US" sz="7200" b="1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3230981" y="2246484"/>
            <a:ext cx="79020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D5B700"/>
              </a:buClr>
              <a:buSzPct val="80000"/>
              <a:buFont typeface="Wingdings 3" charset="2"/>
              <a:buNone/>
            </a:pPr>
            <a:r>
              <a:rPr lang="en-US" sz="7200" b="1" dirty="0" smtClean="0">
                <a:solidFill>
                  <a:srgbClr val="FFFFFF"/>
                </a:solidFill>
                <a:cs typeface="Arial"/>
              </a:rPr>
              <a:t>2</a:t>
            </a:r>
            <a:endParaRPr lang="en-US" sz="7200" b="1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039799" y="2246484"/>
            <a:ext cx="79020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D5B700"/>
              </a:buClr>
              <a:buSzPct val="80000"/>
              <a:buFont typeface="Wingdings 3" charset="2"/>
              <a:buNone/>
            </a:pPr>
            <a:r>
              <a:rPr lang="en-US" sz="7200" b="1" dirty="0" smtClean="0">
                <a:solidFill>
                  <a:srgbClr val="FFFFFF"/>
                </a:solidFill>
                <a:cs typeface="Arial"/>
              </a:rPr>
              <a:t>3</a:t>
            </a:r>
            <a:endParaRPr lang="en-US" sz="7200" b="1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1200" y="5266233"/>
            <a:ext cx="390845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 dirty="0">
              <a:solidFill>
                <a:srgbClr val="D5B700"/>
              </a:solidFill>
            </a:endParaRPr>
          </a:p>
        </p:txBody>
      </p:sp>
      <p:pic>
        <p:nvPicPr>
          <p:cNvPr id="15" name="Picture 49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66125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0" y="1158556"/>
            <a:ext cx="8381000" cy="3846040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B2ACB19-C0E1-7345-B8BA-15A723BE30E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2256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- ocher whit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0" y="1158556"/>
            <a:ext cx="8381000" cy="3846040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B2ACB19-C0E1-7345-B8BA-15A723BE30E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49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787798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left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8556"/>
            <a:ext cx="4038600" cy="38460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5B2ACB19-C0E1-7345-B8BA-15A723BE30E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28625" y="1158556"/>
            <a:ext cx="3941763" cy="3846832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0009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right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158556"/>
            <a:ext cx="4038600" cy="38460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70437" y="1158556"/>
            <a:ext cx="3941763" cy="3846832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4270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- ocher whit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0" y="1158556"/>
            <a:ext cx="8381000" cy="3846040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49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90336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0" y="1158556"/>
            <a:ext cx="8381000" cy="384604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44781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left -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8556"/>
            <a:ext cx="4038600" cy="3846040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600"/>
            </a:lvl2pPr>
            <a:lvl3pPr>
              <a:buClr>
                <a:schemeClr val="accent1"/>
              </a:buCl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28625" y="1158556"/>
            <a:ext cx="3941763" cy="384683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4567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right -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158556"/>
            <a:ext cx="4038600" cy="3846040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600"/>
            </a:lvl2pPr>
            <a:lvl3pPr>
              <a:buClr>
                <a:schemeClr val="accent1"/>
              </a:buCl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70437" y="1158556"/>
            <a:ext cx="3941763" cy="384683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7691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Click to edit Master title styl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38150" y="1158875"/>
            <a:ext cx="8274050" cy="384651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5971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984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2751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- 3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6" name="Picture 49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647541" y="2625999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38723" y="2625999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3966" y="2625999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24000" y="622587"/>
            <a:ext cx="8388000" cy="1782000"/>
          </a:xfrm>
        </p:spPr>
        <p:txBody>
          <a:bodyPr>
            <a:noAutofit/>
          </a:bodyPr>
          <a:lstStyle>
            <a:lvl1pPr>
              <a:defRPr lang="nb-NO" sz="3600" b="1" kern="1200" cap="all" smtClean="0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  <a:latin typeface="Arial"/>
                <a:ea typeface="+mj-ea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276225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D5B700"/>
              </a:buClr>
              <a:buSzPct val="80000"/>
              <a:buFont typeface="Wingdings 3" charset="2"/>
              <a:buNone/>
            </a:pPr>
            <a:r>
              <a:rPr lang="en-US" sz="6800" b="1" dirty="0" smtClean="0">
                <a:solidFill>
                  <a:srgbClr val="FFFFFF"/>
                </a:solidFill>
                <a:cs typeface="Arial"/>
              </a:rPr>
              <a:t>1</a:t>
            </a:r>
            <a:endParaRPr lang="en-US" sz="6800" b="1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3230981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D5B700"/>
              </a:buClr>
              <a:buSzPct val="80000"/>
              <a:buFont typeface="Wingdings 3" charset="2"/>
              <a:buNone/>
            </a:pPr>
            <a:r>
              <a:rPr lang="en-US" sz="6800" b="1" dirty="0" smtClean="0">
                <a:solidFill>
                  <a:srgbClr val="FFFFFF"/>
                </a:solidFill>
                <a:cs typeface="Arial"/>
              </a:rPr>
              <a:t>2</a:t>
            </a:r>
            <a:endParaRPr lang="en-US" sz="6800" b="1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39799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D5B700"/>
              </a:buClr>
              <a:buSzPct val="80000"/>
              <a:buFont typeface="Wingdings 3" charset="2"/>
              <a:buNone/>
            </a:pPr>
            <a:r>
              <a:rPr lang="en-US" sz="6800" b="1" dirty="0" smtClean="0">
                <a:solidFill>
                  <a:srgbClr val="FFFFFF"/>
                </a:solidFill>
                <a:cs typeface="Arial"/>
              </a:rPr>
              <a:t>3</a:t>
            </a:r>
            <a:endParaRPr lang="en-US" sz="6800" b="1" dirty="0">
              <a:solidFill>
                <a:srgbClr val="FFFFFF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0050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0" y="1158556"/>
            <a:ext cx="8381000" cy="384604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86FFB9-9937-4FD5-BBA5-946BB9D22CFA}" type="slidenum">
              <a:rPr lang="en-US">
                <a:solidFill>
                  <a:srgbClr val="D5B7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D5B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937141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ign off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3336119"/>
            <a:ext cx="9144000" cy="237888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3" name="Picture 2" descr="ST_pure_pos_rgb_5cm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676" y="3771899"/>
            <a:ext cx="2254724" cy="694745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6490370" y="5123370"/>
            <a:ext cx="2256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 err="1" smtClean="0">
                <a:solidFill>
                  <a:srgbClr val="00A6D3"/>
                </a:solidFill>
                <a:cs typeface="Arial"/>
              </a:rPr>
              <a:t>www.statkraft.com</a:t>
            </a:r>
            <a:endParaRPr lang="en-US" sz="1400" dirty="0" smtClean="0">
              <a:solidFill>
                <a:srgbClr val="00A6D3"/>
              </a:solidFill>
              <a:cs typeface="Arial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79214" y="2535152"/>
            <a:ext cx="555416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 smtClean="0">
                <a:solidFill>
                  <a:srgbClr val="FFFFFF"/>
                </a:solidFill>
                <a:cs typeface="Arial"/>
              </a:rPr>
              <a:t>THANK YOU</a:t>
            </a:r>
            <a:endParaRPr lang="en-US" sz="6000" b="1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49297" y="3771900"/>
            <a:ext cx="5157788" cy="12795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179387" indent="0">
              <a:buNone/>
              <a:defRPr/>
            </a:lvl2pPr>
            <a:lvl3pPr marL="358775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8885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438" y="0"/>
            <a:ext cx="5349692" cy="2744327"/>
          </a:xfrm>
        </p:spPr>
        <p:txBody>
          <a:bodyPr>
            <a:noAutofit/>
          </a:bodyPr>
          <a:lstStyle>
            <a:lvl1pPr algn="l">
              <a:defRPr sz="4000" cap="all">
                <a:solidFill>
                  <a:schemeClr val="accent6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5438" y="2857498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5F574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nb-NO" noProof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37771" y="2319786"/>
            <a:ext cx="3606230" cy="3395213"/>
          </a:xfrm>
          <a:prstGeom prst="rect">
            <a:avLst/>
          </a:prstGeom>
        </p:spPr>
      </p:pic>
      <p:pic>
        <p:nvPicPr>
          <p:cNvPr id="6" name="Picture 49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1800" y="5104069"/>
            <a:ext cx="1369148" cy="409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99741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mage 1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25438" y="623836"/>
            <a:ext cx="8386762" cy="1780357"/>
          </a:xfrm>
        </p:spPr>
        <p:txBody>
          <a:bodyPr>
            <a:noAutofit/>
          </a:bodyPr>
          <a:lstStyle>
            <a:lvl1pPr algn="l">
              <a:defRPr sz="3600" b="1" cap="all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25438" y="2517364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rgbClr val="FFFFFF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nb-NO" noProof="0"/>
          </a:p>
        </p:txBody>
      </p:sp>
      <p:pic>
        <p:nvPicPr>
          <p:cNvPr id="10" name="Picture 49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38044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1199" y="1158556"/>
            <a:ext cx="4038600" cy="3846039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8556"/>
            <a:ext cx="4038600" cy="38460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887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image 2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25438" y="623836"/>
            <a:ext cx="8386762" cy="1780357"/>
          </a:xfrm>
        </p:spPr>
        <p:txBody>
          <a:bodyPr>
            <a:noAutofit/>
          </a:bodyPr>
          <a:lstStyle>
            <a:lvl1pPr algn="l">
              <a:defRPr sz="3600" cap="all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25438" y="2517364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rgbClr val="FFFFFF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nb-NO" noProof="0"/>
          </a:p>
        </p:txBody>
      </p:sp>
      <p:pic>
        <p:nvPicPr>
          <p:cNvPr id="10" name="Picture 49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72199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3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>
              <a:solidFill>
                <a:srgbClr val="FFFFFF"/>
              </a:solidFill>
            </a:endParaRPr>
          </a:p>
        </p:txBody>
      </p:sp>
      <p:pic>
        <p:nvPicPr>
          <p:cNvPr id="16" name="Picture 49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647541" y="2625999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38723" y="2625999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3966" y="2625999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24000" y="622587"/>
            <a:ext cx="8388000" cy="1782000"/>
          </a:xfrm>
        </p:spPr>
        <p:txBody>
          <a:bodyPr>
            <a:noAutofit/>
          </a:bodyPr>
          <a:lstStyle>
            <a:lvl1pPr>
              <a:defRPr lang="nb-NO" sz="3600" b="1" kern="1200" cap="all" smtClean="0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  <a:latin typeface="Arial"/>
                <a:ea typeface="+mj-ea"/>
                <a:cs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276225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nb-NO" sz="6800" b="1" smtClean="0">
                <a:solidFill>
                  <a:srgbClr val="FFFFFF"/>
                </a:solidFill>
                <a:cs typeface="Arial"/>
              </a:rPr>
              <a:t>1</a:t>
            </a:r>
            <a:endParaRPr lang="nb-NO" sz="68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3230981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nb-NO" sz="6800" b="1" smtClean="0">
                <a:solidFill>
                  <a:srgbClr val="FFFFFF"/>
                </a:solidFill>
                <a:cs typeface="Arial"/>
              </a:rPr>
              <a:t>2</a:t>
            </a:r>
            <a:endParaRPr lang="nb-NO" sz="68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39799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nb-NO" sz="6800" b="1" smtClean="0">
                <a:solidFill>
                  <a:srgbClr val="FFFFFF"/>
                </a:solidFill>
                <a:cs typeface="Arial"/>
              </a:rPr>
              <a:t>3</a:t>
            </a:r>
            <a:endParaRPr lang="nb-NO" sz="6800" b="1">
              <a:solidFill>
                <a:srgbClr val="FFFFFF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76385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6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>
              <a:solidFill>
                <a:srgbClr val="FFFFFF"/>
              </a:solidFill>
            </a:endParaRPr>
          </a:p>
        </p:txBody>
      </p:sp>
      <p:pic>
        <p:nvPicPr>
          <p:cNvPr id="22" name="Picture 49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647541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38723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3966" y="179193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24000" y="499374"/>
            <a:ext cx="8388000" cy="1026516"/>
          </a:xfrm>
        </p:spPr>
        <p:txBody>
          <a:bodyPr>
            <a:noAutofit/>
          </a:bodyPr>
          <a:lstStyle>
            <a:lvl1pPr>
              <a:defRPr lang="nb-NO" sz="3600" b="1" kern="1200" cap="all" smtClean="0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  <a:latin typeface="Arial"/>
                <a:ea typeface="+mj-ea"/>
                <a:cs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276225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nb-NO" sz="6800" b="1" smtClean="0">
                <a:solidFill>
                  <a:srgbClr val="FFFFFF"/>
                </a:solidFill>
                <a:cs typeface="Arial"/>
              </a:rPr>
              <a:t>1</a:t>
            </a:r>
            <a:endParaRPr lang="nb-NO" sz="68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3230981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nb-NO" sz="6800" b="1" smtClean="0">
                <a:solidFill>
                  <a:srgbClr val="FFFFFF"/>
                </a:solidFill>
                <a:cs typeface="Arial"/>
              </a:rPr>
              <a:t>2</a:t>
            </a:r>
            <a:endParaRPr lang="nb-NO" sz="68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39799" y="152050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nb-NO" sz="6800" b="1" smtClean="0">
                <a:solidFill>
                  <a:srgbClr val="FFFFFF"/>
                </a:solidFill>
                <a:cs typeface="Arial"/>
              </a:rPr>
              <a:t>3</a:t>
            </a:r>
            <a:endParaRPr lang="nb-NO" sz="68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884718" y="341342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286455" y="314199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nb-NO" sz="6800" b="1" smtClean="0">
                <a:solidFill>
                  <a:srgbClr val="FFFFFF"/>
                </a:solidFill>
                <a:cs typeface="Arial"/>
              </a:rPr>
              <a:t>4</a:t>
            </a:r>
            <a:endParaRPr lang="nb-NO" sz="68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46698" y="3408494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6048435" y="3137067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nb-NO" sz="6800" b="1" smtClean="0">
                <a:solidFill>
                  <a:srgbClr val="FFFFFF"/>
                </a:solidFill>
                <a:cs typeface="Arial"/>
              </a:rPr>
              <a:t>6</a:t>
            </a:r>
            <a:endParaRPr lang="nb-NO" sz="68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841804" y="3413425"/>
            <a:ext cx="1980000" cy="158208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3243541" y="3141998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nb-NO" sz="6800" b="1" smtClean="0">
                <a:solidFill>
                  <a:srgbClr val="FFFFFF"/>
                </a:solidFill>
                <a:cs typeface="Arial"/>
              </a:rPr>
              <a:t>5</a:t>
            </a:r>
            <a:endParaRPr lang="nb-NO" sz="6800" b="1">
              <a:solidFill>
                <a:srgbClr val="FFFFFF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2021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0" y="1158556"/>
            <a:ext cx="8381000" cy="384604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73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1199" y="1158556"/>
            <a:ext cx="4038600" cy="3846039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8556"/>
            <a:ext cx="4064000" cy="384604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97715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8556"/>
            <a:ext cx="4064000" cy="384604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28625" y="1158556"/>
            <a:ext cx="3941763" cy="3846832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picture</a:t>
            </a:r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01679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158556"/>
            <a:ext cx="4038600" cy="384604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70437" y="1158556"/>
            <a:ext cx="3941763" cy="3846832"/>
          </a:xfrm>
        </p:spPr>
        <p:txBody>
          <a:bodyPr>
            <a:noAutofit/>
          </a:bodyPr>
          <a:lstStyle/>
          <a:p>
            <a:r>
              <a:rPr lang="en-US" noProof="0" smtClean="0"/>
              <a:t>Click icon to add picture</a:t>
            </a:r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1879589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199" y="1158555"/>
            <a:ext cx="4040188" cy="488421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746250"/>
            <a:ext cx="4040188" cy="3258345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8555"/>
            <a:ext cx="4067174" cy="488421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746250"/>
            <a:ext cx="4067174" cy="3258345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815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  <p:graphicFrame>
        <p:nvGraphicFramePr>
          <p:cNvPr id="8" name="Content Placeholder 4"/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673473705"/>
              </p:ext>
            </p:extLst>
          </p:nvPr>
        </p:nvGraphicFramePr>
        <p:xfrm>
          <a:off x="444452" y="1180366"/>
          <a:ext cx="8267748" cy="3560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66937"/>
                <a:gridCol w="2066937"/>
                <a:gridCol w="2066937"/>
                <a:gridCol w="2066937"/>
              </a:tblGrid>
              <a:tr h="890244">
                <a:tc>
                  <a:txBody>
                    <a:bodyPr/>
                    <a:lstStyle/>
                    <a:p>
                      <a:endParaRPr lang="nb-NO" sz="1600" b="1" noProof="0">
                        <a:latin typeface="Arial"/>
                        <a:cs typeface="Arial"/>
                      </a:endParaRPr>
                    </a:p>
                  </a:txBody>
                  <a:tcPr marL="92403" marR="92403"/>
                </a:tc>
                <a:tc>
                  <a:txBody>
                    <a:bodyPr/>
                    <a:lstStyle/>
                    <a:p>
                      <a:endParaRPr lang="nb-NO" sz="1600" b="1" noProof="0">
                        <a:latin typeface="Arial"/>
                        <a:cs typeface="Arial"/>
                      </a:endParaRPr>
                    </a:p>
                  </a:txBody>
                  <a:tcPr marL="92403" marR="92403"/>
                </a:tc>
                <a:tc>
                  <a:txBody>
                    <a:bodyPr/>
                    <a:lstStyle/>
                    <a:p>
                      <a:endParaRPr lang="nb-NO" sz="1600" b="1" noProof="0">
                        <a:latin typeface="Arial"/>
                        <a:cs typeface="Arial"/>
                      </a:endParaRPr>
                    </a:p>
                  </a:txBody>
                  <a:tcPr marL="92403" marR="92403"/>
                </a:tc>
                <a:tc>
                  <a:txBody>
                    <a:bodyPr/>
                    <a:lstStyle/>
                    <a:p>
                      <a:endParaRPr lang="nb-NO" sz="1600" b="1" noProof="0">
                        <a:latin typeface="Arial"/>
                        <a:cs typeface="Arial"/>
                      </a:endParaRPr>
                    </a:p>
                  </a:txBody>
                  <a:tcPr marL="92403" marR="92403"/>
                </a:tc>
              </a:tr>
              <a:tr h="890244"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  <a:tr h="890244"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/>
                    </a:solidFill>
                  </a:tcPr>
                </a:tc>
              </a:tr>
              <a:tr h="890244"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b="0" noProof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400" b="0" noProof="0" dirty="0">
                        <a:latin typeface="Arial"/>
                        <a:cs typeface="Arial"/>
                      </a:endParaRPr>
                    </a:p>
                  </a:txBody>
                  <a:tcPr marL="92403" marR="92403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038999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484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left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8556"/>
            <a:ext cx="4038600" cy="38460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28625" y="1158556"/>
            <a:ext cx="3941763" cy="3846832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1949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111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38150" y="1158875"/>
            <a:ext cx="8274050" cy="3846513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012940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- ful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9849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270661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gn off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3336119"/>
            <a:ext cx="9144000" cy="237888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79214" y="2535152"/>
            <a:ext cx="555416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6000" b="1" smtClean="0">
                <a:solidFill>
                  <a:srgbClr val="FFFFFF"/>
                </a:solidFill>
                <a:cs typeface="Arial"/>
              </a:rPr>
              <a:t>TAKK</a:t>
            </a:r>
            <a:endParaRPr lang="nb-NO" sz="60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49297" y="3771900"/>
            <a:ext cx="5157788" cy="12795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179387" indent="0">
              <a:buNone/>
              <a:defRPr/>
            </a:lvl2pPr>
            <a:lvl3pPr marL="358775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676" y="3771899"/>
            <a:ext cx="2254724" cy="694744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6490370" y="5123370"/>
            <a:ext cx="2256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400" smtClean="0">
                <a:solidFill>
                  <a:srgbClr val="00B0DC"/>
                </a:solidFill>
                <a:cs typeface="Arial"/>
              </a:rPr>
              <a:t>www.statkraft.no</a:t>
            </a:r>
          </a:p>
        </p:txBody>
      </p:sp>
    </p:spTree>
    <p:extLst>
      <p:ext uri="{BB962C8B-B14F-4D97-AF65-F5344CB8AC3E}">
        <p14:creationId xmlns:p14="http://schemas.microsoft.com/office/powerpoint/2010/main" val="4120817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 - ocher whit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0" y="1158556"/>
            <a:ext cx="8381000" cy="3846040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E5D100"/>
                </a:solidFill>
              </a:rPr>
              <a:pPr/>
              <a:t>‹#›</a:t>
            </a:fld>
            <a:endParaRPr lang="en-US">
              <a:solidFill>
                <a:srgbClr val="E5D100"/>
              </a:solidFill>
            </a:endParaRPr>
          </a:p>
        </p:txBody>
      </p:sp>
      <p:pic>
        <p:nvPicPr>
          <p:cNvPr id="8" name="Picture 49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43829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49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31800" y="5163703"/>
            <a:ext cx="1369148" cy="409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13" descr="ST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990" t="63757"/>
          <a:stretch>
            <a:fillRect/>
          </a:stretch>
        </p:blipFill>
        <p:spPr bwMode="auto">
          <a:xfrm>
            <a:off x="3460750" y="2128153"/>
            <a:ext cx="5683250" cy="35868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438" y="0"/>
            <a:ext cx="5349692" cy="2744327"/>
          </a:xfrm>
        </p:spPr>
        <p:txBody>
          <a:bodyPr>
            <a:normAutofit/>
          </a:bodyPr>
          <a:lstStyle>
            <a:lvl1pPr algn="l">
              <a:defRPr sz="4000" cap="all">
                <a:solidFill>
                  <a:schemeClr val="accent6"/>
                </a:solidFill>
              </a:defRPr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5438" y="2857498"/>
            <a:ext cx="5349692" cy="1585452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rgbClr val="5F574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subtitle</a:t>
            </a:r>
            <a:r>
              <a:rPr lang="nb-NO" dirty="0" smtClean="0"/>
              <a:t> style</a:t>
            </a:r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31800" y="2744242"/>
            <a:ext cx="5243330" cy="0"/>
          </a:xfrm>
          <a:prstGeom prst="line">
            <a:avLst/>
          </a:prstGeom>
          <a:ln w="6350" cmpd="sng">
            <a:solidFill>
              <a:srgbClr val="CBC7B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62278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- imag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438" y="623836"/>
            <a:ext cx="8386762" cy="1780357"/>
          </a:xfrm>
        </p:spPr>
        <p:txBody>
          <a:bodyPr>
            <a:normAutofit/>
          </a:bodyPr>
          <a:lstStyle>
            <a:lvl1pPr algn="l">
              <a:defRPr sz="3600" cap="all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5438" y="2517364"/>
            <a:ext cx="5349692" cy="1585452"/>
          </a:xfrm>
        </p:spPr>
        <p:txBody>
          <a:bodyPr>
            <a:normAutofit/>
          </a:bodyPr>
          <a:lstStyle>
            <a:lvl1pPr marL="0" indent="0" algn="l">
              <a:buNone/>
              <a:defRPr sz="1600" b="1">
                <a:solidFill>
                  <a:srgbClr val="FFFFFF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subtitle</a:t>
            </a:r>
            <a:r>
              <a:rPr lang="nb-NO" dirty="0" smtClean="0"/>
              <a:t> styl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31800" y="2404108"/>
            <a:ext cx="8280400" cy="0"/>
          </a:xfrm>
          <a:prstGeom prst="line">
            <a:avLst/>
          </a:prstGeom>
          <a:ln w="6350" cmpd="sng">
            <a:solidFill>
              <a:srgbClr val="FFFF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1200" y="5266233"/>
            <a:ext cx="390845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 dirty="0">
              <a:solidFill>
                <a:srgbClr val="D5B700"/>
              </a:solidFill>
            </a:endParaRPr>
          </a:p>
        </p:txBody>
      </p:sp>
      <p:pic>
        <p:nvPicPr>
          <p:cNvPr id="11" name="Picture 49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41987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647541" y="2544933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38723" y="2544933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3966" y="2544933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000" y="622587"/>
            <a:ext cx="8388000" cy="1782000"/>
          </a:xfrm>
        </p:spPr>
        <p:txBody>
          <a:bodyPr/>
          <a:lstStyle>
            <a:lvl1pPr>
              <a:defRPr lang="nb-NO" sz="3600" b="1" kern="1200" cap="all" smtClean="0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  <a:latin typeface="Arial"/>
                <a:ea typeface="+mj-ea"/>
                <a:cs typeface="Arial"/>
              </a:defRPr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276225" y="2246484"/>
            <a:ext cx="79020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D5B700"/>
              </a:buClr>
              <a:buSzPct val="80000"/>
              <a:buFont typeface="Wingdings 3" charset="2"/>
              <a:buNone/>
            </a:pPr>
            <a:r>
              <a:rPr lang="en-US" sz="7200" b="1" dirty="0" smtClean="0">
                <a:solidFill>
                  <a:srgbClr val="FFFFFF"/>
                </a:solidFill>
                <a:cs typeface="Arial"/>
              </a:rPr>
              <a:t>1</a:t>
            </a:r>
            <a:endParaRPr lang="en-US" sz="7200" b="1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3230981" y="2246484"/>
            <a:ext cx="79020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D5B700"/>
              </a:buClr>
              <a:buSzPct val="80000"/>
              <a:buFont typeface="Wingdings 3" charset="2"/>
              <a:buNone/>
            </a:pPr>
            <a:r>
              <a:rPr lang="en-US" sz="7200" b="1" dirty="0" smtClean="0">
                <a:solidFill>
                  <a:srgbClr val="FFFFFF"/>
                </a:solidFill>
                <a:cs typeface="Arial"/>
              </a:rPr>
              <a:t>2</a:t>
            </a:r>
            <a:endParaRPr lang="en-US" sz="7200" b="1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039799" y="2246484"/>
            <a:ext cx="79020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D5B700"/>
              </a:buClr>
              <a:buSzPct val="80000"/>
              <a:buFont typeface="Wingdings 3" charset="2"/>
              <a:buNone/>
            </a:pPr>
            <a:r>
              <a:rPr lang="en-US" sz="7200" b="1" dirty="0" smtClean="0">
                <a:solidFill>
                  <a:srgbClr val="FFFFFF"/>
                </a:solidFill>
                <a:cs typeface="Arial"/>
              </a:rPr>
              <a:t>3</a:t>
            </a:r>
            <a:endParaRPr lang="en-US" sz="7200" b="1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1200" y="5266233"/>
            <a:ext cx="390845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 dirty="0">
              <a:solidFill>
                <a:srgbClr val="D5B700"/>
              </a:solidFill>
            </a:endParaRPr>
          </a:p>
        </p:txBody>
      </p:sp>
      <p:pic>
        <p:nvPicPr>
          <p:cNvPr id="15" name="Picture 49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35647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0" y="1158556"/>
            <a:ext cx="8381000" cy="3846040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7685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- ocher whit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0" y="1158556"/>
            <a:ext cx="8381000" cy="3846040"/>
          </a:xfrm>
        </p:spPr>
        <p:txBody>
          <a:bodyPr/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  <p:pic>
        <p:nvPicPr>
          <p:cNvPr id="8" name="Picture 49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38527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right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158556"/>
            <a:ext cx="4038600" cy="38460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70437" y="1158556"/>
            <a:ext cx="3941763" cy="3846832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5188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1199" y="1158556"/>
            <a:ext cx="4038600" cy="3846039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8556"/>
            <a:ext cx="4038600" cy="38460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452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left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8556"/>
            <a:ext cx="4038600" cy="38460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28625" y="1158556"/>
            <a:ext cx="3941763" cy="3846832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8919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right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158556"/>
            <a:ext cx="4038600" cy="384604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70437" y="1158556"/>
            <a:ext cx="3941763" cy="3846832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2348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>
            <a:lvl1pPr>
              <a:defRPr/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199" y="1158555"/>
            <a:ext cx="4040188" cy="488421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646976"/>
            <a:ext cx="4040188" cy="3357619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8555"/>
            <a:ext cx="4041775" cy="488421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746250"/>
            <a:ext cx="4041775" cy="32583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05543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1200" y="1158556"/>
            <a:ext cx="8381000" cy="3846040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10398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 -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31199" y="1158556"/>
            <a:ext cx="4038600" cy="384603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600"/>
            </a:lvl2pPr>
            <a:lvl3pPr>
              <a:buClr>
                <a:schemeClr val="accent1"/>
              </a:buCl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8556"/>
            <a:ext cx="4038600" cy="3846040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600"/>
            </a:lvl2pPr>
            <a:lvl3pPr>
              <a:buClr>
                <a:schemeClr val="accent1"/>
              </a:buCl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87228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left -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58556"/>
            <a:ext cx="4038600" cy="3846040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600"/>
            </a:lvl2pPr>
            <a:lvl3pPr>
              <a:buClr>
                <a:schemeClr val="accent1"/>
              </a:buCl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28625" y="1158556"/>
            <a:ext cx="3941763" cy="384683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79696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image right -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158556"/>
            <a:ext cx="4038600" cy="3846040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600"/>
            </a:lvl2pPr>
            <a:lvl3pPr>
              <a:buClr>
                <a:schemeClr val="accent1"/>
              </a:buClr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70437" y="1158556"/>
            <a:ext cx="3941763" cy="384683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22680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-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>
            <a:lvl1pPr>
              <a:defRPr/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199" y="1158555"/>
            <a:ext cx="4040188" cy="488421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646976"/>
            <a:ext cx="4040188" cy="3357619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600"/>
            </a:lvl2pPr>
            <a:lvl3pPr>
              <a:buClr>
                <a:schemeClr val="accent1"/>
              </a:buCl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8555"/>
            <a:ext cx="4041775" cy="488421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746250"/>
            <a:ext cx="4041775" cy="3258345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/>
            </a:lvl1pPr>
            <a:lvl2pPr>
              <a:buClr>
                <a:schemeClr val="accent1"/>
              </a:buClr>
              <a:defRPr sz="1600"/>
            </a:lvl2pPr>
            <a:lvl3pPr>
              <a:buClr>
                <a:schemeClr val="accent1"/>
              </a:buCl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456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Click to edit Master title styl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38150" y="1158875"/>
            <a:ext cx="8274050" cy="384651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044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- och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</p:spPr>
        <p:txBody>
          <a:bodyPr/>
          <a:lstStyle>
            <a:lvl1pPr>
              <a:defRPr/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199" y="1158555"/>
            <a:ext cx="4040188" cy="488421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1199" y="1646976"/>
            <a:ext cx="4040188" cy="3357619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8555"/>
            <a:ext cx="4041775" cy="488421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746250"/>
            <a:ext cx="4041775" cy="32583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795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9849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066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3813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>
              <a:solidFill>
                <a:srgbClr val="D5B7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442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tel, innhold og 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314451" y="269875"/>
            <a:ext cx="7667625" cy="595313"/>
          </a:xfr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314451" y="1301750"/>
            <a:ext cx="3686175" cy="3897313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quarter" idx="2"/>
          </p:nvPr>
        </p:nvSpPr>
        <p:spPr>
          <a:xfrm>
            <a:off x="5153026" y="1301750"/>
            <a:ext cx="3686175" cy="1885157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3"/>
          </p:nvPr>
        </p:nvSpPr>
        <p:spPr>
          <a:xfrm>
            <a:off x="5153026" y="3313907"/>
            <a:ext cx="3686175" cy="1885156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nb-NO">
                <a:solidFill>
                  <a:srgbClr val="D5B700"/>
                </a:solidFill>
              </a:rPr>
              <a:t>side </a:t>
            </a:r>
            <a:fld id="{0F175FA8-80DA-4870-B34A-E8BE7B7EE0DD}" type="slidenum">
              <a:rPr lang="nb-NO">
                <a:solidFill>
                  <a:srgbClr val="D5B700"/>
                </a:solidFill>
              </a:rPr>
              <a:pPr>
                <a:defRPr/>
              </a:pPr>
              <a:t>‹#›</a:t>
            </a:fld>
            <a:endParaRPr lang="nb-NO">
              <a:solidFill>
                <a:srgbClr val="D5B700"/>
              </a:solidFill>
            </a:endParaRPr>
          </a:p>
        </p:txBody>
      </p:sp>
      <p:sp>
        <p:nvSpPr>
          <p:cNvPr id="7" name="Plassholder for bunntekst 6"/>
          <p:cNvSpPr>
            <a:spLocks noGrp="1"/>
          </p:cNvSpPr>
          <p:nvPr>
            <p:ph type="ftr" sz="quarter" idx="11"/>
          </p:nvPr>
        </p:nvSpPr>
        <p:spPr>
          <a:xfrm>
            <a:off x="428626" y="5228167"/>
            <a:ext cx="809625" cy="3968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Plassholder for dato 7"/>
          <p:cNvSpPr>
            <a:spLocks noGrp="1"/>
          </p:cNvSpPr>
          <p:nvPr>
            <p:ph type="dt" sz="half" idx="12"/>
          </p:nvPr>
        </p:nvSpPr>
        <p:spPr>
          <a:xfrm>
            <a:off x="-57150" y="5414698"/>
            <a:ext cx="768350" cy="17462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latin typeface="Arial" charset="0"/>
                <a:ea typeface="ヒラギノ角ゴ Pro W3" pitchFamily="16" charset="-128"/>
              </a:defRPr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127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ign off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3336119"/>
            <a:ext cx="9144000" cy="2378881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3" name="Picture 2" descr="ST_pure_pos_rgb_5cm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676" y="3771899"/>
            <a:ext cx="2254724" cy="694745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6490370" y="5123370"/>
            <a:ext cx="22568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dirty="0" err="1" smtClean="0">
                <a:solidFill>
                  <a:srgbClr val="00A6D3"/>
                </a:solidFill>
                <a:cs typeface="Arial"/>
              </a:rPr>
              <a:t>www.statkraft.com</a:t>
            </a:r>
            <a:endParaRPr lang="en-US" sz="1400" dirty="0" smtClean="0">
              <a:solidFill>
                <a:srgbClr val="00A6D3"/>
              </a:solidFill>
              <a:cs typeface="Arial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79214" y="2535152"/>
            <a:ext cx="555416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 smtClean="0">
                <a:solidFill>
                  <a:srgbClr val="FFFFFF"/>
                </a:solidFill>
                <a:cs typeface="Arial"/>
              </a:rPr>
              <a:t>THANK YOU</a:t>
            </a:r>
            <a:endParaRPr lang="en-US" sz="6000" b="1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49297" y="3771900"/>
            <a:ext cx="5157788" cy="127952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179387" indent="0">
              <a:buNone/>
              <a:defRPr/>
            </a:lvl2pPr>
            <a:lvl3pPr marL="358775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1620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cap="all"/>
            </a:lvl1pPr>
          </a:lstStyle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14450" y="1301751"/>
            <a:ext cx="7524750" cy="384175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1107CD-21E2-4F00-9719-837AB77A5CAC}" type="slidenum">
              <a:rPr lang="nb-NO">
                <a:solidFill>
                  <a:srgbClr val="D5B700"/>
                </a:solidFill>
              </a:rPr>
              <a:pPr>
                <a:defRPr/>
              </a:pPr>
              <a:t>‹#›</a:t>
            </a:fld>
            <a:endParaRPr lang="nb-NO">
              <a:solidFill>
                <a:srgbClr val="D5B700"/>
              </a:solidFill>
            </a:endParaRPr>
          </a:p>
        </p:txBody>
      </p:sp>
      <p:sp>
        <p:nvSpPr>
          <p:cNvPr id="5" name="Rectangle 2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488447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438" y="0"/>
            <a:ext cx="5349692" cy="2744327"/>
          </a:xfrm>
        </p:spPr>
        <p:txBody>
          <a:bodyPr>
            <a:noAutofit/>
          </a:bodyPr>
          <a:lstStyle>
            <a:lvl1pPr algn="l">
              <a:defRPr sz="4000" cap="all">
                <a:solidFill>
                  <a:schemeClr val="accent6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5438" y="2857498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5F574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nb-NO" noProof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37771" y="2319786"/>
            <a:ext cx="3606230" cy="3395213"/>
          </a:xfrm>
          <a:prstGeom prst="rect">
            <a:avLst/>
          </a:prstGeom>
        </p:spPr>
      </p:pic>
      <p:pic>
        <p:nvPicPr>
          <p:cNvPr id="6" name="Picture 49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1800" y="5104069"/>
            <a:ext cx="1369148" cy="409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94426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image 1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25438" y="623836"/>
            <a:ext cx="8386762" cy="1780357"/>
          </a:xfrm>
        </p:spPr>
        <p:txBody>
          <a:bodyPr>
            <a:noAutofit/>
          </a:bodyPr>
          <a:lstStyle>
            <a:lvl1pPr algn="l">
              <a:defRPr sz="3600" b="1" cap="all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25438" y="2517364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rgbClr val="FFFFFF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nb-NO" noProof="0"/>
          </a:p>
        </p:txBody>
      </p:sp>
      <p:pic>
        <p:nvPicPr>
          <p:cNvPr id="10" name="Picture 49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73695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image 2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25438" y="623836"/>
            <a:ext cx="8386762" cy="1780357"/>
          </a:xfrm>
        </p:spPr>
        <p:txBody>
          <a:bodyPr>
            <a:noAutofit/>
          </a:bodyPr>
          <a:lstStyle>
            <a:lvl1pPr algn="l">
              <a:defRPr sz="3600" cap="all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25438" y="2517364"/>
            <a:ext cx="5349692" cy="1585452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rgbClr val="FFFFFF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nb-NO" noProof="0"/>
          </a:p>
        </p:txBody>
      </p:sp>
      <p:pic>
        <p:nvPicPr>
          <p:cNvPr id="10" name="Picture 49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7263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3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1" y="5149849"/>
            <a:ext cx="9144000" cy="5651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nb-NO">
              <a:solidFill>
                <a:srgbClr val="FFFFFF"/>
              </a:solidFill>
            </a:endParaRPr>
          </a:p>
        </p:txBody>
      </p:sp>
      <p:pic>
        <p:nvPicPr>
          <p:cNvPr id="16" name="Picture 49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647541" y="2625999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838723" y="2625999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lang="nb-NO" sz="1600" kern="1200" dirty="0" smtClean="0">
                <a:solidFill>
                  <a:schemeClr val="bg1"/>
                </a:solidFill>
                <a:latin typeface="Arial"/>
                <a:ea typeface="+mn-ea"/>
                <a:cs typeface="Arial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marL="0" lvl="0" indent="0" algn="l" defTabSz="4572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4"/>
              </a:buClr>
              <a:buSzPct val="80000"/>
              <a:buFont typeface="Wingdings 3" charset="2"/>
              <a:buNone/>
            </a:pPr>
            <a:r>
              <a:rPr lang="en-US" noProof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3966" y="2625999"/>
            <a:ext cx="1980000" cy="22127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24000" y="622587"/>
            <a:ext cx="8388000" cy="1782000"/>
          </a:xfrm>
        </p:spPr>
        <p:txBody>
          <a:bodyPr>
            <a:noAutofit/>
          </a:bodyPr>
          <a:lstStyle>
            <a:lvl1pPr>
              <a:defRPr lang="nb-NO" sz="3600" b="1" kern="1200" cap="all" smtClean="0">
                <a:solidFill>
                  <a:schemeClr val="bg1"/>
                </a:solidFill>
                <a:effectLst>
                  <a:outerShdw blurRad="63500" dist="38100" dir="2700000" algn="tl" rotWithShape="0">
                    <a:srgbClr val="000000">
                      <a:alpha val="30000"/>
                    </a:srgbClr>
                  </a:outerShdw>
                </a:effectLst>
                <a:latin typeface="Arial"/>
                <a:ea typeface="+mj-ea"/>
                <a:cs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276225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nb-NO" sz="6800" b="1" smtClean="0">
                <a:solidFill>
                  <a:srgbClr val="FFFFFF"/>
                </a:solidFill>
                <a:cs typeface="Arial"/>
              </a:rPr>
              <a:t>1</a:t>
            </a:r>
            <a:endParaRPr lang="nb-NO" sz="68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3230981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nb-NO" sz="6800" b="1" smtClean="0">
                <a:solidFill>
                  <a:srgbClr val="FFFFFF"/>
                </a:solidFill>
                <a:cs typeface="Arial"/>
              </a:rPr>
              <a:t>2</a:t>
            </a:r>
            <a:endParaRPr lang="nb-NO" sz="6800" b="1">
              <a:solidFill>
                <a:srgbClr val="FFFFFF"/>
              </a:solidFill>
              <a:cs typeface="Arial"/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6039799" y="2354572"/>
            <a:ext cx="790206" cy="122597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  <a:buFont typeface="Wingdings 3" charset="2"/>
              <a:buNone/>
            </a:pPr>
            <a:r>
              <a:rPr lang="nb-NO" sz="6800" b="1" smtClean="0">
                <a:solidFill>
                  <a:srgbClr val="FFFFFF"/>
                </a:solidFill>
                <a:cs typeface="Arial"/>
              </a:rPr>
              <a:t>3</a:t>
            </a:r>
            <a:endParaRPr lang="nb-NO" sz="6800" b="1">
              <a:solidFill>
                <a:srgbClr val="FFFFFF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19694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tags" Target="../tags/tag20.xml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29" Type="http://schemas.openxmlformats.org/officeDocument/2006/relationships/image" Target="../media/image10.png"/><Relationship Id="rId1" Type="http://schemas.openxmlformats.org/officeDocument/2006/relationships/slideLayout" Target="../slideLayouts/slideLayout23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tags" Target="../tags/tag19.xml"/><Relationship Id="rId5" Type="http://schemas.openxmlformats.org/officeDocument/2006/relationships/theme" Target="../theme/theme2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28" Type="http://schemas.openxmlformats.org/officeDocument/2006/relationships/image" Target="../media/image9.png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26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image" Target="../media/image8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33" Type="http://schemas.openxmlformats.org/officeDocument/2006/relationships/image" Target="../media/image13.png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slideLayout" Target="../slideLayouts/slideLayout55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theme" Target="../theme/theme3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slideLayout" Target="../slideLayouts/slideLayout57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slideLayout" Target="../slideLayouts/slideLayout5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67.xml"/><Relationship Id="rId19" Type="http://schemas.openxmlformats.org/officeDocument/2006/relationships/image" Target="../media/image13.png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3" Type="http://schemas.openxmlformats.org/officeDocument/2006/relationships/slideLayout" Target="../slideLayouts/slideLayout77.xml"/><Relationship Id="rId21" Type="http://schemas.openxmlformats.org/officeDocument/2006/relationships/slideLayout" Target="../slideLayouts/slideLayout95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slideLayout" Target="../slideLayouts/slideLayout108.xml"/><Relationship Id="rId18" Type="http://schemas.openxmlformats.org/officeDocument/2006/relationships/image" Target="../media/image21.png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07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97.xml"/><Relationship Id="rId16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0.xml"/><Relationship Id="rId15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slideLayout" Target="../slideLayouts/slideLayout10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13" Type="http://schemas.openxmlformats.org/officeDocument/2006/relationships/slideLayout" Target="../slideLayouts/slideLayout124.xml"/><Relationship Id="rId18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14.xml"/><Relationship Id="rId21" Type="http://schemas.openxmlformats.org/officeDocument/2006/relationships/theme" Target="../theme/theme7.xml"/><Relationship Id="rId7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3.xml"/><Relationship Id="rId17" Type="http://schemas.openxmlformats.org/officeDocument/2006/relationships/slideLayout" Target="../slideLayouts/slideLayout128.xml"/><Relationship Id="rId2" Type="http://schemas.openxmlformats.org/officeDocument/2006/relationships/slideLayout" Target="../slideLayouts/slideLayout113.xml"/><Relationship Id="rId16" Type="http://schemas.openxmlformats.org/officeDocument/2006/relationships/slideLayout" Target="../slideLayouts/slideLayout127.xml"/><Relationship Id="rId20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16.xml"/><Relationship Id="rId15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121.xml"/><Relationship Id="rId19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slideLayout" Target="../slideLayouts/slideLayout125.xml"/><Relationship Id="rId22" Type="http://schemas.openxmlformats.org/officeDocument/2006/relationships/image" Target="../media/image1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4.xml"/><Relationship Id="rId18" Type="http://schemas.openxmlformats.org/officeDocument/2006/relationships/slideLayout" Target="../slideLayouts/slideLayout149.xml"/><Relationship Id="rId3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slideLayout" Target="../slideLayouts/slideLayout148.xml"/><Relationship Id="rId2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47.xml"/><Relationship Id="rId20" Type="http://schemas.openxmlformats.org/officeDocument/2006/relationships/image" Target="../media/image13.png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6.xml"/><Relationship Id="rId10" Type="http://schemas.openxmlformats.org/officeDocument/2006/relationships/slideLayout" Target="../slideLayouts/slideLayout141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  <a:endParaRPr lang="nb-NO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200" y="1158555"/>
            <a:ext cx="8381000" cy="38460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7539" y="5266233"/>
            <a:ext cx="3954461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1200" y="5266233"/>
            <a:ext cx="390845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fld id="{5B2ACB19-C0E1-7345-B8BA-15A723BE30E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49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8"/>
          <p:cNvCxnSpPr/>
          <p:nvPr/>
        </p:nvCxnSpPr>
        <p:spPr>
          <a:xfrm>
            <a:off x="431800" y="5150115"/>
            <a:ext cx="8280400" cy="0"/>
          </a:xfrm>
          <a:prstGeom prst="line">
            <a:avLst/>
          </a:prstGeom>
          <a:ln w="6350" cmpd="sng">
            <a:solidFill>
              <a:srgbClr val="CBC7B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0577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9" r:id="rId3"/>
    <p:sldLayoutId id="2147483650" r:id="rId4"/>
    <p:sldLayoutId id="2147483669" r:id="rId5"/>
    <p:sldLayoutId id="2147483652" r:id="rId6"/>
    <p:sldLayoutId id="2147483657" r:id="rId7"/>
    <p:sldLayoutId id="2147483658" r:id="rId8"/>
    <p:sldLayoutId id="2147483653" r:id="rId9"/>
    <p:sldLayoutId id="2147483662" r:id="rId10"/>
    <p:sldLayoutId id="2147483663" r:id="rId11"/>
    <p:sldLayoutId id="2147483664" r:id="rId12"/>
    <p:sldLayoutId id="2147483665" r:id="rId13"/>
    <p:sldLayoutId id="2147483666" r:id="rId14"/>
    <p:sldLayoutId id="2147483660" r:id="rId15"/>
    <p:sldLayoutId id="2147483661" r:id="rId16"/>
    <p:sldLayoutId id="2147483654" r:id="rId17"/>
    <p:sldLayoutId id="2147483655" r:id="rId18"/>
    <p:sldLayoutId id="2147483668" r:id="rId19"/>
    <p:sldLayoutId id="2147483672" r:id="rId20"/>
    <p:sldLayoutId id="2147484850" r:id="rId21"/>
    <p:sldLayoutId id="2147484851" r:id="rId2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177800" indent="-177800" algn="l" defTabSz="457200" rtl="0" eaLnBrk="1" latinLnBrk="0" hangingPunct="1">
        <a:lnSpc>
          <a:spcPct val="110000"/>
        </a:lnSpc>
        <a:spcBef>
          <a:spcPts val="800"/>
        </a:spcBef>
        <a:buClr>
          <a:schemeClr val="accent4"/>
        </a:buClr>
        <a:buSzPct val="80000"/>
        <a:buFont typeface="Wingdings 3" charset="2"/>
        <a:buChar char="}"/>
        <a:defRPr sz="1800" kern="1200">
          <a:solidFill>
            <a:schemeClr val="tx1"/>
          </a:solidFill>
          <a:latin typeface="Arial"/>
          <a:ea typeface="+mn-ea"/>
          <a:cs typeface="Arial"/>
        </a:defRPr>
      </a:lvl1pPr>
      <a:lvl2pPr marL="358775" indent="-179388" algn="l" defTabSz="457200" rtl="0" eaLnBrk="1" latinLnBrk="0" hangingPunct="1">
        <a:lnSpc>
          <a:spcPct val="110000"/>
        </a:lnSpc>
        <a:spcBef>
          <a:spcPts val="200"/>
        </a:spcBef>
        <a:buClr>
          <a:schemeClr val="accent4"/>
        </a:buClr>
        <a:buFont typeface="Lucida Grande"/>
        <a:buChar char="-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538163" indent="-179388" algn="l" defTabSz="457200" rtl="0" eaLnBrk="1" latinLnBrk="0" hangingPunct="1">
        <a:lnSpc>
          <a:spcPct val="110000"/>
        </a:lnSpc>
        <a:spcBef>
          <a:spcPts val="200"/>
        </a:spcBef>
        <a:buClr>
          <a:schemeClr val="accent4"/>
        </a:buClr>
        <a:buFont typeface="Lucida Grande"/>
        <a:buChar char="-"/>
        <a:defRPr sz="1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317864088"/>
              </p:ext>
            </p:extLst>
          </p:nvPr>
        </p:nvGraphicFramePr>
        <p:xfrm>
          <a:off x="0" y="0"/>
          <a:ext cx="161984" cy="1349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03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349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41586" y="31046"/>
            <a:ext cx="670614" cy="1039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74857" y="2349377"/>
            <a:ext cx="199573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Last Modified 25.10.2013 15:59 W. Europe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82260" y="4197694"/>
            <a:ext cx="178093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smtClean="0">
                <a:solidFill>
                  <a:srgbClr val="000000"/>
                </a:solidFill>
                <a:latin typeface="Arial"/>
              </a:rPr>
              <a:t>Printed 17.10.2013 00:42 W. Europe Standard Time</a:t>
            </a:r>
            <a:endParaRPr lang="en-US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52190" y="2429101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188633"/>
            <a:ext cx="828040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431800" y="-70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431800" y="988207"/>
            <a:ext cx="82804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152190" y="1804580"/>
            <a:ext cx="4350892" cy="511569"/>
            <a:chOff x="915" y="651"/>
            <a:chExt cx="2686" cy="37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1"/>
              <a:ext cx="2686" cy="37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25" name="Picture 49"/>
          <p:cNvPicPr>
            <a:picLocks noChangeAspect="1" noChangeArrowheads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303275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6" name="Straight Connector 25"/>
          <p:cNvCxnSpPr>
            <a:cxnSpLocks/>
          </p:cNvCxnSpPr>
          <p:nvPr/>
        </p:nvCxnSpPr>
        <p:spPr bwMode="auto">
          <a:xfrm>
            <a:off x="431800" y="5150115"/>
            <a:ext cx="8280400" cy="0"/>
          </a:xfrm>
          <a:prstGeom prst="line">
            <a:avLst/>
          </a:prstGeom>
          <a:ln w="6350" cmpd="sng">
            <a:solidFill>
              <a:srgbClr val="CBC7B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7" name="McK Slide Elements" hidden="1"/>
          <p:cNvGrpSpPr>
            <a:grpSpLocks/>
          </p:cNvGrpSpPr>
          <p:nvPr/>
        </p:nvGrpSpPr>
        <p:grpSpPr bwMode="auto">
          <a:xfrm>
            <a:off x="769940" y="5258377"/>
            <a:ext cx="6821486" cy="384175"/>
            <a:chOff x="75" y="3926"/>
            <a:chExt cx="5385" cy="242"/>
          </a:xfrm>
        </p:grpSpPr>
        <p:sp>
          <p:nvSpPr>
            <p:cNvPr id="28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29" name="McK 5. Source"/>
            <p:cNvSpPr>
              <a:spLocks noChangeArrowheads="1"/>
            </p:cNvSpPr>
            <p:nvPr/>
          </p:nvSpPr>
          <p:spPr bwMode="auto">
            <a:xfrm>
              <a:off x="75" y="4071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09600" indent="-609600" defTabSz="895350" fontAlgn="base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</a:t>
              </a:r>
              <a:r>
                <a:rPr lang="en-US" sz="1000" dirty="0" smtClean="0">
                  <a:solidFill>
                    <a:srgbClr val="000000"/>
                  </a:solidFill>
                </a:rPr>
                <a:t>Source</a:t>
              </a:r>
            </a:p>
          </p:txBody>
        </p:sp>
      </p:grpSp>
      <p:sp>
        <p:nvSpPr>
          <p:cNvPr id="30" name="Slide Number Placeholder 1"/>
          <p:cNvSpPr>
            <a:spLocks noGrp="1"/>
          </p:cNvSpPr>
          <p:nvPr>
            <p:ph type="sldNum" sz="quarter" idx="4"/>
          </p:nvPr>
        </p:nvSpPr>
        <p:spPr bwMode="auto">
          <a:xfrm>
            <a:off x="431800" y="5488664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lang="en-US" sz="1000" b="1" kern="1200" baseline="0" smtClean="0">
                <a:solidFill>
                  <a:srgbClr val="D5B700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/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/>
          </a:p>
        </p:txBody>
      </p:sp>
      <p:grpSp>
        <p:nvGrpSpPr>
          <p:cNvPr id="31" name="LegendBoxes" hidden="1"/>
          <p:cNvGrpSpPr>
            <a:grpSpLocks/>
          </p:cNvGrpSpPr>
          <p:nvPr/>
        </p:nvGrpSpPr>
        <p:grpSpPr bwMode="auto">
          <a:xfrm>
            <a:off x="7953375" y="608407"/>
            <a:ext cx="758825" cy="995363"/>
            <a:chOff x="4936" y="176"/>
            <a:chExt cx="478" cy="627"/>
          </a:xfrm>
        </p:grpSpPr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8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A6D3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8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A6D3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8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A6D3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8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A6D3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40" name="LegendLines" hidden="1"/>
          <p:cNvGrpSpPr>
            <a:grpSpLocks/>
          </p:cNvGrpSpPr>
          <p:nvPr/>
        </p:nvGrpSpPr>
        <p:grpSpPr bwMode="auto">
          <a:xfrm>
            <a:off x="7645400" y="608407"/>
            <a:ext cx="1066800" cy="728663"/>
            <a:chOff x="4750" y="176"/>
            <a:chExt cx="672" cy="459"/>
          </a:xfrm>
        </p:grpSpPr>
        <p:sp>
          <p:nvSpPr>
            <p:cNvPr id="4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4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4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4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8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A6D3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8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A6D3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8" cy="1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A6D3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7" name="McKSticker" hidden="1"/>
          <p:cNvGrpSpPr/>
          <p:nvPr/>
        </p:nvGrpSpPr>
        <p:grpSpPr bwMode="auto">
          <a:xfrm>
            <a:off x="7653338" y="608407"/>
            <a:ext cx="1058862" cy="209550"/>
            <a:chOff x="7681913" y="285750"/>
            <a:chExt cx="1058862" cy="209550"/>
          </a:xfrm>
        </p:grpSpPr>
        <p:sp>
          <p:nvSpPr>
            <p:cNvPr id="48" name="StickerRectangle"/>
            <p:cNvSpPr>
              <a:spLocks noChangeArrowheads="1"/>
            </p:cNvSpPr>
            <p:nvPr/>
          </p:nvSpPr>
          <p:spPr bwMode="auto">
            <a:xfrm>
              <a:off x="7681913" y="285750"/>
              <a:ext cx="1058862" cy="20955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A6D3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9" name="AutoShape 31"/>
            <p:cNvCxnSpPr>
              <a:cxnSpLocks noChangeShapeType="1"/>
              <a:stCxn id="48" idx="2"/>
              <a:endCxn id="48" idx="4"/>
            </p:cNvCxnSpPr>
            <p:nvPr/>
          </p:nvCxnSpPr>
          <p:spPr bwMode="auto">
            <a:xfrm>
              <a:off x="7681913" y="285750"/>
              <a:ext cx="0" cy="20955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0" name="AutoShape 32"/>
            <p:cNvCxnSpPr>
              <a:cxnSpLocks noChangeShapeType="1"/>
              <a:stCxn id="48" idx="4"/>
              <a:endCxn id="48" idx="6"/>
            </p:cNvCxnSpPr>
            <p:nvPr/>
          </p:nvCxnSpPr>
          <p:spPr bwMode="auto">
            <a:xfrm>
              <a:off x="7681913" y="495300"/>
              <a:ext cx="105886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1" name="LegendMoons" hidden="1"/>
          <p:cNvGrpSpPr/>
          <p:nvPr/>
        </p:nvGrpSpPr>
        <p:grpSpPr bwMode="auto">
          <a:xfrm>
            <a:off x="7886700" y="608407"/>
            <a:ext cx="825500" cy="1306516"/>
            <a:chOff x="6655594" y="273840"/>
            <a:chExt cx="825500" cy="1306516"/>
          </a:xfrm>
        </p:grpSpPr>
        <p:grpSp>
          <p:nvGrpSpPr>
            <p:cNvPr id="52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70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3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8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4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6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5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64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6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4825" cy="1825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A6D3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7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4825" cy="1825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A6D3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8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4825" cy="1825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A6D3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9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4825" cy="1825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A6D3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0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4825" cy="1825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A6D3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61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62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72" name="McK Moon" hidden="1"/>
          <p:cNvGrpSpPr>
            <a:grpSpLocks noChangeAspect="1"/>
          </p:cNvGrpSpPr>
          <p:nvPr>
            <p:custDataLst>
              <p:tags r:id="rId8"/>
            </p:custDataLst>
          </p:nvPr>
        </p:nvGrpSpPr>
        <p:grpSpPr bwMode="auto">
          <a:xfrm>
            <a:off x="8458200" y="2062149"/>
            <a:ext cx="254000" cy="254000"/>
            <a:chOff x="1600" y="1600"/>
            <a:chExt cx="160" cy="160"/>
          </a:xfrm>
        </p:grpSpPr>
        <p:sp>
          <p:nvSpPr>
            <p:cNvPr id="73" name="Oval 90"/>
            <p:cNvSpPr>
              <a:spLocks noChangeAspect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4" name="Arc 91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6016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8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Tx/>
        <a:buBlip>
          <a:blip r:embed="rId29"/>
        </a:buBlip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rgbClr val="D5B700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rgbClr val="D5B700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rgbClr val="D5B700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200" y="1158555"/>
            <a:ext cx="8381000" cy="38460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7539" y="5266233"/>
            <a:ext cx="3954461" cy="304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1200" y="5266233"/>
            <a:ext cx="390845" cy="304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800" b="1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fld id="{5B2ACB19-C0E1-7345-B8BA-15A723BE30E5}" type="slidenum">
              <a:rPr lang="en-GB" smtClean="0">
                <a:solidFill>
                  <a:srgbClr val="E5D100"/>
                </a:solidFill>
              </a:rPr>
              <a:pPr/>
              <a:t>‹#›</a:t>
            </a:fld>
            <a:endParaRPr lang="en-GB">
              <a:solidFill>
                <a:srgbClr val="E5D100"/>
              </a:solidFill>
            </a:endParaRPr>
          </a:p>
        </p:txBody>
      </p:sp>
      <p:pic>
        <p:nvPicPr>
          <p:cNvPr id="8" name="Picture 49"/>
          <p:cNvPicPr>
            <a:picLocks noChangeAspect="1" noChangeArrowheads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8"/>
          <p:cNvCxnSpPr/>
          <p:nvPr/>
        </p:nvCxnSpPr>
        <p:spPr>
          <a:xfrm>
            <a:off x="431800" y="5150115"/>
            <a:ext cx="8280400" cy="0"/>
          </a:xfrm>
          <a:prstGeom prst="line">
            <a:avLst/>
          </a:prstGeom>
          <a:ln w="6350" cmpd="sng">
            <a:solidFill>
              <a:srgbClr val="CBC7B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6980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6" r:id="rId16"/>
    <p:sldLayoutId id="2147483757" r:id="rId17"/>
    <p:sldLayoutId id="2147483758" r:id="rId18"/>
    <p:sldLayoutId id="2147483759" r:id="rId19"/>
    <p:sldLayoutId id="2147483760" r:id="rId20"/>
    <p:sldLayoutId id="2147483761" r:id="rId21"/>
    <p:sldLayoutId id="2147483762" r:id="rId22"/>
    <p:sldLayoutId id="2147483763" r:id="rId23"/>
    <p:sldLayoutId id="2147483764" r:id="rId24"/>
    <p:sldLayoutId id="2147483765" r:id="rId25"/>
    <p:sldLayoutId id="2147483766" r:id="rId26"/>
    <p:sldLayoutId id="2147483767" r:id="rId27"/>
    <p:sldLayoutId id="2147483768" r:id="rId28"/>
    <p:sldLayoutId id="2147483769" r:id="rId29"/>
    <p:sldLayoutId id="2147483770" r:id="rId30"/>
    <p:sldLayoutId id="2147483771" r:id="rId3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177800" indent="-177800" algn="l" defTabSz="457200" rtl="0" eaLnBrk="1" latinLnBrk="0" hangingPunct="1">
        <a:lnSpc>
          <a:spcPct val="110000"/>
        </a:lnSpc>
        <a:spcBef>
          <a:spcPts val="800"/>
        </a:spcBef>
        <a:buClr>
          <a:schemeClr val="accent4"/>
        </a:buClr>
        <a:buSzPct val="80000"/>
        <a:buFont typeface="Wingdings 3" charset="2"/>
        <a:buChar char="}"/>
        <a:defRPr sz="1800" kern="1200">
          <a:solidFill>
            <a:schemeClr val="tx1"/>
          </a:solidFill>
          <a:latin typeface="Arial"/>
          <a:ea typeface="+mn-ea"/>
          <a:cs typeface="Arial"/>
        </a:defRPr>
      </a:lvl1pPr>
      <a:lvl2pPr marL="358775" indent="-179388" algn="l" defTabSz="457200" rtl="0" eaLnBrk="1" latinLnBrk="0" hangingPunct="1">
        <a:lnSpc>
          <a:spcPct val="110000"/>
        </a:lnSpc>
        <a:spcBef>
          <a:spcPts val="200"/>
        </a:spcBef>
        <a:buClr>
          <a:schemeClr val="accent4"/>
        </a:buClr>
        <a:buFont typeface="Lucida Grande"/>
        <a:buChar char="-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538163" indent="-179388" algn="l" defTabSz="457200" rtl="0" eaLnBrk="1" latinLnBrk="0" hangingPunct="1">
        <a:lnSpc>
          <a:spcPct val="110000"/>
        </a:lnSpc>
        <a:spcBef>
          <a:spcPts val="200"/>
        </a:spcBef>
        <a:buClr>
          <a:schemeClr val="accent4"/>
        </a:buClr>
        <a:buFont typeface="Lucida Grande"/>
        <a:buChar char="-"/>
        <a:defRPr sz="1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200" y="1158555"/>
            <a:ext cx="8381000" cy="38460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nb-NO" noProof="0" smtClean="0"/>
              <a:t>Click to edit Master text styles</a:t>
            </a:r>
          </a:p>
          <a:p>
            <a:pPr lvl="1"/>
            <a:r>
              <a:rPr lang="nb-NO" noProof="0" smtClean="0"/>
              <a:t>Second level</a:t>
            </a:r>
          </a:p>
          <a:p>
            <a:pPr lvl="2"/>
            <a:r>
              <a:rPr lang="nb-NO" noProof="0" smtClean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7539" y="5266233"/>
            <a:ext cx="3954461" cy="304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1200" y="5266233"/>
            <a:ext cx="390845" cy="304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800" b="1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  <p:pic>
        <p:nvPicPr>
          <p:cNvPr id="8" name="Picture 49"/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8"/>
          <p:cNvCxnSpPr/>
          <p:nvPr/>
        </p:nvCxnSpPr>
        <p:spPr>
          <a:xfrm>
            <a:off x="431800" y="5150115"/>
            <a:ext cx="8280400" cy="0"/>
          </a:xfrm>
          <a:prstGeom prst="line">
            <a:avLst/>
          </a:prstGeom>
          <a:ln w="6350" cmpd="sng">
            <a:solidFill>
              <a:srgbClr val="CBC7B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2948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1" r:id="rId1"/>
    <p:sldLayoutId id="2147484292" r:id="rId2"/>
    <p:sldLayoutId id="2147484293" r:id="rId3"/>
    <p:sldLayoutId id="2147484294" r:id="rId4"/>
    <p:sldLayoutId id="2147484295" r:id="rId5"/>
    <p:sldLayoutId id="2147484296" r:id="rId6"/>
    <p:sldLayoutId id="2147484297" r:id="rId7"/>
    <p:sldLayoutId id="2147484298" r:id="rId8"/>
    <p:sldLayoutId id="2147484299" r:id="rId9"/>
    <p:sldLayoutId id="2147484300" r:id="rId10"/>
    <p:sldLayoutId id="2147484301" r:id="rId11"/>
    <p:sldLayoutId id="2147484302" r:id="rId12"/>
    <p:sldLayoutId id="2147484303" r:id="rId13"/>
    <p:sldLayoutId id="2147484304" r:id="rId14"/>
    <p:sldLayoutId id="2147484305" r:id="rId15"/>
    <p:sldLayoutId id="2147484306" r:id="rId16"/>
    <p:sldLayoutId id="2147484308" r:id="rId1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177800" indent="-177800" algn="l" defTabSz="457200" rtl="0" eaLnBrk="1" latinLnBrk="0" hangingPunct="1">
        <a:lnSpc>
          <a:spcPct val="110000"/>
        </a:lnSpc>
        <a:spcBef>
          <a:spcPts val="800"/>
        </a:spcBef>
        <a:buClr>
          <a:schemeClr val="accent4"/>
        </a:buClr>
        <a:buSzPct val="80000"/>
        <a:buFont typeface="Wingdings 3" charset="2"/>
        <a:buChar char="}"/>
        <a:defRPr sz="1800" kern="1200">
          <a:solidFill>
            <a:schemeClr val="tx1"/>
          </a:solidFill>
          <a:latin typeface="Arial"/>
          <a:ea typeface="+mn-ea"/>
          <a:cs typeface="Arial"/>
        </a:defRPr>
      </a:lvl1pPr>
      <a:lvl2pPr marL="358775" indent="-179388" algn="l" defTabSz="457200" rtl="0" eaLnBrk="1" latinLnBrk="0" hangingPunct="1">
        <a:lnSpc>
          <a:spcPct val="110000"/>
        </a:lnSpc>
        <a:spcBef>
          <a:spcPts val="200"/>
        </a:spcBef>
        <a:buClr>
          <a:schemeClr val="accent4"/>
        </a:buClr>
        <a:buFont typeface="Lucida Grande"/>
        <a:buChar char="-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538163" indent="-179388" algn="l" defTabSz="457200" rtl="0" eaLnBrk="1" latinLnBrk="0" hangingPunct="1">
        <a:lnSpc>
          <a:spcPct val="110000"/>
        </a:lnSpc>
        <a:spcBef>
          <a:spcPts val="200"/>
        </a:spcBef>
        <a:buClr>
          <a:schemeClr val="accent4"/>
        </a:buClr>
        <a:buFont typeface="Lucida Grande"/>
        <a:buChar char="-"/>
        <a:defRPr sz="1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  <a:endParaRPr lang="nb-NO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200" y="1158555"/>
            <a:ext cx="8381000" cy="38460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7539" y="5266233"/>
            <a:ext cx="3954461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1200" y="5266233"/>
            <a:ext cx="390845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 dirty="0">
              <a:solidFill>
                <a:srgbClr val="D5B700"/>
              </a:solidFill>
            </a:endParaRPr>
          </a:p>
        </p:txBody>
      </p:sp>
      <p:pic>
        <p:nvPicPr>
          <p:cNvPr id="8" name="Picture 49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8"/>
          <p:cNvCxnSpPr/>
          <p:nvPr/>
        </p:nvCxnSpPr>
        <p:spPr>
          <a:xfrm>
            <a:off x="431800" y="5150115"/>
            <a:ext cx="8280400" cy="0"/>
          </a:xfrm>
          <a:prstGeom prst="line">
            <a:avLst/>
          </a:prstGeom>
          <a:ln w="6350" cmpd="sng">
            <a:solidFill>
              <a:srgbClr val="CBC7B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5793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0" r:id="rId1"/>
    <p:sldLayoutId id="2147484571" r:id="rId2"/>
    <p:sldLayoutId id="2147484572" r:id="rId3"/>
    <p:sldLayoutId id="2147484573" r:id="rId4"/>
    <p:sldLayoutId id="2147484574" r:id="rId5"/>
    <p:sldLayoutId id="2147484575" r:id="rId6"/>
    <p:sldLayoutId id="2147484576" r:id="rId7"/>
    <p:sldLayoutId id="2147484577" r:id="rId8"/>
    <p:sldLayoutId id="2147484578" r:id="rId9"/>
    <p:sldLayoutId id="2147484579" r:id="rId10"/>
    <p:sldLayoutId id="2147484580" r:id="rId11"/>
    <p:sldLayoutId id="2147484581" r:id="rId12"/>
    <p:sldLayoutId id="2147484582" r:id="rId13"/>
    <p:sldLayoutId id="2147484583" r:id="rId14"/>
    <p:sldLayoutId id="2147484584" r:id="rId15"/>
    <p:sldLayoutId id="2147484585" r:id="rId16"/>
    <p:sldLayoutId id="2147484586" r:id="rId17"/>
    <p:sldLayoutId id="2147484587" r:id="rId18"/>
    <p:sldLayoutId id="2147484588" r:id="rId19"/>
    <p:sldLayoutId id="2147484589" r:id="rId20"/>
    <p:sldLayoutId id="2147484590" r:id="rId2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177800" indent="-177800" algn="l" defTabSz="457200" rtl="0" eaLnBrk="1" latinLnBrk="0" hangingPunct="1">
        <a:lnSpc>
          <a:spcPct val="110000"/>
        </a:lnSpc>
        <a:spcBef>
          <a:spcPts val="800"/>
        </a:spcBef>
        <a:buClr>
          <a:schemeClr val="accent4"/>
        </a:buClr>
        <a:buSzPct val="80000"/>
        <a:buFont typeface="Wingdings 3" charset="2"/>
        <a:buChar char="}"/>
        <a:defRPr sz="1800" kern="1200">
          <a:solidFill>
            <a:schemeClr val="tx1"/>
          </a:solidFill>
          <a:latin typeface="Arial"/>
          <a:ea typeface="+mn-ea"/>
          <a:cs typeface="Arial"/>
        </a:defRPr>
      </a:lvl1pPr>
      <a:lvl2pPr marL="358775" indent="-179388" algn="l" defTabSz="457200" rtl="0" eaLnBrk="1" latinLnBrk="0" hangingPunct="1">
        <a:lnSpc>
          <a:spcPct val="110000"/>
        </a:lnSpc>
        <a:spcBef>
          <a:spcPts val="200"/>
        </a:spcBef>
        <a:buClr>
          <a:schemeClr val="accent4"/>
        </a:buClr>
        <a:buFont typeface="Lucida Grande"/>
        <a:buChar char="-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538163" indent="-179388" algn="l" defTabSz="457200" rtl="0" eaLnBrk="1" latinLnBrk="0" hangingPunct="1">
        <a:lnSpc>
          <a:spcPct val="110000"/>
        </a:lnSpc>
        <a:spcBef>
          <a:spcPts val="200"/>
        </a:spcBef>
        <a:buClr>
          <a:schemeClr val="accent4"/>
        </a:buClr>
        <a:buFont typeface="Lucida Grande"/>
        <a:buChar char="-"/>
        <a:defRPr sz="1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nb-NO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200" y="1158555"/>
            <a:ext cx="8381000" cy="38460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nb-NO" noProof="0" smtClean="0"/>
              <a:t>Click to edit Master text styles</a:t>
            </a:r>
          </a:p>
          <a:p>
            <a:pPr lvl="1"/>
            <a:r>
              <a:rPr lang="nb-NO" noProof="0" smtClean="0"/>
              <a:t>Second level</a:t>
            </a:r>
          </a:p>
          <a:p>
            <a:pPr lvl="2"/>
            <a:r>
              <a:rPr lang="nb-NO" noProof="0" smtClean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7539" y="5266233"/>
            <a:ext cx="3954461" cy="304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1200" y="5266233"/>
            <a:ext cx="390845" cy="304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800" b="1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fld id="{5B2ACB19-C0E1-7345-B8BA-15A723BE30E5}" type="slidenum">
              <a:rPr lang="nb-NO" smtClean="0">
                <a:solidFill>
                  <a:srgbClr val="E5D100"/>
                </a:solidFill>
              </a:rPr>
              <a:pPr/>
              <a:t>‹#›</a:t>
            </a:fld>
            <a:endParaRPr lang="nb-NO">
              <a:solidFill>
                <a:srgbClr val="E5D100"/>
              </a:solidFill>
            </a:endParaRPr>
          </a:p>
        </p:txBody>
      </p:sp>
      <p:pic>
        <p:nvPicPr>
          <p:cNvPr id="8" name="Picture 49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8"/>
          <p:cNvCxnSpPr/>
          <p:nvPr/>
        </p:nvCxnSpPr>
        <p:spPr>
          <a:xfrm>
            <a:off x="431800" y="5150115"/>
            <a:ext cx="8280400" cy="0"/>
          </a:xfrm>
          <a:prstGeom prst="line">
            <a:avLst/>
          </a:prstGeom>
          <a:ln w="6350" cmpd="sng">
            <a:solidFill>
              <a:srgbClr val="CBC7B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009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5" r:id="rId1"/>
    <p:sldLayoutId id="2147484686" r:id="rId2"/>
    <p:sldLayoutId id="2147484687" r:id="rId3"/>
    <p:sldLayoutId id="2147484688" r:id="rId4"/>
    <p:sldLayoutId id="2147484689" r:id="rId5"/>
    <p:sldLayoutId id="2147484690" r:id="rId6"/>
    <p:sldLayoutId id="2147484691" r:id="rId7"/>
    <p:sldLayoutId id="2147484692" r:id="rId8"/>
    <p:sldLayoutId id="2147484693" r:id="rId9"/>
    <p:sldLayoutId id="2147484694" r:id="rId10"/>
    <p:sldLayoutId id="2147484695" r:id="rId11"/>
    <p:sldLayoutId id="2147484696" r:id="rId12"/>
    <p:sldLayoutId id="2147484697" r:id="rId13"/>
    <p:sldLayoutId id="2147484698" r:id="rId14"/>
    <p:sldLayoutId id="2147484699" r:id="rId15"/>
    <p:sldLayoutId id="2147484700" r:id="rId1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177800" indent="-177800" algn="l" defTabSz="457200" rtl="0" eaLnBrk="1" latinLnBrk="0" hangingPunct="1">
        <a:lnSpc>
          <a:spcPct val="110000"/>
        </a:lnSpc>
        <a:spcBef>
          <a:spcPts val="800"/>
        </a:spcBef>
        <a:buClr>
          <a:schemeClr val="accent4"/>
        </a:buClr>
        <a:buSzPct val="80000"/>
        <a:buFont typeface="Wingdings 3" charset="2"/>
        <a:buChar char="}"/>
        <a:defRPr sz="1800" kern="1200">
          <a:solidFill>
            <a:schemeClr val="tx1"/>
          </a:solidFill>
          <a:latin typeface="Arial"/>
          <a:ea typeface="+mn-ea"/>
          <a:cs typeface="Arial"/>
        </a:defRPr>
      </a:lvl1pPr>
      <a:lvl2pPr marL="358775" indent="-179388" algn="l" defTabSz="457200" rtl="0" eaLnBrk="1" latinLnBrk="0" hangingPunct="1">
        <a:lnSpc>
          <a:spcPct val="110000"/>
        </a:lnSpc>
        <a:spcBef>
          <a:spcPts val="200"/>
        </a:spcBef>
        <a:buClr>
          <a:schemeClr val="accent4"/>
        </a:buClr>
        <a:buFont typeface="Lucida Grande"/>
        <a:buChar char="-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538163" indent="-179388" algn="l" defTabSz="457200" rtl="0" eaLnBrk="1" latinLnBrk="0" hangingPunct="1">
        <a:lnSpc>
          <a:spcPct val="110000"/>
        </a:lnSpc>
        <a:spcBef>
          <a:spcPts val="200"/>
        </a:spcBef>
        <a:buClr>
          <a:schemeClr val="accent4"/>
        </a:buClr>
        <a:buFont typeface="Lucida Grande"/>
        <a:buChar char="-"/>
        <a:defRPr sz="1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/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  <a:endParaRPr lang="nb-NO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200" y="1158555"/>
            <a:ext cx="8381000" cy="38460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7539" y="5266233"/>
            <a:ext cx="3954461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1200" y="5266233"/>
            <a:ext cx="390845" cy="3042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1">
                <a:solidFill>
                  <a:schemeClr val="accent4"/>
                </a:solidFill>
                <a:latin typeface="Arial"/>
                <a:cs typeface="Arial"/>
              </a:defRPr>
            </a:lvl1pPr>
          </a:lstStyle>
          <a:p>
            <a:fld id="{5B2ACB19-C0E1-7345-B8BA-15A723BE30E5}" type="slidenum">
              <a:rPr lang="en-US" smtClean="0">
                <a:solidFill>
                  <a:srgbClr val="D5B700"/>
                </a:solidFill>
              </a:rPr>
              <a:pPr/>
              <a:t>‹#›</a:t>
            </a:fld>
            <a:endParaRPr lang="en-US" dirty="0">
              <a:solidFill>
                <a:srgbClr val="D5B700"/>
              </a:solidFill>
            </a:endParaRPr>
          </a:p>
        </p:txBody>
      </p:sp>
      <p:pic>
        <p:nvPicPr>
          <p:cNvPr id="8" name="Picture 49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8"/>
          <p:cNvCxnSpPr/>
          <p:nvPr/>
        </p:nvCxnSpPr>
        <p:spPr>
          <a:xfrm>
            <a:off x="431800" y="5150115"/>
            <a:ext cx="8280400" cy="0"/>
          </a:xfrm>
          <a:prstGeom prst="line">
            <a:avLst/>
          </a:prstGeom>
          <a:ln w="6350" cmpd="sng">
            <a:solidFill>
              <a:srgbClr val="CBC7B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1558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1" r:id="rId1"/>
    <p:sldLayoutId id="2147484812" r:id="rId2"/>
    <p:sldLayoutId id="2147484813" r:id="rId3"/>
    <p:sldLayoutId id="2147484814" r:id="rId4"/>
    <p:sldLayoutId id="2147484815" r:id="rId5"/>
    <p:sldLayoutId id="2147484816" r:id="rId6"/>
    <p:sldLayoutId id="2147484817" r:id="rId7"/>
    <p:sldLayoutId id="2147484818" r:id="rId8"/>
    <p:sldLayoutId id="2147484819" r:id="rId9"/>
    <p:sldLayoutId id="2147484820" r:id="rId10"/>
    <p:sldLayoutId id="2147484821" r:id="rId11"/>
    <p:sldLayoutId id="2147484822" r:id="rId12"/>
    <p:sldLayoutId id="2147484823" r:id="rId13"/>
    <p:sldLayoutId id="2147484824" r:id="rId14"/>
    <p:sldLayoutId id="2147484825" r:id="rId15"/>
    <p:sldLayoutId id="2147484826" r:id="rId16"/>
    <p:sldLayoutId id="2147484827" r:id="rId17"/>
    <p:sldLayoutId id="2147484828" r:id="rId18"/>
    <p:sldLayoutId id="2147484829" r:id="rId19"/>
    <p:sldLayoutId id="2147484830" r:id="rId2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177800" indent="-177800" algn="l" defTabSz="457200" rtl="0" eaLnBrk="1" latinLnBrk="0" hangingPunct="1">
        <a:lnSpc>
          <a:spcPct val="110000"/>
        </a:lnSpc>
        <a:spcBef>
          <a:spcPts val="800"/>
        </a:spcBef>
        <a:buClr>
          <a:schemeClr val="accent4"/>
        </a:buClr>
        <a:buSzPct val="80000"/>
        <a:buFont typeface="Wingdings 3" charset="2"/>
        <a:buChar char="}"/>
        <a:defRPr sz="1800" kern="1200">
          <a:solidFill>
            <a:schemeClr val="tx1"/>
          </a:solidFill>
          <a:latin typeface="Arial"/>
          <a:ea typeface="+mn-ea"/>
          <a:cs typeface="Arial"/>
        </a:defRPr>
      </a:lvl1pPr>
      <a:lvl2pPr marL="358775" indent="-179388" algn="l" defTabSz="457200" rtl="0" eaLnBrk="1" latinLnBrk="0" hangingPunct="1">
        <a:lnSpc>
          <a:spcPct val="110000"/>
        </a:lnSpc>
        <a:spcBef>
          <a:spcPts val="200"/>
        </a:spcBef>
        <a:buClr>
          <a:schemeClr val="accent4"/>
        </a:buClr>
        <a:buFont typeface="Lucida Grande"/>
        <a:buChar char="-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538163" indent="-179388" algn="l" defTabSz="457200" rtl="0" eaLnBrk="1" latinLnBrk="0" hangingPunct="1">
        <a:lnSpc>
          <a:spcPct val="110000"/>
        </a:lnSpc>
        <a:spcBef>
          <a:spcPts val="200"/>
        </a:spcBef>
        <a:buClr>
          <a:schemeClr val="accent4"/>
        </a:buClr>
        <a:buFont typeface="Lucida Grande"/>
        <a:buChar char="-"/>
        <a:defRPr sz="1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1199" y="0"/>
            <a:ext cx="8381001" cy="1008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1200" y="1158555"/>
            <a:ext cx="8381000" cy="38460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7539" y="5266233"/>
            <a:ext cx="3954461" cy="304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800" b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1200" y="5266233"/>
            <a:ext cx="390845" cy="304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800" b="1">
                <a:solidFill>
                  <a:schemeClr val="bg2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fld id="{5B2ACB19-C0E1-7345-B8BA-15A723BE30E5}" type="slidenum">
              <a:rPr lang="en-GB" smtClean="0">
                <a:solidFill>
                  <a:srgbClr val="BBB3B0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BBB3B0">
                  <a:lumMod val="50000"/>
                </a:srgbClr>
              </a:solidFill>
            </a:endParaRPr>
          </a:p>
        </p:txBody>
      </p:sp>
      <p:pic>
        <p:nvPicPr>
          <p:cNvPr id="8" name="Picture 49"/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27950" y="5258337"/>
            <a:ext cx="984250" cy="2943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8"/>
          <p:cNvCxnSpPr/>
          <p:nvPr/>
        </p:nvCxnSpPr>
        <p:spPr>
          <a:xfrm>
            <a:off x="431800" y="5150115"/>
            <a:ext cx="8280400" cy="0"/>
          </a:xfrm>
          <a:prstGeom prst="line">
            <a:avLst/>
          </a:prstGeom>
          <a:ln w="6350" cmpd="sng">
            <a:solidFill>
              <a:srgbClr val="CBC7B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9969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53" r:id="rId1"/>
    <p:sldLayoutId id="2147484854" r:id="rId2"/>
    <p:sldLayoutId id="2147484855" r:id="rId3"/>
    <p:sldLayoutId id="2147484856" r:id="rId4"/>
    <p:sldLayoutId id="2147484857" r:id="rId5"/>
    <p:sldLayoutId id="2147484858" r:id="rId6"/>
    <p:sldLayoutId id="2147484859" r:id="rId7"/>
    <p:sldLayoutId id="2147484860" r:id="rId8"/>
    <p:sldLayoutId id="2147484861" r:id="rId9"/>
    <p:sldLayoutId id="2147484862" r:id="rId10"/>
    <p:sldLayoutId id="2147484863" r:id="rId11"/>
    <p:sldLayoutId id="2147484864" r:id="rId12"/>
    <p:sldLayoutId id="2147484865" r:id="rId13"/>
    <p:sldLayoutId id="2147484866" r:id="rId14"/>
    <p:sldLayoutId id="2147484867" r:id="rId15"/>
    <p:sldLayoutId id="2147484868" r:id="rId16"/>
    <p:sldLayoutId id="2147484869" r:id="rId17"/>
    <p:sldLayoutId id="2147484870" r:id="rId1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177800" indent="-177800" algn="l" defTabSz="457200" rtl="0" eaLnBrk="1" latinLnBrk="0" hangingPunct="1">
        <a:lnSpc>
          <a:spcPct val="110000"/>
        </a:lnSpc>
        <a:spcBef>
          <a:spcPts val="800"/>
        </a:spcBef>
        <a:buClr>
          <a:schemeClr val="accent4"/>
        </a:buClr>
        <a:buSzPct val="80000"/>
        <a:buFont typeface="Wingdings 3" charset="2"/>
        <a:buChar char="}"/>
        <a:defRPr sz="1800" kern="1200">
          <a:solidFill>
            <a:schemeClr val="tx1"/>
          </a:solidFill>
          <a:latin typeface="Arial"/>
          <a:ea typeface="+mn-ea"/>
          <a:cs typeface="Arial"/>
        </a:defRPr>
      </a:lvl1pPr>
      <a:lvl2pPr marL="358775" indent="-179388" algn="l" defTabSz="457200" rtl="0" eaLnBrk="1" latinLnBrk="0" hangingPunct="1">
        <a:lnSpc>
          <a:spcPct val="110000"/>
        </a:lnSpc>
        <a:spcBef>
          <a:spcPts val="200"/>
        </a:spcBef>
        <a:buClr>
          <a:schemeClr val="accent4"/>
        </a:buClr>
        <a:buFont typeface="Lucida Grande"/>
        <a:buChar char="-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538163" indent="-179388" algn="l" defTabSz="457200" rtl="0" eaLnBrk="1" latinLnBrk="0" hangingPunct="1">
        <a:lnSpc>
          <a:spcPct val="110000"/>
        </a:lnSpc>
        <a:spcBef>
          <a:spcPts val="200"/>
        </a:spcBef>
        <a:buClr>
          <a:schemeClr val="accent4"/>
        </a:buClr>
        <a:buFont typeface="Lucida Grande"/>
        <a:buChar char="-"/>
        <a:defRPr sz="1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slideLayout" Target="../slideLayouts/slideLayout78.xml"/><Relationship Id="rId7" Type="http://schemas.openxmlformats.org/officeDocument/2006/relationships/image" Target="../media/image44.jpeg"/><Relationship Id="rId2" Type="http://schemas.openxmlformats.org/officeDocument/2006/relationships/tags" Target="../tags/tag4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46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18" Type="http://schemas.openxmlformats.org/officeDocument/2006/relationships/tags" Target="../tags/tag39.xml"/><Relationship Id="rId26" Type="http://schemas.openxmlformats.org/officeDocument/2006/relationships/image" Target="../media/image26.png"/><Relationship Id="rId3" Type="http://schemas.openxmlformats.org/officeDocument/2006/relationships/tags" Target="../tags/tag24.xml"/><Relationship Id="rId21" Type="http://schemas.openxmlformats.org/officeDocument/2006/relationships/tags" Target="../tags/tag42.xml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tags" Target="../tags/tag38.xml"/><Relationship Id="rId25" Type="http://schemas.openxmlformats.org/officeDocument/2006/relationships/image" Target="../media/image25.png"/><Relationship Id="rId2" Type="http://schemas.openxmlformats.org/officeDocument/2006/relationships/tags" Target="../tags/tag23.xml"/><Relationship Id="rId16" Type="http://schemas.openxmlformats.org/officeDocument/2006/relationships/tags" Target="../tags/tag37.xml"/><Relationship Id="rId20" Type="http://schemas.openxmlformats.org/officeDocument/2006/relationships/tags" Target="../tags/tag41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24" Type="http://schemas.openxmlformats.org/officeDocument/2006/relationships/notesSlide" Target="../notesSlides/notesSlide2.xml"/><Relationship Id="rId5" Type="http://schemas.openxmlformats.org/officeDocument/2006/relationships/tags" Target="../tags/tag26.xml"/><Relationship Id="rId15" Type="http://schemas.openxmlformats.org/officeDocument/2006/relationships/tags" Target="../tags/tag36.xml"/><Relationship Id="rId23" Type="http://schemas.openxmlformats.org/officeDocument/2006/relationships/slideLayout" Target="../slideLayouts/slideLayout107.xml"/><Relationship Id="rId28" Type="http://schemas.openxmlformats.org/officeDocument/2006/relationships/image" Target="../media/image28.png"/><Relationship Id="rId10" Type="http://schemas.openxmlformats.org/officeDocument/2006/relationships/tags" Target="../tags/tag31.xml"/><Relationship Id="rId19" Type="http://schemas.openxmlformats.org/officeDocument/2006/relationships/tags" Target="../tags/tag40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Relationship Id="rId22" Type="http://schemas.openxmlformats.org/officeDocument/2006/relationships/tags" Target="../tags/tag43.xml"/><Relationship Id="rId27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3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0.jpeg"/><Relationship Id="rId12" Type="http://schemas.openxmlformats.org/officeDocument/2006/relationships/image" Target="../media/image35.jpeg"/><Relationship Id="rId2" Type="http://schemas.openxmlformats.org/officeDocument/2006/relationships/tags" Target="../tags/tag4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9.emf"/><Relationship Id="rId11" Type="http://schemas.openxmlformats.org/officeDocument/2006/relationships/image" Target="../media/image34.jpe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33.jpe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3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3.xml"/><Relationship Id="rId4" Type="http://schemas.openxmlformats.org/officeDocument/2006/relationships/image" Target="../media/image3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25436" y="471070"/>
            <a:ext cx="8149824" cy="2744327"/>
          </a:xfrm>
        </p:spPr>
        <p:txBody>
          <a:bodyPr>
            <a:normAutofit/>
          </a:bodyPr>
          <a:lstStyle/>
          <a:p>
            <a:r>
              <a:rPr lang="nb-NO" dirty="0" smtClean="0"/>
              <a:t>Markedsutsikter og</a:t>
            </a:r>
            <a:br>
              <a:rPr lang="nb-NO" dirty="0" smtClean="0"/>
            </a:br>
            <a:r>
              <a:rPr lang="nb-NO" dirty="0" smtClean="0"/>
              <a:t>Statkrafts strategi</a:t>
            </a:r>
            <a:r>
              <a:rPr lang="nb-NO" sz="1400" dirty="0" smtClean="0"/>
              <a:t/>
            </a:r>
            <a:br>
              <a:rPr lang="nb-NO" sz="1400" dirty="0" smtClean="0"/>
            </a:br>
            <a:r>
              <a:rPr lang="nb-NO" sz="1400" dirty="0" smtClean="0"/>
              <a:t/>
            </a:r>
            <a:br>
              <a:rPr lang="nb-NO" sz="1400" dirty="0" smtClean="0"/>
            </a:br>
            <a:r>
              <a:rPr lang="nb-NO" sz="1400" dirty="0" smtClean="0"/>
              <a:t>24. April 2014</a:t>
            </a:r>
            <a:br>
              <a:rPr lang="nb-NO" sz="1400" dirty="0" smtClean="0"/>
            </a:br>
            <a:r>
              <a:rPr lang="nb-NO" sz="1400" dirty="0" smtClean="0"/>
              <a:t/>
            </a:r>
            <a:br>
              <a:rPr lang="nb-NO" sz="1400" dirty="0" smtClean="0"/>
            </a:br>
            <a:r>
              <a:rPr lang="nb-NO" sz="1400" dirty="0" smtClean="0"/>
              <a:t/>
            </a:r>
            <a:br>
              <a:rPr lang="nb-NO" sz="1400" dirty="0" smtClean="0"/>
            </a:br>
            <a:endParaRPr lang="en-US" sz="1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>
              <a:spcBef>
                <a:spcPts val="0"/>
              </a:spcBef>
            </a:pPr>
            <a:r>
              <a:rPr lang="nb-NO" dirty="0" smtClean="0"/>
              <a:t>Håkon Egeland</a:t>
            </a:r>
          </a:p>
          <a:p>
            <a:pPr>
              <a:spcBef>
                <a:spcPts val="0"/>
              </a:spcBef>
            </a:pPr>
            <a:r>
              <a:rPr lang="nb-NO" dirty="0" smtClean="0"/>
              <a:t>Vice-President</a:t>
            </a:r>
          </a:p>
          <a:p>
            <a:pPr>
              <a:spcBef>
                <a:spcPts val="0"/>
              </a:spcBef>
            </a:pPr>
            <a:r>
              <a:rPr lang="nb-NO" dirty="0" smtClean="0"/>
              <a:t>Statkraft Energi 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00281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009934" y="0"/>
            <a:ext cx="7702266" cy="696036"/>
          </a:xfrm>
        </p:spPr>
        <p:txBody>
          <a:bodyPr/>
          <a:lstStyle/>
          <a:p>
            <a:r>
              <a:rPr lang="en-US" dirty="0" smtClean="0"/>
              <a:t>RES experiences from Denmark (Jutland)</a:t>
            </a:r>
            <a:endParaRPr lang="en-US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9117" y="824734"/>
            <a:ext cx="6958910" cy="4349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6" name="Rett pil 5"/>
          <p:cNvCxnSpPr/>
          <p:nvPr/>
        </p:nvCxnSpPr>
        <p:spPr>
          <a:xfrm flipV="1">
            <a:off x="3889612" y="2497540"/>
            <a:ext cx="846161" cy="13648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Rett pil 7"/>
          <p:cNvCxnSpPr/>
          <p:nvPr/>
        </p:nvCxnSpPr>
        <p:spPr>
          <a:xfrm flipH="1">
            <a:off x="3330054" y="3998794"/>
            <a:ext cx="791570" cy="0"/>
          </a:xfrm>
          <a:prstGeom prst="straightConnector1">
            <a:avLst/>
          </a:prstGeom>
          <a:ln>
            <a:solidFill>
              <a:schemeClr val="accent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Bildeforklaring formet som et avrundet rektangel 8"/>
          <p:cNvSpPr/>
          <p:nvPr/>
        </p:nvSpPr>
        <p:spPr>
          <a:xfrm>
            <a:off x="2224585" y="1160060"/>
            <a:ext cx="2265528" cy="859809"/>
          </a:xfrm>
          <a:prstGeom prst="wedgeRoundRectCallout">
            <a:avLst>
              <a:gd name="adj1" fmla="val 70579"/>
              <a:gd name="adj2" fmla="val 56151"/>
              <a:gd name="adj3" fmla="val 16667"/>
            </a:avLst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kstSylinder 9"/>
          <p:cNvSpPr txBox="1"/>
          <p:nvPr/>
        </p:nvSpPr>
        <p:spPr>
          <a:xfrm>
            <a:off x="2222500" y="1282890"/>
            <a:ext cx="24708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ind power share of annual consumption</a:t>
            </a:r>
            <a:endParaRPr lang="en-US" dirty="0"/>
          </a:p>
        </p:txBody>
      </p:sp>
      <p:sp>
        <p:nvSpPr>
          <p:cNvPr id="11" name="Bildeforklaring formet som et avrundet rektangel 10"/>
          <p:cNvSpPr/>
          <p:nvPr/>
        </p:nvSpPr>
        <p:spPr>
          <a:xfrm>
            <a:off x="4913194" y="3630304"/>
            <a:ext cx="2415655" cy="982302"/>
          </a:xfrm>
          <a:prstGeom prst="wedgeRoundRectCallout">
            <a:avLst>
              <a:gd name="adj1" fmla="val -69979"/>
              <a:gd name="adj2" fmla="val -24307"/>
              <a:gd name="adj3" fmla="val 16667"/>
            </a:avLst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kstSylinder 12"/>
          <p:cNvSpPr txBox="1"/>
          <p:nvPr/>
        </p:nvSpPr>
        <p:spPr>
          <a:xfrm>
            <a:off x="4913194" y="3689276"/>
            <a:ext cx="241565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% of annual hours were RES generation exceeds consum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4898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0948D5-43A5-4951-AF86-53E70FCC22DD}" type="slidenum">
              <a:rPr lang="en-GB" smtClean="0">
                <a:solidFill>
                  <a:srgbClr val="000000"/>
                </a:solidFill>
              </a:rPr>
              <a:pPr/>
              <a:t>11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478631" y="337225"/>
            <a:ext cx="8097838" cy="540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 defTabSz="914400"/>
            <a:r>
              <a:rPr lang="en-GB" dirty="0" smtClean="0">
                <a:solidFill>
                  <a:schemeClr val="accent1"/>
                </a:solidFill>
              </a:rPr>
              <a:t>European renewable targets mean that prices and dispatch patterns will be dictated by wind and solar</a:t>
            </a:r>
          </a:p>
        </p:txBody>
      </p:sp>
      <p:sp>
        <p:nvSpPr>
          <p:cNvPr id="16" name="Gallone 18"/>
          <p:cNvSpPr/>
          <p:nvPr/>
        </p:nvSpPr>
        <p:spPr bwMode="auto">
          <a:xfrm>
            <a:off x="6054461" y="1267315"/>
            <a:ext cx="401427" cy="3870438"/>
          </a:xfrm>
          <a:prstGeom prst="chevron">
            <a:avLst>
              <a:gd name="adj" fmla="val 84746"/>
            </a:avLst>
          </a:prstGeom>
          <a:solidFill>
            <a:schemeClr val="tx2"/>
          </a:solidFill>
          <a:ln w="9525" cap="flat" cmpd="sng" algn="ctr">
            <a:solidFill>
              <a:srgbClr val="001E6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buClr>
                <a:srgbClr val="FF850E"/>
              </a:buClr>
              <a:defRPr/>
            </a:pPr>
            <a:endParaRPr lang="en-GB" sz="1000" dirty="0" smtClean="0">
              <a:solidFill>
                <a:srgbClr val="FFFFFF"/>
              </a:solidFill>
            </a:endParaRPr>
          </a:p>
        </p:txBody>
      </p:sp>
      <p:sp>
        <p:nvSpPr>
          <p:cNvPr id="21" name="Content Placeholder 2"/>
          <p:cNvSpPr txBox="1">
            <a:spLocks/>
          </p:cNvSpPr>
          <p:nvPr/>
        </p:nvSpPr>
        <p:spPr bwMode="auto">
          <a:xfrm>
            <a:off x="6516216" y="1515395"/>
            <a:ext cx="2232248" cy="1222092"/>
          </a:xfrm>
          <a:prstGeom prst="roundRect">
            <a:avLst>
              <a:gd name="adj" fmla="val 7632"/>
            </a:avLst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108000" tIns="108000" rIns="108000" bIns="108000" numCol="1" anchor="ctr" anchorCtr="0" compatLnSpc="1">
            <a:prstTxWarp prst="textNoShape">
              <a:avLst/>
            </a:prstTxWarp>
          </a:bodyPr>
          <a:lstStyle>
            <a:lvl1pPr marL="180975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850E"/>
              </a:buClr>
              <a:buSzPct val="110000"/>
              <a:buFont typeface="Symbol" pitchFamily="18" charset="2"/>
              <a:buChar char="·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841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850E"/>
              </a:buClr>
              <a:buSzPct val="90000"/>
              <a:buFont typeface="Symbol" pitchFamily="18" charset="2"/>
              <a:buChar char="·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542925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850E"/>
              </a:buClr>
              <a:buFont typeface="Symbol" pitchFamily="18" charset="2"/>
              <a:buChar char="·"/>
              <a:defRPr sz="1400">
                <a:solidFill>
                  <a:schemeClr val="tx1"/>
                </a:solidFill>
                <a:latin typeface="+mn-lt"/>
                <a:cs typeface="+mn-cs"/>
              </a:defRPr>
            </a:lvl3pPr>
            <a:lvl4pPr marL="806450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850E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  <a:cs typeface="+mn-cs"/>
              </a:defRPr>
            </a:lvl4pPr>
            <a:lvl5pPr marL="9826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850E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  <a:cs typeface="+mn-cs"/>
              </a:defRPr>
            </a:lvl5pPr>
            <a:lvl6pPr marL="2159000" indent="-182563" algn="just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  <a:cs typeface="+mn-cs"/>
              </a:defRPr>
            </a:lvl6pPr>
            <a:lvl7pPr marL="2616200" indent="-182563" algn="just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3073400" indent="-182563" algn="just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3530600" indent="-182563" algn="just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r>
              <a:rPr lang="en-US" sz="1600" dirty="0">
                <a:solidFill>
                  <a:srgbClr val="FFFFFF"/>
                </a:solidFill>
              </a:rPr>
              <a:t>Greater flexibility will be needed to operate the electricity </a:t>
            </a:r>
            <a:r>
              <a:rPr lang="en-US" sz="1600" dirty="0" smtClean="0">
                <a:solidFill>
                  <a:srgbClr val="FFFFFF"/>
                </a:solidFill>
              </a:rPr>
              <a:t>system</a:t>
            </a:r>
          </a:p>
        </p:txBody>
      </p:sp>
      <p:sp>
        <p:nvSpPr>
          <p:cNvPr id="22" name="Content Placeholder 2"/>
          <p:cNvSpPr txBox="1">
            <a:spLocks/>
          </p:cNvSpPr>
          <p:nvPr/>
        </p:nvSpPr>
        <p:spPr bwMode="auto">
          <a:xfrm>
            <a:off x="6516216" y="3015814"/>
            <a:ext cx="2232248" cy="1881913"/>
          </a:xfrm>
          <a:prstGeom prst="roundRect">
            <a:avLst>
              <a:gd name="adj" fmla="val 9130"/>
            </a:avLst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108000" tIns="108000" rIns="108000" bIns="108000" numCol="1" anchor="ctr" anchorCtr="0" compatLnSpc="1">
            <a:prstTxWarp prst="textNoShape">
              <a:avLst/>
            </a:prstTxWarp>
          </a:bodyPr>
          <a:lstStyle>
            <a:lvl1pPr marL="180975" indent="-1809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850E"/>
              </a:buClr>
              <a:buSzPct val="110000"/>
              <a:buFont typeface="Symbol" pitchFamily="18" charset="2"/>
              <a:buChar char="·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8775" indent="-1841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850E"/>
              </a:buClr>
              <a:buSzPct val="90000"/>
              <a:buFont typeface="Symbol" pitchFamily="18" charset="2"/>
              <a:buChar char="·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542925" indent="-1746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850E"/>
              </a:buClr>
              <a:buFont typeface="Symbol" pitchFamily="18" charset="2"/>
              <a:buChar char="·"/>
              <a:defRPr sz="1400">
                <a:solidFill>
                  <a:schemeClr val="tx1"/>
                </a:solidFill>
                <a:latin typeface="+mn-lt"/>
                <a:cs typeface="+mn-cs"/>
              </a:defRPr>
            </a:lvl3pPr>
            <a:lvl4pPr marL="806450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850E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  <a:cs typeface="+mn-cs"/>
              </a:defRPr>
            </a:lvl4pPr>
            <a:lvl5pPr marL="982663" indent="-1825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FF850E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  <a:cs typeface="+mn-cs"/>
              </a:defRPr>
            </a:lvl5pPr>
            <a:lvl6pPr marL="2159000" indent="-182563" algn="just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  <a:cs typeface="+mn-cs"/>
              </a:defRPr>
            </a:lvl6pPr>
            <a:lvl7pPr marL="2616200" indent="-182563" algn="just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  <a:cs typeface="+mn-cs"/>
              </a:defRPr>
            </a:lvl7pPr>
            <a:lvl8pPr marL="3073400" indent="-182563" algn="just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  <a:cs typeface="+mn-cs"/>
              </a:defRPr>
            </a:lvl8pPr>
            <a:lvl9pPr marL="3530600" indent="-182563" algn="just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400">
              <a:spcBef>
                <a:spcPts val="600"/>
              </a:spcBef>
            </a:pPr>
            <a:r>
              <a:rPr lang="en-US" sz="1600" dirty="0" smtClean="0">
                <a:solidFill>
                  <a:srgbClr val="FFFFFF"/>
                </a:solidFill>
              </a:rPr>
              <a:t>Four main options:</a:t>
            </a:r>
          </a:p>
          <a:p>
            <a:pPr marL="361950" lvl="1" indent="-187325" defTabSz="914400">
              <a:spcBef>
                <a:spcPts val="600"/>
              </a:spcBef>
              <a:buFont typeface="+mj-lt"/>
              <a:buAutoNum type="arabicPeriod"/>
            </a:pPr>
            <a:r>
              <a:rPr lang="en-US" sz="1400" dirty="0" smtClean="0">
                <a:solidFill>
                  <a:srgbClr val="FFFFFF"/>
                </a:solidFill>
              </a:rPr>
              <a:t>Flexible generation</a:t>
            </a:r>
          </a:p>
          <a:p>
            <a:pPr marL="361950" lvl="1" indent="-187325" defTabSz="914400">
              <a:spcBef>
                <a:spcPts val="600"/>
              </a:spcBef>
              <a:buFont typeface="+mj-lt"/>
              <a:buAutoNum type="arabicPeriod"/>
            </a:pPr>
            <a:r>
              <a:rPr lang="en-US" sz="1400" dirty="0" smtClean="0">
                <a:solidFill>
                  <a:srgbClr val="FFFFFF"/>
                </a:solidFill>
              </a:rPr>
              <a:t>Increased interconnection</a:t>
            </a:r>
          </a:p>
          <a:p>
            <a:pPr marL="361950" lvl="1" indent="-187325" defTabSz="914400">
              <a:spcBef>
                <a:spcPts val="600"/>
              </a:spcBef>
              <a:buFont typeface="+mj-lt"/>
              <a:buAutoNum type="arabicPeriod"/>
            </a:pPr>
            <a:r>
              <a:rPr lang="en-US" sz="1400" dirty="0" smtClean="0">
                <a:solidFill>
                  <a:srgbClr val="FFFFFF"/>
                </a:solidFill>
              </a:rPr>
              <a:t>Demand Side Response (DSR)</a:t>
            </a:r>
          </a:p>
          <a:p>
            <a:pPr marL="361950" lvl="1" indent="-187325" defTabSz="914400">
              <a:spcBef>
                <a:spcPts val="600"/>
              </a:spcBef>
              <a:buFont typeface="+mj-lt"/>
              <a:buAutoNum type="arabicPeriod"/>
            </a:pPr>
            <a:r>
              <a:rPr lang="en-US" sz="1400" dirty="0" smtClean="0">
                <a:solidFill>
                  <a:srgbClr val="FFFFFF"/>
                </a:solidFill>
              </a:rPr>
              <a:t>Electricity storage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6245" y="1231901"/>
            <a:ext cx="6086336" cy="3986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kstSylinder 23"/>
          <p:cNvSpPr txBox="1"/>
          <p:nvPr/>
        </p:nvSpPr>
        <p:spPr>
          <a:xfrm>
            <a:off x="876299" y="1020349"/>
            <a:ext cx="4826001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600" b="1" dirty="0" smtClean="0"/>
              <a:t>Yearly load duration curves due to fluctuating electricity supply in Germany from 2012-2050</a:t>
            </a:r>
            <a:endParaRPr lang="en-US" sz="1600" b="1" dirty="0"/>
          </a:p>
        </p:txBody>
      </p:sp>
      <p:sp>
        <p:nvSpPr>
          <p:cNvPr id="2" name="TekstSylinder 1"/>
          <p:cNvSpPr txBox="1"/>
          <p:nvPr/>
        </p:nvSpPr>
        <p:spPr>
          <a:xfrm>
            <a:off x="698499" y="5113836"/>
            <a:ext cx="535596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22300" indent="-622300"/>
            <a:r>
              <a:rPr lang="nb-NO" sz="1400" dirty="0" smtClean="0"/>
              <a:t>Source: Prognose AG, report: </a:t>
            </a:r>
            <a:r>
              <a:rPr lang="en-US" sz="1400" dirty="0"/>
              <a:t>The significance of international hydropower storage for the energy transition</a:t>
            </a:r>
          </a:p>
        </p:txBody>
      </p:sp>
      <p:sp>
        <p:nvSpPr>
          <p:cNvPr id="3" name="TekstSylinder 2"/>
          <p:cNvSpPr txBox="1"/>
          <p:nvPr/>
        </p:nvSpPr>
        <p:spPr>
          <a:xfrm>
            <a:off x="901699" y="1833146"/>
            <a:ext cx="2057401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Surplus due to fluctuating feed-in</a:t>
            </a:r>
            <a:endParaRPr lang="en-US" sz="1600" dirty="0"/>
          </a:p>
        </p:txBody>
      </p:sp>
      <p:sp>
        <p:nvSpPr>
          <p:cNvPr id="37" name="TekstSylinder 36"/>
          <p:cNvSpPr txBox="1"/>
          <p:nvPr/>
        </p:nvSpPr>
        <p:spPr>
          <a:xfrm>
            <a:off x="3200400" y="3224975"/>
            <a:ext cx="27051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Necessarily controllable power</a:t>
            </a:r>
            <a:endParaRPr lang="en-US" sz="1400" dirty="0"/>
          </a:p>
        </p:txBody>
      </p:sp>
      <p:sp>
        <p:nvSpPr>
          <p:cNvPr id="38" name="TekstSylinder 37"/>
          <p:cNvSpPr txBox="1"/>
          <p:nvPr/>
        </p:nvSpPr>
        <p:spPr>
          <a:xfrm>
            <a:off x="4733891" y="3473797"/>
            <a:ext cx="1031909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generation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2094927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1" grpId="0" animBg="1"/>
      <p:bldP spid="2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65538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2043" y="286641"/>
            <a:ext cx="6203920" cy="40468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ktangel 9"/>
          <p:cNvSpPr/>
          <p:nvPr/>
        </p:nvSpPr>
        <p:spPr>
          <a:xfrm>
            <a:off x="4346608" y="3873789"/>
            <a:ext cx="2710175" cy="2888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553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0794" y="3251058"/>
            <a:ext cx="3341687" cy="1011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Content Placeholder 1"/>
          <p:cNvSpPr>
            <a:spLocks noGrp="1"/>
          </p:cNvSpPr>
          <p:nvPr>
            <p:ph sz="half" idx="4294967295"/>
          </p:nvPr>
        </p:nvSpPr>
        <p:spPr>
          <a:xfrm>
            <a:off x="162235" y="1272548"/>
            <a:ext cx="2798559" cy="302950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nb-NO" dirty="0" smtClean="0"/>
              <a:t>Norge har 50% av Europas magasinkapasitet </a:t>
            </a:r>
          </a:p>
          <a:p>
            <a:r>
              <a:rPr lang="nb-NO" dirty="0" smtClean="0"/>
              <a:t>Vi har ubenyttet fleksibilitet i dagens kraftsystem</a:t>
            </a:r>
          </a:p>
          <a:p>
            <a:r>
              <a:rPr lang="nb-NO" dirty="0" smtClean="0"/>
              <a:t>Betydelig mulighet til å øke fleksibiliteten uten å bygge nye magasiner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82115" y="59634"/>
            <a:ext cx="4548913" cy="904461"/>
          </a:xfrm>
          <a:solidFill>
            <a:schemeClr val="bg1"/>
          </a:solidFill>
        </p:spPr>
        <p:txBody>
          <a:bodyPr>
            <a:normAutofit/>
          </a:bodyPr>
          <a:lstStyle/>
          <a:p>
            <a:r>
              <a:rPr lang="nb-NO" sz="2400" dirty="0" smtClean="0"/>
              <a:t>UNIK KRAFTPRODUKSJON I EUROPEISK SAMMENHENG</a:t>
            </a:r>
            <a:endParaRPr lang="en-US" sz="2400" dirty="0"/>
          </a:p>
        </p:txBody>
      </p:sp>
      <p:sp>
        <p:nvSpPr>
          <p:cNvPr id="15" name="Content Placeholder 1"/>
          <p:cNvSpPr>
            <a:spLocks noGrp="1"/>
          </p:cNvSpPr>
          <p:nvPr>
            <p:ph sz="half" idx="4294967295"/>
          </p:nvPr>
        </p:nvSpPr>
        <p:spPr>
          <a:xfrm>
            <a:off x="523354" y="4549148"/>
            <a:ext cx="8352287" cy="557969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nb-NO" b="1" dirty="0" smtClean="0"/>
              <a:t>Men,</a:t>
            </a:r>
            <a:r>
              <a:rPr lang="nb-NO" dirty="0" smtClean="0"/>
              <a:t> vi mangler overføringskapasitet til interessante markeder</a:t>
            </a:r>
          </a:p>
        </p:txBody>
      </p:sp>
      <p:sp>
        <p:nvSpPr>
          <p:cNvPr id="12" name="TekstSylinder 11"/>
          <p:cNvSpPr txBox="1"/>
          <p:nvPr/>
        </p:nvSpPr>
        <p:spPr>
          <a:xfrm>
            <a:off x="7374836" y="596343"/>
            <a:ext cx="17095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 smtClean="0"/>
              <a:t>8,3 </a:t>
            </a:r>
            <a:r>
              <a:rPr lang="nb-NO" sz="1400" b="1" dirty="0" err="1" smtClean="0"/>
              <a:t>TWh</a:t>
            </a:r>
            <a:r>
              <a:rPr lang="nb-NO" sz="1400" b="1" dirty="0" smtClean="0"/>
              <a:t> kapasitet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3949551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Store muligheter innen markedsoperasjoner</a:t>
            </a:r>
            <a:endParaRPr lang="nb-NO" dirty="0"/>
          </a:p>
        </p:txBody>
      </p:sp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endParaRPr lang="nb-NO" dirty="0" smtClean="0"/>
          </a:p>
          <a:p>
            <a:r>
              <a:rPr lang="nb-NO" dirty="0" smtClean="0"/>
              <a:t>Statkraft er nå Tysklands største operatør av </a:t>
            </a:r>
            <a:r>
              <a:rPr lang="nb-NO" dirty="0"/>
              <a:t>fornybar </a:t>
            </a:r>
            <a:r>
              <a:rPr lang="nb-NO" dirty="0" smtClean="0"/>
              <a:t>energi</a:t>
            </a:r>
          </a:p>
          <a:p>
            <a:pPr lvl="1"/>
            <a:r>
              <a:rPr lang="nb-NO" dirty="0" smtClean="0"/>
              <a:t>Markedsandel</a:t>
            </a:r>
            <a:r>
              <a:rPr lang="nb-NO" dirty="0"/>
              <a:t>: 25 % av tysk </a:t>
            </a:r>
            <a:r>
              <a:rPr lang="nb-NO" dirty="0" smtClean="0"/>
              <a:t>vindkraft</a:t>
            </a:r>
          </a:p>
          <a:p>
            <a:r>
              <a:rPr lang="nb-NO" dirty="0" smtClean="0"/>
              <a:t>Statkraft selger kraft </a:t>
            </a:r>
            <a:r>
              <a:rPr lang="nb-NO" dirty="0"/>
              <a:t>f</a:t>
            </a:r>
            <a:r>
              <a:rPr lang="nb-NO" dirty="0" smtClean="0"/>
              <a:t>or 8600 MW</a:t>
            </a:r>
          </a:p>
          <a:p>
            <a:pPr lvl="1"/>
            <a:r>
              <a:rPr lang="nb-NO" dirty="0" smtClean="0"/>
              <a:t>Av dette er ca. 5000 MW fjernstyrt</a:t>
            </a:r>
            <a:endParaRPr lang="nb-NO" dirty="0"/>
          </a:p>
          <a:p>
            <a:r>
              <a:rPr lang="nb-NO" dirty="0" smtClean="0"/>
              <a:t>Statkraft samkjører ca. 5000 fornybare produksjonsenheter til ett stort virtuelt kraftverk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13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634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0975" y="1169195"/>
            <a:ext cx="3451225" cy="3835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9"/>
          <p:cNvSpPr/>
          <p:nvPr/>
        </p:nvSpPr>
        <p:spPr>
          <a:xfrm>
            <a:off x="6839087" y="4461476"/>
            <a:ext cx="1813479" cy="460817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b="1" dirty="0" smtClean="0">
                <a:solidFill>
                  <a:srgbClr val="FFFFFF"/>
                </a:solidFill>
              </a:rPr>
              <a:t>8.620 MW - markedstilgang</a:t>
            </a:r>
          </a:p>
          <a:p>
            <a:pPr algn="ctr"/>
            <a:r>
              <a:rPr lang="nb-NO" sz="1000" b="1" dirty="0" smtClean="0">
                <a:solidFill>
                  <a:srgbClr val="FFFFFF"/>
                </a:solidFill>
              </a:rPr>
              <a:t>~5.000 MW - fjernstyring</a:t>
            </a:r>
          </a:p>
        </p:txBody>
      </p:sp>
    </p:spTree>
    <p:extLst>
      <p:ext uri="{BB962C8B-B14F-4D97-AF65-F5344CB8AC3E}">
        <p14:creationId xmlns:p14="http://schemas.microsoft.com/office/powerpoint/2010/main" val="995178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104972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9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Arc 4"/>
          <p:cNvSpPr>
            <a:spLocks/>
          </p:cNvSpPr>
          <p:nvPr/>
        </p:nvSpPr>
        <p:spPr bwMode="auto">
          <a:xfrm>
            <a:off x="4339081" y="3332076"/>
            <a:ext cx="2395546" cy="615157"/>
          </a:xfrm>
          <a:custGeom>
            <a:avLst/>
            <a:gdLst>
              <a:gd name="T0" fmla="*/ 0 w 21145"/>
              <a:gd name="T1" fmla="*/ 2147483647 h 21600"/>
              <a:gd name="T2" fmla="*/ 2147483647 w 21145"/>
              <a:gd name="T3" fmla="*/ 2147483647 h 21600"/>
              <a:gd name="T4" fmla="*/ 2147483647 w 21145"/>
              <a:gd name="T5" fmla="*/ 2147483647 h 21600"/>
              <a:gd name="T6" fmla="*/ 0 60000 65536"/>
              <a:gd name="T7" fmla="*/ 0 60000 65536"/>
              <a:gd name="T8" fmla="*/ 0 60000 65536"/>
              <a:gd name="T9" fmla="*/ 0 w 21145"/>
              <a:gd name="T10" fmla="*/ 0 h 21600"/>
              <a:gd name="T11" fmla="*/ 21145 w 21145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145" h="21600" fill="none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</a:path>
              <a:path w="21145" h="21600" stroke="0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  <a:lnTo>
                  <a:pt x="19582" y="21600"/>
                </a:lnTo>
                <a:close/>
              </a:path>
            </a:pathLst>
          </a:custGeom>
          <a:noFill/>
          <a:ln w="38100">
            <a:solidFill>
              <a:schemeClr val="accent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 sz="2000" dirty="0">
              <a:solidFill>
                <a:srgbClr val="000000"/>
              </a:solidFill>
            </a:endParaRPr>
          </a:p>
        </p:txBody>
      </p:sp>
      <p:sp>
        <p:nvSpPr>
          <p:cNvPr id="18" name="Arc 4"/>
          <p:cNvSpPr>
            <a:spLocks/>
          </p:cNvSpPr>
          <p:nvPr/>
        </p:nvSpPr>
        <p:spPr bwMode="auto">
          <a:xfrm>
            <a:off x="2227769" y="3715389"/>
            <a:ext cx="2395546" cy="615157"/>
          </a:xfrm>
          <a:custGeom>
            <a:avLst/>
            <a:gdLst>
              <a:gd name="T0" fmla="*/ 0 w 21145"/>
              <a:gd name="T1" fmla="*/ 2147483647 h 21600"/>
              <a:gd name="T2" fmla="*/ 2147483647 w 21145"/>
              <a:gd name="T3" fmla="*/ 2147483647 h 21600"/>
              <a:gd name="T4" fmla="*/ 2147483647 w 21145"/>
              <a:gd name="T5" fmla="*/ 2147483647 h 21600"/>
              <a:gd name="T6" fmla="*/ 0 60000 65536"/>
              <a:gd name="T7" fmla="*/ 0 60000 65536"/>
              <a:gd name="T8" fmla="*/ 0 60000 65536"/>
              <a:gd name="T9" fmla="*/ 0 w 21145"/>
              <a:gd name="T10" fmla="*/ 0 h 21600"/>
              <a:gd name="T11" fmla="*/ 21145 w 21145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145" h="21600" fill="none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</a:path>
              <a:path w="21145" h="21600" stroke="0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  <a:lnTo>
                  <a:pt x="19582" y="21600"/>
                </a:lnTo>
                <a:close/>
              </a:path>
            </a:pathLst>
          </a:custGeom>
          <a:noFill/>
          <a:ln w="38100">
            <a:solidFill>
              <a:schemeClr val="accent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 sz="2000" dirty="0">
              <a:solidFill>
                <a:srgbClr val="000000"/>
              </a:solidFill>
            </a:endParaRPr>
          </a:p>
        </p:txBody>
      </p:sp>
      <p:sp>
        <p:nvSpPr>
          <p:cNvPr id="19" name="Arc 4"/>
          <p:cNvSpPr>
            <a:spLocks/>
          </p:cNvSpPr>
          <p:nvPr/>
        </p:nvSpPr>
        <p:spPr bwMode="auto">
          <a:xfrm>
            <a:off x="177204" y="4088862"/>
            <a:ext cx="2395546" cy="615157"/>
          </a:xfrm>
          <a:custGeom>
            <a:avLst/>
            <a:gdLst>
              <a:gd name="T0" fmla="*/ 0 w 21145"/>
              <a:gd name="T1" fmla="*/ 2147483647 h 21600"/>
              <a:gd name="T2" fmla="*/ 2147483647 w 21145"/>
              <a:gd name="T3" fmla="*/ 2147483647 h 21600"/>
              <a:gd name="T4" fmla="*/ 2147483647 w 21145"/>
              <a:gd name="T5" fmla="*/ 2147483647 h 21600"/>
              <a:gd name="T6" fmla="*/ 0 60000 65536"/>
              <a:gd name="T7" fmla="*/ 0 60000 65536"/>
              <a:gd name="T8" fmla="*/ 0 60000 65536"/>
              <a:gd name="T9" fmla="*/ 0 w 21145"/>
              <a:gd name="T10" fmla="*/ 0 h 21600"/>
              <a:gd name="T11" fmla="*/ 21145 w 21145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145" h="21600" fill="none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</a:path>
              <a:path w="21145" h="21600" stroke="0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  <a:lnTo>
                  <a:pt x="19582" y="21600"/>
                </a:lnTo>
                <a:close/>
              </a:path>
            </a:pathLst>
          </a:custGeom>
          <a:noFill/>
          <a:ln w="38100">
            <a:solidFill>
              <a:schemeClr val="accent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 sz="2000" dirty="0">
              <a:solidFill>
                <a:srgbClr val="000000"/>
              </a:solidFill>
            </a:endParaRPr>
          </a:p>
        </p:txBody>
      </p:sp>
      <p:pic>
        <p:nvPicPr>
          <p:cNvPr id="34821" name="Picture 5" descr="http://sharepoint.statkraft.com/_layouts/FC.ImageSearch/ThumbnailHandler.ashx?url=http://sharepoint.statkraft.com/sites/photo/StatkraftPhoto/051107khy3200.JPG&amp;w=1000&amp;h=752&amp;IsDlg=1"/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407545" y="2193249"/>
            <a:ext cx="1756683" cy="773030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818" name="Picture 2" descr="http://www.statkraft.no/Images/1918_Glomfjord_tcm10-7112.jpg"/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35386" y="2497846"/>
            <a:ext cx="2024774" cy="786727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sz="2400" dirty="0" smtClean="0"/>
              <a:t>Statkrafts ambisjon</a:t>
            </a:r>
            <a:endParaRPr lang="nb-NO" sz="2400" dirty="0"/>
          </a:p>
        </p:txBody>
      </p:sp>
      <p:sp>
        <p:nvSpPr>
          <p:cNvPr id="10" name="Rounded Rectangle 9"/>
          <p:cNvSpPr/>
          <p:nvPr/>
        </p:nvSpPr>
        <p:spPr>
          <a:xfrm>
            <a:off x="6400832" y="1432655"/>
            <a:ext cx="2559002" cy="817245"/>
          </a:xfrm>
          <a:prstGeom prst="roundRect">
            <a:avLst/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algn="ctr"/>
            <a:r>
              <a:rPr lang="nb-NO" sz="1400" b="1" dirty="0" smtClean="0">
                <a:solidFill>
                  <a:srgbClr val="FFFFFF"/>
                </a:solidFill>
                <a:cs typeface="Arial" panose="020B0604020202020204" pitchFamily="34" charset="0"/>
              </a:rPr>
              <a:t>Styrke posisjonen som en ledende internasjonal leverandør av ren energi</a:t>
            </a:r>
            <a:endParaRPr lang="nb-NO" sz="1400" b="1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245003" y="3284549"/>
            <a:ext cx="2019837" cy="476726"/>
          </a:xfrm>
          <a:prstGeom prst="round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nb-NO" sz="1400" dirty="0" smtClean="0">
                <a:solidFill>
                  <a:srgbClr val="00395D"/>
                </a:solidFill>
                <a:cs typeface="Arial" pitchFamily="34" charset="0"/>
              </a:rPr>
              <a:t>Fundament for norsk kraftintensiv industri</a:t>
            </a:r>
            <a:endParaRPr lang="nb-NO" sz="1400" dirty="0">
              <a:solidFill>
                <a:srgbClr val="00395D"/>
              </a:solidFill>
              <a:cs typeface="Arial" pitchFamily="34" charset="0"/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2432260" y="2945502"/>
            <a:ext cx="1818468" cy="715089"/>
          </a:xfrm>
          <a:prstGeom prst="round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nb-NO" sz="1400" dirty="0" smtClean="0">
                <a:solidFill>
                  <a:srgbClr val="00395D"/>
                </a:solidFill>
                <a:cs typeface="Arial" pitchFamily="34" charset="0"/>
              </a:rPr>
              <a:t>I forkant av det liberaliserte energi-markedet</a:t>
            </a:r>
            <a:endParaRPr lang="nb-NO" sz="1400" dirty="0">
              <a:solidFill>
                <a:srgbClr val="00395D"/>
              </a:solidFill>
              <a:cs typeface="Arial" pitchFamily="34" charset="0"/>
            </a:endParaRPr>
          </a:p>
        </p:txBody>
      </p:sp>
      <p:pic>
        <p:nvPicPr>
          <p:cNvPr id="34828" name="Picture 12" descr="http://sharepoint.statkraft.com/_layouts/FC.ImageSearch/ThumbnailHandler.ashx?url=http://sharepoint.statkraft.com/sites/photo/StatkraftPhoto/Havvind-2.jpg&amp;w=1000&amp;h=752&amp;IsDlg=1"/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314725" y="1816410"/>
            <a:ext cx="1951280" cy="804477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ounded Rectangle 27"/>
          <p:cNvSpPr/>
          <p:nvPr/>
        </p:nvSpPr>
        <p:spPr>
          <a:xfrm>
            <a:off x="4363795" y="2617085"/>
            <a:ext cx="2147072" cy="715089"/>
          </a:xfrm>
          <a:prstGeom prst="round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nb-NO" sz="1400" dirty="0" smtClean="0">
                <a:solidFill>
                  <a:srgbClr val="00395D"/>
                </a:solidFill>
                <a:cs typeface="Arial" pitchFamily="34" charset="0"/>
              </a:rPr>
              <a:t>Europeisk leder innen produksjon av miljøvennlig energi</a:t>
            </a:r>
            <a:endParaRPr lang="nb-NO" sz="1400" dirty="0">
              <a:solidFill>
                <a:srgbClr val="00395D"/>
              </a:solidFill>
              <a:cs typeface="Arial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35386" y="2164078"/>
            <a:ext cx="17347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b-NO" sz="1400" b="1" dirty="0" smtClean="0">
                <a:solidFill>
                  <a:srgbClr val="00A6D3"/>
                </a:solidFill>
                <a:cs typeface="Arial" pitchFamily="34" charset="0"/>
              </a:rPr>
              <a:t>Historisk posisjon</a:t>
            </a:r>
            <a:endParaRPr lang="nb-NO" sz="1400" dirty="0">
              <a:solidFill>
                <a:srgbClr val="00A6D3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2375059" y="1897544"/>
            <a:ext cx="91082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 smtClean="0">
                <a:solidFill>
                  <a:srgbClr val="00A6D3"/>
                </a:solidFill>
                <a:cs typeface="Arial" pitchFamily="34" charset="0"/>
              </a:rPr>
              <a:t>1990-åra</a:t>
            </a:r>
            <a:endParaRPr lang="en-US" sz="1400" dirty="0">
              <a:solidFill>
                <a:srgbClr val="00A6D3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4363795" y="1492361"/>
            <a:ext cx="105830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 smtClean="0">
                <a:solidFill>
                  <a:srgbClr val="00A6D3"/>
                </a:solidFill>
                <a:cs typeface="Arial" pitchFamily="34" charset="0"/>
              </a:rPr>
              <a:t>2000-tallet</a:t>
            </a:r>
            <a:endParaRPr lang="en-US" sz="1400" dirty="0">
              <a:solidFill>
                <a:srgbClr val="00A6D3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6362734" y="1149351"/>
            <a:ext cx="200407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b-NO" sz="1400" b="1" dirty="0" smtClean="0">
                <a:solidFill>
                  <a:srgbClr val="00A6D3"/>
                </a:solidFill>
                <a:cs typeface="Arial" pitchFamily="34" charset="0"/>
              </a:rPr>
              <a:t>Ambisjon 2014 - 2018</a:t>
            </a:r>
            <a:endParaRPr lang="nb-NO" sz="1400" dirty="0">
              <a:solidFill>
                <a:srgbClr val="00A6D3"/>
              </a:solidFill>
            </a:endParaRPr>
          </a:p>
        </p:txBody>
      </p:sp>
      <p:sp>
        <p:nvSpPr>
          <p:cNvPr id="21" name="Arc 4"/>
          <p:cNvSpPr>
            <a:spLocks/>
          </p:cNvSpPr>
          <p:nvPr/>
        </p:nvSpPr>
        <p:spPr bwMode="auto">
          <a:xfrm>
            <a:off x="6482560" y="2962219"/>
            <a:ext cx="2395546" cy="615157"/>
          </a:xfrm>
          <a:custGeom>
            <a:avLst/>
            <a:gdLst>
              <a:gd name="T0" fmla="*/ 0 w 21145"/>
              <a:gd name="T1" fmla="*/ 2147483647 h 21600"/>
              <a:gd name="T2" fmla="*/ 2147483647 w 21145"/>
              <a:gd name="T3" fmla="*/ 2147483647 h 21600"/>
              <a:gd name="T4" fmla="*/ 2147483647 w 21145"/>
              <a:gd name="T5" fmla="*/ 2147483647 h 21600"/>
              <a:gd name="T6" fmla="*/ 0 60000 65536"/>
              <a:gd name="T7" fmla="*/ 0 60000 65536"/>
              <a:gd name="T8" fmla="*/ 0 60000 65536"/>
              <a:gd name="T9" fmla="*/ 0 w 21145"/>
              <a:gd name="T10" fmla="*/ 0 h 21600"/>
              <a:gd name="T11" fmla="*/ 21145 w 21145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145" h="21600" fill="none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</a:path>
              <a:path w="21145" h="21600" stroke="0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  <a:lnTo>
                  <a:pt x="19582" y="21600"/>
                </a:lnTo>
                <a:close/>
              </a:path>
            </a:pathLst>
          </a:custGeom>
          <a:noFill/>
          <a:ln w="38100">
            <a:solidFill>
              <a:schemeClr val="accent1"/>
            </a:solidFill>
            <a:round/>
            <a:headEnd/>
            <a:tailEnd/>
          </a:ln>
        </p:spPr>
        <p:txBody>
          <a:bodyPr wrap="none" lIns="93296" tIns="46648" rIns="93296" bIns="46648" anchor="ctr"/>
          <a:lstStyle/>
          <a:p>
            <a:endParaRPr lang="en-US" sz="2000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14</a:t>
            </a:fld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6589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joreio Sysendammen.jpg"/>
          <p:cNvPicPr>
            <a:picLocks noChangeAspect="1"/>
          </p:cNvPicPr>
          <p:nvPr/>
        </p:nvPicPr>
        <p:blipFill rotWithShape="1">
          <a:blip r:embed="rId3" cstate="print"/>
          <a:srcRect t="1" b="43963"/>
          <a:stretch/>
        </p:blipFill>
        <p:spPr>
          <a:xfrm>
            <a:off x="0" y="0"/>
            <a:ext cx="9144000" cy="3403157"/>
          </a:xfrm>
          <a:prstGeom prst="rect">
            <a:avLst/>
          </a:prstGeom>
        </p:spPr>
      </p:pic>
      <p:sp>
        <p:nvSpPr>
          <p:cNvPr id="2" name="TekstSylinder 1"/>
          <p:cNvSpPr txBox="1"/>
          <p:nvPr/>
        </p:nvSpPr>
        <p:spPr>
          <a:xfrm>
            <a:off x="238538" y="3826562"/>
            <a:ext cx="57348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 b="1" dirty="0" smtClean="0"/>
              <a:t>Takk for oppmerksomheten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27010135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7" name="Title 1686"/>
          <p:cNvSpPr>
            <a:spLocks noGrp="1"/>
          </p:cNvSpPr>
          <p:nvPr>
            <p:ph type="title"/>
          </p:nvPr>
        </p:nvSpPr>
        <p:spPr>
          <a:xfrm>
            <a:off x="331199" y="-130625"/>
            <a:ext cx="8381001" cy="1008000"/>
          </a:xfrm>
        </p:spPr>
        <p:txBody>
          <a:bodyPr/>
          <a:lstStyle/>
          <a:p>
            <a:r>
              <a:rPr lang="nb-NO" dirty="0" smtClean="0"/>
              <a:t>Statkrafts produksjon</a:t>
            </a:r>
            <a:endParaRPr lang="nb-NO" dirty="0"/>
          </a:p>
        </p:txBody>
      </p:sp>
      <p:sp>
        <p:nvSpPr>
          <p:cNvPr id="6" name="Freeform 5"/>
          <p:cNvSpPr>
            <a:spLocks/>
          </p:cNvSpPr>
          <p:nvPr/>
        </p:nvSpPr>
        <p:spPr bwMode="auto">
          <a:xfrm>
            <a:off x="5195888" y="2639978"/>
            <a:ext cx="14288" cy="34925"/>
          </a:xfrm>
          <a:custGeom>
            <a:avLst/>
            <a:gdLst>
              <a:gd name="T0" fmla="*/ 8 w 9"/>
              <a:gd name="T1" fmla="*/ 19 h 22"/>
              <a:gd name="T2" fmla="*/ 9 w 9"/>
              <a:gd name="T3" fmla="*/ 18 h 22"/>
              <a:gd name="T4" fmla="*/ 9 w 9"/>
              <a:gd name="T5" fmla="*/ 15 h 22"/>
              <a:gd name="T6" fmla="*/ 9 w 9"/>
              <a:gd name="T7" fmla="*/ 13 h 22"/>
              <a:gd name="T8" fmla="*/ 9 w 9"/>
              <a:gd name="T9" fmla="*/ 11 h 22"/>
              <a:gd name="T10" fmla="*/ 9 w 9"/>
              <a:gd name="T11" fmla="*/ 8 h 22"/>
              <a:gd name="T12" fmla="*/ 9 w 9"/>
              <a:gd name="T13" fmla="*/ 5 h 22"/>
              <a:gd name="T14" fmla="*/ 9 w 9"/>
              <a:gd name="T15" fmla="*/ 3 h 22"/>
              <a:gd name="T16" fmla="*/ 9 w 9"/>
              <a:gd name="T17" fmla="*/ 2 h 22"/>
              <a:gd name="T18" fmla="*/ 9 w 9"/>
              <a:gd name="T19" fmla="*/ 2 h 22"/>
              <a:gd name="T20" fmla="*/ 8 w 9"/>
              <a:gd name="T21" fmla="*/ 2 h 22"/>
              <a:gd name="T22" fmla="*/ 7 w 9"/>
              <a:gd name="T23" fmla="*/ 1 h 22"/>
              <a:gd name="T24" fmla="*/ 5 w 9"/>
              <a:gd name="T25" fmla="*/ 0 h 22"/>
              <a:gd name="T26" fmla="*/ 4 w 9"/>
              <a:gd name="T27" fmla="*/ 0 h 22"/>
              <a:gd name="T28" fmla="*/ 2 w 9"/>
              <a:gd name="T29" fmla="*/ 0 h 22"/>
              <a:gd name="T30" fmla="*/ 1 w 9"/>
              <a:gd name="T31" fmla="*/ 0 h 22"/>
              <a:gd name="T32" fmla="*/ 1 w 9"/>
              <a:gd name="T33" fmla="*/ 1 h 22"/>
              <a:gd name="T34" fmla="*/ 1 w 9"/>
              <a:gd name="T35" fmla="*/ 3 h 22"/>
              <a:gd name="T36" fmla="*/ 0 w 9"/>
              <a:gd name="T37" fmla="*/ 5 h 22"/>
              <a:gd name="T38" fmla="*/ 0 w 9"/>
              <a:gd name="T39" fmla="*/ 9 h 22"/>
              <a:gd name="T40" fmla="*/ 1 w 9"/>
              <a:gd name="T41" fmla="*/ 11 h 22"/>
              <a:gd name="T42" fmla="*/ 1 w 9"/>
              <a:gd name="T43" fmla="*/ 12 h 22"/>
              <a:gd name="T44" fmla="*/ 3 w 9"/>
              <a:gd name="T45" fmla="*/ 12 h 22"/>
              <a:gd name="T46" fmla="*/ 4 w 9"/>
              <a:gd name="T47" fmla="*/ 12 h 22"/>
              <a:gd name="T48" fmla="*/ 4 w 9"/>
              <a:gd name="T49" fmla="*/ 13 h 22"/>
              <a:gd name="T50" fmla="*/ 4 w 9"/>
              <a:gd name="T51" fmla="*/ 13 h 22"/>
              <a:gd name="T52" fmla="*/ 2 w 9"/>
              <a:gd name="T53" fmla="*/ 13 h 22"/>
              <a:gd name="T54" fmla="*/ 1 w 9"/>
              <a:gd name="T55" fmla="*/ 14 h 22"/>
              <a:gd name="T56" fmla="*/ 1 w 9"/>
              <a:gd name="T57" fmla="*/ 15 h 22"/>
              <a:gd name="T58" fmla="*/ 1 w 9"/>
              <a:gd name="T59" fmla="*/ 18 h 22"/>
              <a:gd name="T60" fmla="*/ 0 w 9"/>
              <a:gd name="T61" fmla="*/ 19 h 22"/>
              <a:gd name="T62" fmla="*/ 0 w 9"/>
              <a:gd name="T63" fmla="*/ 21 h 22"/>
              <a:gd name="T64" fmla="*/ 1 w 9"/>
              <a:gd name="T65" fmla="*/ 22 h 22"/>
              <a:gd name="T66" fmla="*/ 1 w 9"/>
              <a:gd name="T67" fmla="*/ 21 h 22"/>
              <a:gd name="T68" fmla="*/ 4 w 9"/>
              <a:gd name="T69" fmla="*/ 21 h 22"/>
              <a:gd name="T70" fmla="*/ 8 w 9"/>
              <a:gd name="T71" fmla="*/ 19 h 22"/>
              <a:gd name="T72" fmla="*/ 8 w 9"/>
              <a:gd name="T73" fmla="*/ 19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9" h="22">
                <a:moveTo>
                  <a:pt x="8" y="19"/>
                </a:moveTo>
                <a:lnTo>
                  <a:pt x="9" y="18"/>
                </a:lnTo>
                <a:lnTo>
                  <a:pt x="9" y="15"/>
                </a:lnTo>
                <a:lnTo>
                  <a:pt x="9" y="13"/>
                </a:lnTo>
                <a:lnTo>
                  <a:pt x="9" y="11"/>
                </a:lnTo>
                <a:lnTo>
                  <a:pt x="9" y="8"/>
                </a:lnTo>
                <a:lnTo>
                  <a:pt x="9" y="5"/>
                </a:lnTo>
                <a:lnTo>
                  <a:pt x="9" y="3"/>
                </a:lnTo>
                <a:lnTo>
                  <a:pt x="9" y="2"/>
                </a:lnTo>
                <a:lnTo>
                  <a:pt x="9" y="2"/>
                </a:lnTo>
                <a:lnTo>
                  <a:pt x="8" y="2"/>
                </a:lnTo>
                <a:lnTo>
                  <a:pt x="7" y="1"/>
                </a:lnTo>
                <a:lnTo>
                  <a:pt x="5" y="0"/>
                </a:lnTo>
                <a:lnTo>
                  <a:pt x="4" y="0"/>
                </a:lnTo>
                <a:lnTo>
                  <a:pt x="2" y="0"/>
                </a:lnTo>
                <a:lnTo>
                  <a:pt x="1" y="0"/>
                </a:lnTo>
                <a:lnTo>
                  <a:pt x="1" y="1"/>
                </a:lnTo>
                <a:lnTo>
                  <a:pt x="1" y="3"/>
                </a:lnTo>
                <a:lnTo>
                  <a:pt x="0" y="5"/>
                </a:lnTo>
                <a:lnTo>
                  <a:pt x="0" y="9"/>
                </a:lnTo>
                <a:lnTo>
                  <a:pt x="1" y="11"/>
                </a:lnTo>
                <a:lnTo>
                  <a:pt x="1" y="12"/>
                </a:lnTo>
                <a:lnTo>
                  <a:pt x="3" y="12"/>
                </a:lnTo>
                <a:lnTo>
                  <a:pt x="4" y="12"/>
                </a:lnTo>
                <a:lnTo>
                  <a:pt x="4" y="13"/>
                </a:lnTo>
                <a:lnTo>
                  <a:pt x="4" y="13"/>
                </a:lnTo>
                <a:lnTo>
                  <a:pt x="2" y="13"/>
                </a:lnTo>
                <a:lnTo>
                  <a:pt x="1" y="14"/>
                </a:lnTo>
                <a:lnTo>
                  <a:pt x="1" y="15"/>
                </a:lnTo>
                <a:lnTo>
                  <a:pt x="1" y="18"/>
                </a:lnTo>
                <a:lnTo>
                  <a:pt x="0" y="19"/>
                </a:lnTo>
                <a:lnTo>
                  <a:pt x="0" y="21"/>
                </a:lnTo>
                <a:lnTo>
                  <a:pt x="1" y="22"/>
                </a:lnTo>
                <a:lnTo>
                  <a:pt x="1" y="21"/>
                </a:lnTo>
                <a:lnTo>
                  <a:pt x="4" y="21"/>
                </a:lnTo>
                <a:lnTo>
                  <a:pt x="8" y="19"/>
                </a:lnTo>
                <a:lnTo>
                  <a:pt x="8" y="19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" name="Freeform 6"/>
          <p:cNvSpPr>
            <a:spLocks/>
          </p:cNvSpPr>
          <p:nvPr/>
        </p:nvSpPr>
        <p:spPr bwMode="auto">
          <a:xfrm>
            <a:off x="5195888" y="2639978"/>
            <a:ext cx="14288" cy="34925"/>
          </a:xfrm>
          <a:custGeom>
            <a:avLst/>
            <a:gdLst>
              <a:gd name="T0" fmla="*/ 8 w 9"/>
              <a:gd name="T1" fmla="*/ 19 h 22"/>
              <a:gd name="T2" fmla="*/ 9 w 9"/>
              <a:gd name="T3" fmla="*/ 18 h 22"/>
              <a:gd name="T4" fmla="*/ 9 w 9"/>
              <a:gd name="T5" fmla="*/ 15 h 22"/>
              <a:gd name="T6" fmla="*/ 9 w 9"/>
              <a:gd name="T7" fmla="*/ 13 h 22"/>
              <a:gd name="T8" fmla="*/ 9 w 9"/>
              <a:gd name="T9" fmla="*/ 11 h 22"/>
              <a:gd name="T10" fmla="*/ 9 w 9"/>
              <a:gd name="T11" fmla="*/ 8 h 22"/>
              <a:gd name="T12" fmla="*/ 9 w 9"/>
              <a:gd name="T13" fmla="*/ 5 h 22"/>
              <a:gd name="T14" fmla="*/ 9 w 9"/>
              <a:gd name="T15" fmla="*/ 3 h 22"/>
              <a:gd name="T16" fmla="*/ 9 w 9"/>
              <a:gd name="T17" fmla="*/ 2 h 22"/>
              <a:gd name="T18" fmla="*/ 9 w 9"/>
              <a:gd name="T19" fmla="*/ 2 h 22"/>
              <a:gd name="T20" fmla="*/ 8 w 9"/>
              <a:gd name="T21" fmla="*/ 2 h 22"/>
              <a:gd name="T22" fmla="*/ 7 w 9"/>
              <a:gd name="T23" fmla="*/ 1 h 22"/>
              <a:gd name="T24" fmla="*/ 5 w 9"/>
              <a:gd name="T25" fmla="*/ 0 h 22"/>
              <a:gd name="T26" fmla="*/ 4 w 9"/>
              <a:gd name="T27" fmla="*/ 0 h 22"/>
              <a:gd name="T28" fmla="*/ 2 w 9"/>
              <a:gd name="T29" fmla="*/ 0 h 22"/>
              <a:gd name="T30" fmla="*/ 1 w 9"/>
              <a:gd name="T31" fmla="*/ 0 h 22"/>
              <a:gd name="T32" fmla="*/ 1 w 9"/>
              <a:gd name="T33" fmla="*/ 1 h 22"/>
              <a:gd name="T34" fmla="*/ 1 w 9"/>
              <a:gd name="T35" fmla="*/ 3 h 22"/>
              <a:gd name="T36" fmla="*/ 0 w 9"/>
              <a:gd name="T37" fmla="*/ 5 h 22"/>
              <a:gd name="T38" fmla="*/ 0 w 9"/>
              <a:gd name="T39" fmla="*/ 9 h 22"/>
              <a:gd name="T40" fmla="*/ 1 w 9"/>
              <a:gd name="T41" fmla="*/ 11 h 22"/>
              <a:gd name="T42" fmla="*/ 1 w 9"/>
              <a:gd name="T43" fmla="*/ 12 h 22"/>
              <a:gd name="T44" fmla="*/ 3 w 9"/>
              <a:gd name="T45" fmla="*/ 12 h 22"/>
              <a:gd name="T46" fmla="*/ 4 w 9"/>
              <a:gd name="T47" fmla="*/ 12 h 22"/>
              <a:gd name="T48" fmla="*/ 4 w 9"/>
              <a:gd name="T49" fmla="*/ 13 h 22"/>
              <a:gd name="T50" fmla="*/ 4 w 9"/>
              <a:gd name="T51" fmla="*/ 13 h 22"/>
              <a:gd name="T52" fmla="*/ 2 w 9"/>
              <a:gd name="T53" fmla="*/ 13 h 22"/>
              <a:gd name="T54" fmla="*/ 1 w 9"/>
              <a:gd name="T55" fmla="*/ 14 h 22"/>
              <a:gd name="T56" fmla="*/ 1 w 9"/>
              <a:gd name="T57" fmla="*/ 15 h 22"/>
              <a:gd name="T58" fmla="*/ 1 w 9"/>
              <a:gd name="T59" fmla="*/ 18 h 22"/>
              <a:gd name="T60" fmla="*/ 0 w 9"/>
              <a:gd name="T61" fmla="*/ 19 h 22"/>
              <a:gd name="T62" fmla="*/ 0 w 9"/>
              <a:gd name="T63" fmla="*/ 21 h 22"/>
              <a:gd name="T64" fmla="*/ 1 w 9"/>
              <a:gd name="T65" fmla="*/ 22 h 22"/>
              <a:gd name="T66" fmla="*/ 1 w 9"/>
              <a:gd name="T67" fmla="*/ 21 h 22"/>
              <a:gd name="T68" fmla="*/ 4 w 9"/>
              <a:gd name="T69" fmla="*/ 21 h 22"/>
              <a:gd name="T70" fmla="*/ 8 w 9"/>
              <a:gd name="T71" fmla="*/ 19 h 22"/>
              <a:gd name="T72" fmla="*/ 8 w 9"/>
              <a:gd name="T73" fmla="*/ 19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9" h="22">
                <a:moveTo>
                  <a:pt x="8" y="19"/>
                </a:moveTo>
                <a:lnTo>
                  <a:pt x="9" y="18"/>
                </a:lnTo>
                <a:lnTo>
                  <a:pt x="9" y="15"/>
                </a:lnTo>
                <a:lnTo>
                  <a:pt x="9" y="13"/>
                </a:lnTo>
                <a:lnTo>
                  <a:pt x="9" y="11"/>
                </a:lnTo>
                <a:lnTo>
                  <a:pt x="9" y="8"/>
                </a:lnTo>
                <a:lnTo>
                  <a:pt x="9" y="5"/>
                </a:lnTo>
                <a:lnTo>
                  <a:pt x="9" y="3"/>
                </a:lnTo>
                <a:lnTo>
                  <a:pt x="9" y="2"/>
                </a:lnTo>
                <a:lnTo>
                  <a:pt x="9" y="2"/>
                </a:lnTo>
                <a:lnTo>
                  <a:pt x="8" y="2"/>
                </a:lnTo>
                <a:lnTo>
                  <a:pt x="7" y="1"/>
                </a:lnTo>
                <a:lnTo>
                  <a:pt x="5" y="0"/>
                </a:lnTo>
                <a:lnTo>
                  <a:pt x="4" y="0"/>
                </a:lnTo>
                <a:lnTo>
                  <a:pt x="2" y="0"/>
                </a:lnTo>
                <a:lnTo>
                  <a:pt x="1" y="0"/>
                </a:lnTo>
                <a:lnTo>
                  <a:pt x="1" y="1"/>
                </a:lnTo>
                <a:lnTo>
                  <a:pt x="1" y="3"/>
                </a:lnTo>
                <a:lnTo>
                  <a:pt x="0" y="5"/>
                </a:lnTo>
                <a:lnTo>
                  <a:pt x="0" y="9"/>
                </a:lnTo>
                <a:lnTo>
                  <a:pt x="1" y="11"/>
                </a:lnTo>
                <a:lnTo>
                  <a:pt x="1" y="12"/>
                </a:lnTo>
                <a:lnTo>
                  <a:pt x="3" y="12"/>
                </a:lnTo>
                <a:lnTo>
                  <a:pt x="4" y="12"/>
                </a:lnTo>
                <a:lnTo>
                  <a:pt x="4" y="13"/>
                </a:lnTo>
                <a:lnTo>
                  <a:pt x="4" y="13"/>
                </a:lnTo>
                <a:lnTo>
                  <a:pt x="2" y="13"/>
                </a:lnTo>
                <a:lnTo>
                  <a:pt x="1" y="14"/>
                </a:lnTo>
                <a:lnTo>
                  <a:pt x="1" y="15"/>
                </a:lnTo>
                <a:lnTo>
                  <a:pt x="1" y="18"/>
                </a:lnTo>
                <a:lnTo>
                  <a:pt x="0" y="19"/>
                </a:lnTo>
                <a:lnTo>
                  <a:pt x="0" y="21"/>
                </a:lnTo>
                <a:lnTo>
                  <a:pt x="1" y="22"/>
                </a:lnTo>
                <a:lnTo>
                  <a:pt x="1" y="21"/>
                </a:lnTo>
                <a:lnTo>
                  <a:pt x="4" y="21"/>
                </a:lnTo>
                <a:lnTo>
                  <a:pt x="8" y="19"/>
                </a:lnTo>
                <a:lnTo>
                  <a:pt x="8" y="19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5178426" y="2668553"/>
            <a:ext cx="7938" cy="9525"/>
          </a:xfrm>
          <a:custGeom>
            <a:avLst/>
            <a:gdLst>
              <a:gd name="T0" fmla="*/ 1 w 5"/>
              <a:gd name="T1" fmla="*/ 6 h 6"/>
              <a:gd name="T2" fmla="*/ 2 w 5"/>
              <a:gd name="T3" fmla="*/ 5 h 6"/>
              <a:gd name="T4" fmla="*/ 2 w 5"/>
              <a:gd name="T5" fmla="*/ 4 h 6"/>
              <a:gd name="T6" fmla="*/ 5 w 5"/>
              <a:gd name="T7" fmla="*/ 1 h 6"/>
              <a:gd name="T8" fmla="*/ 3 w 5"/>
              <a:gd name="T9" fmla="*/ 0 h 6"/>
              <a:gd name="T10" fmla="*/ 0 w 5"/>
              <a:gd name="T11" fmla="*/ 4 h 6"/>
              <a:gd name="T12" fmla="*/ 1 w 5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" h="6">
                <a:moveTo>
                  <a:pt x="1" y="6"/>
                </a:moveTo>
                <a:lnTo>
                  <a:pt x="2" y="5"/>
                </a:lnTo>
                <a:lnTo>
                  <a:pt x="2" y="4"/>
                </a:lnTo>
                <a:lnTo>
                  <a:pt x="5" y="1"/>
                </a:lnTo>
                <a:lnTo>
                  <a:pt x="3" y="0"/>
                </a:lnTo>
                <a:lnTo>
                  <a:pt x="0" y="4"/>
                </a:lnTo>
                <a:lnTo>
                  <a:pt x="1" y="6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" name="Freeform 8"/>
          <p:cNvSpPr>
            <a:spLocks/>
          </p:cNvSpPr>
          <p:nvPr/>
        </p:nvSpPr>
        <p:spPr bwMode="auto">
          <a:xfrm>
            <a:off x="5178426" y="2668553"/>
            <a:ext cx="7938" cy="9525"/>
          </a:xfrm>
          <a:custGeom>
            <a:avLst/>
            <a:gdLst>
              <a:gd name="T0" fmla="*/ 1 w 5"/>
              <a:gd name="T1" fmla="*/ 6 h 6"/>
              <a:gd name="T2" fmla="*/ 2 w 5"/>
              <a:gd name="T3" fmla="*/ 5 h 6"/>
              <a:gd name="T4" fmla="*/ 2 w 5"/>
              <a:gd name="T5" fmla="*/ 4 h 6"/>
              <a:gd name="T6" fmla="*/ 5 w 5"/>
              <a:gd name="T7" fmla="*/ 1 h 6"/>
              <a:gd name="T8" fmla="*/ 3 w 5"/>
              <a:gd name="T9" fmla="*/ 0 h 6"/>
              <a:gd name="T10" fmla="*/ 0 w 5"/>
              <a:gd name="T11" fmla="*/ 4 h 6"/>
              <a:gd name="T12" fmla="*/ 1 w 5"/>
              <a:gd name="T13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" h="6">
                <a:moveTo>
                  <a:pt x="1" y="6"/>
                </a:moveTo>
                <a:lnTo>
                  <a:pt x="2" y="5"/>
                </a:lnTo>
                <a:lnTo>
                  <a:pt x="2" y="4"/>
                </a:lnTo>
                <a:lnTo>
                  <a:pt x="5" y="1"/>
                </a:lnTo>
                <a:lnTo>
                  <a:pt x="3" y="0"/>
                </a:lnTo>
                <a:lnTo>
                  <a:pt x="0" y="4"/>
                </a:lnTo>
                <a:lnTo>
                  <a:pt x="1" y="6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0" name="Freeform 9"/>
          <p:cNvSpPr>
            <a:spLocks/>
          </p:cNvSpPr>
          <p:nvPr/>
        </p:nvSpPr>
        <p:spPr bwMode="auto">
          <a:xfrm>
            <a:off x="2270126" y="3355941"/>
            <a:ext cx="3175" cy="11113"/>
          </a:xfrm>
          <a:custGeom>
            <a:avLst/>
            <a:gdLst>
              <a:gd name="T0" fmla="*/ 1 w 2"/>
              <a:gd name="T1" fmla="*/ 0 h 7"/>
              <a:gd name="T2" fmla="*/ 2 w 2"/>
              <a:gd name="T3" fmla="*/ 1 h 7"/>
              <a:gd name="T4" fmla="*/ 2 w 2"/>
              <a:gd name="T5" fmla="*/ 0 h 7"/>
              <a:gd name="T6" fmla="*/ 0 w 2"/>
              <a:gd name="T7" fmla="*/ 2 h 7"/>
              <a:gd name="T8" fmla="*/ 0 w 2"/>
              <a:gd name="T9" fmla="*/ 5 h 7"/>
              <a:gd name="T10" fmla="*/ 2 w 2"/>
              <a:gd name="T11" fmla="*/ 7 h 7"/>
              <a:gd name="T12" fmla="*/ 2 w 2"/>
              <a:gd name="T13" fmla="*/ 1 h 7"/>
              <a:gd name="T14" fmla="*/ 1 w 2"/>
              <a:gd name="T15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7">
                <a:moveTo>
                  <a:pt x="1" y="0"/>
                </a:moveTo>
                <a:lnTo>
                  <a:pt x="2" y="1"/>
                </a:lnTo>
                <a:lnTo>
                  <a:pt x="2" y="0"/>
                </a:lnTo>
                <a:lnTo>
                  <a:pt x="0" y="2"/>
                </a:lnTo>
                <a:lnTo>
                  <a:pt x="0" y="5"/>
                </a:lnTo>
                <a:lnTo>
                  <a:pt x="2" y="7"/>
                </a:lnTo>
                <a:lnTo>
                  <a:pt x="2" y="1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1" name="Freeform 10"/>
          <p:cNvSpPr>
            <a:spLocks/>
          </p:cNvSpPr>
          <p:nvPr/>
        </p:nvSpPr>
        <p:spPr bwMode="auto">
          <a:xfrm>
            <a:off x="2270126" y="3355941"/>
            <a:ext cx="3175" cy="11113"/>
          </a:xfrm>
          <a:custGeom>
            <a:avLst/>
            <a:gdLst>
              <a:gd name="T0" fmla="*/ 1 w 2"/>
              <a:gd name="T1" fmla="*/ 0 h 7"/>
              <a:gd name="T2" fmla="*/ 2 w 2"/>
              <a:gd name="T3" fmla="*/ 1 h 7"/>
              <a:gd name="T4" fmla="*/ 2 w 2"/>
              <a:gd name="T5" fmla="*/ 0 h 7"/>
              <a:gd name="T6" fmla="*/ 0 w 2"/>
              <a:gd name="T7" fmla="*/ 2 h 7"/>
              <a:gd name="T8" fmla="*/ 0 w 2"/>
              <a:gd name="T9" fmla="*/ 5 h 7"/>
              <a:gd name="T10" fmla="*/ 2 w 2"/>
              <a:gd name="T11" fmla="*/ 7 h 7"/>
              <a:gd name="T12" fmla="*/ 2 w 2"/>
              <a:gd name="T13" fmla="*/ 1 h 7"/>
              <a:gd name="T14" fmla="*/ 1 w 2"/>
              <a:gd name="T15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7">
                <a:moveTo>
                  <a:pt x="1" y="0"/>
                </a:moveTo>
                <a:lnTo>
                  <a:pt x="2" y="1"/>
                </a:lnTo>
                <a:lnTo>
                  <a:pt x="2" y="0"/>
                </a:lnTo>
                <a:lnTo>
                  <a:pt x="0" y="2"/>
                </a:lnTo>
                <a:lnTo>
                  <a:pt x="0" y="5"/>
                </a:lnTo>
                <a:lnTo>
                  <a:pt x="2" y="7"/>
                </a:lnTo>
                <a:lnTo>
                  <a:pt x="2" y="1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2384426" y="3043203"/>
            <a:ext cx="49213" cy="20638"/>
          </a:xfrm>
          <a:custGeom>
            <a:avLst/>
            <a:gdLst>
              <a:gd name="T0" fmla="*/ 19 w 31"/>
              <a:gd name="T1" fmla="*/ 1 h 13"/>
              <a:gd name="T2" fmla="*/ 20 w 31"/>
              <a:gd name="T3" fmla="*/ 1 h 13"/>
              <a:gd name="T4" fmla="*/ 22 w 31"/>
              <a:gd name="T5" fmla="*/ 3 h 13"/>
              <a:gd name="T6" fmla="*/ 23 w 31"/>
              <a:gd name="T7" fmla="*/ 6 h 13"/>
              <a:gd name="T8" fmla="*/ 30 w 31"/>
              <a:gd name="T9" fmla="*/ 6 h 13"/>
              <a:gd name="T10" fmla="*/ 31 w 31"/>
              <a:gd name="T11" fmla="*/ 11 h 13"/>
              <a:gd name="T12" fmla="*/ 29 w 31"/>
              <a:gd name="T13" fmla="*/ 12 h 13"/>
              <a:gd name="T14" fmla="*/ 25 w 31"/>
              <a:gd name="T15" fmla="*/ 10 h 13"/>
              <a:gd name="T16" fmla="*/ 21 w 31"/>
              <a:gd name="T17" fmla="*/ 12 h 13"/>
              <a:gd name="T18" fmla="*/ 19 w 31"/>
              <a:gd name="T19" fmla="*/ 12 h 13"/>
              <a:gd name="T20" fmla="*/ 17 w 31"/>
              <a:gd name="T21" fmla="*/ 13 h 13"/>
              <a:gd name="T22" fmla="*/ 13 w 31"/>
              <a:gd name="T23" fmla="*/ 13 h 13"/>
              <a:gd name="T24" fmla="*/ 12 w 31"/>
              <a:gd name="T25" fmla="*/ 12 h 13"/>
              <a:gd name="T26" fmla="*/ 9 w 31"/>
              <a:gd name="T27" fmla="*/ 12 h 13"/>
              <a:gd name="T28" fmla="*/ 5 w 31"/>
              <a:gd name="T29" fmla="*/ 7 h 13"/>
              <a:gd name="T30" fmla="*/ 1 w 31"/>
              <a:gd name="T31" fmla="*/ 6 h 13"/>
              <a:gd name="T32" fmla="*/ 0 w 31"/>
              <a:gd name="T33" fmla="*/ 3 h 13"/>
              <a:gd name="T34" fmla="*/ 0 w 31"/>
              <a:gd name="T35" fmla="*/ 2 h 13"/>
              <a:gd name="T36" fmla="*/ 7 w 31"/>
              <a:gd name="T37" fmla="*/ 0 h 13"/>
              <a:gd name="T38" fmla="*/ 10 w 31"/>
              <a:gd name="T39" fmla="*/ 0 h 13"/>
              <a:gd name="T40" fmla="*/ 15 w 31"/>
              <a:gd name="T41" fmla="*/ 1 h 13"/>
              <a:gd name="T42" fmla="*/ 19 w 31"/>
              <a:gd name="T43" fmla="*/ 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1" h="13">
                <a:moveTo>
                  <a:pt x="19" y="1"/>
                </a:moveTo>
                <a:lnTo>
                  <a:pt x="20" y="1"/>
                </a:lnTo>
                <a:lnTo>
                  <a:pt x="22" y="3"/>
                </a:lnTo>
                <a:lnTo>
                  <a:pt x="23" y="6"/>
                </a:lnTo>
                <a:lnTo>
                  <a:pt x="30" y="6"/>
                </a:lnTo>
                <a:lnTo>
                  <a:pt x="31" y="11"/>
                </a:lnTo>
                <a:lnTo>
                  <a:pt x="29" y="12"/>
                </a:lnTo>
                <a:lnTo>
                  <a:pt x="25" y="10"/>
                </a:lnTo>
                <a:lnTo>
                  <a:pt x="21" y="12"/>
                </a:lnTo>
                <a:lnTo>
                  <a:pt x="19" y="12"/>
                </a:lnTo>
                <a:lnTo>
                  <a:pt x="17" y="13"/>
                </a:lnTo>
                <a:lnTo>
                  <a:pt x="13" y="13"/>
                </a:lnTo>
                <a:lnTo>
                  <a:pt x="12" y="12"/>
                </a:lnTo>
                <a:lnTo>
                  <a:pt x="9" y="12"/>
                </a:lnTo>
                <a:lnTo>
                  <a:pt x="5" y="7"/>
                </a:lnTo>
                <a:lnTo>
                  <a:pt x="1" y="6"/>
                </a:lnTo>
                <a:lnTo>
                  <a:pt x="0" y="3"/>
                </a:lnTo>
                <a:lnTo>
                  <a:pt x="0" y="2"/>
                </a:lnTo>
                <a:lnTo>
                  <a:pt x="7" y="0"/>
                </a:lnTo>
                <a:lnTo>
                  <a:pt x="10" y="0"/>
                </a:lnTo>
                <a:lnTo>
                  <a:pt x="15" y="1"/>
                </a:lnTo>
                <a:lnTo>
                  <a:pt x="19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" name="Freeform 12"/>
          <p:cNvSpPr>
            <a:spLocks/>
          </p:cNvSpPr>
          <p:nvPr/>
        </p:nvSpPr>
        <p:spPr bwMode="auto">
          <a:xfrm>
            <a:off x="2384426" y="3043203"/>
            <a:ext cx="49213" cy="20638"/>
          </a:xfrm>
          <a:custGeom>
            <a:avLst/>
            <a:gdLst>
              <a:gd name="T0" fmla="*/ 19 w 31"/>
              <a:gd name="T1" fmla="*/ 1 h 13"/>
              <a:gd name="T2" fmla="*/ 20 w 31"/>
              <a:gd name="T3" fmla="*/ 1 h 13"/>
              <a:gd name="T4" fmla="*/ 22 w 31"/>
              <a:gd name="T5" fmla="*/ 3 h 13"/>
              <a:gd name="T6" fmla="*/ 23 w 31"/>
              <a:gd name="T7" fmla="*/ 6 h 13"/>
              <a:gd name="T8" fmla="*/ 30 w 31"/>
              <a:gd name="T9" fmla="*/ 6 h 13"/>
              <a:gd name="T10" fmla="*/ 31 w 31"/>
              <a:gd name="T11" fmla="*/ 11 h 13"/>
              <a:gd name="T12" fmla="*/ 29 w 31"/>
              <a:gd name="T13" fmla="*/ 12 h 13"/>
              <a:gd name="T14" fmla="*/ 25 w 31"/>
              <a:gd name="T15" fmla="*/ 10 h 13"/>
              <a:gd name="T16" fmla="*/ 21 w 31"/>
              <a:gd name="T17" fmla="*/ 12 h 13"/>
              <a:gd name="T18" fmla="*/ 19 w 31"/>
              <a:gd name="T19" fmla="*/ 12 h 13"/>
              <a:gd name="T20" fmla="*/ 17 w 31"/>
              <a:gd name="T21" fmla="*/ 13 h 13"/>
              <a:gd name="T22" fmla="*/ 13 w 31"/>
              <a:gd name="T23" fmla="*/ 13 h 13"/>
              <a:gd name="T24" fmla="*/ 12 w 31"/>
              <a:gd name="T25" fmla="*/ 12 h 13"/>
              <a:gd name="T26" fmla="*/ 9 w 31"/>
              <a:gd name="T27" fmla="*/ 12 h 13"/>
              <a:gd name="T28" fmla="*/ 5 w 31"/>
              <a:gd name="T29" fmla="*/ 7 h 13"/>
              <a:gd name="T30" fmla="*/ 1 w 31"/>
              <a:gd name="T31" fmla="*/ 6 h 13"/>
              <a:gd name="T32" fmla="*/ 0 w 31"/>
              <a:gd name="T33" fmla="*/ 3 h 13"/>
              <a:gd name="T34" fmla="*/ 0 w 31"/>
              <a:gd name="T35" fmla="*/ 2 h 13"/>
              <a:gd name="T36" fmla="*/ 7 w 31"/>
              <a:gd name="T37" fmla="*/ 0 h 13"/>
              <a:gd name="T38" fmla="*/ 10 w 31"/>
              <a:gd name="T39" fmla="*/ 0 h 13"/>
              <a:gd name="T40" fmla="*/ 15 w 31"/>
              <a:gd name="T41" fmla="*/ 1 h 13"/>
              <a:gd name="T42" fmla="*/ 19 w 31"/>
              <a:gd name="T43" fmla="*/ 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1" h="13">
                <a:moveTo>
                  <a:pt x="19" y="1"/>
                </a:moveTo>
                <a:lnTo>
                  <a:pt x="20" y="1"/>
                </a:lnTo>
                <a:lnTo>
                  <a:pt x="22" y="3"/>
                </a:lnTo>
                <a:lnTo>
                  <a:pt x="23" y="6"/>
                </a:lnTo>
                <a:lnTo>
                  <a:pt x="30" y="6"/>
                </a:lnTo>
                <a:lnTo>
                  <a:pt x="31" y="11"/>
                </a:lnTo>
                <a:lnTo>
                  <a:pt x="29" y="12"/>
                </a:lnTo>
                <a:lnTo>
                  <a:pt x="25" y="10"/>
                </a:lnTo>
                <a:lnTo>
                  <a:pt x="21" y="12"/>
                </a:lnTo>
                <a:lnTo>
                  <a:pt x="19" y="12"/>
                </a:lnTo>
                <a:lnTo>
                  <a:pt x="17" y="13"/>
                </a:lnTo>
                <a:lnTo>
                  <a:pt x="13" y="13"/>
                </a:lnTo>
                <a:lnTo>
                  <a:pt x="12" y="12"/>
                </a:lnTo>
                <a:lnTo>
                  <a:pt x="9" y="12"/>
                </a:lnTo>
                <a:lnTo>
                  <a:pt x="5" y="7"/>
                </a:lnTo>
                <a:lnTo>
                  <a:pt x="1" y="6"/>
                </a:lnTo>
                <a:lnTo>
                  <a:pt x="0" y="3"/>
                </a:lnTo>
                <a:lnTo>
                  <a:pt x="0" y="2"/>
                </a:lnTo>
                <a:lnTo>
                  <a:pt x="7" y="0"/>
                </a:lnTo>
                <a:lnTo>
                  <a:pt x="10" y="0"/>
                </a:lnTo>
                <a:lnTo>
                  <a:pt x="15" y="1"/>
                </a:lnTo>
                <a:lnTo>
                  <a:pt x="19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" name="Freeform 13"/>
          <p:cNvSpPr>
            <a:spLocks/>
          </p:cNvSpPr>
          <p:nvPr/>
        </p:nvSpPr>
        <p:spPr bwMode="auto">
          <a:xfrm>
            <a:off x="2627313" y="4779928"/>
            <a:ext cx="25400" cy="50800"/>
          </a:xfrm>
          <a:custGeom>
            <a:avLst/>
            <a:gdLst>
              <a:gd name="T0" fmla="*/ 2 w 16"/>
              <a:gd name="T1" fmla="*/ 2 h 32"/>
              <a:gd name="T2" fmla="*/ 4 w 16"/>
              <a:gd name="T3" fmla="*/ 0 h 32"/>
              <a:gd name="T4" fmla="*/ 5 w 16"/>
              <a:gd name="T5" fmla="*/ 4 h 32"/>
              <a:gd name="T6" fmla="*/ 6 w 16"/>
              <a:gd name="T7" fmla="*/ 3 h 32"/>
              <a:gd name="T8" fmla="*/ 7 w 16"/>
              <a:gd name="T9" fmla="*/ 4 h 32"/>
              <a:gd name="T10" fmla="*/ 10 w 16"/>
              <a:gd name="T11" fmla="*/ 8 h 32"/>
              <a:gd name="T12" fmla="*/ 11 w 16"/>
              <a:gd name="T13" fmla="*/ 9 h 32"/>
              <a:gd name="T14" fmla="*/ 12 w 16"/>
              <a:gd name="T15" fmla="*/ 12 h 32"/>
              <a:gd name="T16" fmla="*/ 14 w 16"/>
              <a:gd name="T17" fmla="*/ 13 h 32"/>
              <a:gd name="T18" fmla="*/ 11 w 16"/>
              <a:gd name="T19" fmla="*/ 14 h 32"/>
              <a:gd name="T20" fmla="*/ 11 w 16"/>
              <a:gd name="T21" fmla="*/ 16 h 32"/>
              <a:gd name="T22" fmla="*/ 10 w 16"/>
              <a:gd name="T23" fmla="*/ 16 h 32"/>
              <a:gd name="T24" fmla="*/ 9 w 16"/>
              <a:gd name="T25" fmla="*/ 17 h 32"/>
              <a:gd name="T26" fmla="*/ 10 w 16"/>
              <a:gd name="T27" fmla="*/ 17 h 32"/>
              <a:gd name="T28" fmla="*/ 11 w 16"/>
              <a:gd name="T29" fmla="*/ 19 h 32"/>
              <a:gd name="T30" fmla="*/ 12 w 16"/>
              <a:gd name="T31" fmla="*/ 19 h 32"/>
              <a:gd name="T32" fmla="*/ 15 w 16"/>
              <a:gd name="T33" fmla="*/ 22 h 32"/>
              <a:gd name="T34" fmla="*/ 11 w 16"/>
              <a:gd name="T35" fmla="*/ 22 h 32"/>
              <a:gd name="T36" fmla="*/ 12 w 16"/>
              <a:gd name="T37" fmla="*/ 23 h 32"/>
              <a:gd name="T38" fmla="*/ 15 w 16"/>
              <a:gd name="T39" fmla="*/ 25 h 32"/>
              <a:gd name="T40" fmla="*/ 16 w 16"/>
              <a:gd name="T41" fmla="*/ 27 h 32"/>
              <a:gd name="T42" fmla="*/ 14 w 16"/>
              <a:gd name="T43" fmla="*/ 27 h 32"/>
              <a:gd name="T44" fmla="*/ 15 w 16"/>
              <a:gd name="T45" fmla="*/ 30 h 32"/>
              <a:gd name="T46" fmla="*/ 15 w 16"/>
              <a:gd name="T47" fmla="*/ 32 h 32"/>
              <a:gd name="T48" fmla="*/ 11 w 16"/>
              <a:gd name="T49" fmla="*/ 32 h 32"/>
              <a:gd name="T50" fmla="*/ 7 w 16"/>
              <a:gd name="T51" fmla="*/ 30 h 32"/>
              <a:gd name="T52" fmla="*/ 4 w 16"/>
              <a:gd name="T53" fmla="*/ 27 h 32"/>
              <a:gd name="T54" fmla="*/ 5 w 16"/>
              <a:gd name="T55" fmla="*/ 25 h 32"/>
              <a:gd name="T56" fmla="*/ 4 w 16"/>
              <a:gd name="T57" fmla="*/ 18 h 32"/>
              <a:gd name="T58" fmla="*/ 1 w 16"/>
              <a:gd name="T59" fmla="*/ 10 h 32"/>
              <a:gd name="T60" fmla="*/ 1 w 16"/>
              <a:gd name="T61" fmla="*/ 7 h 32"/>
              <a:gd name="T62" fmla="*/ 0 w 16"/>
              <a:gd name="T63" fmla="*/ 5 h 32"/>
              <a:gd name="T64" fmla="*/ 0 w 16"/>
              <a:gd name="T65" fmla="*/ 4 h 32"/>
              <a:gd name="T66" fmla="*/ 1 w 16"/>
              <a:gd name="T67" fmla="*/ 3 h 32"/>
              <a:gd name="T68" fmla="*/ 2 w 16"/>
              <a:gd name="T69" fmla="*/ 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6" h="32">
                <a:moveTo>
                  <a:pt x="2" y="2"/>
                </a:moveTo>
                <a:lnTo>
                  <a:pt x="4" y="0"/>
                </a:lnTo>
                <a:lnTo>
                  <a:pt x="5" y="4"/>
                </a:lnTo>
                <a:lnTo>
                  <a:pt x="6" y="3"/>
                </a:lnTo>
                <a:lnTo>
                  <a:pt x="7" y="4"/>
                </a:lnTo>
                <a:lnTo>
                  <a:pt x="10" y="8"/>
                </a:lnTo>
                <a:lnTo>
                  <a:pt x="11" y="9"/>
                </a:lnTo>
                <a:lnTo>
                  <a:pt x="12" y="12"/>
                </a:lnTo>
                <a:lnTo>
                  <a:pt x="14" y="13"/>
                </a:lnTo>
                <a:lnTo>
                  <a:pt x="11" y="14"/>
                </a:lnTo>
                <a:lnTo>
                  <a:pt x="11" y="16"/>
                </a:lnTo>
                <a:lnTo>
                  <a:pt x="10" y="16"/>
                </a:lnTo>
                <a:lnTo>
                  <a:pt x="9" y="17"/>
                </a:lnTo>
                <a:lnTo>
                  <a:pt x="10" y="17"/>
                </a:lnTo>
                <a:lnTo>
                  <a:pt x="11" y="19"/>
                </a:lnTo>
                <a:lnTo>
                  <a:pt x="12" y="19"/>
                </a:lnTo>
                <a:lnTo>
                  <a:pt x="15" y="22"/>
                </a:lnTo>
                <a:lnTo>
                  <a:pt x="11" y="22"/>
                </a:lnTo>
                <a:lnTo>
                  <a:pt x="12" y="23"/>
                </a:lnTo>
                <a:lnTo>
                  <a:pt x="15" y="25"/>
                </a:lnTo>
                <a:lnTo>
                  <a:pt x="16" y="27"/>
                </a:lnTo>
                <a:lnTo>
                  <a:pt x="14" y="27"/>
                </a:lnTo>
                <a:lnTo>
                  <a:pt x="15" y="30"/>
                </a:lnTo>
                <a:lnTo>
                  <a:pt x="15" y="32"/>
                </a:lnTo>
                <a:lnTo>
                  <a:pt x="11" y="32"/>
                </a:lnTo>
                <a:lnTo>
                  <a:pt x="7" y="30"/>
                </a:lnTo>
                <a:lnTo>
                  <a:pt x="4" y="27"/>
                </a:lnTo>
                <a:lnTo>
                  <a:pt x="5" y="25"/>
                </a:lnTo>
                <a:lnTo>
                  <a:pt x="4" y="18"/>
                </a:lnTo>
                <a:lnTo>
                  <a:pt x="1" y="10"/>
                </a:lnTo>
                <a:lnTo>
                  <a:pt x="1" y="7"/>
                </a:lnTo>
                <a:lnTo>
                  <a:pt x="0" y="5"/>
                </a:lnTo>
                <a:lnTo>
                  <a:pt x="0" y="4"/>
                </a:lnTo>
                <a:lnTo>
                  <a:pt x="1" y="3"/>
                </a:lnTo>
                <a:lnTo>
                  <a:pt x="2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" name="Freeform 14"/>
          <p:cNvSpPr>
            <a:spLocks/>
          </p:cNvSpPr>
          <p:nvPr/>
        </p:nvSpPr>
        <p:spPr bwMode="auto">
          <a:xfrm>
            <a:off x="2627313" y="4779928"/>
            <a:ext cx="25400" cy="50800"/>
          </a:xfrm>
          <a:custGeom>
            <a:avLst/>
            <a:gdLst>
              <a:gd name="T0" fmla="*/ 2 w 16"/>
              <a:gd name="T1" fmla="*/ 2 h 32"/>
              <a:gd name="T2" fmla="*/ 4 w 16"/>
              <a:gd name="T3" fmla="*/ 0 h 32"/>
              <a:gd name="T4" fmla="*/ 5 w 16"/>
              <a:gd name="T5" fmla="*/ 4 h 32"/>
              <a:gd name="T6" fmla="*/ 6 w 16"/>
              <a:gd name="T7" fmla="*/ 3 h 32"/>
              <a:gd name="T8" fmla="*/ 7 w 16"/>
              <a:gd name="T9" fmla="*/ 4 h 32"/>
              <a:gd name="T10" fmla="*/ 10 w 16"/>
              <a:gd name="T11" fmla="*/ 8 h 32"/>
              <a:gd name="T12" fmla="*/ 11 w 16"/>
              <a:gd name="T13" fmla="*/ 9 h 32"/>
              <a:gd name="T14" fmla="*/ 12 w 16"/>
              <a:gd name="T15" fmla="*/ 12 h 32"/>
              <a:gd name="T16" fmla="*/ 14 w 16"/>
              <a:gd name="T17" fmla="*/ 13 h 32"/>
              <a:gd name="T18" fmla="*/ 11 w 16"/>
              <a:gd name="T19" fmla="*/ 14 h 32"/>
              <a:gd name="T20" fmla="*/ 11 w 16"/>
              <a:gd name="T21" fmla="*/ 16 h 32"/>
              <a:gd name="T22" fmla="*/ 10 w 16"/>
              <a:gd name="T23" fmla="*/ 16 h 32"/>
              <a:gd name="T24" fmla="*/ 9 w 16"/>
              <a:gd name="T25" fmla="*/ 17 h 32"/>
              <a:gd name="T26" fmla="*/ 10 w 16"/>
              <a:gd name="T27" fmla="*/ 17 h 32"/>
              <a:gd name="T28" fmla="*/ 11 w 16"/>
              <a:gd name="T29" fmla="*/ 19 h 32"/>
              <a:gd name="T30" fmla="*/ 12 w 16"/>
              <a:gd name="T31" fmla="*/ 19 h 32"/>
              <a:gd name="T32" fmla="*/ 15 w 16"/>
              <a:gd name="T33" fmla="*/ 22 h 32"/>
              <a:gd name="T34" fmla="*/ 11 w 16"/>
              <a:gd name="T35" fmla="*/ 22 h 32"/>
              <a:gd name="T36" fmla="*/ 12 w 16"/>
              <a:gd name="T37" fmla="*/ 23 h 32"/>
              <a:gd name="T38" fmla="*/ 15 w 16"/>
              <a:gd name="T39" fmla="*/ 25 h 32"/>
              <a:gd name="T40" fmla="*/ 16 w 16"/>
              <a:gd name="T41" fmla="*/ 27 h 32"/>
              <a:gd name="T42" fmla="*/ 14 w 16"/>
              <a:gd name="T43" fmla="*/ 27 h 32"/>
              <a:gd name="T44" fmla="*/ 15 w 16"/>
              <a:gd name="T45" fmla="*/ 30 h 32"/>
              <a:gd name="T46" fmla="*/ 15 w 16"/>
              <a:gd name="T47" fmla="*/ 32 h 32"/>
              <a:gd name="T48" fmla="*/ 11 w 16"/>
              <a:gd name="T49" fmla="*/ 32 h 32"/>
              <a:gd name="T50" fmla="*/ 7 w 16"/>
              <a:gd name="T51" fmla="*/ 30 h 32"/>
              <a:gd name="T52" fmla="*/ 4 w 16"/>
              <a:gd name="T53" fmla="*/ 27 h 32"/>
              <a:gd name="T54" fmla="*/ 5 w 16"/>
              <a:gd name="T55" fmla="*/ 25 h 32"/>
              <a:gd name="T56" fmla="*/ 4 w 16"/>
              <a:gd name="T57" fmla="*/ 18 h 32"/>
              <a:gd name="T58" fmla="*/ 1 w 16"/>
              <a:gd name="T59" fmla="*/ 10 h 32"/>
              <a:gd name="T60" fmla="*/ 1 w 16"/>
              <a:gd name="T61" fmla="*/ 7 h 32"/>
              <a:gd name="T62" fmla="*/ 0 w 16"/>
              <a:gd name="T63" fmla="*/ 5 h 32"/>
              <a:gd name="T64" fmla="*/ 0 w 16"/>
              <a:gd name="T65" fmla="*/ 4 h 32"/>
              <a:gd name="T66" fmla="*/ 1 w 16"/>
              <a:gd name="T67" fmla="*/ 3 h 32"/>
              <a:gd name="T68" fmla="*/ 2 w 16"/>
              <a:gd name="T69" fmla="*/ 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6" h="32">
                <a:moveTo>
                  <a:pt x="2" y="2"/>
                </a:moveTo>
                <a:lnTo>
                  <a:pt x="4" y="0"/>
                </a:lnTo>
                <a:lnTo>
                  <a:pt x="5" y="4"/>
                </a:lnTo>
                <a:lnTo>
                  <a:pt x="6" y="3"/>
                </a:lnTo>
                <a:lnTo>
                  <a:pt x="7" y="4"/>
                </a:lnTo>
                <a:lnTo>
                  <a:pt x="10" y="8"/>
                </a:lnTo>
                <a:lnTo>
                  <a:pt x="11" y="9"/>
                </a:lnTo>
                <a:lnTo>
                  <a:pt x="12" y="12"/>
                </a:lnTo>
                <a:lnTo>
                  <a:pt x="14" y="13"/>
                </a:lnTo>
                <a:lnTo>
                  <a:pt x="11" y="14"/>
                </a:lnTo>
                <a:lnTo>
                  <a:pt x="11" y="16"/>
                </a:lnTo>
                <a:lnTo>
                  <a:pt x="10" y="16"/>
                </a:lnTo>
                <a:lnTo>
                  <a:pt x="9" y="17"/>
                </a:lnTo>
                <a:lnTo>
                  <a:pt x="10" y="17"/>
                </a:lnTo>
                <a:lnTo>
                  <a:pt x="11" y="19"/>
                </a:lnTo>
                <a:lnTo>
                  <a:pt x="12" y="19"/>
                </a:lnTo>
                <a:lnTo>
                  <a:pt x="15" y="22"/>
                </a:lnTo>
                <a:lnTo>
                  <a:pt x="11" y="22"/>
                </a:lnTo>
                <a:lnTo>
                  <a:pt x="12" y="23"/>
                </a:lnTo>
                <a:lnTo>
                  <a:pt x="15" y="25"/>
                </a:lnTo>
                <a:lnTo>
                  <a:pt x="16" y="27"/>
                </a:lnTo>
                <a:lnTo>
                  <a:pt x="14" y="27"/>
                </a:lnTo>
                <a:lnTo>
                  <a:pt x="15" y="30"/>
                </a:lnTo>
                <a:lnTo>
                  <a:pt x="15" y="32"/>
                </a:lnTo>
                <a:lnTo>
                  <a:pt x="11" y="32"/>
                </a:lnTo>
                <a:lnTo>
                  <a:pt x="7" y="30"/>
                </a:lnTo>
                <a:lnTo>
                  <a:pt x="4" y="27"/>
                </a:lnTo>
                <a:lnTo>
                  <a:pt x="5" y="25"/>
                </a:lnTo>
                <a:lnTo>
                  <a:pt x="4" y="18"/>
                </a:lnTo>
                <a:lnTo>
                  <a:pt x="1" y="10"/>
                </a:lnTo>
                <a:lnTo>
                  <a:pt x="1" y="7"/>
                </a:lnTo>
                <a:lnTo>
                  <a:pt x="0" y="5"/>
                </a:lnTo>
                <a:lnTo>
                  <a:pt x="0" y="4"/>
                </a:lnTo>
                <a:lnTo>
                  <a:pt x="1" y="3"/>
                </a:lnTo>
                <a:lnTo>
                  <a:pt x="2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6" name="Freeform 15"/>
          <p:cNvSpPr>
            <a:spLocks/>
          </p:cNvSpPr>
          <p:nvPr/>
        </p:nvSpPr>
        <p:spPr bwMode="auto">
          <a:xfrm>
            <a:off x="2670176" y="4856128"/>
            <a:ext cx="15875" cy="15875"/>
          </a:xfrm>
          <a:custGeom>
            <a:avLst/>
            <a:gdLst>
              <a:gd name="T0" fmla="*/ 4 w 10"/>
              <a:gd name="T1" fmla="*/ 0 h 10"/>
              <a:gd name="T2" fmla="*/ 4 w 10"/>
              <a:gd name="T3" fmla="*/ 1 h 10"/>
              <a:gd name="T4" fmla="*/ 8 w 10"/>
              <a:gd name="T5" fmla="*/ 2 h 10"/>
              <a:gd name="T6" fmla="*/ 9 w 10"/>
              <a:gd name="T7" fmla="*/ 4 h 10"/>
              <a:gd name="T8" fmla="*/ 9 w 10"/>
              <a:gd name="T9" fmla="*/ 5 h 10"/>
              <a:gd name="T10" fmla="*/ 9 w 10"/>
              <a:gd name="T11" fmla="*/ 6 h 10"/>
              <a:gd name="T12" fmla="*/ 10 w 10"/>
              <a:gd name="T13" fmla="*/ 8 h 10"/>
              <a:gd name="T14" fmla="*/ 8 w 10"/>
              <a:gd name="T15" fmla="*/ 10 h 10"/>
              <a:gd name="T16" fmla="*/ 6 w 10"/>
              <a:gd name="T17" fmla="*/ 10 h 10"/>
              <a:gd name="T18" fmla="*/ 4 w 10"/>
              <a:gd name="T19" fmla="*/ 10 h 10"/>
              <a:gd name="T20" fmla="*/ 2 w 10"/>
              <a:gd name="T21" fmla="*/ 9 h 10"/>
              <a:gd name="T22" fmla="*/ 1 w 10"/>
              <a:gd name="T23" fmla="*/ 7 h 10"/>
              <a:gd name="T24" fmla="*/ 0 w 10"/>
              <a:gd name="T25" fmla="*/ 5 h 10"/>
              <a:gd name="T26" fmla="*/ 1 w 10"/>
              <a:gd name="T27" fmla="*/ 4 h 10"/>
              <a:gd name="T28" fmla="*/ 4 w 10"/>
              <a:gd name="T29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0" h="10">
                <a:moveTo>
                  <a:pt x="4" y="0"/>
                </a:moveTo>
                <a:lnTo>
                  <a:pt x="4" y="1"/>
                </a:lnTo>
                <a:lnTo>
                  <a:pt x="8" y="2"/>
                </a:lnTo>
                <a:lnTo>
                  <a:pt x="9" y="4"/>
                </a:lnTo>
                <a:lnTo>
                  <a:pt x="9" y="5"/>
                </a:lnTo>
                <a:lnTo>
                  <a:pt x="9" y="6"/>
                </a:lnTo>
                <a:lnTo>
                  <a:pt x="10" y="8"/>
                </a:lnTo>
                <a:lnTo>
                  <a:pt x="8" y="10"/>
                </a:lnTo>
                <a:lnTo>
                  <a:pt x="6" y="10"/>
                </a:lnTo>
                <a:lnTo>
                  <a:pt x="4" y="10"/>
                </a:lnTo>
                <a:lnTo>
                  <a:pt x="2" y="9"/>
                </a:lnTo>
                <a:lnTo>
                  <a:pt x="1" y="7"/>
                </a:lnTo>
                <a:lnTo>
                  <a:pt x="0" y="5"/>
                </a:lnTo>
                <a:lnTo>
                  <a:pt x="1" y="4"/>
                </a:lnTo>
                <a:lnTo>
                  <a:pt x="4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7" name="Freeform 16"/>
          <p:cNvSpPr>
            <a:spLocks/>
          </p:cNvSpPr>
          <p:nvPr/>
        </p:nvSpPr>
        <p:spPr bwMode="auto">
          <a:xfrm>
            <a:off x="2670176" y="4856128"/>
            <a:ext cx="15875" cy="15875"/>
          </a:xfrm>
          <a:custGeom>
            <a:avLst/>
            <a:gdLst>
              <a:gd name="T0" fmla="*/ 4 w 10"/>
              <a:gd name="T1" fmla="*/ 0 h 10"/>
              <a:gd name="T2" fmla="*/ 4 w 10"/>
              <a:gd name="T3" fmla="*/ 1 h 10"/>
              <a:gd name="T4" fmla="*/ 8 w 10"/>
              <a:gd name="T5" fmla="*/ 2 h 10"/>
              <a:gd name="T6" fmla="*/ 9 w 10"/>
              <a:gd name="T7" fmla="*/ 4 h 10"/>
              <a:gd name="T8" fmla="*/ 9 w 10"/>
              <a:gd name="T9" fmla="*/ 5 h 10"/>
              <a:gd name="T10" fmla="*/ 9 w 10"/>
              <a:gd name="T11" fmla="*/ 6 h 10"/>
              <a:gd name="T12" fmla="*/ 10 w 10"/>
              <a:gd name="T13" fmla="*/ 8 h 10"/>
              <a:gd name="T14" fmla="*/ 8 w 10"/>
              <a:gd name="T15" fmla="*/ 10 h 10"/>
              <a:gd name="T16" fmla="*/ 6 w 10"/>
              <a:gd name="T17" fmla="*/ 10 h 10"/>
              <a:gd name="T18" fmla="*/ 4 w 10"/>
              <a:gd name="T19" fmla="*/ 10 h 10"/>
              <a:gd name="T20" fmla="*/ 2 w 10"/>
              <a:gd name="T21" fmla="*/ 9 h 10"/>
              <a:gd name="T22" fmla="*/ 1 w 10"/>
              <a:gd name="T23" fmla="*/ 7 h 10"/>
              <a:gd name="T24" fmla="*/ 0 w 10"/>
              <a:gd name="T25" fmla="*/ 5 h 10"/>
              <a:gd name="T26" fmla="*/ 1 w 10"/>
              <a:gd name="T27" fmla="*/ 4 h 10"/>
              <a:gd name="T28" fmla="*/ 4 w 10"/>
              <a:gd name="T29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0" h="10">
                <a:moveTo>
                  <a:pt x="4" y="0"/>
                </a:moveTo>
                <a:lnTo>
                  <a:pt x="4" y="1"/>
                </a:lnTo>
                <a:lnTo>
                  <a:pt x="8" y="2"/>
                </a:lnTo>
                <a:lnTo>
                  <a:pt x="9" y="4"/>
                </a:lnTo>
                <a:lnTo>
                  <a:pt x="9" y="5"/>
                </a:lnTo>
                <a:lnTo>
                  <a:pt x="9" y="6"/>
                </a:lnTo>
                <a:lnTo>
                  <a:pt x="10" y="8"/>
                </a:lnTo>
                <a:lnTo>
                  <a:pt x="8" y="10"/>
                </a:lnTo>
                <a:lnTo>
                  <a:pt x="6" y="10"/>
                </a:lnTo>
                <a:lnTo>
                  <a:pt x="4" y="10"/>
                </a:lnTo>
                <a:lnTo>
                  <a:pt x="2" y="9"/>
                </a:lnTo>
                <a:lnTo>
                  <a:pt x="1" y="7"/>
                </a:lnTo>
                <a:lnTo>
                  <a:pt x="0" y="5"/>
                </a:lnTo>
                <a:lnTo>
                  <a:pt x="1" y="4"/>
                </a:lnTo>
                <a:lnTo>
                  <a:pt x="4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8" name="Freeform 17"/>
          <p:cNvSpPr>
            <a:spLocks/>
          </p:cNvSpPr>
          <p:nvPr/>
        </p:nvSpPr>
        <p:spPr bwMode="auto">
          <a:xfrm>
            <a:off x="2651126" y="4864066"/>
            <a:ext cx="7938" cy="4763"/>
          </a:xfrm>
          <a:custGeom>
            <a:avLst/>
            <a:gdLst>
              <a:gd name="T0" fmla="*/ 0 w 5"/>
              <a:gd name="T1" fmla="*/ 0 h 3"/>
              <a:gd name="T2" fmla="*/ 2 w 5"/>
              <a:gd name="T3" fmla="*/ 0 h 3"/>
              <a:gd name="T4" fmla="*/ 4 w 5"/>
              <a:gd name="T5" fmla="*/ 1 h 3"/>
              <a:gd name="T6" fmla="*/ 5 w 5"/>
              <a:gd name="T7" fmla="*/ 1 h 3"/>
              <a:gd name="T8" fmla="*/ 2 w 5"/>
              <a:gd name="T9" fmla="*/ 3 h 3"/>
              <a:gd name="T10" fmla="*/ 0 w 5"/>
              <a:gd name="T11" fmla="*/ 1 h 3"/>
              <a:gd name="T12" fmla="*/ 0 w 5"/>
              <a:gd name="T13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" h="3">
                <a:moveTo>
                  <a:pt x="0" y="0"/>
                </a:moveTo>
                <a:lnTo>
                  <a:pt x="2" y="0"/>
                </a:lnTo>
                <a:lnTo>
                  <a:pt x="4" y="1"/>
                </a:lnTo>
                <a:lnTo>
                  <a:pt x="5" y="1"/>
                </a:lnTo>
                <a:lnTo>
                  <a:pt x="2" y="3"/>
                </a:ln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9" name="Freeform 18"/>
          <p:cNvSpPr>
            <a:spLocks/>
          </p:cNvSpPr>
          <p:nvPr/>
        </p:nvSpPr>
        <p:spPr bwMode="auto">
          <a:xfrm>
            <a:off x="2651126" y="4864066"/>
            <a:ext cx="7938" cy="4763"/>
          </a:xfrm>
          <a:custGeom>
            <a:avLst/>
            <a:gdLst>
              <a:gd name="T0" fmla="*/ 0 w 5"/>
              <a:gd name="T1" fmla="*/ 0 h 3"/>
              <a:gd name="T2" fmla="*/ 2 w 5"/>
              <a:gd name="T3" fmla="*/ 0 h 3"/>
              <a:gd name="T4" fmla="*/ 4 w 5"/>
              <a:gd name="T5" fmla="*/ 1 h 3"/>
              <a:gd name="T6" fmla="*/ 5 w 5"/>
              <a:gd name="T7" fmla="*/ 1 h 3"/>
              <a:gd name="T8" fmla="*/ 2 w 5"/>
              <a:gd name="T9" fmla="*/ 3 h 3"/>
              <a:gd name="T10" fmla="*/ 0 w 5"/>
              <a:gd name="T11" fmla="*/ 1 h 3"/>
              <a:gd name="T12" fmla="*/ 0 w 5"/>
              <a:gd name="T13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" h="3">
                <a:moveTo>
                  <a:pt x="0" y="0"/>
                </a:moveTo>
                <a:lnTo>
                  <a:pt x="2" y="0"/>
                </a:lnTo>
                <a:lnTo>
                  <a:pt x="4" y="1"/>
                </a:lnTo>
                <a:lnTo>
                  <a:pt x="5" y="1"/>
                </a:lnTo>
                <a:lnTo>
                  <a:pt x="2" y="3"/>
                </a:lnTo>
                <a:lnTo>
                  <a:pt x="0" y="1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0" name="Freeform 19"/>
          <p:cNvSpPr>
            <a:spLocks/>
          </p:cNvSpPr>
          <p:nvPr/>
        </p:nvSpPr>
        <p:spPr bwMode="auto">
          <a:xfrm>
            <a:off x="2652713" y="4872003"/>
            <a:ext cx="7938" cy="3175"/>
          </a:xfrm>
          <a:custGeom>
            <a:avLst/>
            <a:gdLst>
              <a:gd name="T0" fmla="*/ 2 w 5"/>
              <a:gd name="T1" fmla="*/ 2 h 2"/>
              <a:gd name="T2" fmla="*/ 1 w 5"/>
              <a:gd name="T3" fmla="*/ 2 h 2"/>
              <a:gd name="T4" fmla="*/ 0 w 5"/>
              <a:gd name="T5" fmla="*/ 1 h 2"/>
              <a:gd name="T6" fmla="*/ 2 w 5"/>
              <a:gd name="T7" fmla="*/ 0 h 2"/>
              <a:gd name="T8" fmla="*/ 4 w 5"/>
              <a:gd name="T9" fmla="*/ 0 h 2"/>
              <a:gd name="T10" fmla="*/ 5 w 5"/>
              <a:gd name="T11" fmla="*/ 1 h 2"/>
              <a:gd name="T12" fmla="*/ 5 w 5"/>
              <a:gd name="T13" fmla="*/ 1 h 2"/>
              <a:gd name="T14" fmla="*/ 2 w 5"/>
              <a:gd name="T1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2">
                <a:moveTo>
                  <a:pt x="2" y="2"/>
                </a:moveTo>
                <a:lnTo>
                  <a:pt x="1" y="2"/>
                </a:lnTo>
                <a:lnTo>
                  <a:pt x="0" y="1"/>
                </a:lnTo>
                <a:lnTo>
                  <a:pt x="2" y="0"/>
                </a:lnTo>
                <a:lnTo>
                  <a:pt x="4" y="0"/>
                </a:lnTo>
                <a:lnTo>
                  <a:pt x="5" y="1"/>
                </a:lnTo>
                <a:lnTo>
                  <a:pt x="5" y="1"/>
                </a:lnTo>
                <a:lnTo>
                  <a:pt x="2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1" name="Freeform 20"/>
          <p:cNvSpPr>
            <a:spLocks/>
          </p:cNvSpPr>
          <p:nvPr/>
        </p:nvSpPr>
        <p:spPr bwMode="auto">
          <a:xfrm>
            <a:off x="2652713" y="4872003"/>
            <a:ext cx="7938" cy="3175"/>
          </a:xfrm>
          <a:custGeom>
            <a:avLst/>
            <a:gdLst>
              <a:gd name="T0" fmla="*/ 2 w 5"/>
              <a:gd name="T1" fmla="*/ 2 h 2"/>
              <a:gd name="T2" fmla="*/ 1 w 5"/>
              <a:gd name="T3" fmla="*/ 2 h 2"/>
              <a:gd name="T4" fmla="*/ 0 w 5"/>
              <a:gd name="T5" fmla="*/ 1 h 2"/>
              <a:gd name="T6" fmla="*/ 2 w 5"/>
              <a:gd name="T7" fmla="*/ 0 h 2"/>
              <a:gd name="T8" fmla="*/ 4 w 5"/>
              <a:gd name="T9" fmla="*/ 0 h 2"/>
              <a:gd name="T10" fmla="*/ 5 w 5"/>
              <a:gd name="T11" fmla="*/ 1 h 2"/>
              <a:gd name="T12" fmla="*/ 5 w 5"/>
              <a:gd name="T13" fmla="*/ 1 h 2"/>
              <a:gd name="T14" fmla="*/ 2 w 5"/>
              <a:gd name="T1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2">
                <a:moveTo>
                  <a:pt x="2" y="2"/>
                </a:moveTo>
                <a:lnTo>
                  <a:pt x="1" y="2"/>
                </a:lnTo>
                <a:lnTo>
                  <a:pt x="0" y="1"/>
                </a:lnTo>
                <a:lnTo>
                  <a:pt x="2" y="0"/>
                </a:lnTo>
                <a:lnTo>
                  <a:pt x="4" y="0"/>
                </a:lnTo>
                <a:lnTo>
                  <a:pt x="5" y="1"/>
                </a:lnTo>
                <a:lnTo>
                  <a:pt x="5" y="1"/>
                </a:lnTo>
                <a:lnTo>
                  <a:pt x="2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2" name="Freeform 21"/>
          <p:cNvSpPr>
            <a:spLocks/>
          </p:cNvSpPr>
          <p:nvPr/>
        </p:nvSpPr>
        <p:spPr bwMode="auto">
          <a:xfrm>
            <a:off x="2655888" y="4875178"/>
            <a:ext cx="14288" cy="7938"/>
          </a:xfrm>
          <a:custGeom>
            <a:avLst/>
            <a:gdLst>
              <a:gd name="T0" fmla="*/ 1 w 9"/>
              <a:gd name="T1" fmla="*/ 2 h 5"/>
              <a:gd name="T2" fmla="*/ 0 w 9"/>
              <a:gd name="T3" fmla="*/ 2 h 5"/>
              <a:gd name="T4" fmla="*/ 1 w 9"/>
              <a:gd name="T5" fmla="*/ 2 h 5"/>
              <a:gd name="T6" fmla="*/ 7 w 9"/>
              <a:gd name="T7" fmla="*/ 0 h 5"/>
              <a:gd name="T8" fmla="*/ 8 w 9"/>
              <a:gd name="T9" fmla="*/ 3 h 5"/>
              <a:gd name="T10" fmla="*/ 9 w 9"/>
              <a:gd name="T11" fmla="*/ 5 h 5"/>
              <a:gd name="T12" fmla="*/ 7 w 9"/>
              <a:gd name="T13" fmla="*/ 4 h 5"/>
              <a:gd name="T14" fmla="*/ 4 w 9"/>
              <a:gd name="T15" fmla="*/ 3 h 5"/>
              <a:gd name="T16" fmla="*/ 1 w 9"/>
              <a:gd name="T17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" h="5">
                <a:moveTo>
                  <a:pt x="1" y="2"/>
                </a:moveTo>
                <a:lnTo>
                  <a:pt x="0" y="2"/>
                </a:lnTo>
                <a:lnTo>
                  <a:pt x="1" y="2"/>
                </a:lnTo>
                <a:lnTo>
                  <a:pt x="7" y="0"/>
                </a:lnTo>
                <a:lnTo>
                  <a:pt x="8" y="3"/>
                </a:lnTo>
                <a:lnTo>
                  <a:pt x="9" y="5"/>
                </a:lnTo>
                <a:lnTo>
                  <a:pt x="7" y="4"/>
                </a:lnTo>
                <a:lnTo>
                  <a:pt x="4" y="3"/>
                </a:lnTo>
                <a:lnTo>
                  <a:pt x="1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3" name="Freeform 22"/>
          <p:cNvSpPr>
            <a:spLocks/>
          </p:cNvSpPr>
          <p:nvPr/>
        </p:nvSpPr>
        <p:spPr bwMode="auto">
          <a:xfrm>
            <a:off x="2655888" y="4875178"/>
            <a:ext cx="14288" cy="7938"/>
          </a:xfrm>
          <a:custGeom>
            <a:avLst/>
            <a:gdLst>
              <a:gd name="T0" fmla="*/ 1 w 9"/>
              <a:gd name="T1" fmla="*/ 2 h 5"/>
              <a:gd name="T2" fmla="*/ 0 w 9"/>
              <a:gd name="T3" fmla="*/ 2 h 5"/>
              <a:gd name="T4" fmla="*/ 1 w 9"/>
              <a:gd name="T5" fmla="*/ 2 h 5"/>
              <a:gd name="T6" fmla="*/ 7 w 9"/>
              <a:gd name="T7" fmla="*/ 0 h 5"/>
              <a:gd name="T8" fmla="*/ 8 w 9"/>
              <a:gd name="T9" fmla="*/ 3 h 5"/>
              <a:gd name="T10" fmla="*/ 9 w 9"/>
              <a:gd name="T11" fmla="*/ 5 h 5"/>
              <a:gd name="T12" fmla="*/ 7 w 9"/>
              <a:gd name="T13" fmla="*/ 4 h 5"/>
              <a:gd name="T14" fmla="*/ 4 w 9"/>
              <a:gd name="T15" fmla="*/ 3 h 5"/>
              <a:gd name="T16" fmla="*/ 1 w 9"/>
              <a:gd name="T17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" h="5">
                <a:moveTo>
                  <a:pt x="1" y="2"/>
                </a:moveTo>
                <a:lnTo>
                  <a:pt x="0" y="2"/>
                </a:lnTo>
                <a:lnTo>
                  <a:pt x="1" y="2"/>
                </a:lnTo>
                <a:lnTo>
                  <a:pt x="7" y="0"/>
                </a:lnTo>
                <a:lnTo>
                  <a:pt x="8" y="3"/>
                </a:lnTo>
                <a:lnTo>
                  <a:pt x="9" y="5"/>
                </a:lnTo>
                <a:lnTo>
                  <a:pt x="7" y="4"/>
                </a:lnTo>
                <a:lnTo>
                  <a:pt x="4" y="3"/>
                </a:lnTo>
                <a:lnTo>
                  <a:pt x="1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4" name="Freeform 23"/>
          <p:cNvSpPr>
            <a:spLocks/>
          </p:cNvSpPr>
          <p:nvPr/>
        </p:nvSpPr>
        <p:spPr bwMode="auto">
          <a:xfrm>
            <a:off x="2659063" y="4881528"/>
            <a:ext cx="9525" cy="3175"/>
          </a:xfrm>
          <a:custGeom>
            <a:avLst/>
            <a:gdLst>
              <a:gd name="T0" fmla="*/ 0 w 6"/>
              <a:gd name="T1" fmla="*/ 0 h 2"/>
              <a:gd name="T2" fmla="*/ 2 w 6"/>
              <a:gd name="T3" fmla="*/ 1 h 2"/>
              <a:gd name="T4" fmla="*/ 6 w 6"/>
              <a:gd name="T5" fmla="*/ 2 h 2"/>
              <a:gd name="T6" fmla="*/ 2 w 6"/>
              <a:gd name="T7" fmla="*/ 1 h 2"/>
              <a:gd name="T8" fmla="*/ 0 w 6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2">
                <a:moveTo>
                  <a:pt x="0" y="0"/>
                </a:moveTo>
                <a:lnTo>
                  <a:pt x="2" y="1"/>
                </a:lnTo>
                <a:lnTo>
                  <a:pt x="6" y="2"/>
                </a:lnTo>
                <a:lnTo>
                  <a:pt x="2" y="1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5" name="Freeform 24"/>
          <p:cNvSpPr>
            <a:spLocks/>
          </p:cNvSpPr>
          <p:nvPr/>
        </p:nvSpPr>
        <p:spPr bwMode="auto">
          <a:xfrm>
            <a:off x="2659063" y="4881528"/>
            <a:ext cx="9525" cy="3175"/>
          </a:xfrm>
          <a:custGeom>
            <a:avLst/>
            <a:gdLst>
              <a:gd name="T0" fmla="*/ 0 w 6"/>
              <a:gd name="T1" fmla="*/ 0 h 2"/>
              <a:gd name="T2" fmla="*/ 2 w 6"/>
              <a:gd name="T3" fmla="*/ 1 h 2"/>
              <a:gd name="T4" fmla="*/ 6 w 6"/>
              <a:gd name="T5" fmla="*/ 2 h 2"/>
              <a:gd name="T6" fmla="*/ 2 w 6"/>
              <a:gd name="T7" fmla="*/ 1 h 2"/>
              <a:gd name="T8" fmla="*/ 0 w 6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2">
                <a:moveTo>
                  <a:pt x="0" y="0"/>
                </a:moveTo>
                <a:lnTo>
                  <a:pt x="2" y="1"/>
                </a:lnTo>
                <a:lnTo>
                  <a:pt x="6" y="2"/>
                </a:lnTo>
                <a:lnTo>
                  <a:pt x="2" y="1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6" name="Freeform 25"/>
          <p:cNvSpPr>
            <a:spLocks/>
          </p:cNvSpPr>
          <p:nvPr/>
        </p:nvSpPr>
        <p:spPr bwMode="auto">
          <a:xfrm>
            <a:off x="2671763" y="4895816"/>
            <a:ext cx="3175" cy="4763"/>
          </a:xfrm>
          <a:custGeom>
            <a:avLst/>
            <a:gdLst>
              <a:gd name="T0" fmla="*/ 0 w 2"/>
              <a:gd name="T1" fmla="*/ 1 h 3"/>
              <a:gd name="T2" fmla="*/ 0 w 2"/>
              <a:gd name="T3" fmla="*/ 0 h 3"/>
              <a:gd name="T4" fmla="*/ 1 w 2"/>
              <a:gd name="T5" fmla="*/ 1 h 3"/>
              <a:gd name="T6" fmla="*/ 2 w 2"/>
              <a:gd name="T7" fmla="*/ 3 h 3"/>
              <a:gd name="T8" fmla="*/ 1 w 2"/>
              <a:gd name="T9" fmla="*/ 3 h 3"/>
              <a:gd name="T10" fmla="*/ 0 w 2"/>
              <a:gd name="T11" fmla="*/ 2 h 3"/>
              <a:gd name="T12" fmla="*/ 0 w 2"/>
              <a:gd name="T13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3">
                <a:moveTo>
                  <a:pt x="0" y="1"/>
                </a:moveTo>
                <a:lnTo>
                  <a:pt x="0" y="0"/>
                </a:lnTo>
                <a:lnTo>
                  <a:pt x="1" y="1"/>
                </a:lnTo>
                <a:lnTo>
                  <a:pt x="2" y="3"/>
                </a:lnTo>
                <a:lnTo>
                  <a:pt x="1" y="3"/>
                </a:lnTo>
                <a:lnTo>
                  <a:pt x="0" y="2"/>
                </a:lnTo>
                <a:lnTo>
                  <a:pt x="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7" name="Freeform 26"/>
          <p:cNvSpPr>
            <a:spLocks/>
          </p:cNvSpPr>
          <p:nvPr/>
        </p:nvSpPr>
        <p:spPr bwMode="auto">
          <a:xfrm>
            <a:off x="2671763" y="4895816"/>
            <a:ext cx="3175" cy="4763"/>
          </a:xfrm>
          <a:custGeom>
            <a:avLst/>
            <a:gdLst>
              <a:gd name="T0" fmla="*/ 0 w 2"/>
              <a:gd name="T1" fmla="*/ 1 h 3"/>
              <a:gd name="T2" fmla="*/ 0 w 2"/>
              <a:gd name="T3" fmla="*/ 0 h 3"/>
              <a:gd name="T4" fmla="*/ 1 w 2"/>
              <a:gd name="T5" fmla="*/ 1 h 3"/>
              <a:gd name="T6" fmla="*/ 2 w 2"/>
              <a:gd name="T7" fmla="*/ 3 h 3"/>
              <a:gd name="T8" fmla="*/ 1 w 2"/>
              <a:gd name="T9" fmla="*/ 3 h 3"/>
              <a:gd name="T10" fmla="*/ 0 w 2"/>
              <a:gd name="T11" fmla="*/ 2 h 3"/>
              <a:gd name="T12" fmla="*/ 0 w 2"/>
              <a:gd name="T13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3">
                <a:moveTo>
                  <a:pt x="0" y="1"/>
                </a:moveTo>
                <a:lnTo>
                  <a:pt x="0" y="0"/>
                </a:lnTo>
                <a:lnTo>
                  <a:pt x="1" y="1"/>
                </a:lnTo>
                <a:lnTo>
                  <a:pt x="2" y="3"/>
                </a:lnTo>
                <a:lnTo>
                  <a:pt x="1" y="3"/>
                </a:lnTo>
                <a:lnTo>
                  <a:pt x="0" y="2"/>
                </a:lnTo>
                <a:lnTo>
                  <a:pt x="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8" name="Freeform 27"/>
          <p:cNvSpPr>
            <a:spLocks/>
          </p:cNvSpPr>
          <p:nvPr/>
        </p:nvSpPr>
        <p:spPr bwMode="auto">
          <a:xfrm>
            <a:off x="2673351" y="4946616"/>
            <a:ext cx="11113" cy="6350"/>
          </a:xfrm>
          <a:custGeom>
            <a:avLst/>
            <a:gdLst>
              <a:gd name="T0" fmla="*/ 6 w 7"/>
              <a:gd name="T1" fmla="*/ 4 h 4"/>
              <a:gd name="T2" fmla="*/ 3 w 7"/>
              <a:gd name="T3" fmla="*/ 4 h 4"/>
              <a:gd name="T4" fmla="*/ 1 w 7"/>
              <a:gd name="T5" fmla="*/ 3 h 4"/>
              <a:gd name="T6" fmla="*/ 0 w 7"/>
              <a:gd name="T7" fmla="*/ 1 h 4"/>
              <a:gd name="T8" fmla="*/ 1 w 7"/>
              <a:gd name="T9" fmla="*/ 1 h 4"/>
              <a:gd name="T10" fmla="*/ 2 w 7"/>
              <a:gd name="T11" fmla="*/ 0 h 4"/>
              <a:gd name="T12" fmla="*/ 4 w 7"/>
              <a:gd name="T13" fmla="*/ 2 h 4"/>
              <a:gd name="T14" fmla="*/ 7 w 7"/>
              <a:gd name="T15" fmla="*/ 3 h 4"/>
              <a:gd name="T16" fmla="*/ 6 w 7"/>
              <a:gd name="T17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" h="4">
                <a:moveTo>
                  <a:pt x="6" y="4"/>
                </a:moveTo>
                <a:lnTo>
                  <a:pt x="3" y="4"/>
                </a:lnTo>
                <a:lnTo>
                  <a:pt x="1" y="3"/>
                </a:lnTo>
                <a:lnTo>
                  <a:pt x="0" y="1"/>
                </a:lnTo>
                <a:lnTo>
                  <a:pt x="1" y="1"/>
                </a:lnTo>
                <a:lnTo>
                  <a:pt x="2" y="0"/>
                </a:lnTo>
                <a:lnTo>
                  <a:pt x="4" y="2"/>
                </a:lnTo>
                <a:lnTo>
                  <a:pt x="7" y="3"/>
                </a:lnTo>
                <a:lnTo>
                  <a:pt x="6" y="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9" name="Freeform 28"/>
          <p:cNvSpPr>
            <a:spLocks/>
          </p:cNvSpPr>
          <p:nvPr/>
        </p:nvSpPr>
        <p:spPr bwMode="auto">
          <a:xfrm>
            <a:off x="2673351" y="4946616"/>
            <a:ext cx="11113" cy="6350"/>
          </a:xfrm>
          <a:custGeom>
            <a:avLst/>
            <a:gdLst>
              <a:gd name="T0" fmla="*/ 6 w 7"/>
              <a:gd name="T1" fmla="*/ 4 h 4"/>
              <a:gd name="T2" fmla="*/ 3 w 7"/>
              <a:gd name="T3" fmla="*/ 4 h 4"/>
              <a:gd name="T4" fmla="*/ 1 w 7"/>
              <a:gd name="T5" fmla="*/ 3 h 4"/>
              <a:gd name="T6" fmla="*/ 0 w 7"/>
              <a:gd name="T7" fmla="*/ 1 h 4"/>
              <a:gd name="T8" fmla="*/ 1 w 7"/>
              <a:gd name="T9" fmla="*/ 1 h 4"/>
              <a:gd name="T10" fmla="*/ 2 w 7"/>
              <a:gd name="T11" fmla="*/ 0 h 4"/>
              <a:gd name="T12" fmla="*/ 4 w 7"/>
              <a:gd name="T13" fmla="*/ 2 h 4"/>
              <a:gd name="T14" fmla="*/ 7 w 7"/>
              <a:gd name="T15" fmla="*/ 3 h 4"/>
              <a:gd name="T16" fmla="*/ 6 w 7"/>
              <a:gd name="T17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" h="4">
                <a:moveTo>
                  <a:pt x="6" y="4"/>
                </a:moveTo>
                <a:lnTo>
                  <a:pt x="3" y="4"/>
                </a:lnTo>
                <a:lnTo>
                  <a:pt x="1" y="3"/>
                </a:lnTo>
                <a:lnTo>
                  <a:pt x="0" y="1"/>
                </a:lnTo>
                <a:lnTo>
                  <a:pt x="1" y="1"/>
                </a:lnTo>
                <a:lnTo>
                  <a:pt x="2" y="0"/>
                </a:lnTo>
                <a:lnTo>
                  <a:pt x="4" y="2"/>
                </a:lnTo>
                <a:lnTo>
                  <a:pt x="7" y="3"/>
                </a:lnTo>
                <a:lnTo>
                  <a:pt x="6" y="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0" name="Freeform 29"/>
          <p:cNvSpPr>
            <a:spLocks/>
          </p:cNvSpPr>
          <p:nvPr/>
        </p:nvSpPr>
        <p:spPr bwMode="auto">
          <a:xfrm>
            <a:off x="2660651" y="4949791"/>
            <a:ext cx="6350" cy="4763"/>
          </a:xfrm>
          <a:custGeom>
            <a:avLst/>
            <a:gdLst>
              <a:gd name="T0" fmla="*/ 4 w 4"/>
              <a:gd name="T1" fmla="*/ 0 h 3"/>
              <a:gd name="T2" fmla="*/ 4 w 4"/>
              <a:gd name="T3" fmla="*/ 1 h 3"/>
              <a:gd name="T4" fmla="*/ 4 w 4"/>
              <a:gd name="T5" fmla="*/ 2 h 3"/>
              <a:gd name="T6" fmla="*/ 1 w 4"/>
              <a:gd name="T7" fmla="*/ 3 h 3"/>
              <a:gd name="T8" fmla="*/ 0 w 4"/>
              <a:gd name="T9" fmla="*/ 2 h 3"/>
              <a:gd name="T10" fmla="*/ 0 w 4"/>
              <a:gd name="T11" fmla="*/ 1 h 3"/>
              <a:gd name="T12" fmla="*/ 3 w 4"/>
              <a:gd name="T13" fmla="*/ 0 h 3"/>
              <a:gd name="T14" fmla="*/ 4 w 4"/>
              <a:gd name="T15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3">
                <a:moveTo>
                  <a:pt x="4" y="0"/>
                </a:moveTo>
                <a:lnTo>
                  <a:pt x="4" y="1"/>
                </a:lnTo>
                <a:lnTo>
                  <a:pt x="4" y="2"/>
                </a:lnTo>
                <a:lnTo>
                  <a:pt x="1" y="3"/>
                </a:lnTo>
                <a:lnTo>
                  <a:pt x="0" y="2"/>
                </a:lnTo>
                <a:lnTo>
                  <a:pt x="0" y="1"/>
                </a:lnTo>
                <a:lnTo>
                  <a:pt x="3" y="0"/>
                </a:lnTo>
                <a:lnTo>
                  <a:pt x="4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1" name="Freeform 30"/>
          <p:cNvSpPr>
            <a:spLocks/>
          </p:cNvSpPr>
          <p:nvPr/>
        </p:nvSpPr>
        <p:spPr bwMode="auto">
          <a:xfrm>
            <a:off x="2660651" y="4949791"/>
            <a:ext cx="6350" cy="4763"/>
          </a:xfrm>
          <a:custGeom>
            <a:avLst/>
            <a:gdLst>
              <a:gd name="T0" fmla="*/ 4 w 4"/>
              <a:gd name="T1" fmla="*/ 0 h 3"/>
              <a:gd name="T2" fmla="*/ 4 w 4"/>
              <a:gd name="T3" fmla="*/ 1 h 3"/>
              <a:gd name="T4" fmla="*/ 4 w 4"/>
              <a:gd name="T5" fmla="*/ 2 h 3"/>
              <a:gd name="T6" fmla="*/ 1 w 4"/>
              <a:gd name="T7" fmla="*/ 3 h 3"/>
              <a:gd name="T8" fmla="*/ 0 w 4"/>
              <a:gd name="T9" fmla="*/ 2 h 3"/>
              <a:gd name="T10" fmla="*/ 0 w 4"/>
              <a:gd name="T11" fmla="*/ 1 h 3"/>
              <a:gd name="T12" fmla="*/ 3 w 4"/>
              <a:gd name="T13" fmla="*/ 0 h 3"/>
              <a:gd name="T14" fmla="*/ 4 w 4"/>
              <a:gd name="T15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3">
                <a:moveTo>
                  <a:pt x="4" y="0"/>
                </a:moveTo>
                <a:lnTo>
                  <a:pt x="4" y="1"/>
                </a:lnTo>
                <a:lnTo>
                  <a:pt x="4" y="2"/>
                </a:lnTo>
                <a:lnTo>
                  <a:pt x="1" y="3"/>
                </a:lnTo>
                <a:lnTo>
                  <a:pt x="0" y="2"/>
                </a:lnTo>
                <a:lnTo>
                  <a:pt x="0" y="1"/>
                </a:lnTo>
                <a:lnTo>
                  <a:pt x="3" y="0"/>
                </a:lnTo>
                <a:lnTo>
                  <a:pt x="4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2" name="Freeform 31"/>
          <p:cNvSpPr>
            <a:spLocks/>
          </p:cNvSpPr>
          <p:nvPr/>
        </p:nvSpPr>
        <p:spPr bwMode="auto">
          <a:xfrm>
            <a:off x="2667001" y="4960903"/>
            <a:ext cx="9525" cy="7938"/>
          </a:xfrm>
          <a:custGeom>
            <a:avLst/>
            <a:gdLst>
              <a:gd name="T0" fmla="*/ 1 w 6"/>
              <a:gd name="T1" fmla="*/ 1 h 5"/>
              <a:gd name="T2" fmla="*/ 0 w 6"/>
              <a:gd name="T3" fmla="*/ 0 h 5"/>
              <a:gd name="T4" fmla="*/ 5 w 6"/>
              <a:gd name="T5" fmla="*/ 2 h 5"/>
              <a:gd name="T6" fmla="*/ 6 w 6"/>
              <a:gd name="T7" fmla="*/ 2 h 5"/>
              <a:gd name="T8" fmla="*/ 6 w 6"/>
              <a:gd name="T9" fmla="*/ 4 h 5"/>
              <a:gd name="T10" fmla="*/ 6 w 6"/>
              <a:gd name="T11" fmla="*/ 4 h 5"/>
              <a:gd name="T12" fmla="*/ 5 w 6"/>
              <a:gd name="T13" fmla="*/ 5 h 5"/>
              <a:gd name="T14" fmla="*/ 1 w 6"/>
              <a:gd name="T15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" h="5">
                <a:moveTo>
                  <a:pt x="1" y="1"/>
                </a:moveTo>
                <a:lnTo>
                  <a:pt x="0" y="0"/>
                </a:lnTo>
                <a:lnTo>
                  <a:pt x="5" y="2"/>
                </a:lnTo>
                <a:lnTo>
                  <a:pt x="6" y="2"/>
                </a:lnTo>
                <a:lnTo>
                  <a:pt x="6" y="4"/>
                </a:lnTo>
                <a:lnTo>
                  <a:pt x="6" y="4"/>
                </a:lnTo>
                <a:lnTo>
                  <a:pt x="5" y="5"/>
                </a:lnTo>
                <a:lnTo>
                  <a:pt x="1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3" name="Freeform 32"/>
          <p:cNvSpPr>
            <a:spLocks/>
          </p:cNvSpPr>
          <p:nvPr/>
        </p:nvSpPr>
        <p:spPr bwMode="auto">
          <a:xfrm>
            <a:off x="2667001" y="4960903"/>
            <a:ext cx="9525" cy="7938"/>
          </a:xfrm>
          <a:custGeom>
            <a:avLst/>
            <a:gdLst>
              <a:gd name="T0" fmla="*/ 1 w 6"/>
              <a:gd name="T1" fmla="*/ 1 h 5"/>
              <a:gd name="T2" fmla="*/ 0 w 6"/>
              <a:gd name="T3" fmla="*/ 0 h 5"/>
              <a:gd name="T4" fmla="*/ 5 w 6"/>
              <a:gd name="T5" fmla="*/ 2 h 5"/>
              <a:gd name="T6" fmla="*/ 6 w 6"/>
              <a:gd name="T7" fmla="*/ 2 h 5"/>
              <a:gd name="T8" fmla="*/ 6 w 6"/>
              <a:gd name="T9" fmla="*/ 4 h 5"/>
              <a:gd name="T10" fmla="*/ 6 w 6"/>
              <a:gd name="T11" fmla="*/ 4 h 5"/>
              <a:gd name="T12" fmla="*/ 5 w 6"/>
              <a:gd name="T13" fmla="*/ 5 h 5"/>
              <a:gd name="T14" fmla="*/ 1 w 6"/>
              <a:gd name="T15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" h="5">
                <a:moveTo>
                  <a:pt x="1" y="1"/>
                </a:moveTo>
                <a:lnTo>
                  <a:pt x="0" y="0"/>
                </a:lnTo>
                <a:lnTo>
                  <a:pt x="5" y="2"/>
                </a:lnTo>
                <a:lnTo>
                  <a:pt x="6" y="2"/>
                </a:lnTo>
                <a:lnTo>
                  <a:pt x="6" y="4"/>
                </a:lnTo>
                <a:lnTo>
                  <a:pt x="6" y="4"/>
                </a:lnTo>
                <a:lnTo>
                  <a:pt x="5" y="5"/>
                </a:lnTo>
                <a:lnTo>
                  <a:pt x="1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4" name="Freeform 33"/>
          <p:cNvSpPr>
            <a:spLocks/>
          </p:cNvSpPr>
          <p:nvPr/>
        </p:nvSpPr>
        <p:spPr bwMode="auto">
          <a:xfrm>
            <a:off x="2659063" y="4960903"/>
            <a:ext cx="14288" cy="15875"/>
          </a:xfrm>
          <a:custGeom>
            <a:avLst/>
            <a:gdLst>
              <a:gd name="T0" fmla="*/ 1 w 9"/>
              <a:gd name="T1" fmla="*/ 2 h 10"/>
              <a:gd name="T2" fmla="*/ 0 w 9"/>
              <a:gd name="T3" fmla="*/ 0 h 10"/>
              <a:gd name="T4" fmla="*/ 2 w 9"/>
              <a:gd name="T5" fmla="*/ 0 h 10"/>
              <a:gd name="T6" fmla="*/ 7 w 9"/>
              <a:gd name="T7" fmla="*/ 5 h 10"/>
              <a:gd name="T8" fmla="*/ 9 w 9"/>
              <a:gd name="T9" fmla="*/ 7 h 10"/>
              <a:gd name="T10" fmla="*/ 9 w 9"/>
              <a:gd name="T11" fmla="*/ 9 h 10"/>
              <a:gd name="T12" fmla="*/ 9 w 9"/>
              <a:gd name="T13" fmla="*/ 10 h 10"/>
              <a:gd name="T14" fmla="*/ 8 w 9"/>
              <a:gd name="T15" fmla="*/ 9 h 10"/>
              <a:gd name="T16" fmla="*/ 7 w 9"/>
              <a:gd name="T17" fmla="*/ 6 h 10"/>
              <a:gd name="T18" fmla="*/ 4 w 9"/>
              <a:gd name="T19" fmla="*/ 4 h 10"/>
              <a:gd name="T20" fmla="*/ 1 w 9"/>
              <a:gd name="T21" fmla="*/ 2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" h="10">
                <a:moveTo>
                  <a:pt x="1" y="2"/>
                </a:moveTo>
                <a:lnTo>
                  <a:pt x="0" y="0"/>
                </a:lnTo>
                <a:lnTo>
                  <a:pt x="2" y="0"/>
                </a:lnTo>
                <a:lnTo>
                  <a:pt x="7" y="5"/>
                </a:lnTo>
                <a:lnTo>
                  <a:pt x="9" y="7"/>
                </a:lnTo>
                <a:lnTo>
                  <a:pt x="9" y="9"/>
                </a:lnTo>
                <a:lnTo>
                  <a:pt x="9" y="10"/>
                </a:lnTo>
                <a:lnTo>
                  <a:pt x="8" y="9"/>
                </a:lnTo>
                <a:lnTo>
                  <a:pt x="7" y="6"/>
                </a:lnTo>
                <a:lnTo>
                  <a:pt x="4" y="4"/>
                </a:lnTo>
                <a:lnTo>
                  <a:pt x="1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5" name="Freeform 34"/>
          <p:cNvSpPr>
            <a:spLocks/>
          </p:cNvSpPr>
          <p:nvPr/>
        </p:nvSpPr>
        <p:spPr bwMode="auto">
          <a:xfrm>
            <a:off x="2659063" y="4960903"/>
            <a:ext cx="14288" cy="15875"/>
          </a:xfrm>
          <a:custGeom>
            <a:avLst/>
            <a:gdLst>
              <a:gd name="T0" fmla="*/ 1 w 9"/>
              <a:gd name="T1" fmla="*/ 2 h 10"/>
              <a:gd name="T2" fmla="*/ 0 w 9"/>
              <a:gd name="T3" fmla="*/ 0 h 10"/>
              <a:gd name="T4" fmla="*/ 2 w 9"/>
              <a:gd name="T5" fmla="*/ 0 h 10"/>
              <a:gd name="T6" fmla="*/ 7 w 9"/>
              <a:gd name="T7" fmla="*/ 5 h 10"/>
              <a:gd name="T8" fmla="*/ 9 w 9"/>
              <a:gd name="T9" fmla="*/ 7 h 10"/>
              <a:gd name="T10" fmla="*/ 9 w 9"/>
              <a:gd name="T11" fmla="*/ 9 h 10"/>
              <a:gd name="T12" fmla="*/ 9 w 9"/>
              <a:gd name="T13" fmla="*/ 10 h 10"/>
              <a:gd name="T14" fmla="*/ 8 w 9"/>
              <a:gd name="T15" fmla="*/ 9 h 10"/>
              <a:gd name="T16" fmla="*/ 7 w 9"/>
              <a:gd name="T17" fmla="*/ 6 h 10"/>
              <a:gd name="T18" fmla="*/ 4 w 9"/>
              <a:gd name="T19" fmla="*/ 4 h 10"/>
              <a:gd name="T20" fmla="*/ 1 w 9"/>
              <a:gd name="T21" fmla="*/ 2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" h="10">
                <a:moveTo>
                  <a:pt x="1" y="2"/>
                </a:moveTo>
                <a:lnTo>
                  <a:pt x="0" y="0"/>
                </a:lnTo>
                <a:lnTo>
                  <a:pt x="2" y="0"/>
                </a:lnTo>
                <a:lnTo>
                  <a:pt x="7" y="5"/>
                </a:lnTo>
                <a:lnTo>
                  <a:pt x="9" y="7"/>
                </a:lnTo>
                <a:lnTo>
                  <a:pt x="9" y="9"/>
                </a:lnTo>
                <a:lnTo>
                  <a:pt x="9" y="10"/>
                </a:lnTo>
                <a:lnTo>
                  <a:pt x="8" y="9"/>
                </a:lnTo>
                <a:lnTo>
                  <a:pt x="7" y="6"/>
                </a:lnTo>
                <a:lnTo>
                  <a:pt x="4" y="4"/>
                </a:lnTo>
                <a:lnTo>
                  <a:pt x="1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6" name="Freeform 35"/>
          <p:cNvSpPr>
            <a:spLocks/>
          </p:cNvSpPr>
          <p:nvPr/>
        </p:nvSpPr>
        <p:spPr bwMode="auto">
          <a:xfrm>
            <a:off x="2674938" y="4970428"/>
            <a:ext cx="12700" cy="6350"/>
          </a:xfrm>
          <a:custGeom>
            <a:avLst/>
            <a:gdLst>
              <a:gd name="T0" fmla="*/ 0 w 8"/>
              <a:gd name="T1" fmla="*/ 0 h 4"/>
              <a:gd name="T2" fmla="*/ 3 w 8"/>
              <a:gd name="T3" fmla="*/ 0 h 4"/>
              <a:gd name="T4" fmla="*/ 6 w 8"/>
              <a:gd name="T5" fmla="*/ 1 h 4"/>
              <a:gd name="T6" fmla="*/ 7 w 8"/>
              <a:gd name="T7" fmla="*/ 4 h 4"/>
              <a:gd name="T8" fmla="*/ 8 w 8"/>
              <a:gd name="T9" fmla="*/ 4 h 4"/>
              <a:gd name="T10" fmla="*/ 5 w 8"/>
              <a:gd name="T11" fmla="*/ 3 h 4"/>
              <a:gd name="T12" fmla="*/ 2 w 8"/>
              <a:gd name="T13" fmla="*/ 3 h 4"/>
              <a:gd name="T14" fmla="*/ 1 w 8"/>
              <a:gd name="T15" fmla="*/ 1 h 4"/>
              <a:gd name="T16" fmla="*/ 0 w 8"/>
              <a:gd name="T17" fmla="*/ 0 h 4"/>
              <a:gd name="T18" fmla="*/ 0 w 8"/>
              <a:gd name="T1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" h="4">
                <a:moveTo>
                  <a:pt x="0" y="0"/>
                </a:moveTo>
                <a:lnTo>
                  <a:pt x="3" y="0"/>
                </a:lnTo>
                <a:lnTo>
                  <a:pt x="6" y="1"/>
                </a:lnTo>
                <a:lnTo>
                  <a:pt x="7" y="4"/>
                </a:lnTo>
                <a:lnTo>
                  <a:pt x="8" y="4"/>
                </a:lnTo>
                <a:lnTo>
                  <a:pt x="5" y="3"/>
                </a:lnTo>
                <a:lnTo>
                  <a:pt x="2" y="3"/>
                </a:lnTo>
                <a:lnTo>
                  <a:pt x="1" y="1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7" name="Freeform 36"/>
          <p:cNvSpPr>
            <a:spLocks/>
          </p:cNvSpPr>
          <p:nvPr/>
        </p:nvSpPr>
        <p:spPr bwMode="auto">
          <a:xfrm>
            <a:off x="2674938" y="4970428"/>
            <a:ext cx="12700" cy="6350"/>
          </a:xfrm>
          <a:custGeom>
            <a:avLst/>
            <a:gdLst>
              <a:gd name="T0" fmla="*/ 0 w 8"/>
              <a:gd name="T1" fmla="*/ 0 h 4"/>
              <a:gd name="T2" fmla="*/ 3 w 8"/>
              <a:gd name="T3" fmla="*/ 0 h 4"/>
              <a:gd name="T4" fmla="*/ 6 w 8"/>
              <a:gd name="T5" fmla="*/ 1 h 4"/>
              <a:gd name="T6" fmla="*/ 7 w 8"/>
              <a:gd name="T7" fmla="*/ 4 h 4"/>
              <a:gd name="T8" fmla="*/ 8 w 8"/>
              <a:gd name="T9" fmla="*/ 4 h 4"/>
              <a:gd name="T10" fmla="*/ 5 w 8"/>
              <a:gd name="T11" fmla="*/ 3 h 4"/>
              <a:gd name="T12" fmla="*/ 2 w 8"/>
              <a:gd name="T13" fmla="*/ 3 h 4"/>
              <a:gd name="T14" fmla="*/ 1 w 8"/>
              <a:gd name="T15" fmla="*/ 1 h 4"/>
              <a:gd name="T16" fmla="*/ 0 w 8"/>
              <a:gd name="T17" fmla="*/ 0 h 4"/>
              <a:gd name="T18" fmla="*/ 0 w 8"/>
              <a:gd name="T1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" h="4">
                <a:moveTo>
                  <a:pt x="0" y="0"/>
                </a:moveTo>
                <a:lnTo>
                  <a:pt x="3" y="0"/>
                </a:lnTo>
                <a:lnTo>
                  <a:pt x="6" y="1"/>
                </a:lnTo>
                <a:lnTo>
                  <a:pt x="7" y="4"/>
                </a:lnTo>
                <a:lnTo>
                  <a:pt x="8" y="4"/>
                </a:lnTo>
                <a:lnTo>
                  <a:pt x="5" y="3"/>
                </a:lnTo>
                <a:lnTo>
                  <a:pt x="2" y="3"/>
                </a:lnTo>
                <a:lnTo>
                  <a:pt x="1" y="1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8" name="Freeform 37"/>
          <p:cNvSpPr>
            <a:spLocks/>
          </p:cNvSpPr>
          <p:nvPr/>
        </p:nvSpPr>
        <p:spPr bwMode="auto">
          <a:xfrm>
            <a:off x="2665413" y="4970428"/>
            <a:ext cx="4763" cy="9525"/>
          </a:xfrm>
          <a:custGeom>
            <a:avLst/>
            <a:gdLst>
              <a:gd name="T0" fmla="*/ 1 w 3"/>
              <a:gd name="T1" fmla="*/ 4 h 6"/>
              <a:gd name="T2" fmla="*/ 0 w 3"/>
              <a:gd name="T3" fmla="*/ 1 h 6"/>
              <a:gd name="T4" fmla="*/ 1 w 3"/>
              <a:gd name="T5" fmla="*/ 0 h 6"/>
              <a:gd name="T6" fmla="*/ 2 w 3"/>
              <a:gd name="T7" fmla="*/ 1 h 6"/>
              <a:gd name="T8" fmla="*/ 3 w 3"/>
              <a:gd name="T9" fmla="*/ 4 h 6"/>
              <a:gd name="T10" fmla="*/ 3 w 3"/>
              <a:gd name="T11" fmla="*/ 5 h 6"/>
              <a:gd name="T12" fmla="*/ 2 w 3"/>
              <a:gd name="T13" fmla="*/ 6 h 6"/>
              <a:gd name="T14" fmla="*/ 1 w 3"/>
              <a:gd name="T15" fmla="*/ 5 h 6"/>
              <a:gd name="T16" fmla="*/ 1 w 3"/>
              <a:gd name="T17" fmla="*/ 4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6">
                <a:moveTo>
                  <a:pt x="1" y="4"/>
                </a:moveTo>
                <a:lnTo>
                  <a:pt x="0" y="1"/>
                </a:lnTo>
                <a:lnTo>
                  <a:pt x="1" y="0"/>
                </a:lnTo>
                <a:lnTo>
                  <a:pt x="2" y="1"/>
                </a:lnTo>
                <a:lnTo>
                  <a:pt x="3" y="4"/>
                </a:lnTo>
                <a:lnTo>
                  <a:pt x="3" y="5"/>
                </a:lnTo>
                <a:lnTo>
                  <a:pt x="2" y="6"/>
                </a:lnTo>
                <a:lnTo>
                  <a:pt x="1" y="5"/>
                </a:lnTo>
                <a:lnTo>
                  <a:pt x="1" y="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9" name="Freeform 38"/>
          <p:cNvSpPr>
            <a:spLocks/>
          </p:cNvSpPr>
          <p:nvPr/>
        </p:nvSpPr>
        <p:spPr bwMode="auto">
          <a:xfrm>
            <a:off x="2665413" y="4970428"/>
            <a:ext cx="4763" cy="9525"/>
          </a:xfrm>
          <a:custGeom>
            <a:avLst/>
            <a:gdLst>
              <a:gd name="T0" fmla="*/ 1 w 3"/>
              <a:gd name="T1" fmla="*/ 4 h 6"/>
              <a:gd name="T2" fmla="*/ 0 w 3"/>
              <a:gd name="T3" fmla="*/ 1 h 6"/>
              <a:gd name="T4" fmla="*/ 1 w 3"/>
              <a:gd name="T5" fmla="*/ 0 h 6"/>
              <a:gd name="T6" fmla="*/ 2 w 3"/>
              <a:gd name="T7" fmla="*/ 1 h 6"/>
              <a:gd name="T8" fmla="*/ 3 w 3"/>
              <a:gd name="T9" fmla="*/ 4 h 6"/>
              <a:gd name="T10" fmla="*/ 3 w 3"/>
              <a:gd name="T11" fmla="*/ 5 h 6"/>
              <a:gd name="T12" fmla="*/ 2 w 3"/>
              <a:gd name="T13" fmla="*/ 6 h 6"/>
              <a:gd name="T14" fmla="*/ 1 w 3"/>
              <a:gd name="T15" fmla="*/ 5 h 6"/>
              <a:gd name="T16" fmla="*/ 1 w 3"/>
              <a:gd name="T17" fmla="*/ 4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6">
                <a:moveTo>
                  <a:pt x="1" y="4"/>
                </a:moveTo>
                <a:lnTo>
                  <a:pt x="0" y="1"/>
                </a:lnTo>
                <a:lnTo>
                  <a:pt x="1" y="0"/>
                </a:lnTo>
                <a:lnTo>
                  <a:pt x="2" y="1"/>
                </a:lnTo>
                <a:lnTo>
                  <a:pt x="3" y="4"/>
                </a:lnTo>
                <a:lnTo>
                  <a:pt x="3" y="5"/>
                </a:lnTo>
                <a:lnTo>
                  <a:pt x="2" y="6"/>
                </a:lnTo>
                <a:lnTo>
                  <a:pt x="1" y="5"/>
                </a:lnTo>
                <a:lnTo>
                  <a:pt x="1" y="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0" name="Freeform 39"/>
          <p:cNvSpPr>
            <a:spLocks/>
          </p:cNvSpPr>
          <p:nvPr/>
        </p:nvSpPr>
        <p:spPr bwMode="auto">
          <a:xfrm>
            <a:off x="2678113" y="4978366"/>
            <a:ext cx="25400" cy="38100"/>
          </a:xfrm>
          <a:custGeom>
            <a:avLst/>
            <a:gdLst>
              <a:gd name="T0" fmla="*/ 1 w 16"/>
              <a:gd name="T1" fmla="*/ 5 h 24"/>
              <a:gd name="T2" fmla="*/ 1 w 16"/>
              <a:gd name="T3" fmla="*/ 5 h 24"/>
              <a:gd name="T4" fmla="*/ 0 w 16"/>
              <a:gd name="T5" fmla="*/ 3 h 24"/>
              <a:gd name="T6" fmla="*/ 0 w 16"/>
              <a:gd name="T7" fmla="*/ 2 h 24"/>
              <a:gd name="T8" fmla="*/ 1 w 16"/>
              <a:gd name="T9" fmla="*/ 1 h 24"/>
              <a:gd name="T10" fmla="*/ 3 w 16"/>
              <a:gd name="T11" fmla="*/ 0 h 24"/>
              <a:gd name="T12" fmla="*/ 4 w 16"/>
              <a:gd name="T13" fmla="*/ 1 h 24"/>
              <a:gd name="T14" fmla="*/ 6 w 16"/>
              <a:gd name="T15" fmla="*/ 2 h 24"/>
              <a:gd name="T16" fmla="*/ 8 w 16"/>
              <a:gd name="T17" fmla="*/ 4 h 24"/>
              <a:gd name="T18" fmla="*/ 9 w 16"/>
              <a:gd name="T19" fmla="*/ 6 h 24"/>
              <a:gd name="T20" fmla="*/ 11 w 16"/>
              <a:gd name="T21" fmla="*/ 12 h 24"/>
              <a:gd name="T22" fmla="*/ 15 w 16"/>
              <a:gd name="T23" fmla="*/ 20 h 24"/>
              <a:gd name="T24" fmla="*/ 16 w 16"/>
              <a:gd name="T25" fmla="*/ 22 h 24"/>
              <a:gd name="T26" fmla="*/ 15 w 16"/>
              <a:gd name="T27" fmla="*/ 23 h 24"/>
              <a:gd name="T28" fmla="*/ 13 w 16"/>
              <a:gd name="T29" fmla="*/ 24 h 24"/>
              <a:gd name="T30" fmla="*/ 10 w 16"/>
              <a:gd name="T31" fmla="*/ 22 h 24"/>
              <a:gd name="T32" fmla="*/ 8 w 16"/>
              <a:gd name="T33" fmla="*/ 16 h 24"/>
              <a:gd name="T34" fmla="*/ 8 w 16"/>
              <a:gd name="T35" fmla="*/ 15 h 24"/>
              <a:gd name="T36" fmla="*/ 8 w 16"/>
              <a:gd name="T37" fmla="*/ 14 h 24"/>
              <a:gd name="T38" fmla="*/ 4 w 16"/>
              <a:gd name="T39" fmla="*/ 13 h 24"/>
              <a:gd name="T40" fmla="*/ 0 w 16"/>
              <a:gd name="T41" fmla="*/ 11 h 24"/>
              <a:gd name="T42" fmla="*/ 0 w 16"/>
              <a:gd name="T43" fmla="*/ 10 h 24"/>
              <a:gd name="T44" fmla="*/ 1 w 16"/>
              <a:gd name="T45" fmla="*/ 10 h 24"/>
              <a:gd name="T46" fmla="*/ 4 w 16"/>
              <a:gd name="T47" fmla="*/ 11 h 24"/>
              <a:gd name="T48" fmla="*/ 4 w 16"/>
              <a:gd name="T49" fmla="*/ 9 h 24"/>
              <a:gd name="T50" fmla="*/ 1 w 16"/>
              <a:gd name="T51" fmla="*/ 9 h 24"/>
              <a:gd name="T52" fmla="*/ 0 w 16"/>
              <a:gd name="T53" fmla="*/ 8 h 24"/>
              <a:gd name="T54" fmla="*/ 0 w 16"/>
              <a:gd name="T55" fmla="*/ 6 h 24"/>
              <a:gd name="T56" fmla="*/ 1 w 16"/>
              <a:gd name="T57" fmla="*/ 5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6" h="24">
                <a:moveTo>
                  <a:pt x="1" y="5"/>
                </a:moveTo>
                <a:lnTo>
                  <a:pt x="1" y="5"/>
                </a:lnTo>
                <a:lnTo>
                  <a:pt x="0" y="3"/>
                </a:lnTo>
                <a:lnTo>
                  <a:pt x="0" y="2"/>
                </a:lnTo>
                <a:lnTo>
                  <a:pt x="1" y="1"/>
                </a:lnTo>
                <a:lnTo>
                  <a:pt x="3" y="0"/>
                </a:lnTo>
                <a:lnTo>
                  <a:pt x="4" y="1"/>
                </a:lnTo>
                <a:lnTo>
                  <a:pt x="6" y="2"/>
                </a:lnTo>
                <a:lnTo>
                  <a:pt x="8" y="4"/>
                </a:lnTo>
                <a:lnTo>
                  <a:pt x="9" y="6"/>
                </a:lnTo>
                <a:lnTo>
                  <a:pt x="11" y="12"/>
                </a:lnTo>
                <a:lnTo>
                  <a:pt x="15" y="20"/>
                </a:lnTo>
                <a:lnTo>
                  <a:pt x="16" y="22"/>
                </a:lnTo>
                <a:lnTo>
                  <a:pt x="15" y="23"/>
                </a:lnTo>
                <a:lnTo>
                  <a:pt x="13" y="24"/>
                </a:lnTo>
                <a:lnTo>
                  <a:pt x="10" y="22"/>
                </a:lnTo>
                <a:lnTo>
                  <a:pt x="8" y="16"/>
                </a:lnTo>
                <a:lnTo>
                  <a:pt x="8" y="15"/>
                </a:lnTo>
                <a:lnTo>
                  <a:pt x="8" y="14"/>
                </a:lnTo>
                <a:lnTo>
                  <a:pt x="4" y="13"/>
                </a:lnTo>
                <a:lnTo>
                  <a:pt x="0" y="11"/>
                </a:lnTo>
                <a:lnTo>
                  <a:pt x="0" y="10"/>
                </a:lnTo>
                <a:lnTo>
                  <a:pt x="1" y="10"/>
                </a:lnTo>
                <a:lnTo>
                  <a:pt x="4" y="11"/>
                </a:lnTo>
                <a:lnTo>
                  <a:pt x="4" y="9"/>
                </a:lnTo>
                <a:lnTo>
                  <a:pt x="1" y="9"/>
                </a:lnTo>
                <a:lnTo>
                  <a:pt x="0" y="8"/>
                </a:lnTo>
                <a:lnTo>
                  <a:pt x="0" y="6"/>
                </a:lnTo>
                <a:lnTo>
                  <a:pt x="1" y="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1" name="Freeform 40"/>
          <p:cNvSpPr>
            <a:spLocks/>
          </p:cNvSpPr>
          <p:nvPr/>
        </p:nvSpPr>
        <p:spPr bwMode="auto">
          <a:xfrm>
            <a:off x="2678113" y="4978366"/>
            <a:ext cx="25400" cy="38100"/>
          </a:xfrm>
          <a:custGeom>
            <a:avLst/>
            <a:gdLst>
              <a:gd name="T0" fmla="*/ 1 w 16"/>
              <a:gd name="T1" fmla="*/ 5 h 24"/>
              <a:gd name="T2" fmla="*/ 1 w 16"/>
              <a:gd name="T3" fmla="*/ 5 h 24"/>
              <a:gd name="T4" fmla="*/ 0 w 16"/>
              <a:gd name="T5" fmla="*/ 3 h 24"/>
              <a:gd name="T6" fmla="*/ 0 w 16"/>
              <a:gd name="T7" fmla="*/ 2 h 24"/>
              <a:gd name="T8" fmla="*/ 1 w 16"/>
              <a:gd name="T9" fmla="*/ 1 h 24"/>
              <a:gd name="T10" fmla="*/ 3 w 16"/>
              <a:gd name="T11" fmla="*/ 0 h 24"/>
              <a:gd name="T12" fmla="*/ 4 w 16"/>
              <a:gd name="T13" fmla="*/ 1 h 24"/>
              <a:gd name="T14" fmla="*/ 6 w 16"/>
              <a:gd name="T15" fmla="*/ 2 h 24"/>
              <a:gd name="T16" fmla="*/ 8 w 16"/>
              <a:gd name="T17" fmla="*/ 4 h 24"/>
              <a:gd name="T18" fmla="*/ 9 w 16"/>
              <a:gd name="T19" fmla="*/ 6 h 24"/>
              <a:gd name="T20" fmla="*/ 11 w 16"/>
              <a:gd name="T21" fmla="*/ 12 h 24"/>
              <a:gd name="T22" fmla="*/ 15 w 16"/>
              <a:gd name="T23" fmla="*/ 20 h 24"/>
              <a:gd name="T24" fmla="*/ 16 w 16"/>
              <a:gd name="T25" fmla="*/ 22 h 24"/>
              <a:gd name="T26" fmla="*/ 15 w 16"/>
              <a:gd name="T27" fmla="*/ 23 h 24"/>
              <a:gd name="T28" fmla="*/ 13 w 16"/>
              <a:gd name="T29" fmla="*/ 24 h 24"/>
              <a:gd name="T30" fmla="*/ 10 w 16"/>
              <a:gd name="T31" fmla="*/ 22 h 24"/>
              <a:gd name="T32" fmla="*/ 8 w 16"/>
              <a:gd name="T33" fmla="*/ 16 h 24"/>
              <a:gd name="T34" fmla="*/ 8 w 16"/>
              <a:gd name="T35" fmla="*/ 15 h 24"/>
              <a:gd name="T36" fmla="*/ 8 w 16"/>
              <a:gd name="T37" fmla="*/ 14 h 24"/>
              <a:gd name="T38" fmla="*/ 4 w 16"/>
              <a:gd name="T39" fmla="*/ 13 h 24"/>
              <a:gd name="T40" fmla="*/ 0 w 16"/>
              <a:gd name="T41" fmla="*/ 11 h 24"/>
              <a:gd name="T42" fmla="*/ 0 w 16"/>
              <a:gd name="T43" fmla="*/ 10 h 24"/>
              <a:gd name="T44" fmla="*/ 1 w 16"/>
              <a:gd name="T45" fmla="*/ 10 h 24"/>
              <a:gd name="T46" fmla="*/ 4 w 16"/>
              <a:gd name="T47" fmla="*/ 11 h 24"/>
              <a:gd name="T48" fmla="*/ 4 w 16"/>
              <a:gd name="T49" fmla="*/ 9 h 24"/>
              <a:gd name="T50" fmla="*/ 1 w 16"/>
              <a:gd name="T51" fmla="*/ 9 h 24"/>
              <a:gd name="T52" fmla="*/ 0 w 16"/>
              <a:gd name="T53" fmla="*/ 8 h 24"/>
              <a:gd name="T54" fmla="*/ 0 w 16"/>
              <a:gd name="T55" fmla="*/ 6 h 24"/>
              <a:gd name="T56" fmla="*/ 1 w 16"/>
              <a:gd name="T57" fmla="*/ 5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6" h="24">
                <a:moveTo>
                  <a:pt x="1" y="5"/>
                </a:moveTo>
                <a:lnTo>
                  <a:pt x="1" y="5"/>
                </a:lnTo>
                <a:lnTo>
                  <a:pt x="0" y="3"/>
                </a:lnTo>
                <a:lnTo>
                  <a:pt x="0" y="2"/>
                </a:lnTo>
                <a:lnTo>
                  <a:pt x="1" y="1"/>
                </a:lnTo>
                <a:lnTo>
                  <a:pt x="3" y="0"/>
                </a:lnTo>
                <a:lnTo>
                  <a:pt x="4" y="1"/>
                </a:lnTo>
                <a:lnTo>
                  <a:pt x="6" y="2"/>
                </a:lnTo>
                <a:lnTo>
                  <a:pt x="8" y="4"/>
                </a:lnTo>
                <a:lnTo>
                  <a:pt x="9" y="6"/>
                </a:lnTo>
                <a:lnTo>
                  <a:pt x="11" y="12"/>
                </a:lnTo>
                <a:lnTo>
                  <a:pt x="15" y="20"/>
                </a:lnTo>
                <a:lnTo>
                  <a:pt x="16" y="22"/>
                </a:lnTo>
                <a:lnTo>
                  <a:pt x="15" y="23"/>
                </a:lnTo>
                <a:lnTo>
                  <a:pt x="13" y="24"/>
                </a:lnTo>
                <a:lnTo>
                  <a:pt x="10" y="22"/>
                </a:lnTo>
                <a:lnTo>
                  <a:pt x="8" y="16"/>
                </a:lnTo>
                <a:lnTo>
                  <a:pt x="8" y="15"/>
                </a:lnTo>
                <a:lnTo>
                  <a:pt x="8" y="14"/>
                </a:lnTo>
                <a:lnTo>
                  <a:pt x="4" y="13"/>
                </a:lnTo>
                <a:lnTo>
                  <a:pt x="0" y="11"/>
                </a:lnTo>
                <a:lnTo>
                  <a:pt x="0" y="10"/>
                </a:lnTo>
                <a:lnTo>
                  <a:pt x="1" y="10"/>
                </a:lnTo>
                <a:lnTo>
                  <a:pt x="4" y="11"/>
                </a:lnTo>
                <a:lnTo>
                  <a:pt x="4" y="9"/>
                </a:lnTo>
                <a:lnTo>
                  <a:pt x="1" y="9"/>
                </a:lnTo>
                <a:lnTo>
                  <a:pt x="0" y="8"/>
                </a:lnTo>
                <a:lnTo>
                  <a:pt x="0" y="6"/>
                </a:lnTo>
                <a:lnTo>
                  <a:pt x="1" y="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2" name="Freeform 41"/>
          <p:cNvSpPr>
            <a:spLocks/>
          </p:cNvSpPr>
          <p:nvPr/>
        </p:nvSpPr>
        <p:spPr bwMode="auto">
          <a:xfrm>
            <a:off x="2674938" y="5003766"/>
            <a:ext cx="11113" cy="7938"/>
          </a:xfrm>
          <a:custGeom>
            <a:avLst/>
            <a:gdLst>
              <a:gd name="T0" fmla="*/ 1 w 7"/>
              <a:gd name="T1" fmla="*/ 2 h 5"/>
              <a:gd name="T2" fmla="*/ 0 w 7"/>
              <a:gd name="T3" fmla="*/ 0 h 5"/>
              <a:gd name="T4" fmla="*/ 1 w 7"/>
              <a:gd name="T5" fmla="*/ 0 h 5"/>
              <a:gd name="T6" fmla="*/ 2 w 7"/>
              <a:gd name="T7" fmla="*/ 0 h 5"/>
              <a:gd name="T8" fmla="*/ 5 w 7"/>
              <a:gd name="T9" fmla="*/ 3 h 5"/>
              <a:gd name="T10" fmla="*/ 7 w 7"/>
              <a:gd name="T11" fmla="*/ 4 h 5"/>
              <a:gd name="T12" fmla="*/ 6 w 7"/>
              <a:gd name="T13" fmla="*/ 5 h 5"/>
              <a:gd name="T14" fmla="*/ 3 w 7"/>
              <a:gd name="T15" fmla="*/ 5 h 5"/>
              <a:gd name="T16" fmla="*/ 1 w 7"/>
              <a:gd name="T17" fmla="*/ 4 h 5"/>
              <a:gd name="T18" fmla="*/ 1 w 7"/>
              <a:gd name="T19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" h="5">
                <a:moveTo>
                  <a:pt x="1" y="2"/>
                </a:moveTo>
                <a:lnTo>
                  <a:pt x="0" y="0"/>
                </a:lnTo>
                <a:lnTo>
                  <a:pt x="1" y="0"/>
                </a:lnTo>
                <a:lnTo>
                  <a:pt x="2" y="0"/>
                </a:lnTo>
                <a:lnTo>
                  <a:pt x="5" y="3"/>
                </a:lnTo>
                <a:lnTo>
                  <a:pt x="7" y="4"/>
                </a:lnTo>
                <a:lnTo>
                  <a:pt x="6" y="5"/>
                </a:lnTo>
                <a:lnTo>
                  <a:pt x="3" y="5"/>
                </a:lnTo>
                <a:lnTo>
                  <a:pt x="1" y="4"/>
                </a:lnTo>
                <a:lnTo>
                  <a:pt x="1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3" name="Freeform 42"/>
          <p:cNvSpPr>
            <a:spLocks/>
          </p:cNvSpPr>
          <p:nvPr/>
        </p:nvSpPr>
        <p:spPr bwMode="auto">
          <a:xfrm>
            <a:off x="2674938" y="5003766"/>
            <a:ext cx="11113" cy="7938"/>
          </a:xfrm>
          <a:custGeom>
            <a:avLst/>
            <a:gdLst>
              <a:gd name="T0" fmla="*/ 1 w 7"/>
              <a:gd name="T1" fmla="*/ 2 h 5"/>
              <a:gd name="T2" fmla="*/ 0 w 7"/>
              <a:gd name="T3" fmla="*/ 0 h 5"/>
              <a:gd name="T4" fmla="*/ 1 w 7"/>
              <a:gd name="T5" fmla="*/ 0 h 5"/>
              <a:gd name="T6" fmla="*/ 2 w 7"/>
              <a:gd name="T7" fmla="*/ 0 h 5"/>
              <a:gd name="T8" fmla="*/ 5 w 7"/>
              <a:gd name="T9" fmla="*/ 3 h 5"/>
              <a:gd name="T10" fmla="*/ 7 w 7"/>
              <a:gd name="T11" fmla="*/ 4 h 5"/>
              <a:gd name="T12" fmla="*/ 6 w 7"/>
              <a:gd name="T13" fmla="*/ 5 h 5"/>
              <a:gd name="T14" fmla="*/ 3 w 7"/>
              <a:gd name="T15" fmla="*/ 5 h 5"/>
              <a:gd name="T16" fmla="*/ 1 w 7"/>
              <a:gd name="T17" fmla="*/ 4 h 5"/>
              <a:gd name="T18" fmla="*/ 1 w 7"/>
              <a:gd name="T19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" h="5">
                <a:moveTo>
                  <a:pt x="1" y="2"/>
                </a:moveTo>
                <a:lnTo>
                  <a:pt x="0" y="0"/>
                </a:lnTo>
                <a:lnTo>
                  <a:pt x="1" y="0"/>
                </a:lnTo>
                <a:lnTo>
                  <a:pt x="2" y="0"/>
                </a:lnTo>
                <a:lnTo>
                  <a:pt x="5" y="3"/>
                </a:lnTo>
                <a:lnTo>
                  <a:pt x="7" y="4"/>
                </a:lnTo>
                <a:lnTo>
                  <a:pt x="6" y="5"/>
                </a:lnTo>
                <a:lnTo>
                  <a:pt x="3" y="5"/>
                </a:lnTo>
                <a:lnTo>
                  <a:pt x="1" y="4"/>
                </a:lnTo>
                <a:lnTo>
                  <a:pt x="1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4" name="Freeform 43"/>
          <p:cNvSpPr>
            <a:spLocks/>
          </p:cNvSpPr>
          <p:nvPr/>
        </p:nvSpPr>
        <p:spPr bwMode="auto">
          <a:xfrm>
            <a:off x="2686051" y="5018053"/>
            <a:ext cx="12700" cy="11113"/>
          </a:xfrm>
          <a:custGeom>
            <a:avLst/>
            <a:gdLst>
              <a:gd name="T0" fmla="*/ 1 w 8"/>
              <a:gd name="T1" fmla="*/ 4 h 7"/>
              <a:gd name="T2" fmla="*/ 0 w 8"/>
              <a:gd name="T3" fmla="*/ 3 h 7"/>
              <a:gd name="T4" fmla="*/ 0 w 8"/>
              <a:gd name="T5" fmla="*/ 1 h 7"/>
              <a:gd name="T6" fmla="*/ 3 w 8"/>
              <a:gd name="T7" fmla="*/ 3 h 7"/>
              <a:gd name="T8" fmla="*/ 4 w 8"/>
              <a:gd name="T9" fmla="*/ 1 h 7"/>
              <a:gd name="T10" fmla="*/ 6 w 8"/>
              <a:gd name="T11" fmla="*/ 0 h 7"/>
              <a:gd name="T12" fmla="*/ 8 w 8"/>
              <a:gd name="T13" fmla="*/ 1 h 7"/>
              <a:gd name="T14" fmla="*/ 6 w 8"/>
              <a:gd name="T15" fmla="*/ 4 h 7"/>
              <a:gd name="T16" fmla="*/ 8 w 8"/>
              <a:gd name="T17" fmla="*/ 7 h 7"/>
              <a:gd name="T18" fmla="*/ 5 w 8"/>
              <a:gd name="T19" fmla="*/ 6 h 7"/>
              <a:gd name="T20" fmla="*/ 3 w 8"/>
              <a:gd name="T21" fmla="*/ 5 h 7"/>
              <a:gd name="T22" fmla="*/ 2 w 8"/>
              <a:gd name="T23" fmla="*/ 5 h 7"/>
              <a:gd name="T24" fmla="*/ 1 w 8"/>
              <a:gd name="T25" fmla="*/ 4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" h="7">
                <a:moveTo>
                  <a:pt x="1" y="4"/>
                </a:moveTo>
                <a:lnTo>
                  <a:pt x="0" y="3"/>
                </a:lnTo>
                <a:lnTo>
                  <a:pt x="0" y="1"/>
                </a:lnTo>
                <a:lnTo>
                  <a:pt x="3" y="3"/>
                </a:lnTo>
                <a:lnTo>
                  <a:pt x="4" y="1"/>
                </a:lnTo>
                <a:lnTo>
                  <a:pt x="6" y="0"/>
                </a:lnTo>
                <a:lnTo>
                  <a:pt x="8" y="1"/>
                </a:lnTo>
                <a:lnTo>
                  <a:pt x="6" y="4"/>
                </a:lnTo>
                <a:lnTo>
                  <a:pt x="8" y="7"/>
                </a:lnTo>
                <a:lnTo>
                  <a:pt x="5" y="6"/>
                </a:lnTo>
                <a:lnTo>
                  <a:pt x="3" y="5"/>
                </a:lnTo>
                <a:lnTo>
                  <a:pt x="2" y="5"/>
                </a:lnTo>
                <a:lnTo>
                  <a:pt x="1" y="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5" name="Freeform 44"/>
          <p:cNvSpPr>
            <a:spLocks/>
          </p:cNvSpPr>
          <p:nvPr/>
        </p:nvSpPr>
        <p:spPr bwMode="auto">
          <a:xfrm>
            <a:off x="2686051" y="5018053"/>
            <a:ext cx="12700" cy="11113"/>
          </a:xfrm>
          <a:custGeom>
            <a:avLst/>
            <a:gdLst>
              <a:gd name="T0" fmla="*/ 1 w 8"/>
              <a:gd name="T1" fmla="*/ 4 h 7"/>
              <a:gd name="T2" fmla="*/ 0 w 8"/>
              <a:gd name="T3" fmla="*/ 3 h 7"/>
              <a:gd name="T4" fmla="*/ 0 w 8"/>
              <a:gd name="T5" fmla="*/ 1 h 7"/>
              <a:gd name="T6" fmla="*/ 3 w 8"/>
              <a:gd name="T7" fmla="*/ 3 h 7"/>
              <a:gd name="T8" fmla="*/ 4 w 8"/>
              <a:gd name="T9" fmla="*/ 1 h 7"/>
              <a:gd name="T10" fmla="*/ 6 w 8"/>
              <a:gd name="T11" fmla="*/ 0 h 7"/>
              <a:gd name="T12" fmla="*/ 8 w 8"/>
              <a:gd name="T13" fmla="*/ 1 h 7"/>
              <a:gd name="T14" fmla="*/ 6 w 8"/>
              <a:gd name="T15" fmla="*/ 4 h 7"/>
              <a:gd name="T16" fmla="*/ 8 w 8"/>
              <a:gd name="T17" fmla="*/ 7 h 7"/>
              <a:gd name="T18" fmla="*/ 5 w 8"/>
              <a:gd name="T19" fmla="*/ 6 h 7"/>
              <a:gd name="T20" fmla="*/ 3 w 8"/>
              <a:gd name="T21" fmla="*/ 5 h 7"/>
              <a:gd name="T22" fmla="*/ 2 w 8"/>
              <a:gd name="T23" fmla="*/ 5 h 7"/>
              <a:gd name="T24" fmla="*/ 1 w 8"/>
              <a:gd name="T25" fmla="*/ 4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" h="7">
                <a:moveTo>
                  <a:pt x="1" y="4"/>
                </a:moveTo>
                <a:lnTo>
                  <a:pt x="0" y="3"/>
                </a:lnTo>
                <a:lnTo>
                  <a:pt x="0" y="1"/>
                </a:lnTo>
                <a:lnTo>
                  <a:pt x="3" y="3"/>
                </a:lnTo>
                <a:lnTo>
                  <a:pt x="4" y="1"/>
                </a:lnTo>
                <a:lnTo>
                  <a:pt x="6" y="0"/>
                </a:lnTo>
                <a:lnTo>
                  <a:pt x="8" y="1"/>
                </a:lnTo>
                <a:lnTo>
                  <a:pt x="6" y="4"/>
                </a:lnTo>
                <a:lnTo>
                  <a:pt x="8" y="7"/>
                </a:lnTo>
                <a:lnTo>
                  <a:pt x="5" y="6"/>
                </a:lnTo>
                <a:lnTo>
                  <a:pt x="3" y="5"/>
                </a:lnTo>
                <a:lnTo>
                  <a:pt x="2" y="5"/>
                </a:lnTo>
                <a:lnTo>
                  <a:pt x="1" y="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6" name="Freeform 45"/>
          <p:cNvSpPr>
            <a:spLocks/>
          </p:cNvSpPr>
          <p:nvPr/>
        </p:nvSpPr>
        <p:spPr bwMode="auto">
          <a:xfrm>
            <a:off x="2703513" y="5025991"/>
            <a:ext cx="15875" cy="12700"/>
          </a:xfrm>
          <a:custGeom>
            <a:avLst/>
            <a:gdLst>
              <a:gd name="T0" fmla="*/ 5 w 10"/>
              <a:gd name="T1" fmla="*/ 5 h 8"/>
              <a:gd name="T2" fmla="*/ 3 w 10"/>
              <a:gd name="T3" fmla="*/ 4 h 8"/>
              <a:gd name="T4" fmla="*/ 3 w 10"/>
              <a:gd name="T5" fmla="*/ 3 h 8"/>
              <a:gd name="T6" fmla="*/ 0 w 10"/>
              <a:gd name="T7" fmla="*/ 1 h 8"/>
              <a:gd name="T8" fmla="*/ 0 w 10"/>
              <a:gd name="T9" fmla="*/ 0 h 8"/>
              <a:gd name="T10" fmla="*/ 1 w 10"/>
              <a:gd name="T11" fmla="*/ 0 h 8"/>
              <a:gd name="T12" fmla="*/ 2 w 10"/>
              <a:gd name="T13" fmla="*/ 1 h 8"/>
              <a:gd name="T14" fmla="*/ 5 w 10"/>
              <a:gd name="T15" fmla="*/ 3 h 8"/>
              <a:gd name="T16" fmla="*/ 8 w 10"/>
              <a:gd name="T17" fmla="*/ 4 h 8"/>
              <a:gd name="T18" fmla="*/ 10 w 10"/>
              <a:gd name="T19" fmla="*/ 8 h 8"/>
              <a:gd name="T20" fmla="*/ 10 w 10"/>
              <a:gd name="T21" fmla="*/ 8 h 8"/>
              <a:gd name="T22" fmla="*/ 5 w 10"/>
              <a:gd name="T23" fmla="*/ 5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" h="8">
                <a:moveTo>
                  <a:pt x="5" y="5"/>
                </a:moveTo>
                <a:lnTo>
                  <a:pt x="3" y="4"/>
                </a:lnTo>
                <a:lnTo>
                  <a:pt x="3" y="3"/>
                </a:ln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lnTo>
                  <a:pt x="2" y="1"/>
                </a:lnTo>
                <a:lnTo>
                  <a:pt x="5" y="3"/>
                </a:lnTo>
                <a:lnTo>
                  <a:pt x="8" y="4"/>
                </a:lnTo>
                <a:lnTo>
                  <a:pt x="10" y="8"/>
                </a:lnTo>
                <a:lnTo>
                  <a:pt x="10" y="8"/>
                </a:lnTo>
                <a:lnTo>
                  <a:pt x="5" y="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7" name="Freeform 46"/>
          <p:cNvSpPr>
            <a:spLocks/>
          </p:cNvSpPr>
          <p:nvPr/>
        </p:nvSpPr>
        <p:spPr bwMode="auto">
          <a:xfrm>
            <a:off x="2703513" y="5025991"/>
            <a:ext cx="15875" cy="12700"/>
          </a:xfrm>
          <a:custGeom>
            <a:avLst/>
            <a:gdLst>
              <a:gd name="T0" fmla="*/ 5 w 10"/>
              <a:gd name="T1" fmla="*/ 5 h 8"/>
              <a:gd name="T2" fmla="*/ 3 w 10"/>
              <a:gd name="T3" fmla="*/ 4 h 8"/>
              <a:gd name="T4" fmla="*/ 3 w 10"/>
              <a:gd name="T5" fmla="*/ 3 h 8"/>
              <a:gd name="T6" fmla="*/ 0 w 10"/>
              <a:gd name="T7" fmla="*/ 1 h 8"/>
              <a:gd name="T8" fmla="*/ 0 w 10"/>
              <a:gd name="T9" fmla="*/ 0 h 8"/>
              <a:gd name="T10" fmla="*/ 1 w 10"/>
              <a:gd name="T11" fmla="*/ 0 h 8"/>
              <a:gd name="T12" fmla="*/ 2 w 10"/>
              <a:gd name="T13" fmla="*/ 1 h 8"/>
              <a:gd name="T14" fmla="*/ 5 w 10"/>
              <a:gd name="T15" fmla="*/ 3 h 8"/>
              <a:gd name="T16" fmla="*/ 8 w 10"/>
              <a:gd name="T17" fmla="*/ 4 h 8"/>
              <a:gd name="T18" fmla="*/ 10 w 10"/>
              <a:gd name="T19" fmla="*/ 8 h 8"/>
              <a:gd name="T20" fmla="*/ 10 w 10"/>
              <a:gd name="T21" fmla="*/ 8 h 8"/>
              <a:gd name="T22" fmla="*/ 5 w 10"/>
              <a:gd name="T23" fmla="*/ 5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" h="8">
                <a:moveTo>
                  <a:pt x="5" y="5"/>
                </a:moveTo>
                <a:lnTo>
                  <a:pt x="3" y="4"/>
                </a:lnTo>
                <a:lnTo>
                  <a:pt x="3" y="3"/>
                </a:ln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lnTo>
                  <a:pt x="2" y="1"/>
                </a:lnTo>
                <a:lnTo>
                  <a:pt x="5" y="3"/>
                </a:lnTo>
                <a:lnTo>
                  <a:pt x="8" y="4"/>
                </a:lnTo>
                <a:lnTo>
                  <a:pt x="10" y="8"/>
                </a:lnTo>
                <a:lnTo>
                  <a:pt x="10" y="8"/>
                </a:lnTo>
                <a:lnTo>
                  <a:pt x="5" y="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8" name="Freeform 47"/>
          <p:cNvSpPr>
            <a:spLocks/>
          </p:cNvSpPr>
          <p:nvPr/>
        </p:nvSpPr>
        <p:spPr bwMode="auto">
          <a:xfrm>
            <a:off x="2703513" y="5032341"/>
            <a:ext cx="14288" cy="15875"/>
          </a:xfrm>
          <a:custGeom>
            <a:avLst/>
            <a:gdLst>
              <a:gd name="T0" fmla="*/ 8 w 9"/>
              <a:gd name="T1" fmla="*/ 6 h 10"/>
              <a:gd name="T2" fmla="*/ 8 w 9"/>
              <a:gd name="T3" fmla="*/ 8 h 10"/>
              <a:gd name="T4" fmla="*/ 9 w 9"/>
              <a:gd name="T5" fmla="*/ 10 h 10"/>
              <a:gd name="T6" fmla="*/ 7 w 9"/>
              <a:gd name="T7" fmla="*/ 9 h 10"/>
              <a:gd name="T8" fmla="*/ 2 w 9"/>
              <a:gd name="T9" fmla="*/ 5 h 10"/>
              <a:gd name="T10" fmla="*/ 0 w 9"/>
              <a:gd name="T11" fmla="*/ 0 h 10"/>
              <a:gd name="T12" fmla="*/ 0 w 9"/>
              <a:gd name="T13" fmla="*/ 1 h 10"/>
              <a:gd name="T14" fmla="*/ 5 w 9"/>
              <a:gd name="T15" fmla="*/ 2 h 10"/>
              <a:gd name="T16" fmla="*/ 8 w 9"/>
              <a:gd name="T17" fmla="*/ 6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" h="10">
                <a:moveTo>
                  <a:pt x="8" y="6"/>
                </a:moveTo>
                <a:lnTo>
                  <a:pt x="8" y="8"/>
                </a:lnTo>
                <a:lnTo>
                  <a:pt x="9" y="10"/>
                </a:lnTo>
                <a:lnTo>
                  <a:pt x="7" y="9"/>
                </a:lnTo>
                <a:lnTo>
                  <a:pt x="2" y="5"/>
                </a:lnTo>
                <a:lnTo>
                  <a:pt x="0" y="0"/>
                </a:lnTo>
                <a:lnTo>
                  <a:pt x="0" y="1"/>
                </a:lnTo>
                <a:lnTo>
                  <a:pt x="5" y="2"/>
                </a:lnTo>
                <a:lnTo>
                  <a:pt x="8" y="6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9" name="Freeform 48"/>
          <p:cNvSpPr>
            <a:spLocks/>
          </p:cNvSpPr>
          <p:nvPr/>
        </p:nvSpPr>
        <p:spPr bwMode="auto">
          <a:xfrm>
            <a:off x="2703513" y="5032341"/>
            <a:ext cx="14288" cy="15875"/>
          </a:xfrm>
          <a:custGeom>
            <a:avLst/>
            <a:gdLst>
              <a:gd name="T0" fmla="*/ 8 w 9"/>
              <a:gd name="T1" fmla="*/ 6 h 10"/>
              <a:gd name="T2" fmla="*/ 8 w 9"/>
              <a:gd name="T3" fmla="*/ 8 h 10"/>
              <a:gd name="T4" fmla="*/ 9 w 9"/>
              <a:gd name="T5" fmla="*/ 10 h 10"/>
              <a:gd name="T6" fmla="*/ 7 w 9"/>
              <a:gd name="T7" fmla="*/ 9 h 10"/>
              <a:gd name="T8" fmla="*/ 2 w 9"/>
              <a:gd name="T9" fmla="*/ 5 h 10"/>
              <a:gd name="T10" fmla="*/ 0 w 9"/>
              <a:gd name="T11" fmla="*/ 0 h 10"/>
              <a:gd name="T12" fmla="*/ 0 w 9"/>
              <a:gd name="T13" fmla="*/ 1 h 10"/>
              <a:gd name="T14" fmla="*/ 5 w 9"/>
              <a:gd name="T15" fmla="*/ 2 h 10"/>
              <a:gd name="T16" fmla="*/ 8 w 9"/>
              <a:gd name="T17" fmla="*/ 6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9" h="10">
                <a:moveTo>
                  <a:pt x="8" y="6"/>
                </a:moveTo>
                <a:lnTo>
                  <a:pt x="8" y="8"/>
                </a:lnTo>
                <a:lnTo>
                  <a:pt x="9" y="10"/>
                </a:lnTo>
                <a:lnTo>
                  <a:pt x="7" y="9"/>
                </a:lnTo>
                <a:lnTo>
                  <a:pt x="2" y="5"/>
                </a:lnTo>
                <a:lnTo>
                  <a:pt x="0" y="0"/>
                </a:lnTo>
                <a:lnTo>
                  <a:pt x="0" y="1"/>
                </a:lnTo>
                <a:lnTo>
                  <a:pt x="5" y="2"/>
                </a:lnTo>
                <a:lnTo>
                  <a:pt x="8" y="6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0" name="Freeform 49"/>
          <p:cNvSpPr>
            <a:spLocks/>
          </p:cNvSpPr>
          <p:nvPr/>
        </p:nvSpPr>
        <p:spPr bwMode="auto">
          <a:xfrm>
            <a:off x="2709863" y="5048216"/>
            <a:ext cx="7938" cy="7938"/>
          </a:xfrm>
          <a:custGeom>
            <a:avLst/>
            <a:gdLst>
              <a:gd name="T0" fmla="*/ 1 w 5"/>
              <a:gd name="T1" fmla="*/ 4 h 5"/>
              <a:gd name="T2" fmla="*/ 0 w 5"/>
              <a:gd name="T3" fmla="*/ 2 h 5"/>
              <a:gd name="T4" fmla="*/ 1 w 5"/>
              <a:gd name="T5" fmla="*/ 0 h 5"/>
              <a:gd name="T6" fmla="*/ 3 w 5"/>
              <a:gd name="T7" fmla="*/ 0 h 5"/>
              <a:gd name="T8" fmla="*/ 5 w 5"/>
              <a:gd name="T9" fmla="*/ 4 h 5"/>
              <a:gd name="T10" fmla="*/ 3 w 5"/>
              <a:gd name="T11" fmla="*/ 5 h 5"/>
              <a:gd name="T12" fmla="*/ 1 w 5"/>
              <a:gd name="T13" fmla="*/ 4 h 5"/>
              <a:gd name="T14" fmla="*/ 1 w 5"/>
              <a:gd name="T15" fmla="*/ 4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5">
                <a:moveTo>
                  <a:pt x="1" y="4"/>
                </a:moveTo>
                <a:lnTo>
                  <a:pt x="0" y="2"/>
                </a:lnTo>
                <a:lnTo>
                  <a:pt x="1" y="0"/>
                </a:lnTo>
                <a:lnTo>
                  <a:pt x="3" y="0"/>
                </a:lnTo>
                <a:lnTo>
                  <a:pt x="5" y="4"/>
                </a:lnTo>
                <a:lnTo>
                  <a:pt x="3" y="5"/>
                </a:lnTo>
                <a:lnTo>
                  <a:pt x="1" y="4"/>
                </a:lnTo>
                <a:lnTo>
                  <a:pt x="1" y="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1" name="Freeform 50"/>
          <p:cNvSpPr>
            <a:spLocks/>
          </p:cNvSpPr>
          <p:nvPr/>
        </p:nvSpPr>
        <p:spPr bwMode="auto">
          <a:xfrm>
            <a:off x="2709863" y="5048216"/>
            <a:ext cx="7938" cy="7938"/>
          </a:xfrm>
          <a:custGeom>
            <a:avLst/>
            <a:gdLst>
              <a:gd name="T0" fmla="*/ 1 w 5"/>
              <a:gd name="T1" fmla="*/ 4 h 5"/>
              <a:gd name="T2" fmla="*/ 0 w 5"/>
              <a:gd name="T3" fmla="*/ 2 h 5"/>
              <a:gd name="T4" fmla="*/ 1 w 5"/>
              <a:gd name="T5" fmla="*/ 0 h 5"/>
              <a:gd name="T6" fmla="*/ 3 w 5"/>
              <a:gd name="T7" fmla="*/ 0 h 5"/>
              <a:gd name="T8" fmla="*/ 5 w 5"/>
              <a:gd name="T9" fmla="*/ 4 h 5"/>
              <a:gd name="T10" fmla="*/ 3 w 5"/>
              <a:gd name="T11" fmla="*/ 5 h 5"/>
              <a:gd name="T12" fmla="*/ 1 w 5"/>
              <a:gd name="T13" fmla="*/ 4 h 5"/>
              <a:gd name="T14" fmla="*/ 1 w 5"/>
              <a:gd name="T15" fmla="*/ 4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5">
                <a:moveTo>
                  <a:pt x="1" y="4"/>
                </a:moveTo>
                <a:lnTo>
                  <a:pt x="0" y="2"/>
                </a:lnTo>
                <a:lnTo>
                  <a:pt x="1" y="0"/>
                </a:lnTo>
                <a:lnTo>
                  <a:pt x="3" y="0"/>
                </a:lnTo>
                <a:lnTo>
                  <a:pt x="5" y="4"/>
                </a:lnTo>
                <a:lnTo>
                  <a:pt x="3" y="5"/>
                </a:lnTo>
                <a:lnTo>
                  <a:pt x="1" y="4"/>
                </a:lnTo>
                <a:lnTo>
                  <a:pt x="1" y="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2" name="Freeform 51"/>
          <p:cNvSpPr>
            <a:spLocks/>
          </p:cNvSpPr>
          <p:nvPr/>
        </p:nvSpPr>
        <p:spPr bwMode="auto">
          <a:xfrm>
            <a:off x="2716213" y="5062503"/>
            <a:ext cx="4763" cy="12700"/>
          </a:xfrm>
          <a:custGeom>
            <a:avLst/>
            <a:gdLst>
              <a:gd name="T0" fmla="*/ 3 w 3"/>
              <a:gd name="T1" fmla="*/ 8 h 8"/>
              <a:gd name="T2" fmla="*/ 1 w 3"/>
              <a:gd name="T3" fmla="*/ 8 h 8"/>
              <a:gd name="T4" fmla="*/ 0 w 3"/>
              <a:gd name="T5" fmla="*/ 5 h 8"/>
              <a:gd name="T6" fmla="*/ 0 w 3"/>
              <a:gd name="T7" fmla="*/ 2 h 8"/>
              <a:gd name="T8" fmla="*/ 0 w 3"/>
              <a:gd name="T9" fmla="*/ 1 h 8"/>
              <a:gd name="T10" fmla="*/ 0 w 3"/>
              <a:gd name="T11" fmla="*/ 0 h 8"/>
              <a:gd name="T12" fmla="*/ 1 w 3"/>
              <a:gd name="T13" fmla="*/ 0 h 8"/>
              <a:gd name="T14" fmla="*/ 2 w 3"/>
              <a:gd name="T15" fmla="*/ 3 h 8"/>
              <a:gd name="T16" fmla="*/ 3 w 3"/>
              <a:gd name="T17" fmla="*/ 8 h 8"/>
              <a:gd name="T18" fmla="*/ 3 w 3"/>
              <a:gd name="T19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" h="8">
                <a:moveTo>
                  <a:pt x="3" y="8"/>
                </a:moveTo>
                <a:lnTo>
                  <a:pt x="1" y="8"/>
                </a:lnTo>
                <a:lnTo>
                  <a:pt x="0" y="5"/>
                </a:lnTo>
                <a:lnTo>
                  <a:pt x="0" y="2"/>
                </a:ln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lnTo>
                  <a:pt x="2" y="3"/>
                </a:lnTo>
                <a:lnTo>
                  <a:pt x="3" y="8"/>
                </a:lnTo>
                <a:lnTo>
                  <a:pt x="3" y="8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3" name="Freeform 52"/>
          <p:cNvSpPr>
            <a:spLocks/>
          </p:cNvSpPr>
          <p:nvPr/>
        </p:nvSpPr>
        <p:spPr bwMode="auto">
          <a:xfrm>
            <a:off x="2716213" y="5062503"/>
            <a:ext cx="4763" cy="12700"/>
          </a:xfrm>
          <a:custGeom>
            <a:avLst/>
            <a:gdLst>
              <a:gd name="T0" fmla="*/ 3 w 3"/>
              <a:gd name="T1" fmla="*/ 8 h 8"/>
              <a:gd name="T2" fmla="*/ 1 w 3"/>
              <a:gd name="T3" fmla="*/ 8 h 8"/>
              <a:gd name="T4" fmla="*/ 0 w 3"/>
              <a:gd name="T5" fmla="*/ 5 h 8"/>
              <a:gd name="T6" fmla="*/ 0 w 3"/>
              <a:gd name="T7" fmla="*/ 2 h 8"/>
              <a:gd name="T8" fmla="*/ 0 w 3"/>
              <a:gd name="T9" fmla="*/ 1 h 8"/>
              <a:gd name="T10" fmla="*/ 0 w 3"/>
              <a:gd name="T11" fmla="*/ 0 h 8"/>
              <a:gd name="T12" fmla="*/ 1 w 3"/>
              <a:gd name="T13" fmla="*/ 0 h 8"/>
              <a:gd name="T14" fmla="*/ 2 w 3"/>
              <a:gd name="T15" fmla="*/ 3 h 8"/>
              <a:gd name="T16" fmla="*/ 3 w 3"/>
              <a:gd name="T17" fmla="*/ 8 h 8"/>
              <a:gd name="T18" fmla="*/ 3 w 3"/>
              <a:gd name="T19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" h="8">
                <a:moveTo>
                  <a:pt x="3" y="8"/>
                </a:moveTo>
                <a:lnTo>
                  <a:pt x="1" y="8"/>
                </a:lnTo>
                <a:lnTo>
                  <a:pt x="0" y="5"/>
                </a:lnTo>
                <a:lnTo>
                  <a:pt x="0" y="2"/>
                </a:ln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lnTo>
                  <a:pt x="2" y="3"/>
                </a:lnTo>
                <a:lnTo>
                  <a:pt x="3" y="8"/>
                </a:lnTo>
                <a:lnTo>
                  <a:pt x="3" y="8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4" name="Freeform 53"/>
          <p:cNvSpPr>
            <a:spLocks/>
          </p:cNvSpPr>
          <p:nvPr/>
        </p:nvSpPr>
        <p:spPr bwMode="auto">
          <a:xfrm>
            <a:off x="2730501" y="5059328"/>
            <a:ext cx="7938" cy="7938"/>
          </a:xfrm>
          <a:custGeom>
            <a:avLst/>
            <a:gdLst>
              <a:gd name="T0" fmla="*/ 2 w 5"/>
              <a:gd name="T1" fmla="*/ 1 h 5"/>
              <a:gd name="T2" fmla="*/ 5 w 5"/>
              <a:gd name="T3" fmla="*/ 5 h 5"/>
              <a:gd name="T4" fmla="*/ 4 w 5"/>
              <a:gd name="T5" fmla="*/ 4 h 5"/>
              <a:gd name="T6" fmla="*/ 2 w 5"/>
              <a:gd name="T7" fmla="*/ 3 h 5"/>
              <a:gd name="T8" fmla="*/ 0 w 5"/>
              <a:gd name="T9" fmla="*/ 2 h 5"/>
              <a:gd name="T10" fmla="*/ 0 w 5"/>
              <a:gd name="T11" fmla="*/ 0 h 5"/>
              <a:gd name="T12" fmla="*/ 0 w 5"/>
              <a:gd name="T13" fmla="*/ 0 h 5"/>
              <a:gd name="T14" fmla="*/ 2 w 5"/>
              <a:gd name="T15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5">
                <a:moveTo>
                  <a:pt x="2" y="1"/>
                </a:moveTo>
                <a:lnTo>
                  <a:pt x="5" y="5"/>
                </a:lnTo>
                <a:lnTo>
                  <a:pt x="4" y="4"/>
                </a:lnTo>
                <a:lnTo>
                  <a:pt x="2" y="3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2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5" name="Freeform 54"/>
          <p:cNvSpPr>
            <a:spLocks/>
          </p:cNvSpPr>
          <p:nvPr/>
        </p:nvSpPr>
        <p:spPr bwMode="auto">
          <a:xfrm>
            <a:off x="2730501" y="5059328"/>
            <a:ext cx="7938" cy="7938"/>
          </a:xfrm>
          <a:custGeom>
            <a:avLst/>
            <a:gdLst>
              <a:gd name="T0" fmla="*/ 2 w 5"/>
              <a:gd name="T1" fmla="*/ 1 h 5"/>
              <a:gd name="T2" fmla="*/ 5 w 5"/>
              <a:gd name="T3" fmla="*/ 5 h 5"/>
              <a:gd name="T4" fmla="*/ 4 w 5"/>
              <a:gd name="T5" fmla="*/ 4 h 5"/>
              <a:gd name="T6" fmla="*/ 2 w 5"/>
              <a:gd name="T7" fmla="*/ 3 h 5"/>
              <a:gd name="T8" fmla="*/ 0 w 5"/>
              <a:gd name="T9" fmla="*/ 2 h 5"/>
              <a:gd name="T10" fmla="*/ 0 w 5"/>
              <a:gd name="T11" fmla="*/ 0 h 5"/>
              <a:gd name="T12" fmla="*/ 0 w 5"/>
              <a:gd name="T13" fmla="*/ 0 h 5"/>
              <a:gd name="T14" fmla="*/ 2 w 5"/>
              <a:gd name="T15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5">
                <a:moveTo>
                  <a:pt x="2" y="1"/>
                </a:moveTo>
                <a:lnTo>
                  <a:pt x="5" y="5"/>
                </a:lnTo>
                <a:lnTo>
                  <a:pt x="4" y="4"/>
                </a:lnTo>
                <a:lnTo>
                  <a:pt x="2" y="3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2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6" name="Freeform 55"/>
          <p:cNvSpPr>
            <a:spLocks/>
          </p:cNvSpPr>
          <p:nvPr/>
        </p:nvSpPr>
        <p:spPr bwMode="auto">
          <a:xfrm>
            <a:off x="2733676" y="5054566"/>
            <a:ext cx="7938" cy="7938"/>
          </a:xfrm>
          <a:custGeom>
            <a:avLst/>
            <a:gdLst>
              <a:gd name="T0" fmla="*/ 3 w 5"/>
              <a:gd name="T1" fmla="*/ 2 h 5"/>
              <a:gd name="T2" fmla="*/ 4 w 5"/>
              <a:gd name="T3" fmla="*/ 3 h 5"/>
              <a:gd name="T4" fmla="*/ 5 w 5"/>
              <a:gd name="T5" fmla="*/ 5 h 5"/>
              <a:gd name="T6" fmla="*/ 2 w 5"/>
              <a:gd name="T7" fmla="*/ 3 h 5"/>
              <a:gd name="T8" fmla="*/ 0 w 5"/>
              <a:gd name="T9" fmla="*/ 1 h 5"/>
              <a:gd name="T10" fmla="*/ 0 w 5"/>
              <a:gd name="T11" fmla="*/ 0 h 5"/>
              <a:gd name="T12" fmla="*/ 1 w 5"/>
              <a:gd name="T13" fmla="*/ 2 h 5"/>
              <a:gd name="T14" fmla="*/ 3 w 5"/>
              <a:gd name="T15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5">
                <a:moveTo>
                  <a:pt x="3" y="2"/>
                </a:moveTo>
                <a:lnTo>
                  <a:pt x="4" y="3"/>
                </a:lnTo>
                <a:lnTo>
                  <a:pt x="5" y="5"/>
                </a:lnTo>
                <a:lnTo>
                  <a:pt x="2" y="3"/>
                </a:lnTo>
                <a:lnTo>
                  <a:pt x="0" y="1"/>
                </a:lnTo>
                <a:lnTo>
                  <a:pt x="0" y="0"/>
                </a:lnTo>
                <a:lnTo>
                  <a:pt x="1" y="2"/>
                </a:lnTo>
                <a:lnTo>
                  <a:pt x="3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7" name="Freeform 56"/>
          <p:cNvSpPr>
            <a:spLocks/>
          </p:cNvSpPr>
          <p:nvPr/>
        </p:nvSpPr>
        <p:spPr bwMode="auto">
          <a:xfrm>
            <a:off x="2733676" y="5054566"/>
            <a:ext cx="7938" cy="7938"/>
          </a:xfrm>
          <a:custGeom>
            <a:avLst/>
            <a:gdLst>
              <a:gd name="T0" fmla="*/ 3 w 5"/>
              <a:gd name="T1" fmla="*/ 2 h 5"/>
              <a:gd name="T2" fmla="*/ 4 w 5"/>
              <a:gd name="T3" fmla="*/ 3 h 5"/>
              <a:gd name="T4" fmla="*/ 5 w 5"/>
              <a:gd name="T5" fmla="*/ 5 h 5"/>
              <a:gd name="T6" fmla="*/ 2 w 5"/>
              <a:gd name="T7" fmla="*/ 3 h 5"/>
              <a:gd name="T8" fmla="*/ 0 w 5"/>
              <a:gd name="T9" fmla="*/ 1 h 5"/>
              <a:gd name="T10" fmla="*/ 0 w 5"/>
              <a:gd name="T11" fmla="*/ 0 h 5"/>
              <a:gd name="T12" fmla="*/ 1 w 5"/>
              <a:gd name="T13" fmla="*/ 2 h 5"/>
              <a:gd name="T14" fmla="*/ 3 w 5"/>
              <a:gd name="T15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5">
                <a:moveTo>
                  <a:pt x="3" y="2"/>
                </a:moveTo>
                <a:lnTo>
                  <a:pt x="4" y="3"/>
                </a:lnTo>
                <a:lnTo>
                  <a:pt x="5" y="5"/>
                </a:lnTo>
                <a:lnTo>
                  <a:pt x="2" y="3"/>
                </a:lnTo>
                <a:lnTo>
                  <a:pt x="0" y="1"/>
                </a:lnTo>
                <a:lnTo>
                  <a:pt x="0" y="0"/>
                </a:lnTo>
                <a:lnTo>
                  <a:pt x="1" y="2"/>
                </a:lnTo>
                <a:lnTo>
                  <a:pt x="3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8" name="Freeform 57"/>
          <p:cNvSpPr>
            <a:spLocks/>
          </p:cNvSpPr>
          <p:nvPr/>
        </p:nvSpPr>
        <p:spPr bwMode="auto">
          <a:xfrm>
            <a:off x="2751138" y="5072028"/>
            <a:ext cx="52388" cy="39688"/>
          </a:xfrm>
          <a:custGeom>
            <a:avLst/>
            <a:gdLst>
              <a:gd name="T0" fmla="*/ 0 w 33"/>
              <a:gd name="T1" fmla="*/ 3 h 25"/>
              <a:gd name="T2" fmla="*/ 0 w 33"/>
              <a:gd name="T3" fmla="*/ 2 h 25"/>
              <a:gd name="T4" fmla="*/ 3 w 33"/>
              <a:gd name="T5" fmla="*/ 3 h 25"/>
              <a:gd name="T6" fmla="*/ 5 w 33"/>
              <a:gd name="T7" fmla="*/ 2 h 25"/>
              <a:gd name="T8" fmla="*/ 8 w 33"/>
              <a:gd name="T9" fmla="*/ 4 h 25"/>
              <a:gd name="T10" fmla="*/ 10 w 33"/>
              <a:gd name="T11" fmla="*/ 4 h 25"/>
              <a:gd name="T12" fmla="*/ 8 w 33"/>
              <a:gd name="T13" fmla="*/ 1 h 25"/>
              <a:gd name="T14" fmla="*/ 9 w 33"/>
              <a:gd name="T15" fmla="*/ 0 h 25"/>
              <a:gd name="T16" fmla="*/ 12 w 33"/>
              <a:gd name="T17" fmla="*/ 2 h 25"/>
              <a:gd name="T18" fmla="*/ 12 w 33"/>
              <a:gd name="T19" fmla="*/ 7 h 25"/>
              <a:gd name="T20" fmla="*/ 14 w 33"/>
              <a:gd name="T21" fmla="*/ 11 h 25"/>
              <a:gd name="T22" fmla="*/ 16 w 33"/>
              <a:gd name="T23" fmla="*/ 13 h 25"/>
              <a:gd name="T24" fmla="*/ 22 w 33"/>
              <a:gd name="T25" fmla="*/ 12 h 25"/>
              <a:gd name="T26" fmla="*/ 28 w 33"/>
              <a:gd name="T27" fmla="*/ 12 h 25"/>
              <a:gd name="T28" fmla="*/ 32 w 33"/>
              <a:gd name="T29" fmla="*/ 13 h 25"/>
              <a:gd name="T30" fmla="*/ 29 w 33"/>
              <a:gd name="T31" fmla="*/ 19 h 25"/>
              <a:gd name="T32" fmla="*/ 25 w 33"/>
              <a:gd name="T33" fmla="*/ 19 h 25"/>
              <a:gd name="T34" fmla="*/ 24 w 33"/>
              <a:gd name="T35" fmla="*/ 20 h 25"/>
              <a:gd name="T36" fmla="*/ 23 w 33"/>
              <a:gd name="T37" fmla="*/ 20 h 25"/>
              <a:gd name="T38" fmla="*/ 23 w 33"/>
              <a:gd name="T39" fmla="*/ 22 h 25"/>
              <a:gd name="T40" fmla="*/ 23 w 33"/>
              <a:gd name="T41" fmla="*/ 24 h 25"/>
              <a:gd name="T42" fmla="*/ 22 w 33"/>
              <a:gd name="T43" fmla="*/ 25 h 25"/>
              <a:gd name="T44" fmla="*/ 13 w 33"/>
              <a:gd name="T45" fmla="*/ 20 h 25"/>
              <a:gd name="T46" fmla="*/ 18 w 33"/>
              <a:gd name="T47" fmla="*/ 21 h 25"/>
              <a:gd name="T48" fmla="*/ 18 w 33"/>
              <a:gd name="T49" fmla="*/ 19 h 25"/>
              <a:gd name="T50" fmla="*/ 14 w 33"/>
              <a:gd name="T51" fmla="*/ 15 h 25"/>
              <a:gd name="T52" fmla="*/ 13 w 33"/>
              <a:gd name="T53" fmla="*/ 17 h 25"/>
              <a:gd name="T54" fmla="*/ 10 w 33"/>
              <a:gd name="T55" fmla="*/ 16 h 25"/>
              <a:gd name="T56" fmla="*/ 6 w 33"/>
              <a:gd name="T57" fmla="*/ 14 h 25"/>
              <a:gd name="T58" fmla="*/ 5 w 33"/>
              <a:gd name="T59" fmla="*/ 12 h 25"/>
              <a:gd name="T60" fmla="*/ 3 w 33"/>
              <a:gd name="T61" fmla="*/ 12 h 25"/>
              <a:gd name="T62" fmla="*/ 2 w 33"/>
              <a:gd name="T63" fmla="*/ 10 h 25"/>
              <a:gd name="T64" fmla="*/ 0 w 33"/>
              <a:gd name="T65" fmla="*/ 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3" h="25">
                <a:moveTo>
                  <a:pt x="0" y="3"/>
                </a:moveTo>
                <a:lnTo>
                  <a:pt x="0" y="3"/>
                </a:lnTo>
                <a:lnTo>
                  <a:pt x="0" y="2"/>
                </a:lnTo>
                <a:lnTo>
                  <a:pt x="0" y="2"/>
                </a:lnTo>
                <a:lnTo>
                  <a:pt x="2" y="3"/>
                </a:lnTo>
                <a:lnTo>
                  <a:pt x="3" y="3"/>
                </a:lnTo>
                <a:lnTo>
                  <a:pt x="4" y="2"/>
                </a:lnTo>
                <a:lnTo>
                  <a:pt x="5" y="2"/>
                </a:lnTo>
                <a:lnTo>
                  <a:pt x="6" y="2"/>
                </a:lnTo>
                <a:lnTo>
                  <a:pt x="8" y="4"/>
                </a:lnTo>
                <a:lnTo>
                  <a:pt x="9" y="5"/>
                </a:lnTo>
                <a:lnTo>
                  <a:pt x="10" y="4"/>
                </a:lnTo>
                <a:lnTo>
                  <a:pt x="9" y="2"/>
                </a:lnTo>
                <a:lnTo>
                  <a:pt x="8" y="1"/>
                </a:lnTo>
                <a:lnTo>
                  <a:pt x="8" y="0"/>
                </a:lnTo>
                <a:lnTo>
                  <a:pt x="9" y="0"/>
                </a:lnTo>
                <a:lnTo>
                  <a:pt x="10" y="1"/>
                </a:lnTo>
                <a:lnTo>
                  <a:pt x="12" y="2"/>
                </a:lnTo>
                <a:lnTo>
                  <a:pt x="13" y="5"/>
                </a:lnTo>
                <a:lnTo>
                  <a:pt x="12" y="7"/>
                </a:lnTo>
                <a:lnTo>
                  <a:pt x="11" y="11"/>
                </a:lnTo>
                <a:lnTo>
                  <a:pt x="14" y="11"/>
                </a:lnTo>
                <a:lnTo>
                  <a:pt x="15" y="12"/>
                </a:lnTo>
                <a:lnTo>
                  <a:pt x="16" y="13"/>
                </a:lnTo>
                <a:lnTo>
                  <a:pt x="20" y="15"/>
                </a:lnTo>
                <a:lnTo>
                  <a:pt x="22" y="12"/>
                </a:lnTo>
                <a:lnTo>
                  <a:pt x="24" y="11"/>
                </a:lnTo>
                <a:lnTo>
                  <a:pt x="28" y="12"/>
                </a:lnTo>
                <a:lnTo>
                  <a:pt x="31" y="12"/>
                </a:lnTo>
                <a:lnTo>
                  <a:pt x="32" y="13"/>
                </a:lnTo>
                <a:lnTo>
                  <a:pt x="33" y="14"/>
                </a:lnTo>
                <a:lnTo>
                  <a:pt x="29" y="19"/>
                </a:lnTo>
                <a:lnTo>
                  <a:pt x="28" y="19"/>
                </a:lnTo>
                <a:lnTo>
                  <a:pt x="25" y="19"/>
                </a:lnTo>
                <a:lnTo>
                  <a:pt x="24" y="19"/>
                </a:lnTo>
                <a:lnTo>
                  <a:pt x="24" y="20"/>
                </a:lnTo>
                <a:lnTo>
                  <a:pt x="24" y="21"/>
                </a:lnTo>
                <a:lnTo>
                  <a:pt x="23" y="20"/>
                </a:lnTo>
                <a:lnTo>
                  <a:pt x="22" y="21"/>
                </a:lnTo>
                <a:lnTo>
                  <a:pt x="23" y="22"/>
                </a:lnTo>
                <a:lnTo>
                  <a:pt x="22" y="23"/>
                </a:lnTo>
                <a:lnTo>
                  <a:pt x="23" y="24"/>
                </a:lnTo>
                <a:lnTo>
                  <a:pt x="24" y="25"/>
                </a:lnTo>
                <a:lnTo>
                  <a:pt x="22" y="25"/>
                </a:lnTo>
                <a:lnTo>
                  <a:pt x="13" y="21"/>
                </a:lnTo>
                <a:lnTo>
                  <a:pt x="13" y="20"/>
                </a:lnTo>
                <a:lnTo>
                  <a:pt x="14" y="20"/>
                </a:lnTo>
                <a:lnTo>
                  <a:pt x="18" y="21"/>
                </a:lnTo>
                <a:lnTo>
                  <a:pt x="19" y="20"/>
                </a:lnTo>
                <a:lnTo>
                  <a:pt x="18" y="19"/>
                </a:lnTo>
                <a:lnTo>
                  <a:pt x="16" y="17"/>
                </a:lnTo>
                <a:lnTo>
                  <a:pt x="14" y="15"/>
                </a:lnTo>
                <a:lnTo>
                  <a:pt x="14" y="16"/>
                </a:lnTo>
                <a:lnTo>
                  <a:pt x="13" y="17"/>
                </a:lnTo>
                <a:lnTo>
                  <a:pt x="10" y="17"/>
                </a:lnTo>
                <a:lnTo>
                  <a:pt x="10" y="16"/>
                </a:lnTo>
                <a:lnTo>
                  <a:pt x="9" y="15"/>
                </a:lnTo>
                <a:lnTo>
                  <a:pt x="6" y="14"/>
                </a:lnTo>
                <a:lnTo>
                  <a:pt x="5" y="14"/>
                </a:lnTo>
                <a:lnTo>
                  <a:pt x="5" y="12"/>
                </a:lnTo>
                <a:lnTo>
                  <a:pt x="4" y="12"/>
                </a:lnTo>
                <a:lnTo>
                  <a:pt x="3" y="12"/>
                </a:lnTo>
                <a:lnTo>
                  <a:pt x="3" y="11"/>
                </a:lnTo>
                <a:lnTo>
                  <a:pt x="2" y="10"/>
                </a:lnTo>
                <a:lnTo>
                  <a:pt x="1" y="7"/>
                </a:lnTo>
                <a:lnTo>
                  <a:pt x="0" y="5"/>
                </a:lnTo>
                <a:lnTo>
                  <a:pt x="0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9" name="Freeform 58"/>
          <p:cNvSpPr>
            <a:spLocks/>
          </p:cNvSpPr>
          <p:nvPr/>
        </p:nvSpPr>
        <p:spPr bwMode="auto">
          <a:xfrm>
            <a:off x="2751138" y="5072028"/>
            <a:ext cx="52388" cy="39688"/>
          </a:xfrm>
          <a:custGeom>
            <a:avLst/>
            <a:gdLst>
              <a:gd name="T0" fmla="*/ 0 w 33"/>
              <a:gd name="T1" fmla="*/ 3 h 25"/>
              <a:gd name="T2" fmla="*/ 0 w 33"/>
              <a:gd name="T3" fmla="*/ 2 h 25"/>
              <a:gd name="T4" fmla="*/ 3 w 33"/>
              <a:gd name="T5" fmla="*/ 3 h 25"/>
              <a:gd name="T6" fmla="*/ 5 w 33"/>
              <a:gd name="T7" fmla="*/ 2 h 25"/>
              <a:gd name="T8" fmla="*/ 8 w 33"/>
              <a:gd name="T9" fmla="*/ 4 h 25"/>
              <a:gd name="T10" fmla="*/ 10 w 33"/>
              <a:gd name="T11" fmla="*/ 4 h 25"/>
              <a:gd name="T12" fmla="*/ 8 w 33"/>
              <a:gd name="T13" fmla="*/ 1 h 25"/>
              <a:gd name="T14" fmla="*/ 9 w 33"/>
              <a:gd name="T15" fmla="*/ 0 h 25"/>
              <a:gd name="T16" fmla="*/ 12 w 33"/>
              <a:gd name="T17" fmla="*/ 2 h 25"/>
              <a:gd name="T18" fmla="*/ 12 w 33"/>
              <a:gd name="T19" fmla="*/ 7 h 25"/>
              <a:gd name="T20" fmla="*/ 14 w 33"/>
              <a:gd name="T21" fmla="*/ 11 h 25"/>
              <a:gd name="T22" fmla="*/ 16 w 33"/>
              <a:gd name="T23" fmla="*/ 13 h 25"/>
              <a:gd name="T24" fmla="*/ 22 w 33"/>
              <a:gd name="T25" fmla="*/ 12 h 25"/>
              <a:gd name="T26" fmla="*/ 28 w 33"/>
              <a:gd name="T27" fmla="*/ 12 h 25"/>
              <a:gd name="T28" fmla="*/ 32 w 33"/>
              <a:gd name="T29" fmla="*/ 13 h 25"/>
              <a:gd name="T30" fmla="*/ 29 w 33"/>
              <a:gd name="T31" fmla="*/ 19 h 25"/>
              <a:gd name="T32" fmla="*/ 25 w 33"/>
              <a:gd name="T33" fmla="*/ 19 h 25"/>
              <a:gd name="T34" fmla="*/ 24 w 33"/>
              <a:gd name="T35" fmla="*/ 20 h 25"/>
              <a:gd name="T36" fmla="*/ 23 w 33"/>
              <a:gd name="T37" fmla="*/ 20 h 25"/>
              <a:gd name="T38" fmla="*/ 23 w 33"/>
              <a:gd name="T39" fmla="*/ 22 h 25"/>
              <a:gd name="T40" fmla="*/ 23 w 33"/>
              <a:gd name="T41" fmla="*/ 24 h 25"/>
              <a:gd name="T42" fmla="*/ 22 w 33"/>
              <a:gd name="T43" fmla="*/ 25 h 25"/>
              <a:gd name="T44" fmla="*/ 13 w 33"/>
              <a:gd name="T45" fmla="*/ 20 h 25"/>
              <a:gd name="T46" fmla="*/ 18 w 33"/>
              <a:gd name="T47" fmla="*/ 21 h 25"/>
              <a:gd name="T48" fmla="*/ 18 w 33"/>
              <a:gd name="T49" fmla="*/ 19 h 25"/>
              <a:gd name="T50" fmla="*/ 14 w 33"/>
              <a:gd name="T51" fmla="*/ 15 h 25"/>
              <a:gd name="T52" fmla="*/ 13 w 33"/>
              <a:gd name="T53" fmla="*/ 17 h 25"/>
              <a:gd name="T54" fmla="*/ 10 w 33"/>
              <a:gd name="T55" fmla="*/ 16 h 25"/>
              <a:gd name="T56" fmla="*/ 6 w 33"/>
              <a:gd name="T57" fmla="*/ 14 h 25"/>
              <a:gd name="T58" fmla="*/ 5 w 33"/>
              <a:gd name="T59" fmla="*/ 12 h 25"/>
              <a:gd name="T60" fmla="*/ 3 w 33"/>
              <a:gd name="T61" fmla="*/ 12 h 25"/>
              <a:gd name="T62" fmla="*/ 2 w 33"/>
              <a:gd name="T63" fmla="*/ 10 h 25"/>
              <a:gd name="T64" fmla="*/ 0 w 33"/>
              <a:gd name="T65" fmla="*/ 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3" h="25">
                <a:moveTo>
                  <a:pt x="0" y="3"/>
                </a:moveTo>
                <a:lnTo>
                  <a:pt x="0" y="3"/>
                </a:lnTo>
                <a:lnTo>
                  <a:pt x="0" y="2"/>
                </a:lnTo>
                <a:lnTo>
                  <a:pt x="0" y="2"/>
                </a:lnTo>
                <a:lnTo>
                  <a:pt x="2" y="3"/>
                </a:lnTo>
                <a:lnTo>
                  <a:pt x="3" y="3"/>
                </a:lnTo>
                <a:lnTo>
                  <a:pt x="4" y="2"/>
                </a:lnTo>
                <a:lnTo>
                  <a:pt x="5" y="2"/>
                </a:lnTo>
                <a:lnTo>
                  <a:pt x="6" y="2"/>
                </a:lnTo>
                <a:lnTo>
                  <a:pt x="8" y="4"/>
                </a:lnTo>
                <a:lnTo>
                  <a:pt x="9" y="5"/>
                </a:lnTo>
                <a:lnTo>
                  <a:pt x="10" y="4"/>
                </a:lnTo>
                <a:lnTo>
                  <a:pt x="9" y="2"/>
                </a:lnTo>
                <a:lnTo>
                  <a:pt x="8" y="1"/>
                </a:lnTo>
                <a:lnTo>
                  <a:pt x="8" y="0"/>
                </a:lnTo>
                <a:lnTo>
                  <a:pt x="9" y="0"/>
                </a:lnTo>
                <a:lnTo>
                  <a:pt x="10" y="1"/>
                </a:lnTo>
                <a:lnTo>
                  <a:pt x="12" y="2"/>
                </a:lnTo>
                <a:lnTo>
                  <a:pt x="13" y="5"/>
                </a:lnTo>
                <a:lnTo>
                  <a:pt x="12" y="7"/>
                </a:lnTo>
                <a:lnTo>
                  <a:pt x="11" y="11"/>
                </a:lnTo>
                <a:lnTo>
                  <a:pt x="14" y="11"/>
                </a:lnTo>
                <a:lnTo>
                  <a:pt x="15" y="12"/>
                </a:lnTo>
                <a:lnTo>
                  <a:pt x="16" y="13"/>
                </a:lnTo>
                <a:lnTo>
                  <a:pt x="20" y="15"/>
                </a:lnTo>
                <a:lnTo>
                  <a:pt x="22" y="12"/>
                </a:lnTo>
                <a:lnTo>
                  <a:pt x="24" y="11"/>
                </a:lnTo>
                <a:lnTo>
                  <a:pt x="28" y="12"/>
                </a:lnTo>
                <a:lnTo>
                  <a:pt x="31" y="12"/>
                </a:lnTo>
                <a:lnTo>
                  <a:pt x="32" y="13"/>
                </a:lnTo>
                <a:lnTo>
                  <a:pt x="33" y="14"/>
                </a:lnTo>
                <a:lnTo>
                  <a:pt x="29" y="19"/>
                </a:lnTo>
                <a:lnTo>
                  <a:pt x="28" y="19"/>
                </a:lnTo>
                <a:lnTo>
                  <a:pt x="25" y="19"/>
                </a:lnTo>
                <a:lnTo>
                  <a:pt x="24" y="19"/>
                </a:lnTo>
                <a:lnTo>
                  <a:pt x="24" y="20"/>
                </a:lnTo>
                <a:lnTo>
                  <a:pt x="24" y="21"/>
                </a:lnTo>
                <a:lnTo>
                  <a:pt x="23" y="20"/>
                </a:lnTo>
                <a:lnTo>
                  <a:pt x="22" y="21"/>
                </a:lnTo>
                <a:lnTo>
                  <a:pt x="23" y="22"/>
                </a:lnTo>
                <a:lnTo>
                  <a:pt x="22" y="23"/>
                </a:lnTo>
                <a:lnTo>
                  <a:pt x="23" y="24"/>
                </a:lnTo>
                <a:lnTo>
                  <a:pt x="24" y="25"/>
                </a:lnTo>
                <a:lnTo>
                  <a:pt x="22" y="25"/>
                </a:lnTo>
                <a:lnTo>
                  <a:pt x="13" y="21"/>
                </a:lnTo>
                <a:lnTo>
                  <a:pt x="13" y="20"/>
                </a:lnTo>
                <a:lnTo>
                  <a:pt x="14" y="20"/>
                </a:lnTo>
                <a:lnTo>
                  <a:pt x="18" y="21"/>
                </a:lnTo>
                <a:lnTo>
                  <a:pt x="19" y="20"/>
                </a:lnTo>
                <a:lnTo>
                  <a:pt x="18" y="19"/>
                </a:lnTo>
                <a:lnTo>
                  <a:pt x="16" y="17"/>
                </a:lnTo>
                <a:lnTo>
                  <a:pt x="14" y="15"/>
                </a:lnTo>
                <a:lnTo>
                  <a:pt x="14" y="16"/>
                </a:lnTo>
                <a:lnTo>
                  <a:pt x="13" y="17"/>
                </a:lnTo>
                <a:lnTo>
                  <a:pt x="10" y="17"/>
                </a:lnTo>
                <a:lnTo>
                  <a:pt x="10" y="16"/>
                </a:lnTo>
                <a:lnTo>
                  <a:pt x="9" y="15"/>
                </a:lnTo>
                <a:lnTo>
                  <a:pt x="6" y="14"/>
                </a:lnTo>
                <a:lnTo>
                  <a:pt x="5" y="14"/>
                </a:lnTo>
                <a:lnTo>
                  <a:pt x="5" y="12"/>
                </a:lnTo>
                <a:lnTo>
                  <a:pt x="4" y="12"/>
                </a:lnTo>
                <a:lnTo>
                  <a:pt x="3" y="12"/>
                </a:lnTo>
                <a:lnTo>
                  <a:pt x="3" y="11"/>
                </a:lnTo>
                <a:lnTo>
                  <a:pt x="2" y="10"/>
                </a:lnTo>
                <a:lnTo>
                  <a:pt x="1" y="7"/>
                </a:lnTo>
                <a:lnTo>
                  <a:pt x="0" y="5"/>
                </a:lnTo>
                <a:lnTo>
                  <a:pt x="0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0" name="Freeform 59"/>
          <p:cNvSpPr>
            <a:spLocks/>
          </p:cNvSpPr>
          <p:nvPr/>
        </p:nvSpPr>
        <p:spPr bwMode="auto">
          <a:xfrm>
            <a:off x="2744788" y="5083141"/>
            <a:ext cx="7938" cy="7938"/>
          </a:xfrm>
          <a:custGeom>
            <a:avLst/>
            <a:gdLst>
              <a:gd name="T0" fmla="*/ 3 w 5"/>
              <a:gd name="T1" fmla="*/ 0 h 5"/>
              <a:gd name="T2" fmla="*/ 4 w 5"/>
              <a:gd name="T3" fmla="*/ 0 h 5"/>
              <a:gd name="T4" fmla="*/ 5 w 5"/>
              <a:gd name="T5" fmla="*/ 4 h 5"/>
              <a:gd name="T6" fmla="*/ 4 w 5"/>
              <a:gd name="T7" fmla="*/ 5 h 5"/>
              <a:gd name="T8" fmla="*/ 3 w 5"/>
              <a:gd name="T9" fmla="*/ 4 h 5"/>
              <a:gd name="T10" fmla="*/ 3 w 5"/>
              <a:gd name="T11" fmla="*/ 4 h 5"/>
              <a:gd name="T12" fmla="*/ 3 w 5"/>
              <a:gd name="T13" fmla="*/ 3 h 5"/>
              <a:gd name="T14" fmla="*/ 3 w 5"/>
              <a:gd name="T15" fmla="*/ 3 h 5"/>
              <a:gd name="T16" fmla="*/ 2 w 5"/>
              <a:gd name="T17" fmla="*/ 3 h 5"/>
              <a:gd name="T18" fmla="*/ 2 w 5"/>
              <a:gd name="T19" fmla="*/ 3 h 5"/>
              <a:gd name="T20" fmla="*/ 0 w 5"/>
              <a:gd name="T21" fmla="*/ 2 h 5"/>
              <a:gd name="T22" fmla="*/ 0 w 5"/>
              <a:gd name="T23" fmla="*/ 0 h 5"/>
              <a:gd name="T24" fmla="*/ 3 w 5"/>
              <a:gd name="T25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" h="5">
                <a:moveTo>
                  <a:pt x="3" y="0"/>
                </a:moveTo>
                <a:lnTo>
                  <a:pt x="4" y="0"/>
                </a:lnTo>
                <a:lnTo>
                  <a:pt x="5" y="4"/>
                </a:lnTo>
                <a:lnTo>
                  <a:pt x="4" y="5"/>
                </a:lnTo>
                <a:lnTo>
                  <a:pt x="3" y="4"/>
                </a:lnTo>
                <a:lnTo>
                  <a:pt x="3" y="4"/>
                </a:lnTo>
                <a:lnTo>
                  <a:pt x="3" y="3"/>
                </a:lnTo>
                <a:lnTo>
                  <a:pt x="3" y="3"/>
                </a:lnTo>
                <a:lnTo>
                  <a:pt x="2" y="3"/>
                </a:lnTo>
                <a:lnTo>
                  <a:pt x="2" y="3"/>
                </a:lnTo>
                <a:lnTo>
                  <a:pt x="0" y="2"/>
                </a:lnTo>
                <a:lnTo>
                  <a:pt x="0" y="0"/>
                </a:lnTo>
                <a:lnTo>
                  <a:pt x="3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1" name="Freeform 60"/>
          <p:cNvSpPr>
            <a:spLocks/>
          </p:cNvSpPr>
          <p:nvPr/>
        </p:nvSpPr>
        <p:spPr bwMode="auto">
          <a:xfrm>
            <a:off x="2744788" y="5083141"/>
            <a:ext cx="7938" cy="7938"/>
          </a:xfrm>
          <a:custGeom>
            <a:avLst/>
            <a:gdLst>
              <a:gd name="T0" fmla="*/ 3 w 5"/>
              <a:gd name="T1" fmla="*/ 0 h 5"/>
              <a:gd name="T2" fmla="*/ 4 w 5"/>
              <a:gd name="T3" fmla="*/ 0 h 5"/>
              <a:gd name="T4" fmla="*/ 5 w 5"/>
              <a:gd name="T5" fmla="*/ 4 h 5"/>
              <a:gd name="T6" fmla="*/ 4 w 5"/>
              <a:gd name="T7" fmla="*/ 5 h 5"/>
              <a:gd name="T8" fmla="*/ 3 w 5"/>
              <a:gd name="T9" fmla="*/ 4 h 5"/>
              <a:gd name="T10" fmla="*/ 3 w 5"/>
              <a:gd name="T11" fmla="*/ 4 h 5"/>
              <a:gd name="T12" fmla="*/ 3 w 5"/>
              <a:gd name="T13" fmla="*/ 3 h 5"/>
              <a:gd name="T14" fmla="*/ 3 w 5"/>
              <a:gd name="T15" fmla="*/ 3 h 5"/>
              <a:gd name="T16" fmla="*/ 2 w 5"/>
              <a:gd name="T17" fmla="*/ 3 h 5"/>
              <a:gd name="T18" fmla="*/ 2 w 5"/>
              <a:gd name="T19" fmla="*/ 3 h 5"/>
              <a:gd name="T20" fmla="*/ 0 w 5"/>
              <a:gd name="T21" fmla="*/ 2 h 5"/>
              <a:gd name="T22" fmla="*/ 0 w 5"/>
              <a:gd name="T23" fmla="*/ 0 h 5"/>
              <a:gd name="T24" fmla="*/ 3 w 5"/>
              <a:gd name="T25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" h="5">
                <a:moveTo>
                  <a:pt x="3" y="0"/>
                </a:moveTo>
                <a:lnTo>
                  <a:pt x="4" y="0"/>
                </a:lnTo>
                <a:lnTo>
                  <a:pt x="5" y="4"/>
                </a:lnTo>
                <a:lnTo>
                  <a:pt x="4" y="5"/>
                </a:lnTo>
                <a:lnTo>
                  <a:pt x="3" y="4"/>
                </a:lnTo>
                <a:lnTo>
                  <a:pt x="3" y="4"/>
                </a:lnTo>
                <a:lnTo>
                  <a:pt x="3" y="3"/>
                </a:lnTo>
                <a:lnTo>
                  <a:pt x="3" y="3"/>
                </a:lnTo>
                <a:lnTo>
                  <a:pt x="2" y="3"/>
                </a:lnTo>
                <a:lnTo>
                  <a:pt x="2" y="3"/>
                </a:lnTo>
                <a:lnTo>
                  <a:pt x="0" y="2"/>
                </a:lnTo>
                <a:lnTo>
                  <a:pt x="0" y="0"/>
                </a:lnTo>
                <a:lnTo>
                  <a:pt x="3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2" name="Freeform 61"/>
          <p:cNvSpPr>
            <a:spLocks/>
          </p:cNvSpPr>
          <p:nvPr/>
        </p:nvSpPr>
        <p:spPr bwMode="auto">
          <a:xfrm>
            <a:off x="2733676" y="5091078"/>
            <a:ext cx="39688" cy="17463"/>
          </a:xfrm>
          <a:custGeom>
            <a:avLst/>
            <a:gdLst>
              <a:gd name="T0" fmla="*/ 0 w 25"/>
              <a:gd name="T1" fmla="*/ 0 h 11"/>
              <a:gd name="T2" fmla="*/ 0 w 25"/>
              <a:gd name="T3" fmla="*/ 1 h 11"/>
              <a:gd name="T4" fmla="*/ 4 w 25"/>
              <a:gd name="T5" fmla="*/ 3 h 11"/>
              <a:gd name="T6" fmla="*/ 17 w 25"/>
              <a:gd name="T7" fmla="*/ 8 h 11"/>
              <a:gd name="T8" fmla="*/ 19 w 25"/>
              <a:gd name="T9" fmla="*/ 9 h 11"/>
              <a:gd name="T10" fmla="*/ 20 w 25"/>
              <a:gd name="T11" fmla="*/ 9 h 11"/>
              <a:gd name="T12" fmla="*/ 20 w 25"/>
              <a:gd name="T13" fmla="*/ 8 h 11"/>
              <a:gd name="T14" fmla="*/ 21 w 25"/>
              <a:gd name="T15" fmla="*/ 8 h 11"/>
              <a:gd name="T16" fmla="*/ 22 w 25"/>
              <a:gd name="T17" fmla="*/ 9 h 11"/>
              <a:gd name="T18" fmla="*/ 25 w 25"/>
              <a:gd name="T19" fmla="*/ 10 h 11"/>
              <a:gd name="T20" fmla="*/ 25 w 25"/>
              <a:gd name="T21" fmla="*/ 11 h 11"/>
              <a:gd name="T22" fmla="*/ 23 w 25"/>
              <a:gd name="T23" fmla="*/ 11 h 11"/>
              <a:gd name="T24" fmla="*/ 20 w 25"/>
              <a:gd name="T25" fmla="*/ 10 h 11"/>
              <a:gd name="T26" fmla="*/ 19 w 25"/>
              <a:gd name="T27" fmla="*/ 9 h 11"/>
              <a:gd name="T28" fmla="*/ 14 w 25"/>
              <a:gd name="T29" fmla="*/ 7 h 11"/>
              <a:gd name="T30" fmla="*/ 14 w 25"/>
              <a:gd name="T31" fmla="*/ 8 h 11"/>
              <a:gd name="T32" fmla="*/ 14 w 25"/>
              <a:gd name="T33" fmla="*/ 8 h 11"/>
              <a:gd name="T34" fmla="*/ 14 w 25"/>
              <a:gd name="T35" fmla="*/ 8 h 11"/>
              <a:gd name="T36" fmla="*/ 11 w 25"/>
              <a:gd name="T37" fmla="*/ 8 h 11"/>
              <a:gd name="T38" fmla="*/ 4 w 25"/>
              <a:gd name="T39" fmla="*/ 4 h 11"/>
              <a:gd name="T40" fmla="*/ 2 w 25"/>
              <a:gd name="T41" fmla="*/ 3 h 11"/>
              <a:gd name="T42" fmla="*/ 0 w 25"/>
              <a:gd name="T43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5" h="11">
                <a:moveTo>
                  <a:pt x="0" y="0"/>
                </a:moveTo>
                <a:lnTo>
                  <a:pt x="0" y="1"/>
                </a:lnTo>
                <a:lnTo>
                  <a:pt x="4" y="3"/>
                </a:lnTo>
                <a:lnTo>
                  <a:pt x="17" y="8"/>
                </a:lnTo>
                <a:lnTo>
                  <a:pt x="19" y="9"/>
                </a:lnTo>
                <a:lnTo>
                  <a:pt x="20" y="9"/>
                </a:lnTo>
                <a:lnTo>
                  <a:pt x="20" y="8"/>
                </a:lnTo>
                <a:lnTo>
                  <a:pt x="21" y="8"/>
                </a:lnTo>
                <a:lnTo>
                  <a:pt x="22" y="9"/>
                </a:lnTo>
                <a:lnTo>
                  <a:pt x="25" y="10"/>
                </a:lnTo>
                <a:lnTo>
                  <a:pt x="25" y="11"/>
                </a:lnTo>
                <a:lnTo>
                  <a:pt x="23" y="11"/>
                </a:lnTo>
                <a:lnTo>
                  <a:pt x="20" y="10"/>
                </a:lnTo>
                <a:lnTo>
                  <a:pt x="19" y="9"/>
                </a:lnTo>
                <a:lnTo>
                  <a:pt x="14" y="7"/>
                </a:lnTo>
                <a:lnTo>
                  <a:pt x="14" y="8"/>
                </a:lnTo>
                <a:lnTo>
                  <a:pt x="14" y="8"/>
                </a:lnTo>
                <a:lnTo>
                  <a:pt x="14" y="8"/>
                </a:lnTo>
                <a:lnTo>
                  <a:pt x="11" y="8"/>
                </a:lnTo>
                <a:lnTo>
                  <a:pt x="4" y="4"/>
                </a:lnTo>
                <a:lnTo>
                  <a:pt x="2" y="3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3" name="Freeform 62"/>
          <p:cNvSpPr>
            <a:spLocks/>
          </p:cNvSpPr>
          <p:nvPr/>
        </p:nvSpPr>
        <p:spPr bwMode="auto">
          <a:xfrm>
            <a:off x="2733676" y="5091078"/>
            <a:ext cx="39688" cy="17463"/>
          </a:xfrm>
          <a:custGeom>
            <a:avLst/>
            <a:gdLst>
              <a:gd name="T0" fmla="*/ 0 w 25"/>
              <a:gd name="T1" fmla="*/ 0 h 11"/>
              <a:gd name="T2" fmla="*/ 0 w 25"/>
              <a:gd name="T3" fmla="*/ 1 h 11"/>
              <a:gd name="T4" fmla="*/ 4 w 25"/>
              <a:gd name="T5" fmla="*/ 3 h 11"/>
              <a:gd name="T6" fmla="*/ 17 w 25"/>
              <a:gd name="T7" fmla="*/ 8 h 11"/>
              <a:gd name="T8" fmla="*/ 19 w 25"/>
              <a:gd name="T9" fmla="*/ 9 h 11"/>
              <a:gd name="T10" fmla="*/ 20 w 25"/>
              <a:gd name="T11" fmla="*/ 9 h 11"/>
              <a:gd name="T12" fmla="*/ 20 w 25"/>
              <a:gd name="T13" fmla="*/ 8 h 11"/>
              <a:gd name="T14" fmla="*/ 21 w 25"/>
              <a:gd name="T15" fmla="*/ 8 h 11"/>
              <a:gd name="T16" fmla="*/ 22 w 25"/>
              <a:gd name="T17" fmla="*/ 9 h 11"/>
              <a:gd name="T18" fmla="*/ 25 w 25"/>
              <a:gd name="T19" fmla="*/ 10 h 11"/>
              <a:gd name="T20" fmla="*/ 25 w 25"/>
              <a:gd name="T21" fmla="*/ 11 h 11"/>
              <a:gd name="T22" fmla="*/ 23 w 25"/>
              <a:gd name="T23" fmla="*/ 11 h 11"/>
              <a:gd name="T24" fmla="*/ 20 w 25"/>
              <a:gd name="T25" fmla="*/ 10 h 11"/>
              <a:gd name="T26" fmla="*/ 19 w 25"/>
              <a:gd name="T27" fmla="*/ 9 h 11"/>
              <a:gd name="T28" fmla="*/ 14 w 25"/>
              <a:gd name="T29" fmla="*/ 7 h 11"/>
              <a:gd name="T30" fmla="*/ 14 w 25"/>
              <a:gd name="T31" fmla="*/ 8 h 11"/>
              <a:gd name="T32" fmla="*/ 14 w 25"/>
              <a:gd name="T33" fmla="*/ 8 h 11"/>
              <a:gd name="T34" fmla="*/ 14 w 25"/>
              <a:gd name="T35" fmla="*/ 8 h 11"/>
              <a:gd name="T36" fmla="*/ 11 w 25"/>
              <a:gd name="T37" fmla="*/ 8 h 11"/>
              <a:gd name="T38" fmla="*/ 4 w 25"/>
              <a:gd name="T39" fmla="*/ 4 h 11"/>
              <a:gd name="T40" fmla="*/ 2 w 25"/>
              <a:gd name="T41" fmla="*/ 3 h 11"/>
              <a:gd name="T42" fmla="*/ 0 w 25"/>
              <a:gd name="T43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5" h="11">
                <a:moveTo>
                  <a:pt x="0" y="0"/>
                </a:moveTo>
                <a:lnTo>
                  <a:pt x="0" y="1"/>
                </a:lnTo>
                <a:lnTo>
                  <a:pt x="4" y="3"/>
                </a:lnTo>
                <a:lnTo>
                  <a:pt x="17" y="8"/>
                </a:lnTo>
                <a:lnTo>
                  <a:pt x="19" y="9"/>
                </a:lnTo>
                <a:lnTo>
                  <a:pt x="20" y="9"/>
                </a:lnTo>
                <a:lnTo>
                  <a:pt x="20" y="8"/>
                </a:lnTo>
                <a:lnTo>
                  <a:pt x="21" y="8"/>
                </a:lnTo>
                <a:lnTo>
                  <a:pt x="22" y="9"/>
                </a:lnTo>
                <a:lnTo>
                  <a:pt x="25" y="10"/>
                </a:lnTo>
                <a:lnTo>
                  <a:pt x="25" y="11"/>
                </a:lnTo>
                <a:lnTo>
                  <a:pt x="23" y="11"/>
                </a:lnTo>
                <a:lnTo>
                  <a:pt x="20" y="10"/>
                </a:lnTo>
                <a:lnTo>
                  <a:pt x="19" y="9"/>
                </a:lnTo>
                <a:lnTo>
                  <a:pt x="14" y="7"/>
                </a:lnTo>
                <a:lnTo>
                  <a:pt x="14" y="8"/>
                </a:lnTo>
                <a:lnTo>
                  <a:pt x="14" y="8"/>
                </a:lnTo>
                <a:lnTo>
                  <a:pt x="14" y="8"/>
                </a:lnTo>
                <a:lnTo>
                  <a:pt x="11" y="8"/>
                </a:lnTo>
                <a:lnTo>
                  <a:pt x="4" y="4"/>
                </a:lnTo>
                <a:lnTo>
                  <a:pt x="2" y="3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4" name="Freeform 63"/>
          <p:cNvSpPr>
            <a:spLocks/>
          </p:cNvSpPr>
          <p:nvPr/>
        </p:nvSpPr>
        <p:spPr bwMode="auto">
          <a:xfrm>
            <a:off x="2719388" y="5062503"/>
            <a:ext cx="4763" cy="11113"/>
          </a:xfrm>
          <a:custGeom>
            <a:avLst/>
            <a:gdLst>
              <a:gd name="T0" fmla="*/ 1 w 3"/>
              <a:gd name="T1" fmla="*/ 0 h 7"/>
              <a:gd name="T2" fmla="*/ 2 w 3"/>
              <a:gd name="T3" fmla="*/ 1 h 7"/>
              <a:gd name="T4" fmla="*/ 3 w 3"/>
              <a:gd name="T5" fmla="*/ 6 h 7"/>
              <a:gd name="T6" fmla="*/ 3 w 3"/>
              <a:gd name="T7" fmla="*/ 7 h 7"/>
              <a:gd name="T8" fmla="*/ 3 w 3"/>
              <a:gd name="T9" fmla="*/ 7 h 7"/>
              <a:gd name="T10" fmla="*/ 2 w 3"/>
              <a:gd name="T11" fmla="*/ 7 h 7"/>
              <a:gd name="T12" fmla="*/ 1 w 3"/>
              <a:gd name="T13" fmla="*/ 5 h 7"/>
              <a:gd name="T14" fmla="*/ 1 w 3"/>
              <a:gd name="T15" fmla="*/ 3 h 7"/>
              <a:gd name="T16" fmla="*/ 1 w 3"/>
              <a:gd name="T17" fmla="*/ 2 h 7"/>
              <a:gd name="T18" fmla="*/ 1 w 3"/>
              <a:gd name="T19" fmla="*/ 1 h 7"/>
              <a:gd name="T20" fmla="*/ 0 w 3"/>
              <a:gd name="T21" fmla="*/ 0 h 7"/>
              <a:gd name="T22" fmla="*/ 0 w 3"/>
              <a:gd name="T23" fmla="*/ 0 h 7"/>
              <a:gd name="T24" fmla="*/ 1 w 3"/>
              <a:gd name="T25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" h="7">
                <a:moveTo>
                  <a:pt x="1" y="0"/>
                </a:moveTo>
                <a:lnTo>
                  <a:pt x="2" y="1"/>
                </a:lnTo>
                <a:lnTo>
                  <a:pt x="3" y="6"/>
                </a:lnTo>
                <a:lnTo>
                  <a:pt x="3" y="7"/>
                </a:lnTo>
                <a:lnTo>
                  <a:pt x="3" y="7"/>
                </a:lnTo>
                <a:lnTo>
                  <a:pt x="2" y="7"/>
                </a:lnTo>
                <a:lnTo>
                  <a:pt x="1" y="5"/>
                </a:lnTo>
                <a:lnTo>
                  <a:pt x="1" y="3"/>
                </a:lnTo>
                <a:lnTo>
                  <a:pt x="1" y="2"/>
                </a:lnTo>
                <a:lnTo>
                  <a:pt x="1" y="1"/>
                </a:lnTo>
                <a:lnTo>
                  <a:pt x="0" y="0"/>
                </a:ln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5" name="Freeform 64"/>
          <p:cNvSpPr>
            <a:spLocks/>
          </p:cNvSpPr>
          <p:nvPr/>
        </p:nvSpPr>
        <p:spPr bwMode="auto">
          <a:xfrm>
            <a:off x="2719388" y="5062503"/>
            <a:ext cx="4763" cy="11113"/>
          </a:xfrm>
          <a:custGeom>
            <a:avLst/>
            <a:gdLst>
              <a:gd name="T0" fmla="*/ 1 w 3"/>
              <a:gd name="T1" fmla="*/ 0 h 7"/>
              <a:gd name="T2" fmla="*/ 2 w 3"/>
              <a:gd name="T3" fmla="*/ 1 h 7"/>
              <a:gd name="T4" fmla="*/ 3 w 3"/>
              <a:gd name="T5" fmla="*/ 6 h 7"/>
              <a:gd name="T6" fmla="*/ 3 w 3"/>
              <a:gd name="T7" fmla="*/ 7 h 7"/>
              <a:gd name="T8" fmla="*/ 3 w 3"/>
              <a:gd name="T9" fmla="*/ 7 h 7"/>
              <a:gd name="T10" fmla="*/ 2 w 3"/>
              <a:gd name="T11" fmla="*/ 7 h 7"/>
              <a:gd name="T12" fmla="*/ 1 w 3"/>
              <a:gd name="T13" fmla="*/ 5 h 7"/>
              <a:gd name="T14" fmla="*/ 1 w 3"/>
              <a:gd name="T15" fmla="*/ 3 h 7"/>
              <a:gd name="T16" fmla="*/ 1 w 3"/>
              <a:gd name="T17" fmla="*/ 2 h 7"/>
              <a:gd name="T18" fmla="*/ 1 w 3"/>
              <a:gd name="T19" fmla="*/ 1 h 7"/>
              <a:gd name="T20" fmla="*/ 0 w 3"/>
              <a:gd name="T21" fmla="*/ 0 h 7"/>
              <a:gd name="T22" fmla="*/ 0 w 3"/>
              <a:gd name="T23" fmla="*/ 0 h 7"/>
              <a:gd name="T24" fmla="*/ 1 w 3"/>
              <a:gd name="T25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" h="7">
                <a:moveTo>
                  <a:pt x="1" y="0"/>
                </a:moveTo>
                <a:lnTo>
                  <a:pt x="2" y="1"/>
                </a:lnTo>
                <a:lnTo>
                  <a:pt x="3" y="6"/>
                </a:lnTo>
                <a:lnTo>
                  <a:pt x="3" y="7"/>
                </a:lnTo>
                <a:lnTo>
                  <a:pt x="3" y="7"/>
                </a:lnTo>
                <a:lnTo>
                  <a:pt x="2" y="7"/>
                </a:lnTo>
                <a:lnTo>
                  <a:pt x="1" y="5"/>
                </a:lnTo>
                <a:lnTo>
                  <a:pt x="1" y="3"/>
                </a:lnTo>
                <a:lnTo>
                  <a:pt x="1" y="2"/>
                </a:lnTo>
                <a:lnTo>
                  <a:pt x="1" y="1"/>
                </a:lnTo>
                <a:lnTo>
                  <a:pt x="0" y="0"/>
                </a:lnTo>
                <a:lnTo>
                  <a:pt x="0" y="0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6" name="Freeform 65"/>
          <p:cNvSpPr>
            <a:spLocks/>
          </p:cNvSpPr>
          <p:nvPr/>
        </p:nvSpPr>
        <p:spPr bwMode="auto">
          <a:xfrm>
            <a:off x="2760663" y="5108541"/>
            <a:ext cx="38100" cy="20638"/>
          </a:xfrm>
          <a:custGeom>
            <a:avLst/>
            <a:gdLst>
              <a:gd name="T0" fmla="*/ 2 w 24"/>
              <a:gd name="T1" fmla="*/ 0 h 13"/>
              <a:gd name="T2" fmla="*/ 3 w 24"/>
              <a:gd name="T3" fmla="*/ 0 h 13"/>
              <a:gd name="T4" fmla="*/ 4 w 24"/>
              <a:gd name="T5" fmla="*/ 0 h 13"/>
              <a:gd name="T6" fmla="*/ 5 w 24"/>
              <a:gd name="T7" fmla="*/ 1 h 13"/>
              <a:gd name="T8" fmla="*/ 7 w 24"/>
              <a:gd name="T9" fmla="*/ 2 h 13"/>
              <a:gd name="T10" fmla="*/ 8 w 24"/>
              <a:gd name="T11" fmla="*/ 2 h 13"/>
              <a:gd name="T12" fmla="*/ 9 w 24"/>
              <a:gd name="T13" fmla="*/ 2 h 13"/>
              <a:gd name="T14" fmla="*/ 9 w 24"/>
              <a:gd name="T15" fmla="*/ 1 h 13"/>
              <a:gd name="T16" fmla="*/ 9 w 24"/>
              <a:gd name="T17" fmla="*/ 1 h 13"/>
              <a:gd name="T18" fmla="*/ 10 w 24"/>
              <a:gd name="T19" fmla="*/ 1 h 13"/>
              <a:gd name="T20" fmla="*/ 13 w 24"/>
              <a:gd name="T21" fmla="*/ 2 h 13"/>
              <a:gd name="T22" fmla="*/ 13 w 24"/>
              <a:gd name="T23" fmla="*/ 2 h 13"/>
              <a:gd name="T24" fmla="*/ 16 w 24"/>
              <a:gd name="T25" fmla="*/ 4 h 13"/>
              <a:gd name="T26" fmla="*/ 17 w 24"/>
              <a:gd name="T27" fmla="*/ 3 h 13"/>
              <a:gd name="T28" fmla="*/ 18 w 24"/>
              <a:gd name="T29" fmla="*/ 4 h 13"/>
              <a:gd name="T30" fmla="*/ 19 w 24"/>
              <a:gd name="T31" fmla="*/ 4 h 13"/>
              <a:gd name="T32" fmla="*/ 20 w 24"/>
              <a:gd name="T33" fmla="*/ 5 h 13"/>
              <a:gd name="T34" fmla="*/ 23 w 24"/>
              <a:gd name="T35" fmla="*/ 7 h 13"/>
              <a:gd name="T36" fmla="*/ 24 w 24"/>
              <a:gd name="T37" fmla="*/ 7 h 13"/>
              <a:gd name="T38" fmla="*/ 24 w 24"/>
              <a:gd name="T39" fmla="*/ 8 h 13"/>
              <a:gd name="T40" fmla="*/ 23 w 24"/>
              <a:gd name="T41" fmla="*/ 9 h 13"/>
              <a:gd name="T42" fmla="*/ 24 w 24"/>
              <a:gd name="T43" fmla="*/ 11 h 13"/>
              <a:gd name="T44" fmla="*/ 23 w 24"/>
              <a:gd name="T45" fmla="*/ 12 h 13"/>
              <a:gd name="T46" fmla="*/ 22 w 24"/>
              <a:gd name="T47" fmla="*/ 12 h 13"/>
              <a:gd name="T48" fmla="*/ 20 w 24"/>
              <a:gd name="T49" fmla="*/ 11 h 13"/>
              <a:gd name="T50" fmla="*/ 20 w 24"/>
              <a:gd name="T51" fmla="*/ 12 h 13"/>
              <a:gd name="T52" fmla="*/ 22 w 24"/>
              <a:gd name="T53" fmla="*/ 13 h 13"/>
              <a:gd name="T54" fmla="*/ 20 w 24"/>
              <a:gd name="T55" fmla="*/ 13 h 13"/>
              <a:gd name="T56" fmla="*/ 18 w 24"/>
              <a:gd name="T57" fmla="*/ 13 h 13"/>
              <a:gd name="T58" fmla="*/ 17 w 24"/>
              <a:gd name="T59" fmla="*/ 13 h 13"/>
              <a:gd name="T60" fmla="*/ 16 w 24"/>
              <a:gd name="T61" fmla="*/ 12 h 13"/>
              <a:gd name="T62" fmla="*/ 18 w 24"/>
              <a:gd name="T63" fmla="*/ 12 h 13"/>
              <a:gd name="T64" fmla="*/ 15 w 24"/>
              <a:gd name="T65" fmla="*/ 11 h 13"/>
              <a:gd name="T66" fmla="*/ 12 w 24"/>
              <a:gd name="T67" fmla="*/ 11 h 13"/>
              <a:gd name="T68" fmla="*/ 10 w 24"/>
              <a:gd name="T69" fmla="*/ 10 h 13"/>
              <a:gd name="T70" fmla="*/ 9 w 24"/>
              <a:gd name="T71" fmla="*/ 9 h 13"/>
              <a:gd name="T72" fmla="*/ 9 w 24"/>
              <a:gd name="T73" fmla="*/ 7 h 13"/>
              <a:gd name="T74" fmla="*/ 7 w 24"/>
              <a:gd name="T75" fmla="*/ 7 h 13"/>
              <a:gd name="T76" fmla="*/ 5 w 24"/>
              <a:gd name="T77" fmla="*/ 3 h 13"/>
              <a:gd name="T78" fmla="*/ 2 w 24"/>
              <a:gd name="T79" fmla="*/ 1 h 13"/>
              <a:gd name="T80" fmla="*/ 0 w 24"/>
              <a:gd name="T81" fmla="*/ 1 h 13"/>
              <a:gd name="T82" fmla="*/ 2 w 24"/>
              <a:gd name="T83" fmla="*/ 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4" h="13">
                <a:moveTo>
                  <a:pt x="2" y="0"/>
                </a:moveTo>
                <a:lnTo>
                  <a:pt x="3" y="0"/>
                </a:lnTo>
                <a:lnTo>
                  <a:pt x="4" y="0"/>
                </a:lnTo>
                <a:lnTo>
                  <a:pt x="5" y="1"/>
                </a:lnTo>
                <a:lnTo>
                  <a:pt x="7" y="2"/>
                </a:lnTo>
                <a:lnTo>
                  <a:pt x="8" y="2"/>
                </a:lnTo>
                <a:lnTo>
                  <a:pt x="9" y="2"/>
                </a:lnTo>
                <a:lnTo>
                  <a:pt x="9" y="1"/>
                </a:lnTo>
                <a:lnTo>
                  <a:pt x="9" y="1"/>
                </a:lnTo>
                <a:lnTo>
                  <a:pt x="10" y="1"/>
                </a:lnTo>
                <a:lnTo>
                  <a:pt x="13" y="2"/>
                </a:lnTo>
                <a:lnTo>
                  <a:pt x="13" y="2"/>
                </a:lnTo>
                <a:lnTo>
                  <a:pt x="16" y="4"/>
                </a:lnTo>
                <a:lnTo>
                  <a:pt x="17" y="3"/>
                </a:lnTo>
                <a:lnTo>
                  <a:pt x="18" y="4"/>
                </a:lnTo>
                <a:lnTo>
                  <a:pt x="19" y="4"/>
                </a:lnTo>
                <a:lnTo>
                  <a:pt x="20" y="5"/>
                </a:lnTo>
                <a:lnTo>
                  <a:pt x="23" y="7"/>
                </a:lnTo>
                <a:lnTo>
                  <a:pt x="24" y="7"/>
                </a:lnTo>
                <a:lnTo>
                  <a:pt x="24" y="8"/>
                </a:lnTo>
                <a:lnTo>
                  <a:pt x="23" y="9"/>
                </a:lnTo>
                <a:lnTo>
                  <a:pt x="24" y="11"/>
                </a:lnTo>
                <a:lnTo>
                  <a:pt x="23" y="12"/>
                </a:lnTo>
                <a:lnTo>
                  <a:pt x="22" y="12"/>
                </a:lnTo>
                <a:lnTo>
                  <a:pt x="20" y="11"/>
                </a:lnTo>
                <a:lnTo>
                  <a:pt x="20" y="12"/>
                </a:lnTo>
                <a:lnTo>
                  <a:pt x="22" y="13"/>
                </a:lnTo>
                <a:lnTo>
                  <a:pt x="20" y="13"/>
                </a:lnTo>
                <a:lnTo>
                  <a:pt x="18" y="13"/>
                </a:lnTo>
                <a:lnTo>
                  <a:pt x="17" y="13"/>
                </a:lnTo>
                <a:lnTo>
                  <a:pt x="16" y="12"/>
                </a:lnTo>
                <a:lnTo>
                  <a:pt x="18" y="12"/>
                </a:lnTo>
                <a:lnTo>
                  <a:pt x="15" y="11"/>
                </a:lnTo>
                <a:lnTo>
                  <a:pt x="12" y="11"/>
                </a:lnTo>
                <a:lnTo>
                  <a:pt x="10" y="10"/>
                </a:lnTo>
                <a:lnTo>
                  <a:pt x="9" y="9"/>
                </a:lnTo>
                <a:lnTo>
                  <a:pt x="9" y="7"/>
                </a:lnTo>
                <a:lnTo>
                  <a:pt x="7" y="7"/>
                </a:lnTo>
                <a:lnTo>
                  <a:pt x="5" y="3"/>
                </a:lnTo>
                <a:lnTo>
                  <a:pt x="2" y="1"/>
                </a:lnTo>
                <a:lnTo>
                  <a:pt x="0" y="1"/>
                </a:lnTo>
                <a:lnTo>
                  <a:pt x="2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7" name="Freeform 66"/>
          <p:cNvSpPr>
            <a:spLocks/>
          </p:cNvSpPr>
          <p:nvPr/>
        </p:nvSpPr>
        <p:spPr bwMode="auto">
          <a:xfrm>
            <a:off x="2760663" y="5108541"/>
            <a:ext cx="38100" cy="20638"/>
          </a:xfrm>
          <a:custGeom>
            <a:avLst/>
            <a:gdLst>
              <a:gd name="T0" fmla="*/ 2 w 24"/>
              <a:gd name="T1" fmla="*/ 0 h 13"/>
              <a:gd name="T2" fmla="*/ 3 w 24"/>
              <a:gd name="T3" fmla="*/ 0 h 13"/>
              <a:gd name="T4" fmla="*/ 4 w 24"/>
              <a:gd name="T5" fmla="*/ 0 h 13"/>
              <a:gd name="T6" fmla="*/ 5 w 24"/>
              <a:gd name="T7" fmla="*/ 1 h 13"/>
              <a:gd name="T8" fmla="*/ 7 w 24"/>
              <a:gd name="T9" fmla="*/ 2 h 13"/>
              <a:gd name="T10" fmla="*/ 8 w 24"/>
              <a:gd name="T11" fmla="*/ 2 h 13"/>
              <a:gd name="T12" fmla="*/ 9 w 24"/>
              <a:gd name="T13" fmla="*/ 2 h 13"/>
              <a:gd name="T14" fmla="*/ 9 w 24"/>
              <a:gd name="T15" fmla="*/ 1 h 13"/>
              <a:gd name="T16" fmla="*/ 9 w 24"/>
              <a:gd name="T17" fmla="*/ 1 h 13"/>
              <a:gd name="T18" fmla="*/ 10 w 24"/>
              <a:gd name="T19" fmla="*/ 1 h 13"/>
              <a:gd name="T20" fmla="*/ 13 w 24"/>
              <a:gd name="T21" fmla="*/ 2 h 13"/>
              <a:gd name="T22" fmla="*/ 13 w 24"/>
              <a:gd name="T23" fmla="*/ 2 h 13"/>
              <a:gd name="T24" fmla="*/ 16 w 24"/>
              <a:gd name="T25" fmla="*/ 4 h 13"/>
              <a:gd name="T26" fmla="*/ 17 w 24"/>
              <a:gd name="T27" fmla="*/ 3 h 13"/>
              <a:gd name="T28" fmla="*/ 18 w 24"/>
              <a:gd name="T29" fmla="*/ 4 h 13"/>
              <a:gd name="T30" fmla="*/ 19 w 24"/>
              <a:gd name="T31" fmla="*/ 4 h 13"/>
              <a:gd name="T32" fmla="*/ 20 w 24"/>
              <a:gd name="T33" fmla="*/ 5 h 13"/>
              <a:gd name="T34" fmla="*/ 23 w 24"/>
              <a:gd name="T35" fmla="*/ 7 h 13"/>
              <a:gd name="T36" fmla="*/ 24 w 24"/>
              <a:gd name="T37" fmla="*/ 7 h 13"/>
              <a:gd name="T38" fmla="*/ 24 w 24"/>
              <a:gd name="T39" fmla="*/ 8 h 13"/>
              <a:gd name="T40" fmla="*/ 23 w 24"/>
              <a:gd name="T41" fmla="*/ 9 h 13"/>
              <a:gd name="T42" fmla="*/ 24 w 24"/>
              <a:gd name="T43" fmla="*/ 11 h 13"/>
              <a:gd name="T44" fmla="*/ 23 w 24"/>
              <a:gd name="T45" fmla="*/ 12 h 13"/>
              <a:gd name="T46" fmla="*/ 22 w 24"/>
              <a:gd name="T47" fmla="*/ 12 h 13"/>
              <a:gd name="T48" fmla="*/ 20 w 24"/>
              <a:gd name="T49" fmla="*/ 11 h 13"/>
              <a:gd name="T50" fmla="*/ 20 w 24"/>
              <a:gd name="T51" fmla="*/ 12 h 13"/>
              <a:gd name="T52" fmla="*/ 22 w 24"/>
              <a:gd name="T53" fmla="*/ 13 h 13"/>
              <a:gd name="T54" fmla="*/ 20 w 24"/>
              <a:gd name="T55" fmla="*/ 13 h 13"/>
              <a:gd name="T56" fmla="*/ 18 w 24"/>
              <a:gd name="T57" fmla="*/ 13 h 13"/>
              <a:gd name="T58" fmla="*/ 17 w 24"/>
              <a:gd name="T59" fmla="*/ 13 h 13"/>
              <a:gd name="T60" fmla="*/ 16 w 24"/>
              <a:gd name="T61" fmla="*/ 12 h 13"/>
              <a:gd name="T62" fmla="*/ 18 w 24"/>
              <a:gd name="T63" fmla="*/ 12 h 13"/>
              <a:gd name="T64" fmla="*/ 15 w 24"/>
              <a:gd name="T65" fmla="*/ 11 h 13"/>
              <a:gd name="T66" fmla="*/ 12 w 24"/>
              <a:gd name="T67" fmla="*/ 11 h 13"/>
              <a:gd name="T68" fmla="*/ 10 w 24"/>
              <a:gd name="T69" fmla="*/ 10 h 13"/>
              <a:gd name="T70" fmla="*/ 9 w 24"/>
              <a:gd name="T71" fmla="*/ 9 h 13"/>
              <a:gd name="T72" fmla="*/ 9 w 24"/>
              <a:gd name="T73" fmla="*/ 7 h 13"/>
              <a:gd name="T74" fmla="*/ 7 w 24"/>
              <a:gd name="T75" fmla="*/ 7 h 13"/>
              <a:gd name="T76" fmla="*/ 5 w 24"/>
              <a:gd name="T77" fmla="*/ 3 h 13"/>
              <a:gd name="T78" fmla="*/ 2 w 24"/>
              <a:gd name="T79" fmla="*/ 1 h 13"/>
              <a:gd name="T80" fmla="*/ 0 w 24"/>
              <a:gd name="T81" fmla="*/ 1 h 13"/>
              <a:gd name="T82" fmla="*/ 2 w 24"/>
              <a:gd name="T83" fmla="*/ 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4" h="13">
                <a:moveTo>
                  <a:pt x="2" y="0"/>
                </a:moveTo>
                <a:lnTo>
                  <a:pt x="3" y="0"/>
                </a:lnTo>
                <a:lnTo>
                  <a:pt x="4" y="0"/>
                </a:lnTo>
                <a:lnTo>
                  <a:pt x="5" y="1"/>
                </a:lnTo>
                <a:lnTo>
                  <a:pt x="7" y="2"/>
                </a:lnTo>
                <a:lnTo>
                  <a:pt x="8" y="2"/>
                </a:lnTo>
                <a:lnTo>
                  <a:pt x="9" y="2"/>
                </a:lnTo>
                <a:lnTo>
                  <a:pt x="9" y="1"/>
                </a:lnTo>
                <a:lnTo>
                  <a:pt x="9" y="1"/>
                </a:lnTo>
                <a:lnTo>
                  <a:pt x="10" y="1"/>
                </a:lnTo>
                <a:lnTo>
                  <a:pt x="13" y="2"/>
                </a:lnTo>
                <a:lnTo>
                  <a:pt x="13" y="2"/>
                </a:lnTo>
                <a:lnTo>
                  <a:pt x="16" y="4"/>
                </a:lnTo>
                <a:lnTo>
                  <a:pt x="17" y="3"/>
                </a:lnTo>
                <a:lnTo>
                  <a:pt x="18" y="4"/>
                </a:lnTo>
                <a:lnTo>
                  <a:pt x="19" y="4"/>
                </a:lnTo>
                <a:lnTo>
                  <a:pt x="20" y="5"/>
                </a:lnTo>
                <a:lnTo>
                  <a:pt x="23" y="7"/>
                </a:lnTo>
                <a:lnTo>
                  <a:pt x="24" y="7"/>
                </a:lnTo>
                <a:lnTo>
                  <a:pt x="24" y="8"/>
                </a:lnTo>
                <a:lnTo>
                  <a:pt x="23" y="9"/>
                </a:lnTo>
                <a:lnTo>
                  <a:pt x="24" y="11"/>
                </a:lnTo>
                <a:lnTo>
                  <a:pt x="23" y="12"/>
                </a:lnTo>
                <a:lnTo>
                  <a:pt x="22" y="12"/>
                </a:lnTo>
                <a:lnTo>
                  <a:pt x="20" y="11"/>
                </a:lnTo>
                <a:lnTo>
                  <a:pt x="20" y="12"/>
                </a:lnTo>
                <a:lnTo>
                  <a:pt x="22" y="13"/>
                </a:lnTo>
                <a:lnTo>
                  <a:pt x="20" y="13"/>
                </a:lnTo>
                <a:lnTo>
                  <a:pt x="18" y="13"/>
                </a:lnTo>
                <a:lnTo>
                  <a:pt x="17" y="13"/>
                </a:lnTo>
                <a:lnTo>
                  <a:pt x="16" y="12"/>
                </a:lnTo>
                <a:lnTo>
                  <a:pt x="18" y="12"/>
                </a:lnTo>
                <a:lnTo>
                  <a:pt x="15" y="11"/>
                </a:lnTo>
                <a:lnTo>
                  <a:pt x="12" y="11"/>
                </a:lnTo>
                <a:lnTo>
                  <a:pt x="10" y="10"/>
                </a:lnTo>
                <a:lnTo>
                  <a:pt x="9" y="9"/>
                </a:lnTo>
                <a:lnTo>
                  <a:pt x="9" y="7"/>
                </a:lnTo>
                <a:lnTo>
                  <a:pt x="7" y="7"/>
                </a:lnTo>
                <a:lnTo>
                  <a:pt x="5" y="3"/>
                </a:lnTo>
                <a:lnTo>
                  <a:pt x="2" y="1"/>
                </a:lnTo>
                <a:lnTo>
                  <a:pt x="0" y="1"/>
                </a:lnTo>
                <a:lnTo>
                  <a:pt x="2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8" name="Freeform 67"/>
          <p:cNvSpPr>
            <a:spLocks/>
          </p:cNvSpPr>
          <p:nvPr/>
        </p:nvSpPr>
        <p:spPr bwMode="auto">
          <a:xfrm>
            <a:off x="2801938" y="5122828"/>
            <a:ext cx="28575" cy="12700"/>
          </a:xfrm>
          <a:custGeom>
            <a:avLst/>
            <a:gdLst>
              <a:gd name="T0" fmla="*/ 3 w 18"/>
              <a:gd name="T1" fmla="*/ 0 h 8"/>
              <a:gd name="T2" fmla="*/ 3 w 18"/>
              <a:gd name="T3" fmla="*/ 0 h 8"/>
              <a:gd name="T4" fmla="*/ 4 w 18"/>
              <a:gd name="T5" fmla="*/ 1 h 8"/>
              <a:gd name="T6" fmla="*/ 6 w 18"/>
              <a:gd name="T7" fmla="*/ 1 h 8"/>
              <a:gd name="T8" fmla="*/ 7 w 18"/>
              <a:gd name="T9" fmla="*/ 1 h 8"/>
              <a:gd name="T10" fmla="*/ 7 w 18"/>
              <a:gd name="T11" fmla="*/ 2 h 8"/>
              <a:gd name="T12" fmla="*/ 7 w 18"/>
              <a:gd name="T13" fmla="*/ 3 h 8"/>
              <a:gd name="T14" fmla="*/ 8 w 18"/>
              <a:gd name="T15" fmla="*/ 3 h 8"/>
              <a:gd name="T16" fmla="*/ 8 w 18"/>
              <a:gd name="T17" fmla="*/ 2 h 8"/>
              <a:gd name="T18" fmla="*/ 8 w 18"/>
              <a:gd name="T19" fmla="*/ 2 h 8"/>
              <a:gd name="T20" fmla="*/ 10 w 18"/>
              <a:gd name="T21" fmla="*/ 2 h 8"/>
              <a:gd name="T22" fmla="*/ 11 w 18"/>
              <a:gd name="T23" fmla="*/ 2 h 8"/>
              <a:gd name="T24" fmla="*/ 12 w 18"/>
              <a:gd name="T25" fmla="*/ 2 h 8"/>
              <a:gd name="T26" fmla="*/ 14 w 18"/>
              <a:gd name="T27" fmla="*/ 5 h 8"/>
              <a:gd name="T28" fmla="*/ 14 w 18"/>
              <a:gd name="T29" fmla="*/ 4 h 8"/>
              <a:gd name="T30" fmla="*/ 16 w 18"/>
              <a:gd name="T31" fmla="*/ 4 h 8"/>
              <a:gd name="T32" fmla="*/ 17 w 18"/>
              <a:gd name="T33" fmla="*/ 5 h 8"/>
              <a:gd name="T34" fmla="*/ 18 w 18"/>
              <a:gd name="T35" fmla="*/ 6 h 8"/>
              <a:gd name="T36" fmla="*/ 18 w 18"/>
              <a:gd name="T37" fmla="*/ 8 h 8"/>
              <a:gd name="T38" fmla="*/ 16 w 18"/>
              <a:gd name="T39" fmla="*/ 8 h 8"/>
              <a:gd name="T40" fmla="*/ 13 w 18"/>
              <a:gd name="T41" fmla="*/ 6 h 8"/>
              <a:gd name="T42" fmla="*/ 9 w 18"/>
              <a:gd name="T43" fmla="*/ 5 h 8"/>
              <a:gd name="T44" fmla="*/ 8 w 18"/>
              <a:gd name="T45" fmla="*/ 6 h 8"/>
              <a:gd name="T46" fmla="*/ 9 w 18"/>
              <a:gd name="T47" fmla="*/ 6 h 8"/>
              <a:gd name="T48" fmla="*/ 9 w 18"/>
              <a:gd name="T49" fmla="*/ 8 h 8"/>
              <a:gd name="T50" fmla="*/ 7 w 18"/>
              <a:gd name="T51" fmla="*/ 6 h 8"/>
              <a:gd name="T52" fmla="*/ 6 w 18"/>
              <a:gd name="T53" fmla="*/ 5 h 8"/>
              <a:gd name="T54" fmla="*/ 3 w 18"/>
              <a:gd name="T55" fmla="*/ 5 h 8"/>
              <a:gd name="T56" fmla="*/ 2 w 18"/>
              <a:gd name="T57" fmla="*/ 4 h 8"/>
              <a:gd name="T58" fmla="*/ 2 w 18"/>
              <a:gd name="T59" fmla="*/ 3 h 8"/>
              <a:gd name="T60" fmla="*/ 0 w 18"/>
              <a:gd name="T61" fmla="*/ 1 h 8"/>
              <a:gd name="T62" fmla="*/ 1 w 18"/>
              <a:gd name="T63" fmla="*/ 1 h 8"/>
              <a:gd name="T64" fmla="*/ 2 w 18"/>
              <a:gd name="T65" fmla="*/ 1 h 8"/>
              <a:gd name="T66" fmla="*/ 2 w 18"/>
              <a:gd name="T67" fmla="*/ 0 h 8"/>
              <a:gd name="T68" fmla="*/ 3 w 18"/>
              <a:gd name="T69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8" h="8">
                <a:moveTo>
                  <a:pt x="3" y="0"/>
                </a:moveTo>
                <a:lnTo>
                  <a:pt x="3" y="0"/>
                </a:lnTo>
                <a:lnTo>
                  <a:pt x="4" y="1"/>
                </a:lnTo>
                <a:lnTo>
                  <a:pt x="6" y="1"/>
                </a:lnTo>
                <a:lnTo>
                  <a:pt x="7" y="1"/>
                </a:lnTo>
                <a:lnTo>
                  <a:pt x="7" y="2"/>
                </a:lnTo>
                <a:lnTo>
                  <a:pt x="7" y="3"/>
                </a:lnTo>
                <a:lnTo>
                  <a:pt x="8" y="3"/>
                </a:lnTo>
                <a:lnTo>
                  <a:pt x="8" y="2"/>
                </a:lnTo>
                <a:lnTo>
                  <a:pt x="8" y="2"/>
                </a:lnTo>
                <a:lnTo>
                  <a:pt x="10" y="2"/>
                </a:lnTo>
                <a:lnTo>
                  <a:pt x="11" y="2"/>
                </a:lnTo>
                <a:lnTo>
                  <a:pt x="12" y="2"/>
                </a:lnTo>
                <a:lnTo>
                  <a:pt x="14" y="5"/>
                </a:lnTo>
                <a:lnTo>
                  <a:pt x="14" y="4"/>
                </a:lnTo>
                <a:lnTo>
                  <a:pt x="16" y="4"/>
                </a:lnTo>
                <a:lnTo>
                  <a:pt x="17" y="5"/>
                </a:lnTo>
                <a:lnTo>
                  <a:pt x="18" y="6"/>
                </a:lnTo>
                <a:lnTo>
                  <a:pt x="18" y="8"/>
                </a:lnTo>
                <a:lnTo>
                  <a:pt x="16" y="8"/>
                </a:lnTo>
                <a:lnTo>
                  <a:pt x="13" y="6"/>
                </a:lnTo>
                <a:lnTo>
                  <a:pt x="9" y="5"/>
                </a:lnTo>
                <a:lnTo>
                  <a:pt x="8" y="6"/>
                </a:lnTo>
                <a:lnTo>
                  <a:pt x="9" y="6"/>
                </a:lnTo>
                <a:lnTo>
                  <a:pt x="9" y="8"/>
                </a:lnTo>
                <a:lnTo>
                  <a:pt x="7" y="6"/>
                </a:lnTo>
                <a:lnTo>
                  <a:pt x="6" y="5"/>
                </a:lnTo>
                <a:lnTo>
                  <a:pt x="3" y="5"/>
                </a:lnTo>
                <a:lnTo>
                  <a:pt x="2" y="4"/>
                </a:lnTo>
                <a:lnTo>
                  <a:pt x="2" y="3"/>
                </a:lnTo>
                <a:lnTo>
                  <a:pt x="0" y="1"/>
                </a:lnTo>
                <a:lnTo>
                  <a:pt x="1" y="1"/>
                </a:lnTo>
                <a:lnTo>
                  <a:pt x="2" y="1"/>
                </a:lnTo>
                <a:lnTo>
                  <a:pt x="2" y="0"/>
                </a:lnTo>
                <a:lnTo>
                  <a:pt x="3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9" name="Freeform 68"/>
          <p:cNvSpPr>
            <a:spLocks/>
          </p:cNvSpPr>
          <p:nvPr/>
        </p:nvSpPr>
        <p:spPr bwMode="auto">
          <a:xfrm>
            <a:off x="2801938" y="5122828"/>
            <a:ext cx="28575" cy="12700"/>
          </a:xfrm>
          <a:custGeom>
            <a:avLst/>
            <a:gdLst>
              <a:gd name="T0" fmla="*/ 3 w 18"/>
              <a:gd name="T1" fmla="*/ 0 h 8"/>
              <a:gd name="T2" fmla="*/ 3 w 18"/>
              <a:gd name="T3" fmla="*/ 0 h 8"/>
              <a:gd name="T4" fmla="*/ 4 w 18"/>
              <a:gd name="T5" fmla="*/ 1 h 8"/>
              <a:gd name="T6" fmla="*/ 6 w 18"/>
              <a:gd name="T7" fmla="*/ 1 h 8"/>
              <a:gd name="T8" fmla="*/ 7 w 18"/>
              <a:gd name="T9" fmla="*/ 1 h 8"/>
              <a:gd name="T10" fmla="*/ 7 w 18"/>
              <a:gd name="T11" fmla="*/ 2 h 8"/>
              <a:gd name="T12" fmla="*/ 7 w 18"/>
              <a:gd name="T13" fmla="*/ 3 h 8"/>
              <a:gd name="T14" fmla="*/ 8 w 18"/>
              <a:gd name="T15" fmla="*/ 3 h 8"/>
              <a:gd name="T16" fmla="*/ 8 w 18"/>
              <a:gd name="T17" fmla="*/ 2 h 8"/>
              <a:gd name="T18" fmla="*/ 8 w 18"/>
              <a:gd name="T19" fmla="*/ 2 h 8"/>
              <a:gd name="T20" fmla="*/ 10 w 18"/>
              <a:gd name="T21" fmla="*/ 2 h 8"/>
              <a:gd name="T22" fmla="*/ 11 w 18"/>
              <a:gd name="T23" fmla="*/ 2 h 8"/>
              <a:gd name="T24" fmla="*/ 12 w 18"/>
              <a:gd name="T25" fmla="*/ 2 h 8"/>
              <a:gd name="T26" fmla="*/ 14 w 18"/>
              <a:gd name="T27" fmla="*/ 5 h 8"/>
              <a:gd name="T28" fmla="*/ 14 w 18"/>
              <a:gd name="T29" fmla="*/ 4 h 8"/>
              <a:gd name="T30" fmla="*/ 16 w 18"/>
              <a:gd name="T31" fmla="*/ 4 h 8"/>
              <a:gd name="T32" fmla="*/ 17 w 18"/>
              <a:gd name="T33" fmla="*/ 5 h 8"/>
              <a:gd name="T34" fmla="*/ 18 w 18"/>
              <a:gd name="T35" fmla="*/ 6 h 8"/>
              <a:gd name="T36" fmla="*/ 18 w 18"/>
              <a:gd name="T37" fmla="*/ 8 h 8"/>
              <a:gd name="T38" fmla="*/ 16 w 18"/>
              <a:gd name="T39" fmla="*/ 8 h 8"/>
              <a:gd name="T40" fmla="*/ 13 w 18"/>
              <a:gd name="T41" fmla="*/ 6 h 8"/>
              <a:gd name="T42" fmla="*/ 9 w 18"/>
              <a:gd name="T43" fmla="*/ 5 h 8"/>
              <a:gd name="T44" fmla="*/ 8 w 18"/>
              <a:gd name="T45" fmla="*/ 6 h 8"/>
              <a:gd name="T46" fmla="*/ 9 w 18"/>
              <a:gd name="T47" fmla="*/ 6 h 8"/>
              <a:gd name="T48" fmla="*/ 9 w 18"/>
              <a:gd name="T49" fmla="*/ 8 h 8"/>
              <a:gd name="T50" fmla="*/ 7 w 18"/>
              <a:gd name="T51" fmla="*/ 6 h 8"/>
              <a:gd name="T52" fmla="*/ 6 w 18"/>
              <a:gd name="T53" fmla="*/ 5 h 8"/>
              <a:gd name="T54" fmla="*/ 3 w 18"/>
              <a:gd name="T55" fmla="*/ 5 h 8"/>
              <a:gd name="T56" fmla="*/ 2 w 18"/>
              <a:gd name="T57" fmla="*/ 4 h 8"/>
              <a:gd name="T58" fmla="*/ 2 w 18"/>
              <a:gd name="T59" fmla="*/ 3 h 8"/>
              <a:gd name="T60" fmla="*/ 0 w 18"/>
              <a:gd name="T61" fmla="*/ 1 h 8"/>
              <a:gd name="T62" fmla="*/ 1 w 18"/>
              <a:gd name="T63" fmla="*/ 1 h 8"/>
              <a:gd name="T64" fmla="*/ 2 w 18"/>
              <a:gd name="T65" fmla="*/ 1 h 8"/>
              <a:gd name="T66" fmla="*/ 2 w 18"/>
              <a:gd name="T67" fmla="*/ 0 h 8"/>
              <a:gd name="T68" fmla="*/ 3 w 18"/>
              <a:gd name="T69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8" h="8">
                <a:moveTo>
                  <a:pt x="3" y="0"/>
                </a:moveTo>
                <a:lnTo>
                  <a:pt x="3" y="0"/>
                </a:lnTo>
                <a:lnTo>
                  <a:pt x="4" y="1"/>
                </a:lnTo>
                <a:lnTo>
                  <a:pt x="6" y="1"/>
                </a:lnTo>
                <a:lnTo>
                  <a:pt x="7" y="1"/>
                </a:lnTo>
                <a:lnTo>
                  <a:pt x="7" y="2"/>
                </a:lnTo>
                <a:lnTo>
                  <a:pt x="7" y="3"/>
                </a:lnTo>
                <a:lnTo>
                  <a:pt x="8" y="3"/>
                </a:lnTo>
                <a:lnTo>
                  <a:pt x="8" y="2"/>
                </a:lnTo>
                <a:lnTo>
                  <a:pt x="8" y="2"/>
                </a:lnTo>
                <a:lnTo>
                  <a:pt x="10" y="2"/>
                </a:lnTo>
                <a:lnTo>
                  <a:pt x="11" y="2"/>
                </a:lnTo>
                <a:lnTo>
                  <a:pt x="12" y="2"/>
                </a:lnTo>
                <a:lnTo>
                  <a:pt x="14" y="5"/>
                </a:lnTo>
                <a:lnTo>
                  <a:pt x="14" y="4"/>
                </a:lnTo>
                <a:lnTo>
                  <a:pt x="16" y="4"/>
                </a:lnTo>
                <a:lnTo>
                  <a:pt x="17" y="5"/>
                </a:lnTo>
                <a:lnTo>
                  <a:pt x="18" y="6"/>
                </a:lnTo>
                <a:lnTo>
                  <a:pt x="18" y="8"/>
                </a:lnTo>
                <a:lnTo>
                  <a:pt x="16" y="8"/>
                </a:lnTo>
                <a:lnTo>
                  <a:pt x="13" y="6"/>
                </a:lnTo>
                <a:lnTo>
                  <a:pt x="9" y="5"/>
                </a:lnTo>
                <a:lnTo>
                  <a:pt x="8" y="6"/>
                </a:lnTo>
                <a:lnTo>
                  <a:pt x="9" y="6"/>
                </a:lnTo>
                <a:lnTo>
                  <a:pt x="9" y="8"/>
                </a:lnTo>
                <a:lnTo>
                  <a:pt x="7" y="6"/>
                </a:lnTo>
                <a:lnTo>
                  <a:pt x="6" y="5"/>
                </a:lnTo>
                <a:lnTo>
                  <a:pt x="3" y="5"/>
                </a:lnTo>
                <a:lnTo>
                  <a:pt x="2" y="4"/>
                </a:lnTo>
                <a:lnTo>
                  <a:pt x="2" y="3"/>
                </a:lnTo>
                <a:lnTo>
                  <a:pt x="0" y="1"/>
                </a:lnTo>
                <a:lnTo>
                  <a:pt x="1" y="1"/>
                </a:lnTo>
                <a:lnTo>
                  <a:pt x="2" y="1"/>
                </a:lnTo>
                <a:lnTo>
                  <a:pt x="2" y="0"/>
                </a:lnTo>
                <a:lnTo>
                  <a:pt x="3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0" name="Freeform 69"/>
          <p:cNvSpPr>
            <a:spLocks/>
          </p:cNvSpPr>
          <p:nvPr/>
        </p:nvSpPr>
        <p:spPr bwMode="auto">
          <a:xfrm>
            <a:off x="2830513" y="5113303"/>
            <a:ext cx="15875" cy="19050"/>
          </a:xfrm>
          <a:custGeom>
            <a:avLst/>
            <a:gdLst>
              <a:gd name="T0" fmla="*/ 1 w 10"/>
              <a:gd name="T1" fmla="*/ 0 h 12"/>
              <a:gd name="T2" fmla="*/ 2 w 10"/>
              <a:gd name="T3" fmla="*/ 1 h 12"/>
              <a:gd name="T4" fmla="*/ 3 w 10"/>
              <a:gd name="T5" fmla="*/ 4 h 12"/>
              <a:gd name="T6" fmla="*/ 5 w 10"/>
              <a:gd name="T7" fmla="*/ 7 h 12"/>
              <a:gd name="T8" fmla="*/ 6 w 10"/>
              <a:gd name="T9" fmla="*/ 9 h 12"/>
              <a:gd name="T10" fmla="*/ 6 w 10"/>
              <a:gd name="T11" fmla="*/ 9 h 12"/>
              <a:gd name="T12" fmla="*/ 6 w 10"/>
              <a:gd name="T13" fmla="*/ 9 h 12"/>
              <a:gd name="T14" fmla="*/ 3 w 10"/>
              <a:gd name="T15" fmla="*/ 8 h 12"/>
              <a:gd name="T16" fmla="*/ 3 w 10"/>
              <a:gd name="T17" fmla="*/ 7 h 12"/>
              <a:gd name="T18" fmla="*/ 3 w 10"/>
              <a:gd name="T19" fmla="*/ 9 h 12"/>
              <a:gd name="T20" fmla="*/ 5 w 10"/>
              <a:gd name="T21" fmla="*/ 10 h 12"/>
              <a:gd name="T22" fmla="*/ 6 w 10"/>
              <a:gd name="T23" fmla="*/ 11 h 12"/>
              <a:gd name="T24" fmla="*/ 8 w 10"/>
              <a:gd name="T25" fmla="*/ 11 h 12"/>
              <a:gd name="T26" fmla="*/ 10 w 10"/>
              <a:gd name="T27" fmla="*/ 12 h 12"/>
              <a:gd name="T28" fmla="*/ 8 w 10"/>
              <a:gd name="T29" fmla="*/ 12 h 12"/>
              <a:gd name="T30" fmla="*/ 5 w 10"/>
              <a:gd name="T31" fmla="*/ 12 h 12"/>
              <a:gd name="T32" fmla="*/ 2 w 10"/>
              <a:gd name="T33" fmla="*/ 10 h 12"/>
              <a:gd name="T34" fmla="*/ 1 w 10"/>
              <a:gd name="T35" fmla="*/ 9 h 12"/>
              <a:gd name="T36" fmla="*/ 0 w 10"/>
              <a:gd name="T37" fmla="*/ 7 h 12"/>
              <a:gd name="T38" fmla="*/ 0 w 10"/>
              <a:gd name="T39" fmla="*/ 6 h 12"/>
              <a:gd name="T40" fmla="*/ 0 w 10"/>
              <a:gd name="T41" fmla="*/ 6 h 12"/>
              <a:gd name="T42" fmla="*/ 2 w 10"/>
              <a:gd name="T43" fmla="*/ 6 h 12"/>
              <a:gd name="T44" fmla="*/ 2 w 10"/>
              <a:gd name="T45" fmla="*/ 5 h 12"/>
              <a:gd name="T46" fmla="*/ 1 w 10"/>
              <a:gd name="T47" fmla="*/ 4 h 12"/>
              <a:gd name="T48" fmla="*/ 0 w 10"/>
              <a:gd name="T49" fmla="*/ 4 h 12"/>
              <a:gd name="T50" fmla="*/ 1 w 10"/>
              <a:gd name="T51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0" h="12">
                <a:moveTo>
                  <a:pt x="1" y="0"/>
                </a:moveTo>
                <a:lnTo>
                  <a:pt x="2" y="1"/>
                </a:lnTo>
                <a:lnTo>
                  <a:pt x="3" y="4"/>
                </a:lnTo>
                <a:lnTo>
                  <a:pt x="5" y="7"/>
                </a:lnTo>
                <a:lnTo>
                  <a:pt x="6" y="9"/>
                </a:lnTo>
                <a:lnTo>
                  <a:pt x="6" y="9"/>
                </a:lnTo>
                <a:lnTo>
                  <a:pt x="6" y="9"/>
                </a:lnTo>
                <a:lnTo>
                  <a:pt x="3" y="8"/>
                </a:lnTo>
                <a:lnTo>
                  <a:pt x="3" y="7"/>
                </a:lnTo>
                <a:lnTo>
                  <a:pt x="3" y="9"/>
                </a:lnTo>
                <a:lnTo>
                  <a:pt x="5" y="10"/>
                </a:lnTo>
                <a:lnTo>
                  <a:pt x="6" y="11"/>
                </a:lnTo>
                <a:lnTo>
                  <a:pt x="8" y="11"/>
                </a:lnTo>
                <a:lnTo>
                  <a:pt x="10" y="12"/>
                </a:lnTo>
                <a:lnTo>
                  <a:pt x="8" y="12"/>
                </a:lnTo>
                <a:lnTo>
                  <a:pt x="5" y="12"/>
                </a:lnTo>
                <a:lnTo>
                  <a:pt x="2" y="10"/>
                </a:lnTo>
                <a:lnTo>
                  <a:pt x="1" y="9"/>
                </a:lnTo>
                <a:lnTo>
                  <a:pt x="0" y="7"/>
                </a:lnTo>
                <a:lnTo>
                  <a:pt x="0" y="6"/>
                </a:lnTo>
                <a:lnTo>
                  <a:pt x="0" y="6"/>
                </a:lnTo>
                <a:lnTo>
                  <a:pt x="2" y="6"/>
                </a:lnTo>
                <a:lnTo>
                  <a:pt x="2" y="5"/>
                </a:lnTo>
                <a:lnTo>
                  <a:pt x="1" y="4"/>
                </a:lnTo>
                <a:lnTo>
                  <a:pt x="0" y="4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1" name="Freeform 70"/>
          <p:cNvSpPr>
            <a:spLocks/>
          </p:cNvSpPr>
          <p:nvPr/>
        </p:nvSpPr>
        <p:spPr bwMode="auto">
          <a:xfrm>
            <a:off x="2830513" y="5113303"/>
            <a:ext cx="15875" cy="19050"/>
          </a:xfrm>
          <a:custGeom>
            <a:avLst/>
            <a:gdLst>
              <a:gd name="T0" fmla="*/ 1 w 10"/>
              <a:gd name="T1" fmla="*/ 0 h 12"/>
              <a:gd name="T2" fmla="*/ 2 w 10"/>
              <a:gd name="T3" fmla="*/ 1 h 12"/>
              <a:gd name="T4" fmla="*/ 3 w 10"/>
              <a:gd name="T5" fmla="*/ 4 h 12"/>
              <a:gd name="T6" fmla="*/ 5 w 10"/>
              <a:gd name="T7" fmla="*/ 7 h 12"/>
              <a:gd name="T8" fmla="*/ 6 w 10"/>
              <a:gd name="T9" fmla="*/ 9 h 12"/>
              <a:gd name="T10" fmla="*/ 6 w 10"/>
              <a:gd name="T11" fmla="*/ 9 h 12"/>
              <a:gd name="T12" fmla="*/ 6 w 10"/>
              <a:gd name="T13" fmla="*/ 9 h 12"/>
              <a:gd name="T14" fmla="*/ 3 w 10"/>
              <a:gd name="T15" fmla="*/ 8 h 12"/>
              <a:gd name="T16" fmla="*/ 3 w 10"/>
              <a:gd name="T17" fmla="*/ 7 h 12"/>
              <a:gd name="T18" fmla="*/ 3 w 10"/>
              <a:gd name="T19" fmla="*/ 9 h 12"/>
              <a:gd name="T20" fmla="*/ 5 w 10"/>
              <a:gd name="T21" fmla="*/ 10 h 12"/>
              <a:gd name="T22" fmla="*/ 6 w 10"/>
              <a:gd name="T23" fmla="*/ 11 h 12"/>
              <a:gd name="T24" fmla="*/ 8 w 10"/>
              <a:gd name="T25" fmla="*/ 11 h 12"/>
              <a:gd name="T26" fmla="*/ 10 w 10"/>
              <a:gd name="T27" fmla="*/ 12 h 12"/>
              <a:gd name="T28" fmla="*/ 8 w 10"/>
              <a:gd name="T29" fmla="*/ 12 h 12"/>
              <a:gd name="T30" fmla="*/ 5 w 10"/>
              <a:gd name="T31" fmla="*/ 12 h 12"/>
              <a:gd name="T32" fmla="*/ 2 w 10"/>
              <a:gd name="T33" fmla="*/ 10 h 12"/>
              <a:gd name="T34" fmla="*/ 1 w 10"/>
              <a:gd name="T35" fmla="*/ 9 h 12"/>
              <a:gd name="T36" fmla="*/ 0 w 10"/>
              <a:gd name="T37" fmla="*/ 7 h 12"/>
              <a:gd name="T38" fmla="*/ 0 w 10"/>
              <a:gd name="T39" fmla="*/ 6 h 12"/>
              <a:gd name="T40" fmla="*/ 0 w 10"/>
              <a:gd name="T41" fmla="*/ 6 h 12"/>
              <a:gd name="T42" fmla="*/ 2 w 10"/>
              <a:gd name="T43" fmla="*/ 6 h 12"/>
              <a:gd name="T44" fmla="*/ 2 w 10"/>
              <a:gd name="T45" fmla="*/ 5 h 12"/>
              <a:gd name="T46" fmla="*/ 1 w 10"/>
              <a:gd name="T47" fmla="*/ 4 h 12"/>
              <a:gd name="T48" fmla="*/ 0 w 10"/>
              <a:gd name="T49" fmla="*/ 4 h 12"/>
              <a:gd name="T50" fmla="*/ 1 w 10"/>
              <a:gd name="T51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0" h="12">
                <a:moveTo>
                  <a:pt x="1" y="0"/>
                </a:moveTo>
                <a:lnTo>
                  <a:pt x="2" y="1"/>
                </a:lnTo>
                <a:lnTo>
                  <a:pt x="3" y="4"/>
                </a:lnTo>
                <a:lnTo>
                  <a:pt x="5" y="7"/>
                </a:lnTo>
                <a:lnTo>
                  <a:pt x="6" y="9"/>
                </a:lnTo>
                <a:lnTo>
                  <a:pt x="6" y="9"/>
                </a:lnTo>
                <a:lnTo>
                  <a:pt x="6" y="9"/>
                </a:lnTo>
                <a:lnTo>
                  <a:pt x="3" y="8"/>
                </a:lnTo>
                <a:lnTo>
                  <a:pt x="3" y="7"/>
                </a:lnTo>
                <a:lnTo>
                  <a:pt x="3" y="9"/>
                </a:lnTo>
                <a:lnTo>
                  <a:pt x="5" y="10"/>
                </a:lnTo>
                <a:lnTo>
                  <a:pt x="6" y="11"/>
                </a:lnTo>
                <a:lnTo>
                  <a:pt x="8" y="11"/>
                </a:lnTo>
                <a:lnTo>
                  <a:pt x="10" y="12"/>
                </a:lnTo>
                <a:lnTo>
                  <a:pt x="8" y="12"/>
                </a:lnTo>
                <a:lnTo>
                  <a:pt x="5" y="12"/>
                </a:lnTo>
                <a:lnTo>
                  <a:pt x="2" y="10"/>
                </a:lnTo>
                <a:lnTo>
                  <a:pt x="1" y="9"/>
                </a:lnTo>
                <a:lnTo>
                  <a:pt x="0" y="7"/>
                </a:lnTo>
                <a:lnTo>
                  <a:pt x="0" y="6"/>
                </a:lnTo>
                <a:lnTo>
                  <a:pt x="0" y="6"/>
                </a:lnTo>
                <a:lnTo>
                  <a:pt x="2" y="6"/>
                </a:lnTo>
                <a:lnTo>
                  <a:pt x="2" y="5"/>
                </a:lnTo>
                <a:lnTo>
                  <a:pt x="1" y="4"/>
                </a:lnTo>
                <a:lnTo>
                  <a:pt x="0" y="4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2" name="Freeform 71"/>
          <p:cNvSpPr>
            <a:spLocks/>
          </p:cNvSpPr>
          <p:nvPr/>
        </p:nvSpPr>
        <p:spPr bwMode="auto">
          <a:xfrm>
            <a:off x="2840038" y="5152991"/>
            <a:ext cx="6350" cy="4763"/>
          </a:xfrm>
          <a:custGeom>
            <a:avLst/>
            <a:gdLst>
              <a:gd name="T0" fmla="*/ 0 w 4"/>
              <a:gd name="T1" fmla="*/ 2 h 3"/>
              <a:gd name="T2" fmla="*/ 0 w 4"/>
              <a:gd name="T3" fmla="*/ 1 h 3"/>
              <a:gd name="T4" fmla="*/ 0 w 4"/>
              <a:gd name="T5" fmla="*/ 1 h 3"/>
              <a:gd name="T6" fmla="*/ 0 w 4"/>
              <a:gd name="T7" fmla="*/ 0 h 3"/>
              <a:gd name="T8" fmla="*/ 3 w 4"/>
              <a:gd name="T9" fmla="*/ 0 h 3"/>
              <a:gd name="T10" fmla="*/ 4 w 4"/>
              <a:gd name="T11" fmla="*/ 2 h 3"/>
              <a:gd name="T12" fmla="*/ 4 w 4"/>
              <a:gd name="T13" fmla="*/ 2 h 3"/>
              <a:gd name="T14" fmla="*/ 4 w 4"/>
              <a:gd name="T15" fmla="*/ 3 h 3"/>
              <a:gd name="T16" fmla="*/ 3 w 4"/>
              <a:gd name="T17" fmla="*/ 3 h 3"/>
              <a:gd name="T18" fmla="*/ 0 w 4"/>
              <a:gd name="T19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" h="3">
                <a:moveTo>
                  <a:pt x="0" y="2"/>
                </a:moveTo>
                <a:lnTo>
                  <a:pt x="0" y="1"/>
                </a:lnTo>
                <a:lnTo>
                  <a:pt x="0" y="1"/>
                </a:lnTo>
                <a:lnTo>
                  <a:pt x="0" y="0"/>
                </a:lnTo>
                <a:lnTo>
                  <a:pt x="3" y="0"/>
                </a:lnTo>
                <a:lnTo>
                  <a:pt x="4" y="2"/>
                </a:lnTo>
                <a:lnTo>
                  <a:pt x="4" y="2"/>
                </a:lnTo>
                <a:lnTo>
                  <a:pt x="4" y="3"/>
                </a:lnTo>
                <a:lnTo>
                  <a:pt x="3" y="3"/>
                </a:lnTo>
                <a:lnTo>
                  <a:pt x="0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3" name="Freeform 72"/>
          <p:cNvSpPr>
            <a:spLocks/>
          </p:cNvSpPr>
          <p:nvPr/>
        </p:nvSpPr>
        <p:spPr bwMode="auto">
          <a:xfrm>
            <a:off x="2840038" y="5152991"/>
            <a:ext cx="6350" cy="4763"/>
          </a:xfrm>
          <a:custGeom>
            <a:avLst/>
            <a:gdLst>
              <a:gd name="T0" fmla="*/ 0 w 4"/>
              <a:gd name="T1" fmla="*/ 2 h 3"/>
              <a:gd name="T2" fmla="*/ 0 w 4"/>
              <a:gd name="T3" fmla="*/ 1 h 3"/>
              <a:gd name="T4" fmla="*/ 0 w 4"/>
              <a:gd name="T5" fmla="*/ 1 h 3"/>
              <a:gd name="T6" fmla="*/ 0 w 4"/>
              <a:gd name="T7" fmla="*/ 0 h 3"/>
              <a:gd name="T8" fmla="*/ 3 w 4"/>
              <a:gd name="T9" fmla="*/ 0 h 3"/>
              <a:gd name="T10" fmla="*/ 4 w 4"/>
              <a:gd name="T11" fmla="*/ 2 h 3"/>
              <a:gd name="T12" fmla="*/ 4 w 4"/>
              <a:gd name="T13" fmla="*/ 2 h 3"/>
              <a:gd name="T14" fmla="*/ 4 w 4"/>
              <a:gd name="T15" fmla="*/ 3 h 3"/>
              <a:gd name="T16" fmla="*/ 3 w 4"/>
              <a:gd name="T17" fmla="*/ 3 h 3"/>
              <a:gd name="T18" fmla="*/ 0 w 4"/>
              <a:gd name="T19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" h="3">
                <a:moveTo>
                  <a:pt x="0" y="2"/>
                </a:moveTo>
                <a:lnTo>
                  <a:pt x="0" y="1"/>
                </a:lnTo>
                <a:lnTo>
                  <a:pt x="0" y="1"/>
                </a:lnTo>
                <a:lnTo>
                  <a:pt x="0" y="0"/>
                </a:lnTo>
                <a:lnTo>
                  <a:pt x="3" y="0"/>
                </a:lnTo>
                <a:lnTo>
                  <a:pt x="4" y="2"/>
                </a:lnTo>
                <a:lnTo>
                  <a:pt x="4" y="2"/>
                </a:lnTo>
                <a:lnTo>
                  <a:pt x="4" y="3"/>
                </a:lnTo>
                <a:lnTo>
                  <a:pt x="3" y="3"/>
                </a:lnTo>
                <a:lnTo>
                  <a:pt x="0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4" name="Freeform 73"/>
          <p:cNvSpPr>
            <a:spLocks/>
          </p:cNvSpPr>
          <p:nvPr/>
        </p:nvSpPr>
        <p:spPr bwMode="auto">
          <a:xfrm>
            <a:off x="2849563" y="5156166"/>
            <a:ext cx="6350" cy="3175"/>
          </a:xfrm>
          <a:custGeom>
            <a:avLst/>
            <a:gdLst>
              <a:gd name="T0" fmla="*/ 4 w 4"/>
              <a:gd name="T1" fmla="*/ 2 h 2"/>
              <a:gd name="T2" fmla="*/ 3 w 4"/>
              <a:gd name="T3" fmla="*/ 2 h 2"/>
              <a:gd name="T4" fmla="*/ 2 w 4"/>
              <a:gd name="T5" fmla="*/ 2 h 2"/>
              <a:gd name="T6" fmla="*/ 0 w 4"/>
              <a:gd name="T7" fmla="*/ 1 h 2"/>
              <a:gd name="T8" fmla="*/ 0 w 4"/>
              <a:gd name="T9" fmla="*/ 0 h 2"/>
              <a:gd name="T10" fmla="*/ 0 w 4"/>
              <a:gd name="T11" fmla="*/ 0 h 2"/>
              <a:gd name="T12" fmla="*/ 2 w 4"/>
              <a:gd name="T13" fmla="*/ 1 h 2"/>
              <a:gd name="T14" fmla="*/ 3 w 4"/>
              <a:gd name="T15" fmla="*/ 0 h 2"/>
              <a:gd name="T16" fmla="*/ 4 w 4"/>
              <a:gd name="T17" fmla="*/ 1 h 2"/>
              <a:gd name="T18" fmla="*/ 4 w 4"/>
              <a:gd name="T19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" h="2">
                <a:moveTo>
                  <a:pt x="4" y="2"/>
                </a:moveTo>
                <a:lnTo>
                  <a:pt x="3" y="2"/>
                </a:lnTo>
                <a:lnTo>
                  <a:pt x="2" y="2"/>
                </a:lnTo>
                <a:lnTo>
                  <a:pt x="0" y="1"/>
                </a:lnTo>
                <a:lnTo>
                  <a:pt x="0" y="0"/>
                </a:lnTo>
                <a:lnTo>
                  <a:pt x="0" y="0"/>
                </a:lnTo>
                <a:lnTo>
                  <a:pt x="2" y="1"/>
                </a:lnTo>
                <a:lnTo>
                  <a:pt x="3" y="0"/>
                </a:lnTo>
                <a:lnTo>
                  <a:pt x="4" y="1"/>
                </a:lnTo>
                <a:lnTo>
                  <a:pt x="4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5" name="Freeform 74"/>
          <p:cNvSpPr>
            <a:spLocks/>
          </p:cNvSpPr>
          <p:nvPr/>
        </p:nvSpPr>
        <p:spPr bwMode="auto">
          <a:xfrm>
            <a:off x="2849563" y="5156166"/>
            <a:ext cx="6350" cy="3175"/>
          </a:xfrm>
          <a:custGeom>
            <a:avLst/>
            <a:gdLst>
              <a:gd name="T0" fmla="*/ 4 w 4"/>
              <a:gd name="T1" fmla="*/ 2 h 2"/>
              <a:gd name="T2" fmla="*/ 3 w 4"/>
              <a:gd name="T3" fmla="*/ 2 h 2"/>
              <a:gd name="T4" fmla="*/ 2 w 4"/>
              <a:gd name="T5" fmla="*/ 2 h 2"/>
              <a:gd name="T6" fmla="*/ 0 w 4"/>
              <a:gd name="T7" fmla="*/ 1 h 2"/>
              <a:gd name="T8" fmla="*/ 0 w 4"/>
              <a:gd name="T9" fmla="*/ 0 h 2"/>
              <a:gd name="T10" fmla="*/ 0 w 4"/>
              <a:gd name="T11" fmla="*/ 0 h 2"/>
              <a:gd name="T12" fmla="*/ 2 w 4"/>
              <a:gd name="T13" fmla="*/ 1 h 2"/>
              <a:gd name="T14" fmla="*/ 3 w 4"/>
              <a:gd name="T15" fmla="*/ 0 h 2"/>
              <a:gd name="T16" fmla="*/ 4 w 4"/>
              <a:gd name="T17" fmla="*/ 1 h 2"/>
              <a:gd name="T18" fmla="*/ 4 w 4"/>
              <a:gd name="T19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" h="2">
                <a:moveTo>
                  <a:pt x="4" y="2"/>
                </a:moveTo>
                <a:lnTo>
                  <a:pt x="3" y="2"/>
                </a:lnTo>
                <a:lnTo>
                  <a:pt x="2" y="2"/>
                </a:lnTo>
                <a:lnTo>
                  <a:pt x="0" y="1"/>
                </a:lnTo>
                <a:lnTo>
                  <a:pt x="0" y="0"/>
                </a:lnTo>
                <a:lnTo>
                  <a:pt x="0" y="0"/>
                </a:lnTo>
                <a:lnTo>
                  <a:pt x="2" y="1"/>
                </a:lnTo>
                <a:lnTo>
                  <a:pt x="3" y="0"/>
                </a:lnTo>
                <a:lnTo>
                  <a:pt x="4" y="1"/>
                </a:lnTo>
                <a:lnTo>
                  <a:pt x="4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6" name="Freeform 75"/>
          <p:cNvSpPr>
            <a:spLocks/>
          </p:cNvSpPr>
          <p:nvPr/>
        </p:nvSpPr>
        <p:spPr bwMode="auto">
          <a:xfrm>
            <a:off x="2863851" y="5151403"/>
            <a:ext cx="15875" cy="3175"/>
          </a:xfrm>
          <a:custGeom>
            <a:avLst/>
            <a:gdLst>
              <a:gd name="T0" fmla="*/ 10 w 10"/>
              <a:gd name="T1" fmla="*/ 1 h 2"/>
              <a:gd name="T2" fmla="*/ 10 w 10"/>
              <a:gd name="T3" fmla="*/ 1 h 2"/>
              <a:gd name="T4" fmla="*/ 5 w 10"/>
              <a:gd name="T5" fmla="*/ 2 h 2"/>
              <a:gd name="T6" fmla="*/ 2 w 10"/>
              <a:gd name="T7" fmla="*/ 2 h 2"/>
              <a:gd name="T8" fmla="*/ 1 w 10"/>
              <a:gd name="T9" fmla="*/ 2 h 2"/>
              <a:gd name="T10" fmla="*/ 0 w 10"/>
              <a:gd name="T11" fmla="*/ 1 h 2"/>
              <a:gd name="T12" fmla="*/ 0 w 10"/>
              <a:gd name="T13" fmla="*/ 0 h 2"/>
              <a:gd name="T14" fmla="*/ 1 w 10"/>
              <a:gd name="T15" fmla="*/ 0 h 2"/>
              <a:gd name="T16" fmla="*/ 1 w 10"/>
              <a:gd name="T17" fmla="*/ 0 h 2"/>
              <a:gd name="T18" fmla="*/ 4 w 10"/>
              <a:gd name="T19" fmla="*/ 0 h 2"/>
              <a:gd name="T20" fmla="*/ 9 w 10"/>
              <a:gd name="T21" fmla="*/ 1 h 2"/>
              <a:gd name="T22" fmla="*/ 10 w 10"/>
              <a:gd name="T23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" h="2">
                <a:moveTo>
                  <a:pt x="10" y="1"/>
                </a:moveTo>
                <a:lnTo>
                  <a:pt x="10" y="1"/>
                </a:lnTo>
                <a:lnTo>
                  <a:pt x="5" y="2"/>
                </a:lnTo>
                <a:lnTo>
                  <a:pt x="2" y="2"/>
                </a:lnTo>
                <a:lnTo>
                  <a:pt x="1" y="2"/>
                </a:ln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lnTo>
                  <a:pt x="4" y="0"/>
                </a:lnTo>
                <a:lnTo>
                  <a:pt x="9" y="1"/>
                </a:lnTo>
                <a:lnTo>
                  <a:pt x="1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7" name="Freeform 76"/>
          <p:cNvSpPr>
            <a:spLocks/>
          </p:cNvSpPr>
          <p:nvPr/>
        </p:nvSpPr>
        <p:spPr bwMode="auto">
          <a:xfrm>
            <a:off x="2863851" y="5151403"/>
            <a:ext cx="15875" cy="3175"/>
          </a:xfrm>
          <a:custGeom>
            <a:avLst/>
            <a:gdLst>
              <a:gd name="T0" fmla="*/ 10 w 10"/>
              <a:gd name="T1" fmla="*/ 1 h 2"/>
              <a:gd name="T2" fmla="*/ 10 w 10"/>
              <a:gd name="T3" fmla="*/ 1 h 2"/>
              <a:gd name="T4" fmla="*/ 5 w 10"/>
              <a:gd name="T5" fmla="*/ 2 h 2"/>
              <a:gd name="T6" fmla="*/ 2 w 10"/>
              <a:gd name="T7" fmla="*/ 2 h 2"/>
              <a:gd name="T8" fmla="*/ 1 w 10"/>
              <a:gd name="T9" fmla="*/ 2 h 2"/>
              <a:gd name="T10" fmla="*/ 0 w 10"/>
              <a:gd name="T11" fmla="*/ 1 h 2"/>
              <a:gd name="T12" fmla="*/ 0 w 10"/>
              <a:gd name="T13" fmla="*/ 0 h 2"/>
              <a:gd name="T14" fmla="*/ 1 w 10"/>
              <a:gd name="T15" fmla="*/ 0 h 2"/>
              <a:gd name="T16" fmla="*/ 1 w 10"/>
              <a:gd name="T17" fmla="*/ 0 h 2"/>
              <a:gd name="T18" fmla="*/ 4 w 10"/>
              <a:gd name="T19" fmla="*/ 0 h 2"/>
              <a:gd name="T20" fmla="*/ 9 w 10"/>
              <a:gd name="T21" fmla="*/ 1 h 2"/>
              <a:gd name="T22" fmla="*/ 10 w 10"/>
              <a:gd name="T23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" h="2">
                <a:moveTo>
                  <a:pt x="10" y="1"/>
                </a:moveTo>
                <a:lnTo>
                  <a:pt x="10" y="1"/>
                </a:lnTo>
                <a:lnTo>
                  <a:pt x="5" y="2"/>
                </a:lnTo>
                <a:lnTo>
                  <a:pt x="2" y="2"/>
                </a:lnTo>
                <a:lnTo>
                  <a:pt x="1" y="2"/>
                </a:ln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lnTo>
                  <a:pt x="4" y="0"/>
                </a:lnTo>
                <a:lnTo>
                  <a:pt x="9" y="1"/>
                </a:lnTo>
                <a:lnTo>
                  <a:pt x="1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8" name="Freeform 77"/>
          <p:cNvSpPr>
            <a:spLocks/>
          </p:cNvSpPr>
          <p:nvPr/>
        </p:nvSpPr>
        <p:spPr bwMode="auto">
          <a:xfrm>
            <a:off x="2863851" y="5152991"/>
            <a:ext cx="49213" cy="19050"/>
          </a:xfrm>
          <a:custGeom>
            <a:avLst/>
            <a:gdLst>
              <a:gd name="T0" fmla="*/ 0 w 31"/>
              <a:gd name="T1" fmla="*/ 3 h 12"/>
              <a:gd name="T2" fmla="*/ 1 w 31"/>
              <a:gd name="T3" fmla="*/ 3 h 12"/>
              <a:gd name="T4" fmla="*/ 4 w 31"/>
              <a:gd name="T5" fmla="*/ 2 h 12"/>
              <a:gd name="T6" fmla="*/ 10 w 31"/>
              <a:gd name="T7" fmla="*/ 1 h 12"/>
              <a:gd name="T8" fmla="*/ 14 w 31"/>
              <a:gd name="T9" fmla="*/ 1 h 12"/>
              <a:gd name="T10" fmla="*/ 18 w 31"/>
              <a:gd name="T11" fmla="*/ 0 h 12"/>
              <a:gd name="T12" fmla="*/ 19 w 31"/>
              <a:gd name="T13" fmla="*/ 0 h 12"/>
              <a:gd name="T14" fmla="*/ 22 w 31"/>
              <a:gd name="T15" fmla="*/ 1 h 12"/>
              <a:gd name="T16" fmla="*/ 22 w 31"/>
              <a:gd name="T17" fmla="*/ 2 h 12"/>
              <a:gd name="T18" fmla="*/ 20 w 31"/>
              <a:gd name="T19" fmla="*/ 3 h 12"/>
              <a:gd name="T20" fmla="*/ 19 w 31"/>
              <a:gd name="T21" fmla="*/ 3 h 12"/>
              <a:gd name="T22" fmla="*/ 14 w 31"/>
              <a:gd name="T23" fmla="*/ 2 h 12"/>
              <a:gd name="T24" fmla="*/ 13 w 31"/>
              <a:gd name="T25" fmla="*/ 2 h 12"/>
              <a:gd name="T26" fmla="*/ 16 w 31"/>
              <a:gd name="T27" fmla="*/ 3 h 12"/>
              <a:gd name="T28" fmla="*/ 23 w 31"/>
              <a:gd name="T29" fmla="*/ 3 h 12"/>
              <a:gd name="T30" fmla="*/ 24 w 31"/>
              <a:gd name="T31" fmla="*/ 4 h 12"/>
              <a:gd name="T32" fmla="*/ 24 w 31"/>
              <a:gd name="T33" fmla="*/ 5 h 12"/>
              <a:gd name="T34" fmla="*/ 25 w 31"/>
              <a:gd name="T35" fmla="*/ 5 h 12"/>
              <a:gd name="T36" fmla="*/ 21 w 31"/>
              <a:gd name="T37" fmla="*/ 5 h 12"/>
              <a:gd name="T38" fmla="*/ 21 w 31"/>
              <a:gd name="T39" fmla="*/ 5 h 12"/>
              <a:gd name="T40" fmla="*/ 21 w 31"/>
              <a:gd name="T41" fmla="*/ 6 h 12"/>
              <a:gd name="T42" fmla="*/ 25 w 31"/>
              <a:gd name="T43" fmla="*/ 6 h 12"/>
              <a:gd name="T44" fmla="*/ 26 w 31"/>
              <a:gd name="T45" fmla="*/ 7 h 12"/>
              <a:gd name="T46" fmla="*/ 28 w 31"/>
              <a:gd name="T47" fmla="*/ 9 h 12"/>
              <a:gd name="T48" fmla="*/ 29 w 31"/>
              <a:gd name="T49" fmla="*/ 9 h 12"/>
              <a:gd name="T50" fmla="*/ 30 w 31"/>
              <a:gd name="T51" fmla="*/ 11 h 12"/>
              <a:gd name="T52" fmla="*/ 31 w 31"/>
              <a:gd name="T53" fmla="*/ 12 h 12"/>
              <a:gd name="T54" fmla="*/ 31 w 31"/>
              <a:gd name="T55" fmla="*/ 12 h 12"/>
              <a:gd name="T56" fmla="*/ 31 w 31"/>
              <a:gd name="T57" fmla="*/ 12 h 12"/>
              <a:gd name="T58" fmla="*/ 29 w 31"/>
              <a:gd name="T59" fmla="*/ 11 h 12"/>
              <a:gd name="T60" fmla="*/ 28 w 31"/>
              <a:gd name="T61" fmla="*/ 11 h 12"/>
              <a:gd name="T62" fmla="*/ 26 w 31"/>
              <a:gd name="T63" fmla="*/ 10 h 12"/>
              <a:gd name="T64" fmla="*/ 25 w 31"/>
              <a:gd name="T65" fmla="*/ 9 h 12"/>
              <a:gd name="T66" fmla="*/ 23 w 31"/>
              <a:gd name="T67" fmla="*/ 7 h 12"/>
              <a:gd name="T68" fmla="*/ 20 w 31"/>
              <a:gd name="T69" fmla="*/ 9 h 12"/>
              <a:gd name="T70" fmla="*/ 19 w 31"/>
              <a:gd name="T71" fmla="*/ 7 h 12"/>
              <a:gd name="T72" fmla="*/ 18 w 31"/>
              <a:gd name="T73" fmla="*/ 6 h 12"/>
              <a:gd name="T74" fmla="*/ 15 w 31"/>
              <a:gd name="T75" fmla="*/ 6 h 12"/>
              <a:gd name="T76" fmla="*/ 15 w 31"/>
              <a:gd name="T77" fmla="*/ 5 h 12"/>
              <a:gd name="T78" fmla="*/ 13 w 31"/>
              <a:gd name="T79" fmla="*/ 4 h 12"/>
              <a:gd name="T80" fmla="*/ 11 w 31"/>
              <a:gd name="T81" fmla="*/ 4 h 12"/>
              <a:gd name="T82" fmla="*/ 10 w 31"/>
              <a:gd name="T83" fmla="*/ 5 h 12"/>
              <a:gd name="T84" fmla="*/ 11 w 31"/>
              <a:gd name="T85" fmla="*/ 6 h 12"/>
              <a:gd name="T86" fmla="*/ 15 w 31"/>
              <a:gd name="T87" fmla="*/ 10 h 12"/>
              <a:gd name="T88" fmla="*/ 11 w 31"/>
              <a:gd name="T89" fmla="*/ 10 h 12"/>
              <a:gd name="T90" fmla="*/ 10 w 31"/>
              <a:gd name="T91" fmla="*/ 9 h 12"/>
              <a:gd name="T92" fmla="*/ 10 w 31"/>
              <a:gd name="T93" fmla="*/ 7 h 12"/>
              <a:gd name="T94" fmla="*/ 6 w 31"/>
              <a:gd name="T95" fmla="*/ 6 h 12"/>
              <a:gd name="T96" fmla="*/ 6 w 31"/>
              <a:gd name="T97" fmla="*/ 5 h 12"/>
              <a:gd name="T98" fmla="*/ 9 w 31"/>
              <a:gd name="T99" fmla="*/ 4 h 12"/>
              <a:gd name="T100" fmla="*/ 9 w 31"/>
              <a:gd name="T101" fmla="*/ 4 h 12"/>
              <a:gd name="T102" fmla="*/ 9 w 31"/>
              <a:gd name="T103" fmla="*/ 3 h 12"/>
              <a:gd name="T104" fmla="*/ 8 w 31"/>
              <a:gd name="T105" fmla="*/ 4 h 12"/>
              <a:gd name="T106" fmla="*/ 5 w 31"/>
              <a:gd name="T107" fmla="*/ 4 h 12"/>
              <a:gd name="T108" fmla="*/ 2 w 31"/>
              <a:gd name="T109" fmla="*/ 5 h 12"/>
              <a:gd name="T110" fmla="*/ 1 w 31"/>
              <a:gd name="T111" fmla="*/ 4 h 12"/>
              <a:gd name="T112" fmla="*/ 0 w 31"/>
              <a:gd name="T113" fmla="*/ 4 h 12"/>
              <a:gd name="T114" fmla="*/ 0 w 31"/>
              <a:gd name="T115" fmla="*/ 3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1" h="12">
                <a:moveTo>
                  <a:pt x="0" y="3"/>
                </a:moveTo>
                <a:lnTo>
                  <a:pt x="1" y="3"/>
                </a:lnTo>
                <a:lnTo>
                  <a:pt x="4" y="2"/>
                </a:lnTo>
                <a:lnTo>
                  <a:pt x="10" y="1"/>
                </a:lnTo>
                <a:lnTo>
                  <a:pt x="14" y="1"/>
                </a:lnTo>
                <a:lnTo>
                  <a:pt x="18" y="0"/>
                </a:lnTo>
                <a:lnTo>
                  <a:pt x="19" y="0"/>
                </a:lnTo>
                <a:lnTo>
                  <a:pt x="22" y="1"/>
                </a:lnTo>
                <a:lnTo>
                  <a:pt x="22" y="2"/>
                </a:lnTo>
                <a:lnTo>
                  <a:pt x="20" y="3"/>
                </a:lnTo>
                <a:lnTo>
                  <a:pt x="19" y="3"/>
                </a:lnTo>
                <a:lnTo>
                  <a:pt x="14" y="2"/>
                </a:lnTo>
                <a:lnTo>
                  <a:pt x="13" y="2"/>
                </a:lnTo>
                <a:lnTo>
                  <a:pt x="16" y="3"/>
                </a:lnTo>
                <a:lnTo>
                  <a:pt x="23" y="3"/>
                </a:lnTo>
                <a:lnTo>
                  <a:pt x="24" y="4"/>
                </a:lnTo>
                <a:lnTo>
                  <a:pt x="24" y="5"/>
                </a:lnTo>
                <a:lnTo>
                  <a:pt x="25" y="5"/>
                </a:lnTo>
                <a:lnTo>
                  <a:pt x="21" y="5"/>
                </a:lnTo>
                <a:lnTo>
                  <a:pt x="21" y="5"/>
                </a:lnTo>
                <a:lnTo>
                  <a:pt x="21" y="6"/>
                </a:lnTo>
                <a:lnTo>
                  <a:pt x="25" y="6"/>
                </a:lnTo>
                <a:lnTo>
                  <a:pt x="26" y="7"/>
                </a:lnTo>
                <a:lnTo>
                  <a:pt x="28" y="9"/>
                </a:lnTo>
                <a:lnTo>
                  <a:pt x="29" y="9"/>
                </a:lnTo>
                <a:lnTo>
                  <a:pt x="30" y="11"/>
                </a:lnTo>
                <a:lnTo>
                  <a:pt x="31" y="12"/>
                </a:lnTo>
                <a:lnTo>
                  <a:pt x="31" y="12"/>
                </a:lnTo>
                <a:lnTo>
                  <a:pt x="31" y="12"/>
                </a:lnTo>
                <a:lnTo>
                  <a:pt x="29" y="11"/>
                </a:lnTo>
                <a:lnTo>
                  <a:pt x="28" y="11"/>
                </a:lnTo>
                <a:lnTo>
                  <a:pt x="26" y="10"/>
                </a:lnTo>
                <a:lnTo>
                  <a:pt x="25" y="9"/>
                </a:lnTo>
                <a:lnTo>
                  <a:pt x="23" y="7"/>
                </a:lnTo>
                <a:lnTo>
                  <a:pt x="20" y="9"/>
                </a:lnTo>
                <a:lnTo>
                  <a:pt x="19" y="7"/>
                </a:lnTo>
                <a:lnTo>
                  <a:pt x="18" y="6"/>
                </a:lnTo>
                <a:lnTo>
                  <a:pt x="15" y="6"/>
                </a:lnTo>
                <a:lnTo>
                  <a:pt x="15" y="5"/>
                </a:lnTo>
                <a:lnTo>
                  <a:pt x="13" y="4"/>
                </a:lnTo>
                <a:lnTo>
                  <a:pt x="11" y="4"/>
                </a:lnTo>
                <a:lnTo>
                  <a:pt x="10" y="5"/>
                </a:lnTo>
                <a:lnTo>
                  <a:pt x="11" y="6"/>
                </a:lnTo>
                <a:lnTo>
                  <a:pt x="15" y="10"/>
                </a:lnTo>
                <a:lnTo>
                  <a:pt x="11" y="10"/>
                </a:lnTo>
                <a:lnTo>
                  <a:pt x="10" y="9"/>
                </a:lnTo>
                <a:lnTo>
                  <a:pt x="10" y="7"/>
                </a:lnTo>
                <a:lnTo>
                  <a:pt x="6" y="6"/>
                </a:lnTo>
                <a:lnTo>
                  <a:pt x="6" y="5"/>
                </a:lnTo>
                <a:lnTo>
                  <a:pt x="9" y="4"/>
                </a:lnTo>
                <a:lnTo>
                  <a:pt x="9" y="4"/>
                </a:lnTo>
                <a:lnTo>
                  <a:pt x="9" y="3"/>
                </a:lnTo>
                <a:lnTo>
                  <a:pt x="8" y="4"/>
                </a:lnTo>
                <a:lnTo>
                  <a:pt x="5" y="4"/>
                </a:lnTo>
                <a:lnTo>
                  <a:pt x="2" y="5"/>
                </a:lnTo>
                <a:lnTo>
                  <a:pt x="1" y="4"/>
                </a:lnTo>
                <a:lnTo>
                  <a:pt x="0" y="4"/>
                </a:lnTo>
                <a:lnTo>
                  <a:pt x="0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9" name="Freeform 78"/>
          <p:cNvSpPr>
            <a:spLocks/>
          </p:cNvSpPr>
          <p:nvPr/>
        </p:nvSpPr>
        <p:spPr bwMode="auto">
          <a:xfrm>
            <a:off x="2863851" y="5152991"/>
            <a:ext cx="49213" cy="19050"/>
          </a:xfrm>
          <a:custGeom>
            <a:avLst/>
            <a:gdLst>
              <a:gd name="T0" fmla="*/ 0 w 31"/>
              <a:gd name="T1" fmla="*/ 3 h 12"/>
              <a:gd name="T2" fmla="*/ 1 w 31"/>
              <a:gd name="T3" fmla="*/ 3 h 12"/>
              <a:gd name="T4" fmla="*/ 4 w 31"/>
              <a:gd name="T5" fmla="*/ 2 h 12"/>
              <a:gd name="T6" fmla="*/ 10 w 31"/>
              <a:gd name="T7" fmla="*/ 1 h 12"/>
              <a:gd name="T8" fmla="*/ 14 w 31"/>
              <a:gd name="T9" fmla="*/ 1 h 12"/>
              <a:gd name="T10" fmla="*/ 18 w 31"/>
              <a:gd name="T11" fmla="*/ 0 h 12"/>
              <a:gd name="T12" fmla="*/ 19 w 31"/>
              <a:gd name="T13" fmla="*/ 0 h 12"/>
              <a:gd name="T14" fmla="*/ 22 w 31"/>
              <a:gd name="T15" fmla="*/ 1 h 12"/>
              <a:gd name="T16" fmla="*/ 22 w 31"/>
              <a:gd name="T17" fmla="*/ 2 h 12"/>
              <a:gd name="T18" fmla="*/ 20 w 31"/>
              <a:gd name="T19" fmla="*/ 3 h 12"/>
              <a:gd name="T20" fmla="*/ 19 w 31"/>
              <a:gd name="T21" fmla="*/ 3 h 12"/>
              <a:gd name="T22" fmla="*/ 14 w 31"/>
              <a:gd name="T23" fmla="*/ 2 h 12"/>
              <a:gd name="T24" fmla="*/ 13 w 31"/>
              <a:gd name="T25" fmla="*/ 2 h 12"/>
              <a:gd name="T26" fmla="*/ 16 w 31"/>
              <a:gd name="T27" fmla="*/ 3 h 12"/>
              <a:gd name="T28" fmla="*/ 23 w 31"/>
              <a:gd name="T29" fmla="*/ 3 h 12"/>
              <a:gd name="T30" fmla="*/ 24 w 31"/>
              <a:gd name="T31" fmla="*/ 4 h 12"/>
              <a:gd name="T32" fmla="*/ 24 w 31"/>
              <a:gd name="T33" fmla="*/ 5 h 12"/>
              <a:gd name="T34" fmla="*/ 25 w 31"/>
              <a:gd name="T35" fmla="*/ 5 h 12"/>
              <a:gd name="T36" fmla="*/ 21 w 31"/>
              <a:gd name="T37" fmla="*/ 5 h 12"/>
              <a:gd name="T38" fmla="*/ 21 w 31"/>
              <a:gd name="T39" fmla="*/ 5 h 12"/>
              <a:gd name="T40" fmla="*/ 21 w 31"/>
              <a:gd name="T41" fmla="*/ 6 h 12"/>
              <a:gd name="T42" fmla="*/ 25 w 31"/>
              <a:gd name="T43" fmla="*/ 6 h 12"/>
              <a:gd name="T44" fmla="*/ 26 w 31"/>
              <a:gd name="T45" fmla="*/ 7 h 12"/>
              <a:gd name="T46" fmla="*/ 28 w 31"/>
              <a:gd name="T47" fmla="*/ 9 h 12"/>
              <a:gd name="T48" fmla="*/ 29 w 31"/>
              <a:gd name="T49" fmla="*/ 9 h 12"/>
              <a:gd name="T50" fmla="*/ 30 w 31"/>
              <a:gd name="T51" fmla="*/ 11 h 12"/>
              <a:gd name="T52" fmla="*/ 31 w 31"/>
              <a:gd name="T53" fmla="*/ 12 h 12"/>
              <a:gd name="T54" fmla="*/ 31 w 31"/>
              <a:gd name="T55" fmla="*/ 12 h 12"/>
              <a:gd name="T56" fmla="*/ 31 w 31"/>
              <a:gd name="T57" fmla="*/ 12 h 12"/>
              <a:gd name="T58" fmla="*/ 29 w 31"/>
              <a:gd name="T59" fmla="*/ 11 h 12"/>
              <a:gd name="T60" fmla="*/ 28 w 31"/>
              <a:gd name="T61" fmla="*/ 11 h 12"/>
              <a:gd name="T62" fmla="*/ 26 w 31"/>
              <a:gd name="T63" fmla="*/ 10 h 12"/>
              <a:gd name="T64" fmla="*/ 25 w 31"/>
              <a:gd name="T65" fmla="*/ 9 h 12"/>
              <a:gd name="T66" fmla="*/ 23 w 31"/>
              <a:gd name="T67" fmla="*/ 7 h 12"/>
              <a:gd name="T68" fmla="*/ 20 w 31"/>
              <a:gd name="T69" fmla="*/ 9 h 12"/>
              <a:gd name="T70" fmla="*/ 19 w 31"/>
              <a:gd name="T71" fmla="*/ 7 h 12"/>
              <a:gd name="T72" fmla="*/ 18 w 31"/>
              <a:gd name="T73" fmla="*/ 6 h 12"/>
              <a:gd name="T74" fmla="*/ 15 w 31"/>
              <a:gd name="T75" fmla="*/ 6 h 12"/>
              <a:gd name="T76" fmla="*/ 15 w 31"/>
              <a:gd name="T77" fmla="*/ 5 h 12"/>
              <a:gd name="T78" fmla="*/ 13 w 31"/>
              <a:gd name="T79" fmla="*/ 4 h 12"/>
              <a:gd name="T80" fmla="*/ 11 w 31"/>
              <a:gd name="T81" fmla="*/ 4 h 12"/>
              <a:gd name="T82" fmla="*/ 10 w 31"/>
              <a:gd name="T83" fmla="*/ 5 h 12"/>
              <a:gd name="T84" fmla="*/ 11 w 31"/>
              <a:gd name="T85" fmla="*/ 6 h 12"/>
              <a:gd name="T86" fmla="*/ 15 w 31"/>
              <a:gd name="T87" fmla="*/ 10 h 12"/>
              <a:gd name="T88" fmla="*/ 11 w 31"/>
              <a:gd name="T89" fmla="*/ 10 h 12"/>
              <a:gd name="T90" fmla="*/ 10 w 31"/>
              <a:gd name="T91" fmla="*/ 9 h 12"/>
              <a:gd name="T92" fmla="*/ 10 w 31"/>
              <a:gd name="T93" fmla="*/ 7 h 12"/>
              <a:gd name="T94" fmla="*/ 6 w 31"/>
              <a:gd name="T95" fmla="*/ 6 h 12"/>
              <a:gd name="T96" fmla="*/ 6 w 31"/>
              <a:gd name="T97" fmla="*/ 5 h 12"/>
              <a:gd name="T98" fmla="*/ 9 w 31"/>
              <a:gd name="T99" fmla="*/ 4 h 12"/>
              <a:gd name="T100" fmla="*/ 9 w 31"/>
              <a:gd name="T101" fmla="*/ 4 h 12"/>
              <a:gd name="T102" fmla="*/ 9 w 31"/>
              <a:gd name="T103" fmla="*/ 3 h 12"/>
              <a:gd name="T104" fmla="*/ 8 w 31"/>
              <a:gd name="T105" fmla="*/ 4 h 12"/>
              <a:gd name="T106" fmla="*/ 5 w 31"/>
              <a:gd name="T107" fmla="*/ 4 h 12"/>
              <a:gd name="T108" fmla="*/ 2 w 31"/>
              <a:gd name="T109" fmla="*/ 5 h 12"/>
              <a:gd name="T110" fmla="*/ 1 w 31"/>
              <a:gd name="T111" fmla="*/ 4 h 12"/>
              <a:gd name="T112" fmla="*/ 0 w 31"/>
              <a:gd name="T113" fmla="*/ 4 h 12"/>
              <a:gd name="T114" fmla="*/ 0 w 31"/>
              <a:gd name="T115" fmla="*/ 3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1" h="12">
                <a:moveTo>
                  <a:pt x="0" y="3"/>
                </a:moveTo>
                <a:lnTo>
                  <a:pt x="1" y="3"/>
                </a:lnTo>
                <a:lnTo>
                  <a:pt x="4" y="2"/>
                </a:lnTo>
                <a:lnTo>
                  <a:pt x="10" y="1"/>
                </a:lnTo>
                <a:lnTo>
                  <a:pt x="14" y="1"/>
                </a:lnTo>
                <a:lnTo>
                  <a:pt x="18" y="0"/>
                </a:lnTo>
                <a:lnTo>
                  <a:pt x="19" y="0"/>
                </a:lnTo>
                <a:lnTo>
                  <a:pt x="22" y="1"/>
                </a:lnTo>
                <a:lnTo>
                  <a:pt x="22" y="2"/>
                </a:lnTo>
                <a:lnTo>
                  <a:pt x="20" y="3"/>
                </a:lnTo>
                <a:lnTo>
                  <a:pt x="19" y="3"/>
                </a:lnTo>
                <a:lnTo>
                  <a:pt x="14" y="2"/>
                </a:lnTo>
                <a:lnTo>
                  <a:pt x="13" y="2"/>
                </a:lnTo>
                <a:lnTo>
                  <a:pt x="16" y="3"/>
                </a:lnTo>
                <a:lnTo>
                  <a:pt x="23" y="3"/>
                </a:lnTo>
                <a:lnTo>
                  <a:pt x="24" y="4"/>
                </a:lnTo>
                <a:lnTo>
                  <a:pt x="24" y="5"/>
                </a:lnTo>
                <a:lnTo>
                  <a:pt x="25" y="5"/>
                </a:lnTo>
                <a:lnTo>
                  <a:pt x="21" y="5"/>
                </a:lnTo>
                <a:lnTo>
                  <a:pt x="21" y="5"/>
                </a:lnTo>
                <a:lnTo>
                  <a:pt x="21" y="6"/>
                </a:lnTo>
                <a:lnTo>
                  <a:pt x="25" y="6"/>
                </a:lnTo>
                <a:lnTo>
                  <a:pt x="26" y="7"/>
                </a:lnTo>
                <a:lnTo>
                  <a:pt x="28" y="9"/>
                </a:lnTo>
                <a:lnTo>
                  <a:pt x="29" y="9"/>
                </a:lnTo>
                <a:lnTo>
                  <a:pt x="30" y="11"/>
                </a:lnTo>
                <a:lnTo>
                  <a:pt x="31" y="12"/>
                </a:lnTo>
                <a:lnTo>
                  <a:pt x="31" y="12"/>
                </a:lnTo>
                <a:lnTo>
                  <a:pt x="31" y="12"/>
                </a:lnTo>
                <a:lnTo>
                  <a:pt x="29" y="11"/>
                </a:lnTo>
                <a:lnTo>
                  <a:pt x="28" y="11"/>
                </a:lnTo>
                <a:lnTo>
                  <a:pt x="26" y="10"/>
                </a:lnTo>
                <a:lnTo>
                  <a:pt x="25" y="9"/>
                </a:lnTo>
                <a:lnTo>
                  <a:pt x="23" y="7"/>
                </a:lnTo>
                <a:lnTo>
                  <a:pt x="20" y="9"/>
                </a:lnTo>
                <a:lnTo>
                  <a:pt x="19" y="7"/>
                </a:lnTo>
                <a:lnTo>
                  <a:pt x="18" y="6"/>
                </a:lnTo>
                <a:lnTo>
                  <a:pt x="15" y="6"/>
                </a:lnTo>
                <a:lnTo>
                  <a:pt x="15" y="5"/>
                </a:lnTo>
                <a:lnTo>
                  <a:pt x="13" y="4"/>
                </a:lnTo>
                <a:lnTo>
                  <a:pt x="11" y="4"/>
                </a:lnTo>
                <a:lnTo>
                  <a:pt x="10" y="5"/>
                </a:lnTo>
                <a:lnTo>
                  <a:pt x="11" y="6"/>
                </a:lnTo>
                <a:lnTo>
                  <a:pt x="15" y="10"/>
                </a:lnTo>
                <a:lnTo>
                  <a:pt x="11" y="10"/>
                </a:lnTo>
                <a:lnTo>
                  <a:pt x="10" y="9"/>
                </a:lnTo>
                <a:lnTo>
                  <a:pt x="10" y="7"/>
                </a:lnTo>
                <a:lnTo>
                  <a:pt x="6" y="6"/>
                </a:lnTo>
                <a:lnTo>
                  <a:pt x="6" y="5"/>
                </a:lnTo>
                <a:lnTo>
                  <a:pt x="9" y="4"/>
                </a:lnTo>
                <a:lnTo>
                  <a:pt x="9" y="4"/>
                </a:lnTo>
                <a:lnTo>
                  <a:pt x="9" y="3"/>
                </a:lnTo>
                <a:lnTo>
                  <a:pt x="8" y="4"/>
                </a:lnTo>
                <a:lnTo>
                  <a:pt x="5" y="4"/>
                </a:lnTo>
                <a:lnTo>
                  <a:pt x="2" y="5"/>
                </a:lnTo>
                <a:lnTo>
                  <a:pt x="1" y="4"/>
                </a:lnTo>
                <a:lnTo>
                  <a:pt x="0" y="4"/>
                </a:lnTo>
                <a:lnTo>
                  <a:pt x="0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0" name="Freeform 79"/>
          <p:cNvSpPr>
            <a:spLocks/>
          </p:cNvSpPr>
          <p:nvPr/>
        </p:nvSpPr>
        <p:spPr bwMode="auto">
          <a:xfrm>
            <a:off x="2897188" y="5151403"/>
            <a:ext cx="30163" cy="9525"/>
          </a:xfrm>
          <a:custGeom>
            <a:avLst/>
            <a:gdLst>
              <a:gd name="T0" fmla="*/ 3 w 19"/>
              <a:gd name="T1" fmla="*/ 1 h 6"/>
              <a:gd name="T2" fmla="*/ 2 w 19"/>
              <a:gd name="T3" fmla="*/ 2 h 6"/>
              <a:gd name="T4" fmla="*/ 1 w 19"/>
              <a:gd name="T5" fmla="*/ 1 h 6"/>
              <a:gd name="T6" fmla="*/ 0 w 19"/>
              <a:gd name="T7" fmla="*/ 1 h 6"/>
              <a:gd name="T8" fmla="*/ 7 w 19"/>
              <a:gd name="T9" fmla="*/ 0 h 6"/>
              <a:gd name="T10" fmla="*/ 10 w 19"/>
              <a:gd name="T11" fmla="*/ 1 h 6"/>
              <a:gd name="T12" fmla="*/ 14 w 19"/>
              <a:gd name="T13" fmla="*/ 1 h 6"/>
              <a:gd name="T14" fmla="*/ 17 w 19"/>
              <a:gd name="T15" fmla="*/ 2 h 6"/>
              <a:gd name="T16" fmla="*/ 18 w 19"/>
              <a:gd name="T17" fmla="*/ 4 h 6"/>
              <a:gd name="T18" fmla="*/ 19 w 19"/>
              <a:gd name="T19" fmla="*/ 5 h 6"/>
              <a:gd name="T20" fmla="*/ 19 w 19"/>
              <a:gd name="T21" fmla="*/ 5 h 6"/>
              <a:gd name="T22" fmla="*/ 18 w 19"/>
              <a:gd name="T23" fmla="*/ 6 h 6"/>
              <a:gd name="T24" fmla="*/ 17 w 19"/>
              <a:gd name="T25" fmla="*/ 6 h 6"/>
              <a:gd name="T26" fmla="*/ 15 w 19"/>
              <a:gd name="T27" fmla="*/ 6 h 6"/>
              <a:gd name="T28" fmla="*/ 14 w 19"/>
              <a:gd name="T29" fmla="*/ 6 h 6"/>
              <a:gd name="T30" fmla="*/ 14 w 19"/>
              <a:gd name="T31" fmla="*/ 5 h 6"/>
              <a:gd name="T32" fmla="*/ 12 w 19"/>
              <a:gd name="T33" fmla="*/ 5 h 6"/>
              <a:gd name="T34" fmla="*/ 11 w 19"/>
              <a:gd name="T35" fmla="*/ 5 h 6"/>
              <a:gd name="T36" fmla="*/ 12 w 19"/>
              <a:gd name="T37" fmla="*/ 5 h 6"/>
              <a:gd name="T38" fmla="*/ 10 w 19"/>
              <a:gd name="T39" fmla="*/ 5 h 6"/>
              <a:gd name="T40" fmla="*/ 10 w 19"/>
              <a:gd name="T41" fmla="*/ 5 h 6"/>
              <a:gd name="T42" fmla="*/ 10 w 19"/>
              <a:gd name="T43" fmla="*/ 5 h 6"/>
              <a:gd name="T44" fmla="*/ 5 w 19"/>
              <a:gd name="T45" fmla="*/ 4 h 6"/>
              <a:gd name="T46" fmla="*/ 3 w 19"/>
              <a:gd name="T47" fmla="*/ 3 h 6"/>
              <a:gd name="T48" fmla="*/ 3 w 19"/>
              <a:gd name="T49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9" h="6">
                <a:moveTo>
                  <a:pt x="3" y="1"/>
                </a:moveTo>
                <a:lnTo>
                  <a:pt x="2" y="2"/>
                </a:lnTo>
                <a:lnTo>
                  <a:pt x="1" y="1"/>
                </a:lnTo>
                <a:lnTo>
                  <a:pt x="0" y="1"/>
                </a:lnTo>
                <a:lnTo>
                  <a:pt x="7" y="0"/>
                </a:lnTo>
                <a:lnTo>
                  <a:pt x="10" y="1"/>
                </a:lnTo>
                <a:lnTo>
                  <a:pt x="14" y="1"/>
                </a:lnTo>
                <a:lnTo>
                  <a:pt x="17" y="2"/>
                </a:lnTo>
                <a:lnTo>
                  <a:pt x="18" y="4"/>
                </a:lnTo>
                <a:lnTo>
                  <a:pt x="19" y="5"/>
                </a:lnTo>
                <a:lnTo>
                  <a:pt x="19" y="5"/>
                </a:lnTo>
                <a:lnTo>
                  <a:pt x="18" y="6"/>
                </a:lnTo>
                <a:lnTo>
                  <a:pt x="17" y="6"/>
                </a:lnTo>
                <a:lnTo>
                  <a:pt x="15" y="6"/>
                </a:lnTo>
                <a:lnTo>
                  <a:pt x="14" y="6"/>
                </a:lnTo>
                <a:lnTo>
                  <a:pt x="14" y="5"/>
                </a:lnTo>
                <a:lnTo>
                  <a:pt x="12" y="5"/>
                </a:lnTo>
                <a:lnTo>
                  <a:pt x="11" y="5"/>
                </a:lnTo>
                <a:lnTo>
                  <a:pt x="12" y="5"/>
                </a:lnTo>
                <a:lnTo>
                  <a:pt x="10" y="5"/>
                </a:lnTo>
                <a:lnTo>
                  <a:pt x="10" y="5"/>
                </a:lnTo>
                <a:lnTo>
                  <a:pt x="10" y="5"/>
                </a:lnTo>
                <a:lnTo>
                  <a:pt x="5" y="4"/>
                </a:lnTo>
                <a:lnTo>
                  <a:pt x="3" y="3"/>
                </a:lnTo>
                <a:lnTo>
                  <a:pt x="3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1" name="Freeform 80"/>
          <p:cNvSpPr>
            <a:spLocks/>
          </p:cNvSpPr>
          <p:nvPr/>
        </p:nvSpPr>
        <p:spPr bwMode="auto">
          <a:xfrm>
            <a:off x="2897188" y="5151403"/>
            <a:ext cx="30163" cy="9525"/>
          </a:xfrm>
          <a:custGeom>
            <a:avLst/>
            <a:gdLst>
              <a:gd name="T0" fmla="*/ 3 w 19"/>
              <a:gd name="T1" fmla="*/ 1 h 6"/>
              <a:gd name="T2" fmla="*/ 2 w 19"/>
              <a:gd name="T3" fmla="*/ 2 h 6"/>
              <a:gd name="T4" fmla="*/ 1 w 19"/>
              <a:gd name="T5" fmla="*/ 1 h 6"/>
              <a:gd name="T6" fmla="*/ 0 w 19"/>
              <a:gd name="T7" fmla="*/ 1 h 6"/>
              <a:gd name="T8" fmla="*/ 7 w 19"/>
              <a:gd name="T9" fmla="*/ 0 h 6"/>
              <a:gd name="T10" fmla="*/ 10 w 19"/>
              <a:gd name="T11" fmla="*/ 1 h 6"/>
              <a:gd name="T12" fmla="*/ 14 w 19"/>
              <a:gd name="T13" fmla="*/ 1 h 6"/>
              <a:gd name="T14" fmla="*/ 17 w 19"/>
              <a:gd name="T15" fmla="*/ 2 h 6"/>
              <a:gd name="T16" fmla="*/ 18 w 19"/>
              <a:gd name="T17" fmla="*/ 4 h 6"/>
              <a:gd name="T18" fmla="*/ 19 w 19"/>
              <a:gd name="T19" fmla="*/ 5 h 6"/>
              <a:gd name="T20" fmla="*/ 19 w 19"/>
              <a:gd name="T21" fmla="*/ 5 h 6"/>
              <a:gd name="T22" fmla="*/ 18 w 19"/>
              <a:gd name="T23" fmla="*/ 6 h 6"/>
              <a:gd name="T24" fmla="*/ 17 w 19"/>
              <a:gd name="T25" fmla="*/ 6 h 6"/>
              <a:gd name="T26" fmla="*/ 15 w 19"/>
              <a:gd name="T27" fmla="*/ 6 h 6"/>
              <a:gd name="T28" fmla="*/ 14 w 19"/>
              <a:gd name="T29" fmla="*/ 6 h 6"/>
              <a:gd name="T30" fmla="*/ 14 w 19"/>
              <a:gd name="T31" fmla="*/ 5 h 6"/>
              <a:gd name="T32" fmla="*/ 12 w 19"/>
              <a:gd name="T33" fmla="*/ 5 h 6"/>
              <a:gd name="T34" fmla="*/ 11 w 19"/>
              <a:gd name="T35" fmla="*/ 5 h 6"/>
              <a:gd name="T36" fmla="*/ 12 w 19"/>
              <a:gd name="T37" fmla="*/ 5 h 6"/>
              <a:gd name="T38" fmla="*/ 10 w 19"/>
              <a:gd name="T39" fmla="*/ 5 h 6"/>
              <a:gd name="T40" fmla="*/ 10 w 19"/>
              <a:gd name="T41" fmla="*/ 5 h 6"/>
              <a:gd name="T42" fmla="*/ 10 w 19"/>
              <a:gd name="T43" fmla="*/ 5 h 6"/>
              <a:gd name="T44" fmla="*/ 5 w 19"/>
              <a:gd name="T45" fmla="*/ 4 h 6"/>
              <a:gd name="T46" fmla="*/ 3 w 19"/>
              <a:gd name="T47" fmla="*/ 3 h 6"/>
              <a:gd name="T48" fmla="*/ 3 w 19"/>
              <a:gd name="T49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9" h="6">
                <a:moveTo>
                  <a:pt x="3" y="1"/>
                </a:moveTo>
                <a:lnTo>
                  <a:pt x="2" y="2"/>
                </a:lnTo>
                <a:lnTo>
                  <a:pt x="1" y="1"/>
                </a:lnTo>
                <a:lnTo>
                  <a:pt x="0" y="1"/>
                </a:lnTo>
                <a:lnTo>
                  <a:pt x="7" y="0"/>
                </a:lnTo>
                <a:lnTo>
                  <a:pt x="10" y="1"/>
                </a:lnTo>
                <a:lnTo>
                  <a:pt x="14" y="1"/>
                </a:lnTo>
                <a:lnTo>
                  <a:pt x="17" y="2"/>
                </a:lnTo>
                <a:lnTo>
                  <a:pt x="18" y="4"/>
                </a:lnTo>
                <a:lnTo>
                  <a:pt x="19" y="5"/>
                </a:lnTo>
                <a:lnTo>
                  <a:pt x="19" y="5"/>
                </a:lnTo>
                <a:lnTo>
                  <a:pt x="18" y="6"/>
                </a:lnTo>
                <a:lnTo>
                  <a:pt x="17" y="6"/>
                </a:lnTo>
                <a:lnTo>
                  <a:pt x="15" y="6"/>
                </a:lnTo>
                <a:lnTo>
                  <a:pt x="14" y="6"/>
                </a:lnTo>
                <a:lnTo>
                  <a:pt x="14" y="5"/>
                </a:lnTo>
                <a:lnTo>
                  <a:pt x="12" y="5"/>
                </a:lnTo>
                <a:lnTo>
                  <a:pt x="11" y="5"/>
                </a:lnTo>
                <a:lnTo>
                  <a:pt x="12" y="5"/>
                </a:lnTo>
                <a:lnTo>
                  <a:pt x="10" y="5"/>
                </a:lnTo>
                <a:lnTo>
                  <a:pt x="10" y="5"/>
                </a:lnTo>
                <a:lnTo>
                  <a:pt x="10" y="5"/>
                </a:lnTo>
                <a:lnTo>
                  <a:pt x="5" y="4"/>
                </a:lnTo>
                <a:lnTo>
                  <a:pt x="3" y="3"/>
                </a:lnTo>
                <a:lnTo>
                  <a:pt x="3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2" name="Freeform 81"/>
          <p:cNvSpPr>
            <a:spLocks/>
          </p:cNvSpPr>
          <p:nvPr/>
        </p:nvSpPr>
        <p:spPr bwMode="auto">
          <a:xfrm>
            <a:off x="2935288" y="5157753"/>
            <a:ext cx="4763" cy="3175"/>
          </a:xfrm>
          <a:custGeom>
            <a:avLst/>
            <a:gdLst>
              <a:gd name="T0" fmla="*/ 0 w 3"/>
              <a:gd name="T1" fmla="*/ 1 h 2"/>
              <a:gd name="T2" fmla="*/ 1 w 3"/>
              <a:gd name="T3" fmla="*/ 0 h 2"/>
              <a:gd name="T4" fmla="*/ 3 w 3"/>
              <a:gd name="T5" fmla="*/ 1 h 2"/>
              <a:gd name="T6" fmla="*/ 3 w 3"/>
              <a:gd name="T7" fmla="*/ 2 h 2"/>
              <a:gd name="T8" fmla="*/ 1 w 3"/>
              <a:gd name="T9" fmla="*/ 2 h 2"/>
              <a:gd name="T10" fmla="*/ 1 w 3"/>
              <a:gd name="T11" fmla="*/ 2 h 2"/>
              <a:gd name="T12" fmla="*/ 0 w 3"/>
              <a:gd name="T13" fmla="*/ 1 h 2"/>
              <a:gd name="T14" fmla="*/ 0 w 3"/>
              <a:gd name="T15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2">
                <a:moveTo>
                  <a:pt x="0" y="1"/>
                </a:moveTo>
                <a:lnTo>
                  <a:pt x="1" y="0"/>
                </a:lnTo>
                <a:lnTo>
                  <a:pt x="3" y="1"/>
                </a:lnTo>
                <a:lnTo>
                  <a:pt x="3" y="2"/>
                </a:lnTo>
                <a:lnTo>
                  <a:pt x="1" y="2"/>
                </a:lnTo>
                <a:lnTo>
                  <a:pt x="1" y="2"/>
                </a:lnTo>
                <a:lnTo>
                  <a:pt x="0" y="1"/>
                </a:lnTo>
                <a:lnTo>
                  <a:pt x="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3" name="Freeform 82"/>
          <p:cNvSpPr>
            <a:spLocks/>
          </p:cNvSpPr>
          <p:nvPr/>
        </p:nvSpPr>
        <p:spPr bwMode="auto">
          <a:xfrm>
            <a:off x="2935288" y="5157753"/>
            <a:ext cx="4763" cy="3175"/>
          </a:xfrm>
          <a:custGeom>
            <a:avLst/>
            <a:gdLst>
              <a:gd name="T0" fmla="*/ 0 w 3"/>
              <a:gd name="T1" fmla="*/ 1 h 2"/>
              <a:gd name="T2" fmla="*/ 1 w 3"/>
              <a:gd name="T3" fmla="*/ 0 h 2"/>
              <a:gd name="T4" fmla="*/ 3 w 3"/>
              <a:gd name="T5" fmla="*/ 1 h 2"/>
              <a:gd name="T6" fmla="*/ 3 w 3"/>
              <a:gd name="T7" fmla="*/ 2 h 2"/>
              <a:gd name="T8" fmla="*/ 1 w 3"/>
              <a:gd name="T9" fmla="*/ 2 h 2"/>
              <a:gd name="T10" fmla="*/ 1 w 3"/>
              <a:gd name="T11" fmla="*/ 2 h 2"/>
              <a:gd name="T12" fmla="*/ 0 w 3"/>
              <a:gd name="T13" fmla="*/ 1 h 2"/>
              <a:gd name="T14" fmla="*/ 0 w 3"/>
              <a:gd name="T15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2">
                <a:moveTo>
                  <a:pt x="0" y="1"/>
                </a:moveTo>
                <a:lnTo>
                  <a:pt x="1" y="0"/>
                </a:lnTo>
                <a:lnTo>
                  <a:pt x="3" y="1"/>
                </a:lnTo>
                <a:lnTo>
                  <a:pt x="3" y="2"/>
                </a:lnTo>
                <a:lnTo>
                  <a:pt x="1" y="2"/>
                </a:lnTo>
                <a:lnTo>
                  <a:pt x="1" y="2"/>
                </a:lnTo>
                <a:lnTo>
                  <a:pt x="0" y="1"/>
                </a:lnTo>
                <a:lnTo>
                  <a:pt x="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4" name="Freeform 83"/>
          <p:cNvSpPr>
            <a:spLocks/>
          </p:cNvSpPr>
          <p:nvPr/>
        </p:nvSpPr>
        <p:spPr bwMode="auto">
          <a:xfrm>
            <a:off x="2924176" y="5152991"/>
            <a:ext cx="6350" cy="3175"/>
          </a:xfrm>
          <a:custGeom>
            <a:avLst/>
            <a:gdLst>
              <a:gd name="T0" fmla="*/ 4 w 4"/>
              <a:gd name="T1" fmla="*/ 2 h 2"/>
              <a:gd name="T2" fmla="*/ 4 w 4"/>
              <a:gd name="T3" fmla="*/ 2 h 2"/>
              <a:gd name="T4" fmla="*/ 2 w 4"/>
              <a:gd name="T5" fmla="*/ 1 h 2"/>
              <a:gd name="T6" fmla="*/ 0 w 4"/>
              <a:gd name="T7" fmla="*/ 1 h 2"/>
              <a:gd name="T8" fmla="*/ 0 w 4"/>
              <a:gd name="T9" fmla="*/ 0 h 2"/>
              <a:gd name="T10" fmla="*/ 3 w 4"/>
              <a:gd name="T11" fmla="*/ 1 h 2"/>
              <a:gd name="T12" fmla="*/ 4 w 4"/>
              <a:gd name="T13" fmla="*/ 2 h 2"/>
              <a:gd name="T14" fmla="*/ 4 w 4"/>
              <a:gd name="T1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2">
                <a:moveTo>
                  <a:pt x="4" y="2"/>
                </a:moveTo>
                <a:lnTo>
                  <a:pt x="4" y="2"/>
                </a:lnTo>
                <a:lnTo>
                  <a:pt x="2" y="1"/>
                </a:lnTo>
                <a:lnTo>
                  <a:pt x="0" y="1"/>
                </a:lnTo>
                <a:lnTo>
                  <a:pt x="0" y="0"/>
                </a:lnTo>
                <a:lnTo>
                  <a:pt x="3" y="1"/>
                </a:lnTo>
                <a:lnTo>
                  <a:pt x="4" y="2"/>
                </a:lnTo>
                <a:lnTo>
                  <a:pt x="4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5" name="Freeform 84"/>
          <p:cNvSpPr>
            <a:spLocks/>
          </p:cNvSpPr>
          <p:nvPr/>
        </p:nvSpPr>
        <p:spPr bwMode="auto">
          <a:xfrm>
            <a:off x="2924176" y="5152991"/>
            <a:ext cx="6350" cy="3175"/>
          </a:xfrm>
          <a:custGeom>
            <a:avLst/>
            <a:gdLst>
              <a:gd name="T0" fmla="*/ 4 w 4"/>
              <a:gd name="T1" fmla="*/ 2 h 2"/>
              <a:gd name="T2" fmla="*/ 4 w 4"/>
              <a:gd name="T3" fmla="*/ 2 h 2"/>
              <a:gd name="T4" fmla="*/ 2 w 4"/>
              <a:gd name="T5" fmla="*/ 1 h 2"/>
              <a:gd name="T6" fmla="*/ 0 w 4"/>
              <a:gd name="T7" fmla="*/ 1 h 2"/>
              <a:gd name="T8" fmla="*/ 0 w 4"/>
              <a:gd name="T9" fmla="*/ 0 h 2"/>
              <a:gd name="T10" fmla="*/ 3 w 4"/>
              <a:gd name="T11" fmla="*/ 1 h 2"/>
              <a:gd name="T12" fmla="*/ 4 w 4"/>
              <a:gd name="T13" fmla="*/ 2 h 2"/>
              <a:gd name="T14" fmla="*/ 4 w 4"/>
              <a:gd name="T1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2">
                <a:moveTo>
                  <a:pt x="4" y="2"/>
                </a:moveTo>
                <a:lnTo>
                  <a:pt x="4" y="2"/>
                </a:lnTo>
                <a:lnTo>
                  <a:pt x="2" y="1"/>
                </a:lnTo>
                <a:lnTo>
                  <a:pt x="0" y="1"/>
                </a:lnTo>
                <a:lnTo>
                  <a:pt x="0" y="0"/>
                </a:lnTo>
                <a:lnTo>
                  <a:pt x="3" y="1"/>
                </a:lnTo>
                <a:lnTo>
                  <a:pt x="4" y="2"/>
                </a:lnTo>
                <a:lnTo>
                  <a:pt x="4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6" name="Freeform 85"/>
          <p:cNvSpPr>
            <a:spLocks/>
          </p:cNvSpPr>
          <p:nvPr/>
        </p:nvSpPr>
        <p:spPr bwMode="auto">
          <a:xfrm>
            <a:off x="2927351" y="5159341"/>
            <a:ext cx="4763" cy="3175"/>
          </a:xfrm>
          <a:custGeom>
            <a:avLst/>
            <a:gdLst>
              <a:gd name="T0" fmla="*/ 3 w 3"/>
              <a:gd name="T1" fmla="*/ 2 h 2"/>
              <a:gd name="T2" fmla="*/ 2 w 3"/>
              <a:gd name="T3" fmla="*/ 2 h 2"/>
              <a:gd name="T4" fmla="*/ 1 w 3"/>
              <a:gd name="T5" fmla="*/ 1 h 2"/>
              <a:gd name="T6" fmla="*/ 0 w 3"/>
              <a:gd name="T7" fmla="*/ 1 h 2"/>
              <a:gd name="T8" fmla="*/ 1 w 3"/>
              <a:gd name="T9" fmla="*/ 0 h 2"/>
              <a:gd name="T10" fmla="*/ 2 w 3"/>
              <a:gd name="T11" fmla="*/ 0 h 2"/>
              <a:gd name="T12" fmla="*/ 3 w 3"/>
              <a:gd name="T13" fmla="*/ 1 h 2"/>
              <a:gd name="T14" fmla="*/ 3 w 3"/>
              <a:gd name="T1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2">
                <a:moveTo>
                  <a:pt x="3" y="2"/>
                </a:moveTo>
                <a:lnTo>
                  <a:pt x="2" y="2"/>
                </a:lnTo>
                <a:lnTo>
                  <a:pt x="1" y="1"/>
                </a:lnTo>
                <a:lnTo>
                  <a:pt x="0" y="1"/>
                </a:lnTo>
                <a:lnTo>
                  <a:pt x="1" y="0"/>
                </a:lnTo>
                <a:lnTo>
                  <a:pt x="2" y="0"/>
                </a:lnTo>
                <a:lnTo>
                  <a:pt x="3" y="1"/>
                </a:lnTo>
                <a:lnTo>
                  <a:pt x="3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7" name="Freeform 86"/>
          <p:cNvSpPr>
            <a:spLocks/>
          </p:cNvSpPr>
          <p:nvPr/>
        </p:nvSpPr>
        <p:spPr bwMode="auto">
          <a:xfrm>
            <a:off x="2927351" y="5159341"/>
            <a:ext cx="4763" cy="3175"/>
          </a:xfrm>
          <a:custGeom>
            <a:avLst/>
            <a:gdLst>
              <a:gd name="T0" fmla="*/ 3 w 3"/>
              <a:gd name="T1" fmla="*/ 2 h 2"/>
              <a:gd name="T2" fmla="*/ 2 w 3"/>
              <a:gd name="T3" fmla="*/ 2 h 2"/>
              <a:gd name="T4" fmla="*/ 1 w 3"/>
              <a:gd name="T5" fmla="*/ 1 h 2"/>
              <a:gd name="T6" fmla="*/ 0 w 3"/>
              <a:gd name="T7" fmla="*/ 1 h 2"/>
              <a:gd name="T8" fmla="*/ 1 w 3"/>
              <a:gd name="T9" fmla="*/ 0 h 2"/>
              <a:gd name="T10" fmla="*/ 2 w 3"/>
              <a:gd name="T11" fmla="*/ 0 h 2"/>
              <a:gd name="T12" fmla="*/ 3 w 3"/>
              <a:gd name="T13" fmla="*/ 1 h 2"/>
              <a:gd name="T14" fmla="*/ 3 w 3"/>
              <a:gd name="T1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2">
                <a:moveTo>
                  <a:pt x="3" y="2"/>
                </a:moveTo>
                <a:lnTo>
                  <a:pt x="2" y="2"/>
                </a:lnTo>
                <a:lnTo>
                  <a:pt x="1" y="1"/>
                </a:lnTo>
                <a:lnTo>
                  <a:pt x="0" y="1"/>
                </a:lnTo>
                <a:lnTo>
                  <a:pt x="1" y="0"/>
                </a:lnTo>
                <a:lnTo>
                  <a:pt x="2" y="0"/>
                </a:lnTo>
                <a:lnTo>
                  <a:pt x="3" y="1"/>
                </a:lnTo>
                <a:lnTo>
                  <a:pt x="3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8" name="Freeform 87"/>
          <p:cNvSpPr>
            <a:spLocks/>
          </p:cNvSpPr>
          <p:nvPr/>
        </p:nvSpPr>
        <p:spPr bwMode="auto">
          <a:xfrm>
            <a:off x="2016126" y="3573428"/>
            <a:ext cx="17463" cy="38100"/>
          </a:xfrm>
          <a:custGeom>
            <a:avLst/>
            <a:gdLst>
              <a:gd name="T0" fmla="*/ 5 w 11"/>
              <a:gd name="T1" fmla="*/ 0 h 24"/>
              <a:gd name="T2" fmla="*/ 6 w 11"/>
              <a:gd name="T3" fmla="*/ 8 h 24"/>
              <a:gd name="T4" fmla="*/ 9 w 11"/>
              <a:gd name="T5" fmla="*/ 11 h 24"/>
              <a:gd name="T6" fmla="*/ 11 w 11"/>
              <a:gd name="T7" fmla="*/ 19 h 24"/>
              <a:gd name="T8" fmla="*/ 11 w 11"/>
              <a:gd name="T9" fmla="*/ 20 h 24"/>
              <a:gd name="T10" fmla="*/ 9 w 11"/>
              <a:gd name="T11" fmla="*/ 22 h 24"/>
              <a:gd name="T12" fmla="*/ 6 w 11"/>
              <a:gd name="T13" fmla="*/ 24 h 24"/>
              <a:gd name="T14" fmla="*/ 4 w 11"/>
              <a:gd name="T15" fmla="*/ 22 h 24"/>
              <a:gd name="T16" fmla="*/ 2 w 11"/>
              <a:gd name="T17" fmla="*/ 21 h 24"/>
              <a:gd name="T18" fmla="*/ 2 w 11"/>
              <a:gd name="T19" fmla="*/ 18 h 24"/>
              <a:gd name="T20" fmla="*/ 2 w 11"/>
              <a:gd name="T21" fmla="*/ 17 h 24"/>
              <a:gd name="T22" fmla="*/ 5 w 11"/>
              <a:gd name="T23" fmla="*/ 16 h 24"/>
              <a:gd name="T24" fmla="*/ 7 w 11"/>
              <a:gd name="T25" fmla="*/ 14 h 24"/>
              <a:gd name="T26" fmla="*/ 7 w 11"/>
              <a:gd name="T27" fmla="*/ 12 h 24"/>
              <a:gd name="T28" fmla="*/ 5 w 11"/>
              <a:gd name="T29" fmla="*/ 9 h 24"/>
              <a:gd name="T30" fmla="*/ 4 w 11"/>
              <a:gd name="T31" fmla="*/ 7 h 24"/>
              <a:gd name="T32" fmla="*/ 2 w 11"/>
              <a:gd name="T33" fmla="*/ 6 h 24"/>
              <a:gd name="T34" fmla="*/ 1 w 11"/>
              <a:gd name="T35" fmla="*/ 5 h 24"/>
              <a:gd name="T36" fmla="*/ 0 w 11"/>
              <a:gd name="T37" fmla="*/ 5 h 24"/>
              <a:gd name="T38" fmla="*/ 0 w 11"/>
              <a:gd name="T39" fmla="*/ 2 h 24"/>
              <a:gd name="T40" fmla="*/ 5 w 11"/>
              <a:gd name="T41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" h="24">
                <a:moveTo>
                  <a:pt x="5" y="0"/>
                </a:moveTo>
                <a:lnTo>
                  <a:pt x="6" y="8"/>
                </a:lnTo>
                <a:lnTo>
                  <a:pt x="9" y="11"/>
                </a:lnTo>
                <a:lnTo>
                  <a:pt x="11" y="19"/>
                </a:lnTo>
                <a:lnTo>
                  <a:pt x="11" y="20"/>
                </a:lnTo>
                <a:lnTo>
                  <a:pt x="9" y="22"/>
                </a:lnTo>
                <a:lnTo>
                  <a:pt x="6" y="24"/>
                </a:lnTo>
                <a:lnTo>
                  <a:pt x="4" y="22"/>
                </a:lnTo>
                <a:lnTo>
                  <a:pt x="2" y="21"/>
                </a:lnTo>
                <a:lnTo>
                  <a:pt x="2" y="18"/>
                </a:lnTo>
                <a:lnTo>
                  <a:pt x="2" y="17"/>
                </a:lnTo>
                <a:lnTo>
                  <a:pt x="5" y="16"/>
                </a:lnTo>
                <a:lnTo>
                  <a:pt x="7" y="14"/>
                </a:lnTo>
                <a:lnTo>
                  <a:pt x="7" y="12"/>
                </a:lnTo>
                <a:lnTo>
                  <a:pt x="5" y="9"/>
                </a:lnTo>
                <a:lnTo>
                  <a:pt x="4" y="7"/>
                </a:lnTo>
                <a:lnTo>
                  <a:pt x="2" y="6"/>
                </a:lnTo>
                <a:lnTo>
                  <a:pt x="1" y="5"/>
                </a:lnTo>
                <a:lnTo>
                  <a:pt x="0" y="5"/>
                </a:lnTo>
                <a:lnTo>
                  <a:pt x="0" y="2"/>
                </a:lnTo>
                <a:lnTo>
                  <a:pt x="5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9" name="Freeform 88"/>
          <p:cNvSpPr>
            <a:spLocks/>
          </p:cNvSpPr>
          <p:nvPr/>
        </p:nvSpPr>
        <p:spPr bwMode="auto">
          <a:xfrm>
            <a:off x="2016126" y="3573428"/>
            <a:ext cx="17463" cy="38100"/>
          </a:xfrm>
          <a:custGeom>
            <a:avLst/>
            <a:gdLst>
              <a:gd name="T0" fmla="*/ 5 w 11"/>
              <a:gd name="T1" fmla="*/ 0 h 24"/>
              <a:gd name="T2" fmla="*/ 6 w 11"/>
              <a:gd name="T3" fmla="*/ 8 h 24"/>
              <a:gd name="T4" fmla="*/ 9 w 11"/>
              <a:gd name="T5" fmla="*/ 11 h 24"/>
              <a:gd name="T6" fmla="*/ 11 w 11"/>
              <a:gd name="T7" fmla="*/ 19 h 24"/>
              <a:gd name="T8" fmla="*/ 11 w 11"/>
              <a:gd name="T9" fmla="*/ 20 h 24"/>
              <a:gd name="T10" fmla="*/ 9 w 11"/>
              <a:gd name="T11" fmla="*/ 22 h 24"/>
              <a:gd name="T12" fmla="*/ 6 w 11"/>
              <a:gd name="T13" fmla="*/ 24 h 24"/>
              <a:gd name="T14" fmla="*/ 4 w 11"/>
              <a:gd name="T15" fmla="*/ 22 h 24"/>
              <a:gd name="T16" fmla="*/ 2 w 11"/>
              <a:gd name="T17" fmla="*/ 21 h 24"/>
              <a:gd name="T18" fmla="*/ 2 w 11"/>
              <a:gd name="T19" fmla="*/ 18 h 24"/>
              <a:gd name="T20" fmla="*/ 2 w 11"/>
              <a:gd name="T21" fmla="*/ 17 h 24"/>
              <a:gd name="T22" fmla="*/ 5 w 11"/>
              <a:gd name="T23" fmla="*/ 16 h 24"/>
              <a:gd name="T24" fmla="*/ 7 w 11"/>
              <a:gd name="T25" fmla="*/ 14 h 24"/>
              <a:gd name="T26" fmla="*/ 7 w 11"/>
              <a:gd name="T27" fmla="*/ 12 h 24"/>
              <a:gd name="T28" fmla="*/ 5 w 11"/>
              <a:gd name="T29" fmla="*/ 9 h 24"/>
              <a:gd name="T30" fmla="*/ 4 w 11"/>
              <a:gd name="T31" fmla="*/ 7 h 24"/>
              <a:gd name="T32" fmla="*/ 2 w 11"/>
              <a:gd name="T33" fmla="*/ 6 h 24"/>
              <a:gd name="T34" fmla="*/ 1 w 11"/>
              <a:gd name="T35" fmla="*/ 5 h 24"/>
              <a:gd name="T36" fmla="*/ 0 w 11"/>
              <a:gd name="T37" fmla="*/ 5 h 24"/>
              <a:gd name="T38" fmla="*/ 0 w 11"/>
              <a:gd name="T39" fmla="*/ 2 h 24"/>
              <a:gd name="T40" fmla="*/ 5 w 11"/>
              <a:gd name="T41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" h="24">
                <a:moveTo>
                  <a:pt x="5" y="0"/>
                </a:moveTo>
                <a:lnTo>
                  <a:pt x="6" y="8"/>
                </a:lnTo>
                <a:lnTo>
                  <a:pt x="9" y="11"/>
                </a:lnTo>
                <a:lnTo>
                  <a:pt x="11" y="19"/>
                </a:lnTo>
                <a:lnTo>
                  <a:pt x="11" y="20"/>
                </a:lnTo>
                <a:lnTo>
                  <a:pt x="9" y="22"/>
                </a:lnTo>
                <a:lnTo>
                  <a:pt x="6" y="24"/>
                </a:lnTo>
                <a:lnTo>
                  <a:pt x="4" y="22"/>
                </a:lnTo>
                <a:lnTo>
                  <a:pt x="2" y="21"/>
                </a:lnTo>
                <a:lnTo>
                  <a:pt x="2" y="18"/>
                </a:lnTo>
                <a:lnTo>
                  <a:pt x="2" y="17"/>
                </a:lnTo>
                <a:lnTo>
                  <a:pt x="5" y="16"/>
                </a:lnTo>
                <a:lnTo>
                  <a:pt x="7" y="14"/>
                </a:lnTo>
                <a:lnTo>
                  <a:pt x="7" y="12"/>
                </a:lnTo>
                <a:lnTo>
                  <a:pt x="5" y="9"/>
                </a:lnTo>
                <a:lnTo>
                  <a:pt x="4" y="7"/>
                </a:lnTo>
                <a:lnTo>
                  <a:pt x="2" y="6"/>
                </a:lnTo>
                <a:lnTo>
                  <a:pt x="1" y="5"/>
                </a:lnTo>
                <a:lnTo>
                  <a:pt x="0" y="5"/>
                </a:lnTo>
                <a:lnTo>
                  <a:pt x="0" y="2"/>
                </a:lnTo>
                <a:lnTo>
                  <a:pt x="5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0" name="Freeform 89"/>
          <p:cNvSpPr>
            <a:spLocks/>
          </p:cNvSpPr>
          <p:nvPr/>
        </p:nvSpPr>
        <p:spPr bwMode="auto">
          <a:xfrm>
            <a:off x="2035176" y="3584541"/>
            <a:ext cx="6350" cy="4763"/>
          </a:xfrm>
          <a:custGeom>
            <a:avLst/>
            <a:gdLst>
              <a:gd name="T0" fmla="*/ 3 w 4"/>
              <a:gd name="T1" fmla="*/ 0 h 3"/>
              <a:gd name="T2" fmla="*/ 0 w 4"/>
              <a:gd name="T3" fmla="*/ 0 h 3"/>
              <a:gd name="T4" fmla="*/ 0 w 4"/>
              <a:gd name="T5" fmla="*/ 1 h 3"/>
              <a:gd name="T6" fmla="*/ 0 w 4"/>
              <a:gd name="T7" fmla="*/ 3 h 3"/>
              <a:gd name="T8" fmla="*/ 3 w 4"/>
              <a:gd name="T9" fmla="*/ 3 h 3"/>
              <a:gd name="T10" fmla="*/ 4 w 4"/>
              <a:gd name="T11" fmla="*/ 3 h 3"/>
              <a:gd name="T12" fmla="*/ 4 w 4"/>
              <a:gd name="T13" fmla="*/ 2 h 3"/>
              <a:gd name="T14" fmla="*/ 4 w 4"/>
              <a:gd name="T15" fmla="*/ 1 h 3"/>
              <a:gd name="T16" fmla="*/ 3 w 4"/>
              <a:gd name="T17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3">
                <a:moveTo>
                  <a:pt x="3" y="0"/>
                </a:moveTo>
                <a:lnTo>
                  <a:pt x="0" y="0"/>
                </a:lnTo>
                <a:lnTo>
                  <a:pt x="0" y="1"/>
                </a:lnTo>
                <a:lnTo>
                  <a:pt x="0" y="3"/>
                </a:lnTo>
                <a:lnTo>
                  <a:pt x="3" y="3"/>
                </a:lnTo>
                <a:lnTo>
                  <a:pt x="4" y="3"/>
                </a:lnTo>
                <a:lnTo>
                  <a:pt x="4" y="2"/>
                </a:lnTo>
                <a:lnTo>
                  <a:pt x="4" y="1"/>
                </a:lnTo>
                <a:lnTo>
                  <a:pt x="3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1" name="Freeform 90"/>
          <p:cNvSpPr>
            <a:spLocks/>
          </p:cNvSpPr>
          <p:nvPr/>
        </p:nvSpPr>
        <p:spPr bwMode="auto">
          <a:xfrm>
            <a:off x="2035176" y="3584541"/>
            <a:ext cx="6350" cy="4763"/>
          </a:xfrm>
          <a:custGeom>
            <a:avLst/>
            <a:gdLst>
              <a:gd name="T0" fmla="*/ 3 w 4"/>
              <a:gd name="T1" fmla="*/ 0 h 3"/>
              <a:gd name="T2" fmla="*/ 0 w 4"/>
              <a:gd name="T3" fmla="*/ 0 h 3"/>
              <a:gd name="T4" fmla="*/ 0 w 4"/>
              <a:gd name="T5" fmla="*/ 1 h 3"/>
              <a:gd name="T6" fmla="*/ 0 w 4"/>
              <a:gd name="T7" fmla="*/ 3 h 3"/>
              <a:gd name="T8" fmla="*/ 3 w 4"/>
              <a:gd name="T9" fmla="*/ 3 h 3"/>
              <a:gd name="T10" fmla="*/ 4 w 4"/>
              <a:gd name="T11" fmla="*/ 3 h 3"/>
              <a:gd name="T12" fmla="*/ 4 w 4"/>
              <a:gd name="T13" fmla="*/ 2 h 3"/>
              <a:gd name="T14" fmla="*/ 4 w 4"/>
              <a:gd name="T15" fmla="*/ 1 h 3"/>
              <a:gd name="T16" fmla="*/ 3 w 4"/>
              <a:gd name="T17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3">
                <a:moveTo>
                  <a:pt x="3" y="0"/>
                </a:moveTo>
                <a:lnTo>
                  <a:pt x="0" y="0"/>
                </a:lnTo>
                <a:lnTo>
                  <a:pt x="0" y="1"/>
                </a:lnTo>
                <a:lnTo>
                  <a:pt x="0" y="3"/>
                </a:lnTo>
                <a:lnTo>
                  <a:pt x="3" y="3"/>
                </a:lnTo>
                <a:lnTo>
                  <a:pt x="4" y="3"/>
                </a:lnTo>
                <a:lnTo>
                  <a:pt x="4" y="2"/>
                </a:lnTo>
                <a:lnTo>
                  <a:pt x="4" y="1"/>
                </a:lnTo>
                <a:lnTo>
                  <a:pt x="3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2" name="Freeform 91"/>
          <p:cNvSpPr>
            <a:spLocks/>
          </p:cNvSpPr>
          <p:nvPr/>
        </p:nvSpPr>
        <p:spPr bwMode="auto">
          <a:xfrm>
            <a:off x="2044701" y="3592478"/>
            <a:ext cx="7938" cy="7938"/>
          </a:xfrm>
          <a:custGeom>
            <a:avLst/>
            <a:gdLst>
              <a:gd name="T0" fmla="*/ 5 w 5"/>
              <a:gd name="T1" fmla="*/ 0 h 5"/>
              <a:gd name="T2" fmla="*/ 5 w 5"/>
              <a:gd name="T3" fmla="*/ 4 h 5"/>
              <a:gd name="T4" fmla="*/ 3 w 5"/>
              <a:gd name="T5" fmla="*/ 5 h 5"/>
              <a:gd name="T6" fmla="*/ 1 w 5"/>
              <a:gd name="T7" fmla="*/ 5 h 5"/>
              <a:gd name="T8" fmla="*/ 1 w 5"/>
              <a:gd name="T9" fmla="*/ 4 h 5"/>
              <a:gd name="T10" fmla="*/ 0 w 5"/>
              <a:gd name="T11" fmla="*/ 2 h 5"/>
              <a:gd name="T12" fmla="*/ 1 w 5"/>
              <a:gd name="T13" fmla="*/ 0 h 5"/>
              <a:gd name="T14" fmla="*/ 3 w 5"/>
              <a:gd name="T15" fmla="*/ 0 h 5"/>
              <a:gd name="T16" fmla="*/ 4 w 5"/>
              <a:gd name="T17" fmla="*/ 0 h 5"/>
              <a:gd name="T18" fmla="*/ 5 w 5"/>
              <a:gd name="T1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" h="5">
                <a:moveTo>
                  <a:pt x="5" y="0"/>
                </a:moveTo>
                <a:lnTo>
                  <a:pt x="5" y="4"/>
                </a:lnTo>
                <a:lnTo>
                  <a:pt x="3" y="5"/>
                </a:lnTo>
                <a:lnTo>
                  <a:pt x="1" y="5"/>
                </a:lnTo>
                <a:lnTo>
                  <a:pt x="1" y="4"/>
                </a:lnTo>
                <a:lnTo>
                  <a:pt x="0" y="2"/>
                </a:lnTo>
                <a:lnTo>
                  <a:pt x="1" y="0"/>
                </a:lnTo>
                <a:lnTo>
                  <a:pt x="3" y="0"/>
                </a:lnTo>
                <a:lnTo>
                  <a:pt x="4" y="0"/>
                </a:lnTo>
                <a:lnTo>
                  <a:pt x="5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3" name="Freeform 92"/>
          <p:cNvSpPr>
            <a:spLocks/>
          </p:cNvSpPr>
          <p:nvPr/>
        </p:nvSpPr>
        <p:spPr bwMode="auto">
          <a:xfrm>
            <a:off x="2044701" y="3592478"/>
            <a:ext cx="7938" cy="7938"/>
          </a:xfrm>
          <a:custGeom>
            <a:avLst/>
            <a:gdLst>
              <a:gd name="T0" fmla="*/ 5 w 5"/>
              <a:gd name="T1" fmla="*/ 0 h 5"/>
              <a:gd name="T2" fmla="*/ 5 w 5"/>
              <a:gd name="T3" fmla="*/ 4 h 5"/>
              <a:gd name="T4" fmla="*/ 3 w 5"/>
              <a:gd name="T5" fmla="*/ 5 h 5"/>
              <a:gd name="T6" fmla="*/ 1 w 5"/>
              <a:gd name="T7" fmla="*/ 5 h 5"/>
              <a:gd name="T8" fmla="*/ 1 w 5"/>
              <a:gd name="T9" fmla="*/ 4 h 5"/>
              <a:gd name="T10" fmla="*/ 0 w 5"/>
              <a:gd name="T11" fmla="*/ 2 h 5"/>
              <a:gd name="T12" fmla="*/ 1 w 5"/>
              <a:gd name="T13" fmla="*/ 0 h 5"/>
              <a:gd name="T14" fmla="*/ 3 w 5"/>
              <a:gd name="T15" fmla="*/ 0 h 5"/>
              <a:gd name="T16" fmla="*/ 4 w 5"/>
              <a:gd name="T17" fmla="*/ 0 h 5"/>
              <a:gd name="T18" fmla="*/ 5 w 5"/>
              <a:gd name="T1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" h="5">
                <a:moveTo>
                  <a:pt x="5" y="0"/>
                </a:moveTo>
                <a:lnTo>
                  <a:pt x="5" y="4"/>
                </a:lnTo>
                <a:lnTo>
                  <a:pt x="3" y="5"/>
                </a:lnTo>
                <a:lnTo>
                  <a:pt x="1" y="5"/>
                </a:lnTo>
                <a:lnTo>
                  <a:pt x="1" y="4"/>
                </a:lnTo>
                <a:lnTo>
                  <a:pt x="0" y="2"/>
                </a:lnTo>
                <a:lnTo>
                  <a:pt x="1" y="0"/>
                </a:lnTo>
                <a:lnTo>
                  <a:pt x="3" y="0"/>
                </a:lnTo>
                <a:lnTo>
                  <a:pt x="4" y="0"/>
                </a:lnTo>
                <a:lnTo>
                  <a:pt x="5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4" name="Freeform 93"/>
          <p:cNvSpPr>
            <a:spLocks/>
          </p:cNvSpPr>
          <p:nvPr/>
        </p:nvSpPr>
        <p:spPr bwMode="auto">
          <a:xfrm>
            <a:off x="2066926" y="3598828"/>
            <a:ext cx="7938" cy="7938"/>
          </a:xfrm>
          <a:custGeom>
            <a:avLst/>
            <a:gdLst>
              <a:gd name="T0" fmla="*/ 5 w 5"/>
              <a:gd name="T1" fmla="*/ 1 h 5"/>
              <a:gd name="T2" fmla="*/ 5 w 5"/>
              <a:gd name="T3" fmla="*/ 0 h 5"/>
              <a:gd name="T4" fmla="*/ 5 w 5"/>
              <a:gd name="T5" fmla="*/ 2 h 5"/>
              <a:gd name="T6" fmla="*/ 5 w 5"/>
              <a:gd name="T7" fmla="*/ 3 h 5"/>
              <a:gd name="T8" fmla="*/ 3 w 5"/>
              <a:gd name="T9" fmla="*/ 4 h 5"/>
              <a:gd name="T10" fmla="*/ 1 w 5"/>
              <a:gd name="T11" fmla="*/ 5 h 5"/>
              <a:gd name="T12" fmla="*/ 0 w 5"/>
              <a:gd name="T13" fmla="*/ 4 h 5"/>
              <a:gd name="T14" fmla="*/ 0 w 5"/>
              <a:gd name="T15" fmla="*/ 3 h 5"/>
              <a:gd name="T16" fmla="*/ 3 w 5"/>
              <a:gd name="T17" fmla="*/ 1 h 5"/>
              <a:gd name="T18" fmla="*/ 5 w 5"/>
              <a:gd name="T19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" h="5">
                <a:moveTo>
                  <a:pt x="5" y="1"/>
                </a:moveTo>
                <a:lnTo>
                  <a:pt x="5" y="0"/>
                </a:lnTo>
                <a:lnTo>
                  <a:pt x="5" y="2"/>
                </a:lnTo>
                <a:lnTo>
                  <a:pt x="5" y="3"/>
                </a:lnTo>
                <a:lnTo>
                  <a:pt x="3" y="4"/>
                </a:lnTo>
                <a:lnTo>
                  <a:pt x="1" y="5"/>
                </a:lnTo>
                <a:lnTo>
                  <a:pt x="0" y="4"/>
                </a:lnTo>
                <a:lnTo>
                  <a:pt x="0" y="3"/>
                </a:lnTo>
                <a:lnTo>
                  <a:pt x="3" y="1"/>
                </a:lnTo>
                <a:lnTo>
                  <a:pt x="5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5" name="Freeform 94"/>
          <p:cNvSpPr>
            <a:spLocks/>
          </p:cNvSpPr>
          <p:nvPr/>
        </p:nvSpPr>
        <p:spPr bwMode="auto">
          <a:xfrm>
            <a:off x="2066926" y="3598828"/>
            <a:ext cx="7938" cy="7938"/>
          </a:xfrm>
          <a:custGeom>
            <a:avLst/>
            <a:gdLst>
              <a:gd name="T0" fmla="*/ 5 w 5"/>
              <a:gd name="T1" fmla="*/ 1 h 5"/>
              <a:gd name="T2" fmla="*/ 5 w 5"/>
              <a:gd name="T3" fmla="*/ 0 h 5"/>
              <a:gd name="T4" fmla="*/ 5 w 5"/>
              <a:gd name="T5" fmla="*/ 2 h 5"/>
              <a:gd name="T6" fmla="*/ 5 w 5"/>
              <a:gd name="T7" fmla="*/ 3 h 5"/>
              <a:gd name="T8" fmla="*/ 3 w 5"/>
              <a:gd name="T9" fmla="*/ 4 h 5"/>
              <a:gd name="T10" fmla="*/ 1 w 5"/>
              <a:gd name="T11" fmla="*/ 5 h 5"/>
              <a:gd name="T12" fmla="*/ 0 w 5"/>
              <a:gd name="T13" fmla="*/ 4 h 5"/>
              <a:gd name="T14" fmla="*/ 0 w 5"/>
              <a:gd name="T15" fmla="*/ 3 h 5"/>
              <a:gd name="T16" fmla="*/ 3 w 5"/>
              <a:gd name="T17" fmla="*/ 1 h 5"/>
              <a:gd name="T18" fmla="*/ 5 w 5"/>
              <a:gd name="T19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" h="5">
                <a:moveTo>
                  <a:pt x="5" y="1"/>
                </a:moveTo>
                <a:lnTo>
                  <a:pt x="5" y="0"/>
                </a:lnTo>
                <a:lnTo>
                  <a:pt x="5" y="2"/>
                </a:lnTo>
                <a:lnTo>
                  <a:pt x="5" y="3"/>
                </a:lnTo>
                <a:lnTo>
                  <a:pt x="3" y="4"/>
                </a:lnTo>
                <a:lnTo>
                  <a:pt x="1" y="5"/>
                </a:lnTo>
                <a:lnTo>
                  <a:pt x="0" y="4"/>
                </a:lnTo>
                <a:lnTo>
                  <a:pt x="0" y="3"/>
                </a:lnTo>
                <a:lnTo>
                  <a:pt x="3" y="1"/>
                </a:lnTo>
                <a:lnTo>
                  <a:pt x="5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6" name="Freeform 95"/>
          <p:cNvSpPr>
            <a:spLocks/>
          </p:cNvSpPr>
          <p:nvPr/>
        </p:nvSpPr>
        <p:spPr bwMode="auto">
          <a:xfrm>
            <a:off x="2014538" y="3587716"/>
            <a:ext cx="7938" cy="4763"/>
          </a:xfrm>
          <a:custGeom>
            <a:avLst/>
            <a:gdLst>
              <a:gd name="T0" fmla="*/ 3 w 5"/>
              <a:gd name="T1" fmla="*/ 0 h 3"/>
              <a:gd name="T2" fmla="*/ 3 w 5"/>
              <a:gd name="T3" fmla="*/ 1 h 3"/>
              <a:gd name="T4" fmla="*/ 5 w 5"/>
              <a:gd name="T5" fmla="*/ 3 h 3"/>
              <a:gd name="T6" fmla="*/ 2 w 5"/>
              <a:gd name="T7" fmla="*/ 3 h 3"/>
              <a:gd name="T8" fmla="*/ 1 w 5"/>
              <a:gd name="T9" fmla="*/ 3 h 3"/>
              <a:gd name="T10" fmla="*/ 0 w 5"/>
              <a:gd name="T11" fmla="*/ 2 h 3"/>
              <a:gd name="T12" fmla="*/ 1 w 5"/>
              <a:gd name="T13" fmla="*/ 0 h 3"/>
              <a:gd name="T14" fmla="*/ 3 w 5"/>
              <a:gd name="T15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3">
                <a:moveTo>
                  <a:pt x="3" y="0"/>
                </a:moveTo>
                <a:lnTo>
                  <a:pt x="3" y="1"/>
                </a:lnTo>
                <a:lnTo>
                  <a:pt x="5" y="3"/>
                </a:lnTo>
                <a:lnTo>
                  <a:pt x="2" y="3"/>
                </a:lnTo>
                <a:lnTo>
                  <a:pt x="1" y="3"/>
                </a:lnTo>
                <a:lnTo>
                  <a:pt x="0" y="2"/>
                </a:lnTo>
                <a:lnTo>
                  <a:pt x="1" y="0"/>
                </a:lnTo>
                <a:lnTo>
                  <a:pt x="3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7" name="Freeform 96"/>
          <p:cNvSpPr>
            <a:spLocks/>
          </p:cNvSpPr>
          <p:nvPr/>
        </p:nvSpPr>
        <p:spPr bwMode="auto">
          <a:xfrm>
            <a:off x="2014538" y="3587716"/>
            <a:ext cx="7938" cy="4763"/>
          </a:xfrm>
          <a:custGeom>
            <a:avLst/>
            <a:gdLst>
              <a:gd name="T0" fmla="*/ 3 w 5"/>
              <a:gd name="T1" fmla="*/ 0 h 3"/>
              <a:gd name="T2" fmla="*/ 3 w 5"/>
              <a:gd name="T3" fmla="*/ 1 h 3"/>
              <a:gd name="T4" fmla="*/ 5 w 5"/>
              <a:gd name="T5" fmla="*/ 3 h 3"/>
              <a:gd name="T6" fmla="*/ 2 w 5"/>
              <a:gd name="T7" fmla="*/ 3 h 3"/>
              <a:gd name="T8" fmla="*/ 1 w 5"/>
              <a:gd name="T9" fmla="*/ 3 h 3"/>
              <a:gd name="T10" fmla="*/ 0 w 5"/>
              <a:gd name="T11" fmla="*/ 2 h 3"/>
              <a:gd name="T12" fmla="*/ 1 w 5"/>
              <a:gd name="T13" fmla="*/ 0 h 3"/>
              <a:gd name="T14" fmla="*/ 3 w 5"/>
              <a:gd name="T15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3">
                <a:moveTo>
                  <a:pt x="3" y="0"/>
                </a:moveTo>
                <a:lnTo>
                  <a:pt x="3" y="1"/>
                </a:lnTo>
                <a:lnTo>
                  <a:pt x="5" y="3"/>
                </a:lnTo>
                <a:lnTo>
                  <a:pt x="2" y="3"/>
                </a:lnTo>
                <a:lnTo>
                  <a:pt x="1" y="3"/>
                </a:lnTo>
                <a:lnTo>
                  <a:pt x="0" y="2"/>
                </a:lnTo>
                <a:lnTo>
                  <a:pt x="1" y="0"/>
                </a:lnTo>
                <a:lnTo>
                  <a:pt x="3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8" name="Freeform 97"/>
          <p:cNvSpPr>
            <a:spLocks/>
          </p:cNvSpPr>
          <p:nvPr/>
        </p:nvSpPr>
        <p:spPr bwMode="auto">
          <a:xfrm>
            <a:off x="4746626" y="1857341"/>
            <a:ext cx="11113" cy="11113"/>
          </a:xfrm>
          <a:custGeom>
            <a:avLst/>
            <a:gdLst>
              <a:gd name="T0" fmla="*/ 4 w 7"/>
              <a:gd name="T1" fmla="*/ 1 h 7"/>
              <a:gd name="T2" fmla="*/ 2 w 7"/>
              <a:gd name="T3" fmla="*/ 1 h 7"/>
              <a:gd name="T4" fmla="*/ 2 w 7"/>
              <a:gd name="T5" fmla="*/ 0 h 7"/>
              <a:gd name="T6" fmla="*/ 1 w 7"/>
              <a:gd name="T7" fmla="*/ 1 h 7"/>
              <a:gd name="T8" fmla="*/ 1 w 7"/>
              <a:gd name="T9" fmla="*/ 1 h 7"/>
              <a:gd name="T10" fmla="*/ 1 w 7"/>
              <a:gd name="T11" fmla="*/ 2 h 7"/>
              <a:gd name="T12" fmla="*/ 0 w 7"/>
              <a:gd name="T13" fmla="*/ 2 h 7"/>
              <a:gd name="T14" fmla="*/ 0 w 7"/>
              <a:gd name="T15" fmla="*/ 4 h 7"/>
              <a:gd name="T16" fmla="*/ 0 w 7"/>
              <a:gd name="T17" fmla="*/ 6 h 7"/>
              <a:gd name="T18" fmla="*/ 3 w 7"/>
              <a:gd name="T19" fmla="*/ 6 h 7"/>
              <a:gd name="T20" fmla="*/ 6 w 7"/>
              <a:gd name="T21" fmla="*/ 7 h 7"/>
              <a:gd name="T22" fmla="*/ 7 w 7"/>
              <a:gd name="T23" fmla="*/ 6 h 7"/>
              <a:gd name="T24" fmla="*/ 4 w 7"/>
              <a:gd name="T25" fmla="*/ 6 h 7"/>
              <a:gd name="T26" fmla="*/ 3 w 7"/>
              <a:gd name="T27" fmla="*/ 5 h 7"/>
              <a:gd name="T28" fmla="*/ 6 w 7"/>
              <a:gd name="T29" fmla="*/ 4 h 7"/>
              <a:gd name="T30" fmla="*/ 6 w 7"/>
              <a:gd name="T31" fmla="*/ 2 h 7"/>
              <a:gd name="T32" fmla="*/ 6 w 7"/>
              <a:gd name="T33" fmla="*/ 2 h 7"/>
              <a:gd name="T34" fmla="*/ 4 w 7"/>
              <a:gd name="T35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" h="7">
                <a:moveTo>
                  <a:pt x="4" y="1"/>
                </a:moveTo>
                <a:lnTo>
                  <a:pt x="2" y="1"/>
                </a:lnTo>
                <a:lnTo>
                  <a:pt x="2" y="0"/>
                </a:lnTo>
                <a:lnTo>
                  <a:pt x="1" y="1"/>
                </a:lnTo>
                <a:lnTo>
                  <a:pt x="1" y="1"/>
                </a:lnTo>
                <a:lnTo>
                  <a:pt x="1" y="2"/>
                </a:lnTo>
                <a:lnTo>
                  <a:pt x="0" y="2"/>
                </a:lnTo>
                <a:lnTo>
                  <a:pt x="0" y="4"/>
                </a:lnTo>
                <a:lnTo>
                  <a:pt x="0" y="6"/>
                </a:lnTo>
                <a:lnTo>
                  <a:pt x="3" y="6"/>
                </a:lnTo>
                <a:lnTo>
                  <a:pt x="6" y="7"/>
                </a:lnTo>
                <a:lnTo>
                  <a:pt x="7" y="6"/>
                </a:lnTo>
                <a:lnTo>
                  <a:pt x="4" y="6"/>
                </a:lnTo>
                <a:lnTo>
                  <a:pt x="3" y="5"/>
                </a:lnTo>
                <a:lnTo>
                  <a:pt x="6" y="4"/>
                </a:lnTo>
                <a:lnTo>
                  <a:pt x="6" y="2"/>
                </a:lnTo>
                <a:lnTo>
                  <a:pt x="6" y="2"/>
                </a:lnTo>
                <a:lnTo>
                  <a:pt x="4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9" name="Freeform 98"/>
          <p:cNvSpPr>
            <a:spLocks/>
          </p:cNvSpPr>
          <p:nvPr/>
        </p:nvSpPr>
        <p:spPr bwMode="auto">
          <a:xfrm>
            <a:off x="4746626" y="1857341"/>
            <a:ext cx="11113" cy="11113"/>
          </a:xfrm>
          <a:custGeom>
            <a:avLst/>
            <a:gdLst>
              <a:gd name="T0" fmla="*/ 4 w 7"/>
              <a:gd name="T1" fmla="*/ 1 h 7"/>
              <a:gd name="T2" fmla="*/ 2 w 7"/>
              <a:gd name="T3" fmla="*/ 1 h 7"/>
              <a:gd name="T4" fmla="*/ 2 w 7"/>
              <a:gd name="T5" fmla="*/ 0 h 7"/>
              <a:gd name="T6" fmla="*/ 1 w 7"/>
              <a:gd name="T7" fmla="*/ 1 h 7"/>
              <a:gd name="T8" fmla="*/ 1 w 7"/>
              <a:gd name="T9" fmla="*/ 1 h 7"/>
              <a:gd name="T10" fmla="*/ 1 w 7"/>
              <a:gd name="T11" fmla="*/ 2 h 7"/>
              <a:gd name="T12" fmla="*/ 0 w 7"/>
              <a:gd name="T13" fmla="*/ 2 h 7"/>
              <a:gd name="T14" fmla="*/ 0 w 7"/>
              <a:gd name="T15" fmla="*/ 4 h 7"/>
              <a:gd name="T16" fmla="*/ 0 w 7"/>
              <a:gd name="T17" fmla="*/ 6 h 7"/>
              <a:gd name="T18" fmla="*/ 3 w 7"/>
              <a:gd name="T19" fmla="*/ 6 h 7"/>
              <a:gd name="T20" fmla="*/ 6 w 7"/>
              <a:gd name="T21" fmla="*/ 7 h 7"/>
              <a:gd name="T22" fmla="*/ 7 w 7"/>
              <a:gd name="T23" fmla="*/ 6 h 7"/>
              <a:gd name="T24" fmla="*/ 4 w 7"/>
              <a:gd name="T25" fmla="*/ 6 h 7"/>
              <a:gd name="T26" fmla="*/ 3 w 7"/>
              <a:gd name="T27" fmla="*/ 5 h 7"/>
              <a:gd name="T28" fmla="*/ 6 w 7"/>
              <a:gd name="T29" fmla="*/ 4 h 7"/>
              <a:gd name="T30" fmla="*/ 6 w 7"/>
              <a:gd name="T31" fmla="*/ 2 h 7"/>
              <a:gd name="T32" fmla="*/ 6 w 7"/>
              <a:gd name="T33" fmla="*/ 2 h 7"/>
              <a:gd name="T34" fmla="*/ 4 w 7"/>
              <a:gd name="T35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" h="7">
                <a:moveTo>
                  <a:pt x="4" y="1"/>
                </a:moveTo>
                <a:lnTo>
                  <a:pt x="2" y="1"/>
                </a:lnTo>
                <a:lnTo>
                  <a:pt x="2" y="0"/>
                </a:lnTo>
                <a:lnTo>
                  <a:pt x="1" y="1"/>
                </a:lnTo>
                <a:lnTo>
                  <a:pt x="1" y="1"/>
                </a:lnTo>
                <a:lnTo>
                  <a:pt x="1" y="2"/>
                </a:lnTo>
                <a:lnTo>
                  <a:pt x="0" y="2"/>
                </a:lnTo>
                <a:lnTo>
                  <a:pt x="0" y="4"/>
                </a:lnTo>
                <a:lnTo>
                  <a:pt x="0" y="6"/>
                </a:lnTo>
                <a:lnTo>
                  <a:pt x="3" y="6"/>
                </a:lnTo>
                <a:lnTo>
                  <a:pt x="6" y="7"/>
                </a:lnTo>
                <a:lnTo>
                  <a:pt x="7" y="6"/>
                </a:lnTo>
                <a:lnTo>
                  <a:pt x="4" y="6"/>
                </a:lnTo>
                <a:lnTo>
                  <a:pt x="3" y="5"/>
                </a:lnTo>
                <a:lnTo>
                  <a:pt x="6" y="4"/>
                </a:lnTo>
                <a:lnTo>
                  <a:pt x="6" y="2"/>
                </a:lnTo>
                <a:lnTo>
                  <a:pt x="6" y="2"/>
                </a:lnTo>
                <a:lnTo>
                  <a:pt x="4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00" name="Freeform 99"/>
          <p:cNvSpPr>
            <a:spLocks/>
          </p:cNvSpPr>
          <p:nvPr/>
        </p:nvSpPr>
        <p:spPr bwMode="auto">
          <a:xfrm>
            <a:off x="4787901" y="1863691"/>
            <a:ext cx="3175" cy="3175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0 w 2"/>
              <a:gd name="T5" fmla="*/ 0 h 2"/>
              <a:gd name="T6" fmla="*/ 0 w 2"/>
              <a:gd name="T7" fmla="*/ 1 h 2"/>
              <a:gd name="T8" fmla="*/ 1 w 2"/>
              <a:gd name="T9" fmla="*/ 2 h 2"/>
              <a:gd name="T10" fmla="*/ 2 w 2"/>
              <a:gd name="T11" fmla="*/ 2 h 2"/>
              <a:gd name="T12" fmla="*/ 2 w 2"/>
              <a:gd name="T13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1"/>
                </a:lnTo>
                <a:lnTo>
                  <a:pt x="1" y="2"/>
                </a:lnTo>
                <a:lnTo>
                  <a:pt x="2" y="2"/>
                </a:lnTo>
                <a:lnTo>
                  <a:pt x="2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01" name="Freeform 100"/>
          <p:cNvSpPr>
            <a:spLocks/>
          </p:cNvSpPr>
          <p:nvPr/>
        </p:nvSpPr>
        <p:spPr bwMode="auto">
          <a:xfrm>
            <a:off x="4787901" y="1863691"/>
            <a:ext cx="3175" cy="3175"/>
          </a:xfrm>
          <a:custGeom>
            <a:avLst/>
            <a:gdLst>
              <a:gd name="T0" fmla="*/ 2 w 2"/>
              <a:gd name="T1" fmla="*/ 0 h 2"/>
              <a:gd name="T2" fmla="*/ 2 w 2"/>
              <a:gd name="T3" fmla="*/ 0 h 2"/>
              <a:gd name="T4" fmla="*/ 0 w 2"/>
              <a:gd name="T5" fmla="*/ 0 h 2"/>
              <a:gd name="T6" fmla="*/ 0 w 2"/>
              <a:gd name="T7" fmla="*/ 1 h 2"/>
              <a:gd name="T8" fmla="*/ 1 w 2"/>
              <a:gd name="T9" fmla="*/ 2 h 2"/>
              <a:gd name="T10" fmla="*/ 2 w 2"/>
              <a:gd name="T11" fmla="*/ 2 h 2"/>
              <a:gd name="T12" fmla="*/ 2 w 2"/>
              <a:gd name="T13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2" y="0"/>
                </a:lnTo>
                <a:lnTo>
                  <a:pt x="0" y="0"/>
                </a:lnTo>
                <a:lnTo>
                  <a:pt x="0" y="1"/>
                </a:lnTo>
                <a:lnTo>
                  <a:pt x="1" y="2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02" name="Freeform 101"/>
          <p:cNvSpPr>
            <a:spLocks/>
          </p:cNvSpPr>
          <p:nvPr/>
        </p:nvSpPr>
        <p:spPr bwMode="auto">
          <a:xfrm>
            <a:off x="4800601" y="1860516"/>
            <a:ext cx="9525" cy="7938"/>
          </a:xfrm>
          <a:custGeom>
            <a:avLst/>
            <a:gdLst>
              <a:gd name="T0" fmla="*/ 5 w 6"/>
              <a:gd name="T1" fmla="*/ 5 h 5"/>
              <a:gd name="T2" fmla="*/ 5 w 6"/>
              <a:gd name="T3" fmla="*/ 4 h 5"/>
              <a:gd name="T4" fmla="*/ 6 w 6"/>
              <a:gd name="T5" fmla="*/ 3 h 5"/>
              <a:gd name="T6" fmla="*/ 6 w 6"/>
              <a:gd name="T7" fmla="*/ 0 h 5"/>
              <a:gd name="T8" fmla="*/ 5 w 6"/>
              <a:gd name="T9" fmla="*/ 2 h 5"/>
              <a:gd name="T10" fmla="*/ 1 w 6"/>
              <a:gd name="T11" fmla="*/ 2 h 5"/>
              <a:gd name="T12" fmla="*/ 1 w 6"/>
              <a:gd name="T13" fmla="*/ 3 h 5"/>
              <a:gd name="T14" fmla="*/ 0 w 6"/>
              <a:gd name="T15" fmla="*/ 4 h 5"/>
              <a:gd name="T16" fmla="*/ 0 w 6"/>
              <a:gd name="T17" fmla="*/ 5 h 5"/>
              <a:gd name="T18" fmla="*/ 3 w 6"/>
              <a:gd name="T19" fmla="*/ 4 h 5"/>
              <a:gd name="T20" fmla="*/ 5 w 6"/>
              <a:gd name="T21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" h="5">
                <a:moveTo>
                  <a:pt x="5" y="5"/>
                </a:moveTo>
                <a:lnTo>
                  <a:pt x="5" y="4"/>
                </a:lnTo>
                <a:lnTo>
                  <a:pt x="6" y="3"/>
                </a:lnTo>
                <a:lnTo>
                  <a:pt x="6" y="0"/>
                </a:lnTo>
                <a:lnTo>
                  <a:pt x="5" y="2"/>
                </a:lnTo>
                <a:lnTo>
                  <a:pt x="1" y="2"/>
                </a:lnTo>
                <a:lnTo>
                  <a:pt x="1" y="3"/>
                </a:lnTo>
                <a:lnTo>
                  <a:pt x="0" y="4"/>
                </a:lnTo>
                <a:lnTo>
                  <a:pt x="0" y="5"/>
                </a:lnTo>
                <a:lnTo>
                  <a:pt x="3" y="4"/>
                </a:lnTo>
                <a:lnTo>
                  <a:pt x="5" y="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03" name="Freeform 102"/>
          <p:cNvSpPr>
            <a:spLocks/>
          </p:cNvSpPr>
          <p:nvPr/>
        </p:nvSpPr>
        <p:spPr bwMode="auto">
          <a:xfrm>
            <a:off x="4800601" y="1860516"/>
            <a:ext cx="9525" cy="7938"/>
          </a:xfrm>
          <a:custGeom>
            <a:avLst/>
            <a:gdLst>
              <a:gd name="T0" fmla="*/ 5 w 6"/>
              <a:gd name="T1" fmla="*/ 5 h 5"/>
              <a:gd name="T2" fmla="*/ 5 w 6"/>
              <a:gd name="T3" fmla="*/ 4 h 5"/>
              <a:gd name="T4" fmla="*/ 6 w 6"/>
              <a:gd name="T5" fmla="*/ 3 h 5"/>
              <a:gd name="T6" fmla="*/ 6 w 6"/>
              <a:gd name="T7" fmla="*/ 0 h 5"/>
              <a:gd name="T8" fmla="*/ 5 w 6"/>
              <a:gd name="T9" fmla="*/ 2 h 5"/>
              <a:gd name="T10" fmla="*/ 1 w 6"/>
              <a:gd name="T11" fmla="*/ 2 h 5"/>
              <a:gd name="T12" fmla="*/ 1 w 6"/>
              <a:gd name="T13" fmla="*/ 3 h 5"/>
              <a:gd name="T14" fmla="*/ 0 w 6"/>
              <a:gd name="T15" fmla="*/ 4 h 5"/>
              <a:gd name="T16" fmla="*/ 0 w 6"/>
              <a:gd name="T17" fmla="*/ 5 h 5"/>
              <a:gd name="T18" fmla="*/ 3 w 6"/>
              <a:gd name="T19" fmla="*/ 4 h 5"/>
              <a:gd name="T20" fmla="*/ 5 w 6"/>
              <a:gd name="T21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" h="5">
                <a:moveTo>
                  <a:pt x="5" y="5"/>
                </a:moveTo>
                <a:lnTo>
                  <a:pt x="5" y="4"/>
                </a:lnTo>
                <a:lnTo>
                  <a:pt x="6" y="3"/>
                </a:lnTo>
                <a:lnTo>
                  <a:pt x="6" y="0"/>
                </a:lnTo>
                <a:lnTo>
                  <a:pt x="5" y="2"/>
                </a:lnTo>
                <a:lnTo>
                  <a:pt x="1" y="2"/>
                </a:lnTo>
                <a:lnTo>
                  <a:pt x="1" y="3"/>
                </a:lnTo>
                <a:lnTo>
                  <a:pt x="0" y="4"/>
                </a:lnTo>
                <a:lnTo>
                  <a:pt x="0" y="5"/>
                </a:lnTo>
                <a:lnTo>
                  <a:pt x="3" y="4"/>
                </a:lnTo>
                <a:lnTo>
                  <a:pt x="5" y="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04" name="Freeform 103"/>
          <p:cNvSpPr>
            <a:spLocks/>
          </p:cNvSpPr>
          <p:nvPr/>
        </p:nvSpPr>
        <p:spPr bwMode="auto">
          <a:xfrm>
            <a:off x="4645026" y="2471703"/>
            <a:ext cx="73025" cy="47625"/>
          </a:xfrm>
          <a:custGeom>
            <a:avLst/>
            <a:gdLst>
              <a:gd name="T0" fmla="*/ 46 w 46"/>
              <a:gd name="T1" fmla="*/ 0 h 30"/>
              <a:gd name="T2" fmla="*/ 45 w 46"/>
              <a:gd name="T3" fmla="*/ 2 h 30"/>
              <a:gd name="T4" fmla="*/ 45 w 46"/>
              <a:gd name="T5" fmla="*/ 2 h 30"/>
              <a:gd name="T6" fmla="*/ 45 w 46"/>
              <a:gd name="T7" fmla="*/ 4 h 30"/>
              <a:gd name="T8" fmla="*/ 42 w 46"/>
              <a:gd name="T9" fmla="*/ 9 h 30"/>
              <a:gd name="T10" fmla="*/ 40 w 46"/>
              <a:gd name="T11" fmla="*/ 17 h 30"/>
              <a:gd name="T12" fmla="*/ 40 w 46"/>
              <a:gd name="T13" fmla="*/ 18 h 30"/>
              <a:gd name="T14" fmla="*/ 41 w 46"/>
              <a:gd name="T15" fmla="*/ 19 h 30"/>
              <a:gd name="T16" fmla="*/ 41 w 46"/>
              <a:gd name="T17" fmla="*/ 20 h 30"/>
              <a:gd name="T18" fmla="*/ 43 w 46"/>
              <a:gd name="T19" fmla="*/ 24 h 30"/>
              <a:gd name="T20" fmla="*/ 41 w 46"/>
              <a:gd name="T21" fmla="*/ 28 h 30"/>
              <a:gd name="T22" fmla="*/ 41 w 46"/>
              <a:gd name="T23" fmla="*/ 30 h 30"/>
              <a:gd name="T24" fmla="*/ 36 w 46"/>
              <a:gd name="T25" fmla="*/ 30 h 30"/>
              <a:gd name="T26" fmla="*/ 34 w 46"/>
              <a:gd name="T27" fmla="*/ 29 h 30"/>
              <a:gd name="T28" fmla="*/ 31 w 46"/>
              <a:gd name="T29" fmla="*/ 27 h 30"/>
              <a:gd name="T30" fmla="*/ 27 w 46"/>
              <a:gd name="T31" fmla="*/ 24 h 30"/>
              <a:gd name="T32" fmla="*/ 24 w 46"/>
              <a:gd name="T33" fmla="*/ 23 h 30"/>
              <a:gd name="T34" fmla="*/ 22 w 46"/>
              <a:gd name="T35" fmla="*/ 23 h 30"/>
              <a:gd name="T36" fmla="*/ 20 w 46"/>
              <a:gd name="T37" fmla="*/ 22 h 30"/>
              <a:gd name="T38" fmla="*/ 17 w 46"/>
              <a:gd name="T39" fmla="*/ 19 h 30"/>
              <a:gd name="T40" fmla="*/ 14 w 46"/>
              <a:gd name="T41" fmla="*/ 18 h 30"/>
              <a:gd name="T42" fmla="*/ 11 w 46"/>
              <a:gd name="T43" fmla="*/ 16 h 30"/>
              <a:gd name="T44" fmla="*/ 7 w 46"/>
              <a:gd name="T45" fmla="*/ 14 h 30"/>
              <a:gd name="T46" fmla="*/ 3 w 46"/>
              <a:gd name="T47" fmla="*/ 14 h 30"/>
              <a:gd name="T48" fmla="*/ 1 w 46"/>
              <a:gd name="T49" fmla="*/ 12 h 30"/>
              <a:gd name="T50" fmla="*/ 0 w 46"/>
              <a:gd name="T51" fmla="*/ 8 h 30"/>
              <a:gd name="T52" fmla="*/ 1 w 46"/>
              <a:gd name="T53" fmla="*/ 6 h 30"/>
              <a:gd name="T54" fmla="*/ 1 w 46"/>
              <a:gd name="T55" fmla="*/ 5 h 30"/>
              <a:gd name="T56" fmla="*/ 2 w 46"/>
              <a:gd name="T57" fmla="*/ 4 h 30"/>
              <a:gd name="T58" fmla="*/ 3 w 46"/>
              <a:gd name="T59" fmla="*/ 3 h 30"/>
              <a:gd name="T60" fmla="*/ 5 w 46"/>
              <a:gd name="T61" fmla="*/ 5 h 30"/>
              <a:gd name="T62" fmla="*/ 6 w 46"/>
              <a:gd name="T63" fmla="*/ 5 h 30"/>
              <a:gd name="T64" fmla="*/ 11 w 46"/>
              <a:gd name="T65" fmla="*/ 3 h 30"/>
              <a:gd name="T66" fmla="*/ 17 w 46"/>
              <a:gd name="T67" fmla="*/ 5 h 30"/>
              <a:gd name="T68" fmla="*/ 18 w 46"/>
              <a:gd name="T69" fmla="*/ 7 h 30"/>
              <a:gd name="T70" fmla="*/ 20 w 46"/>
              <a:gd name="T71" fmla="*/ 6 h 30"/>
              <a:gd name="T72" fmla="*/ 22 w 46"/>
              <a:gd name="T73" fmla="*/ 6 h 30"/>
              <a:gd name="T74" fmla="*/ 31 w 46"/>
              <a:gd name="T75" fmla="*/ 5 h 30"/>
              <a:gd name="T76" fmla="*/ 32 w 46"/>
              <a:gd name="T77" fmla="*/ 5 h 30"/>
              <a:gd name="T78" fmla="*/ 35 w 46"/>
              <a:gd name="T79" fmla="*/ 3 h 30"/>
              <a:gd name="T80" fmla="*/ 40 w 46"/>
              <a:gd name="T81" fmla="*/ 3 h 30"/>
              <a:gd name="T82" fmla="*/ 41 w 46"/>
              <a:gd name="T83" fmla="*/ 2 h 30"/>
              <a:gd name="T84" fmla="*/ 44 w 46"/>
              <a:gd name="T85" fmla="*/ 2 h 30"/>
              <a:gd name="T86" fmla="*/ 46 w 46"/>
              <a:gd name="T87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6" h="30">
                <a:moveTo>
                  <a:pt x="46" y="0"/>
                </a:moveTo>
                <a:lnTo>
                  <a:pt x="45" y="2"/>
                </a:lnTo>
                <a:lnTo>
                  <a:pt x="45" y="2"/>
                </a:lnTo>
                <a:lnTo>
                  <a:pt x="45" y="4"/>
                </a:lnTo>
                <a:lnTo>
                  <a:pt x="42" y="9"/>
                </a:lnTo>
                <a:lnTo>
                  <a:pt x="40" y="17"/>
                </a:lnTo>
                <a:lnTo>
                  <a:pt x="40" y="18"/>
                </a:lnTo>
                <a:lnTo>
                  <a:pt x="41" y="19"/>
                </a:lnTo>
                <a:lnTo>
                  <a:pt x="41" y="20"/>
                </a:lnTo>
                <a:lnTo>
                  <a:pt x="43" y="24"/>
                </a:lnTo>
                <a:lnTo>
                  <a:pt x="41" y="28"/>
                </a:lnTo>
                <a:lnTo>
                  <a:pt x="41" y="30"/>
                </a:lnTo>
                <a:lnTo>
                  <a:pt x="36" y="30"/>
                </a:lnTo>
                <a:lnTo>
                  <a:pt x="34" y="29"/>
                </a:lnTo>
                <a:lnTo>
                  <a:pt x="31" y="27"/>
                </a:lnTo>
                <a:lnTo>
                  <a:pt x="27" y="24"/>
                </a:lnTo>
                <a:lnTo>
                  <a:pt x="24" y="23"/>
                </a:lnTo>
                <a:lnTo>
                  <a:pt x="22" y="23"/>
                </a:lnTo>
                <a:lnTo>
                  <a:pt x="20" y="22"/>
                </a:lnTo>
                <a:lnTo>
                  <a:pt x="17" y="19"/>
                </a:lnTo>
                <a:lnTo>
                  <a:pt x="14" y="18"/>
                </a:lnTo>
                <a:lnTo>
                  <a:pt x="11" y="16"/>
                </a:lnTo>
                <a:lnTo>
                  <a:pt x="7" y="14"/>
                </a:lnTo>
                <a:lnTo>
                  <a:pt x="3" y="14"/>
                </a:lnTo>
                <a:lnTo>
                  <a:pt x="1" y="12"/>
                </a:lnTo>
                <a:lnTo>
                  <a:pt x="0" y="8"/>
                </a:lnTo>
                <a:lnTo>
                  <a:pt x="1" y="6"/>
                </a:lnTo>
                <a:lnTo>
                  <a:pt x="1" y="5"/>
                </a:lnTo>
                <a:lnTo>
                  <a:pt x="2" y="4"/>
                </a:lnTo>
                <a:lnTo>
                  <a:pt x="3" y="3"/>
                </a:lnTo>
                <a:lnTo>
                  <a:pt x="5" y="5"/>
                </a:lnTo>
                <a:lnTo>
                  <a:pt x="6" y="5"/>
                </a:lnTo>
                <a:lnTo>
                  <a:pt x="11" y="3"/>
                </a:lnTo>
                <a:lnTo>
                  <a:pt x="17" y="5"/>
                </a:lnTo>
                <a:lnTo>
                  <a:pt x="18" y="7"/>
                </a:lnTo>
                <a:lnTo>
                  <a:pt x="20" y="6"/>
                </a:lnTo>
                <a:lnTo>
                  <a:pt x="22" y="6"/>
                </a:lnTo>
                <a:lnTo>
                  <a:pt x="31" y="5"/>
                </a:lnTo>
                <a:lnTo>
                  <a:pt x="32" y="5"/>
                </a:lnTo>
                <a:lnTo>
                  <a:pt x="35" y="3"/>
                </a:lnTo>
                <a:lnTo>
                  <a:pt x="40" y="3"/>
                </a:lnTo>
                <a:lnTo>
                  <a:pt x="41" y="2"/>
                </a:lnTo>
                <a:lnTo>
                  <a:pt x="44" y="2"/>
                </a:lnTo>
                <a:lnTo>
                  <a:pt x="46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05" name="Freeform 104"/>
          <p:cNvSpPr>
            <a:spLocks/>
          </p:cNvSpPr>
          <p:nvPr/>
        </p:nvSpPr>
        <p:spPr bwMode="auto">
          <a:xfrm>
            <a:off x="4645026" y="2471703"/>
            <a:ext cx="73025" cy="47625"/>
          </a:xfrm>
          <a:custGeom>
            <a:avLst/>
            <a:gdLst>
              <a:gd name="T0" fmla="*/ 46 w 46"/>
              <a:gd name="T1" fmla="*/ 0 h 30"/>
              <a:gd name="T2" fmla="*/ 45 w 46"/>
              <a:gd name="T3" fmla="*/ 2 h 30"/>
              <a:gd name="T4" fmla="*/ 45 w 46"/>
              <a:gd name="T5" fmla="*/ 2 h 30"/>
              <a:gd name="T6" fmla="*/ 45 w 46"/>
              <a:gd name="T7" fmla="*/ 4 h 30"/>
              <a:gd name="T8" fmla="*/ 42 w 46"/>
              <a:gd name="T9" fmla="*/ 9 h 30"/>
              <a:gd name="T10" fmla="*/ 40 w 46"/>
              <a:gd name="T11" fmla="*/ 17 h 30"/>
              <a:gd name="T12" fmla="*/ 40 w 46"/>
              <a:gd name="T13" fmla="*/ 18 h 30"/>
              <a:gd name="T14" fmla="*/ 41 w 46"/>
              <a:gd name="T15" fmla="*/ 19 h 30"/>
              <a:gd name="T16" fmla="*/ 41 w 46"/>
              <a:gd name="T17" fmla="*/ 20 h 30"/>
              <a:gd name="T18" fmla="*/ 43 w 46"/>
              <a:gd name="T19" fmla="*/ 24 h 30"/>
              <a:gd name="T20" fmla="*/ 41 w 46"/>
              <a:gd name="T21" fmla="*/ 28 h 30"/>
              <a:gd name="T22" fmla="*/ 41 w 46"/>
              <a:gd name="T23" fmla="*/ 30 h 30"/>
              <a:gd name="T24" fmla="*/ 36 w 46"/>
              <a:gd name="T25" fmla="*/ 30 h 30"/>
              <a:gd name="T26" fmla="*/ 34 w 46"/>
              <a:gd name="T27" fmla="*/ 29 h 30"/>
              <a:gd name="T28" fmla="*/ 31 w 46"/>
              <a:gd name="T29" fmla="*/ 27 h 30"/>
              <a:gd name="T30" fmla="*/ 27 w 46"/>
              <a:gd name="T31" fmla="*/ 24 h 30"/>
              <a:gd name="T32" fmla="*/ 24 w 46"/>
              <a:gd name="T33" fmla="*/ 23 h 30"/>
              <a:gd name="T34" fmla="*/ 22 w 46"/>
              <a:gd name="T35" fmla="*/ 23 h 30"/>
              <a:gd name="T36" fmla="*/ 20 w 46"/>
              <a:gd name="T37" fmla="*/ 22 h 30"/>
              <a:gd name="T38" fmla="*/ 17 w 46"/>
              <a:gd name="T39" fmla="*/ 19 h 30"/>
              <a:gd name="T40" fmla="*/ 14 w 46"/>
              <a:gd name="T41" fmla="*/ 18 h 30"/>
              <a:gd name="T42" fmla="*/ 11 w 46"/>
              <a:gd name="T43" fmla="*/ 16 h 30"/>
              <a:gd name="T44" fmla="*/ 7 w 46"/>
              <a:gd name="T45" fmla="*/ 14 h 30"/>
              <a:gd name="T46" fmla="*/ 3 w 46"/>
              <a:gd name="T47" fmla="*/ 14 h 30"/>
              <a:gd name="T48" fmla="*/ 1 w 46"/>
              <a:gd name="T49" fmla="*/ 12 h 30"/>
              <a:gd name="T50" fmla="*/ 0 w 46"/>
              <a:gd name="T51" fmla="*/ 8 h 30"/>
              <a:gd name="T52" fmla="*/ 1 w 46"/>
              <a:gd name="T53" fmla="*/ 6 h 30"/>
              <a:gd name="T54" fmla="*/ 1 w 46"/>
              <a:gd name="T55" fmla="*/ 5 h 30"/>
              <a:gd name="T56" fmla="*/ 2 w 46"/>
              <a:gd name="T57" fmla="*/ 4 h 30"/>
              <a:gd name="T58" fmla="*/ 3 w 46"/>
              <a:gd name="T59" fmla="*/ 3 h 30"/>
              <a:gd name="T60" fmla="*/ 5 w 46"/>
              <a:gd name="T61" fmla="*/ 5 h 30"/>
              <a:gd name="T62" fmla="*/ 6 w 46"/>
              <a:gd name="T63" fmla="*/ 5 h 30"/>
              <a:gd name="T64" fmla="*/ 11 w 46"/>
              <a:gd name="T65" fmla="*/ 3 h 30"/>
              <a:gd name="T66" fmla="*/ 17 w 46"/>
              <a:gd name="T67" fmla="*/ 5 h 30"/>
              <a:gd name="T68" fmla="*/ 18 w 46"/>
              <a:gd name="T69" fmla="*/ 7 h 30"/>
              <a:gd name="T70" fmla="*/ 20 w 46"/>
              <a:gd name="T71" fmla="*/ 6 h 30"/>
              <a:gd name="T72" fmla="*/ 22 w 46"/>
              <a:gd name="T73" fmla="*/ 6 h 30"/>
              <a:gd name="T74" fmla="*/ 31 w 46"/>
              <a:gd name="T75" fmla="*/ 5 h 30"/>
              <a:gd name="T76" fmla="*/ 32 w 46"/>
              <a:gd name="T77" fmla="*/ 5 h 30"/>
              <a:gd name="T78" fmla="*/ 35 w 46"/>
              <a:gd name="T79" fmla="*/ 3 h 30"/>
              <a:gd name="T80" fmla="*/ 40 w 46"/>
              <a:gd name="T81" fmla="*/ 3 h 30"/>
              <a:gd name="T82" fmla="*/ 41 w 46"/>
              <a:gd name="T83" fmla="*/ 2 h 30"/>
              <a:gd name="T84" fmla="*/ 44 w 46"/>
              <a:gd name="T85" fmla="*/ 2 h 30"/>
              <a:gd name="T86" fmla="*/ 46 w 46"/>
              <a:gd name="T87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6" h="30">
                <a:moveTo>
                  <a:pt x="46" y="0"/>
                </a:moveTo>
                <a:lnTo>
                  <a:pt x="45" y="2"/>
                </a:lnTo>
                <a:lnTo>
                  <a:pt x="45" y="2"/>
                </a:lnTo>
                <a:lnTo>
                  <a:pt x="45" y="4"/>
                </a:lnTo>
                <a:lnTo>
                  <a:pt x="42" y="9"/>
                </a:lnTo>
                <a:lnTo>
                  <a:pt x="40" y="17"/>
                </a:lnTo>
                <a:lnTo>
                  <a:pt x="40" y="18"/>
                </a:lnTo>
                <a:lnTo>
                  <a:pt x="41" y="19"/>
                </a:lnTo>
                <a:lnTo>
                  <a:pt x="41" y="20"/>
                </a:lnTo>
                <a:lnTo>
                  <a:pt x="43" y="24"/>
                </a:lnTo>
                <a:lnTo>
                  <a:pt x="41" y="28"/>
                </a:lnTo>
                <a:lnTo>
                  <a:pt x="41" y="30"/>
                </a:lnTo>
                <a:lnTo>
                  <a:pt x="36" y="30"/>
                </a:lnTo>
                <a:lnTo>
                  <a:pt x="34" y="29"/>
                </a:lnTo>
                <a:lnTo>
                  <a:pt x="31" y="27"/>
                </a:lnTo>
                <a:lnTo>
                  <a:pt x="27" y="24"/>
                </a:lnTo>
                <a:lnTo>
                  <a:pt x="24" y="23"/>
                </a:lnTo>
                <a:lnTo>
                  <a:pt x="22" y="23"/>
                </a:lnTo>
                <a:lnTo>
                  <a:pt x="20" y="22"/>
                </a:lnTo>
                <a:lnTo>
                  <a:pt x="17" y="19"/>
                </a:lnTo>
                <a:lnTo>
                  <a:pt x="14" y="18"/>
                </a:lnTo>
                <a:lnTo>
                  <a:pt x="11" y="16"/>
                </a:lnTo>
                <a:lnTo>
                  <a:pt x="7" y="14"/>
                </a:lnTo>
                <a:lnTo>
                  <a:pt x="3" y="14"/>
                </a:lnTo>
                <a:lnTo>
                  <a:pt x="1" y="12"/>
                </a:lnTo>
                <a:lnTo>
                  <a:pt x="0" y="8"/>
                </a:lnTo>
                <a:lnTo>
                  <a:pt x="1" y="6"/>
                </a:lnTo>
                <a:lnTo>
                  <a:pt x="1" y="5"/>
                </a:lnTo>
                <a:lnTo>
                  <a:pt x="2" y="4"/>
                </a:lnTo>
                <a:lnTo>
                  <a:pt x="3" y="3"/>
                </a:lnTo>
                <a:lnTo>
                  <a:pt x="5" y="5"/>
                </a:lnTo>
                <a:lnTo>
                  <a:pt x="6" y="5"/>
                </a:lnTo>
                <a:lnTo>
                  <a:pt x="11" y="3"/>
                </a:lnTo>
                <a:lnTo>
                  <a:pt x="17" y="5"/>
                </a:lnTo>
                <a:lnTo>
                  <a:pt x="18" y="7"/>
                </a:lnTo>
                <a:lnTo>
                  <a:pt x="20" y="6"/>
                </a:lnTo>
                <a:lnTo>
                  <a:pt x="22" y="6"/>
                </a:lnTo>
                <a:lnTo>
                  <a:pt x="31" y="5"/>
                </a:lnTo>
                <a:lnTo>
                  <a:pt x="32" y="5"/>
                </a:lnTo>
                <a:lnTo>
                  <a:pt x="35" y="3"/>
                </a:lnTo>
                <a:lnTo>
                  <a:pt x="40" y="3"/>
                </a:lnTo>
                <a:lnTo>
                  <a:pt x="41" y="2"/>
                </a:lnTo>
                <a:lnTo>
                  <a:pt x="44" y="2"/>
                </a:lnTo>
                <a:lnTo>
                  <a:pt x="46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06" name="Freeform 105"/>
          <p:cNvSpPr>
            <a:spLocks/>
          </p:cNvSpPr>
          <p:nvPr/>
        </p:nvSpPr>
        <p:spPr bwMode="auto">
          <a:xfrm>
            <a:off x="4540251" y="2387566"/>
            <a:ext cx="34925" cy="68263"/>
          </a:xfrm>
          <a:custGeom>
            <a:avLst/>
            <a:gdLst>
              <a:gd name="T0" fmla="*/ 13 w 22"/>
              <a:gd name="T1" fmla="*/ 0 h 43"/>
              <a:gd name="T2" fmla="*/ 17 w 22"/>
              <a:gd name="T3" fmla="*/ 1 h 43"/>
              <a:gd name="T4" fmla="*/ 18 w 22"/>
              <a:gd name="T5" fmla="*/ 1 h 43"/>
              <a:gd name="T6" fmla="*/ 19 w 22"/>
              <a:gd name="T7" fmla="*/ 2 h 43"/>
              <a:gd name="T8" fmla="*/ 20 w 22"/>
              <a:gd name="T9" fmla="*/ 6 h 43"/>
              <a:gd name="T10" fmla="*/ 22 w 22"/>
              <a:gd name="T11" fmla="*/ 10 h 43"/>
              <a:gd name="T12" fmla="*/ 22 w 22"/>
              <a:gd name="T13" fmla="*/ 15 h 43"/>
              <a:gd name="T14" fmla="*/ 22 w 22"/>
              <a:gd name="T15" fmla="*/ 19 h 43"/>
              <a:gd name="T16" fmla="*/ 22 w 22"/>
              <a:gd name="T17" fmla="*/ 27 h 43"/>
              <a:gd name="T18" fmla="*/ 22 w 22"/>
              <a:gd name="T19" fmla="*/ 35 h 43"/>
              <a:gd name="T20" fmla="*/ 22 w 22"/>
              <a:gd name="T21" fmla="*/ 36 h 43"/>
              <a:gd name="T22" fmla="*/ 22 w 22"/>
              <a:gd name="T23" fmla="*/ 37 h 43"/>
              <a:gd name="T24" fmla="*/ 20 w 22"/>
              <a:gd name="T25" fmla="*/ 38 h 43"/>
              <a:gd name="T26" fmla="*/ 17 w 22"/>
              <a:gd name="T27" fmla="*/ 38 h 43"/>
              <a:gd name="T28" fmla="*/ 16 w 22"/>
              <a:gd name="T29" fmla="*/ 39 h 43"/>
              <a:gd name="T30" fmla="*/ 15 w 22"/>
              <a:gd name="T31" fmla="*/ 41 h 43"/>
              <a:gd name="T32" fmla="*/ 12 w 22"/>
              <a:gd name="T33" fmla="*/ 42 h 43"/>
              <a:gd name="T34" fmla="*/ 10 w 22"/>
              <a:gd name="T35" fmla="*/ 43 h 43"/>
              <a:gd name="T36" fmla="*/ 9 w 22"/>
              <a:gd name="T37" fmla="*/ 42 h 43"/>
              <a:gd name="T38" fmla="*/ 6 w 22"/>
              <a:gd name="T39" fmla="*/ 38 h 43"/>
              <a:gd name="T40" fmla="*/ 5 w 22"/>
              <a:gd name="T41" fmla="*/ 36 h 43"/>
              <a:gd name="T42" fmla="*/ 5 w 22"/>
              <a:gd name="T43" fmla="*/ 35 h 43"/>
              <a:gd name="T44" fmla="*/ 5 w 22"/>
              <a:gd name="T45" fmla="*/ 32 h 43"/>
              <a:gd name="T46" fmla="*/ 5 w 22"/>
              <a:gd name="T47" fmla="*/ 27 h 43"/>
              <a:gd name="T48" fmla="*/ 6 w 22"/>
              <a:gd name="T49" fmla="*/ 26 h 43"/>
              <a:gd name="T50" fmla="*/ 6 w 22"/>
              <a:gd name="T51" fmla="*/ 25 h 43"/>
              <a:gd name="T52" fmla="*/ 6 w 22"/>
              <a:gd name="T53" fmla="*/ 24 h 43"/>
              <a:gd name="T54" fmla="*/ 5 w 22"/>
              <a:gd name="T55" fmla="*/ 21 h 43"/>
              <a:gd name="T56" fmla="*/ 5 w 22"/>
              <a:gd name="T57" fmla="*/ 20 h 43"/>
              <a:gd name="T58" fmla="*/ 5 w 22"/>
              <a:gd name="T59" fmla="*/ 17 h 43"/>
              <a:gd name="T60" fmla="*/ 5 w 22"/>
              <a:gd name="T61" fmla="*/ 15 h 43"/>
              <a:gd name="T62" fmla="*/ 3 w 22"/>
              <a:gd name="T63" fmla="*/ 14 h 43"/>
              <a:gd name="T64" fmla="*/ 2 w 22"/>
              <a:gd name="T65" fmla="*/ 12 h 43"/>
              <a:gd name="T66" fmla="*/ 1 w 22"/>
              <a:gd name="T67" fmla="*/ 12 h 43"/>
              <a:gd name="T68" fmla="*/ 0 w 22"/>
              <a:gd name="T69" fmla="*/ 11 h 43"/>
              <a:gd name="T70" fmla="*/ 0 w 22"/>
              <a:gd name="T71" fmla="*/ 6 h 43"/>
              <a:gd name="T72" fmla="*/ 0 w 22"/>
              <a:gd name="T73" fmla="*/ 6 h 43"/>
              <a:gd name="T74" fmla="*/ 3 w 22"/>
              <a:gd name="T75" fmla="*/ 8 h 43"/>
              <a:gd name="T76" fmla="*/ 6 w 22"/>
              <a:gd name="T77" fmla="*/ 7 h 43"/>
              <a:gd name="T78" fmla="*/ 11 w 22"/>
              <a:gd name="T79" fmla="*/ 2 h 43"/>
              <a:gd name="T80" fmla="*/ 12 w 22"/>
              <a:gd name="T81" fmla="*/ 2 h 43"/>
              <a:gd name="T82" fmla="*/ 13 w 22"/>
              <a:gd name="T83" fmla="*/ 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2" h="43">
                <a:moveTo>
                  <a:pt x="13" y="0"/>
                </a:moveTo>
                <a:lnTo>
                  <a:pt x="17" y="1"/>
                </a:lnTo>
                <a:lnTo>
                  <a:pt x="18" y="1"/>
                </a:lnTo>
                <a:lnTo>
                  <a:pt x="19" y="2"/>
                </a:lnTo>
                <a:lnTo>
                  <a:pt x="20" y="6"/>
                </a:lnTo>
                <a:lnTo>
                  <a:pt x="22" y="10"/>
                </a:lnTo>
                <a:lnTo>
                  <a:pt x="22" y="15"/>
                </a:lnTo>
                <a:lnTo>
                  <a:pt x="22" y="19"/>
                </a:lnTo>
                <a:lnTo>
                  <a:pt x="22" y="27"/>
                </a:lnTo>
                <a:lnTo>
                  <a:pt x="22" y="35"/>
                </a:lnTo>
                <a:lnTo>
                  <a:pt x="22" y="36"/>
                </a:lnTo>
                <a:lnTo>
                  <a:pt x="22" y="37"/>
                </a:lnTo>
                <a:lnTo>
                  <a:pt x="20" y="38"/>
                </a:lnTo>
                <a:lnTo>
                  <a:pt x="17" y="38"/>
                </a:lnTo>
                <a:lnTo>
                  <a:pt x="16" y="39"/>
                </a:lnTo>
                <a:lnTo>
                  <a:pt x="15" y="41"/>
                </a:lnTo>
                <a:lnTo>
                  <a:pt x="12" y="42"/>
                </a:lnTo>
                <a:lnTo>
                  <a:pt x="10" y="43"/>
                </a:lnTo>
                <a:lnTo>
                  <a:pt x="9" y="42"/>
                </a:lnTo>
                <a:lnTo>
                  <a:pt x="6" y="38"/>
                </a:lnTo>
                <a:lnTo>
                  <a:pt x="5" y="36"/>
                </a:lnTo>
                <a:lnTo>
                  <a:pt x="5" y="35"/>
                </a:lnTo>
                <a:lnTo>
                  <a:pt x="5" y="32"/>
                </a:lnTo>
                <a:lnTo>
                  <a:pt x="5" y="27"/>
                </a:lnTo>
                <a:lnTo>
                  <a:pt x="6" y="26"/>
                </a:lnTo>
                <a:lnTo>
                  <a:pt x="6" y="25"/>
                </a:lnTo>
                <a:lnTo>
                  <a:pt x="6" y="24"/>
                </a:lnTo>
                <a:lnTo>
                  <a:pt x="5" y="21"/>
                </a:lnTo>
                <a:lnTo>
                  <a:pt x="5" y="20"/>
                </a:lnTo>
                <a:lnTo>
                  <a:pt x="5" y="17"/>
                </a:lnTo>
                <a:lnTo>
                  <a:pt x="5" y="15"/>
                </a:lnTo>
                <a:lnTo>
                  <a:pt x="3" y="14"/>
                </a:lnTo>
                <a:lnTo>
                  <a:pt x="2" y="12"/>
                </a:lnTo>
                <a:lnTo>
                  <a:pt x="1" y="12"/>
                </a:lnTo>
                <a:lnTo>
                  <a:pt x="0" y="11"/>
                </a:lnTo>
                <a:lnTo>
                  <a:pt x="0" y="6"/>
                </a:lnTo>
                <a:lnTo>
                  <a:pt x="0" y="6"/>
                </a:lnTo>
                <a:lnTo>
                  <a:pt x="3" y="8"/>
                </a:lnTo>
                <a:lnTo>
                  <a:pt x="6" y="7"/>
                </a:lnTo>
                <a:lnTo>
                  <a:pt x="11" y="2"/>
                </a:lnTo>
                <a:lnTo>
                  <a:pt x="12" y="2"/>
                </a:lnTo>
                <a:lnTo>
                  <a:pt x="13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07" name="Freeform 106"/>
          <p:cNvSpPr>
            <a:spLocks/>
          </p:cNvSpPr>
          <p:nvPr/>
        </p:nvSpPr>
        <p:spPr bwMode="auto">
          <a:xfrm>
            <a:off x="4540251" y="2387566"/>
            <a:ext cx="34925" cy="68263"/>
          </a:xfrm>
          <a:custGeom>
            <a:avLst/>
            <a:gdLst>
              <a:gd name="T0" fmla="*/ 13 w 22"/>
              <a:gd name="T1" fmla="*/ 0 h 43"/>
              <a:gd name="T2" fmla="*/ 17 w 22"/>
              <a:gd name="T3" fmla="*/ 1 h 43"/>
              <a:gd name="T4" fmla="*/ 18 w 22"/>
              <a:gd name="T5" fmla="*/ 1 h 43"/>
              <a:gd name="T6" fmla="*/ 19 w 22"/>
              <a:gd name="T7" fmla="*/ 2 h 43"/>
              <a:gd name="T8" fmla="*/ 20 w 22"/>
              <a:gd name="T9" fmla="*/ 6 h 43"/>
              <a:gd name="T10" fmla="*/ 22 w 22"/>
              <a:gd name="T11" fmla="*/ 10 h 43"/>
              <a:gd name="T12" fmla="*/ 22 w 22"/>
              <a:gd name="T13" fmla="*/ 15 h 43"/>
              <a:gd name="T14" fmla="*/ 22 w 22"/>
              <a:gd name="T15" fmla="*/ 19 h 43"/>
              <a:gd name="T16" fmla="*/ 22 w 22"/>
              <a:gd name="T17" fmla="*/ 27 h 43"/>
              <a:gd name="T18" fmla="*/ 22 w 22"/>
              <a:gd name="T19" fmla="*/ 35 h 43"/>
              <a:gd name="T20" fmla="*/ 22 w 22"/>
              <a:gd name="T21" fmla="*/ 36 h 43"/>
              <a:gd name="T22" fmla="*/ 22 w 22"/>
              <a:gd name="T23" fmla="*/ 37 h 43"/>
              <a:gd name="T24" fmla="*/ 20 w 22"/>
              <a:gd name="T25" fmla="*/ 38 h 43"/>
              <a:gd name="T26" fmla="*/ 17 w 22"/>
              <a:gd name="T27" fmla="*/ 38 h 43"/>
              <a:gd name="T28" fmla="*/ 16 w 22"/>
              <a:gd name="T29" fmla="*/ 39 h 43"/>
              <a:gd name="T30" fmla="*/ 15 w 22"/>
              <a:gd name="T31" fmla="*/ 41 h 43"/>
              <a:gd name="T32" fmla="*/ 12 w 22"/>
              <a:gd name="T33" fmla="*/ 42 h 43"/>
              <a:gd name="T34" fmla="*/ 10 w 22"/>
              <a:gd name="T35" fmla="*/ 43 h 43"/>
              <a:gd name="T36" fmla="*/ 9 w 22"/>
              <a:gd name="T37" fmla="*/ 42 h 43"/>
              <a:gd name="T38" fmla="*/ 6 w 22"/>
              <a:gd name="T39" fmla="*/ 38 h 43"/>
              <a:gd name="T40" fmla="*/ 5 w 22"/>
              <a:gd name="T41" fmla="*/ 36 h 43"/>
              <a:gd name="T42" fmla="*/ 5 w 22"/>
              <a:gd name="T43" fmla="*/ 35 h 43"/>
              <a:gd name="T44" fmla="*/ 5 w 22"/>
              <a:gd name="T45" fmla="*/ 32 h 43"/>
              <a:gd name="T46" fmla="*/ 5 w 22"/>
              <a:gd name="T47" fmla="*/ 27 h 43"/>
              <a:gd name="T48" fmla="*/ 6 w 22"/>
              <a:gd name="T49" fmla="*/ 26 h 43"/>
              <a:gd name="T50" fmla="*/ 6 w 22"/>
              <a:gd name="T51" fmla="*/ 25 h 43"/>
              <a:gd name="T52" fmla="*/ 6 w 22"/>
              <a:gd name="T53" fmla="*/ 24 h 43"/>
              <a:gd name="T54" fmla="*/ 5 w 22"/>
              <a:gd name="T55" fmla="*/ 21 h 43"/>
              <a:gd name="T56" fmla="*/ 5 w 22"/>
              <a:gd name="T57" fmla="*/ 20 h 43"/>
              <a:gd name="T58" fmla="*/ 5 w 22"/>
              <a:gd name="T59" fmla="*/ 17 h 43"/>
              <a:gd name="T60" fmla="*/ 5 w 22"/>
              <a:gd name="T61" fmla="*/ 15 h 43"/>
              <a:gd name="T62" fmla="*/ 3 w 22"/>
              <a:gd name="T63" fmla="*/ 14 h 43"/>
              <a:gd name="T64" fmla="*/ 2 w 22"/>
              <a:gd name="T65" fmla="*/ 12 h 43"/>
              <a:gd name="T66" fmla="*/ 1 w 22"/>
              <a:gd name="T67" fmla="*/ 12 h 43"/>
              <a:gd name="T68" fmla="*/ 0 w 22"/>
              <a:gd name="T69" fmla="*/ 11 h 43"/>
              <a:gd name="T70" fmla="*/ 0 w 22"/>
              <a:gd name="T71" fmla="*/ 6 h 43"/>
              <a:gd name="T72" fmla="*/ 0 w 22"/>
              <a:gd name="T73" fmla="*/ 6 h 43"/>
              <a:gd name="T74" fmla="*/ 3 w 22"/>
              <a:gd name="T75" fmla="*/ 8 h 43"/>
              <a:gd name="T76" fmla="*/ 6 w 22"/>
              <a:gd name="T77" fmla="*/ 7 h 43"/>
              <a:gd name="T78" fmla="*/ 11 w 22"/>
              <a:gd name="T79" fmla="*/ 2 h 43"/>
              <a:gd name="T80" fmla="*/ 12 w 22"/>
              <a:gd name="T81" fmla="*/ 2 h 43"/>
              <a:gd name="T82" fmla="*/ 13 w 22"/>
              <a:gd name="T83" fmla="*/ 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2" h="43">
                <a:moveTo>
                  <a:pt x="13" y="0"/>
                </a:moveTo>
                <a:lnTo>
                  <a:pt x="17" y="1"/>
                </a:lnTo>
                <a:lnTo>
                  <a:pt x="18" y="1"/>
                </a:lnTo>
                <a:lnTo>
                  <a:pt x="19" y="2"/>
                </a:lnTo>
                <a:lnTo>
                  <a:pt x="20" y="6"/>
                </a:lnTo>
                <a:lnTo>
                  <a:pt x="22" y="10"/>
                </a:lnTo>
                <a:lnTo>
                  <a:pt x="22" y="15"/>
                </a:lnTo>
                <a:lnTo>
                  <a:pt x="22" y="19"/>
                </a:lnTo>
                <a:lnTo>
                  <a:pt x="22" y="27"/>
                </a:lnTo>
                <a:lnTo>
                  <a:pt x="22" y="35"/>
                </a:lnTo>
                <a:lnTo>
                  <a:pt x="22" y="36"/>
                </a:lnTo>
                <a:lnTo>
                  <a:pt x="22" y="37"/>
                </a:lnTo>
                <a:lnTo>
                  <a:pt x="20" y="38"/>
                </a:lnTo>
                <a:lnTo>
                  <a:pt x="17" y="38"/>
                </a:lnTo>
                <a:lnTo>
                  <a:pt x="16" y="39"/>
                </a:lnTo>
                <a:lnTo>
                  <a:pt x="15" y="41"/>
                </a:lnTo>
                <a:lnTo>
                  <a:pt x="12" y="42"/>
                </a:lnTo>
                <a:lnTo>
                  <a:pt x="10" y="43"/>
                </a:lnTo>
                <a:lnTo>
                  <a:pt x="9" y="42"/>
                </a:lnTo>
                <a:lnTo>
                  <a:pt x="6" y="38"/>
                </a:lnTo>
                <a:lnTo>
                  <a:pt x="5" y="36"/>
                </a:lnTo>
                <a:lnTo>
                  <a:pt x="5" y="35"/>
                </a:lnTo>
                <a:lnTo>
                  <a:pt x="5" y="32"/>
                </a:lnTo>
                <a:lnTo>
                  <a:pt x="5" y="27"/>
                </a:lnTo>
                <a:lnTo>
                  <a:pt x="6" y="26"/>
                </a:lnTo>
                <a:lnTo>
                  <a:pt x="6" y="25"/>
                </a:lnTo>
                <a:lnTo>
                  <a:pt x="6" y="24"/>
                </a:lnTo>
                <a:lnTo>
                  <a:pt x="5" y="21"/>
                </a:lnTo>
                <a:lnTo>
                  <a:pt x="5" y="20"/>
                </a:lnTo>
                <a:lnTo>
                  <a:pt x="5" y="17"/>
                </a:lnTo>
                <a:lnTo>
                  <a:pt x="5" y="15"/>
                </a:lnTo>
                <a:lnTo>
                  <a:pt x="3" y="14"/>
                </a:lnTo>
                <a:lnTo>
                  <a:pt x="2" y="12"/>
                </a:lnTo>
                <a:lnTo>
                  <a:pt x="1" y="12"/>
                </a:lnTo>
                <a:lnTo>
                  <a:pt x="0" y="11"/>
                </a:lnTo>
                <a:lnTo>
                  <a:pt x="0" y="6"/>
                </a:lnTo>
                <a:lnTo>
                  <a:pt x="0" y="6"/>
                </a:lnTo>
                <a:lnTo>
                  <a:pt x="3" y="8"/>
                </a:lnTo>
                <a:lnTo>
                  <a:pt x="6" y="7"/>
                </a:lnTo>
                <a:lnTo>
                  <a:pt x="11" y="2"/>
                </a:lnTo>
                <a:lnTo>
                  <a:pt x="12" y="2"/>
                </a:lnTo>
                <a:lnTo>
                  <a:pt x="13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08" name="Freeform 107"/>
          <p:cNvSpPr>
            <a:spLocks/>
          </p:cNvSpPr>
          <p:nvPr/>
        </p:nvSpPr>
        <p:spPr bwMode="auto">
          <a:xfrm>
            <a:off x="4922838" y="2401853"/>
            <a:ext cx="6350" cy="4763"/>
          </a:xfrm>
          <a:custGeom>
            <a:avLst/>
            <a:gdLst>
              <a:gd name="T0" fmla="*/ 3 w 4"/>
              <a:gd name="T1" fmla="*/ 3 h 3"/>
              <a:gd name="T2" fmla="*/ 4 w 4"/>
              <a:gd name="T3" fmla="*/ 2 h 3"/>
              <a:gd name="T4" fmla="*/ 3 w 4"/>
              <a:gd name="T5" fmla="*/ 2 h 3"/>
              <a:gd name="T6" fmla="*/ 3 w 4"/>
              <a:gd name="T7" fmla="*/ 0 h 3"/>
              <a:gd name="T8" fmla="*/ 2 w 4"/>
              <a:gd name="T9" fmla="*/ 0 h 3"/>
              <a:gd name="T10" fmla="*/ 0 w 4"/>
              <a:gd name="T11" fmla="*/ 2 h 3"/>
              <a:gd name="T12" fmla="*/ 0 w 4"/>
              <a:gd name="T13" fmla="*/ 3 h 3"/>
              <a:gd name="T14" fmla="*/ 2 w 4"/>
              <a:gd name="T15" fmla="*/ 3 h 3"/>
              <a:gd name="T16" fmla="*/ 3 w 4"/>
              <a:gd name="T17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3">
                <a:moveTo>
                  <a:pt x="3" y="3"/>
                </a:moveTo>
                <a:lnTo>
                  <a:pt x="4" y="2"/>
                </a:lnTo>
                <a:lnTo>
                  <a:pt x="3" y="2"/>
                </a:lnTo>
                <a:lnTo>
                  <a:pt x="3" y="0"/>
                </a:lnTo>
                <a:lnTo>
                  <a:pt x="2" y="0"/>
                </a:lnTo>
                <a:lnTo>
                  <a:pt x="0" y="2"/>
                </a:lnTo>
                <a:lnTo>
                  <a:pt x="0" y="3"/>
                </a:lnTo>
                <a:lnTo>
                  <a:pt x="2" y="3"/>
                </a:lnTo>
                <a:lnTo>
                  <a:pt x="3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09" name="Freeform 108"/>
          <p:cNvSpPr>
            <a:spLocks/>
          </p:cNvSpPr>
          <p:nvPr/>
        </p:nvSpPr>
        <p:spPr bwMode="auto">
          <a:xfrm>
            <a:off x="4922838" y="2401853"/>
            <a:ext cx="6350" cy="4763"/>
          </a:xfrm>
          <a:custGeom>
            <a:avLst/>
            <a:gdLst>
              <a:gd name="T0" fmla="*/ 3 w 4"/>
              <a:gd name="T1" fmla="*/ 3 h 3"/>
              <a:gd name="T2" fmla="*/ 4 w 4"/>
              <a:gd name="T3" fmla="*/ 2 h 3"/>
              <a:gd name="T4" fmla="*/ 3 w 4"/>
              <a:gd name="T5" fmla="*/ 2 h 3"/>
              <a:gd name="T6" fmla="*/ 3 w 4"/>
              <a:gd name="T7" fmla="*/ 0 h 3"/>
              <a:gd name="T8" fmla="*/ 2 w 4"/>
              <a:gd name="T9" fmla="*/ 0 h 3"/>
              <a:gd name="T10" fmla="*/ 0 w 4"/>
              <a:gd name="T11" fmla="*/ 2 h 3"/>
              <a:gd name="T12" fmla="*/ 0 w 4"/>
              <a:gd name="T13" fmla="*/ 3 h 3"/>
              <a:gd name="T14" fmla="*/ 2 w 4"/>
              <a:gd name="T15" fmla="*/ 3 h 3"/>
              <a:gd name="T16" fmla="*/ 3 w 4"/>
              <a:gd name="T17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3">
                <a:moveTo>
                  <a:pt x="3" y="3"/>
                </a:moveTo>
                <a:lnTo>
                  <a:pt x="4" y="2"/>
                </a:lnTo>
                <a:lnTo>
                  <a:pt x="3" y="2"/>
                </a:lnTo>
                <a:lnTo>
                  <a:pt x="3" y="0"/>
                </a:lnTo>
                <a:lnTo>
                  <a:pt x="2" y="0"/>
                </a:lnTo>
                <a:lnTo>
                  <a:pt x="0" y="2"/>
                </a:lnTo>
                <a:lnTo>
                  <a:pt x="0" y="3"/>
                </a:lnTo>
                <a:lnTo>
                  <a:pt x="2" y="3"/>
                </a:lnTo>
                <a:lnTo>
                  <a:pt x="3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10" name="Freeform 109"/>
          <p:cNvSpPr>
            <a:spLocks/>
          </p:cNvSpPr>
          <p:nvPr/>
        </p:nvSpPr>
        <p:spPr bwMode="auto">
          <a:xfrm>
            <a:off x="4937126" y="2425666"/>
            <a:ext cx="6350" cy="4763"/>
          </a:xfrm>
          <a:custGeom>
            <a:avLst/>
            <a:gdLst>
              <a:gd name="T0" fmla="*/ 4 w 4"/>
              <a:gd name="T1" fmla="*/ 1 h 3"/>
              <a:gd name="T2" fmla="*/ 4 w 4"/>
              <a:gd name="T3" fmla="*/ 1 h 3"/>
              <a:gd name="T4" fmla="*/ 4 w 4"/>
              <a:gd name="T5" fmla="*/ 0 h 3"/>
              <a:gd name="T6" fmla="*/ 2 w 4"/>
              <a:gd name="T7" fmla="*/ 0 h 3"/>
              <a:gd name="T8" fmla="*/ 0 w 4"/>
              <a:gd name="T9" fmla="*/ 0 h 3"/>
              <a:gd name="T10" fmla="*/ 0 w 4"/>
              <a:gd name="T11" fmla="*/ 3 h 3"/>
              <a:gd name="T12" fmla="*/ 1 w 4"/>
              <a:gd name="T13" fmla="*/ 3 h 3"/>
              <a:gd name="T14" fmla="*/ 2 w 4"/>
              <a:gd name="T15" fmla="*/ 2 h 3"/>
              <a:gd name="T16" fmla="*/ 3 w 4"/>
              <a:gd name="T17" fmla="*/ 3 h 3"/>
              <a:gd name="T18" fmla="*/ 4 w 4"/>
              <a:gd name="T19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" h="3">
                <a:moveTo>
                  <a:pt x="4" y="1"/>
                </a:moveTo>
                <a:lnTo>
                  <a:pt x="4" y="1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1" y="3"/>
                </a:lnTo>
                <a:lnTo>
                  <a:pt x="2" y="2"/>
                </a:lnTo>
                <a:lnTo>
                  <a:pt x="3" y="3"/>
                </a:lnTo>
                <a:lnTo>
                  <a:pt x="4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11" name="Freeform 110"/>
          <p:cNvSpPr>
            <a:spLocks/>
          </p:cNvSpPr>
          <p:nvPr/>
        </p:nvSpPr>
        <p:spPr bwMode="auto">
          <a:xfrm>
            <a:off x="4937126" y="2425666"/>
            <a:ext cx="6350" cy="4763"/>
          </a:xfrm>
          <a:custGeom>
            <a:avLst/>
            <a:gdLst>
              <a:gd name="T0" fmla="*/ 4 w 4"/>
              <a:gd name="T1" fmla="*/ 1 h 3"/>
              <a:gd name="T2" fmla="*/ 4 w 4"/>
              <a:gd name="T3" fmla="*/ 1 h 3"/>
              <a:gd name="T4" fmla="*/ 4 w 4"/>
              <a:gd name="T5" fmla="*/ 0 h 3"/>
              <a:gd name="T6" fmla="*/ 2 w 4"/>
              <a:gd name="T7" fmla="*/ 0 h 3"/>
              <a:gd name="T8" fmla="*/ 0 w 4"/>
              <a:gd name="T9" fmla="*/ 0 h 3"/>
              <a:gd name="T10" fmla="*/ 0 w 4"/>
              <a:gd name="T11" fmla="*/ 3 h 3"/>
              <a:gd name="T12" fmla="*/ 1 w 4"/>
              <a:gd name="T13" fmla="*/ 3 h 3"/>
              <a:gd name="T14" fmla="*/ 2 w 4"/>
              <a:gd name="T15" fmla="*/ 2 h 3"/>
              <a:gd name="T16" fmla="*/ 3 w 4"/>
              <a:gd name="T17" fmla="*/ 3 h 3"/>
              <a:gd name="T18" fmla="*/ 4 w 4"/>
              <a:gd name="T19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" h="3">
                <a:moveTo>
                  <a:pt x="4" y="1"/>
                </a:moveTo>
                <a:lnTo>
                  <a:pt x="4" y="1"/>
                </a:lnTo>
                <a:lnTo>
                  <a:pt x="4" y="0"/>
                </a:lnTo>
                <a:lnTo>
                  <a:pt x="2" y="0"/>
                </a:lnTo>
                <a:lnTo>
                  <a:pt x="0" y="0"/>
                </a:lnTo>
                <a:lnTo>
                  <a:pt x="0" y="3"/>
                </a:lnTo>
                <a:lnTo>
                  <a:pt x="1" y="3"/>
                </a:lnTo>
                <a:lnTo>
                  <a:pt x="2" y="2"/>
                </a:lnTo>
                <a:lnTo>
                  <a:pt x="3" y="3"/>
                </a:lnTo>
                <a:lnTo>
                  <a:pt x="4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12" name="Freeform 111"/>
          <p:cNvSpPr>
            <a:spLocks/>
          </p:cNvSpPr>
          <p:nvPr/>
        </p:nvSpPr>
        <p:spPr bwMode="auto">
          <a:xfrm>
            <a:off x="4957763" y="2441541"/>
            <a:ext cx="19050" cy="11113"/>
          </a:xfrm>
          <a:custGeom>
            <a:avLst/>
            <a:gdLst>
              <a:gd name="T0" fmla="*/ 10 w 12"/>
              <a:gd name="T1" fmla="*/ 6 h 7"/>
              <a:gd name="T2" fmla="*/ 12 w 12"/>
              <a:gd name="T3" fmla="*/ 6 h 7"/>
              <a:gd name="T4" fmla="*/ 11 w 12"/>
              <a:gd name="T5" fmla="*/ 4 h 7"/>
              <a:gd name="T6" fmla="*/ 8 w 12"/>
              <a:gd name="T7" fmla="*/ 0 h 7"/>
              <a:gd name="T8" fmla="*/ 1 w 12"/>
              <a:gd name="T9" fmla="*/ 2 h 7"/>
              <a:gd name="T10" fmla="*/ 0 w 12"/>
              <a:gd name="T11" fmla="*/ 5 h 7"/>
              <a:gd name="T12" fmla="*/ 2 w 12"/>
              <a:gd name="T13" fmla="*/ 5 h 7"/>
              <a:gd name="T14" fmla="*/ 5 w 12"/>
              <a:gd name="T15" fmla="*/ 4 h 7"/>
              <a:gd name="T16" fmla="*/ 6 w 12"/>
              <a:gd name="T17" fmla="*/ 4 h 7"/>
              <a:gd name="T18" fmla="*/ 5 w 12"/>
              <a:gd name="T19" fmla="*/ 6 h 7"/>
              <a:gd name="T20" fmla="*/ 8 w 12"/>
              <a:gd name="T21" fmla="*/ 7 h 7"/>
              <a:gd name="T22" fmla="*/ 10 w 12"/>
              <a:gd name="T23" fmla="*/ 6 h 7"/>
              <a:gd name="T24" fmla="*/ 9 w 12"/>
              <a:gd name="T25" fmla="*/ 5 h 7"/>
              <a:gd name="T26" fmla="*/ 10 w 12"/>
              <a:gd name="T27" fmla="*/ 6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2" h="7">
                <a:moveTo>
                  <a:pt x="10" y="6"/>
                </a:moveTo>
                <a:lnTo>
                  <a:pt x="12" y="6"/>
                </a:lnTo>
                <a:lnTo>
                  <a:pt x="11" y="4"/>
                </a:lnTo>
                <a:lnTo>
                  <a:pt x="8" y="0"/>
                </a:lnTo>
                <a:lnTo>
                  <a:pt x="1" y="2"/>
                </a:lnTo>
                <a:lnTo>
                  <a:pt x="0" y="5"/>
                </a:lnTo>
                <a:lnTo>
                  <a:pt x="2" y="5"/>
                </a:lnTo>
                <a:lnTo>
                  <a:pt x="5" y="4"/>
                </a:lnTo>
                <a:lnTo>
                  <a:pt x="6" y="4"/>
                </a:lnTo>
                <a:lnTo>
                  <a:pt x="5" y="6"/>
                </a:lnTo>
                <a:lnTo>
                  <a:pt x="8" y="7"/>
                </a:lnTo>
                <a:lnTo>
                  <a:pt x="10" y="6"/>
                </a:lnTo>
                <a:lnTo>
                  <a:pt x="9" y="5"/>
                </a:lnTo>
                <a:lnTo>
                  <a:pt x="10" y="6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13" name="Freeform 112"/>
          <p:cNvSpPr>
            <a:spLocks/>
          </p:cNvSpPr>
          <p:nvPr/>
        </p:nvSpPr>
        <p:spPr bwMode="auto">
          <a:xfrm>
            <a:off x="4957763" y="2441541"/>
            <a:ext cx="19050" cy="11113"/>
          </a:xfrm>
          <a:custGeom>
            <a:avLst/>
            <a:gdLst>
              <a:gd name="T0" fmla="*/ 10 w 12"/>
              <a:gd name="T1" fmla="*/ 6 h 7"/>
              <a:gd name="T2" fmla="*/ 12 w 12"/>
              <a:gd name="T3" fmla="*/ 6 h 7"/>
              <a:gd name="T4" fmla="*/ 11 w 12"/>
              <a:gd name="T5" fmla="*/ 4 h 7"/>
              <a:gd name="T6" fmla="*/ 8 w 12"/>
              <a:gd name="T7" fmla="*/ 0 h 7"/>
              <a:gd name="T8" fmla="*/ 1 w 12"/>
              <a:gd name="T9" fmla="*/ 2 h 7"/>
              <a:gd name="T10" fmla="*/ 0 w 12"/>
              <a:gd name="T11" fmla="*/ 5 h 7"/>
              <a:gd name="T12" fmla="*/ 2 w 12"/>
              <a:gd name="T13" fmla="*/ 5 h 7"/>
              <a:gd name="T14" fmla="*/ 5 w 12"/>
              <a:gd name="T15" fmla="*/ 4 h 7"/>
              <a:gd name="T16" fmla="*/ 6 w 12"/>
              <a:gd name="T17" fmla="*/ 4 h 7"/>
              <a:gd name="T18" fmla="*/ 5 w 12"/>
              <a:gd name="T19" fmla="*/ 6 h 7"/>
              <a:gd name="T20" fmla="*/ 8 w 12"/>
              <a:gd name="T21" fmla="*/ 7 h 7"/>
              <a:gd name="T22" fmla="*/ 10 w 12"/>
              <a:gd name="T23" fmla="*/ 6 h 7"/>
              <a:gd name="T24" fmla="*/ 9 w 12"/>
              <a:gd name="T25" fmla="*/ 5 h 7"/>
              <a:gd name="T26" fmla="*/ 10 w 12"/>
              <a:gd name="T27" fmla="*/ 6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2" h="7">
                <a:moveTo>
                  <a:pt x="10" y="6"/>
                </a:moveTo>
                <a:lnTo>
                  <a:pt x="12" y="6"/>
                </a:lnTo>
                <a:lnTo>
                  <a:pt x="11" y="4"/>
                </a:lnTo>
                <a:lnTo>
                  <a:pt x="8" y="0"/>
                </a:lnTo>
                <a:lnTo>
                  <a:pt x="1" y="2"/>
                </a:lnTo>
                <a:lnTo>
                  <a:pt x="0" y="5"/>
                </a:lnTo>
                <a:lnTo>
                  <a:pt x="2" y="5"/>
                </a:lnTo>
                <a:lnTo>
                  <a:pt x="5" y="4"/>
                </a:lnTo>
                <a:lnTo>
                  <a:pt x="6" y="4"/>
                </a:lnTo>
                <a:lnTo>
                  <a:pt x="5" y="6"/>
                </a:lnTo>
                <a:lnTo>
                  <a:pt x="8" y="7"/>
                </a:lnTo>
                <a:lnTo>
                  <a:pt x="10" y="6"/>
                </a:lnTo>
                <a:lnTo>
                  <a:pt x="9" y="5"/>
                </a:lnTo>
                <a:lnTo>
                  <a:pt x="10" y="6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14" name="Freeform 113"/>
          <p:cNvSpPr>
            <a:spLocks/>
          </p:cNvSpPr>
          <p:nvPr/>
        </p:nvSpPr>
        <p:spPr bwMode="auto">
          <a:xfrm>
            <a:off x="4960938" y="2463766"/>
            <a:ext cx="6350" cy="12700"/>
          </a:xfrm>
          <a:custGeom>
            <a:avLst/>
            <a:gdLst>
              <a:gd name="T0" fmla="*/ 1 w 4"/>
              <a:gd name="T1" fmla="*/ 8 h 8"/>
              <a:gd name="T2" fmla="*/ 4 w 4"/>
              <a:gd name="T3" fmla="*/ 7 h 8"/>
              <a:gd name="T4" fmla="*/ 4 w 4"/>
              <a:gd name="T5" fmla="*/ 1 h 8"/>
              <a:gd name="T6" fmla="*/ 3 w 4"/>
              <a:gd name="T7" fmla="*/ 0 h 8"/>
              <a:gd name="T8" fmla="*/ 0 w 4"/>
              <a:gd name="T9" fmla="*/ 0 h 8"/>
              <a:gd name="T10" fmla="*/ 0 w 4"/>
              <a:gd name="T11" fmla="*/ 2 h 8"/>
              <a:gd name="T12" fmla="*/ 1 w 4"/>
              <a:gd name="T13" fmla="*/ 4 h 8"/>
              <a:gd name="T14" fmla="*/ 0 w 4"/>
              <a:gd name="T15" fmla="*/ 5 h 8"/>
              <a:gd name="T16" fmla="*/ 0 w 4"/>
              <a:gd name="T17" fmla="*/ 7 h 8"/>
              <a:gd name="T18" fmla="*/ 1 w 4"/>
              <a:gd name="T19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" h="8">
                <a:moveTo>
                  <a:pt x="1" y="8"/>
                </a:moveTo>
                <a:lnTo>
                  <a:pt x="4" y="7"/>
                </a:lnTo>
                <a:lnTo>
                  <a:pt x="4" y="1"/>
                </a:lnTo>
                <a:lnTo>
                  <a:pt x="3" y="0"/>
                </a:lnTo>
                <a:lnTo>
                  <a:pt x="0" y="0"/>
                </a:lnTo>
                <a:lnTo>
                  <a:pt x="0" y="2"/>
                </a:lnTo>
                <a:lnTo>
                  <a:pt x="1" y="4"/>
                </a:lnTo>
                <a:lnTo>
                  <a:pt x="0" y="5"/>
                </a:lnTo>
                <a:lnTo>
                  <a:pt x="0" y="7"/>
                </a:lnTo>
                <a:lnTo>
                  <a:pt x="1" y="8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15" name="Freeform 114"/>
          <p:cNvSpPr>
            <a:spLocks/>
          </p:cNvSpPr>
          <p:nvPr/>
        </p:nvSpPr>
        <p:spPr bwMode="auto">
          <a:xfrm>
            <a:off x="4960938" y="2463766"/>
            <a:ext cx="6350" cy="12700"/>
          </a:xfrm>
          <a:custGeom>
            <a:avLst/>
            <a:gdLst>
              <a:gd name="T0" fmla="*/ 1 w 4"/>
              <a:gd name="T1" fmla="*/ 8 h 8"/>
              <a:gd name="T2" fmla="*/ 4 w 4"/>
              <a:gd name="T3" fmla="*/ 7 h 8"/>
              <a:gd name="T4" fmla="*/ 4 w 4"/>
              <a:gd name="T5" fmla="*/ 1 h 8"/>
              <a:gd name="T6" fmla="*/ 3 w 4"/>
              <a:gd name="T7" fmla="*/ 0 h 8"/>
              <a:gd name="T8" fmla="*/ 0 w 4"/>
              <a:gd name="T9" fmla="*/ 0 h 8"/>
              <a:gd name="T10" fmla="*/ 0 w 4"/>
              <a:gd name="T11" fmla="*/ 2 h 8"/>
              <a:gd name="T12" fmla="*/ 1 w 4"/>
              <a:gd name="T13" fmla="*/ 4 h 8"/>
              <a:gd name="T14" fmla="*/ 0 w 4"/>
              <a:gd name="T15" fmla="*/ 5 h 8"/>
              <a:gd name="T16" fmla="*/ 0 w 4"/>
              <a:gd name="T17" fmla="*/ 7 h 8"/>
              <a:gd name="T18" fmla="*/ 1 w 4"/>
              <a:gd name="T19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" h="8">
                <a:moveTo>
                  <a:pt x="1" y="8"/>
                </a:moveTo>
                <a:lnTo>
                  <a:pt x="4" y="7"/>
                </a:lnTo>
                <a:lnTo>
                  <a:pt x="4" y="1"/>
                </a:lnTo>
                <a:lnTo>
                  <a:pt x="3" y="0"/>
                </a:lnTo>
                <a:lnTo>
                  <a:pt x="0" y="0"/>
                </a:lnTo>
                <a:lnTo>
                  <a:pt x="0" y="2"/>
                </a:lnTo>
                <a:lnTo>
                  <a:pt x="1" y="4"/>
                </a:lnTo>
                <a:lnTo>
                  <a:pt x="0" y="5"/>
                </a:lnTo>
                <a:lnTo>
                  <a:pt x="0" y="7"/>
                </a:lnTo>
                <a:lnTo>
                  <a:pt x="1" y="8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16" name="Freeform 115"/>
          <p:cNvSpPr>
            <a:spLocks/>
          </p:cNvSpPr>
          <p:nvPr/>
        </p:nvSpPr>
        <p:spPr bwMode="auto">
          <a:xfrm>
            <a:off x="5013326" y="2527266"/>
            <a:ext cx="11113" cy="14288"/>
          </a:xfrm>
          <a:custGeom>
            <a:avLst/>
            <a:gdLst>
              <a:gd name="T0" fmla="*/ 5 w 7"/>
              <a:gd name="T1" fmla="*/ 7 h 9"/>
              <a:gd name="T2" fmla="*/ 6 w 7"/>
              <a:gd name="T3" fmla="*/ 7 h 9"/>
              <a:gd name="T4" fmla="*/ 6 w 7"/>
              <a:gd name="T5" fmla="*/ 4 h 9"/>
              <a:gd name="T6" fmla="*/ 7 w 7"/>
              <a:gd name="T7" fmla="*/ 2 h 9"/>
              <a:gd name="T8" fmla="*/ 7 w 7"/>
              <a:gd name="T9" fmla="*/ 0 h 9"/>
              <a:gd name="T10" fmla="*/ 4 w 7"/>
              <a:gd name="T11" fmla="*/ 1 h 9"/>
              <a:gd name="T12" fmla="*/ 0 w 7"/>
              <a:gd name="T13" fmla="*/ 4 h 9"/>
              <a:gd name="T14" fmla="*/ 0 w 7"/>
              <a:gd name="T15" fmla="*/ 7 h 9"/>
              <a:gd name="T16" fmla="*/ 1 w 7"/>
              <a:gd name="T17" fmla="*/ 9 h 9"/>
              <a:gd name="T18" fmla="*/ 5 w 7"/>
              <a:gd name="T19" fmla="*/ 7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" h="9">
                <a:moveTo>
                  <a:pt x="5" y="7"/>
                </a:moveTo>
                <a:lnTo>
                  <a:pt x="6" y="7"/>
                </a:lnTo>
                <a:lnTo>
                  <a:pt x="6" y="4"/>
                </a:lnTo>
                <a:lnTo>
                  <a:pt x="7" y="2"/>
                </a:lnTo>
                <a:lnTo>
                  <a:pt x="7" y="0"/>
                </a:lnTo>
                <a:lnTo>
                  <a:pt x="4" y="1"/>
                </a:lnTo>
                <a:lnTo>
                  <a:pt x="0" y="4"/>
                </a:lnTo>
                <a:lnTo>
                  <a:pt x="0" y="7"/>
                </a:lnTo>
                <a:lnTo>
                  <a:pt x="1" y="9"/>
                </a:lnTo>
                <a:lnTo>
                  <a:pt x="5" y="7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17" name="Freeform 116"/>
          <p:cNvSpPr>
            <a:spLocks/>
          </p:cNvSpPr>
          <p:nvPr/>
        </p:nvSpPr>
        <p:spPr bwMode="auto">
          <a:xfrm>
            <a:off x="5013326" y="2527266"/>
            <a:ext cx="11113" cy="14288"/>
          </a:xfrm>
          <a:custGeom>
            <a:avLst/>
            <a:gdLst>
              <a:gd name="T0" fmla="*/ 5 w 7"/>
              <a:gd name="T1" fmla="*/ 7 h 9"/>
              <a:gd name="T2" fmla="*/ 6 w 7"/>
              <a:gd name="T3" fmla="*/ 7 h 9"/>
              <a:gd name="T4" fmla="*/ 6 w 7"/>
              <a:gd name="T5" fmla="*/ 4 h 9"/>
              <a:gd name="T6" fmla="*/ 7 w 7"/>
              <a:gd name="T7" fmla="*/ 2 h 9"/>
              <a:gd name="T8" fmla="*/ 7 w 7"/>
              <a:gd name="T9" fmla="*/ 0 h 9"/>
              <a:gd name="T10" fmla="*/ 4 w 7"/>
              <a:gd name="T11" fmla="*/ 1 h 9"/>
              <a:gd name="T12" fmla="*/ 0 w 7"/>
              <a:gd name="T13" fmla="*/ 4 h 9"/>
              <a:gd name="T14" fmla="*/ 0 w 7"/>
              <a:gd name="T15" fmla="*/ 7 h 9"/>
              <a:gd name="T16" fmla="*/ 1 w 7"/>
              <a:gd name="T17" fmla="*/ 9 h 9"/>
              <a:gd name="T18" fmla="*/ 5 w 7"/>
              <a:gd name="T19" fmla="*/ 7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" h="9">
                <a:moveTo>
                  <a:pt x="5" y="7"/>
                </a:moveTo>
                <a:lnTo>
                  <a:pt x="6" y="7"/>
                </a:lnTo>
                <a:lnTo>
                  <a:pt x="6" y="4"/>
                </a:lnTo>
                <a:lnTo>
                  <a:pt x="7" y="2"/>
                </a:lnTo>
                <a:lnTo>
                  <a:pt x="7" y="0"/>
                </a:lnTo>
                <a:lnTo>
                  <a:pt x="4" y="1"/>
                </a:lnTo>
                <a:lnTo>
                  <a:pt x="0" y="4"/>
                </a:lnTo>
                <a:lnTo>
                  <a:pt x="0" y="7"/>
                </a:lnTo>
                <a:lnTo>
                  <a:pt x="1" y="9"/>
                </a:lnTo>
                <a:lnTo>
                  <a:pt x="5" y="7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18" name="Freeform 117"/>
          <p:cNvSpPr>
            <a:spLocks/>
          </p:cNvSpPr>
          <p:nvPr/>
        </p:nvSpPr>
        <p:spPr bwMode="auto">
          <a:xfrm>
            <a:off x="4913313" y="2549491"/>
            <a:ext cx="68263" cy="22225"/>
          </a:xfrm>
          <a:custGeom>
            <a:avLst/>
            <a:gdLst>
              <a:gd name="T0" fmla="*/ 23 w 43"/>
              <a:gd name="T1" fmla="*/ 5 h 14"/>
              <a:gd name="T2" fmla="*/ 20 w 43"/>
              <a:gd name="T3" fmla="*/ 5 h 14"/>
              <a:gd name="T4" fmla="*/ 13 w 43"/>
              <a:gd name="T5" fmla="*/ 6 h 14"/>
              <a:gd name="T6" fmla="*/ 10 w 43"/>
              <a:gd name="T7" fmla="*/ 5 h 14"/>
              <a:gd name="T8" fmla="*/ 9 w 43"/>
              <a:gd name="T9" fmla="*/ 4 h 14"/>
              <a:gd name="T10" fmla="*/ 9 w 43"/>
              <a:gd name="T11" fmla="*/ 3 h 14"/>
              <a:gd name="T12" fmla="*/ 8 w 43"/>
              <a:gd name="T13" fmla="*/ 1 h 14"/>
              <a:gd name="T14" fmla="*/ 7 w 43"/>
              <a:gd name="T15" fmla="*/ 3 h 14"/>
              <a:gd name="T16" fmla="*/ 4 w 43"/>
              <a:gd name="T17" fmla="*/ 1 h 14"/>
              <a:gd name="T18" fmla="*/ 3 w 43"/>
              <a:gd name="T19" fmla="*/ 0 h 14"/>
              <a:gd name="T20" fmla="*/ 3 w 43"/>
              <a:gd name="T21" fmla="*/ 3 h 14"/>
              <a:gd name="T22" fmla="*/ 0 w 43"/>
              <a:gd name="T23" fmla="*/ 3 h 14"/>
              <a:gd name="T24" fmla="*/ 0 w 43"/>
              <a:gd name="T25" fmla="*/ 8 h 14"/>
              <a:gd name="T26" fmla="*/ 2 w 43"/>
              <a:gd name="T27" fmla="*/ 8 h 14"/>
              <a:gd name="T28" fmla="*/ 4 w 43"/>
              <a:gd name="T29" fmla="*/ 8 h 14"/>
              <a:gd name="T30" fmla="*/ 7 w 43"/>
              <a:gd name="T31" fmla="*/ 8 h 14"/>
              <a:gd name="T32" fmla="*/ 10 w 43"/>
              <a:gd name="T33" fmla="*/ 8 h 14"/>
              <a:gd name="T34" fmla="*/ 15 w 43"/>
              <a:gd name="T35" fmla="*/ 9 h 14"/>
              <a:gd name="T36" fmla="*/ 16 w 43"/>
              <a:gd name="T37" fmla="*/ 10 h 14"/>
              <a:gd name="T38" fmla="*/ 18 w 43"/>
              <a:gd name="T39" fmla="*/ 11 h 14"/>
              <a:gd name="T40" fmla="*/ 20 w 43"/>
              <a:gd name="T41" fmla="*/ 14 h 14"/>
              <a:gd name="T42" fmla="*/ 25 w 43"/>
              <a:gd name="T43" fmla="*/ 14 h 14"/>
              <a:gd name="T44" fmla="*/ 27 w 43"/>
              <a:gd name="T45" fmla="*/ 13 h 14"/>
              <a:gd name="T46" fmla="*/ 29 w 43"/>
              <a:gd name="T47" fmla="*/ 13 h 14"/>
              <a:gd name="T48" fmla="*/ 31 w 43"/>
              <a:gd name="T49" fmla="*/ 13 h 14"/>
              <a:gd name="T50" fmla="*/ 35 w 43"/>
              <a:gd name="T51" fmla="*/ 13 h 14"/>
              <a:gd name="T52" fmla="*/ 37 w 43"/>
              <a:gd name="T53" fmla="*/ 11 h 14"/>
              <a:gd name="T54" fmla="*/ 40 w 43"/>
              <a:gd name="T55" fmla="*/ 13 h 14"/>
              <a:gd name="T56" fmla="*/ 43 w 43"/>
              <a:gd name="T57" fmla="*/ 8 h 14"/>
              <a:gd name="T58" fmla="*/ 41 w 43"/>
              <a:gd name="T59" fmla="*/ 7 h 14"/>
              <a:gd name="T60" fmla="*/ 40 w 43"/>
              <a:gd name="T61" fmla="*/ 8 h 14"/>
              <a:gd name="T62" fmla="*/ 38 w 43"/>
              <a:gd name="T63" fmla="*/ 8 h 14"/>
              <a:gd name="T64" fmla="*/ 37 w 43"/>
              <a:gd name="T65" fmla="*/ 9 h 14"/>
              <a:gd name="T66" fmla="*/ 34 w 43"/>
              <a:gd name="T67" fmla="*/ 8 h 14"/>
              <a:gd name="T68" fmla="*/ 33 w 43"/>
              <a:gd name="T69" fmla="*/ 6 h 14"/>
              <a:gd name="T70" fmla="*/ 29 w 43"/>
              <a:gd name="T71" fmla="*/ 7 h 14"/>
              <a:gd name="T72" fmla="*/ 25 w 43"/>
              <a:gd name="T73" fmla="*/ 7 h 14"/>
              <a:gd name="T74" fmla="*/ 24 w 43"/>
              <a:gd name="T75" fmla="*/ 6 h 14"/>
              <a:gd name="T76" fmla="*/ 23 w 43"/>
              <a:gd name="T77" fmla="*/ 5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3" h="14">
                <a:moveTo>
                  <a:pt x="23" y="5"/>
                </a:moveTo>
                <a:lnTo>
                  <a:pt x="20" y="5"/>
                </a:lnTo>
                <a:lnTo>
                  <a:pt x="13" y="6"/>
                </a:lnTo>
                <a:lnTo>
                  <a:pt x="10" y="5"/>
                </a:lnTo>
                <a:lnTo>
                  <a:pt x="9" y="4"/>
                </a:lnTo>
                <a:lnTo>
                  <a:pt x="9" y="3"/>
                </a:lnTo>
                <a:lnTo>
                  <a:pt x="8" y="1"/>
                </a:lnTo>
                <a:lnTo>
                  <a:pt x="7" y="3"/>
                </a:lnTo>
                <a:lnTo>
                  <a:pt x="4" y="1"/>
                </a:lnTo>
                <a:lnTo>
                  <a:pt x="3" y="0"/>
                </a:lnTo>
                <a:lnTo>
                  <a:pt x="3" y="3"/>
                </a:lnTo>
                <a:lnTo>
                  <a:pt x="0" y="3"/>
                </a:lnTo>
                <a:lnTo>
                  <a:pt x="0" y="8"/>
                </a:lnTo>
                <a:lnTo>
                  <a:pt x="2" y="8"/>
                </a:lnTo>
                <a:lnTo>
                  <a:pt x="4" y="8"/>
                </a:lnTo>
                <a:lnTo>
                  <a:pt x="7" y="8"/>
                </a:lnTo>
                <a:lnTo>
                  <a:pt x="10" y="8"/>
                </a:lnTo>
                <a:lnTo>
                  <a:pt x="15" y="9"/>
                </a:lnTo>
                <a:lnTo>
                  <a:pt x="16" y="10"/>
                </a:lnTo>
                <a:lnTo>
                  <a:pt x="18" y="11"/>
                </a:lnTo>
                <a:lnTo>
                  <a:pt x="20" y="14"/>
                </a:lnTo>
                <a:lnTo>
                  <a:pt x="25" y="14"/>
                </a:lnTo>
                <a:lnTo>
                  <a:pt x="27" y="13"/>
                </a:lnTo>
                <a:lnTo>
                  <a:pt x="29" y="13"/>
                </a:lnTo>
                <a:lnTo>
                  <a:pt x="31" y="13"/>
                </a:lnTo>
                <a:lnTo>
                  <a:pt x="35" y="13"/>
                </a:lnTo>
                <a:lnTo>
                  <a:pt x="37" y="11"/>
                </a:lnTo>
                <a:lnTo>
                  <a:pt x="40" y="13"/>
                </a:lnTo>
                <a:lnTo>
                  <a:pt x="43" y="8"/>
                </a:lnTo>
                <a:lnTo>
                  <a:pt x="41" y="7"/>
                </a:lnTo>
                <a:lnTo>
                  <a:pt x="40" y="8"/>
                </a:lnTo>
                <a:lnTo>
                  <a:pt x="38" y="8"/>
                </a:lnTo>
                <a:lnTo>
                  <a:pt x="37" y="9"/>
                </a:lnTo>
                <a:lnTo>
                  <a:pt x="34" y="8"/>
                </a:lnTo>
                <a:lnTo>
                  <a:pt x="33" y="6"/>
                </a:lnTo>
                <a:lnTo>
                  <a:pt x="29" y="7"/>
                </a:lnTo>
                <a:lnTo>
                  <a:pt x="25" y="7"/>
                </a:lnTo>
                <a:lnTo>
                  <a:pt x="24" y="6"/>
                </a:lnTo>
                <a:lnTo>
                  <a:pt x="23" y="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19" name="Freeform 118"/>
          <p:cNvSpPr>
            <a:spLocks/>
          </p:cNvSpPr>
          <p:nvPr/>
        </p:nvSpPr>
        <p:spPr bwMode="auto">
          <a:xfrm>
            <a:off x="4913313" y="2549491"/>
            <a:ext cx="68263" cy="22225"/>
          </a:xfrm>
          <a:custGeom>
            <a:avLst/>
            <a:gdLst>
              <a:gd name="T0" fmla="*/ 23 w 43"/>
              <a:gd name="T1" fmla="*/ 5 h 14"/>
              <a:gd name="T2" fmla="*/ 20 w 43"/>
              <a:gd name="T3" fmla="*/ 5 h 14"/>
              <a:gd name="T4" fmla="*/ 13 w 43"/>
              <a:gd name="T5" fmla="*/ 6 h 14"/>
              <a:gd name="T6" fmla="*/ 10 w 43"/>
              <a:gd name="T7" fmla="*/ 5 h 14"/>
              <a:gd name="T8" fmla="*/ 9 w 43"/>
              <a:gd name="T9" fmla="*/ 4 h 14"/>
              <a:gd name="T10" fmla="*/ 9 w 43"/>
              <a:gd name="T11" fmla="*/ 3 h 14"/>
              <a:gd name="T12" fmla="*/ 8 w 43"/>
              <a:gd name="T13" fmla="*/ 1 h 14"/>
              <a:gd name="T14" fmla="*/ 7 w 43"/>
              <a:gd name="T15" fmla="*/ 3 h 14"/>
              <a:gd name="T16" fmla="*/ 4 w 43"/>
              <a:gd name="T17" fmla="*/ 1 h 14"/>
              <a:gd name="T18" fmla="*/ 3 w 43"/>
              <a:gd name="T19" fmla="*/ 0 h 14"/>
              <a:gd name="T20" fmla="*/ 3 w 43"/>
              <a:gd name="T21" fmla="*/ 3 h 14"/>
              <a:gd name="T22" fmla="*/ 0 w 43"/>
              <a:gd name="T23" fmla="*/ 3 h 14"/>
              <a:gd name="T24" fmla="*/ 0 w 43"/>
              <a:gd name="T25" fmla="*/ 8 h 14"/>
              <a:gd name="T26" fmla="*/ 2 w 43"/>
              <a:gd name="T27" fmla="*/ 8 h 14"/>
              <a:gd name="T28" fmla="*/ 4 w 43"/>
              <a:gd name="T29" fmla="*/ 8 h 14"/>
              <a:gd name="T30" fmla="*/ 7 w 43"/>
              <a:gd name="T31" fmla="*/ 8 h 14"/>
              <a:gd name="T32" fmla="*/ 10 w 43"/>
              <a:gd name="T33" fmla="*/ 8 h 14"/>
              <a:gd name="T34" fmla="*/ 15 w 43"/>
              <a:gd name="T35" fmla="*/ 9 h 14"/>
              <a:gd name="T36" fmla="*/ 16 w 43"/>
              <a:gd name="T37" fmla="*/ 10 h 14"/>
              <a:gd name="T38" fmla="*/ 18 w 43"/>
              <a:gd name="T39" fmla="*/ 11 h 14"/>
              <a:gd name="T40" fmla="*/ 20 w 43"/>
              <a:gd name="T41" fmla="*/ 14 h 14"/>
              <a:gd name="T42" fmla="*/ 25 w 43"/>
              <a:gd name="T43" fmla="*/ 14 h 14"/>
              <a:gd name="T44" fmla="*/ 27 w 43"/>
              <a:gd name="T45" fmla="*/ 13 h 14"/>
              <a:gd name="T46" fmla="*/ 29 w 43"/>
              <a:gd name="T47" fmla="*/ 13 h 14"/>
              <a:gd name="T48" fmla="*/ 31 w 43"/>
              <a:gd name="T49" fmla="*/ 13 h 14"/>
              <a:gd name="T50" fmla="*/ 35 w 43"/>
              <a:gd name="T51" fmla="*/ 13 h 14"/>
              <a:gd name="T52" fmla="*/ 37 w 43"/>
              <a:gd name="T53" fmla="*/ 11 h 14"/>
              <a:gd name="T54" fmla="*/ 40 w 43"/>
              <a:gd name="T55" fmla="*/ 13 h 14"/>
              <a:gd name="T56" fmla="*/ 43 w 43"/>
              <a:gd name="T57" fmla="*/ 8 h 14"/>
              <a:gd name="T58" fmla="*/ 41 w 43"/>
              <a:gd name="T59" fmla="*/ 7 h 14"/>
              <a:gd name="T60" fmla="*/ 40 w 43"/>
              <a:gd name="T61" fmla="*/ 8 h 14"/>
              <a:gd name="T62" fmla="*/ 38 w 43"/>
              <a:gd name="T63" fmla="*/ 8 h 14"/>
              <a:gd name="T64" fmla="*/ 37 w 43"/>
              <a:gd name="T65" fmla="*/ 9 h 14"/>
              <a:gd name="T66" fmla="*/ 34 w 43"/>
              <a:gd name="T67" fmla="*/ 8 h 14"/>
              <a:gd name="T68" fmla="*/ 33 w 43"/>
              <a:gd name="T69" fmla="*/ 6 h 14"/>
              <a:gd name="T70" fmla="*/ 29 w 43"/>
              <a:gd name="T71" fmla="*/ 7 h 14"/>
              <a:gd name="T72" fmla="*/ 25 w 43"/>
              <a:gd name="T73" fmla="*/ 7 h 14"/>
              <a:gd name="T74" fmla="*/ 24 w 43"/>
              <a:gd name="T75" fmla="*/ 6 h 14"/>
              <a:gd name="T76" fmla="*/ 23 w 43"/>
              <a:gd name="T77" fmla="*/ 5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3" h="14">
                <a:moveTo>
                  <a:pt x="23" y="5"/>
                </a:moveTo>
                <a:lnTo>
                  <a:pt x="20" y="5"/>
                </a:lnTo>
                <a:lnTo>
                  <a:pt x="13" y="6"/>
                </a:lnTo>
                <a:lnTo>
                  <a:pt x="10" y="5"/>
                </a:lnTo>
                <a:lnTo>
                  <a:pt x="9" y="4"/>
                </a:lnTo>
                <a:lnTo>
                  <a:pt x="9" y="3"/>
                </a:lnTo>
                <a:lnTo>
                  <a:pt x="8" y="1"/>
                </a:lnTo>
                <a:lnTo>
                  <a:pt x="7" y="3"/>
                </a:lnTo>
                <a:lnTo>
                  <a:pt x="4" y="1"/>
                </a:lnTo>
                <a:lnTo>
                  <a:pt x="3" y="0"/>
                </a:lnTo>
                <a:lnTo>
                  <a:pt x="3" y="3"/>
                </a:lnTo>
                <a:lnTo>
                  <a:pt x="0" y="3"/>
                </a:lnTo>
                <a:lnTo>
                  <a:pt x="0" y="8"/>
                </a:lnTo>
                <a:lnTo>
                  <a:pt x="2" y="8"/>
                </a:lnTo>
                <a:lnTo>
                  <a:pt x="4" y="8"/>
                </a:lnTo>
                <a:lnTo>
                  <a:pt x="7" y="8"/>
                </a:lnTo>
                <a:lnTo>
                  <a:pt x="10" y="8"/>
                </a:lnTo>
                <a:lnTo>
                  <a:pt x="15" y="9"/>
                </a:lnTo>
                <a:lnTo>
                  <a:pt x="16" y="10"/>
                </a:lnTo>
                <a:lnTo>
                  <a:pt x="18" y="11"/>
                </a:lnTo>
                <a:lnTo>
                  <a:pt x="20" y="14"/>
                </a:lnTo>
                <a:lnTo>
                  <a:pt x="25" y="14"/>
                </a:lnTo>
                <a:lnTo>
                  <a:pt x="27" y="13"/>
                </a:lnTo>
                <a:lnTo>
                  <a:pt x="29" y="13"/>
                </a:lnTo>
                <a:lnTo>
                  <a:pt x="31" y="13"/>
                </a:lnTo>
                <a:lnTo>
                  <a:pt x="35" y="13"/>
                </a:lnTo>
                <a:lnTo>
                  <a:pt x="37" y="11"/>
                </a:lnTo>
                <a:lnTo>
                  <a:pt x="40" y="13"/>
                </a:lnTo>
                <a:lnTo>
                  <a:pt x="43" y="8"/>
                </a:lnTo>
                <a:lnTo>
                  <a:pt x="41" y="7"/>
                </a:lnTo>
                <a:lnTo>
                  <a:pt x="40" y="8"/>
                </a:lnTo>
                <a:lnTo>
                  <a:pt x="38" y="8"/>
                </a:lnTo>
                <a:lnTo>
                  <a:pt x="37" y="9"/>
                </a:lnTo>
                <a:lnTo>
                  <a:pt x="34" y="8"/>
                </a:lnTo>
                <a:lnTo>
                  <a:pt x="33" y="6"/>
                </a:lnTo>
                <a:lnTo>
                  <a:pt x="29" y="7"/>
                </a:lnTo>
                <a:lnTo>
                  <a:pt x="25" y="7"/>
                </a:lnTo>
                <a:lnTo>
                  <a:pt x="24" y="6"/>
                </a:lnTo>
                <a:lnTo>
                  <a:pt x="23" y="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0" name="Freeform 119"/>
          <p:cNvSpPr>
            <a:spLocks/>
          </p:cNvSpPr>
          <p:nvPr/>
        </p:nvSpPr>
        <p:spPr bwMode="auto">
          <a:xfrm>
            <a:off x="4935538" y="2482816"/>
            <a:ext cx="6350" cy="9525"/>
          </a:xfrm>
          <a:custGeom>
            <a:avLst/>
            <a:gdLst>
              <a:gd name="T0" fmla="*/ 3 w 4"/>
              <a:gd name="T1" fmla="*/ 6 h 6"/>
              <a:gd name="T2" fmla="*/ 4 w 4"/>
              <a:gd name="T3" fmla="*/ 5 h 6"/>
              <a:gd name="T4" fmla="*/ 4 w 4"/>
              <a:gd name="T5" fmla="*/ 3 h 6"/>
              <a:gd name="T6" fmla="*/ 3 w 4"/>
              <a:gd name="T7" fmla="*/ 2 h 6"/>
              <a:gd name="T8" fmla="*/ 2 w 4"/>
              <a:gd name="T9" fmla="*/ 0 h 6"/>
              <a:gd name="T10" fmla="*/ 0 w 4"/>
              <a:gd name="T11" fmla="*/ 0 h 6"/>
              <a:gd name="T12" fmla="*/ 0 w 4"/>
              <a:gd name="T13" fmla="*/ 1 h 6"/>
              <a:gd name="T14" fmla="*/ 1 w 4"/>
              <a:gd name="T15" fmla="*/ 2 h 6"/>
              <a:gd name="T16" fmla="*/ 3 w 4"/>
              <a:gd name="T17" fmla="*/ 6 h 6"/>
              <a:gd name="T18" fmla="*/ 3 w 4"/>
              <a:gd name="T1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" h="6">
                <a:moveTo>
                  <a:pt x="3" y="6"/>
                </a:moveTo>
                <a:lnTo>
                  <a:pt x="4" y="5"/>
                </a:lnTo>
                <a:lnTo>
                  <a:pt x="4" y="3"/>
                </a:lnTo>
                <a:lnTo>
                  <a:pt x="3" y="2"/>
                </a:lnTo>
                <a:lnTo>
                  <a:pt x="2" y="0"/>
                </a:lnTo>
                <a:lnTo>
                  <a:pt x="0" y="0"/>
                </a:lnTo>
                <a:lnTo>
                  <a:pt x="0" y="1"/>
                </a:lnTo>
                <a:lnTo>
                  <a:pt x="1" y="2"/>
                </a:lnTo>
                <a:lnTo>
                  <a:pt x="3" y="6"/>
                </a:lnTo>
                <a:lnTo>
                  <a:pt x="3" y="6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1" name="Freeform 120"/>
          <p:cNvSpPr>
            <a:spLocks/>
          </p:cNvSpPr>
          <p:nvPr/>
        </p:nvSpPr>
        <p:spPr bwMode="auto">
          <a:xfrm>
            <a:off x="4935538" y="2482816"/>
            <a:ext cx="6350" cy="9525"/>
          </a:xfrm>
          <a:custGeom>
            <a:avLst/>
            <a:gdLst>
              <a:gd name="T0" fmla="*/ 3 w 4"/>
              <a:gd name="T1" fmla="*/ 6 h 6"/>
              <a:gd name="T2" fmla="*/ 4 w 4"/>
              <a:gd name="T3" fmla="*/ 5 h 6"/>
              <a:gd name="T4" fmla="*/ 4 w 4"/>
              <a:gd name="T5" fmla="*/ 3 h 6"/>
              <a:gd name="T6" fmla="*/ 3 w 4"/>
              <a:gd name="T7" fmla="*/ 2 h 6"/>
              <a:gd name="T8" fmla="*/ 2 w 4"/>
              <a:gd name="T9" fmla="*/ 0 h 6"/>
              <a:gd name="T10" fmla="*/ 0 w 4"/>
              <a:gd name="T11" fmla="*/ 0 h 6"/>
              <a:gd name="T12" fmla="*/ 0 w 4"/>
              <a:gd name="T13" fmla="*/ 1 h 6"/>
              <a:gd name="T14" fmla="*/ 1 w 4"/>
              <a:gd name="T15" fmla="*/ 2 h 6"/>
              <a:gd name="T16" fmla="*/ 3 w 4"/>
              <a:gd name="T17" fmla="*/ 6 h 6"/>
              <a:gd name="T18" fmla="*/ 3 w 4"/>
              <a:gd name="T1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" h="6">
                <a:moveTo>
                  <a:pt x="3" y="6"/>
                </a:moveTo>
                <a:lnTo>
                  <a:pt x="4" y="5"/>
                </a:lnTo>
                <a:lnTo>
                  <a:pt x="4" y="3"/>
                </a:lnTo>
                <a:lnTo>
                  <a:pt x="3" y="2"/>
                </a:lnTo>
                <a:lnTo>
                  <a:pt x="2" y="0"/>
                </a:lnTo>
                <a:lnTo>
                  <a:pt x="0" y="0"/>
                </a:lnTo>
                <a:lnTo>
                  <a:pt x="0" y="1"/>
                </a:lnTo>
                <a:lnTo>
                  <a:pt x="1" y="2"/>
                </a:lnTo>
                <a:lnTo>
                  <a:pt x="3" y="6"/>
                </a:lnTo>
                <a:lnTo>
                  <a:pt x="3" y="6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2" name="Freeform 121"/>
          <p:cNvSpPr>
            <a:spLocks/>
          </p:cNvSpPr>
          <p:nvPr/>
        </p:nvSpPr>
        <p:spPr bwMode="auto">
          <a:xfrm>
            <a:off x="4953001" y="2506628"/>
            <a:ext cx="4763" cy="6350"/>
          </a:xfrm>
          <a:custGeom>
            <a:avLst/>
            <a:gdLst>
              <a:gd name="T0" fmla="*/ 1 w 3"/>
              <a:gd name="T1" fmla="*/ 4 h 4"/>
              <a:gd name="T2" fmla="*/ 3 w 3"/>
              <a:gd name="T3" fmla="*/ 4 h 4"/>
              <a:gd name="T4" fmla="*/ 3 w 3"/>
              <a:gd name="T5" fmla="*/ 0 h 4"/>
              <a:gd name="T6" fmla="*/ 1 w 3"/>
              <a:gd name="T7" fmla="*/ 1 h 4"/>
              <a:gd name="T8" fmla="*/ 0 w 3"/>
              <a:gd name="T9" fmla="*/ 2 h 4"/>
              <a:gd name="T10" fmla="*/ 1 w 3"/>
              <a:gd name="T11" fmla="*/ 4 h 4"/>
              <a:gd name="T12" fmla="*/ 1 w 3"/>
              <a:gd name="T13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" h="4">
                <a:moveTo>
                  <a:pt x="1" y="4"/>
                </a:moveTo>
                <a:lnTo>
                  <a:pt x="3" y="4"/>
                </a:lnTo>
                <a:lnTo>
                  <a:pt x="3" y="0"/>
                </a:lnTo>
                <a:lnTo>
                  <a:pt x="1" y="1"/>
                </a:lnTo>
                <a:lnTo>
                  <a:pt x="0" y="2"/>
                </a:lnTo>
                <a:lnTo>
                  <a:pt x="1" y="4"/>
                </a:lnTo>
                <a:lnTo>
                  <a:pt x="1" y="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3" name="Freeform 122"/>
          <p:cNvSpPr>
            <a:spLocks/>
          </p:cNvSpPr>
          <p:nvPr/>
        </p:nvSpPr>
        <p:spPr bwMode="auto">
          <a:xfrm>
            <a:off x="4953001" y="2506628"/>
            <a:ext cx="4763" cy="6350"/>
          </a:xfrm>
          <a:custGeom>
            <a:avLst/>
            <a:gdLst>
              <a:gd name="T0" fmla="*/ 1 w 3"/>
              <a:gd name="T1" fmla="*/ 4 h 4"/>
              <a:gd name="T2" fmla="*/ 3 w 3"/>
              <a:gd name="T3" fmla="*/ 4 h 4"/>
              <a:gd name="T4" fmla="*/ 3 w 3"/>
              <a:gd name="T5" fmla="*/ 0 h 4"/>
              <a:gd name="T6" fmla="*/ 1 w 3"/>
              <a:gd name="T7" fmla="*/ 1 h 4"/>
              <a:gd name="T8" fmla="*/ 0 w 3"/>
              <a:gd name="T9" fmla="*/ 2 h 4"/>
              <a:gd name="T10" fmla="*/ 1 w 3"/>
              <a:gd name="T11" fmla="*/ 4 h 4"/>
              <a:gd name="T12" fmla="*/ 1 w 3"/>
              <a:gd name="T13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" h="4">
                <a:moveTo>
                  <a:pt x="1" y="4"/>
                </a:moveTo>
                <a:lnTo>
                  <a:pt x="3" y="4"/>
                </a:lnTo>
                <a:lnTo>
                  <a:pt x="3" y="0"/>
                </a:lnTo>
                <a:lnTo>
                  <a:pt x="1" y="1"/>
                </a:lnTo>
                <a:lnTo>
                  <a:pt x="0" y="2"/>
                </a:lnTo>
                <a:lnTo>
                  <a:pt x="1" y="4"/>
                </a:lnTo>
                <a:lnTo>
                  <a:pt x="1" y="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4" name="Freeform 123"/>
          <p:cNvSpPr>
            <a:spLocks/>
          </p:cNvSpPr>
          <p:nvPr/>
        </p:nvSpPr>
        <p:spPr bwMode="auto">
          <a:xfrm>
            <a:off x="4849813" y="2471703"/>
            <a:ext cx="57150" cy="55563"/>
          </a:xfrm>
          <a:custGeom>
            <a:avLst/>
            <a:gdLst>
              <a:gd name="T0" fmla="*/ 13 w 36"/>
              <a:gd name="T1" fmla="*/ 0 h 35"/>
              <a:gd name="T2" fmla="*/ 9 w 36"/>
              <a:gd name="T3" fmla="*/ 2 h 35"/>
              <a:gd name="T4" fmla="*/ 6 w 36"/>
              <a:gd name="T5" fmla="*/ 4 h 35"/>
              <a:gd name="T6" fmla="*/ 4 w 36"/>
              <a:gd name="T7" fmla="*/ 3 h 35"/>
              <a:gd name="T8" fmla="*/ 0 w 36"/>
              <a:gd name="T9" fmla="*/ 8 h 35"/>
              <a:gd name="T10" fmla="*/ 0 w 36"/>
              <a:gd name="T11" fmla="*/ 10 h 35"/>
              <a:gd name="T12" fmla="*/ 3 w 36"/>
              <a:gd name="T13" fmla="*/ 14 h 35"/>
              <a:gd name="T14" fmla="*/ 7 w 36"/>
              <a:gd name="T15" fmla="*/ 16 h 35"/>
              <a:gd name="T16" fmla="*/ 9 w 36"/>
              <a:gd name="T17" fmla="*/ 19 h 35"/>
              <a:gd name="T18" fmla="*/ 8 w 36"/>
              <a:gd name="T19" fmla="*/ 24 h 35"/>
              <a:gd name="T20" fmla="*/ 9 w 36"/>
              <a:gd name="T21" fmla="*/ 27 h 35"/>
              <a:gd name="T22" fmla="*/ 10 w 36"/>
              <a:gd name="T23" fmla="*/ 28 h 35"/>
              <a:gd name="T24" fmla="*/ 13 w 36"/>
              <a:gd name="T25" fmla="*/ 29 h 35"/>
              <a:gd name="T26" fmla="*/ 13 w 36"/>
              <a:gd name="T27" fmla="*/ 26 h 35"/>
              <a:gd name="T28" fmla="*/ 15 w 36"/>
              <a:gd name="T29" fmla="*/ 24 h 35"/>
              <a:gd name="T30" fmla="*/ 16 w 36"/>
              <a:gd name="T31" fmla="*/ 26 h 35"/>
              <a:gd name="T32" fmla="*/ 18 w 36"/>
              <a:gd name="T33" fmla="*/ 28 h 35"/>
              <a:gd name="T34" fmla="*/ 20 w 36"/>
              <a:gd name="T35" fmla="*/ 33 h 35"/>
              <a:gd name="T36" fmla="*/ 20 w 36"/>
              <a:gd name="T37" fmla="*/ 35 h 35"/>
              <a:gd name="T38" fmla="*/ 22 w 36"/>
              <a:gd name="T39" fmla="*/ 35 h 35"/>
              <a:gd name="T40" fmla="*/ 23 w 36"/>
              <a:gd name="T41" fmla="*/ 30 h 35"/>
              <a:gd name="T42" fmla="*/ 25 w 36"/>
              <a:gd name="T43" fmla="*/ 29 h 35"/>
              <a:gd name="T44" fmla="*/ 27 w 36"/>
              <a:gd name="T45" fmla="*/ 32 h 35"/>
              <a:gd name="T46" fmla="*/ 29 w 36"/>
              <a:gd name="T47" fmla="*/ 34 h 35"/>
              <a:gd name="T48" fmla="*/ 32 w 36"/>
              <a:gd name="T49" fmla="*/ 35 h 35"/>
              <a:gd name="T50" fmla="*/ 30 w 36"/>
              <a:gd name="T51" fmla="*/ 29 h 35"/>
              <a:gd name="T52" fmla="*/ 28 w 36"/>
              <a:gd name="T53" fmla="*/ 22 h 35"/>
              <a:gd name="T54" fmla="*/ 26 w 36"/>
              <a:gd name="T55" fmla="*/ 18 h 35"/>
              <a:gd name="T56" fmla="*/ 25 w 36"/>
              <a:gd name="T57" fmla="*/ 15 h 35"/>
              <a:gd name="T58" fmla="*/ 30 w 36"/>
              <a:gd name="T59" fmla="*/ 18 h 35"/>
              <a:gd name="T60" fmla="*/ 30 w 36"/>
              <a:gd name="T61" fmla="*/ 19 h 35"/>
              <a:gd name="T62" fmla="*/ 32 w 36"/>
              <a:gd name="T63" fmla="*/ 19 h 35"/>
              <a:gd name="T64" fmla="*/ 34 w 36"/>
              <a:gd name="T65" fmla="*/ 18 h 35"/>
              <a:gd name="T66" fmla="*/ 36 w 36"/>
              <a:gd name="T67" fmla="*/ 17 h 35"/>
              <a:gd name="T68" fmla="*/ 35 w 36"/>
              <a:gd name="T69" fmla="*/ 16 h 35"/>
              <a:gd name="T70" fmla="*/ 32 w 36"/>
              <a:gd name="T71" fmla="*/ 14 h 35"/>
              <a:gd name="T72" fmla="*/ 29 w 36"/>
              <a:gd name="T73" fmla="*/ 9 h 35"/>
              <a:gd name="T74" fmla="*/ 29 w 36"/>
              <a:gd name="T75" fmla="*/ 7 h 35"/>
              <a:gd name="T76" fmla="*/ 27 w 36"/>
              <a:gd name="T77" fmla="*/ 6 h 35"/>
              <a:gd name="T78" fmla="*/ 19 w 36"/>
              <a:gd name="T79" fmla="*/ 4 h 35"/>
              <a:gd name="T80" fmla="*/ 16 w 36"/>
              <a:gd name="T81" fmla="*/ 3 h 35"/>
              <a:gd name="T82" fmla="*/ 15 w 36"/>
              <a:gd name="T83" fmla="*/ 3 h 35"/>
              <a:gd name="T84" fmla="*/ 13 w 36"/>
              <a:gd name="T85" fmla="*/ 0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6" h="35">
                <a:moveTo>
                  <a:pt x="13" y="0"/>
                </a:moveTo>
                <a:lnTo>
                  <a:pt x="9" y="2"/>
                </a:lnTo>
                <a:lnTo>
                  <a:pt x="6" y="4"/>
                </a:lnTo>
                <a:lnTo>
                  <a:pt x="4" y="3"/>
                </a:lnTo>
                <a:lnTo>
                  <a:pt x="0" y="8"/>
                </a:lnTo>
                <a:lnTo>
                  <a:pt x="0" y="10"/>
                </a:lnTo>
                <a:lnTo>
                  <a:pt x="3" y="14"/>
                </a:lnTo>
                <a:lnTo>
                  <a:pt x="7" y="16"/>
                </a:lnTo>
                <a:lnTo>
                  <a:pt x="9" y="19"/>
                </a:lnTo>
                <a:lnTo>
                  <a:pt x="8" y="24"/>
                </a:lnTo>
                <a:lnTo>
                  <a:pt x="9" y="27"/>
                </a:lnTo>
                <a:lnTo>
                  <a:pt x="10" y="28"/>
                </a:lnTo>
                <a:lnTo>
                  <a:pt x="13" y="29"/>
                </a:lnTo>
                <a:lnTo>
                  <a:pt x="13" y="26"/>
                </a:lnTo>
                <a:lnTo>
                  <a:pt x="15" y="24"/>
                </a:lnTo>
                <a:lnTo>
                  <a:pt x="16" y="26"/>
                </a:lnTo>
                <a:lnTo>
                  <a:pt x="18" y="28"/>
                </a:lnTo>
                <a:lnTo>
                  <a:pt x="20" y="33"/>
                </a:lnTo>
                <a:lnTo>
                  <a:pt x="20" y="35"/>
                </a:lnTo>
                <a:lnTo>
                  <a:pt x="22" y="35"/>
                </a:lnTo>
                <a:lnTo>
                  <a:pt x="23" y="30"/>
                </a:lnTo>
                <a:lnTo>
                  <a:pt x="25" y="29"/>
                </a:lnTo>
                <a:lnTo>
                  <a:pt x="27" y="32"/>
                </a:lnTo>
                <a:lnTo>
                  <a:pt x="29" y="34"/>
                </a:lnTo>
                <a:lnTo>
                  <a:pt x="32" y="35"/>
                </a:lnTo>
                <a:lnTo>
                  <a:pt x="30" y="29"/>
                </a:lnTo>
                <a:lnTo>
                  <a:pt x="28" y="22"/>
                </a:lnTo>
                <a:lnTo>
                  <a:pt x="26" y="18"/>
                </a:lnTo>
                <a:lnTo>
                  <a:pt x="25" y="15"/>
                </a:lnTo>
                <a:lnTo>
                  <a:pt x="30" y="18"/>
                </a:lnTo>
                <a:lnTo>
                  <a:pt x="30" y="19"/>
                </a:lnTo>
                <a:lnTo>
                  <a:pt x="32" y="19"/>
                </a:lnTo>
                <a:lnTo>
                  <a:pt x="34" y="18"/>
                </a:lnTo>
                <a:lnTo>
                  <a:pt x="36" y="17"/>
                </a:lnTo>
                <a:lnTo>
                  <a:pt x="35" y="16"/>
                </a:lnTo>
                <a:lnTo>
                  <a:pt x="32" y="14"/>
                </a:lnTo>
                <a:lnTo>
                  <a:pt x="29" y="9"/>
                </a:lnTo>
                <a:lnTo>
                  <a:pt x="29" y="7"/>
                </a:lnTo>
                <a:lnTo>
                  <a:pt x="27" y="6"/>
                </a:lnTo>
                <a:lnTo>
                  <a:pt x="19" y="4"/>
                </a:lnTo>
                <a:lnTo>
                  <a:pt x="16" y="3"/>
                </a:lnTo>
                <a:lnTo>
                  <a:pt x="15" y="3"/>
                </a:lnTo>
                <a:lnTo>
                  <a:pt x="13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5" name="Freeform 124"/>
          <p:cNvSpPr>
            <a:spLocks/>
          </p:cNvSpPr>
          <p:nvPr/>
        </p:nvSpPr>
        <p:spPr bwMode="auto">
          <a:xfrm>
            <a:off x="4849813" y="2471703"/>
            <a:ext cx="57150" cy="55563"/>
          </a:xfrm>
          <a:custGeom>
            <a:avLst/>
            <a:gdLst>
              <a:gd name="T0" fmla="*/ 13 w 36"/>
              <a:gd name="T1" fmla="*/ 0 h 35"/>
              <a:gd name="T2" fmla="*/ 9 w 36"/>
              <a:gd name="T3" fmla="*/ 2 h 35"/>
              <a:gd name="T4" fmla="*/ 6 w 36"/>
              <a:gd name="T5" fmla="*/ 4 h 35"/>
              <a:gd name="T6" fmla="*/ 4 w 36"/>
              <a:gd name="T7" fmla="*/ 3 h 35"/>
              <a:gd name="T8" fmla="*/ 0 w 36"/>
              <a:gd name="T9" fmla="*/ 8 h 35"/>
              <a:gd name="T10" fmla="*/ 0 w 36"/>
              <a:gd name="T11" fmla="*/ 10 h 35"/>
              <a:gd name="T12" fmla="*/ 3 w 36"/>
              <a:gd name="T13" fmla="*/ 14 h 35"/>
              <a:gd name="T14" fmla="*/ 7 w 36"/>
              <a:gd name="T15" fmla="*/ 16 h 35"/>
              <a:gd name="T16" fmla="*/ 9 w 36"/>
              <a:gd name="T17" fmla="*/ 19 h 35"/>
              <a:gd name="T18" fmla="*/ 8 w 36"/>
              <a:gd name="T19" fmla="*/ 24 h 35"/>
              <a:gd name="T20" fmla="*/ 9 w 36"/>
              <a:gd name="T21" fmla="*/ 27 h 35"/>
              <a:gd name="T22" fmla="*/ 10 w 36"/>
              <a:gd name="T23" fmla="*/ 28 h 35"/>
              <a:gd name="T24" fmla="*/ 13 w 36"/>
              <a:gd name="T25" fmla="*/ 29 h 35"/>
              <a:gd name="T26" fmla="*/ 13 w 36"/>
              <a:gd name="T27" fmla="*/ 26 h 35"/>
              <a:gd name="T28" fmla="*/ 15 w 36"/>
              <a:gd name="T29" fmla="*/ 24 h 35"/>
              <a:gd name="T30" fmla="*/ 16 w 36"/>
              <a:gd name="T31" fmla="*/ 26 h 35"/>
              <a:gd name="T32" fmla="*/ 18 w 36"/>
              <a:gd name="T33" fmla="*/ 28 h 35"/>
              <a:gd name="T34" fmla="*/ 20 w 36"/>
              <a:gd name="T35" fmla="*/ 33 h 35"/>
              <a:gd name="T36" fmla="*/ 20 w 36"/>
              <a:gd name="T37" fmla="*/ 35 h 35"/>
              <a:gd name="T38" fmla="*/ 22 w 36"/>
              <a:gd name="T39" fmla="*/ 35 h 35"/>
              <a:gd name="T40" fmla="*/ 23 w 36"/>
              <a:gd name="T41" fmla="*/ 30 h 35"/>
              <a:gd name="T42" fmla="*/ 25 w 36"/>
              <a:gd name="T43" fmla="*/ 29 h 35"/>
              <a:gd name="T44" fmla="*/ 27 w 36"/>
              <a:gd name="T45" fmla="*/ 32 h 35"/>
              <a:gd name="T46" fmla="*/ 29 w 36"/>
              <a:gd name="T47" fmla="*/ 34 h 35"/>
              <a:gd name="T48" fmla="*/ 32 w 36"/>
              <a:gd name="T49" fmla="*/ 35 h 35"/>
              <a:gd name="T50" fmla="*/ 30 w 36"/>
              <a:gd name="T51" fmla="*/ 29 h 35"/>
              <a:gd name="T52" fmla="*/ 28 w 36"/>
              <a:gd name="T53" fmla="*/ 22 h 35"/>
              <a:gd name="T54" fmla="*/ 26 w 36"/>
              <a:gd name="T55" fmla="*/ 18 h 35"/>
              <a:gd name="T56" fmla="*/ 25 w 36"/>
              <a:gd name="T57" fmla="*/ 15 h 35"/>
              <a:gd name="T58" fmla="*/ 30 w 36"/>
              <a:gd name="T59" fmla="*/ 18 h 35"/>
              <a:gd name="T60" fmla="*/ 30 w 36"/>
              <a:gd name="T61" fmla="*/ 19 h 35"/>
              <a:gd name="T62" fmla="*/ 32 w 36"/>
              <a:gd name="T63" fmla="*/ 19 h 35"/>
              <a:gd name="T64" fmla="*/ 34 w 36"/>
              <a:gd name="T65" fmla="*/ 18 h 35"/>
              <a:gd name="T66" fmla="*/ 36 w 36"/>
              <a:gd name="T67" fmla="*/ 17 h 35"/>
              <a:gd name="T68" fmla="*/ 35 w 36"/>
              <a:gd name="T69" fmla="*/ 16 h 35"/>
              <a:gd name="T70" fmla="*/ 32 w 36"/>
              <a:gd name="T71" fmla="*/ 14 h 35"/>
              <a:gd name="T72" fmla="*/ 29 w 36"/>
              <a:gd name="T73" fmla="*/ 9 h 35"/>
              <a:gd name="T74" fmla="*/ 29 w 36"/>
              <a:gd name="T75" fmla="*/ 7 h 35"/>
              <a:gd name="T76" fmla="*/ 27 w 36"/>
              <a:gd name="T77" fmla="*/ 6 h 35"/>
              <a:gd name="T78" fmla="*/ 19 w 36"/>
              <a:gd name="T79" fmla="*/ 4 h 35"/>
              <a:gd name="T80" fmla="*/ 16 w 36"/>
              <a:gd name="T81" fmla="*/ 3 h 35"/>
              <a:gd name="T82" fmla="*/ 15 w 36"/>
              <a:gd name="T83" fmla="*/ 3 h 35"/>
              <a:gd name="T84" fmla="*/ 13 w 36"/>
              <a:gd name="T85" fmla="*/ 0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6" h="35">
                <a:moveTo>
                  <a:pt x="13" y="0"/>
                </a:moveTo>
                <a:lnTo>
                  <a:pt x="9" y="2"/>
                </a:lnTo>
                <a:lnTo>
                  <a:pt x="6" y="4"/>
                </a:lnTo>
                <a:lnTo>
                  <a:pt x="4" y="3"/>
                </a:lnTo>
                <a:lnTo>
                  <a:pt x="0" y="8"/>
                </a:lnTo>
                <a:lnTo>
                  <a:pt x="0" y="10"/>
                </a:lnTo>
                <a:lnTo>
                  <a:pt x="3" y="14"/>
                </a:lnTo>
                <a:lnTo>
                  <a:pt x="7" y="16"/>
                </a:lnTo>
                <a:lnTo>
                  <a:pt x="9" y="19"/>
                </a:lnTo>
                <a:lnTo>
                  <a:pt x="8" y="24"/>
                </a:lnTo>
                <a:lnTo>
                  <a:pt x="9" y="27"/>
                </a:lnTo>
                <a:lnTo>
                  <a:pt x="10" y="28"/>
                </a:lnTo>
                <a:lnTo>
                  <a:pt x="13" y="29"/>
                </a:lnTo>
                <a:lnTo>
                  <a:pt x="13" y="26"/>
                </a:lnTo>
                <a:lnTo>
                  <a:pt x="15" y="24"/>
                </a:lnTo>
                <a:lnTo>
                  <a:pt x="16" y="26"/>
                </a:lnTo>
                <a:lnTo>
                  <a:pt x="18" y="28"/>
                </a:lnTo>
                <a:lnTo>
                  <a:pt x="20" y="33"/>
                </a:lnTo>
                <a:lnTo>
                  <a:pt x="20" y="35"/>
                </a:lnTo>
                <a:lnTo>
                  <a:pt x="22" y="35"/>
                </a:lnTo>
                <a:lnTo>
                  <a:pt x="23" y="30"/>
                </a:lnTo>
                <a:lnTo>
                  <a:pt x="25" y="29"/>
                </a:lnTo>
                <a:lnTo>
                  <a:pt x="27" y="32"/>
                </a:lnTo>
                <a:lnTo>
                  <a:pt x="29" y="34"/>
                </a:lnTo>
                <a:lnTo>
                  <a:pt x="32" y="35"/>
                </a:lnTo>
                <a:lnTo>
                  <a:pt x="30" y="29"/>
                </a:lnTo>
                <a:lnTo>
                  <a:pt x="28" y="22"/>
                </a:lnTo>
                <a:lnTo>
                  <a:pt x="26" y="18"/>
                </a:lnTo>
                <a:lnTo>
                  <a:pt x="25" y="15"/>
                </a:lnTo>
                <a:lnTo>
                  <a:pt x="30" y="18"/>
                </a:lnTo>
                <a:lnTo>
                  <a:pt x="30" y="19"/>
                </a:lnTo>
                <a:lnTo>
                  <a:pt x="32" y="19"/>
                </a:lnTo>
                <a:lnTo>
                  <a:pt x="34" y="18"/>
                </a:lnTo>
                <a:lnTo>
                  <a:pt x="36" y="17"/>
                </a:lnTo>
                <a:lnTo>
                  <a:pt x="35" y="16"/>
                </a:lnTo>
                <a:lnTo>
                  <a:pt x="32" y="14"/>
                </a:lnTo>
                <a:lnTo>
                  <a:pt x="29" y="9"/>
                </a:lnTo>
                <a:lnTo>
                  <a:pt x="29" y="7"/>
                </a:lnTo>
                <a:lnTo>
                  <a:pt x="27" y="6"/>
                </a:lnTo>
                <a:lnTo>
                  <a:pt x="19" y="4"/>
                </a:lnTo>
                <a:lnTo>
                  <a:pt x="16" y="3"/>
                </a:lnTo>
                <a:lnTo>
                  <a:pt x="15" y="3"/>
                </a:lnTo>
                <a:lnTo>
                  <a:pt x="13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6" name="Freeform 125"/>
          <p:cNvSpPr>
            <a:spLocks/>
          </p:cNvSpPr>
          <p:nvPr/>
        </p:nvSpPr>
        <p:spPr bwMode="auto">
          <a:xfrm>
            <a:off x="4830763" y="2470116"/>
            <a:ext cx="11113" cy="9525"/>
          </a:xfrm>
          <a:custGeom>
            <a:avLst/>
            <a:gdLst>
              <a:gd name="T0" fmla="*/ 6 w 7"/>
              <a:gd name="T1" fmla="*/ 6 h 6"/>
              <a:gd name="T2" fmla="*/ 7 w 7"/>
              <a:gd name="T3" fmla="*/ 4 h 6"/>
              <a:gd name="T4" fmla="*/ 5 w 7"/>
              <a:gd name="T5" fmla="*/ 3 h 6"/>
              <a:gd name="T6" fmla="*/ 4 w 7"/>
              <a:gd name="T7" fmla="*/ 0 h 6"/>
              <a:gd name="T8" fmla="*/ 2 w 7"/>
              <a:gd name="T9" fmla="*/ 1 h 6"/>
              <a:gd name="T10" fmla="*/ 0 w 7"/>
              <a:gd name="T11" fmla="*/ 3 h 6"/>
              <a:gd name="T12" fmla="*/ 2 w 7"/>
              <a:gd name="T13" fmla="*/ 5 h 6"/>
              <a:gd name="T14" fmla="*/ 5 w 7"/>
              <a:gd name="T15" fmla="*/ 6 h 6"/>
              <a:gd name="T16" fmla="*/ 6 w 7"/>
              <a:gd name="T17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" h="6">
                <a:moveTo>
                  <a:pt x="6" y="6"/>
                </a:moveTo>
                <a:lnTo>
                  <a:pt x="7" y="4"/>
                </a:lnTo>
                <a:lnTo>
                  <a:pt x="5" y="3"/>
                </a:lnTo>
                <a:lnTo>
                  <a:pt x="4" y="0"/>
                </a:lnTo>
                <a:lnTo>
                  <a:pt x="2" y="1"/>
                </a:lnTo>
                <a:lnTo>
                  <a:pt x="0" y="3"/>
                </a:lnTo>
                <a:lnTo>
                  <a:pt x="2" y="5"/>
                </a:lnTo>
                <a:lnTo>
                  <a:pt x="5" y="6"/>
                </a:lnTo>
                <a:lnTo>
                  <a:pt x="6" y="6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7" name="Freeform 126"/>
          <p:cNvSpPr>
            <a:spLocks/>
          </p:cNvSpPr>
          <p:nvPr/>
        </p:nvSpPr>
        <p:spPr bwMode="auto">
          <a:xfrm>
            <a:off x="4830763" y="2470116"/>
            <a:ext cx="11113" cy="9525"/>
          </a:xfrm>
          <a:custGeom>
            <a:avLst/>
            <a:gdLst>
              <a:gd name="T0" fmla="*/ 6 w 7"/>
              <a:gd name="T1" fmla="*/ 6 h 6"/>
              <a:gd name="T2" fmla="*/ 7 w 7"/>
              <a:gd name="T3" fmla="*/ 4 h 6"/>
              <a:gd name="T4" fmla="*/ 5 w 7"/>
              <a:gd name="T5" fmla="*/ 3 h 6"/>
              <a:gd name="T6" fmla="*/ 4 w 7"/>
              <a:gd name="T7" fmla="*/ 0 h 6"/>
              <a:gd name="T8" fmla="*/ 2 w 7"/>
              <a:gd name="T9" fmla="*/ 1 h 6"/>
              <a:gd name="T10" fmla="*/ 0 w 7"/>
              <a:gd name="T11" fmla="*/ 3 h 6"/>
              <a:gd name="T12" fmla="*/ 2 w 7"/>
              <a:gd name="T13" fmla="*/ 5 h 6"/>
              <a:gd name="T14" fmla="*/ 5 w 7"/>
              <a:gd name="T15" fmla="*/ 6 h 6"/>
              <a:gd name="T16" fmla="*/ 6 w 7"/>
              <a:gd name="T17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" h="6">
                <a:moveTo>
                  <a:pt x="6" y="6"/>
                </a:moveTo>
                <a:lnTo>
                  <a:pt x="7" y="4"/>
                </a:lnTo>
                <a:lnTo>
                  <a:pt x="5" y="3"/>
                </a:lnTo>
                <a:lnTo>
                  <a:pt x="4" y="0"/>
                </a:lnTo>
                <a:lnTo>
                  <a:pt x="2" y="1"/>
                </a:lnTo>
                <a:lnTo>
                  <a:pt x="0" y="3"/>
                </a:lnTo>
                <a:lnTo>
                  <a:pt x="2" y="5"/>
                </a:lnTo>
                <a:lnTo>
                  <a:pt x="5" y="6"/>
                </a:lnTo>
                <a:lnTo>
                  <a:pt x="6" y="6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8" name="Freeform 127"/>
          <p:cNvSpPr>
            <a:spLocks/>
          </p:cNvSpPr>
          <p:nvPr/>
        </p:nvSpPr>
        <p:spPr bwMode="auto">
          <a:xfrm>
            <a:off x="4891088" y="2452653"/>
            <a:ext cx="39688" cy="30163"/>
          </a:xfrm>
          <a:custGeom>
            <a:avLst/>
            <a:gdLst>
              <a:gd name="T0" fmla="*/ 25 w 25"/>
              <a:gd name="T1" fmla="*/ 17 h 19"/>
              <a:gd name="T2" fmla="*/ 25 w 25"/>
              <a:gd name="T3" fmla="*/ 18 h 19"/>
              <a:gd name="T4" fmla="*/ 25 w 25"/>
              <a:gd name="T5" fmla="*/ 16 h 19"/>
              <a:gd name="T6" fmla="*/ 21 w 25"/>
              <a:gd name="T7" fmla="*/ 15 h 19"/>
              <a:gd name="T8" fmla="*/ 19 w 25"/>
              <a:gd name="T9" fmla="*/ 10 h 19"/>
              <a:gd name="T10" fmla="*/ 19 w 25"/>
              <a:gd name="T11" fmla="*/ 9 h 19"/>
              <a:gd name="T12" fmla="*/ 18 w 25"/>
              <a:gd name="T13" fmla="*/ 7 h 19"/>
              <a:gd name="T14" fmla="*/ 13 w 25"/>
              <a:gd name="T15" fmla="*/ 6 h 19"/>
              <a:gd name="T16" fmla="*/ 10 w 25"/>
              <a:gd name="T17" fmla="*/ 5 h 19"/>
              <a:gd name="T18" fmla="*/ 6 w 25"/>
              <a:gd name="T19" fmla="*/ 1 h 19"/>
              <a:gd name="T20" fmla="*/ 6 w 25"/>
              <a:gd name="T21" fmla="*/ 0 h 19"/>
              <a:gd name="T22" fmla="*/ 3 w 25"/>
              <a:gd name="T23" fmla="*/ 0 h 19"/>
              <a:gd name="T24" fmla="*/ 1 w 25"/>
              <a:gd name="T25" fmla="*/ 2 h 19"/>
              <a:gd name="T26" fmla="*/ 0 w 25"/>
              <a:gd name="T27" fmla="*/ 4 h 19"/>
              <a:gd name="T28" fmla="*/ 2 w 25"/>
              <a:gd name="T29" fmla="*/ 4 h 19"/>
              <a:gd name="T30" fmla="*/ 7 w 25"/>
              <a:gd name="T31" fmla="*/ 6 h 19"/>
              <a:gd name="T32" fmla="*/ 9 w 25"/>
              <a:gd name="T33" fmla="*/ 8 h 19"/>
              <a:gd name="T34" fmla="*/ 10 w 25"/>
              <a:gd name="T35" fmla="*/ 10 h 19"/>
              <a:gd name="T36" fmla="*/ 12 w 25"/>
              <a:gd name="T37" fmla="*/ 11 h 19"/>
              <a:gd name="T38" fmla="*/ 16 w 25"/>
              <a:gd name="T39" fmla="*/ 11 h 19"/>
              <a:gd name="T40" fmla="*/ 19 w 25"/>
              <a:gd name="T41" fmla="*/ 14 h 19"/>
              <a:gd name="T42" fmla="*/ 20 w 25"/>
              <a:gd name="T43" fmla="*/ 16 h 19"/>
              <a:gd name="T44" fmla="*/ 20 w 25"/>
              <a:gd name="T45" fmla="*/ 18 h 19"/>
              <a:gd name="T46" fmla="*/ 22 w 25"/>
              <a:gd name="T47" fmla="*/ 19 h 19"/>
              <a:gd name="T48" fmla="*/ 25 w 25"/>
              <a:gd name="T49" fmla="*/ 19 h 19"/>
              <a:gd name="T50" fmla="*/ 25 w 25"/>
              <a:gd name="T51" fmla="*/ 17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5" h="19">
                <a:moveTo>
                  <a:pt x="25" y="17"/>
                </a:moveTo>
                <a:lnTo>
                  <a:pt x="25" y="18"/>
                </a:lnTo>
                <a:lnTo>
                  <a:pt x="25" y="16"/>
                </a:lnTo>
                <a:lnTo>
                  <a:pt x="21" y="15"/>
                </a:lnTo>
                <a:lnTo>
                  <a:pt x="19" y="10"/>
                </a:lnTo>
                <a:lnTo>
                  <a:pt x="19" y="9"/>
                </a:lnTo>
                <a:lnTo>
                  <a:pt x="18" y="7"/>
                </a:lnTo>
                <a:lnTo>
                  <a:pt x="13" y="6"/>
                </a:lnTo>
                <a:lnTo>
                  <a:pt x="10" y="5"/>
                </a:lnTo>
                <a:lnTo>
                  <a:pt x="6" y="1"/>
                </a:lnTo>
                <a:lnTo>
                  <a:pt x="6" y="0"/>
                </a:lnTo>
                <a:lnTo>
                  <a:pt x="3" y="0"/>
                </a:lnTo>
                <a:lnTo>
                  <a:pt x="1" y="2"/>
                </a:lnTo>
                <a:lnTo>
                  <a:pt x="0" y="4"/>
                </a:lnTo>
                <a:lnTo>
                  <a:pt x="2" y="4"/>
                </a:lnTo>
                <a:lnTo>
                  <a:pt x="7" y="6"/>
                </a:lnTo>
                <a:lnTo>
                  <a:pt x="9" y="8"/>
                </a:lnTo>
                <a:lnTo>
                  <a:pt x="10" y="10"/>
                </a:lnTo>
                <a:lnTo>
                  <a:pt x="12" y="11"/>
                </a:lnTo>
                <a:lnTo>
                  <a:pt x="16" y="11"/>
                </a:lnTo>
                <a:lnTo>
                  <a:pt x="19" y="14"/>
                </a:lnTo>
                <a:lnTo>
                  <a:pt x="20" y="16"/>
                </a:lnTo>
                <a:lnTo>
                  <a:pt x="20" y="18"/>
                </a:lnTo>
                <a:lnTo>
                  <a:pt x="22" y="19"/>
                </a:lnTo>
                <a:lnTo>
                  <a:pt x="25" y="19"/>
                </a:lnTo>
                <a:lnTo>
                  <a:pt x="25" y="17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9" name="Freeform 128"/>
          <p:cNvSpPr>
            <a:spLocks/>
          </p:cNvSpPr>
          <p:nvPr/>
        </p:nvSpPr>
        <p:spPr bwMode="auto">
          <a:xfrm>
            <a:off x="4891088" y="2452653"/>
            <a:ext cx="39688" cy="30163"/>
          </a:xfrm>
          <a:custGeom>
            <a:avLst/>
            <a:gdLst>
              <a:gd name="T0" fmla="*/ 25 w 25"/>
              <a:gd name="T1" fmla="*/ 17 h 19"/>
              <a:gd name="T2" fmla="*/ 25 w 25"/>
              <a:gd name="T3" fmla="*/ 18 h 19"/>
              <a:gd name="T4" fmla="*/ 25 w 25"/>
              <a:gd name="T5" fmla="*/ 16 h 19"/>
              <a:gd name="T6" fmla="*/ 21 w 25"/>
              <a:gd name="T7" fmla="*/ 15 h 19"/>
              <a:gd name="T8" fmla="*/ 19 w 25"/>
              <a:gd name="T9" fmla="*/ 10 h 19"/>
              <a:gd name="T10" fmla="*/ 19 w 25"/>
              <a:gd name="T11" fmla="*/ 9 h 19"/>
              <a:gd name="T12" fmla="*/ 18 w 25"/>
              <a:gd name="T13" fmla="*/ 7 h 19"/>
              <a:gd name="T14" fmla="*/ 13 w 25"/>
              <a:gd name="T15" fmla="*/ 6 h 19"/>
              <a:gd name="T16" fmla="*/ 10 w 25"/>
              <a:gd name="T17" fmla="*/ 5 h 19"/>
              <a:gd name="T18" fmla="*/ 6 w 25"/>
              <a:gd name="T19" fmla="*/ 1 h 19"/>
              <a:gd name="T20" fmla="*/ 6 w 25"/>
              <a:gd name="T21" fmla="*/ 0 h 19"/>
              <a:gd name="T22" fmla="*/ 3 w 25"/>
              <a:gd name="T23" fmla="*/ 0 h 19"/>
              <a:gd name="T24" fmla="*/ 1 w 25"/>
              <a:gd name="T25" fmla="*/ 2 h 19"/>
              <a:gd name="T26" fmla="*/ 0 w 25"/>
              <a:gd name="T27" fmla="*/ 4 h 19"/>
              <a:gd name="T28" fmla="*/ 2 w 25"/>
              <a:gd name="T29" fmla="*/ 4 h 19"/>
              <a:gd name="T30" fmla="*/ 7 w 25"/>
              <a:gd name="T31" fmla="*/ 6 h 19"/>
              <a:gd name="T32" fmla="*/ 9 w 25"/>
              <a:gd name="T33" fmla="*/ 8 h 19"/>
              <a:gd name="T34" fmla="*/ 10 w 25"/>
              <a:gd name="T35" fmla="*/ 10 h 19"/>
              <a:gd name="T36" fmla="*/ 12 w 25"/>
              <a:gd name="T37" fmla="*/ 11 h 19"/>
              <a:gd name="T38" fmla="*/ 16 w 25"/>
              <a:gd name="T39" fmla="*/ 11 h 19"/>
              <a:gd name="T40" fmla="*/ 19 w 25"/>
              <a:gd name="T41" fmla="*/ 14 h 19"/>
              <a:gd name="T42" fmla="*/ 20 w 25"/>
              <a:gd name="T43" fmla="*/ 16 h 19"/>
              <a:gd name="T44" fmla="*/ 20 w 25"/>
              <a:gd name="T45" fmla="*/ 18 h 19"/>
              <a:gd name="T46" fmla="*/ 22 w 25"/>
              <a:gd name="T47" fmla="*/ 19 h 19"/>
              <a:gd name="T48" fmla="*/ 25 w 25"/>
              <a:gd name="T49" fmla="*/ 19 h 19"/>
              <a:gd name="T50" fmla="*/ 25 w 25"/>
              <a:gd name="T51" fmla="*/ 17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5" h="19">
                <a:moveTo>
                  <a:pt x="25" y="17"/>
                </a:moveTo>
                <a:lnTo>
                  <a:pt x="25" y="18"/>
                </a:lnTo>
                <a:lnTo>
                  <a:pt x="25" y="16"/>
                </a:lnTo>
                <a:lnTo>
                  <a:pt x="21" y="15"/>
                </a:lnTo>
                <a:lnTo>
                  <a:pt x="19" y="10"/>
                </a:lnTo>
                <a:lnTo>
                  <a:pt x="19" y="9"/>
                </a:lnTo>
                <a:lnTo>
                  <a:pt x="18" y="7"/>
                </a:lnTo>
                <a:lnTo>
                  <a:pt x="13" y="6"/>
                </a:lnTo>
                <a:lnTo>
                  <a:pt x="10" y="5"/>
                </a:lnTo>
                <a:lnTo>
                  <a:pt x="6" y="1"/>
                </a:lnTo>
                <a:lnTo>
                  <a:pt x="6" y="0"/>
                </a:lnTo>
                <a:lnTo>
                  <a:pt x="3" y="0"/>
                </a:lnTo>
                <a:lnTo>
                  <a:pt x="1" y="2"/>
                </a:lnTo>
                <a:lnTo>
                  <a:pt x="0" y="4"/>
                </a:lnTo>
                <a:lnTo>
                  <a:pt x="2" y="4"/>
                </a:lnTo>
                <a:lnTo>
                  <a:pt x="7" y="6"/>
                </a:lnTo>
                <a:lnTo>
                  <a:pt x="9" y="8"/>
                </a:lnTo>
                <a:lnTo>
                  <a:pt x="10" y="10"/>
                </a:lnTo>
                <a:lnTo>
                  <a:pt x="12" y="11"/>
                </a:lnTo>
                <a:lnTo>
                  <a:pt x="16" y="11"/>
                </a:lnTo>
                <a:lnTo>
                  <a:pt x="19" y="14"/>
                </a:lnTo>
                <a:lnTo>
                  <a:pt x="20" y="16"/>
                </a:lnTo>
                <a:lnTo>
                  <a:pt x="20" y="18"/>
                </a:lnTo>
                <a:lnTo>
                  <a:pt x="22" y="19"/>
                </a:lnTo>
                <a:lnTo>
                  <a:pt x="25" y="19"/>
                </a:lnTo>
                <a:lnTo>
                  <a:pt x="25" y="17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0" name="Freeform 129"/>
          <p:cNvSpPr>
            <a:spLocks/>
          </p:cNvSpPr>
          <p:nvPr/>
        </p:nvSpPr>
        <p:spPr bwMode="auto">
          <a:xfrm>
            <a:off x="4811713" y="2432016"/>
            <a:ext cx="9525" cy="11113"/>
          </a:xfrm>
          <a:custGeom>
            <a:avLst/>
            <a:gdLst>
              <a:gd name="T0" fmla="*/ 6 w 6"/>
              <a:gd name="T1" fmla="*/ 7 h 7"/>
              <a:gd name="T2" fmla="*/ 6 w 6"/>
              <a:gd name="T3" fmla="*/ 6 h 7"/>
              <a:gd name="T4" fmla="*/ 3 w 6"/>
              <a:gd name="T5" fmla="*/ 1 h 7"/>
              <a:gd name="T6" fmla="*/ 1 w 6"/>
              <a:gd name="T7" fmla="*/ 0 h 7"/>
              <a:gd name="T8" fmla="*/ 0 w 6"/>
              <a:gd name="T9" fmla="*/ 0 h 7"/>
              <a:gd name="T10" fmla="*/ 2 w 6"/>
              <a:gd name="T11" fmla="*/ 4 h 7"/>
              <a:gd name="T12" fmla="*/ 4 w 6"/>
              <a:gd name="T13" fmla="*/ 7 h 7"/>
              <a:gd name="T14" fmla="*/ 6 w 6"/>
              <a:gd name="T15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" h="7">
                <a:moveTo>
                  <a:pt x="6" y="7"/>
                </a:moveTo>
                <a:lnTo>
                  <a:pt x="6" y="6"/>
                </a:lnTo>
                <a:lnTo>
                  <a:pt x="3" y="1"/>
                </a:lnTo>
                <a:lnTo>
                  <a:pt x="1" y="0"/>
                </a:lnTo>
                <a:lnTo>
                  <a:pt x="0" y="0"/>
                </a:lnTo>
                <a:lnTo>
                  <a:pt x="2" y="4"/>
                </a:lnTo>
                <a:lnTo>
                  <a:pt x="4" y="7"/>
                </a:lnTo>
                <a:lnTo>
                  <a:pt x="6" y="7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1" name="Freeform 130"/>
          <p:cNvSpPr>
            <a:spLocks/>
          </p:cNvSpPr>
          <p:nvPr/>
        </p:nvSpPr>
        <p:spPr bwMode="auto">
          <a:xfrm>
            <a:off x="4811713" y="2432016"/>
            <a:ext cx="9525" cy="11113"/>
          </a:xfrm>
          <a:custGeom>
            <a:avLst/>
            <a:gdLst>
              <a:gd name="T0" fmla="*/ 6 w 6"/>
              <a:gd name="T1" fmla="*/ 7 h 7"/>
              <a:gd name="T2" fmla="*/ 6 w 6"/>
              <a:gd name="T3" fmla="*/ 6 h 7"/>
              <a:gd name="T4" fmla="*/ 3 w 6"/>
              <a:gd name="T5" fmla="*/ 1 h 7"/>
              <a:gd name="T6" fmla="*/ 1 w 6"/>
              <a:gd name="T7" fmla="*/ 0 h 7"/>
              <a:gd name="T8" fmla="*/ 0 w 6"/>
              <a:gd name="T9" fmla="*/ 0 h 7"/>
              <a:gd name="T10" fmla="*/ 2 w 6"/>
              <a:gd name="T11" fmla="*/ 4 h 7"/>
              <a:gd name="T12" fmla="*/ 4 w 6"/>
              <a:gd name="T13" fmla="*/ 7 h 7"/>
              <a:gd name="T14" fmla="*/ 6 w 6"/>
              <a:gd name="T15" fmla="*/ 7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" h="7">
                <a:moveTo>
                  <a:pt x="6" y="7"/>
                </a:moveTo>
                <a:lnTo>
                  <a:pt x="6" y="6"/>
                </a:lnTo>
                <a:lnTo>
                  <a:pt x="3" y="1"/>
                </a:lnTo>
                <a:lnTo>
                  <a:pt x="1" y="0"/>
                </a:lnTo>
                <a:lnTo>
                  <a:pt x="0" y="0"/>
                </a:lnTo>
                <a:lnTo>
                  <a:pt x="2" y="4"/>
                </a:lnTo>
                <a:lnTo>
                  <a:pt x="4" y="7"/>
                </a:lnTo>
                <a:lnTo>
                  <a:pt x="6" y="7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2" name="Freeform 131"/>
          <p:cNvSpPr>
            <a:spLocks/>
          </p:cNvSpPr>
          <p:nvPr/>
        </p:nvSpPr>
        <p:spPr bwMode="auto">
          <a:xfrm>
            <a:off x="5713413" y="2800316"/>
            <a:ext cx="20638" cy="12700"/>
          </a:xfrm>
          <a:custGeom>
            <a:avLst/>
            <a:gdLst>
              <a:gd name="T0" fmla="*/ 13 w 13"/>
              <a:gd name="T1" fmla="*/ 1 h 8"/>
              <a:gd name="T2" fmla="*/ 12 w 13"/>
              <a:gd name="T3" fmla="*/ 0 h 8"/>
              <a:gd name="T4" fmla="*/ 7 w 13"/>
              <a:gd name="T5" fmla="*/ 1 h 8"/>
              <a:gd name="T6" fmla="*/ 6 w 13"/>
              <a:gd name="T7" fmla="*/ 3 h 8"/>
              <a:gd name="T8" fmla="*/ 3 w 13"/>
              <a:gd name="T9" fmla="*/ 5 h 8"/>
              <a:gd name="T10" fmla="*/ 0 w 13"/>
              <a:gd name="T11" fmla="*/ 7 h 8"/>
              <a:gd name="T12" fmla="*/ 0 w 13"/>
              <a:gd name="T13" fmla="*/ 8 h 8"/>
              <a:gd name="T14" fmla="*/ 8 w 13"/>
              <a:gd name="T15" fmla="*/ 7 h 8"/>
              <a:gd name="T16" fmla="*/ 13 w 13"/>
              <a:gd name="T17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" h="8">
                <a:moveTo>
                  <a:pt x="13" y="1"/>
                </a:moveTo>
                <a:lnTo>
                  <a:pt x="12" y="0"/>
                </a:lnTo>
                <a:lnTo>
                  <a:pt x="7" y="1"/>
                </a:lnTo>
                <a:lnTo>
                  <a:pt x="6" y="3"/>
                </a:lnTo>
                <a:lnTo>
                  <a:pt x="3" y="5"/>
                </a:lnTo>
                <a:lnTo>
                  <a:pt x="0" y="7"/>
                </a:lnTo>
                <a:lnTo>
                  <a:pt x="0" y="8"/>
                </a:lnTo>
                <a:lnTo>
                  <a:pt x="8" y="7"/>
                </a:lnTo>
                <a:lnTo>
                  <a:pt x="13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3" name="Freeform 132"/>
          <p:cNvSpPr>
            <a:spLocks/>
          </p:cNvSpPr>
          <p:nvPr/>
        </p:nvSpPr>
        <p:spPr bwMode="auto">
          <a:xfrm>
            <a:off x="5713413" y="2800316"/>
            <a:ext cx="20638" cy="12700"/>
          </a:xfrm>
          <a:custGeom>
            <a:avLst/>
            <a:gdLst>
              <a:gd name="T0" fmla="*/ 13 w 13"/>
              <a:gd name="T1" fmla="*/ 1 h 8"/>
              <a:gd name="T2" fmla="*/ 12 w 13"/>
              <a:gd name="T3" fmla="*/ 0 h 8"/>
              <a:gd name="T4" fmla="*/ 7 w 13"/>
              <a:gd name="T5" fmla="*/ 1 h 8"/>
              <a:gd name="T6" fmla="*/ 6 w 13"/>
              <a:gd name="T7" fmla="*/ 3 h 8"/>
              <a:gd name="T8" fmla="*/ 3 w 13"/>
              <a:gd name="T9" fmla="*/ 5 h 8"/>
              <a:gd name="T10" fmla="*/ 0 w 13"/>
              <a:gd name="T11" fmla="*/ 7 h 8"/>
              <a:gd name="T12" fmla="*/ 0 w 13"/>
              <a:gd name="T13" fmla="*/ 8 h 8"/>
              <a:gd name="T14" fmla="*/ 8 w 13"/>
              <a:gd name="T15" fmla="*/ 7 h 8"/>
              <a:gd name="T16" fmla="*/ 13 w 13"/>
              <a:gd name="T17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3" h="8">
                <a:moveTo>
                  <a:pt x="13" y="1"/>
                </a:moveTo>
                <a:lnTo>
                  <a:pt x="12" y="0"/>
                </a:lnTo>
                <a:lnTo>
                  <a:pt x="7" y="1"/>
                </a:lnTo>
                <a:lnTo>
                  <a:pt x="6" y="3"/>
                </a:lnTo>
                <a:lnTo>
                  <a:pt x="3" y="5"/>
                </a:lnTo>
                <a:lnTo>
                  <a:pt x="0" y="7"/>
                </a:lnTo>
                <a:lnTo>
                  <a:pt x="0" y="8"/>
                </a:lnTo>
                <a:lnTo>
                  <a:pt x="8" y="7"/>
                </a:lnTo>
                <a:lnTo>
                  <a:pt x="13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4" name="Freeform 133"/>
          <p:cNvSpPr>
            <a:spLocks/>
          </p:cNvSpPr>
          <p:nvPr/>
        </p:nvSpPr>
        <p:spPr bwMode="auto">
          <a:xfrm>
            <a:off x="5813426" y="2981291"/>
            <a:ext cx="7938" cy="12700"/>
          </a:xfrm>
          <a:custGeom>
            <a:avLst/>
            <a:gdLst>
              <a:gd name="T0" fmla="*/ 0 w 5"/>
              <a:gd name="T1" fmla="*/ 8 h 8"/>
              <a:gd name="T2" fmla="*/ 0 w 5"/>
              <a:gd name="T3" fmla="*/ 8 h 8"/>
              <a:gd name="T4" fmla="*/ 2 w 5"/>
              <a:gd name="T5" fmla="*/ 7 h 8"/>
              <a:gd name="T6" fmla="*/ 3 w 5"/>
              <a:gd name="T7" fmla="*/ 6 h 8"/>
              <a:gd name="T8" fmla="*/ 3 w 5"/>
              <a:gd name="T9" fmla="*/ 6 h 8"/>
              <a:gd name="T10" fmla="*/ 3 w 5"/>
              <a:gd name="T11" fmla="*/ 5 h 8"/>
              <a:gd name="T12" fmla="*/ 5 w 5"/>
              <a:gd name="T13" fmla="*/ 2 h 8"/>
              <a:gd name="T14" fmla="*/ 5 w 5"/>
              <a:gd name="T15" fmla="*/ 2 h 8"/>
              <a:gd name="T16" fmla="*/ 4 w 5"/>
              <a:gd name="T17" fmla="*/ 1 h 8"/>
              <a:gd name="T18" fmla="*/ 4 w 5"/>
              <a:gd name="T19" fmla="*/ 0 h 8"/>
              <a:gd name="T20" fmla="*/ 4 w 5"/>
              <a:gd name="T21" fmla="*/ 0 h 8"/>
              <a:gd name="T22" fmla="*/ 3 w 5"/>
              <a:gd name="T23" fmla="*/ 0 h 8"/>
              <a:gd name="T24" fmla="*/ 2 w 5"/>
              <a:gd name="T25" fmla="*/ 2 h 8"/>
              <a:gd name="T26" fmla="*/ 2 w 5"/>
              <a:gd name="T27" fmla="*/ 4 h 8"/>
              <a:gd name="T28" fmla="*/ 0 w 5"/>
              <a:gd name="T29" fmla="*/ 5 h 8"/>
              <a:gd name="T30" fmla="*/ 0 w 5"/>
              <a:gd name="T31" fmla="*/ 6 h 8"/>
              <a:gd name="T32" fmla="*/ 0 w 5"/>
              <a:gd name="T33" fmla="*/ 7 h 8"/>
              <a:gd name="T34" fmla="*/ 0 w 5"/>
              <a:gd name="T35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" h="8">
                <a:moveTo>
                  <a:pt x="0" y="8"/>
                </a:moveTo>
                <a:lnTo>
                  <a:pt x="0" y="8"/>
                </a:lnTo>
                <a:lnTo>
                  <a:pt x="2" y="7"/>
                </a:lnTo>
                <a:lnTo>
                  <a:pt x="3" y="6"/>
                </a:lnTo>
                <a:lnTo>
                  <a:pt x="3" y="6"/>
                </a:lnTo>
                <a:lnTo>
                  <a:pt x="3" y="5"/>
                </a:lnTo>
                <a:lnTo>
                  <a:pt x="5" y="2"/>
                </a:lnTo>
                <a:lnTo>
                  <a:pt x="5" y="2"/>
                </a:lnTo>
                <a:lnTo>
                  <a:pt x="4" y="1"/>
                </a:lnTo>
                <a:lnTo>
                  <a:pt x="4" y="0"/>
                </a:lnTo>
                <a:lnTo>
                  <a:pt x="4" y="0"/>
                </a:lnTo>
                <a:lnTo>
                  <a:pt x="3" y="0"/>
                </a:lnTo>
                <a:lnTo>
                  <a:pt x="2" y="2"/>
                </a:lnTo>
                <a:lnTo>
                  <a:pt x="2" y="4"/>
                </a:lnTo>
                <a:lnTo>
                  <a:pt x="0" y="5"/>
                </a:lnTo>
                <a:lnTo>
                  <a:pt x="0" y="6"/>
                </a:lnTo>
                <a:lnTo>
                  <a:pt x="0" y="7"/>
                </a:lnTo>
                <a:lnTo>
                  <a:pt x="0" y="8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5" name="Freeform 134"/>
          <p:cNvSpPr>
            <a:spLocks/>
          </p:cNvSpPr>
          <p:nvPr/>
        </p:nvSpPr>
        <p:spPr bwMode="auto">
          <a:xfrm>
            <a:off x="5813426" y="2981291"/>
            <a:ext cx="7938" cy="12700"/>
          </a:xfrm>
          <a:custGeom>
            <a:avLst/>
            <a:gdLst>
              <a:gd name="T0" fmla="*/ 0 w 5"/>
              <a:gd name="T1" fmla="*/ 8 h 8"/>
              <a:gd name="T2" fmla="*/ 0 w 5"/>
              <a:gd name="T3" fmla="*/ 8 h 8"/>
              <a:gd name="T4" fmla="*/ 2 w 5"/>
              <a:gd name="T5" fmla="*/ 7 h 8"/>
              <a:gd name="T6" fmla="*/ 3 w 5"/>
              <a:gd name="T7" fmla="*/ 6 h 8"/>
              <a:gd name="T8" fmla="*/ 3 w 5"/>
              <a:gd name="T9" fmla="*/ 6 h 8"/>
              <a:gd name="T10" fmla="*/ 3 w 5"/>
              <a:gd name="T11" fmla="*/ 5 h 8"/>
              <a:gd name="T12" fmla="*/ 5 w 5"/>
              <a:gd name="T13" fmla="*/ 2 h 8"/>
              <a:gd name="T14" fmla="*/ 5 w 5"/>
              <a:gd name="T15" fmla="*/ 2 h 8"/>
              <a:gd name="T16" fmla="*/ 4 w 5"/>
              <a:gd name="T17" fmla="*/ 1 h 8"/>
              <a:gd name="T18" fmla="*/ 4 w 5"/>
              <a:gd name="T19" fmla="*/ 0 h 8"/>
              <a:gd name="T20" fmla="*/ 4 w 5"/>
              <a:gd name="T21" fmla="*/ 0 h 8"/>
              <a:gd name="T22" fmla="*/ 3 w 5"/>
              <a:gd name="T23" fmla="*/ 0 h 8"/>
              <a:gd name="T24" fmla="*/ 2 w 5"/>
              <a:gd name="T25" fmla="*/ 2 h 8"/>
              <a:gd name="T26" fmla="*/ 2 w 5"/>
              <a:gd name="T27" fmla="*/ 4 h 8"/>
              <a:gd name="T28" fmla="*/ 0 w 5"/>
              <a:gd name="T29" fmla="*/ 5 h 8"/>
              <a:gd name="T30" fmla="*/ 0 w 5"/>
              <a:gd name="T31" fmla="*/ 6 h 8"/>
              <a:gd name="T32" fmla="*/ 0 w 5"/>
              <a:gd name="T33" fmla="*/ 7 h 8"/>
              <a:gd name="T34" fmla="*/ 0 w 5"/>
              <a:gd name="T35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" h="8">
                <a:moveTo>
                  <a:pt x="0" y="8"/>
                </a:moveTo>
                <a:lnTo>
                  <a:pt x="0" y="8"/>
                </a:lnTo>
                <a:lnTo>
                  <a:pt x="2" y="7"/>
                </a:lnTo>
                <a:lnTo>
                  <a:pt x="3" y="6"/>
                </a:lnTo>
                <a:lnTo>
                  <a:pt x="3" y="6"/>
                </a:lnTo>
                <a:lnTo>
                  <a:pt x="3" y="5"/>
                </a:lnTo>
                <a:lnTo>
                  <a:pt x="5" y="2"/>
                </a:lnTo>
                <a:lnTo>
                  <a:pt x="5" y="2"/>
                </a:lnTo>
                <a:lnTo>
                  <a:pt x="4" y="1"/>
                </a:lnTo>
                <a:lnTo>
                  <a:pt x="4" y="0"/>
                </a:lnTo>
                <a:lnTo>
                  <a:pt x="4" y="0"/>
                </a:lnTo>
                <a:lnTo>
                  <a:pt x="3" y="0"/>
                </a:lnTo>
                <a:lnTo>
                  <a:pt x="2" y="2"/>
                </a:lnTo>
                <a:lnTo>
                  <a:pt x="2" y="4"/>
                </a:lnTo>
                <a:lnTo>
                  <a:pt x="0" y="5"/>
                </a:lnTo>
                <a:lnTo>
                  <a:pt x="0" y="6"/>
                </a:lnTo>
                <a:lnTo>
                  <a:pt x="0" y="7"/>
                </a:lnTo>
                <a:lnTo>
                  <a:pt x="0" y="8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6" name="Freeform 135"/>
          <p:cNvSpPr>
            <a:spLocks/>
          </p:cNvSpPr>
          <p:nvPr/>
        </p:nvSpPr>
        <p:spPr bwMode="auto">
          <a:xfrm>
            <a:off x="6691313" y="3187666"/>
            <a:ext cx="6350" cy="58738"/>
          </a:xfrm>
          <a:custGeom>
            <a:avLst/>
            <a:gdLst>
              <a:gd name="T0" fmla="*/ 3 w 4"/>
              <a:gd name="T1" fmla="*/ 0 h 37"/>
              <a:gd name="T2" fmla="*/ 3 w 4"/>
              <a:gd name="T3" fmla="*/ 1 h 37"/>
              <a:gd name="T4" fmla="*/ 2 w 4"/>
              <a:gd name="T5" fmla="*/ 8 h 37"/>
              <a:gd name="T6" fmla="*/ 1 w 4"/>
              <a:gd name="T7" fmla="*/ 19 h 37"/>
              <a:gd name="T8" fmla="*/ 2 w 4"/>
              <a:gd name="T9" fmla="*/ 23 h 37"/>
              <a:gd name="T10" fmla="*/ 1 w 4"/>
              <a:gd name="T11" fmla="*/ 26 h 37"/>
              <a:gd name="T12" fmla="*/ 0 w 4"/>
              <a:gd name="T13" fmla="*/ 30 h 37"/>
              <a:gd name="T14" fmla="*/ 1 w 4"/>
              <a:gd name="T15" fmla="*/ 35 h 37"/>
              <a:gd name="T16" fmla="*/ 2 w 4"/>
              <a:gd name="T17" fmla="*/ 37 h 37"/>
              <a:gd name="T18" fmla="*/ 3 w 4"/>
              <a:gd name="T19" fmla="*/ 36 h 37"/>
              <a:gd name="T20" fmla="*/ 3 w 4"/>
              <a:gd name="T21" fmla="*/ 33 h 37"/>
              <a:gd name="T22" fmla="*/ 3 w 4"/>
              <a:gd name="T23" fmla="*/ 27 h 37"/>
              <a:gd name="T24" fmla="*/ 4 w 4"/>
              <a:gd name="T25" fmla="*/ 23 h 37"/>
              <a:gd name="T26" fmla="*/ 3 w 4"/>
              <a:gd name="T27" fmla="*/ 21 h 37"/>
              <a:gd name="T28" fmla="*/ 4 w 4"/>
              <a:gd name="T29" fmla="*/ 18 h 37"/>
              <a:gd name="T30" fmla="*/ 4 w 4"/>
              <a:gd name="T31" fmla="*/ 13 h 37"/>
              <a:gd name="T32" fmla="*/ 3 w 4"/>
              <a:gd name="T33" fmla="*/ 11 h 37"/>
              <a:gd name="T34" fmla="*/ 3 w 4"/>
              <a:gd name="T35" fmla="*/ 9 h 37"/>
              <a:gd name="T36" fmla="*/ 4 w 4"/>
              <a:gd name="T37" fmla="*/ 8 h 37"/>
              <a:gd name="T38" fmla="*/ 4 w 4"/>
              <a:gd name="T39" fmla="*/ 0 h 37"/>
              <a:gd name="T40" fmla="*/ 3 w 4"/>
              <a:gd name="T41" fmla="*/ 0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" h="37">
                <a:moveTo>
                  <a:pt x="3" y="0"/>
                </a:moveTo>
                <a:lnTo>
                  <a:pt x="3" y="1"/>
                </a:lnTo>
                <a:lnTo>
                  <a:pt x="2" y="8"/>
                </a:lnTo>
                <a:lnTo>
                  <a:pt x="1" y="19"/>
                </a:lnTo>
                <a:lnTo>
                  <a:pt x="2" y="23"/>
                </a:lnTo>
                <a:lnTo>
                  <a:pt x="1" y="26"/>
                </a:lnTo>
                <a:lnTo>
                  <a:pt x="0" y="30"/>
                </a:lnTo>
                <a:lnTo>
                  <a:pt x="1" y="35"/>
                </a:lnTo>
                <a:lnTo>
                  <a:pt x="2" y="37"/>
                </a:lnTo>
                <a:lnTo>
                  <a:pt x="3" y="36"/>
                </a:lnTo>
                <a:lnTo>
                  <a:pt x="3" y="33"/>
                </a:lnTo>
                <a:lnTo>
                  <a:pt x="3" y="27"/>
                </a:lnTo>
                <a:lnTo>
                  <a:pt x="4" y="23"/>
                </a:lnTo>
                <a:lnTo>
                  <a:pt x="3" y="21"/>
                </a:lnTo>
                <a:lnTo>
                  <a:pt x="4" y="18"/>
                </a:lnTo>
                <a:lnTo>
                  <a:pt x="4" y="13"/>
                </a:lnTo>
                <a:lnTo>
                  <a:pt x="3" y="11"/>
                </a:lnTo>
                <a:lnTo>
                  <a:pt x="3" y="9"/>
                </a:lnTo>
                <a:lnTo>
                  <a:pt x="4" y="8"/>
                </a:lnTo>
                <a:lnTo>
                  <a:pt x="4" y="0"/>
                </a:lnTo>
                <a:lnTo>
                  <a:pt x="3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7" name="Freeform 136"/>
          <p:cNvSpPr>
            <a:spLocks/>
          </p:cNvSpPr>
          <p:nvPr/>
        </p:nvSpPr>
        <p:spPr bwMode="auto">
          <a:xfrm>
            <a:off x="6691313" y="3187666"/>
            <a:ext cx="6350" cy="58738"/>
          </a:xfrm>
          <a:custGeom>
            <a:avLst/>
            <a:gdLst>
              <a:gd name="T0" fmla="*/ 3 w 4"/>
              <a:gd name="T1" fmla="*/ 0 h 37"/>
              <a:gd name="T2" fmla="*/ 3 w 4"/>
              <a:gd name="T3" fmla="*/ 1 h 37"/>
              <a:gd name="T4" fmla="*/ 2 w 4"/>
              <a:gd name="T5" fmla="*/ 8 h 37"/>
              <a:gd name="T6" fmla="*/ 1 w 4"/>
              <a:gd name="T7" fmla="*/ 19 h 37"/>
              <a:gd name="T8" fmla="*/ 2 w 4"/>
              <a:gd name="T9" fmla="*/ 23 h 37"/>
              <a:gd name="T10" fmla="*/ 1 w 4"/>
              <a:gd name="T11" fmla="*/ 26 h 37"/>
              <a:gd name="T12" fmla="*/ 0 w 4"/>
              <a:gd name="T13" fmla="*/ 30 h 37"/>
              <a:gd name="T14" fmla="*/ 1 w 4"/>
              <a:gd name="T15" fmla="*/ 35 h 37"/>
              <a:gd name="T16" fmla="*/ 2 w 4"/>
              <a:gd name="T17" fmla="*/ 37 h 37"/>
              <a:gd name="T18" fmla="*/ 3 w 4"/>
              <a:gd name="T19" fmla="*/ 36 h 37"/>
              <a:gd name="T20" fmla="*/ 3 w 4"/>
              <a:gd name="T21" fmla="*/ 33 h 37"/>
              <a:gd name="T22" fmla="*/ 3 w 4"/>
              <a:gd name="T23" fmla="*/ 27 h 37"/>
              <a:gd name="T24" fmla="*/ 4 w 4"/>
              <a:gd name="T25" fmla="*/ 23 h 37"/>
              <a:gd name="T26" fmla="*/ 3 w 4"/>
              <a:gd name="T27" fmla="*/ 21 h 37"/>
              <a:gd name="T28" fmla="*/ 4 w 4"/>
              <a:gd name="T29" fmla="*/ 18 h 37"/>
              <a:gd name="T30" fmla="*/ 4 w 4"/>
              <a:gd name="T31" fmla="*/ 13 h 37"/>
              <a:gd name="T32" fmla="*/ 3 w 4"/>
              <a:gd name="T33" fmla="*/ 11 h 37"/>
              <a:gd name="T34" fmla="*/ 3 w 4"/>
              <a:gd name="T35" fmla="*/ 9 h 37"/>
              <a:gd name="T36" fmla="*/ 4 w 4"/>
              <a:gd name="T37" fmla="*/ 8 h 37"/>
              <a:gd name="T38" fmla="*/ 4 w 4"/>
              <a:gd name="T39" fmla="*/ 0 h 37"/>
              <a:gd name="T40" fmla="*/ 3 w 4"/>
              <a:gd name="T41" fmla="*/ 0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" h="37">
                <a:moveTo>
                  <a:pt x="3" y="0"/>
                </a:moveTo>
                <a:lnTo>
                  <a:pt x="3" y="1"/>
                </a:lnTo>
                <a:lnTo>
                  <a:pt x="2" y="8"/>
                </a:lnTo>
                <a:lnTo>
                  <a:pt x="1" y="19"/>
                </a:lnTo>
                <a:lnTo>
                  <a:pt x="2" y="23"/>
                </a:lnTo>
                <a:lnTo>
                  <a:pt x="1" y="26"/>
                </a:lnTo>
                <a:lnTo>
                  <a:pt x="0" y="30"/>
                </a:lnTo>
                <a:lnTo>
                  <a:pt x="1" y="35"/>
                </a:lnTo>
                <a:lnTo>
                  <a:pt x="2" y="37"/>
                </a:lnTo>
                <a:lnTo>
                  <a:pt x="3" y="36"/>
                </a:lnTo>
                <a:lnTo>
                  <a:pt x="3" y="33"/>
                </a:lnTo>
                <a:lnTo>
                  <a:pt x="3" y="27"/>
                </a:lnTo>
                <a:lnTo>
                  <a:pt x="4" y="23"/>
                </a:lnTo>
                <a:lnTo>
                  <a:pt x="3" y="21"/>
                </a:lnTo>
                <a:lnTo>
                  <a:pt x="4" y="18"/>
                </a:lnTo>
                <a:lnTo>
                  <a:pt x="4" y="13"/>
                </a:lnTo>
                <a:lnTo>
                  <a:pt x="3" y="11"/>
                </a:lnTo>
                <a:lnTo>
                  <a:pt x="3" y="9"/>
                </a:lnTo>
                <a:lnTo>
                  <a:pt x="4" y="8"/>
                </a:lnTo>
                <a:lnTo>
                  <a:pt x="4" y="0"/>
                </a:lnTo>
                <a:lnTo>
                  <a:pt x="3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8" name="Freeform 137"/>
          <p:cNvSpPr>
            <a:spLocks/>
          </p:cNvSpPr>
          <p:nvPr/>
        </p:nvSpPr>
        <p:spPr bwMode="auto">
          <a:xfrm>
            <a:off x="6727826" y="3367053"/>
            <a:ext cx="6350" cy="14288"/>
          </a:xfrm>
          <a:custGeom>
            <a:avLst/>
            <a:gdLst>
              <a:gd name="T0" fmla="*/ 4 w 4"/>
              <a:gd name="T1" fmla="*/ 0 h 9"/>
              <a:gd name="T2" fmla="*/ 1 w 4"/>
              <a:gd name="T3" fmla="*/ 0 h 9"/>
              <a:gd name="T4" fmla="*/ 0 w 4"/>
              <a:gd name="T5" fmla="*/ 3 h 9"/>
              <a:gd name="T6" fmla="*/ 0 w 4"/>
              <a:gd name="T7" fmla="*/ 5 h 9"/>
              <a:gd name="T8" fmla="*/ 2 w 4"/>
              <a:gd name="T9" fmla="*/ 9 h 9"/>
              <a:gd name="T10" fmla="*/ 4 w 4"/>
              <a:gd name="T11" fmla="*/ 7 h 9"/>
              <a:gd name="T12" fmla="*/ 4 w 4"/>
              <a:gd name="T13" fmla="*/ 3 h 9"/>
              <a:gd name="T14" fmla="*/ 4 w 4"/>
              <a:gd name="T15" fmla="*/ 0 h 9"/>
              <a:gd name="T16" fmla="*/ 4 w 4"/>
              <a:gd name="T17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9">
                <a:moveTo>
                  <a:pt x="4" y="0"/>
                </a:moveTo>
                <a:lnTo>
                  <a:pt x="1" y="0"/>
                </a:lnTo>
                <a:lnTo>
                  <a:pt x="0" y="3"/>
                </a:lnTo>
                <a:lnTo>
                  <a:pt x="0" y="5"/>
                </a:lnTo>
                <a:lnTo>
                  <a:pt x="2" y="9"/>
                </a:lnTo>
                <a:lnTo>
                  <a:pt x="4" y="7"/>
                </a:lnTo>
                <a:lnTo>
                  <a:pt x="4" y="3"/>
                </a:lnTo>
                <a:lnTo>
                  <a:pt x="4" y="0"/>
                </a:lnTo>
                <a:lnTo>
                  <a:pt x="4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9" name="Freeform 138"/>
          <p:cNvSpPr>
            <a:spLocks/>
          </p:cNvSpPr>
          <p:nvPr/>
        </p:nvSpPr>
        <p:spPr bwMode="auto">
          <a:xfrm>
            <a:off x="6727826" y="3367053"/>
            <a:ext cx="6350" cy="14288"/>
          </a:xfrm>
          <a:custGeom>
            <a:avLst/>
            <a:gdLst>
              <a:gd name="T0" fmla="*/ 4 w 4"/>
              <a:gd name="T1" fmla="*/ 0 h 9"/>
              <a:gd name="T2" fmla="*/ 1 w 4"/>
              <a:gd name="T3" fmla="*/ 0 h 9"/>
              <a:gd name="T4" fmla="*/ 0 w 4"/>
              <a:gd name="T5" fmla="*/ 3 h 9"/>
              <a:gd name="T6" fmla="*/ 0 w 4"/>
              <a:gd name="T7" fmla="*/ 5 h 9"/>
              <a:gd name="T8" fmla="*/ 2 w 4"/>
              <a:gd name="T9" fmla="*/ 9 h 9"/>
              <a:gd name="T10" fmla="*/ 4 w 4"/>
              <a:gd name="T11" fmla="*/ 7 h 9"/>
              <a:gd name="T12" fmla="*/ 4 w 4"/>
              <a:gd name="T13" fmla="*/ 3 h 9"/>
              <a:gd name="T14" fmla="*/ 4 w 4"/>
              <a:gd name="T15" fmla="*/ 0 h 9"/>
              <a:gd name="T16" fmla="*/ 4 w 4"/>
              <a:gd name="T17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9">
                <a:moveTo>
                  <a:pt x="4" y="0"/>
                </a:moveTo>
                <a:lnTo>
                  <a:pt x="1" y="0"/>
                </a:lnTo>
                <a:lnTo>
                  <a:pt x="0" y="3"/>
                </a:lnTo>
                <a:lnTo>
                  <a:pt x="0" y="5"/>
                </a:lnTo>
                <a:lnTo>
                  <a:pt x="2" y="9"/>
                </a:lnTo>
                <a:lnTo>
                  <a:pt x="4" y="7"/>
                </a:lnTo>
                <a:lnTo>
                  <a:pt x="4" y="3"/>
                </a:lnTo>
                <a:lnTo>
                  <a:pt x="4" y="0"/>
                </a:lnTo>
                <a:lnTo>
                  <a:pt x="4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0" name="Freeform 139"/>
          <p:cNvSpPr>
            <a:spLocks/>
          </p:cNvSpPr>
          <p:nvPr/>
        </p:nvSpPr>
        <p:spPr bwMode="auto">
          <a:xfrm>
            <a:off x="6981826" y="3276566"/>
            <a:ext cx="4763" cy="9525"/>
          </a:xfrm>
          <a:custGeom>
            <a:avLst/>
            <a:gdLst>
              <a:gd name="T0" fmla="*/ 1 w 3"/>
              <a:gd name="T1" fmla="*/ 0 h 6"/>
              <a:gd name="T2" fmla="*/ 3 w 3"/>
              <a:gd name="T3" fmla="*/ 2 h 6"/>
              <a:gd name="T4" fmla="*/ 3 w 3"/>
              <a:gd name="T5" fmla="*/ 4 h 6"/>
              <a:gd name="T6" fmla="*/ 3 w 3"/>
              <a:gd name="T7" fmla="*/ 6 h 6"/>
              <a:gd name="T8" fmla="*/ 1 w 3"/>
              <a:gd name="T9" fmla="*/ 4 h 6"/>
              <a:gd name="T10" fmla="*/ 1 w 3"/>
              <a:gd name="T11" fmla="*/ 2 h 6"/>
              <a:gd name="T12" fmla="*/ 0 w 3"/>
              <a:gd name="T13" fmla="*/ 1 h 6"/>
              <a:gd name="T14" fmla="*/ 1 w 3"/>
              <a:gd name="T15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6">
                <a:moveTo>
                  <a:pt x="1" y="0"/>
                </a:moveTo>
                <a:lnTo>
                  <a:pt x="3" y="2"/>
                </a:lnTo>
                <a:lnTo>
                  <a:pt x="3" y="4"/>
                </a:lnTo>
                <a:lnTo>
                  <a:pt x="3" y="6"/>
                </a:lnTo>
                <a:lnTo>
                  <a:pt x="1" y="4"/>
                </a:lnTo>
                <a:lnTo>
                  <a:pt x="1" y="2"/>
                </a:lnTo>
                <a:lnTo>
                  <a:pt x="0" y="1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1" name="Freeform 140"/>
          <p:cNvSpPr>
            <a:spLocks/>
          </p:cNvSpPr>
          <p:nvPr/>
        </p:nvSpPr>
        <p:spPr bwMode="auto">
          <a:xfrm>
            <a:off x="6981826" y="3276566"/>
            <a:ext cx="4763" cy="9525"/>
          </a:xfrm>
          <a:custGeom>
            <a:avLst/>
            <a:gdLst>
              <a:gd name="T0" fmla="*/ 1 w 3"/>
              <a:gd name="T1" fmla="*/ 0 h 6"/>
              <a:gd name="T2" fmla="*/ 3 w 3"/>
              <a:gd name="T3" fmla="*/ 2 h 6"/>
              <a:gd name="T4" fmla="*/ 3 w 3"/>
              <a:gd name="T5" fmla="*/ 4 h 6"/>
              <a:gd name="T6" fmla="*/ 3 w 3"/>
              <a:gd name="T7" fmla="*/ 6 h 6"/>
              <a:gd name="T8" fmla="*/ 1 w 3"/>
              <a:gd name="T9" fmla="*/ 4 h 6"/>
              <a:gd name="T10" fmla="*/ 1 w 3"/>
              <a:gd name="T11" fmla="*/ 2 h 6"/>
              <a:gd name="T12" fmla="*/ 0 w 3"/>
              <a:gd name="T13" fmla="*/ 1 h 6"/>
              <a:gd name="T14" fmla="*/ 1 w 3"/>
              <a:gd name="T15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6">
                <a:moveTo>
                  <a:pt x="1" y="0"/>
                </a:moveTo>
                <a:lnTo>
                  <a:pt x="3" y="2"/>
                </a:lnTo>
                <a:lnTo>
                  <a:pt x="3" y="4"/>
                </a:lnTo>
                <a:lnTo>
                  <a:pt x="3" y="6"/>
                </a:lnTo>
                <a:lnTo>
                  <a:pt x="1" y="4"/>
                </a:lnTo>
                <a:lnTo>
                  <a:pt x="1" y="2"/>
                </a:lnTo>
                <a:lnTo>
                  <a:pt x="0" y="1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2" name="Freeform 141"/>
          <p:cNvSpPr>
            <a:spLocks/>
          </p:cNvSpPr>
          <p:nvPr/>
        </p:nvSpPr>
        <p:spPr bwMode="auto">
          <a:xfrm>
            <a:off x="7461251" y="2589178"/>
            <a:ext cx="3175" cy="6350"/>
          </a:xfrm>
          <a:custGeom>
            <a:avLst/>
            <a:gdLst>
              <a:gd name="T0" fmla="*/ 1 w 2"/>
              <a:gd name="T1" fmla="*/ 0 h 4"/>
              <a:gd name="T2" fmla="*/ 0 w 2"/>
              <a:gd name="T3" fmla="*/ 2 h 4"/>
              <a:gd name="T4" fmla="*/ 1 w 2"/>
              <a:gd name="T5" fmla="*/ 4 h 4"/>
              <a:gd name="T6" fmla="*/ 2 w 2"/>
              <a:gd name="T7" fmla="*/ 3 h 4"/>
              <a:gd name="T8" fmla="*/ 1 w 2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4">
                <a:moveTo>
                  <a:pt x="1" y="0"/>
                </a:moveTo>
                <a:lnTo>
                  <a:pt x="0" y="2"/>
                </a:lnTo>
                <a:lnTo>
                  <a:pt x="1" y="4"/>
                </a:lnTo>
                <a:lnTo>
                  <a:pt x="2" y="3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3" name="Freeform 142"/>
          <p:cNvSpPr>
            <a:spLocks/>
          </p:cNvSpPr>
          <p:nvPr/>
        </p:nvSpPr>
        <p:spPr bwMode="auto">
          <a:xfrm>
            <a:off x="7461251" y="2589178"/>
            <a:ext cx="3175" cy="6350"/>
          </a:xfrm>
          <a:custGeom>
            <a:avLst/>
            <a:gdLst>
              <a:gd name="T0" fmla="*/ 1 w 2"/>
              <a:gd name="T1" fmla="*/ 0 h 4"/>
              <a:gd name="T2" fmla="*/ 0 w 2"/>
              <a:gd name="T3" fmla="*/ 2 h 4"/>
              <a:gd name="T4" fmla="*/ 1 w 2"/>
              <a:gd name="T5" fmla="*/ 4 h 4"/>
              <a:gd name="T6" fmla="*/ 2 w 2"/>
              <a:gd name="T7" fmla="*/ 3 h 4"/>
              <a:gd name="T8" fmla="*/ 1 w 2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4">
                <a:moveTo>
                  <a:pt x="1" y="0"/>
                </a:moveTo>
                <a:lnTo>
                  <a:pt x="0" y="2"/>
                </a:lnTo>
                <a:lnTo>
                  <a:pt x="1" y="4"/>
                </a:lnTo>
                <a:lnTo>
                  <a:pt x="2" y="3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4" name="Freeform 143"/>
          <p:cNvSpPr>
            <a:spLocks/>
          </p:cNvSpPr>
          <p:nvPr/>
        </p:nvSpPr>
        <p:spPr bwMode="auto">
          <a:xfrm>
            <a:off x="7461251" y="2579653"/>
            <a:ext cx="4763" cy="9525"/>
          </a:xfrm>
          <a:custGeom>
            <a:avLst/>
            <a:gdLst>
              <a:gd name="T0" fmla="*/ 0 w 3"/>
              <a:gd name="T1" fmla="*/ 0 h 6"/>
              <a:gd name="T2" fmla="*/ 1 w 3"/>
              <a:gd name="T3" fmla="*/ 1 h 6"/>
              <a:gd name="T4" fmla="*/ 2 w 3"/>
              <a:gd name="T5" fmla="*/ 4 h 6"/>
              <a:gd name="T6" fmla="*/ 3 w 3"/>
              <a:gd name="T7" fmla="*/ 6 h 6"/>
              <a:gd name="T8" fmla="*/ 1 w 3"/>
              <a:gd name="T9" fmla="*/ 5 h 6"/>
              <a:gd name="T10" fmla="*/ 0 w 3"/>
              <a:gd name="T11" fmla="*/ 1 h 6"/>
              <a:gd name="T12" fmla="*/ 0 w 3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" h="6">
                <a:moveTo>
                  <a:pt x="0" y="0"/>
                </a:moveTo>
                <a:lnTo>
                  <a:pt x="1" y="1"/>
                </a:lnTo>
                <a:lnTo>
                  <a:pt x="2" y="4"/>
                </a:lnTo>
                <a:lnTo>
                  <a:pt x="3" y="6"/>
                </a:lnTo>
                <a:lnTo>
                  <a:pt x="1" y="5"/>
                </a:ln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5" name="Freeform 144"/>
          <p:cNvSpPr>
            <a:spLocks/>
          </p:cNvSpPr>
          <p:nvPr/>
        </p:nvSpPr>
        <p:spPr bwMode="auto">
          <a:xfrm>
            <a:off x="7461251" y="2579653"/>
            <a:ext cx="4763" cy="9525"/>
          </a:xfrm>
          <a:custGeom>
            <a:avLst/>
            <a:gdLst>
              <a:gd name="T0" fmla="*/ 0 w 3"/>
              <a:gd name="T1" fmla="*/ 0 h 6"/>
              <a:gd name="T2" fmla="*/ 1 w 3"/>
              <a:gd name="T3" fmla="*/ 1 h 6"/>
              <a:gd name="T4" fmla="*/ 2 w 3"/>
              <a:gd name="T5" fmla="*/ 4 h 6"/>
              <a:gd name="T6" fmla="*/ 3 w 3"/>
              <a:gd name="T7" fmla="*/ 6 h 6"/>
              <a:gd name="T8" fmla="*/ 1 w 3"/>
              <a:gd name="T9" fmla="*/ 5 h 6"/>
              <a:gd name="T10" fmla="*/ 0 w 3"/>
              <a:gd name="T11" fmla="*/ 1 h 6"/>
              <a:gd name="T12" fmla="*/ 0 w 3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" h="6">
                <a:moveTo>
                  <a:pt x="0" y="0"/>
                </a:moveTo>
                <a:lnTo>
                  <a:pt x="1" y="1"/>
                </a:lnTo>
                <a:lnTo>
                  <a:pt x="2" y="4"/>
                </a:lnTo>
                <a:lnTo>
                  <a:pt x="3" y="6"/>
                </a:lnTo>
                <a:lnTo>
                  <a:pt x="1" y="5"/>
                </a:lnTo>
                <a:lnTo>
                  <a:pt x="0" y="1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6" name="Freeform 145"/>
          <p:cNvSpPr>
            <a:spLocks/>
          </p:cNvSpPr>
          <p:nvPr/>
        </p:nvSpPr>
        <p:spPr bwMode="auto">
          <a:xfrm>
            <a:off x="7458076" y="2495516"/>
            <a:ext cx="1588" cy="1588"/>
          </a:xfrm>
          <a:custGeom>
            <a:avLst/>
            <a:gdLst>
              <a:gd name="T0" fmla="*/ 0 w 1"/>
              <a:gd name="T1" fmla="*/ 0 h 1"/>
              <a:gd name="T2" fmla="*/ 0 w 1"/>
              <a:gd name="T3" fmla="*/ 1 h 1"/>
              <a:gd name="T4" fmla="*/ 0 w 1"/>
              <a:gd name="T5" fmla="*/ 1 h 1"/>
              <a:gd name="T6" fmla="*/ 1 w 1"/>
              <a:gd name="T7" fmla="*/ 1 h 1"/>
              <a:gd name="T8" fmla="*/ 1 w 1"/>
              <a:gd name="T9" fmla="*/ 1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1"/>
                </a:lnTo>
                <a:lnTo>
                  <a:pt x="0" y="1"/>
                </a:lnTo>
                <a:lnTo>
                  <a:pt x="1" y="1"/>
                </a:lnTo>
                <a:lnTo>
                  <a:pt x="1" y="1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7" name="Freeform 146"/>
          <p:cNvSpPr>
            <a:spLocks/>
          </p:cNvSpPr>
          <p:nvPr/>
        </p:nvSpPr>
        <p:spPr bwMode="auto">
          <a:xfrm>
            <a:off x="7458076" y="2495516"/>
            <a:ext cx="1588" cy="1588"/>
          </a:xfrm>
          <a:custGeom>
            <a:avLst/>
            <a:gdLst>
              <a:gd name="T0" fmla="*/ 0 w 1"/>
              <a:gd name="T1" fmla="*/ 0 h 1"/>
              <a:gd name="T2" fmla="*/ 0 w 1"/>
              <a:gd name="T3" fmla="*/ 1 h 1"/>
              <a:gd name="T4" fmla="*/ 0 w 1"/>
              <a:gd name="T5" fmla="*/ 1 h 1"/>
              <a:gd name="T6" fmla="*/ 1 w 1"/>
              <a:gd name="T7" fmla="*/ 1 h 1"/>
              <a:gd name="T8" fmla="*/ 1 w 1"/>
              <a:gd name="T9" fmla="*/ 1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1"/>
                </a:lnTo>
                <a:lnTo>
                  <a:pt x="0" y="1"/>
                </a:lnTo>
                <a:lnTo>
                  <a:pt x="1" y="1"/>
                </a:lnTo>
                <a:lnTo>
                  <a:pt x="1" y="1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8" name="Freeform 147"/>
          <p:cNvSpPr>
            <a:spLocks/>
          </p:cNvSpPr>
          <p:nvPr/>
        </p:nvSpPr>
        <p:spPr bwMode="auto">
          <a:xfrm>
            <a:off x="7400926" y="2612991"/>
            <a:ext cx="15875" cy="9525"/>
          </a:xfrm>
          <a:custGeom>
            <a:avLst/>
            <a:gdLst>
              <a:gd name="T0" fmla="*/ 0 w 10"/>
              <a:gd name="T1" fmla="*/ 1 h 6"/>
              <a:gd name="T2" fmla="*/ 0 w 10"/>
              <a:gd name="T3" fmla="*/ 4 h 6"/>
              <a:gd name="T4" fmla="*/ 0 w 10"/>
              <a:gd name="T5" fmla="*/ 6 h 6"/>
              <a:gd name="T6" fmla="*/ 3 w 10"/>
              <a:gd name="T7" fmla="*/ 6 h 6"/>
              <a:gd name="T8" fmla="*/ 8 w 10"/>
              <a:gd name="T9" fmla="*/ 5 h 6"/>
              <a:gd name="T10" fmla="*/ 10 w 10"/>
              <a:gd name="T11" fmla="*/ 1 h 6"/>
              <a:gd name="T12" fmla="*/ 9 w 10"/>
              <a:gd name="T13" fmla="*/ 0 h 6"/>
              <a:gd name="T14" fmla="*/ 5 w 10"/>
              <a:gd name="T15" fmla="*/ 0 h 6"/>
              <a:gd name="T16" fmla="*/ 0 w 10"/>
              <a:gd name="T17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" h="6">
                <a:moveTo>
                  <a:pt x="0" y="1"/>
                </a:moveTo>
                <a:lnTo>
                  <a:pt x="0" y="4"/>
                </a:lnTo>
                <a:lnTo>
                  <a:pt x="0" y="6"/>
                </a:lnTo>
                <a:lnTo>
                  <a:pt x="3" y="6"/>
                </a:lnTo>
                <a:lnTo>
                  <a:pt x="8" y="5"/>
                </a:lnTo>
                <a:lnTo>
                  <a:pt x="10" y="1"/>
                </a:lnTo>
                <a:lnTo>
                  <a:pt x="9" y="0"/>
                </a:lnTo>
                <a:lnTo>
                  <a:pt x="5" y="0"/>
                </a:lnTo>
                <a:lnTo>
                  <a:pt x="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9" name="Freeform 148"/>
          <p:cNvSpPr>
            <a:spLocks/>
          </p:cNvSpPr>
          <p:nvPr/>
        </p:nvSpPr>
        <p:spPr bwMode="auto">
          <a:xfrm>
            <a:off x="7400926" y="2612991"/>
            <a:ext cx="15875" cy="9525"/>
          </a:xfrm>
          <a:custGeom>
            <a:avLst/>
            <a:gdLst>
              <a:gd name="T0" fmla="*/ 0 w 10"/>
              <a:gd name="T1" fmla="*/ 1 h 6"/>
              <a:gd name="T2" fmla="*/ 0 w 10"/>
              <a:gd name="T3" fmla="*/ 4 h 6"/>
              <a:gd name="T4" fmla="*/ 0 w 10"/>
              <a:gd name="T5" fmla="*/ 6 h 6"/>
              <a:gd name="T6" fmla="*/ 3 w 10"/>
              <a:gd name="T7" fmla="*/ 6 h 6"/>
              <a:gd name="T8" fmla="*/ 8 w 10"/>
              <a:gd name="T9" fmla="*/ 5 h 6"/>
              <a:gd name="T10" fmla="*/ 10 w 10"/>
              <a:gd name="T11" fmla="*/ 1 h 6"/>
              <a:gd name="T12" fmla="*/ 9 w 10"/>
              <a:gd name="T13" fmla="*/ 0 h 6"/>
              <a:gd name="T14" fmla="*/ 5 w 10"/>
              <a:gd name="T15" fmla="*/ 0 h 6"/>
              <a:gd name="T16" fmla="*/ 0 w 10"/>
              <a:gd name="T17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" h="6">
                <a:moveTo>
                  <a:pt x="0" y="1"/>
                </a:moveTo>
                <a:lnTo>
                  <a:pt x="0" y="4"/>
                </a:lnTo>
                <a:lnTo>
                  <a:pt x="0" y="6"/>
                </a:lnTo>
                <a:lnTo>
                  <a:pt x="3" y="6"/>
                </a:lnTo>
                <a:lnTo>
                  <a:pt x="8" y="5"/>
                </a:lnTo>
                <a:lnTo>
                  <a:pt x="10" y="1"/>
                </a:lnTo>
                <a:lnTo>
                  <a:pt x="9" y="0"/>
                </a:lnTo>
                <a:lnTo>
                  <a:pt x="5" y="0"/>
                </a:lnTo>
                <a:lnTo>
                  <a:pt x="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0" name="Freeform 149"/>
          <p:cNvSpPr>
            <a:spLocks/>
          </p:cNvSpPr>
          <p:nvPr/>
        </p:nvSpPr>
        <p:spPr bwMode="auto">
          <a:xfrm>
            <a:off x="7639051" y="3906803"/>
            <a:ext cx="11113" cy="14288"/>
          </a:xfrm>
          <a:custGeom>
            <a:avLst/>
            <a:gdLst>
              <a:gd name="T0" fmla="*/ 1 w 7"/>
              <a:gd name="T1" fmla="*/ 8 h 9"/>
              <a:gd name="T2" fmla="*/ 0 w 7"/>
              <a:gd name="T3" fmla="*/ 9 h 9"/>
              <a:gd name="T4" fmla="*/ 0 w 7"/>
              <a:gd name="T5" fmla="*/ 6 h 9"/>
              <a:gd name="T6" fmla="*/ 0 w 7"/>
              <a:gd name="T7" fmla="*/ 6 h 9"/>
              <a:gd name="T8" fmla="*/ 1 w 7"/>
              <a:gd name="T9" fmla="*/ 2 h 9"/>
              <a:gd name="T10" fmla="*/ 2 w 7"/>
              <a:gd name="T11" fmla="*/ 0 h 9"/>
              <a:gd name="T12" fmla="*/ 3 w 7"/>
              <a:gd name="T13" fmla="*/ 1 h 9"/>
              <a:gd name="T14" fmla="*/ 4 w 7"/>
              <a:gd name="T15" fmla="*/ 3 h 9"/>
              <a:gd name="T16" fmla="*/ 4 w 7"/>
              <a:gd name="T17" fmla="*/ 6 h 9"/>
              <a:gd name="T18" fmla="*/ 7 w 7"/>
              <a:gd name="T19" fmla="*/ 8 h 9"/>
              <a:gd name="T20" fmla="*/ 1 w 7"/>
              <a:gd name="T21" fmla="*/ 8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" h="9">
                <a:moveTo>
                  <a:pt x="1" y="8"/>
                </a:moveTo>
                <a:lnTo>
                  <a:pt x="0" y="9"/>
                </a:lnTo>
                <a:lnTo>
                  <a:pt x="0" y="6"/>
                </a:lnTo>
                <a:lnTo>
                  <a:pt x="0" y="6"/>
                </a:lnTo>
                <a:lnTo>
                  <a:pt x="1" y="2"/>
                </a:lnTo>
                <a:lnTo>
                  <a:pt x="2" y="0"/>
                </a:lnTo>
                <a:lnTo>
                  <a:pt x="3" y="1"/>
                </a:lnTo>
                <a:lnTo>
                  <a:pt x="4" y="3"/>
                </a:lnTo>
                <a:lnTo>
                  <a:pt x="4" y="6"/>
                </a:lnTo>
                <a:lnTo>
                  <a:pt x="7" y="8"/>
                </a:lnTo>
                <a:lnTo>
                  <a:pt x="1" y="8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1" name="Freeform 150"/>
          <p:cNvSpPr>
            <a:spLocks/>
          </p:cNvSpPr>
          <p:nvPr/>
        </p:nvSpPr>
        <p:spPr bwMode="auto">
          <a:xfrm>
            <a:off x="7639051" y="3906803"/>
            <a:ext cx="11113" cy="14288"/>
          </a:xfrm>
          <a:custGeom>
            <a:avLst/>
            <a:gdLst>
              <a:gd name="T0" fmla="*/ 1 w 7"/>
              <a:gd name="T1" fmla="*/ 8 h 9"/>
              <a:gd name="T2" fmla="*/ 0 w 7"/>
              <a:gd name="T3" fmla="*/ 9 h 9"/>
              <a:gd name="T4" fmla="*/ 0 w 7"/>
              <a:gd name="T5" fmla="*/ 6 h 9"/>
              <a:gd name="T6" fmla="*/ 0 w 7"/>
              <a:gd name="T7" fmla="*/ 6 h 9"/>
              <a:gd name="T8" fmla="*/ 1 w 7"/>
              <a:gd name="T9" fmla="*/ 2 h 9"/>
              <a:gd name="T10" fmla="*/ 2 w 7"/>
              <a:gd name="T11" fmla="*/ 0 h 9"/>
              <a:gd name="T12" fmla="*/ 3 w 7"/>
              <a:gd name="T13" fmla="*/ 1 h 9"/>
              <a:gd name="T14" fmla="*/ 4 w 7"/>
              <a:gd name="T15" fmla="*/ 3 h 9"/>
              <a:gd name="T16" fmla="*/ 4 w 7"/>
              <a:gd name="T17" fmla="*/ 6 h 9"/>
              <a:gd name="T18" fmla="*/ 7 w 7"/>
              <a:gd name="T19" fmla="*/ 8 h 9"/>
              <a:gd name="T20" fmla="*/ 1 w 7"/>
              <a:gd name="T21" fmla="*/ 8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" h="9">
                <a:moveTo>
                  <a:pt x="1" y="8"/>
                </a:moveTo>
                <a:lnTo>
                  <a:pt x="0" y="9"/>
                </a:lnTo>
                <a:lnTo>
                  <a:pt x="0" y="6"/>
                </a:lnTo>
                <a:lnTo>
                  <a:pt x="0" y="6"/>
                </a:lnTo>
                <a:lnTo>
                  <a:pt x="1" y="2"/>
                </a:lnTo>
                <a:lnTo>
                  <a:pt x="2" y="0"/>
                </a:lnTo>
                <a:lnTo>
                  <a:pt x="3" y="1"/>
                </a:lnTo>
                <a:lnTo>
                  <a:pt x="4" y="3"/>
                </a:lnTo>
                <a:lnTo>
                  <a:pt x="4" y="6"/>
                </a:lnTo>
                <a:lnTo>
                  <a:pt x="7" y="8"/>
                </a:lnTo>
                <a:lnTo>
                  <a:pt x="1" y="8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2" name="Freeform 151"/>
          <p:cNvSpPr>
            <a:spLocks/>
          </p:cNvSpPr>
          <p:nvPr/>
        </p:nvSpPr>
        <p:spPr bwMode="auto">
          <a:xfrm>
            <a:off x="7646988" y="3903628"/>
            <a:ext cx="26988" cy="17463"/>
          </a:xfrm>
          <a:custGeom>
            <a:avLst/>
            <a:gdLst>
              <a:gd name="T0" fmla="*/ 0 w 17"/>
              <a:gd name="T1" fmla="*/ 0 h 11"/>
              <a:gd name="T2" fmla="*/ 0 w 17"/>
              <a:gd name="T3" fmla="*/ 1 h 11"/>
              <a:gd name="T4" fmla="*/ 3 w 17"/>
              <a:gd name="T5" fmla="*/ 1 h 11"/>
              <a:gd name="T6" fmla="*/ 3 w 17"/>
              <a:gd name="T7" fmla="*/ 2 h 11"/>
              <a:gd name="T8" fmla="*/ 5 w 17"/>
              <a:gd name="T9" fmla="*/ 3 h 11"/>
              <a:gd name="T10" fmla="*/ 9 w 17"/>
              <a:gd name="T11" fmla="*/ 2 h 11"/>
              <a:gd name="T12" fmla="*/ 12 w 17"/>
              <a:gd name="T13" fmla="*/ 2 h 11"/>
              <a:gd name="T14" fmla="*/ 15 w 17"/>
              <a:gd name="T15" fmla="*/ 0 h 11"/>
              <a:gd name="T16" fmla="*/ 16 w 17"/>
              <a:gd name="T17" fmla="*/ 0 h 11"/>
              <a:gd name="T18" fmla="*/ 17 w 17"/>
              <a:gd name="T19" fmla="*/ 2 h 11"/>
              <a:gd name="T20" fmla="*/ 17 w 17"/>
              <a:gd name="T21" fmla="*/ 5 h 11"/>
              <a:gd name="T22" fmla="*/ 15 w 17"/>
              <a:gd name="T23" fmla="*/ 9 h 11"/>
              <a:gd name="T24" fmla="*/ 10 w 17"/>
              <a:gd name="T25" fmla="*/ 11 h 11"/>
              <a:gd name="T26" fmla="*/ 8 w 17"/>
              <a:gd name="T27" fmla="*/ 11 h 11"/>
              <a:gd name="T28" fmla="*/ 6 w 17"/>
              <a:gd name="T29" fmla="*/ 10 h 11"/>
              <a:gd name="T30" fmla="*/ 2 w 17"/>
              <a:gd name="T31" fmla="*/ 6 h 11"/>
              <a:gd name="T32" fmla="*/ 0 w 17"/>
              <a:gd name="T33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7" h="11">
                <a:moveTo>
                  <a:pt x="0" y="0"/>
                </a:moveTo>
                <a:lnTo>
                  <a:pt x="0" y="1"/>
                </a:lnTo>
                <a:lnTo>
                  <a:pt x="3" y="1"/>
                </a:lnTo>
                <a:lnTo>
                  <a:pt x="3" y="2"/>
                </a:lnTo>
                <a:lnTo>
                  <a:pt x="5" y="3"/>
                </a:lnTo>
                <a:lnTo>
                  <a:pt x="9" y="2"/>
                </a:lnTo>
                <a:lnTo>
                  <a:pt x="12" y="2"/>
                </a:lnTo>
                <a:lnTo>
                  <a:pt x="15" y="0"/>
                </a:lnTo>
                <a:lnTo>
                  <a:pt x="16" y="0"/>
                </a:lnTo>
                <a:lnTo>
                  <a:pt x="17" y="2"/>
                </a:lnTo>
                <a:lnTo>
                  <a:pt x="17" y="5"/>
                </a:lnTo>
                <a:lnTo>
                  <a:pt x="15" y="9"/>
                </a:lnTo>
                <a:lnTo>
                  <a:pt x="10" y="11"/>
                </a:lnTo>
                <a:lnTo>
                  <a:pt x="8" y="11"/>
                </a:lnTo>
                <a:lnTo>
                  <a:pt x="6" y="10"/>
                </a:lnTo>
                <a:lnTo>
                  <a:pt x="2" y="6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3" name="Freeform 152"/>
          <p:cNvSpPr>
            <a:spLocks/>
          </p:cNvSpPr>
          <p:nvPr/>
        </p:nvSpPr>
        <p:spPr bwMode="auto">
          <a:xfrm>
            <a:off x="7646988" y="3903628"/>
            <a:ext cx="26988" cy="17463"/>
          </a:xfrm>
          <a:custGeom>
            <a:avLst/>
            <a:gdLst>
              <a:gd name="T0" fmla="*/ 0 w 17"/>
              <a:gd name="T1" fmla="*/ 0 h 11"/>
              <a:gd name="T2" fmla="*/ 0 w 17"/>
              <a:gd name="T3" fmla="*/ 1 h 11"/>
              <a:gd name="T4" fmla="*/ 3 w 17"/>
              <a:gd name="T5" fmla="*/ 1 h 11"/>
              <a:gd name="T6" fmla="*/ 3 w 17"/>
              <a:gd name="T7" fmla="*/ 2 h 11"/>
              <a:gd name="T8" fmla="*/ 5 w 17"/>
              <a:gd name="T9" fmla="*/ 3 h 11"/>
              <a:gd name="T10" fmla="*/ 9 w 17"/>
              <a:gd name="T11" fmla="*/ 2 h 11"/>
              <a:gd name="T12" fmla="*/ 12 w 17"/>
              <a:gd name="T13" fmla="*/ 2 h 11"/>
              <a:gd name="T14" fmla="*/ 15 w 17"/>
              <a:gd name="T15" fmla="*/ 0 h 11"/>
              <a:gd name="T16" fmla="*/ 16 w 17"/>
              <a:gd name="T17" fmla="*/ 0 h 11"/>
              <a:gd name="T18" fmla="*/ 17 w 17"/>
              <a:gd name="T19" fmla="*/ 2 h 11"/>
              <a:gd name="T20" fmla="*/ 17 w 17"/>
              <a:gd name="T21" fmla="*/ 5 h 11"/>
              <a:gd name="T22" fmla="*/ 15 w 17"/>
              <a:gd name="T23" fmla="*/ 9 h 11"/>
              <a:gd name="T24" fmla="*/ 10 w 17"/>
              <a:gd name="T25" fmla="*/ 11 h 11"/>
              <a:gd name="T26" fmla="*/ 8 w 17"/>
              <a:gd name="T27" fmla="*/ 11 h 11"/>
              <a:gd name="T28" fmla="*/ 6 w 17"/>
              <a:gd name="T29" fmla="*/ 10 h 11"/>
              <a:gd name="T30" fmla="*/ 2 w 17"/>
              <a:gd name="T31" fmla="*/ 6 h 11"/>
              <a:gd name="T32" fmla="*/ 0 w 17"/>
              <a:gd name="T33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7" h="11">
                <a:moveTo>
                  <a:pt x="0" y="0"/>
                </a:moveTo>
                <a:lnTo>
                  <a:pt x="0" y="1"/>
                </a:lnTo>
                <a:lnTo>
                  <a:pt x="3" y="1"/>
                </a:lnTo>
                <a:lnTo>
                  <a:pt x="3" y="2"/>
                </a:lnTo>
                <a:lnTo>
                  <a:pt x="5" y="3"/>
                </a:lnTo>
                <a:lnTo>
                  <a:pt x="9" y="2"/>
                </a:lnTo>
                <a:lnTo>
                  <a:pt x="12" y="2"/>
                </a:lnTo>
                <a:lnTo>
                  <a:pt x="15" y="0"/>
                </a:lnTo>
                <a:lnTo>
                  <a:pt x="16" y="0"/>
                </a:lnTo>
                <a:lnTo>
                  <a:pt x="17" y="2"/>
                </a:lnTo>
                <a:lnTo>
                  <a:pt x="17" y="5"/>
                </a:lnTo>
                <a:lnTo>
                  <a:pt x="15" y="9"/>
                </a:lnTo>
                <a:lnTo>
                  <a:pt x="10" y="11"/>
                </a:lnTo>
                <a:lnTo>
                  <a:pt x="8" y="11"/>
                </a:lnTo>
                <a:lnTo>
                  <a:pt x="6" y="10"/>
                </a:lnTo>
                <a:lnTo>
                  <a:pt x="2" y="6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4" name="Freeform 153"/>
          <p:cNvSpPr>
            <a:spLocks/>
          </p:cNvSpPr>
          <p:nvPr/>
        </p:nvSpPr>
        <p:spPr bwMode="auto">
          <a:xfrm>
            <a:off x="7800976" y="3897278"/>
            <a:ext cx="6350" cy="12700"/>
          </a:xfrm>
          <a:custGeom>
            <a:avLst/>
            <a:gdLst>
              <a:gd name="T0" fmla="*/ 1 w 4"/>
              <a:gd name="T1" fmla="*/ 8 h 8"/>
              <a:gd name="T2" fmla="*/ 0 w 4"/>
              <a:gd name="T3" fmla="*/ 8 h 8"/>
              <a:gd name="T4" fmla="*/ 1 w 4"/>
              <a:gd name="T5" fmla="*/ 5 h 8"/>
              <a:gd name="T6" fmla="*/ 3 w 4"/>
              <a:gd name="T7" fmla="*/ 2 h 8"/>
              <a:gd name="T8" fmla="*/ 4 w 4"/>
              <a:gd name="T9" fmla="*/ 0 h 8"/>
              <a:gd name="T10" fmla="*/ 4 w 4"/>
              <a:gd name="T11" fmla="*/ 4 h 8"/>
              <a:gd name="T12" fmla="*/ 2 w 4"/>
              <a:gd name="T13" fmla="*/ 6 h 8"/>
              <a:gd name="T14" fmla="*/ 1 w 4"/>
              <a:gd name="T15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8">
                <a:moveTo>
                  <a:pt x="1" y="8"/>
                </a:moveTo>
                <a:lnTo>
                  <a:pt x="0" y="8"/>
                </a:lnTo>
                <a:lnTo>
                  <a:pt x="1" y="5"/>
                </a:lnTo>
                <a:lnTo>
                  <a:pt x="3" y="2"/>
                </a:lnTo>
                <a:lnTo>
                  <a:pt x="4" y="0"/>
                </a:lnTo>
                <a:lnTo>
                  <a:pt x="4" y="4"/>
                </a:lnTo>
                <a:lnTo>
                  <a:pt x="2" y="6"/>
                </a:lnTo>
                <a:lnTo>
                  <a:pt x="1" y="8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5" name="Freeform 154"/>
          <p:cNvSpPr>
            <a:spLocks/>
          </p:cNvSpPr>
          <p:nvPr/>
        </p:nvSpPr>
        <p:spPr bwMode="auto">
          <a:xfrm>
            <a:off x="7800976" y="3897278"/>
            <a:ext cx="6350" cy="12700"/>
          </a:xfrm>
          <a:custGeom>
            <a:avLst/>
            <a:gdLst>
              <a:gd name="T0" fmla="*/ 1 w 4"/>
              <a:gd name="T1" fmla="*/ 8 h 8"/>
              <a:gd name="T2" fmla="*/ 0 w 4"/>
              <a:gd name="T3" fmla="*/ 8 h 8"/>
              <a:gd name="T4" fmla="*/ 1 w 4"/>
              <a:gd name="T5" fmla="*/ 5 h 8"/>
              <a:gd name="T6" fmla="*/ 3 w 4"/>
              <a:gd name="T7" fmla="*/ 2 h 8"/>
              <a:gd name="T8" fmla="*/ 4 w 4"/>
              <a:gd name="T9" fmla="*/ 0 h 8"/>
              <a:gd name="T10" fmla="*/ 4 w 4"/>
              <a:gd name="T11" fmla="*/ 4 h 8"/>
              <a:gd name="T12" fmla="*/ 2 w 4"/>
              <a:gd name="T13" fmla="*/ 6 h 8"/>
              <a:gd name="T14" fmla="*/ 1 w 4"/>
              <a:gd name="T15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8">
                <a:moveTo>
                  <a:pt x="1" y="8"/>
                </a:moveTo>
                <a:lnTo>
                  <a:pt x="0" y="8"/>
                </a:lnTo>
                <a:lnTo>
                  <a:pt x="1" y="5"/>
                </a:lnTo>
                <a:lnTo>
                  <a:pt x="3" y="2"/>
                </a:lnTo>
                <a:lnTo>
                  <a:pt x="4" y="0"/>
                </a:lnTo>
                <a:lnTo>
                  <a:pt x="4" y="4"/>
                </a:lnTo>
                <a:lnTo>
                  <a:pt x="2" y="6"/>
                </a:lnTo>
                <a:lnTo>
                  <a:pt x="1" y="8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6" name="Freeform 155"/>
          <p:cNvSpPr>
            <a:spLocks/>
          </p:cNvSpPr>
          <p:nvPr/>
        </p:nvSpPr>
        <p:spPr bwMode="auto">
          <a:xfrm>
            <a:off x="7791451" y="3975066"/>
            <a:ext cx="11113" cy="15875"/>
          </a:xfrm>
          <a:custGeom>
            <a:avLst/>
            <a:gdLst>
              <a:gd name="T0" fmla="*/ 2 w 7"/>
              <a:gd name="T1" fmla="*/ 1 h 10"/>
              <a:gd name="T2" fmla="*/ 2 w 7"/>
              <a:gd name="T3" fmla="*/ 1 h 10"/>
              <a:gd name="T4" fmla="*/ 3 w 7"/>
              <a:gd name="T5" fmla="*/ 2 h 10"/>
              <a:gd name="T6" fmla="*/ 4 w 7"/>
              <a:gd name="T7" fmla="*/ 0 h 10"/>
              <a:gd name="T8" fmla="*/ 5 w 7"/>
              <a:gd name="T9" fmla="*/ 2 h 10"/>
              <a:gd name="T10" fmla="*/ 7 w 7"/>
              <a:gd name="T11" fmla="*/ 0 h 10"/>
              <a:gd name="T12" fmla="*/ 6 w 7"/>
              <a:gd name="T13" fmla="*/ 8 h 10"/>
              <a:gd name="T14" fmla="*/ 7 w 7"/>
              <a:gd name="T15" fmla="*/ 9 h 10"/>
              <a:gd name="T16" fmla="*/ 5 w 7"/>
              <a:gd name="T17" fmla="*/ 10 h 10"/>
              <a:gd name="T18" fmla="*/ 2 w 7"/>
              <a:gd name="T19" fmla="*/ 10 h 10"/>
              <a:gd name="T20" fmla="*/ 0 w 7"/>
              <a:gd name="T21" fmla="*/ 8 h 10"/>
              <a:gd name="T22" fmla="*/ 2 w 7"/>
              <a:gd name="T23" fmla="*/ 1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7" h="10">
                <a:moveTo>
                  <a:pt x="2" y="1"/>
                </a:moveTo>
                <a:lnTo>
                  <a:pt x="2" y="1"/>
                </a:lnTo>
                <a:lnTo>
                  <a:pt x="3" y="2"/>
                </a:lnTo>
                <a:lnTo>
                  <a:pt x="4" y="0"/>
                </a:lnTo>
                <a:lnTo>
                  <a:pt x="5" y="2"/>
                </a:lnTo>
                <a:lnTo>
                  <a:pt x="7" y="0"/>
                </a:lnTo>
                <a:lnTo>
                  <a:pt x="6" y="8"/>
                </a:lnTo>
                <a:lnTo>
                  <a:pt x="7" y="9"/>
                </a:lnTo>
                <a:lnTo>
                  <a:pt x="5" y="10"/>
                </a:lnTo>
                <a:lnTo>
                  <a:pt x="2" y="10"/>
                </a:lnTo>
                <a:lnTo>
                  <a:pt x="0" y="8"/>
                </a:lnTo>
                <a:lnTo>
                  <a:pt x="2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7" name="Freeform 156"/>
          <p:cNvSpPr>
            <a:spLocks/>
          </p:cNvSpPr>
          <p:nvPr/>
        </p:nvSpPr>
        <p:spPr bwMode="auto">
          <a:xfrm>
            <a:off x="7791451" y="3975066"/>
            <a:ext cx="11113" cy="15875"/>
          </a:xfrm>
          <a:custGeom>
            <a:avLst/>
            <a:gdLst>
              <a:gd name="T0" fmla="*/ 2 w 7"/>
              <a:gd name="T1" fmla="*/ 1 h 10"/>
              <a:gd name="T2" fmla="*/ 2 w 7"/>
              <a:gd name="T3" fmla="*/ 1 h 10"/>
              <a:gd name="T4" fmla="*/ 3 w 7"/>
              <a:gd name="T5" fmla="*/ 2 h 10"/>
              <a:gd name="T6" fmla="*/ 4 w 7"/>
              <a:gd name="T7" fmla="*/ 0 h 10"/>
              <a:gd name="T8" fmla="*/ 5 w 7"/>
              <a:gd name="T9" fmla="*/ 2 h 10"/>
              <a:gd name="T10" fmla="*/ 7 w 7"/>
              <a:gd name="T11" fmla="*/ 0 h 10"/>
              <a:gd name="T12" fmla="*/ 6 w 7"/>
              <a:gd name="T13" fmla="*/ 8 h 10"/>
              <a:gd name="T14" fmla="*/ 7 w 7"/>
              <a:gd name="T15" fmla="*/ 9 h 10"/>
              <a:gd name="T16" fmla="*/ 5 w 7"/>
              <a:gd name="T17" fmla="*/ 10 h 10"/>
              <a:gd name="T18" fmla="*/ 2 w 7"/>
              <a:gd name="T19" fmla="*/ 10 h 10"/>
              <a:gd name="T20" fmla="*/ 0 w 7"/>
              <a:gd name="T21" fmla="*/ 8 h 10"/>
              <a:gd name="T22" fmla="*/ 2 w 7"/>
              <a:gd name="T23" fmla="*/ 1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7" h="10">
                <a:moveTo>
                  <a:pt x="2" y="1"/>
                </a:moveTo>
                <a:lnTo>
                  <a:pt x="2" y="1"/>
                </a:lnTo>
                <a:lnTo>
                  <a:pt x="3" y="2"/>
                </a:lnTo>
                <a:lnTo>
                  <a:pt x="4" y="0"/>
                </a:lnTo>
                <a:lnTo>
                  <a:pt x="5" y="2"/>
                </a:lnTo>
                <a:lnTo>
                  <a:pt x="7" y="0"/>
                </a:lnTo>
                <a:lnTo>
                  <a:pt x="6" y="8"/>
                </a:lnTo>
                <a:lnTo>
                  <a:pt x="7" y="9"/>
                </a:lnTo>
                <a:lnTo>
                  <a:pt x="5" y="10"/>
                </a:lnTo>
                <a:lnTo>
                  <a:pt x="2" y="10"/>
                </a:lnTo>
                <a:lnTo>
                  <a:pt x="0" y="8"/>
                </a:lnTo>
                <a:lnTo>
                  <a:pt x="2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8" name="Freeform 157"/>
          <p:cNvSpPr>
            <a:spLocks/>
          </p:cNvSpPr>
          <p:nvPr/>
        </p:nvSpPr>
        <p:spPr bwMode="auto">
          <a:xfrm>
            <a:off x="7850188" y="4051266"/>
            <a:ext cx="15875" cy="11113"/>
          </a:xfrm>
          <a:custGeom>
            <a:avLst/>
            <a:gdLst>
              <a:gd name="T0" fmla="*/ 7 w 10"/>
              <a:gd name="T1" fmla="*/ 1 h 7"/>
              <a:gd name="T2" fmla="*/ 8 w 10"/>
              <a:gd name="T3" fmla="*/ 1 h 7"/>
              <a:gd name="T4" fmla="*/ 10 w 10"/>
              <a:gd name="T5" fmla="*/ 3 h 7"/>
              <a:gd name="T6" fmla="*/ 8 w 10"/>
              <a:gd name="T7" fmla="*/ 3 h 7"/>
              <a:gd name="T8" fmla="*/ 6 w 10"/>
              <a:gd name="T9" fmla="*/ 4 h 7"/>
              <a:gd name="T10" fmla="*/ 6 w 10"/>
              <a:gd name="T11" fmla="*/ 4 h 7"/>
              <a:gd name="T12" fmla="*/ 5 w 10"/>
              <a:gd name="T13" fmla="*/ 6 h 7"/>
              <a:gd name="T14" fmla="*/ 1 w 10"/>
              <a:gd name="T15" fmla="*/ 7 h 7"/>
              <a:gd name="T16" fmla="*/ 0 w 10"/>
              <a:gd name="T17" fmla="*/ 4 h 7"/>
              <a:gd name="T18" fmla="*/ 2 w 10"/>
              <a:gd name="T19" fmla="*/ 2 h 7"/>
              <a:gd name="T20" fmla="*/ 3 w 10"/>
              <a:gd name="T21" fmla="*/ 2 h 7"/>
              <a:gd name="T22" fmla="*/ 6 w 10"/>
              <a:gd name="T23" fmla="*/ 0 h 7"/>
              <a:gd name="T24" fmla="*/ 7 w 10"/>
              <a:gd name="T25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" h="7">
                <a:moveTo>
                  <a:pt x="7" y="1"/>
                </a:moveTo>
                <a:lnTo>
                  <a:pt x="8" y="1"/>
                </a:lnTo>
                <a:lnTo>
                  <a:pt x="10" y="3"/>
                </a:lnTo>
                <a:lnTo>
                  <a:pt x="8" y="3"/>
                </a:lnTo>
                <a:lnTo>
                  <a:pt x="6" y="4"/>
                </a:lnTo>
                <a:lnTo>
                  <a:pt x="6" y="4"/>
                </a:lnTo>
                <a:lnTo>
                  <a:pt x="5" y="6"/>
                </a:lnTo>
                <a:lnTo>
                  <a:pt x="1" y="7"/>
                </a:lnTo>
                <a:lnTo>
                  <a:pt x="0" y="4"/>
                </a:lnTo>
                <a:lnTo>
                  <a:pt x="2" y="2"/>
                </a:lnTo>
                <a:lnTo>
                  <a:pt x="3" y="2"/>
                </a:lnTo>
                <a:lnTo>
                  <a:pt x="6" y="0"/>
                </a:lnTo>
                <a:lnTo>
                  <a:pt x="7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9" name="Freeform 158"/>
          <p:cNvSpPr>
            <a:spLocks/>
          </p:cNvSpPr>
          <p:nvPr/>
        </p:nvSpPr>
        <p:spPr bwMode="auto">
          <a:xfrm>
            <a:off x="7850188" y="4051266"/>
            <a:ext cx="15875" cy="11113"/>
          </a:xfrm>
          <a:custGeom>
            <a:avLst/>
            <a:gdLst>
              <a:gd name="T0" fmla="*/ 7 w 10"/>
              <a:gd name="T1" fmla="*/ 1 h 7"/>
              <a:gd name="T2" fmla="*/ 8 w 10"/>
              <a:gd name="T3" fmla="*/ 1 h 7"/>
              <a:gd name="T4" fmla="*/ 10 w 10"/>
              <a:gd name="T5" fmla="*/ 3 h 7"/>
              <a:gd name="T6" fmla="*/ 8 w 10"/>
              <a:gd name="T7" fmla="*/ 3 h 7"/>
              <a:gd name="T8" fmla="*/ 6 w 10"/>
              <a:gd name="T9" fmla="*/ 4 h 7"/>
              <a:gd name="T10" fmla="*/ 6 w 10"/>
              <a:gd name="T11" fmla="*/ 4 h 7"/>
              <a:gd name="T12" fmla="*/ 5 w 10"/>
              <a:gd name="T13" fmla="*/ 6 h 7"/>
              <a:gd name="T14" fmla="*/ 1 w 10"/>
              <a:gd name="T15" fmla="*/ 7 h 7"/>
              <a:gd name="T16" fmla="*/ 0 w 10"/>
              <a:gd name="T17" fmla="*/ 4 h 7"/>
              <a:gd name="T18" fmla="*/ 2 w 10"/>
              <a:gd name="T19" fmla="*/ 2 h 7"/>
              <a:gd name="T20" fmla="*/ 3 w 10"/>
              <a:gd name="T21" fmla="*/ 2 h 7"/>
              <a:gd name="T22" fmla="*/ 6 w 10"/>
              <a:gd name="T23" fmla="*/ 0 h 7"/>
              <a:gd name="T24" fmla="*/ 7 w 10"/>
              <a:gd name="T25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" h="7">
                <a:moveTo>
                  <a:pt x="7" y="1"/>
                </a:moveTo>
                <a:lnTo>
                  <a:pt x="8" y="1"/>
                </a:lnTo>
                <a:lnTo>
                  <a:pt x="10" y="3"/>
                </a:lnTo>
                <a:lnTo>
                  <a:pt x="8" y="3"/>
                </a:lnTo>
                <a:lnTo>
                  <a:pt x="6" y="4"/>
                </a:lnTo>
                <a:lnTo>
                  <a:pt x="6" y="4"/>
                </a:lnTo>
                <a:lnTo>
                  <a:pt x="5" y="6"/>
                </a:lnTo>
                <a:lnTo>
                  <a:pt x="1" y="7"/>
                </a:lnTo>
                <a:lnTo>
                  <a:pt x="0" y="4"/>
                </a:lnTo>
                <a:lnTo>
                  <a:pt x="2" y="2"/>
                </a:lnTo>
                <a:lnTo>
                  <a:pt x="3" y="2"/>
                </a:lnTo>
                <a:lnTo>
                  <a:pt x="6" y="0"/>
                </a:lnTo>
                <a:lnTo>
                  <a:pt x="7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60" name="Freeform 159"/>
          <p:cNvSpPr>
            <a:spLocks/>
          </p:cNvSpPr>
          <p:nvPr/>
        </p:nvSpPr>
        <p:spPr bwMode="auto">
          <a:xfrm>
            <a:off x="8134351" y="4290978"/>
            <a:ext cx="14288" cy="28575"/>
          </a:xfrm>
          <a:custGeom>
            <a:avLst/>
            <a:gdLst>
              <a:gd name="T0" fmla="*/ 6 w 9"/>
              <a:gd name="T1" fmla="*/ 1 h 18"/>
              <a:gd name="T2" fmla="*/ 6 w 9"/>
              <a:gd name="T3" fmla="*/ 0 h 18"/>
              <a:gd name="T4" fmla="*/ 9 w 9"/>
              <a:gd name="T5" fmla="*/ 4 h 18"/>
              <a:gd name="T6" fmla="*/ 6 w 9"/>
              <a:gd name="T7" fmla="*/ 9 h 18"/>
              <a:gd name="T8" fmla="*/ 2 w 9"/>
              <a:gd name="T9" fmla="*/ 15 h 18"/>
              <a:gd name="T10" fmla="*/ 1 w 9"/>
              <a:gd name="T11" fmla="*/ 18 h 18"/>
              <a:gd name="T12" fmla="*/ 0 w 9"/>
              <a:gd name="T13" fmla="*/ 18 h 18"/>
              <a:gd name="T14" fmla="*/ 1 w 9"/>
              <a:gd name="T15" fmla="*/ 14 h 18"/>
              <a:gd name="T16" fmla="*/ 2 w 9"/>
              <a:gd name="T17" fmla="*/ 9 h 18"/>
              <a:gd name="T18" fmla="*/ 4 w 9"/>
              <a:gd name="T19" fmla="*/ 7 h 18"/>
              <a:gd name="T20" fmla="*/ 6 w 9"/>
              <a:gd name="T21" fmla="*/ 4 h 18"/>
              <a:gd name="T22" fmla="*/ 6 w 9"/>
              <a:gd name="T23" fmla="*/ 1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" h="18">
                <a:moveTo>
                  <a:pt x="6" y="1"/>
                </a:moveTo>
                <a:lnTo>
                  <a:pt x="6" y="0"/>
                </a:lnTo>
                <a:lnTo>
                  <a:pt x="9" y="4"/>
                </a:lnTo>
                <a:lnTo>
                  <a:pt x="6" y="9"/>
                </a:lnTo>
                <a:lnTo>
                  <a:pt x="2" y="15"/>
                </a:lnTo>
                <a:lnTo>
                  <a:pt x="1" y="18"/>
                </a:lnTo>
                <a:lnTo>
                  <a:pt x="0" y="18"/>
                </a:lnTo>
                <a:lnTo>
                  <a:pt x="1" y="14"/>
                </a:lnTo>
                <a:lnTo>
                  <a:pt x="2" y="9"/>
                </a:lnTo>
                <a:lnTo>
                  <a:pt x="4" y="7"/>
                </a:lnTo>
                <a:lnTo>
                  <a:pt x="6" y="4"/>
                </a:lnTo>
                <a:lnTo>
                  <a:pt x="6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61" name="Freeform 160"/>
          <p:cNvSpPr>
            <a:spLocks/>
          </p:cNvSpPr>
          <p:nvPr/>
        </p:nvSpPr>
        <p:spPr bwMode="auto">
          <a:xfrm>
            <a:off x="8134351" y="4290978"/>
            <a:ext cx="14288" cy="28575"/>
          </a:xfrm>
          <a:custGeom>
            <a:avLst/>
            <a:gdLst>
              <a:gd name="T0" fmla="*/ 6 w 9"/>
              <a:gd name="T1" fmla="*/ 1 h 18"/>
              <a:gd name="T2" fmla="*/ 6 w 9"/>
              <a:gd name="T3" fmla="*/ 0 h 18"/>
              <a:gd name="T4" fmla="*/ 9 w 9"/>
              <a:gd name="T5" fmla="*/ 4 h 18"/>
              <a:gd name="T6" fmla="*/ 6 w 9"/>
              <a:gd name="T7" fmla="*/ 9 h 18"/>
              <a:gd name="T8" fmla="*/ 2 w 9"/>
              <a:gd name="T9" fmla="*/ 15 h 18"/>
              <a:gd name="T10" fmla="*/ 1 w 9"/>
              <a:gd name="T11" fmla="*/ 18 h 18"/>
              <a:gd name="T12" fmla="*/ 0 w 9"/>
              <a:gd name="T13" fmla="*/ 18 h 18"/>
              <a:gd name="T14" fmla="*/ 1 w 9"/>
              <a:gd name="T15" fmla="*/ 14 h 18"/>
              <a:gd name="T16" fmla="*/ 2 w 9"/>
              <a:gd name="T17" fmla="*/ 9 h 18"/>
              <a:gd name="T18" fmla="*/ 4 w 9"/>
              <a:gd name="T19" fmla="*/ 7 h 18"/>
              <a:gd name="T20" fmla="*/ 6 w 9"/>
              <a:gd name="T21" fmla="*/ 4 h 18"/>
              <a:gd name="T22" fmla="*/ 6 w 9"/>
              <a:gd name="T23" fmla="*/ 1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" h="18">
                <a:moveTo>
                  <a:pt x="6" y="1"/>
                </a:moveTo>
                <a:lnTo>
                  <a:pt x="6" y="0"/>
                </a:lnTo>
                <a:lnTo>
                  <a:pt x="9" y="4"/>
                </a:lnTo>
                <a:lnTo>
                  <a:pt x="6" y="9"/>
                </a:lnTo>
                <a:lnTo>
                  <a:pt x="2" y="15"/>
                </a:lnTo>
                <a:lnTo>
                  <a:pt x="1" y="18"/>
                </a:lnTo>
                <a:lnTo>
                  <a:pt x="0" y="18"/>
                </a:lnTo>
                <a:lnTo>
                  <a:pt x="1" y="14"/>
                </a:lnTo>
                <a:lnTo>
                  <a:pt x="2" y="9"/>
                </a:lnTo>
                <a:lnTo>
                  <a:pt x="4" y="7"/>
                </a:lnTo>
                <a:lnTo>
                  <a:pt x="6" y="4"/>
                </a:lnTo>
                <a:lnTo>
                  <a:pt x="6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62" name="Freeform 161"/>
          <p:cNvSpPr>
            <a:spLocks/>
          </p:cNvSpPr>
          <p:nvPr/>
        </p:nvSpPr>
        <p:spPr bwMode="auto">
          <a:xfrm>
            <a:off x="8126413" y="4367178"/>
            <a:ext cx="4763" cy="7938"/>
          </a:xfrm>
          <a:custGeom>
            <a:avLst/>
            <a:gdLst>
              <a:gd name="T0" fmla="*/ 1 w 3"/>
              <a:gd name="T1" fmla="*/ 0 h 5"/>
              <a:gd name="T2" fmla="*/ 3 w 3"/>
              <a:gd name="T3" fmla="*/ 0 h 5"/>
              <a:gd name="T4" fmla="*/ 3 w 3"/>
              <a:gd name="T5" fmla="*/ 1 h 5"/>
              <a:gd name="T6" fmla="*/ 1 w 3"/>
              <a:gd name="T7" fmla="*/ 3 h 5"/>
              <a:gd name="T8" fmla="*/ 0 w 3"/>
              <a:gd name="T9" fmla="*/ 5 h 5"/>
              <a:gd name="T10" fmla="*/ 0 w 3"/>
              <a:gd name="T11" fmla="*/ 4 h 5"/>
              <a:gd name="T12" fmla="*/ 0 w 3"/>
              <a:gd name="T13" fmla="*/ 2 h 5"/>
              <a:gd name="T14" fmla="*/ 1 w 3"/>
              <a:gd name="T15" fmla="*/ 0 h 5"/>
              <a:gd name="T16" fmla="*/ 0 w 3"/>
              <a:gd name="T17" fmla="*/ 2 h 5"/>
              <a:gd name="T18" fmla="*/ 1 w 3"/>
              <a:gd name="T1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" h="5">
                <a:moveTo>
                  <a:pt x="1" y="0"/>
                </a:moveTo>
                <a:lnTo>
                  <a:pt x="3" y="0"/>
                </a:lnTo>
                <a:lnTo>
                  <a:pt x="3" y="1"/>
                </a:lnTo>
                <a:lnTo>
                  <a:pt x="1" y="3"/>
                </a:lnTo>
                <a:lnTo>
                  <a:pt x="0" y="5"/>
                </a:lnTo>
                <a:lnTo>
                  <a:pt x="0" y="4"/>
                </a:lnTo>
                <a:lnTo>
                  <a:pt x="0" y="2"/>
                </a:lnTo>
                <a:lnTo>
                  <a:pt x="1" y="0"/>
                </a:lnTo>
                <a:lnTo>
                  <a:pt x="0" y="2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63" name="Freeform 162"/>
          <p:cNvSpPr>
            <a:spLocks/>
          </p:cNvSpPr>
          <p:nvPr/>
        </p:nvSpPr>
        <p:spPr bwMode="auto">
          <a:xfrm>
            <a:off x="8126413" y="4367178"/>
            <a:ext cx="4763" cy="7938"/>
          </a:xfrm>
          <a:custGeom>
            <a:avLst/>
            <a:gdLst>
              <a:gd name="T0" fmla="*/ 1 w 3"/>
              <a:gd name="T1" fmla="*/ 0 h 5"/>
              <a:gd name="T2" fmla="*/ 3 w 3"/>
              <a:gd name="T3" fmla="*/ 0 h 5"/>
              <a:gd name="T4" fmla="*/ 3 w 3"/>
              <a:gd name="T5" fmla="*/ 1 h 5"/>
              <a:gd name="T6" fmla="*/ 1 w 3"/>
              <a:gd name="T7" fmla="*/ 3 h 5"/>
              <a:gd name="T8" fmla="*/ 0 w 3"/>
              <a:gd name="T9" fmla="*/ 5 h 5"/>
              <a:gd name="T10" fmla="*/ 0 w 3"/>
              <a:gd name="T11" fmla="*/ 4 h 5"/>
              <a:gd name="T12" fmla="*/ 0 w 3"/>
              <a:gd name="T13" fmla="*/ 2 h 5"/>
              <a:gd name="T14" fmla="*/ 1 w 3"/>
              <a:gd name="T15" fmla="*/ 0 h 5"/>
              <a:gd name="T16" fmla="*/ 0 w 3"/>
              <a:gd name="T17" fmla="*/ 2 h 5"/>
              <a:gd name="T18" fmla="*/ 1 w 3"/>
              <a:gd name="T1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" h="5">
                <a:moveTo>
                  <a:pt x="1" y="0"/>
                </a:moveTo>
                <a:lnTo>
                  <a:pt x="3" y="0"/>
                </a:lnTo>
                <a:lnTo>
                  <a:pt x="3" y="1"/>
                </a:lnTo>
                <a:lnTo>
                  <a:pt x="1" y="3"/>
                </a:lnTo>
                <a:lnTo>
                  <a:pt x="0" y="5"/>
                </a:lnTo>
                <a:lnTo>
                  <a:pt x="0" y="4"/>
                </a:lnTo>
                <a:lnTo>
                  <a:pt x="0" y="2"/>
                </a:lnTo>
                <a:lnTo>
                  <a:pt x="1" y="0"/>
                </a:lnTo>
                <a:lnTo>
                  <a:pt x="0" y="2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64" name="Freeform 163"/>
          <p:cNvSpPr>
            <a:spLocks/>
          </p:cNvSpPr>
          <p:nvPr/>
        </p:nvSpPr>
        <p:spPr bwMode="auto">
          <a:xfrm>
            <a:off x="7613651" y="4605303"/>
            <a:ext cx="38100" cy="12700"/>
          </a:xfrm>
          <a:custGeom>
            <a:avLst/>
            <a:gdLst>
              <a:gd name="T0" fmla="*/ 2 w 24"/>
              <a:gd name="T1" fmla="*/ 4 h 8"/>
              <a:gd name="T2" fmla="*/ 3 w 24"/>
              <a:gd name="T3" fmla="*/ 3 h 8"/>
              <a:gd name="T4" fmla="*/ 6 w 24"/>
              <a:gd name="T5" fmla="*/ 2 h 8"/>
              <a:gd name="T6" fmla="*/ 15 w 24"/>
              <a:gd name="T7" fmla="*/ 0 h 8"/>
              <a:gd name="T8" fmla="*/ 18 w 24"/>
              <a:gd name="T9" fmla="*/ 1 h 8"/>
              <a:gd name="T10" fmla="*/ 17 w 24"/>
              <a:gd name="T11" fmla="*/ 3 h 8"/>
              <a:gd name="T12" fmla="*/ 21 w 24"/>
              <a:gd name="T13" fmla="*/ 4 h 8"/>
              <a:gd name="T14" fmla="*/ 24 w 24"/>
              <a:gd name="T15" fmla="*/ 4 h 8"/>
              <a:gd name="T16" fmla="*/ 24 w 24"/>
              <a:gd name="T17" fmla="*/ 6 h 8"/>
              <a:gd name="T18" fmla="*/ 20 w 24"/>
              <a:gd name="T19" fmla="*/ 5 h 8"/>
              <a:gd name="T20" fmla="*/ 17 w 24"/>
              <a:gd name="T21" fmla="*/ 6 h 8"/>
              <a:gd name="T22" fmla="*/ 16 w 24"/>
              <a:gd name="T23" fmla="*/ 7 h 8"/>
              <a:gd name="T24" fmla="*/ 14 w 24"/>
              <a:gd name="T25" fmla="*/ 8 h 8"/>
              <a:gd name="T26" fmla="*/ 10 w 24"/>
              <a:gd name="T27" fmla="*/ 7 h 8"/>
              <a:gd name="T28" fmla="*/ 5 w 24"/>
              <a:gd name="T29" fmla="*/ 8 h 8"/>
              <a:gd name="T30" fmla="*/ 2 w 24"/>
              <a:gd name="T31" fmla="*/ 7 h 8"/>
              <a:gd name="T32" fmla="*/ 0 w 24"/>
              <a:gd name="T33" fmla="*/ 5 h 8"/>
              <a:gd name="T34" fmla="*/ 2 w 24"/>
              <a:gd name="T35" fmla="*/ 4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4" h="8">
                <a:moveTo>
                  <a:pt x="2" y="4"/>
                </a:moveTo>
                <a:lnTo>
                  <a:pt x="3" y="3"/>
                </a:lnTo>
                <a:lnTo>
                  <a:pt x="6" y="2"/>
                </a:lnTo>
                <a:lnTo>
                  <a:pt x="15" y="0"/>
                </a:lnTo>
                <a:lnTo>
                  <a:pt x="18" y="1"/>
                </a:lnTo>
                <a:lnTo>
                  <a:pt x="17" y="3"/>
                </a:lnTo>
                <a:lnTo>
                  <a:pt x="21" y="4"/>
                </a:lnTo>
                <a:lnTo>
                  <a:pt x="24" y="4"/>
                </a:lnTo>
                <a:lnTo>
                  <a:pt x="24" y="6"/>
                </a:lnTo>
                <a:lnTo>
                  <a:pt x="20" y="5"/>
                </a:lnTo>
                <a:lnTo>
                  <a:pt x="17" y="6"/>
                </a:lnTo>
                <a:lnTo>
                  <a:pt x="16" y="7"/>
                </a:lnTo>
                <a:lnTo>
                  <a:pt x="14" y="8"/>
                </a:lnTo>
                <a:lnTo>
                  <a:pt x="10" y="7"/>
                </a:lnTo>
                <a:lnTo>
                  <a:pt x="5" y="8"/>
                </a:lnTo>
                <a:lnTo>
                  <a:pt x="2" y="7"/>
                </a:lnTo>
                <a:lnTo>
                  <a:pt x="0" y="5"/>
                </a:lnTo>
                <a:lnTo>
                  <a:pt x="2" y="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65" name="Freeform 164"/>
          <p:cNvSpPr>
            <a:spLocks/>
          </p:cNvSpPr>
          <p:nvPr/>
        </p:nvSpPr>
        <p:spPr bwMode="auto">
          <a:xfrm>
            <a:off x="7613651" y="4605303"/>
            <a:ext cx="38100" cy="12700"/>
          </a:xfrm>
          <a:custGeom>
            <a:avLst/>
            <a:gdLst>
              <a:gd name="T0" fmla="*/ 2 w 24"/>
              <a:gd name="T1" fmla="*/ 4 h 8"/>
              <a:gd name="T2" fmla="*/ 3 w 24"/>
              <a:gd name="T3" fmla="*/ 3 h 8"/>
              <a:gd name="T4" fmla="*/ 6 w 24"/>
              <a:gd name="T5" fmla="*/ 2 h 8"/>
              <a:gd name="T6" fmla="*/ 15 w 24"/>
              <a:gd name="T7" fmla="*/ 0 h 8"/>
              <a:gd name="T8" fmla="*/ 18 w 24"/>
              <a:gd name="T9" fmla="*/ 1 h 8"/>
              <a:gd name="T10" fmla="*/ 17 w 24"/>
              <a:gd name="T11" fmla="*/ 3 h 8"/>
              <a:gd name="T12" fmla="*/ 21 w 24"/>
              <a:gd name="T13" fmla="*/ 4 h 8"/>
              <a:gd name="T14" fmla="*/ 24 w 24"/>
              <a:gd name="T15" fmla="*/ 4 h 8"/>
              <a:gd name="T16" fmla="*/ 24 w 24"/>
              <a:gd name="T17" fmla="*/ 6 h 8"/>
              <a:gd name="T18" fmla="*/ 20 w 24"/>
              <a:gd name="T19" fmla="*/ 5 h 8"/>
              <a:gd name="T20" fmla="*/ 17 w 24"/>
              <a:gd name="T21" fmla="*/ 6 h 8"/>
              <a:gd name="T22" fmla="*/ 16 w 24"/>
              <a:gd name="T23" fmla="*/ 7 h 8"/>
              <a:gd name="T24" fmla="*/ 14 w 24"/>
              <a:gd name="T25" fmla="*/ 8 h 8"/>
              <a:gd name="T26" fmla="*/ 10 w 24"/>
              <a:gd name="T27" fmla="*/ 7 h 8"/>
              <a:gd name="T28" fmla="*/ 5 w 24"/>
              <a:gd name="T29" fmla="*/ 8 h 8"/>
              <a:gd name="T30" fmla="*/ 2 w 24"/>
              <a:gd name="T31" fmla="*/ 7 h 8"/>
              <a:gd name="T32" fmla="*/ 0 w 24"/>
              <a:gd name="T33" fmla="*/ 5 h 8"/>
              <a:gd name="T34" fmla="*/ 2 w 24"/>
              <a:gd name="T35" fmla="*/ 4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4" h="8">
                <a:moveTo>
                  <a:pt x="2" y="4"/>
                </a:moveTo>
                <a:lnTo>
                  <a:pt x="3" y="3"/>
                </a:lnTo>
                <a:lnTo>
                  <a:pt x="6" y="2"/>
                </a:lnTo>
                <a:lnTo>
                  <a:pt x="15" y="0"/>
                </a:lnTo>
                <a:lnTo>
                  <a:pt x="18" y="1"/>
                </a:lnTo>
                <a:lnTo>
                  <a:pt x="17" y="3"/>
                </a:lnTo>
                <a:lnTo>
                  <a:pt x="21" y="4"/>
                </a:lnTo>
                <a:lnTo>
                  <a:pt x="24" y="4"/>
                </a:lnTo>
                <a:lnTo>
                  <a:pt x="24" y="6"/>
                </a:lnTo>
                <a:lnTo>
                  <a:pt x="20" y="5"/>
                </a:lnTo>
                <a:lnTo>
                  <a:pt x="17" y="6"/>
                </a:lnTo>
                <a:lnTo>
                  <a:pt x="16" y="7"/>
                </a:lnTo>
                <a:lnTo>
                  <a:pt x="14" y="8"/>
                </a:lnTo>
                <a:lnTo>
                  <a:pt x="10" y="7"/>
                </a:lnTo>
                <a:lnTo>
                  <a:pt x="5" y="8"/>
                </a:lnTo>
                <a:lnTo>
                  <a:pt x="2" y="7"/>
                </a:lnTo>
                <a:lnTo>
                  <a:pt x="0" y="5"/>
                </a:lnTo>
                <a:lnTo>
                  <a:pt x="2" y="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66" name="Freeform 165"/>
          <p:cNvSpPr>
            <a:spLocks/>
          </p:cNvSpPr>
          <p:nvPr/>
        </p:nvSpPr>
        <p:spPr bwMode="auto">
          <a:xfrm>
            <a:off x="7820026" y="4724366"/>
            <a:ext cx="9525" cy="15875"/>
          </a:xfrm>
          <a:custGeom>
            <a:avLst/>
            <a:gdLst>
              <a:gd name="T0" fmla="*/ 2 w 6"/>
              <a:gd name="T1" fmla="*/ 1 h 10"/>
              <a:gd name="T2" fmla="*/ 4 w 6"/>
              <a:gd name="T3" fmla="*/ 0 h 10"/>
              <a:gd name="T4" fmla="*/ 6 w 6"/>
              <a:gd name="T5" fmla="*/ 3 h 10"/>
              <a:gd name="T6" fmla="*/ 5 w 6"/>
              <a:gd name="T7" fmla="*/ 7 h 10"/>
              <a:gd name="T8" fmla="*/ 4 w 6"/>
              <a:gd name="T9" fmla="*/ 9 h 10"/>
              <a:gd name="T10" fmla="*/ 0 w 6"/>
              <a:gd name="T11" fmla="*/ 10 h 10"/>
              <a:gd name="T12" fmla="*/ 1 w 6"/>
              <a:gd name="T13" fmla="*/ 7 h 10"/>
              <a:gd name="T14" fmla="*/ 1 w 6"/>
              <a:gd name="T15" fmla="*/ 3 h 10"/>
              <a:gd name="T16" fmla="*/ 1 w 6"/>
              <a:gd name="T17" fmla="*/ 2 h 10"/>
              <a:gd name="T18" fmla="*/ 2 w 6"/>
              <a:gd name="T19" fmla="*/ 1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" h="10">
                <a:moveTo>
                  <a:pt x="2" y="1"/>
                </a:moveTo>
                <a:lnTo>
                  <a:pt x="4" y="0"/>
                </a:lnTo>
                <a:lnTo>
                  <a:pt x="6" y="3"/>
                </a:lnTo>
                <a:lnTo>
                  <a:pt x="5" y="7"/>
                </a:lnTo>
                <a:lnTo>
                  <a:pt x="4" y="9"/>
                </a:lnTo>
                <a:lnTo>
                  <a:pt x="0" y="10"/>
                </a:lnTo>
                <a:lnTo>
                  <a:pt x="1" y="7"/>
                </a:lnTo>
                <a:lnTo>
                  <a:pt x="1" y="3"/>
                </a:lnTo>
                <a:lnTo>
                  <a:pt x="1" y="2"/>
                </a:lnTo>
                <a:lnTo>
                  <a:pt x="2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67" name="Freeform 166"/>
          <p:cNvSpPr>
            <a:spLocks/>
          </p:cNvSpPr>
          <p:nvPr/>
        </p:nvSpPr>
        <p:spPr bwMode="auto">
          <a:xfrm>
            <a:off x="7820026" y="4724366"/>
            <a:ext cx="9525" cy="15875"/>
          </a:xfrm>
          <a:custGeom>
            <a:avLst/>
            <a:gdLst>
              <a:gd name="T0" fmla="*/ 2 w 6"/>
              <a:gd name="T1" fmla="*/ 1 h 10"/>
              <a:gd name="T2" fmla="*/ 4 w 6"/>
              <a:gd name="T3" fmla="*/ 0 h 10"/>
              <a:gd name="T4" fmla="*/ 6 w 6"/>
              <a:gd name="T5" fmla="*/ 3 h 10"/>
              <a:gd name="T6" fmla="*/ 5 w 6"/>
              <a:gd name="T7" fmla="*/ 7 h 10"/>
              <a:gd name="T8" fmla="*/ 4 w 6"/>
              <a:gd name="T9" fmla="*/ 9 h 10"/>
              <a:gd name="T10" fmla="*/ 0 w 6"/>
              <a:gd name="T11" fmla="*/ 10 h 10"/>
              <a:gd name="T12" fmla="*/ 1 w 6"/>
              <a:gd name="T13" fmla="*/ 7 h 10"/>
              <a:gd name="T14" fmla="*/ 1 w 6"/>
              <a:gd name="T15" fmla="*/ 3 h 10"/>
              <a:gd name="T16" fmla="*/ 1 w 6"/>
              <a:gd name="T17" fmla="*/ 2 h 10"/>
              <a:gd name="T18" fmla="*/ 2 w 6"/>
              <a:gd name="T19" fmla="*/ 1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" h="10">
                <a:moveTo>
                  <a:pt x="2" y="1"/>
                </a:moveTo>
                <a:lnTo>
                  <a:pt x="4" y="0"/>
                </a:lnTo>
                <a:lnTo>
                  <a:pt x="6" y="3"/>
                </a:lnTo>
                <a:lnTo>
                  <a:pt x="5" y="7"/>
                </a:lnTo>
                <a:lnTo>
                  <a:pt x="4" y="9"/>
                </a:lnTo>
                <a:lnTo>
                  <a:pt x="0" y="10"/>
                </a:lnTo>
                <a:lnTo>
                  <a:pt x="1" y="7"/>
                </a:lnTo>
                <a:lnTo>
                  <a:pt x="1" y="3"/>
                </a:lnTo>
                <a:lnTo>
                  <a:pt x="1" y="2"/>
                </a:lnTo>
                <a:lnTo>
                  <a:pt x="2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68" name="Freeform 167"/>
          <p:cNvSpPr>
            <a:spLocks/>
          </p:cNvSpPr>
          <p:nvPr/>
        </p:nvSpPr>
        <p:spPr bwMode="auto">
          <a:xfrm>
            <a:off x="7818438" y="4740241"/>
            <a:ext cx="9525" cy="4763"/>
          </a:xfrm>
          <a:custGeom>
            <a:avLst/>
            <a:gdLst>
              <a:gd name="T0" fmla="*/ 0 w 6"/>
              <a:gd name="T1" fmla="*/ 2 h 3"/>
              <a:gd name="T2" fmla="*/ 0 w 6"/>
              <a:gd name="T3" fmla="*/ 1 h 3"/>
              <a:gd name="T4" fmla="*/ 5 w 6"/>
              <a:gd name="T5" fmla="*/ 0 h 3"/>
              <a:gd name="T6" fmla="*/ 6 w 6"/>
              <a:gd name="T7" fmla="*/ 1 h 3"/>
              <a:gd name="T8" fmla="*/ 5 w 6"/>
              <a:gd name="T9" fmla="*/ 2 h 3"/>
              <a:gd name="T10" fmla="*/ 2 w 6"/>
              <a:gd name="T11" fmla="*/ 3 h 3"/>
              <a:gd name="T12" fmla="*/ 0 w 6"/>
              <a:gd name="T13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3">
                <a:moveTo>
                  <a:pt x="0" y="2"/>
                </a:moveTo>
                <a:lnTo>
                  <a:pt x="0" y="1"/>
                </a:lnTo>
                <a:lnTo>
                  <a:pt x="5" y="0"/>
                </a:lnTo>
                <a:lnTo>
                  <a:pt x="6" y="1"/>
                </a:lnTo>
                <a:lnTo>
                  <a:pt x="5" y="2"/>
                </a:lnTo>
                <a:lnTo>
                  <a:pt x="2" y="3"/>
                </a:lnTo>
                <a:lnTo>
                  <a:pt x="0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69" name="Freeform 168"/>
          <p:cNvSpPr>
            <a:spLocks/>
          </p:cNvSpPr>
          <p:nvPr/>
        </p:nvSpPr>
        <p:spPr bwMode="auto">
          <a:xfrm>
            <a:off x="7818438" y="4740241"/>
            <a:ext cx="9525" cy="4763"/>
          </a:xfrm>
          <a:custGeom>
            <a:avLst/>
            <a:gdLst>
              <a:gd name="T0" fmla="*/ 0 w 6"/>
              <a:gd name="T1" fmla="*/ 2 h 3"/>
              <a:gd name="T2" fmla="*/ 0 w 6"/>
              <a:gd name="T3" fmla="*/ 1 h 3"/>
              <a:gd name="T4" fmla="*/ 5 w 6"/>
              <a:gd name="T5" fmla="*/ 0 h 3"/>
              <a:gd name="T6" fmla="*/ 6 w 6"/>
              <a:gd name="T7" fmla="*/ 1 h 3"/>
              <a:gd name="T8" fmla="*/ 5 w 6"/>
              <a:gd name="T9" fmla="*/ 2 h 3"/>
              <a:gd name="T10" fmla="*/ 2 w 6"/>
              <a:gd name="T11" fmla="*/ 3 h 3"/>
              <a:gd name="T12" fmla="*/ 0 w 6"/>
              <a:gd name="T13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3">
                <a:moveTo>
                  <a:pt x="0" y="2"/>
                </a:moveTo>
                <a:lnTo>
                  <a:pt x="0" y="1"/>
                </a:lnTo>
                <a:lnTo>
                  <a:pt x="5" y="0"/>
                </a:lnTo>
                <a:lnTo>
                  <a:pt x="6" y="1"/>
                </a:lnTo>
                <a:lnTo>
                  <a:pt x="5" y="2"/>
                </a:lnTo>
                <a:lnTo>
                  <a:pt x="2" y="3"/>
                </a:lnTo>
                <a:lnTo>
                  <a:pt x="0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70" name="Freeform 169"/>
          <p:cNvSpPr>
            <a:spLocks/>
          </p:cNvSpPr>
          <p:nvPr/>
        </p:nvSpPr>
        <p:spPr bwMode="auto">
          <a:xfrm>
            <a:off x="7713663" y="4751353"/>
            <a:ext cx="98425" cy="84138"/>
          </a:xfrm>
          <a:custGeom>
            <a:avLst/>
            <a:gdLst>
              <a:gd name="T0" fmla="*/ 14 w 62"/>
              <a:gd name="T1" fmla="*/ 1 h 53"/>
              <a:gd name="T2" fmla="*/ 16 w 62"/>
              <a:gd name="T3" fmla="*/ 3 h 53"/>
              <a:gd name="T4" fmla="*/ 20 w 62"/>
              <a:gd name="T5" fmla="*/ 2 h 53"/>
              <a:gd name="T6" fmla="*/ 26 w 62"/>
              <a:gd name="T7" fmla="*/ 7 h 53"/>
              <a:gd name="T8" fmla="*/ 36 w 62"/>
              <a:gd name="T9" fmla="*/ 9 h 53"/>
              <a:gd name="T10" fmla="*/ 44 w 62"/>
              <a:gd name="T11" fmla="*/ 5 h 53"/>
              <a:gd name="T12" fmla="*/ 49 w 62"/>
              <a:gd name="T13" fmla="*/ 5 h 53"/>
              <a:gd name="T14" fmla="*/ 55 w 62"/>
              <a:gd name="T15" fmla="*/ 3 h 53"/>
              <a:gd name="T16" fmla="*/ 59 w 62"/>
              <a:gd name="T17" fmla="*/ 2 h 53"/>
              <a:gd name="T18" fmla="*/ 62 w 62"/>
              <a:gd name="T19" fmla="*/ 5 h 53"/>
              <a:gd name="T20" fmla="*/ 57 w 62"/>
              <a:gd name="T21" fmla="*/ 13 h 53"/>
              <a:gd name="T22" fmla="*/ 53 w 62"/>
              <a:gd name="T23" fmla="*/ 21 h 53"/>
              <a:gd name="T24" fmla="*/ 49 w 62"/>
              <a:gd name="T25" fmla="*/ 26 h 53"/>
              <a:gd name="T26" fmla="*/ 48 w 62"/>
              <a:gd name="T27" fmla="*/ 27 h 53"/>
              <a:gd name="T28" fmla="*/ 51 w 62"/>
              <a:gd name="T29" fmla="*/ 23 h 53"/>
              <a:gd name="T30" fmla="*/ 43 w 62"/>
              <a:gd name="T31" fmla="*/ 28 h 53"/>
              <a:gd name="T32" fmla="*/ 39 w 62"/>
              <a:gd name="T33" fmla="*/ 33 h 53"/>
              <a:gd name="T34" fmla="*/ 34 w 62"/>
              <a:gd name="T35" fmla="*/ 38 h 53"/>
              <a:gd name="T36" fmla="*/ 31 w 62"/>
              <a:gd name="T37" fmla="*/ 37 h 53"/>
              <a:gd name="T38" fmla="*/ 27 w 62"/>
              <a:gd name="T39" fmla="*/ 41 h 53"/>
              <a:gd name="T40" fmla="*/ 23 w 62"/>
              <a:gd name="T41" fmla="*/ 44 h 53"/>
              <a:gd name="T42" fmla="*/ 21 w 62"/>
              <a:gd name="T43" fmla="*/ 45 h 53"/>
              <a:gd name="T44" fmla="*/ 17 w 62"/>
              <a:gd name="T45" fmla="*/ 45 h 53"/>
              <a:gd name="T46" fmla="*/ 14 w 62"/>
              <a:gd name="T47" fmla="*/ 50 h 53"/>
              <a:gd name="T48" fmla="*/ 8 w 62"/>
              <a:gd name="T49" fmla="*/ 53 h 53"/>
              <a:gd name="T50" fmla="*/ 6 w 62"/>
              <a:gd name="T51" fmla="*/ 51 h 53"/>
              <a:gd name="T52" fmla="*/ 2 w 62"/>
              <a:gd name="T53" fmla="*/ 51 h 53"/>
              <a:gd name="T54" fmla="*/ 0 w 62"/>
              <a:gd name="T55" fmla="*/ 50 h 53"/>
              <a:gd name="T56" fmla="*/ 4 w 62"/>
              <a:gd name="T57" fmla="*/ 47 h 53"/>
              <a:gd name="T58" fmla="*/ 0 w 62"/>
              <a:gd name="T59" fmla="*/ 46 h 53"/>
              <a:gd name="T60" fmla="*/ 0 w 62"/>
              <a:gd name="T61" fmla="*/ 38 h 53"/>
              <a:gd name="T62" fmla="*/ 3 w 62"/>
              <a:gd name="T63" fmla="*/ 26 h 53"/>
              <a:gd name="T64" fmla="*/ 6 w 62"/>
              <a:gd name="T65" fmla="*/ 28 h 53"/>
              <a:gd name="T66" fmla="*/ 5 w 62"/>
              <a:gd name="T67" fmla="*/ 23 h 53"/>
              <a:gd name="T68" fmla="*/ 10 w 62"/>
              <a:gd name="T69" fmla="*/ 6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2" h="53">
                <a:moveTo>
                  <a:pt x="14" y="0"/>
                </a:moveTo>
                <a:lnTo>
                  <a:pt x="14" y="1"/>
                </a:lnTo>
                <a:lnTo>
                  <a:pt x="15" y="1"/>
                </a:lnTo>
                <a:lnTo>
                  <a:pt x="16" y="3"/>
                </a:lnTo>
                <a:lnTo>
                  <a:pt x="18" y="2"/>
                </a:lnTo>
                <a:lnTo>
                  <a:pt x="20" y="2"/>
                </a:lnTo>
                <a:lnTo>
                  <a:pt x="23" y="3"/>
                </a:lnTo>
                <a:lnTo>
                  <a:pt x="26" y="7"/>
                </a:lnTo>
                <a:lnTo>
                  <a:pt x="34" y="9"/>
                </a:lnTo>
                <a:lnTo>
                  <a:pt x="36" y="9"/>
                </a:lnTo>
                <a:lnTo>
                  <a:pt x="39" y="6"/>
                </a:lnTo>
                <a:lnTo>
                  <a:pt x="44" y="5"/>
                </a:lnTo>
                <a:lnTo>
                  <a:pt x="46" y="6"/>
                </a:lnTo>
                <a:lnTo>
                  <a:pt x="49" y="5"/>
                </a:lnTo>
                <a:lnTo>
                  <a:pt x="54" y="3"/>
                </a:lnTo>
                <a:lnTo>
                  <a:pt x="55" y="3"/>
                </a:lnTo>
                <a:lnTo>
                  <a:pt x="57" y="4"/>
                </a:lnTo>
                <a:lnTo>
                  <a:pt x="59" y="2"/>
                </a:lnTo>
                <a:lnTo>
                  <a:pt x="61" y="2"/>
                </a:lnTo>
                <a:lnTo>
                  <a:pt x="62" y="5"/>
                </a:lnTo>
                <a:lnTo>
                  <a:pt x="59" y="11"/>
                </a:lnTo>
                <a:lnTo>
                  <a:pt x="57" y="13"/>
                </a:lnTo>
                <a:lnTo>
                  <a:pt x="55" y="16"/>
                </a:lnTo>
                <a:lnTo>
                  <a:pt x="53" y="21"/>
                </a:lnTo>
                <a:lnTo>
                  <a:pt x="49" y="25"/>
                </a:lnTo>
                <a:lnTo>
                  <a:pt x="49" y="26"/>
                </a:lnTo>
                <a:lnTo>
                  <a:pt x="47" y="30"/>
                </a:lnTo>
                <a:lnTo>
                  <a:pt x="48" y="27"/>
                </a:lnTo>
                <a:lnTo>
                  <a:pt x="49" y="25"/>
                </a:lnTo>
                <a:lnTo>
                  <a:pt x="51" y="23"/>
                </a:lnTo>
                <a:lnTo>
                  <a:pt x="48" y="24"/>
                </a:lnTo>
                <a:lnTo>
                  <a:pt x="43" y="28"/>
                </a:lnTo>
                <a:lnTo>
                  <a:pt x="41" y="33"/>
                </a:lnTo>
                <a:lnTo>
                  <a:pt x="39" y="33"/>
                </a:lnTo>
                <a:lnTo>
                  <a:pt x="36" y="37"/>
                </a:lnTo>
                <a:lnTo>
                  <a:pt x="34" y="38"/>
                </a:lnTo>
                <a:lnTo>
                  <a:pt x="33" y="38"/>
                </a:lnTo>
                <a:lnTo>
                  <a:pt x="31" y="37"/>
                </a:lnTo>
                <a:lnTo>
                  <a:pt x="29" y="38"/>
                </a:lnTo>
                <a:lnTo>
                  <a:pt x="27" y="41"/>
                </a:lnTo>
                <a:lnTo>
                  <a:pt x="25" y="43"/>
                </a:lnTo>
                <a:lnTo>
                  <a:pt x="23" y="44"/>
                </a:lnTo>
                <a:lnTo>
                  <a:pt x="21" y="46"/>
                </a:lnTo>
                <a:lnTo>
                  <a:pt x="21" y="45"/>
                </a:lnTo>
                <a:lnTo>
                  <a:pt x="20" y="44"/>
                </a:lnTo>
                <a:lnTo>
                  <a:pt x="17" y="45"/>
                </a:lnTo>
                <a:lnTo>
                  <a:pt x="15" y="48"/>
                </a:lnTo>
                <a:lnTo>
                  <a:pt x="14" y="50"/>
                </a:lnTo>
                <a:lnTo>
                  <a:pt x="11" y="52"/>
                </a:lnTo>
                <a:lnTo>
                  <a:pt x="8" y="53"/>
                </a:lnTo>
                <a:lnTo>
                  <a:pt x="7" y="51"/>
                </a:lnTo>
                <a:lnTo>
                  <a:pt x="6" y="51"/>
                </a:lnTo>
                <a:lnTo>
                  <a:pt x="4" y="52"/>
                </a:lnTo>
                <a:lnTo>
                  <a:pt x="2" y="51"/>
                </a:lnTo>
                <a:lnTo>
                  <a:pt x="0" y="51"/>
                </a:lnTo>
                <a:lnTo>
                  <a:pt x="0" y="50"/>
                </a:lnTo>
                <a:lnTo>
                  <a:pt x="2" y="48"/>
                </a:lnTo>
                <a:lnTo>
                  <a:pt x="4" y="47"/>
                </a:lnTo>
                <a:lnTo>
                  <a:pt x="2" y="47"/>
                </a:lnTo>
                <a:lnTo>
                  <a:pt x="0" y="46"/>
                </a:lnTo>
                <a:lnTo>
                  <a:pt x="1" y="41"/>
                </a:lnTo>
                <a:lnTo>
                  <a:pt x="0" y="38"/>
                </a:lnTo>
                <a:lnTo>
                  <a:pt x="0" y="36"/>
                </a:lnTo>
                <a:lnTo>
                  <a:pt x="3" y="26"/>
                </a:lnTo>
                <a:lnTo>
                  <a:pt x="3" y="32"/>
                </a:lnTo>
                <a:lnTo>
                  <a:pt x="6" y="28"/>
                </a:lnTo>
                <a:lnTo>
                  <a:pt x="5" y="27"/>
                </a:lnTo>
                <a:lnTo>
                  <a:pt x="5" y="23"/>
                </a:lnTo>
                <a:lnTo>
                  <a:pt x="7" y="10"/>
                </a:lnTo>
                <a:lnTo>
                  <a:pt x="10" y="6"/>
                </a:lnTo>
                <a:lnTo>
                  <a:pt x="14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71" name="Freeform 170"/>
          <p:cNvSpPr>
            <a:spLocks/>
          </p:cNvSpPr>
          <p:nvPr/>
        </p:nvSpPr>
        <p:spPr bwMode="auto">
          <a:xfrm>
            <a:off x="7713663" y="4751353"/>
            <a:ext cx="98425" cy="84138"/>
          </a:xfrm>
          <a:custGeom>
            <a:avLst/>
            <a:gdLst>
              <a:gd name="T0" fmla="*/ 14 w 62"/>
              <a:gd name="T1" fmla="*/ 1 h 53"/>
              <a:gd name="T2" fmla="*/ 16 w 62"/>
              <a:gd name="T3" fmla="*/ 3 h 53"/>
              <a:gd name="T4" fmla="*/ 20 w 62"/>
              <a:gd name="T5" fmla="*/ 2 h 53"/>
              <a:gd name="T6" fmla="*/ 26 w 62"/>
              <a:gd name="T7" fmla="*/ 7 h 53"/>
              <a:gd name="T8" fmla="*/ 36 w 62"/>
              <a:gd name="T9" fmla="*/ 9 h 53"/>
              <a:gd name="T10" fmla="*/ 44 w 62"/>
              <a:gd name="T11" fmla="*/ 5 h 53"/>
              <a:gd name="T12" fmla="*/ 49 w 62"/>
              <a:gd name="T13" fmla="*/ 5 h 53"/>
              <a:gd name="T14" fmla="*/ 55 w 62"/>
              <a:gd name="T15" fmla="*/ 3 h 53"/>
              <a:gd name="T16" fmla="*/ 59 w 62"/>
              <a:gd name="T17" fmla="*/ 2 h 53"/>
              <a:gd name="T18" fmla="*/ 62 w 62"/>
              <a:gd name="T19" fmla="*/ 5 h 53"/>
              <a:gd name="T20" fmla="*/ 57 w 62"/>
              <a:gd name="T21" fmla="*/ 13 h 53"/>
              <a:gd name="T22" fmla="*/ 53 w 62"/>
              <a:gd name="T23" fmla="*/ 21 h 53"/>
              <a:gd name="T24" fmla="*/ 49 w 62"/>
              <a:gd name="T25" fmla="*/ 26 h 53"/>
              <a:gd name="T26" fmla="*/ 48 w 62"/>
              <a:gd name="T27" fmla="*/ 27 h 53"/>
              <a:gd name="T28" fmla="*/ 51 w 62"/>
              <a:gd name="T29" fmla="*/ 23 h 53"/>
              <a:gd name="T30" fmla="*/ 43 w 62"/>
              <a:gd name="T31" fmla="*/ 28 h 53"/>
              <a:gd name="T32" fmla="*/ 39 w 62"/>
              <a:gd name="T33" fmla="*/ 33 h 53"/>
              <a:gd name="T34" fmla="*/ 34 w 62"/>
              <a:gd name="T35" fmla="*/ 38 h 53"/>
              <a:gd name="T36" fmla="*/ 31 w 62"/>
              <a:gd name="T37" fmla="*/ 37 h 53"/>
              <a:gd name="T38" fmla="*/ 27 w 62"/>
              <a:gd name="T39" fmla="*/ 41 h 53"/>
              <a:gd name="T40" fmla="*/ 23 w 62"/>
              <a:gd name="T41" fmla="*/ 44 h 53"/>
              <a:gd name="T42" fmla="*/ 21 w 62"/>
              <a:gd name="T43" fmla="*/ 45 h 53"/>
              <a:gd name="T44" fmla="*/ 17 w 62"/>
              <a:gd name="T45" fmla="*/ 45 h 53"/>
              <a:gd name="T46" fmla="*/ 14 w 62"/>
              <a:gd name="T47" fmla="*/ 50 h 53"/>
              <a:gd name="T48" fmla="*/ 8 w 62"/>
              <a:gd name="T49" fmla="*/ 53 h 53"/>
              <a:gd name="T50" fmla="*/ 6 w 62"/>
              <a:gd name="T51" fmla="*/ 51 h 53"/>
              <a:gd name="T52" fmla="*/ 2 w 62"/>
              <a:gd name="T53" fmla="*/ 51 h 53"/>
              <a:gd name="T54" fmla="*/ 0 w 62"/>
              <a:gd name="T55" fmla="*/ 50 h 53"/>
              <a:gd name="T56" fmla="*/ 4 w 62"/>
              <a:gd name="T57" fmla="*/ 47 h 53"/>
              <a:gd name="T58" fmla="*/ 0 w 62"/>
              <a:gd name="T59" fmla="*/ 46 h 53"/>
              <a:gd name="T60" fmla="*/ 0 w 62"/>
              <a:gd name="T61" fmla="*/ 38 h 53"/>
              <a:gd name="T62" fmla="*/ 3 w 62"/>
              <a:gd name="T63" fmla="*/ 26 h 53"/>
              <a:gd name="T64" fmla="*/ 6 w 62"/>
              <a:gd name="T65" fmla="*/ 28 h 53"/>
              <a:gd name="T66" fmla="*/ 5 w 62"/>
              <a:gd name="T67" fmla="*/ 23 h 53"/>
              <a:gd name="T68" fmla="*/ 10 w 62"/>
              <a:gd name="T69" fmla="*/ 6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2" h="53">
                <a:moveTo>
                  <a:pt x="14" y="0"/>
                </a:moveTo>
                <a:lnTo>
                  <a:pt x="14" y="1"/>
                </a:lnTo>
                <a:lnTo>
                  <a:pt x="15" y="1"/>
                </a:lnTo>
                <a:lnTo>
                  <a:pt x="16" y="3"/>
                </a:lnTo>
                <a:lnTo>
                  <a:pt x="18" y="2"/>
                </a:lnTo>
                <a:lnTo>
                  <a:pt x="20" y="2"/>
                </a:lnTo>
                <a:lnTo>
                  <a:pt x="23" y="3"/>
                </a:lnTo>
                <a:lnTo>
                  <a:pt x="26" y="7"/>
                </a:lnTo>
                <a:lnTo>
                  <a:pt x="34" y="9"/>
                </a:lnTo>
                <a:lnTo>
                  <a:pt x="36" y="9"/>
                </a:lnTo>
                <a:lnTo>
                  <a:pt x="39" y="6"/>
                </a:lnTo>
                <a:lnTo>
                  <a:pt x="44" y="5"/>
                </a:lnTo>
                <a:lnTo>
                  <a:pt x="46" y="6"/>
                </a:lnTo>
                <a:lnTo>
                  <a:pt x="49" y="5"/>
                </a:lnTo>
                <a:lnTo>
                  <a:pt x="54" y="3"/>
                </a:lnTo>
                <a:lnTo>
                  <a:pt x="55" y="3"/>
                </a:lnTo>
                <a:lnTo>
                  <a:pt x="57" y="4"/>
                </a:lnTo>
                <a:lnTo>
                  <a:pt x="59" y="2"/>
                </a:lnTo>
                <a:lnTo>
                  <a:pt x="61" y="2"/>
                </a:lnTo>
                <a:lnTo>
                  <a:pt x="62" y="5"/>
                </a:lnTo>
                <a:lnTo>
                  <a:pt x="59" y="11"/>
                </a:lnTo>
                <a:lnTo>
                  <a:pt x="57" y="13"/>
                </a:lnTo>
                <a:lnTo>
                  <a:pt x="55" y="16"/>
                </a:lnTo>
                <a:lnTo>
                  <a:pt x="53" y="21"/>
                </a:lnTo>
                <a:lnTo>
                  <a:pt x="49" y="25"/>
                </a:lnTo>
                <a:lnTo>
                  <a:pt x="49" y="26"/>
                </a:lnTo>
                <a:lnTo>
                  <a:pt x="47" y="30"/>
                </a:lnTo>
                <a:lnTo>
                  <a:pt x="48" y="27"/>
                </a:lnTo>
                <a:lnTo>
                  <a:pt x="49" y="25"/>
                </a:lnTo>
                <a:lnTo>
                  <a:pt x="51" y="23"/>
                </a:lnTo>
                <a:lnTo>
                  <a:pt x="48" y="24"/>
                </a:lnTo>
                <a:lnTo>
                  <a:pt x="43" y="28"/>
                </a:lnTo>
                <a:lnTo>
                  <a:pt x="41" y="33"/>
                </a:lnTo>
                <a:lnTo>
                  <a:pt x="39" y="33"/>
                </a:lnTo>
                <a:lnTo>
                  <a:pt x="36" y="37"/>
                </a:lnTo>
                <a:lnTo>
                  <a:pt x="34" y="38"/>
                </a:lnTo>
                <a:lnTo>
                  <a:pt x="33" y="38"/>
                </a:lnTo>
                <a:lnTo>
                  <a:pt x="31" y="37"/>
                </a:lnTo>
                <a:lnTo>
                  <a:pt x="29" y="38"/>
                </a:lnTo>
                <a:lnTo>
                  <a:pt x="27" y="41"/>
                </a:lnTo>
                <a:lnTo>
                  <a:pt x="25" y="43"/>
                </a:lnTo>
                <a:lnTo>
                  <a:pt x="23" y="44"/>
                </a:lnTo>
                <a:lnTo>
                  <a:pt x="21" y="46"/>
                </a:lnTo>
                <a:lnTo>
                  <a:pt x="21" y="45"/>
                </a:lnTo>
                <a:lnTo>
                  <a:pt x="20" y="44"/>
                </a:lnTo>
                <a:lnTo>
                  <a:pt x="17" y="45"/>
                </a:lnTo>
                <a:lnTo>
                  <a:pt x="15" y="48"/>
                </a:lnTo>
                <a:lnTo>
                  <a:pt x="14" y="50"/>
                </a:lnTo>
                <a:lnTo>
                  <a:pt x="11" y="52"/>
                </a:lnTo>
                <a:lnTo>
                  <a:pt x="8" y="53"/>
                </a:lnTo>
                <a:lnTo>
                  <a:pt x="7" y="51"/>
                </a:lnTo>
                <a:lnTo>
                  <a:pt x="6" y="51"/>
                </a:lnTo>
                <a:lnTo>
                  <a:pt x="4" y="52"/>
                </a:lnTo>
                <a:lnTo>
                  <a:pt x="2" y="51"/>
                </a:lnTo>
                <a:lnTo>
                  <a:pt x="0" y="51"/>
                </a:lnTo>
                <a:lnTo>
                  <a:pt x="0" y="50"/>
                </a:lnTo>
                <a:lnTo>
                  <a:pt x="2" y="48"/>
                </a:lnTo>
                <a:lnTo>
                  <a:pt x="4" y="47"/>
                </a:lnTo>
                <a:lnTo>
                  <a:pt x="2" y="47"/>
                </a:lnTo>
                <a:lnTo>
                  <a:pt x="0" y="46"/>
                </a:lnTo>
                <a:lnTo>
                  <a:pt x="1" y="41"/>
                </a:lnTo>
                <a:lnTo>
                  <a:pt x="0" y="38"/>
                </a:lnTo>
                <a:lnTo>
                  <a:pt x="0" y="36"/>
                </a:lnTo>
                <a:lnTo>
                  <a:pt x="3" y="26"/>
                </a:lnTo>
                <a:lnTo>
                  <a:pt x="3" y="32"/>
                </a:lnTo>
                <a:lnTo>
                  <a:pt x="6" y="28"/>
                </a:lnTo>
                <a:lnTo>
                  <a:pt x="5" y="27"/>
                </a:lnTo>
                <a:lnTo>
                  <a:pt x="5" y="23"/>
                </a:lnTo>
                <a:lnTo>
                  <a:pt x="7" y="10"/>
                </a:lnTo>
                <a:lnTo>
                  <a:pt x="10" y="6"/>
                </a:lnTo>
                <a:lnTo>
                  <a:pt x="14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72" name="Freeform 171"/>
          <p:cNvSpPr>
            <a:spLocks/>
          </p:cNvSpPr>
          <p:nvPr/>
        </p:nvSpPr>
        <p:spPr bwMode="auto">
          <a:xfrm>
            <a:off x="7121526" y="3887753"/>
            <a:ext cx="1012825" cy="819150"/>
          </a:xfrm>
          <a:custGeom>
            <a:avLst/>
            <a:gdLst>
              <a:gd name="T0" fmla="*/ 53 w 638"/>
              <a:gd name="T1" fmla="*/ 202 h 516"/>
              <a:gd name="T2" fmla="*/ 91 w 638"/>
              <a:gd name="T3" fmla="*/ 180 h 516"/>
              <a:gd name="T4" fmla="*/ 138 w 638"/>
              <a:gd name="T5" fmla="*/ 167 h 516"/>
              <a:gd name="T6" fmla="*/ 185 w 638"/>
              <a:gd name="T7" fmla="*/ 135 h 516"/>
              <a:gd name="T8" fmla="*/ 201 w 638"/>
              <a:gd name="T9" fmla="*/ 106 h 516"/>
              <a:gd name="T10" fmla="*/ 211 w 638"/>
              <a:gd name="T11" fmla="*/ 105 h 516"/>
              <a:gd name="T12" fmla="*/ 233 w 638"/>
              <a:gd name="T13" fmla="*/ 85 h 516"/>
              <a:gd name="T14" fmla="*/ 250 w 638"/>
              <a:gd name="T15" fmla="*/ 72 h 516"/>
              <a:gd name="T16" fmla="*/ 267 w 638"/>
              <a:gd name="T17" fmla="*/ 61 h 516"/>
              <a:gd name="T18" fmla="*/ 286 w 638"/>
              <a:gd name="T19" fmla="*/ 83 h 516"/>
              <a:gd name="T20" fmla="*/ 309 w 638"/>
              <a:gd name="T21" fmla="*/ 82 h 516"/>
              <a:gd name="T22" fmla="*/ 320 w 638"/>
              <a:gd name="T23" fmla="*/ 52 h 516"/>
              <a:gd name="T24" fmla="*/ 338 w 638"/>
              <a:gd name="T25" fmla="*/ 35 h 516"/>
              <a:gd name="T26" fmla="*/ 361 w 638"/>
              <a:gd name="T27" fmla="*/ 15 h 516"/>
              <a:gd name="T28" fmla="*/ 361 w 638"/>
              <a:gd name="T29" fmla="*/ 9 h 516"/>
              <a:gd name="T30" fmla="*/ 381 w 638"/>
              <a:gd name="T31" fmla="*/ 21 h 516"/>
              <a:gd name="T32" fmla="*/ 406 w 638"/>
              <a:gd name="T33" fmla="*/ 29 h 516"/>
              <a:gd name="T34" fmla="*/ 424 w 638"/>
              <a:gd name="T35" fmla="*/ 30 h 516"/>
              <a:gd name="T36" fmla="*/ 427 w 638"/>
              <a:gd name="T37" fmla="*/ 39 h 516"/>
              <a:gd name="T38" fmla="*/ 414 w 638"/>
              <a:gd name="T39" fmla="*/ 53 h 516"/>
              <a:gd name="T40" fmla="*/ 417 w 638"/>
              <a:gd name="T41" fmla="*/ 85 h 516"/>
              <a:gd name="T42" fmla="*/ 446 w 638"/>
              <a:gd name="T43" fmla="*/ 110 h 516"/>
              <a:gd name="T44" fmla="*/ 498 w 638"/>
              <a:gd name="T45" fmla="*/ 87 h 516"/>
              <a:gd name="T46" fmla="*/ 515 w 638"/>
              <a:gd name="T47" fmla="*/ 23 h 516"/>
              <a:gd name="T48" fmla="*/ 530 w 638"/>
              <a:gd name="T49" fmla="*/ 5 h 516"/>
              <a:gd name="T50" fmla="*/ 537 w 638"/>
              <a:gd name="T51" fmla="*/ 55 h 516"/>
              <a:gd name="T52" fmla="*/ 560 w 638"/>
              <a:gd name="T53" fmla="*/ 82 h 516"/>
              <a:gd name="T54" fmla="*/ 562 w 638"/>
              <a:gd name="T55" fmla="*/ 134 h 516"/>
              <a:gd name="T56" fmla="*/ 571 w 638"/>
              <a:gd name="T57" fmla="*/ 156 h 516"/>
              <a:gd name="T58" fmla="*/ 597 w 638"/>
              <a:gd name="T59" fmla="*/ 173 h 516"/>
              <a:gd name="T60" fmla="*/ 600 w 638"/>
              <a:gd name="T61" fmla="*/ 206 h 516"/>
              <a:gd name="T62" fmla="*/ 617 w 638"/>
              <a:gd name="T63" fmla="*/ 211 h 516"/>
              <a:gd name="T64" fmla="*/ 629 w 638"/>
              <a:gd name="T65" fmla="*/ 251 h 516"/>
              <a:gd name="T66" fmla="*/ 634 w 638"/>
              <a:gd name="T67" fmla="*/ 286 h 516"/>
              <a:gd name="T68" fmla="*/ 620 w 638"/>
              <a:gd name="T69" fmla="*/ 339 h 516"/>
              <a:gd name="T70" fmla="*/ 582 w 638"/>
              <a:gd name="T71" fmla="*/ 395 h 516"/>
              <a:gd name="T72" fmla="*/ 552 w 638"/>
              <a:gd name="T73" fmla="*/ 417 h 516"/>
              <a:gd name="T74" fmla="*/ 518 w 638"/>
              <a:gd name="T75" fmla="*/ 456 h 516"/>
              <a:gd name="T76" fmla="*/ 493 w 638"/>
              <a:gd name="T77" fmla="*/ 487 h 516"/>
              <a:gd name="T78" fmla="*/ 431 w 638"/>
              <a:gd name="T79" fmla="*/ 508 h 516"/>
              <a:gd name="T80" fmla="*/ 421 w 638"/>
              <a:gd name="T81" fmla="*/ 508 h 516"/>
              <a:gd name="T82" fmla="*/ 408 w 638"/>
              <a:gd name="T83" fmla="*/ 496 h 516"/>
              <a:gd name="T84" fmla="*/ 367 w 638"/>
              <a:gd name="T85" fmla="*/ 500 h 516"/>
              <a:gd name="T86" fmla="*/ 355 w 638"/>
              <a:gd name="T87" fmla="*/ 463 h 516"/>
              <a:gd name="T88" fmla="*/ 349 w 638"/>
              <a:gd name="T89" fmla="*/ 428 h 516"/>
              <a:gd name="T90" fmla="*/ 333 w 638"/>
              <a:gd name="T91" fmla="*/ 438 h 516"/>
              <a:gd name="T92" fmla="*/ 356 w 638"/>
              <a:gd name="T93" fmla="*/ 404 h 516"/>
              <a:gd name="T94" fmla="*/ 334 w 638"/>
              <a:gd name="T95" fmla="*/ 418 h 516"/>
              <a:gd name="T96" fmla="*/ 303 w 638"/>
              <a:gd name="T97" fmla="*/ 436 h 516"/>
              <a:gd name="T98" fmla="*/ 304 w 638"/>
              <a:gd name="T99" fmla="*/ 409 h 516"/>
              <a:gd name="T100" fmla="*/ 280 w 638"/>
              <a:gd name="T101" fmla="*/ 386 h 516"/>
              <a:gd name="T102" fmla="*/ 199 w 638"/>
              <a:gd name="T103" fmla="*/ 390 h 516"/>
              <a:gd name="T104" fmla="*/ 137 w 638"/>
              <a:gd name="T105" fmla="*/ 414 h 516"/>
              <a:gd name="T106" fmla="*/ 88 w 638"/>
              <a:gd name="T107" fmla="*/ 422 h 516"/>
              <a:gd name="T108" fmla="*/ 40 w 638"/>
              <a:gd name="T109" fmla="*/ 442 h 516"/>
              <a:gd name="T110" fmla="*/ 5 w 638"/>
              <a:gd name="T111" fmla="*/ 428 h 516"/>
              <a:gd name="T112" fmla="*/ 21 w 638"/>
              <a:gd name="T113" fmla="*/ 395 h 516"/>
              <a:gd name="T114" fmla="*/ 23 w 638"/>
              <a:gd name="T115" fmla="*/ 321 h 516"/>
              <a:gd name="T116" fmla="*/ 17 w 638"/>
              <a:gd name="T117" fmla="*/ 282 h 516"/>
              <a:gd name="T118" fmla="*/ 25 w 638"/>
              <a:gd name="T119" fmla="*/ 278 h 516"/>
              <a:gd name="T120" fmla="*/ 25 w 638"/>
              <a:gd name="T121" fmla="*/ 241 h 5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38" h="516">
                <a:moveTo>
                  <a:pt x="43" y="202"/>
                </a:moveTo>
                <a:lnTo>
                  <a:pt x="44" y="201"/>
                </a:lnTo>
                <a:lnTo>
                  <a:pt x="43" y="205"/>
                </a:lnTo>
                <a:lnTo>
                  <a:pt x="43" y="206"/>
                </a:lnTo>
                <a:lnTo>
                  <a:pt x="42" y="207"/>
                </a:lnTo>
                <a:lnTo>
                  <a:pt x="42" y="210"/>
                </a:lnTo>
                <a:lnTo>
                  <a:pt x="43" y="210"/>
                </a:lnTo>
                <a:lnTo>
                  <a:pt x="42" y="212"/>
                </a:lnTo>
                <a:lnTo>
                  <a:pt x="41" y="214"/>
                </a:lnTo>
                <a:lnTo>
                  <a:pt x="42" y="214"/>
                </a:lnTo>
                <a:lnTo>
                  <a:pt x="45" y="212"/>
                </a:lnTo>
                <a:lnTo>
                  <a:pt x="47" y="208"/>
                </a:lnTo>
                <a:lnTo>
                  <a:pt x="51" y="203"/>
                </a:lnTo>
                <a:lnTo>
                  <a:pt x="53" y="202"/>
                </a:lnTo>
                <a:lnTo>
                  <a:pt x="55" y="201"/>
                </a:lnTo>
                <a:lnTo>
                  <a:pt x="57" y="200"/>
                </a:lnTo>
                <a:lnTo>
                  <a:pt x="60" y="197"/>
                </a:lnTo>
                <a:lnTo>
                  <a:pt x="66" y="196"/>
                </a:lnTo>
                <a:lnTo>
                  <a:pt x="67" y="194"/>
                </a:lnTo>
                <a:lnTo>
                  <a:pt x="71" y="192"/>
                </a:lnTo>
                <a:lnTo>
                  <a:pt x="73" y="191"/>
                </a:lnTo>
                <a:lnTo>
                  <a:pt x="75" y="187"/>
                </a:lnTo>
                <a:lnTo>
                  <a:pt x="80" y="185"/>
                </a:lnTo>
                <a:lnTo>
                  <a:pt x="82" y="184"/>
                </a:lnTo>
                <a:lnTo>
                  <a:pt x="84" y="183"/>
                </a:lnTo>
                <a:lnTo>
                  <a:pt x="90" y="178"/>
                </a:lnTo>
                <a:lnTo>
                  <a:pt x="91" y="178"/>
                </a:lnTo>
                <a:lnTo>
                  <a:pt x="91" y="180"/>
                </a:lnTo>
                <a:lnTo>
                  <a:pt x="95" y="180"/>
                </a:lnTo>
                <a:lnTo>
                  <a:pt x="97" y="181"/>
                </a:lnTo>
                <a:lnTo>
                  <a:pt x="101" y="181"/>
                </a:lnTo>
                <a:lnTo>
                  <a:pt x="103" y="181"/>
                </a:lnTo>
                <a:lnTo>
                  <a:pt x="106" y="180"/>
                </a:lnTo>
                <a:lnTo>
                  <a:pt x="110" y="176"/>
                </a:lnTo>
                <a:lnTo>
                  <a:pt x="113" y="175"/>
                </a:lnTo>
                <a:lnTo>
                  <a:pt x="115" y="174"/>
                </a:lnTo>
                <a:lnTo>
                  <a:pt x="118" y="174"/>
                </a:lnTo>
                <a:lnTo>
                  <a:pt x="122" y="174"/>
                </a:lnTo>
                <a:lnTo>
                  <a:pt x="128" y="167"/>
                </a:lnTo>
                <a:lnTo>
                  <a:pt x="133" y="167"/>
                </a:lnTo>
                <a:lnTo>
                  <a:pt x="135" y="170"/>
                </a:lnTo>
                <a:lnTo>
                  <a:pt x="138" y="167"/>
                </a:lnTo>
                <a:lnTo>
                  <a:pt x="143" y="167"/>
                </a:lnTo>
                <a:lnTo>
                  <a:pt x="145" y="166"/>
                </a:lnTo>
                <a:lnTo>
                  <a:pt x="148" y="165"/>
                </a:lnTo>
                <a:lnTo>
                  <a:pt x="156" y="163"/>
                </a:lnTo>
                <a:lnTo>
                  <a:pt x="159" y="162"/>
                </a:lnTo>
                <a:lnTo>
                  <a:pt x="162" y="160"/>
                </a:lnTo>
                <a:lnTo>
                  <a:pt x="169" y="153"/>
                </a:lnTo>
                <a:lnTo>
                  <a:pt x="171" y="151"/>
                </a:lnTo>
                <a:lnTo>
                  <a:pt x="172" y="148"/>
                </a:lnTo>
                <a:lnTo>
                  <a:pt x="175" y="144"/>
                </a:lnTo>
                <a:lnTo>
                  <a:pt x="175" y="143"/>
                </a:lnTo>
                <a:lnTo>
                  <a:pt x="176" y="141"/>
                </a:lnTo>
                <a:lnTo>
                  <a:pt x="178" y="142"/>
                </a:lnTo>
                <a:lnTo>
                  <a:pt x="185" y="135"/>
                </a:lnTo>
                <a:lnTo>
                  <a:pt x="186" y="133"/>
                </a:lnTo>
                <a:lnTo>
                  <a:pt x="185" y="132"/>
                </a:lnTo>
                <a:lnTo>
                  <a:pt x="185" y="123"/>
                </a:lnTo>
                <a:lnTo>
                  <a:pt x="186" y="119"/>
                </a:lnTo>
                <a:lnTo>
                  <a:pt x="189" y="115"/>
                </a:lnTo>
                <a:lnTo>
                  <a:pt x="191" y="114"/>
                </a:lnTo>
                <a:lnTo>
                  <a:pt x="192" y="114"/>
                </a:lnTo>
                <a:lnTo>
                  <a:pt x="194" y="112"/>
                </a:lnTo>
                <a:lnTo>
                  <a:pt x="196" y="110"/>
                </a:lnTo>
                <a:lnTo>
                  <a:pt x="197" y="110"/>
                </a:lnTo>
                <a:lnTo>
                  <a:pt x="197" y="107"/>
                </a:lnTo>
                <a:lnTo>
                  <a:pt x="199" y="104"/>
                </a:lnTo>
                <a:lnTo>
                  <a:pt x="199" y="104"/>
                </a:lnTo>
                <a:lnTo>
                  <a:pt x="201" y="106"/>
                </a:lnTo>
                <a:lnTo>
                  <a:pt x="201" y="109"/>
                </a:lnTo>
                <a:lnTo>
                  <a:pt x="202" y="114"/>
                </a:lnTo>
                <a:lnTo>
                  <a:pt x="203" y="117"/>
                </a:lnTo>
                <a:lnTo>
                  <a:pt x="205" y="120"/>
                </a:lnTo>
                <a:lnTo>
                  <a:pt x="205" y="123"/>
                </a:lnTo>
                <a:lnTo>
                  <a:pt x="206" y="124"/>
                </a:lnTo>
                <a:lnTo>
                  <a:pt x="208" y="121"/>
                </a:lnTo>
                <a:lnTo>
                  <a:pt x="209" y="116"/>
                </a:lnTo>
                <a:lnTo>
                  <a:pt x="209" y="116"/>
                </a:lnTo>
                <a:lnTo>
                  <a:pt x="212" y="115"/>
                </a:lnTo>
                <a:lnTo>
                  <a:pt x="212" y="112"/>
                </a:lnTo>
                <a:lnTo>
                  <a:pt x="211" y="109"/>
                </a:lnTo>
                <a:lnTo>
                  <a:pt x="209" y="106"/>
                </a:lnTo>
                <a:lnTo>
                  <a:pt x="211" y="105"/>
                </a:lnTo>
                <a:lnTo>
                  <a:pt x="211" y="100"/>
                </a:lnTo>
                <a:lnTo>
                  <a:pt x="213" y="99"/>
                </a:lnTo>
                <a:lnTo>
                  <a:pt x="215" y="100"/>
                </a:lnTo>
                <a:lnTo>
                  <a:pt x="217" y="100"/>
                </a:lnTo>
                <a:lnTo>
                  <a:pt x="221" y="105"/>
                </a:lnTo>
                <a:lnTo>
                  <a:pt x="225" y="105"/>
                </a:lnTo>
                <a:lnTo>
                  <a:pt x="226" y="103"/>
                </a:lnTo>
                <a:lnTo>
                  <a:pt x="224" y="102"/>
                </a:lnTo>
                <a:lnTo>
                  <a:pt x="225" y="99"/>
                </a:lnTo>
                <a:lnTo>
                  <a:pt x="228" y="95"/>
                </a:lnTo>
                <a:lnTo>
                  <a:pt x="229" y="93"/>
                </a:lnTo>
                <a:lnTo>
                  <a:pt x="228" y="87"/>
                </a:lnTo>
                <a:lnTo>
                  <a:pt x="231" y="85"/>
                </a:lnTo>
                <a:lnTo>
                  <a:pt x="233" y="85"/>
                </a:lnTo>
                <a:lnTo>
                  <a:pt x="236" y="86"/>
                </a:lnTo>
                <a:lnTo>
                  <a:pt x="236" y="86"/>
                </a:lnTo>
                <a:lnTo>
                  <a:pt x="235" y="82"/>
                </a:lnTo>
                <a:lnTo>
                  <a:pt x="236" y="80"/>
                </a:lnTo>
                <a:lnTo>
                  <a:pt x="237" y="79"/>
                </a:lnTo>
                <a:lnTo>
                  <a:pt x="242" y="81"/>
                </a:lnTo>
                <a:lnTo>
                  <a:pt x="243" y="79"/>
                </a:lnTo>
                <a:lnTo>
                  <a:pt x="242" y="75"/>
                </a:lnTo>
                <a:lnTo>
                  <a:pt x="242" y="72"/>
                </a:lnTo>
                <a:lnTo>
                  <a:pt x="244" y="71"/>
                </a:lnTo>
                <a:lnTo>
                  <a:pt x="246" y="71"/>
                </a:lnTo>
                <a:lnTo>
                  <a:pt x="247" y="70"/>
                </a:lnTo>
                <a:lnTo>
                  <a:pt x="250" y="70"/>
                </a:lnTo>
                <a:lnTo>
                  <a:pt x="250" y="72"/>
                </a:lnTo>
                <a:lnTo>
                  <a:pt x="252" y="71"/>
                </a:lnTo>
                <a:lnTo>
                  <a:pt x="254" y="70"/>
                </a:lnTo>
                <a:lnTo>
                  <a:pt x="256" y="65"/>
                </a:lnTo>
                <a:lnTo>
                  <a:pt x="256" y="64"/>
                </a:lnTo>
                <a:lnTo>
                  <a:pt x="255" y="62"/>
                </a:lnTo>
                <a:lnTo>
                  <a:pt x="256" y="60"/>
                </a:lnTo>
                <a:lnTo>
                  <a:pt x="257" y="62"/>
                </a:lnTo>
                <a:lnTo>
                  <a:pt x="257" y="64"/>
                </a:lnTo>
                <a:lnTo>
                  <a:pt x="259" y="63"/>
                </a:lnTo>
                <a:lnTo>
                  <a:pt x="260" y="61"/>
                </a:lnTo>
                <a:lnTo>
                  <a:pt x="262" y="61"/>
                </a:lnTo>
                <a:lnTo>
                  <a:pt x="262" y="63"/>
                </a:lnTo>
                <a:lnTo>
                  <a:pt x="264" y="63"/>
                </a:lnTo>
                <a:lnTo>
                  <a:pt x="267" y="61"/>
                </a:lnTo>
                <a:lnTo>
                  <a:pt x="268" y="60"/>
                </a:lnTo>
                <a:lnTo>
                  <a:pt x="268" y="56"/>
                </a:lnTo>
                <a:lnTo>
                  <a:pt x="270" y="56"/>
                </a:lnTo>
                <a:lnTo>
                  <a:pt x="272" y="57"/>
                </a:lnTo>
                <a:lnTo>
                  <a:pt x="274" y="59"/>
                </a:lnTo>
                <a:lnTo>
                  <a:pt x="276" y="59"/>
                </a:lnTo>
                <a:lnTo>
                  <a:pt x="279" y="61"/>
                </a:lnTo>
                <a:lnTo>
                  <a:pt x="280" y="63"/>
                </a:lnTo>
                <a:lnTo>
                  <a:pt x="285" y="70"/>
                </a:lnTo>
                <a:lnTo>
                  <a:pt x="288" y="73"/>
                </a:lnTo>
                <a:lnTo>
                  <a:pt x="286" y="79"/>
                </a:lnTo>
                <a:lnTo>
                  <a:pt x="286" y="82"/>
                </a:lnTo>
                <a:lnTo>
                  <a:pt x="286" y="83"/>
                </a:lnTo>
                <a:lnTo>
                  <a:pt x="286" y="83"/>
                </a:lnTo>
                <a:lnTo>
                  <a:pt x="287" y="82"/>
                </a:lnTo>
                <a:lnTo>
                  <a:pt x="288" y="80"/>
                </a:lnTo>
                <a:lnTo>
                  <a:pt x="288" y="79"/>
                </a:lnTo>
                <a:lnTo>
                  <a:pt x="289" y="77"/>
                </a:lnTo>
                <a:lnTo>
                  <a:pt x="290" y="77"/>
                </a:lnTo>
                <a:lnTo>
                  <a:pt x="290" y="77"/>
                </a:lnTo>
                <a:lnTo>
                  <a:pt x="293" y="77"/>
                </a:lnTo>
                <a:lnTo>
                  <a:pt x="293" y="75"/>
                </a:lnTo>
                <a:lnTo>
                  <a:pt x="294" y="74"/>
                </a:lnTo>
                <a:lnTo>
                  <a:pt x="297" y="75"/>
                </a:lnTo>
                <a:lnTo>
                  <a:pt x="300" y="75"/>
                </a:lnTo>
                <a:lnTo>
                  <a:pt x="304" y="75"/>
                </a:lnTo>
                <a:lnTo>
                  <a:pt x="305" y="76"/>
                </a:lnTo>
                <a:lnTo>
                  <a:pt x="309" y="82"/>
                </a:lnTo>
                <a:lnTo>
                  <a:pt x="312" y="82"/>
                </a:lnTo>
                <a:lnTo>
                  <a:pt x="312" y="81"/>
                </a:lnTo>
                <a:lnTo>
                  <a:pt x="310" y="76"/>
                </a:lnTo>
                <a:lnTo>
                  <a:pt x="314" y="75"/>
                </a:lnTo>
                <a:lnTo>
                  <a:pt x="314" y="75"/>
                </a:lnTo>
                <a:lnTo>
                  <a:pt x="310" y="71"/>
                </a:lnTo>
                <a:lnTo>
                  <a:pt x="308" y="66"/>
                </a:lnTo>
                <a:lnTo>
                  <a:pt x="310" y="62"/>
                </a:lnTo>
                <a:lnTo>
                  <a:pt x="312" y="62"/>
                </a:lnTo>
                <a:lnTo>
                  <a:pt x="313" y="61"/>
                </a:lnTo>
                <a:lnTo>
                  <a:pt x="317" y="55"/>
                </a:lnTo>
                <a:lnTo>
                  <a:pt x="317" y="53"/>
                </a:lnTo>
                <a:lnTo>
                  <a:pt x="319" y="51"/>
                </a:lnTo>
                <a:lnTo>
                  <a:pt x="320" y="52"/>
                </a:lnTo>
                <a:lnTo>
                  <a:pt x="324" y="52"/>
                </a:lnTo>
                <a:lnTo>
                  <a:pt x="326" y="50"/>
                </a:lnTo>
                <a:lnTo>
                  <a:pt x="326" y="45"/>
                </a:lnTo>
                <a:lnTo>
                  <a:pt x="324" y="46"/>
                </a:lnTo>
                <a:lnTo>
                  <a:pt x="325" y="44"/>
                </a:lnTo>
                <a:lnTo>
                  <a:pt x="325" y="41"/>
                </a:lnTo>
                <a:lnTo>
                  <a:pt x="327" y="37"/>
                </a:lnTo>
                <a:lnTo>
                  <a:pt x="329" y="36"/>
                </a:lnTo>
                <a:lnTo>
                  <a:pt x="331" y="35"/>
                </a:lnTo>
                <a:lnTo>
                  <a:pt x="333" y="33"/>
                </a:lnTo>
                <a:lnTo>
                  <a:pt x="335" y="33"/>
                </a:lnTo>
                <a:lnTo>
                  <a:pt x="337" y="35"/>
                </a:lnTo>
                <a:lnTo>
                  <a:pt x="338" y="37"/>
                </a:lnTo>
                <a:lnTo>
                  <a:pt x="338" y="35"/>
                </a:lnTo>
                <a:lnTo>
                  <a:pt x="337" y="32"/>
                </a:lnTo>
                <a:lnTo>
                  <a:pt x="338" y="31"/>
                </a:lnTo>
                <a:lnTo>
                  <a:pt x="340" y="29"/>
                </a:lnTo>
                <a:lnTo>
                  <a:pt x="344" y="30"/>
                </a:lnTo>
                <a:lnTo>
                  <a:pt x="345" y="29"/>
                </a:lnTo>
                <a:lnTo>
                  <a:pt x="348" y="29"/>
                </a:lnTo>
                <a:lnTo>
                  <a:pt x="351" y="29"/>
                </a:lnTo>
                <a:lnTo>
                  <a:pt x="354" y="30"/>
                </a:lnTo>
                <a:lnTo>
                  <a:pt x="357" y="30"/>
                </a:lnTo>
                <a:lnTo>
                  <a:pt x="363" y="28"/>
                </a:lnTo>
                <a:lnTo>
                  <a:pt x="365" y="25"/>
                </a:lnTo>
                <a:lnTo>
                  <a:pt x="366" y="18"/>
                </a:lnTo>
                <a:lnTo>
                  <a:pt x="365" y="15"/>
                </a:lnTo>
                <a:lnTo>
                  <a:pt x="361" y="15"/>
                </a:lnTo>
                <a:lnTo>
                  <a:pt x="359" y="15"/>
                </a:lnTo>
                <a:lnTo>
                  <a:pt x="357" y="14"/>
                </a:lnTo>
                <a:lnTo>
                  <a:pt x="356" y="12"/>
                </a:lnTo>
                <a:lnTo>
                  <a:pt x="354" y="11"/>
                </a:lnTo>
                <a:lnTo>
                  <a:pt x="354" y="11"/>
                </a:lnTo>
                <a:lnTo>
                  <a:pt x="355" y="11"/>
                </a:lnTo>
                <a:lnTo>
                  <a:pt x="356" y="11"/>
                </a:lnTo>
                <a:lnTo>
                  <a:pt x="357" y="10"/>
                </a:lnTo>
                <a:lnTo>
                  <a:pt x="358" y="9"/>
                </a:lnTo>
                <a:lnTo>
                  <a:pt x="358" y="10"/>
                </a:lnTo>
                <a:lnTo>
                  <a:pt x="358" y="14"/>
                </a:lnTo>
                <a:lnTo>
                  <a:pt x="360" y="12"/>
                </a:lnTo>
                <a:lnTo>
                  <a:pt x="360" y="10"/>
                </a:lnTo>
                <a:lnTo>
                  <a:pt x="361" y="9"/>
                </a:lnTo>
                <a:lnTo>
                  <a:pt x="363" y="11"/>
                </a:lnTo>
                <a:lnTo>
                  <a:pt x="364" y="11"/>
                </a:lnTo>
                <a:lnTo>
                  <a:pt x="365" y="12"/>
                </a:lnTo>
                <a:lnTo>
                  <a:pt x="366" y="13"/>
                </a:lnTo>
                <a:lnTo>
                  <a:pt x="368" y="15"/>
                </a:lnTo>
                <a:lnTo>
                  <a:pt x="369" y="13"/>
                </a:lnTo>
                <a:lnTo>
                  <a:pt x="370" y="13"/>
                </a:lnTo>
                <a:lnTo>
                  <a:pt x="371" y="14"/>
                </a:lnTo>
                <a:lnTo>
                  <a:pt x="373" y="16"/>
                </a:lnTo>
                <a:lnTo>
                  <a:pt x="374" y="19"/>
                </a:lnTo>
                <a:lnTo>
                  <a:pt x="378" y="20"/>
                </a:lnTo>
                <a:lnTo>
                  <a:pt x="379" y="20"/>
                </a:lnTo>
                <a:lnTo>
                  <a:pt x="380" y="20"/>
                </a:lnTo>
                <a:lnTo>
                  <a:pt x="381" y="21"/>
                </a:lnTo>
                <a:lnTo>
                  <a:pt x="384" y="20"/>
                </a:lnTo>
                <a:lnTo>
                  <a:pt x="385" y="20"/>
                </a:lnTo>
                <a:lnTo>
                  <a:pt x="385" y="21"/>
                </a:lnTo>
                <a:lnTo>
                  <a:pt x="386" y="22"/>
                </a:lnTo>
                <a:lnTo>
                  <a:pt x="388" y="22"/>
                </a:lnTo>
                <a:lnTo>
                  <a:pt x="391" y="24"/>
                </a:lnTo>
                <a:lnTo>
                  <a:pt x="394" y="24"/>
                </a:lnTo>
                <a:lnTo>
                  <a:pt x="396" y="25"/>
                </a:lnTo>
                <a:lnTo>
                  <a:pt x="398" y="24"/>
                </a:lnTo>
                <a:lnTo>
                  <a:pt x="399" y="24"/>
                </a:lnTo>
                <a:lnTo>
                  <a:pt x="400" y="26"/>
                </a:lnTo>
                <a:lnTo>
                  <a:pt x="404" y="26"/>
                </a:lnTo>
                <a:lnTo>
                  <a:pt x="405" y="28"/>
                </a:lnTo>
                <a:lnTo>
                  <a:pt x="406" y="29"/>
                </a:lnTo>
                <a:lnTo>
                  <a:pt x="410" y="25"/>
                </a:lnTo>
                <a:lnTo>
                  <a:pt x="411" y="24"/>
                </a:lnTo>
                <a:lnTo>
                  <a:pt x="412" y="24"/>
                </a:lnTo>
                <a:lnTo>
                  <a:pt x="416" y="24"/>
                </a:lnTo>
                <a:lnTo>
                  <a:pt x="418" y="23"/>
                </a:lnTo>
                <a:lnTo>
                  <a:pt x="416" y="26"/>
                </a:lnTo>
                <a:lnTo>
                  <a:pt x="417" y="28"/>
                </a:lnTo>
                <a:lnTo>
                  <a:pt x="417" y="28"/>
                </a:lnTo>
                <a:lnTo>
                  <a:pt x="419" y="26"/>
                </a:lnTo>
                <a:lnTo>
                  <a:pt x="419" y="28"/>
                </a:lnTo>
                <a:lnTo>
                  <a:pt x="418" y="33"/>
                </a:lnTo>
                <a:lnTo>
                  <a:pt x="418" y="34"/>
                </a:lnTo>
                <a:lnTo>
                  <a:pt x="421" y="33"/>
                </a:lnTo>
                <a:lnTo>
                  <a:pt x="424" y="30"/>
                </a:lnTo>
                <a:lnTo>
                  <a:pt x="424" y="29"/>
                </a:lnTo>
                <a:lnTo>
                  <a:pt x="424" y="25"/>
                </a:lnTo>
                <a:lnTo>
                  <a:pt x="427" y="22"/>
                </a:lnTo>
                <a:lnTo>
                  <a:pt x="428" y="23"/>
                </a:lnTo>
                <a:lnTo>
                  <a:pt x="428" y="25"/>
                </a:lnTo>
                <a:lnTo>
                  <a:pt x="428" y="30"/>
                </a:lnTo>
                <a:lnTo>
                  <a:pt x="430" y="29"/>
                </a:lnTo>
                <a:lnTo>
                  <a:pt x="432" y="29"/>
                </a:lnTo>
                <a:lnTo>
                  <a:pt x="434" y="30"/>
                </a:lnTo>
                <a:lnTo>
                  <a:pt x="432" y="31"/>
                </a:lnTo>
                <a:lnTo>
                  <a:pt x="431" y="34"/>
                </a:lnTo>
                <a:lnTo>
                  <a:pt x="429" y="37"/>
                </a:lnTo>
                <a:lnTo>
                  <a:pt x="428" y="39"/>
                </a:lnTo>
                <a:lnTo>
                  <a:pt x="427" y="39"/>
                </a:lnTo>
                <a:lnTo>
                  <a:pt x="426" y="40"/>
                </a:lnTo>
                <a:lnTo>
                  <a:pt x="427" y="42"/>
                </a:lnTo>
                <a:lnTo>
                  <a:pt x="425" y="45"/>
                </a:lnTo>
                <a:lnTo>
                  <a:pt x="424" y="46"/>
                </a:lnTo>
                <a:lnTo>
                  <a:pt x="421" y="46"/>
                </a:lnTo>
                <a:lnTo>
                  <a:pt x="420" y="44"/>
                </a:lnTo>
                <a:lnTo>
                  <a:pt x="419" y="46"/>
                </a:lnTo>
                <a:lnTo>
                  <a:pt x="419" y="49"/>
                </a:lnTo>
                <a:lnTo>
                  <a:pt x="419" y="51"/>
                </a:lnTo>
                <a:lnTo>
                  <a:pt x="419" y="50"/>
                </a:lnTo>
                <a:lnTo>
                  <a:pt x="418" y="46"/>
                </a:lnTo>
                <a:lnTo>
                  <a:pt x="417" y="46"/>
                </a:lnTo>
                <a:lnTo>
                  <a:pt x="416" y="51"/>
                </a:lnTo>
                <a:lnTo>
                  <a:pt x="414" y="53"/>
                </a:lnTo>
                <a:lnTo>
                  <a:pt x="414" y="55"/>
                </a:lnTo>
                <a:lnTo>
                  <a:pt x="417" y="54"/>
                </a:lnTo>
                <a:lnTo>
                  <a:pt x="415" y="61"/>
                </a:lnTo>
                <a:lnTo>
                  <a:pt x="414" y="62"/>
                </a:lnTo>
                <a:lnTo>
                  <a:pt x="410" y="67"/>
                </a:lnTo>
                <a:lnTo>
                  <a:pt x="409" y="72"/>
                </a:lnTo>
                <a:lnTo>
                  <a:pt x="408" y="73"/>
                </a:lnTo>
                <a:lnTo>
                  <a:pt x="407" y="75"/>
                </a:lnTo>
                <a:lnTo>
                  <a:pt x="406" y="79"/>
                </a:lnTo>
                <a:lnTo>
                  <a:pt x="408" y="80"/>
                </a:lnTo>
                <a:lnTo>
                  <a:pt x="408" y="82"/>
                </a:lnTo>
                <a:lnTo>
                  <a:pt x="410" y="81"/>
                </a:lnTo>
                <a:lnTo>
                  <a:pt x="412" y="84"/>
                </a:lnTo>
                <a:lnTo>
                  <a:pt x="417" y="85"/>
                </a:lnTo>
                <a:lnTo>
                  <a:pt x="417" y="89"/>
                </a:lnTo>
                <a:lnTo>
                  <a:pt x="417" y="92"/>
                </a:lnTo>
                <a:lnTo>
                  <a:pt x="417" y="96"/>
                </a:lnTo>
                <a:lnTo>
                  <a:pt x="420" y="94"/>
                </a:lnTo>
                <a:lnTo>
                  <a:pt x="426" y="95"/>
                </a:lnTo>
                <a:lnTo>
                  <a:pt x="430" y="95"/>
                </a:lnTo>
                <a:lnTo>
                  <a:pt x="430" y="97"/>
                </a:lnTo>
                <a:lnTo>
                  <a:pt x="434" y="100"/>
                </a:lnTo>
                <a:lnTo>
                  <a:pt x="436" y="102"/>
                </a:lnTo>
                <a:lnTo>
                  <a:pt x="438" y="103"/>
                </a:lnTo>
                <a:lnTo>
                  <a:pt x="439" y="105"/>
                </a:lnTo>
                <a:lnTo>
                  <a:pt x="441" y="107"/>
                </a:lnTo>
                <a:lnTo>
                  <a:pt x="444" y="109"/>
                </a:lnTo>
                <a:lnTo>
                  <a:pt x="446" y="110"/>
                </a:lnTo>
                <a:lnTo>
                  <a:pt x="454" y="112"/>
                </a:lnTo>
                <a:lnTo>
                  <a:pt x="456" y="114"/>
                </a:lnTo>
                <a:lnTo>
                  <a:pt x="456" y="117"/>
                </a:lnTo>
                <a:lnTo>
                  <a:pt x="457" y="120"/>
                </a:lnTo>
                <a:lnTo>
                  <a:pt x="465" y="126"/>
                </a:lnTo>
                <a:lnTo>
                  <a:pt x="469" y="129"/>
                </a:lnTo>
                <a:lnTo>
                  <a:pt x="472" y="127"/>
                </a:lnTo>
                <a:lnTo>
                  <a:pt x="476" y="125"/>
                </a:lnTo>
                <a:lnTo>
                  <a:pt x="481" y="124"/>
                </a:lnTo>
                <a:lnTo>
                  <a:pt x="482" y="122"/>
                </a:lnTo>
                <a:lnTo>
                  <a:pt x="486" y="115"/>
                </a:lnTo>
                <a:lnTo>
                  <a:pt x="490" y="107"/>
                </a:lnTo>
                <a:lnTo>
                  <a:pt x="496" y="93"/>
                </a:lnTo>
                <a:lnTo>
                  <a:pt x="498" y="87"/>
                </a:lnTo>
                <a:lnTo>
                  <a:pt x="500" y="84"/>
                </a:lnTo>
                <a:lnTo>
                  <a:pt x="502" y="80"/>
                </a:lnTo>
                <a:lnTo>
                  <a:pt x="502" y="75"/>
                </a:lnTo>
                <a:lnTo>
                  <a:pt x="501" y="69"/>
                </a:lnTo>
                <a:lnTo>
                  <a:pt x="502" y="64"/>
                </a:lnTo>
                <a:lnTo>
                  <a:pt x="503" y="53"/>
                </a:lnTo>
                <a:lnTo>
                  <a:pt x="507" y="46"/>
                </a:lnTo>
                <a:lnTo>
                  <a:pt x="508" y="42"/>
                </a:lnTo>
                <a:lnTo>
                  <a:pt x="509" y="39"/>
                </a:lnTo>
                <a:lnTo>
                  <a:pt x="510" y="35"/>
                </a:lnTo>
                <a:lnTo>
                  <a:pt x="508" y="34"/>
                </a:lnTo>
                <a:lnTo>
                  <a:pt x="509" y="31"/>
                </a:lnTo>
                <a:lnTo>
                  <a:pt x="511" y="24"/>
                </a:lnTo>
                <a:lnTo>
                  <a:pt x="515" y="23"/>
                </a:lnTo>
                <a:lnTo>
                  <a:pt x="516" y="21"/>
                </a:lnTo>
                <a:lnTo>
                  <a:pt x="518" y="14"/>
                </a:lnTo>
                <a:lnTo>
                  <a:pt x="522" y="10"/>
                </a:lnTo>
                <a:lnTo>
                  <a:pt x="522" y="5"/>
                </a:lnTo>
                <a:lnTo>
                  <a:pt x="522" y="4"/>
                </a:lnTo>
                <a:lnTo>
                  <a:pt x="525" y="3"/>
                </a:lnTo>
                <a:lnTo>
                  <a:pt x="526" y="3"/>
                </a:lnTo>
                <a:lnTo>
                  <a:pt x="528" y="1"/>
                </a:lnTo>
                <a:lnTo>
                  <a:pt x="529" y="0"/>
                </a:lnTo>
                <a:lnTo>
                  <a:pt x="531" y="0"/>
                </a:lnTo>
                <a:lnTo>
                  <a:pt x="531" y="2"/>
                </a:lnTo>
                <a:lnTo>
                  <a:pt x="531" y="4"/>
                </a:lnTo>
                <a:lnTo>
                  <a:pt x="530" y="5"/>
                </a:lnTo>
                <a:lnTo>
                  <a:pt x="530" y="5"/>
                </a:lnTo>
                <a:lnTo>
                  <a:pt x="531" y="10"/>
                </a:lnTo>
                <a:lnTo>
                  <a:pt x="530" y="19"/>
                </a:lnTo>
                <a:lnTo>
                  <a:pt x="530" y="22"/>
                </a:lnTo>
                <a:lnTo>
                  <a:pt x="533" y="22"/>
                </a:lnTo>
                <a:lnTo>
                  <a:pt x="533" y="24"/>
                </a:lnTo>
                <a:lnTo>
                  <a:pt x="532" y="29"/>
                </a:lnTo>
                <a:lnTo>
                  <a:pt x="535" y="30"/>
                </a:lnTo>
                <a:lnTo>
                  <a:pt x="535" y="33"/>
                </a:lnTo>
                <a:lnTo>
                  <a:pt x="536" y="35"/>
                </a:lnTo>
                <a:lnTo>
                  <a:pt x="536" y="40"/>
                </a:lnTo>
                <a:lnTo>
                  <a:pt x="537" y="40"/>
                </a:lnTo>
                <a:lnTo>
                  <a:pt x="537" y="45"/>
                </a:lnTo>
                <a:lnTo>
                  <a:pt x="538" y="49"/>
                </a:lnTo>
                <a:lnTo>
                  <a:pt x="537" y="55"/>
                </a:lnTo>
                <a:lnTo>
                  <a:pt x="537" y="59"/>
                </a:lnTo>
                <a:lnTo>
                  <a:pt x="537" y="62"/>
                </a:lnTo>
                <a:lnTo>
                  <a:pt x="538" y="64"/>
                </a:lnTo>
                <a:lnTo>
                  <a:pt x="540" y="67"/>
                </a:lnTo>
                <a:lnTo>
                  <a:pt x="542" y="69"/>
                </a:lnTo>
                <a:lnTo>
                  <a:pt x="547" y="65"/>
                </a:lnTo>
                <a:lnTo>
                  <a:pt x="549" y="64"/>
                </a:lnTo>
                <a:lnTo>
                  <a:pt x="551" y="64"/>
                </a:lnTo>
                <a:lnTo>
                  <a:pt x="552" y="70"/>
                </a:lnTo>
                <a:lnTo>
                  <a:pt x="556" y="71"/>
                </a:lnTo>
                <a:lnTo>
                  <a:pt x="557" y="74"/>
                </a:lnTo>
                <a:lnTo>
                  <a:pt x="559" y="75"/>
                </a:lnTo>
                <a:lnTo>
                  <a:pt x="561" y="79"/>
                </a:lnTo>
                <a:lnTo>
                  <a:pt x="560" y="82"/>
                </a:lnTo>
                <a:lnTo>
                  <a:pt x="560" y="83"/>
                </a:lnTo>
                <a:lnTo>
                  <a:pt x="559" y="90"/>
                </a:lnTo>
                <a:lnTo>
                  <a:pt x="559" y="93"/>
                </a:lnTo>
                <a:lnTo>
                  <a:pt x="559" y="95"/>
                </a:lnTo>
                <a:lnTo>
                  <a:pt x="560" y="99"/>
                </a:lnTo>
                <a:lnTo>
                  <a:pt x="559" y="103"/>
                </a:lnTo>
                <a:lnTo>
                  <a:pt x="559" y="107"/>
                </a:lnTo>
                <a:lnTo>
                  <a:pt x="561" y="113"/>
                </a:lnTo>
                <a:lnTo>
                  <a:pt x="564" y="113"/>
                </a:lnTo>
                <a:lnTo>
                  <a:pt x="563" y="116"/>
                </a:lnTo>
                <a:lnTo>
                  <a:pt x="564" y="123"/>
                </a:lnTo>
                <a:lnTo>
                  <a:pt x="564" y="126"/>
                </a:lnTo>
                <a:lnTo>
                  <a:pt x="563" y="132"/>
                </a:lnTo>
                <a:lnTo>
                  <a:pt x="562" y="134"/>
                </a:lnTo>
                <a:lnTo>
                  <a:pt x="562" y="137"/>
                </a:lnTo>
                <a:lnTo>
                  <a:pt x="562" y="141"/>
                </a:lnTo>
                <a:lnTo>
                  <a:pt x="563" y="143"/>
                </a:lnTo>
                <a:lnTo>
                  <a:pt x="564" y="143"/>
                </a:lnTo>
                <a:lnTo>
                  <a:pt x="564" y="144"/>
                </a:lnTo>
                <a:lnTo>
                  <a:pt x="566" y="143"/>
                </a:lnTo>
                <a:lnTo>
                  <a:pt x="564" y="144"/>
                </a:lnTo>
                <a:lnTo>
                  <a:pt x="564" y="145"/>
                </a:lnTo>
                <a:lnTo>
                  <a:pt x="564" y="146"/>
                </a:lnTo>
                <a:lnTo>
                  <a:pt x="564" y="148"/>
                </a:lnTo>
                <a:lnTo>
                  <a:pt x="564" y="151"/>
                </a:lnTo>
                <a:lnTo>
                  <a:pt x="568" y="153"/>
                </a:lnTo>
                <a:lnTo>
                  <a:pt x="569" y="154"/>
                </a:lnTo>
                <a:lnTo>
                  <a:pt x="571" y="156"/>
                </a:lnTo>
                <a:lnTo>
                  <a:pt x="577" y="157"/>
                </a:lnTo>
                <a:lnTo>
                  <a:pt x="578" y="157"/>
                </a:lnTo>
                <a:lnTo>
                  <a:pt x="579" y="156"/>
                </a:lnTo>
                <a:lnTo>
                  <a:pt x="579" y="161"/>
                </a:lnTo>
                <a:lnTo>
                  <a:pt x="580" y="164"/>
                </a:lnTo>
                <a:lnTo>
                  <a:pt x="581" y="165"/>
                </a:lnTo>
                <a:lnTo>
                  <a:pt x="584" y="164"/>
                </a:lnTo>
                <a:lnTo>
                  <a:pt x="586" y="166"/>
                </a:lnTo>
                <a:lnTo>
                  <a:pt x="588" y="166"/>
                </a:lnTo>
                <a:lnTo>
                  <a:pt x="589" y="170"/>
                </a:lnTo>
                <a:lnTo>
                  <a:pt x="591" y="171"/>
                </a:lnTo>
                <a:lnTo>
                  <a:pt x="592" y="170"/>
                </a:lnTo>
                <a:lnTo>
                  <a:pt x="593" y="171"/>
                </a:lnTo>
                <a:lnTo>
                  <a:pt x="597" y="173"/>
                </a:lnTo>
                <a:lnTo>
                  <a:pt x="598" y="174"/>
                </a:lnTo>
                <a:lnTo>
                  <a:pt x="598" y="178"/>
                </a:lnTo>
                <a:lnTo>
                  <a:pt x="596" y="177"/>
                </a:lnTo>
                <a:lnTo>
                  <a:pt x="594" y="182"/>
                </a:lnTo>
                <a:lnTo>
                  <a:pt x="596" y="183"/>
                </a:lnTo>
                <a:lnTo>
                  <a:pt x="598" y="184"/>
                </a:lnTo>
                <a:lnTo>
                  <a:pt x="599" y="185"/>
                </a:lnTo>
                <a:lnTo>
                  <a:pt x="600" y="188"/>
                </a:lnTo>
                <a:lnTo>
                  <a:pt x="600" y="191"/>
                </a:lnTo>
                <a:lnTo>
                  <a:pt x="600" y="193"/>
                </a:lnTo>
                <a:lnTo>
                  <a:pt x="600" y="195"/>
                </a:lnTo>
                <a:lnTo>
                  <a:pt x="602" y="195"/>
                </a:lnTo>
                <a:lnTo>
                  <a:pt x="602" y="197"/>
                </a:lnTo>
                <a:lnTo>
                  <a:pt x="600" y="206"/>
                </a:lnTo>
                <a:lnTo>
                  <a:pt x="601" y="207"/>
                </a:lnTo>
                <a:lnTo>
                  <a:pt x="601" y="210"/>
                </a:lnTo>
                <a:lnTo>
                  <a:pt x="601" y="211"/>
                </a:lnTo>
                <a:lnTo>
                  <a:pt x="601" y="214"/>
                </a:lnTo>
                <a:lnTo>
                  <a:pt x="602" y="214"/>
                </a:lnTo>
                <a:lnTo>
                  <a:pt x="603" y="213"/>
                </a:lnTo>
                <a:lnTo>
                  <a:pt x="606" y="213"/>
                </a:lnTo>
                <a:lnTo>
                  <a:pt x="607" y="208"/>
                </a:lnTo>
                <a:lnTo>
                  <a:pt x="609" y="207"/>
                </a:lnTo>
                <a:lnTo>
                  <a:pt x="609" y="210"/>
                </a:lnTo>
                <a:lnTo>
                  <a:pt x="610" y="212"/>
                </a:lnTo>
                <a:lnTo>
                  <a:pt x="613" y="213"/>
                </a:lnTo>
                <a:lnTo>
                  <a:pt x="614" y="215"/>
                </a:lnTo>
                <a:lnTo>
                  <a:pt x="617" y="211"/>
                </a:lnTo>
                <a:lnTo>
                  <a:pt x="618" y="212"/>
                </a:lnTo>
                <a:lnTo>
                  <a:pt x="617" y="214"/>
                </a:lnTo>
                <a:lnTo>
                  <a:pt x="618" y="215"/>
                </a:lnTo>
                <a:lnTo>
                  <a:pt x="618" y="220"/>
                </a:lnTo>
                <a:lnTo>
                  <a:pt x="616" y="228"/>
                </a:lnTo>
                <a:lnTo>
                  <a:pt x="616" y="233"/>
                </a:lnTo>
                <a:lnTo>
                  <a:pt x="617" y="235"/>
                </a:lnTo>
                <a:lnTo>
                  <a:pt x="618" y="237"/>
                </a:lnTo>
                <a:lnTo>
                  <a:pt x="621" y="241"/>
                </a:lnTo>
                <a:lnTo>
                  <a:pt x="624" y="241"/>
                </a:lnTo>
                <a:lnTo>
                  <a:pt x="627" y="243"/>
                </a:lnTo>
                <a:lnTo>
                  <a:pt x="628" y="245"/>
                </a:lnTo>
                <a:lnTo>
                  <a:pt x="629" y="248"/>
                </a:lnTo>
                <a:lnTo>
                  <a:pt x="629" y="251"/>
                </a:lnTo>
                <a:lnTo>
                  <a:pt x="630" y="253"/>
                </a:lnTo>
                <a:lnTo>
                  <a:pt x="633" y="254"/>
                </a:lnTo>
                <a:lnTo>
                  <a:pt x="633" y="255"/>
                </a:lnTo>
                <a:lnTo>
                  <a:pt x="634" y="261"/>
                </a:lnTo>
                <a:lnTo>
                  <a:pt x="634" y="262"/>
                </a:lnTo>
                <a:lnTo>
                  <a:pt x="637" y="264"/>
                </a:lnTo>
                <a:lnTo>
                  <a:pt x="637" y="266"/>
                </a:lnTo>
                <a:lnTo>
                  <a:pt x="636" y="272"/>
                </a:lnTo>
                <a:lnTo>
                  <a:pt x="637" y="275"/>
                </a:lnTo>
                <a:lnTo>
                  <a:pt x="637" y="276"/>
                </a:lnTo>
                <a:lnTo>
                  <a:pt x="638" y="274"/>
                </a:lnTo>
                <a:lnTo>
                  <a:pt x="637" y="278"/>
                </a:lnTo>
                <a:lnTo>
                  <a:pt x="634" y="283"/>
                </a:lnTo>
                <a:lnTo>
                  <a:pt x="634" y="286"/>
                </a:lnTo>
                <a:lnTo>
                  <a:pt x="632" y="295"/>
                </a:lnTo>
                <a:lnTo>
                  <a:pt x="632" y="297"/>
                </a:lnTo>
                <a:lnTo>
                  <a:pt x="632" y="296"/>
                </a:lnTo>
                <a:lnTo>
                  <a:pt x="630" y="298"/>
                </a:lnTo>
                <a:lnTo>
                  <a:pt x="631" y="299"/>
                </a:lnTo>
                <a:lnTo>
                  <a:pt x="630" y="302"/>
                </a:lnTo>
                <a:lnTo>
                  <a:pt x="631" y="303"/>
                </a:lnTo>
                <a:lnTo>
                  <a:pt x="630" y="306"/>
                </a:lnTo>
                <a:lnTo>
                  <a:pt x="630" y="312"/>
                </a:lnTo>
                <a:lnTo>
                  <a:pt x="630" y="319"/>
                </a:lnTo>
                <a:lnTo>
                  <a:pt x="628" y="327"/>
                </a:lnTo>
                <a:lnTo>
                  <a:pt x="624" y="332"/>
                </a:lnTo>
                <a:lnTo>
                  <a:pt x="623" y="334"/>
                </a:lnTo>
                <a:lnTo>
                  <a:pt x="620" y="339"/>
                </a:lnTo>
                <a:lnTo>
                  <a:pt x="617" y="345"/>
                </a:lnTo>
                <a:lnTo>
                  <a:pt x="611" y="354"/>
                </a:lnTo>
                <a:lnTo>
                  <a:pt x="611" y="355"/>
                </a:lnTo>
                <a:lnTo>
                  <a:pt x="607" y="360"/>
                </a:lnTo>
                <a:lnTo>
                  <a:pt x="603" y="366"/>
                </a:lnTo>
                <a:lnTo>
                  <a:pt x="602" y="370"/>
                </a:lnTo>
                <a:lnTo>
                  <a:pt x="600" y="373"/>
                </a:lnTo>
                <a:lnTo>
                  <a:pt x="599" y="375"/>
                </a:lnTo>
                <a:lnTo>
                  <a:pt x="590" y="386"/>
                </a:lnTo>
                <a:lnTo>
                  <a:pt x="588" y="387"/>
                </a:lnTo>
                <a:lnTo>
                  <a:pt x="586" y="389"/>
                </a:lnTo>
                <a:lnTo>
                  <a:pt x="583" y="392"/>
                </a:lnTo>
                <a:lnTo>
                  <a:pt x="582" y="393"/>
                </a:lnTo>
                <a:lnTo>
                  <a:pt x="582" y="395"/>
                </a:lnTo>
                <a:lnTo>
                  <a:pt x="580" y="396"/>
                </a:lnTo>
                <a:lnTo>
                  <a:pt x="577" y="399"/>
                </a:lnTo>
                <a:lnTo>
                  <a:pt x="574" y="399"/>
                </a:lnTo>
                <a:lnTo>
                  <a:pt x="573" y="400"/>
                </a:lnTo>
                <a:lnTo>
                  <a:pt x="574" y="402"/>
                </a:lnTo>
                <a:lnTo>
                  <a:pt x="571" y="402"/>
                </a:lnTo>
                <a:lnTo>
                  <a:pt x="569" y="403"/>
                </a:lnTo>
                <a:lnTo>
                  <a:pt x="567" y="406"/>
                </a:lnTo>
                <a:lnTo>
                  <a:pt x="563" y="408"/>
                </a:lnTo>
                <a:lnTo>
                  <a:pt x="560" y="412"/>
                </a:lnTo>
                <a:lnTo>
                  <a:pt x="557" y="415"/>
                </a:lnTo>
                <a:lnTo>
                  <a:pt x="555" y="415"/>
                </a:lnTo>
                <a:lnTo>
                  <a:pt x="553" y="416"/>
                </a:lnTo>
                <a:lnTo>
                  <a:pt x="552" y="417"/>
                </a:lnTo>
                <a:lnTo>
                  <a:pt x="555" y="417"/>
                </a:lnTo>
                <a:lnTo>
                  <a:pt x="552" y="422"/>
                </a:lnTo>
                <a:lnTo>
                  <a:pt x="549" y="424"/>
                </a:lnTo>
                <a:lnTo>
                  <a:pt x="549" y="425"/>
                </a:lnTo>
                <a:lnTo>
                  <a:pt x="547" y="427"/>
                </a:lnTo>
                <a:lnTo>
                  <a:pt x="543" y="430"/>
                </a:lnTo>
                <a:lnTo>
                  <a:pt x="533" y="443"/>
                </a:lnTo>
                <a:lnTo>
                  <a:pt x="531" y="445"/>
                </a:lnTo>
                <a:lnTo>
                  <a:pt x="530" y="444"/>
                </a:lnTo>
                <a:lnTo>
                  <a:pt x="526" y="449"/>
                </a:lnTo>
                <a:lnTo>
                  <a:pt x="523" y="450"/>
                </a:lnTo>
                <a:lnTo>
                  <a:pt x="521" y="454"/>
                </a:lnTo>
                <a:lnTo>
                  <a:pt x="520" y="454"/>
                </a:lnTo>
                <a:lnTo>
                  <a:pt x="518" y="456"/>
                </a:lnTo>
                <a:lnTo>
                  <a:pt x="516" y="459"/>
                </a:lnTo>
                <a:lnTo>
                  <a:pt x="512" y="464"/>
                </a:lnTo>
                <a:lnTo>
                  <a:pt x="511" y="466"/>
                </a:lnTo>
                <a:lnTo>
                  <a:pt x="510" y="467"/>
                </a:lnTo>
                <a:lnTo>
                  <a:pt x="508" y="470"/>
                </a:lnTo>
                <a:lnTo>
                  <a:pt x="505" y="475"/>
                </a:lnTo>
                <a:lnTo>
                  <a:pt x="502" y="477"/>
                </a:lnTo>
                <a:lnTo>
                  <a:pt x="501" y="479"/>
                </a:lnTo>
                <a:lnTo>
                  <a:pt x="501" y="481"/>
                </a:lnTo>
                <a:lnTo>
                  <a:pt x="500" y="484"/>
                </a:lnTo>
                <a:lnTo>
                  <a:pt x="498" y="486"/>
                </a:lnTo>
                <a:lnTo>
                  <a:pt x="496" y="488"/>
                </a:lnTo>
                <a:lnTo>
                  <a:pt x="495" y="487"/>
                </a:lnTo>
                <a:lnTo>
                  <a:pt x="493" y="487"/>
                </a:lnTo>
                <a:lnTo>
                  <a:pt x="491" y="490"/>
                </a:lnTo>
                <a:lnTo>
                  <a:pt x="485" y="493"/>
                </a:lnTo>
                <a:lnTo>
                  <a:pt x="470" y="493"/>
                </a:lnTo>
                <a:lnTo>
                  <a:pt x="466" y="494"/>
                </a:lnTo>
                <a:lnTo>
                  <a:pt x="458" y="496"/>
                </a:lnTo>
                <a:lnTo>
                  <a:pt x="455" y="499"/>
                </a:lnTo>
                <a:lnTo>
                  <a:pt x="449" y="501"/>
                </a:lnTo>
                <a:lnTo>
                  <a:pt x="446" y="503"/>
                </a:lnTo>
                <a:lnTo>
                  <a:pt x="445" y="505"/>
                </a:lnTo>
                <a:lnTo>
                  <a:pt x="440" y="507"/>
                </a:lnTo>
                <a:lnTo>
                  <a:pt x="438" y="508"/>
                </a:lnTo>
                <a:lnTo>
                  <a:pt x="438" y="507"/>
                </a:lnTo>
                <a:lnTo>
                  <a:pt x="434" y="508"/>
                </a:lnTo>
                <a:lnTo>
                  <a:pt x="431" y="508"/>
                </a:lnTo>
                <a:lnTo>
                  <a:pt x="430" y="508"/>
                </a:lnTo>
                <a:lnTo>
                  <a:pt x="428" y="510"/>
                </a:lnTo>
                <a:lnTo>
                  <a:pt x="429" y="511"/>
                </a:lnTo>
                <a:lnTo>
                  <a:pt x="430" y="510"/>
                </a:lnTo>
                <a:lnTo>
                  <a:pt x="432" y="509"/>
                </a:lnTo>
                <a:lnTo>
                  <a:pt x="435" y="509"/>
                </a:lnTo>
                <a:lnTo>
                  <a:pt x="431" y="511"/>
                </a:lnTo>
                <a:lnTo>
                  <a:pt x="430" y="515"/>
                </a:lnTo>
                <a:lnTo>
                  <a:pt x="428" y="516"/>
                </a:lnTo>
                <a:lnTo>
                  <a:pt x="427" y="511"/>
                </a:lnTo>
                <a:lnTo>
                  <a:pt x="426" y="511"/>
                </a:lnTo>
                <a:lnTo>
                  <a:pt x="424" y="510"/>
                </a:lnTo>
                <a:lnTo>
                  <a:pt x="424" y="508"/>
                </a:lnTo>
                <a:lnTo>
                  <a:pt x="421" y="508"/>
                </a:lnTo>
                <a:lnTo>
                  <a:pt x="420" y="506"/>
                </a:lnTo>
                <a:lnTo>
                  <a:pt x="420" y="504"/>
                </a:lnTo>
                <a:lnTo>
                  <a:pt x="424" y="501"/>
                </a:lnTo>
                <a:lnTo>
                  <a:pt x="422" y="499"/>
                </a:lnTo>
                <a:lnTo>
                  <a:pt x="418" y="503"/>
                </a:lnTo>
                <a:lnTo>
                  <a:pt x="415" y="503"/>
                </a:lnTo>
                <a:lnTo>
                  <a:pt x="412" y="501"/>
                </a:lnTo>
                <a:lnTo>
                  <a:pt x="411" y="500"/>
                </a:lnTo>
                <a:lnTo>
                  <a:pt x="416" y="500"/>
                </a:lnTo>
                <a:lnTo>
                  <a:pt x="418" y="498"/>
                </a:lnTo>
                <a:lnTo>
                  <a:pt x="419" y="495"/>
                </a:lnTo>
                <a:lnTo>
                  <a:pt x="417" y="493"/>
                </a:lnTo>
                <a:lnTo>
                  <a:pt x="411" y="496"/>
                </a:lnTo>
                <a:lnTo>
                  <a:pt x="408" y="496"/>
                </a:lnTo>
                <a:lnTo>
                  <a:pt x="411" y="499"/>
                </a:lnTo>
                <a:lnTo>
                  <a:pt x="410" y="499"/>
                </a:lnTo>
                <a:lnTo>
                  <a:pt x="408" y="500"/>
                </a:lnTo>
                <a:lnTo>
                  <a:pt x="405" y="501"/>
                </a:lnTo>
                <a:lnTo>
                  <a:pt x="400" y="504"/>
                </a:lnTo>
                <a:lnTo>
                  <a:pt x="396" y="507"/>
                </a:lnTo>
                <a:lnTo>
                  <a:pt x="389" y="509"/>
                </a:lnTo>
                <a:lnTo>
                  <a:pt x="386" y="510"/>
                </a:lnTo>
                <a:lnTo>
                  <a:pt x="385" y="509"/>
                </a:lnTo>
                <a:lnTo>
                  <a:pt x="381" y="507"/>
                </a:lnTo>
                <a:lnTo>
                  <a:pt x="378" y="504"/>
                </a:lnTo>
                <a:lnTo>
                  <a:pt x="376" y="503"/>
                </a:lnTo>
                <a:lnTo>
                  <a:pt x="373" y="501"/>
                </a:lnTo>
                <a:lnTo>
                  <a:pt x="367" y="500"/>
                </a:lnTo>
                <a:lnTo>
                  <a:pt x="365" y="500"/>
                </a:lnTo>
                <a:lnTo>
                  <a:pt x="361" y="503"/>
                </a:lnTo>
                <a:lnTo>
                  <a:pt x="361" y="499"/>
                </a:lnTo>
                <a:lnTo>
                  <a:pt x="358" y="496"/>
                </a:lnTo>
                <a:lnTo>
                  <a:pt x="353" y="496"/>
                </a:lnTo>
                <a:lnTo>
                  <a:pt x="350" y="494"/>
                </a:lnTo>
                <a:lnTo>
                  <a:pt x="349" y="490"/>
                </a:lnTo>
                <a:lnTo>
                  <a:pt x="349" y="487"/>
                </a:lnTo>
                <a:lnTo>
                  <a:pt x="348" y="486"/>
                </a:lnTo>
                <a:lnTo>
                  <a:pt x="348" y="477"/>
                </a:lnTo>
                <a:lnTo>
                  <a:pt x="349" y="476"/>
                </a:lnTo>
                <a:lnTo>
                  <a:pt x="351" y="474"/>
                </a:lnTo>
                <a:lnTo>
                  <a:pt x="354" y="469"/>
                </a:lnTo>
                <a:lnTo>
                  <a:pt x="355" y="463"/>
                </a:lnTo>
                <a:lnTo>
                  <a:pt x="353" y="454"/>
                </a:lnTo>
                <a:lnTo>
                  <a:pt x="357" y="449"/>
                </a:lnTo>
                <a:lnTo>
                  <a:pt x="357" y="448"/>
                </a:lnTo>
                <a:lnTo>
                  <a:pt x="353" y="449"/>
                </a:lnTo>
                <a:lnTo>
                  <a:pt x="347" y="452"/>
                </a:lnTo>
                <a:lnTo>
                  <a:pt x="341" y="453"/>
                </a:lnTo>
                <a:lnTo>
                  <a:pt x="339" y="454"/>
                </a:lnTo>
                <a:lnTo>
                  <a:pt x="337" y="453"/>
                </a:lnTo>
                <a:lnTo>
                  <a:pt x="340" y="449"/>
                </a:lnTo>
                <a:lnTo>
                  <a:pt x="345" y="445"/>
                </a:lnTo>
                <a:lnTo>
                  <a:pt x="348" y="442"/>
                </a:lnTo>
                <a:lnTo>
                  <a:pt x="350" y="437"/>
                </a:lnTo>
                <a:lnTo>
                  <a:pt x="350" y="432"/>
                </a:lnTo>
                <a:lnTo>
                  <a:pt x="349" y="428"/>
                </a:lnTo>
                <a:lnTo>
                  <a:pt x="348" y="427"/>
                </a:lnTo>
                <a:lnTo>
                  <a:pt x="343" y="434"/>
                </a:lnTo>
                <a:lnTo>
                  <a:pt x="340" y="437"/>
                </a:lnTo>
                <a:lnTo>
                  <a:pt x="338" y="440"/>
                </a:lnTo>
                <a:lnTo>
                  <a:pt x="336" y="444"/>
                </a:lnTo>
                <a:lnTo>
                  <a:pt x="335" y="444"/>
                </a:lnTo>
                <a:lnTo>
                  <a:pt x="333" y="444"/>
                </a:lnTo>
                <a:lnTo>
                  <a:pt x="329" y="445"/>
                </a:lnTo>
                <a:lnTo>
                  <a:pt x="326" y="445"/>
                </a:lnTo>
                <a:lnTo>
                  <a:pt x="323" y="447"/>
                </a:lnTo>
                <a:lnTo>
                  <a:pt x="321" y="445"/>
                </a:lnTo>
                <a:lnTo>
                  <a:pt x="325" y="439"/>
                </a:lnTo>
                <a:lnTo>
                  <a:pt x="328" y="440"/>
                </a:lnTo>
                <a:lnTo>
                  <a:pt x="333" y="438"/>
                </a:lnTo>
                <a:lnTo>
                  <a:pt x="335" y="435"/>
                </a:lnTo>
                <a:lnTo>
                  <a:pt x="337" y="432"/>
                </a:lnTo>
                <a:lnTo>
                  <a:pt x="337" y="430"/>
                </a:lnTo>
                <a:lnTo>
                  <a:pt x="337" y="430"/>
                </a:lnTo>
                <a:lnTo>
                  <a:pt x="338" y="428"/>
                </a:lnTo>
                <a:lnTo>
                  <a:pt x="339" y="426"/>
                </a:lnTo>
                <a:lnTo>
                  <a:pt x="343" y="423"/>
                </a:lnTo>
                <a:lnTo>
                  <a:pt x="346" y="418"/>
                </a:lnTo>
                <a:lnTo>
                  <a:pt x="348" y="417"/>
                </a:lnTo>
                <a:lnTo>
                  <a:pt x="350" y="414"/>
                </a:lnTo>
                <a:lnTo>
                  <a:pt x="354" y="407"/>
                </a:lnTo>
                <a:lnTo>
                  <a:pt x="356" y="408"/>
                </a:lnTo>
                <a:lnTo>
                  <a:pt x="356" y="406"/>
                </a:lnTo>
                <a:lnTo>
                  <a:pt x="356" y="404"/>
                </a:lnTo>
                <a:lnTo>
                  <a:pt x="357" y="400"/>
                </a:lnTo>
                <a:lnTo>
                  <a:pt x="356" y="400"/>
                </a:lnTo>
                <a:lnTo>
                  <a:pt x="357" y="397"/>
                </a:lnTo>
                <a:lnTo>
                  <a:pt x="357" y="396"/>
                </a:lnTo>
                <a:lnTo>
                  <a:pt x="355" y="398"/>
                </a:lnTo>
                <a:lnTo>
                  <a:pt x="353" y="404"/>
                </a:lnTo>
                <a:lnTo>
                  <a:pt x="351" y="404"/>
                </a:lnTo>
                <a:lnTo>
                  <a:pt x="348" y="407"/>
                </a:lnTo>
                <a:lnTo>
                  <a:pt x="345" y="410"/>
                </a:lnTo>
                <a:lnTo>
                  <a:pt x="341" y="414"/>
                </a:lnTo>
                <a:lnTo>
                  <a:pt x="340" y="416"/>
                </a:lnTo>
                <a:lnTo>
                  <a:pt x="338" y="418"/>
                </a:lnTo>
                <a:lnTo>
                  <a:pt x="336" y="418"/>
                </a:lnTo>
                <a:lnTo>
                  <a:pt x="334" y="418"/>
                </a:lnTo>
                <a:lnTo>
                  <a:pt x="333" y="419"/>
                </a:lnTo>
                <a:lnTo>
                  <a:pt x="328" y="422"/>
                </a:lnTo>
                <a:lnTo>
                  <a:pt x="326" y="424"/>
                </a:lnTo>
                <a:lnTo>
                  <a:pt x="324" y="424"/>
                </a:lnTo>
                <a:lnTo>
                  <a:pt x="320" y="428"/>
                </a:lnTo>
                <a:lnTo>
                  <a:pt x="316" y="432"/>
                </a:lnTo>
                <a:lnTo>
                  <a:pt x="313" y="434"/>
                </a:lnTo>
                <a:lnTo>
                  <a:pt x="309" y="437"/>
                </a:lnTo>
                <a:lnTo>
                  <a:pt x="312" y="437"/>
                </a:lnTo>
                <a:lnTo>
                  <a:pt x="309" y="442"/>
                </a:lnTo>
                <a:lnTo>
                  <a:pt x="308" y="440"/>
                </a:lnTo>
                <a:lnTo>
                  <a:pt x="306" y="440"/>
                </a:lnTo>
                <a:lnTo>
                  <a:pt x="305" y="437"/>
                </a:lnTo>
                <a:lnTo>
                  <a:pt x="303" y="436"/>
                </a:lnTo>
                <a:lnTo>
                  <a:pt x="303" y="434"/>
                </a:lnTo>
                <a:lnTo>
                  <a:pt x="300" y="434"/>
                </a:lnTo>
                <a:lnTo>
                  <a:pt x="302" y="432"/>
                </a:lnTo>
                <a:lnTo>
                  <a:pt x="304" y="435"/>
                </a:lnTo>
                <a:lnTo>
                  <a:pt x="306" y="432"/>
                </a:lnTo>
                <a:lnTo>
                  <a:pt x="307" y="428"/>
                </a:lnTo>
                <a:lnTo>
                  <a:pt x="306" y="426"/>
                </a:lnTo>
                <a:lnTo>
                  <a:pt x="307" y="423"/>
                </a:lnTo>
                <a:lnTo>
                  <a:pt x="306" y="419"/>
                </a:lnTo>
                <a:lnTo>
                  <a:pt x="305" y="417"/>
                </a:lnTo>
                <a:lnTo>
                  <a:pt x="306" y="413"/>
                </a:lnTo>
                <a:lnTo>
                  <a:pt x="305" y="410"/>
                </a:lnTo>
                <a:lnTo>
                  <a:pt x="305" y="408"/>
                </a:lnTo>
                <a:lnTo>
                  <a:pt x="304" y="409"/>
                </a:lnTo>
                <a:lnTo>
                  <a:pt x="300" y="407"/>
                </a:lnTo>
                <a:lnTo>
                  <a:pt x="299" y="406"/>
                </a:lnTo>
                <a:lnTo>
                  <a:pt x="298" y="404"/>
                </a:lnTo>
                <a:lnTo>
                  <a:pt x="299" y="400"/>
                </a:lnTo>
                <a:lnTo>
                  <a:pt x="300" y="400"/>
                </a:lnTo>
                <a:lnTo>
                  <a:pt x="303" y="397"/>
                </a:lnTo>
                <a:lnTo>
                  <a:pt x="297" y="395"/>
                </a:lnTo>
                <a:lnTo>
                  <a:pt x="294" y="389"/>
                </a:lnTo>
                <a:lnTo>
                  <a:pt x="293" y="388"/>
                </a:lnTo>
                <a:lnTo>
                  <a:pt x="293" y="390"/>
                </a:lnTo>
                <a:lnTo>
                  <a:pt x="289" y="390"/>
                </a:lnTo>
                <a:lnTo>
                  <a:pt x="288" y="388"/>
                </a:lnTo>
                <a:lnTo>
                  <a:pt x="283" y="386"/>
                </a:lnTo>
                <a:lnTo>
                  <a:pt x="280" y="386"/>
                </a:lnTo>
                <a:lnTo>
                  <a:pt x="278" y="387"/>
                </a:lnTo>
                <a:lnTo>
                  <a:pt x="277" y="387"/>
                </a:lnTo>
                <a:lnTo>
                  <a:pt x="276" y="386"/>
                </a:lnTo>
                <a:lnTo>
                  <a:pt x="270" y="379"/>
                </a:lnTo>
                <a:lnTo>
                  <a:pt x="268" y="378"/>
                </a:lnTo>
                <a:lnTo>
                  <a:pt x="265" y="378"/>
                </a:lnTo>
                <a:lnTo>
                  <a:pt x="259" y="378"/>
                </a:lnTo>
                <a:lnTo>
                  <a:pt x="249" y="379"/>
                </a:lnTo>
                <a:lnTo>
                  <a:pt x="238" y="378"/>
                </a:lnTo>
                <a:lnTo>
                  <a:pt x="233" y="379"/>
                </a:lnTo>
                <a:lnTo>
                  <a:pt x="219" y="384"/>
                </a:lnTo>
                <a:lnTo>
                  <a:pt x="213" y="388"/>
                </a:lnTo>
                <a:lnTo>
                  <a:pt x="205" y="388"/>
                </a:lnTo>
                <a:lnTo>
                  <a:pt x="199" y="390"/>
                </a:lnTo>
                <a:lnTo>
                  <a:pt x="194" y="392"/>
                </a:lnTo>
                <a:lnTo>
                  <a:pt x="184" y="392"/>
                </a:lnTo>
                <a:lnTo>
                  <a:pt x="181" y="390"/>
                </a:lnTo>
                <a:lnTo>
                  <a:pt x="176" y="392"/>
                </a:lnTo>
                <a:lnTo>
                  <a:pt x="173" y="394"/>
                </a:lnTo>
                <a:lnTo>
                  <a:pt x="164" y="398"/>
                </a:lnTo>
                <a:lnTo>
                  <a:pt x="158" y="399"/>
                </a:lnTo>
                <a:lnTo>
                  <a:pt x="155" y="402"/>
                </a:lnTo>
                <a:lnTo>
                  <a:pt x="153" y="403"/>
                </a:lnTo>
                <a:lnTo>
                  <a:pt x="150" y="403"/>
                </a:lnTo>
                <a:lnTo>
                  <a:pt x="145" y="405"/>
                </a:lnTo>
                <a:lnTo>
                  <a:pt x="142" y="408"/>
                </a:lnTo>
                <a:lnTo>
                  <a:pt x="140" y="413"/>
                </a:lnTo>
                <a:lnTo>
                  <a:pt x="137" y="414"/>
                </a:lnTo>
                <a:lnTo>
                  <a:pt x="135" y="417"/>
                </a:lnTo>
                <a:lnTo>
                  <a:pt x="133" y="419"/>
                </a:lnTo>
                <a:lnTo>
                  <a:pt x="126" y="420"/>
                </a:lnTo>
                <a:lnTo>
                  <a:pt x="124" y="420"/>
                </a:lnTo>
                <a:lnTo>
                  <a:pt x="122" y="419"/>
                </a:lnTo>
                <a:lnTo>
                  <a:pt x="116" y="420"/>
                </a:lnTo>
                <a:lnTo>
                  <a:pt x="110" y="422"/>
                </a:lnTo>
                <a:lnTo>
                  <a:pt x="108" y="419"/>
                </a:lnTo>
                <a:lnTo>
                  <a:pt x="107" y="419"/>
                </a:lnTo>
                <a:lnTo>
                  <a:pt x="105" y="419"/>
                </a:lnTo>
                <a:lnTo>
                  <a:pt x="101" y="420"/>
                </a:lnTo>
                <a:lnTo>
                  <a:pt x="96" y="419"/>
                </a:lnTo>
                <a:lnTo>
                  <a:pt x="93" y="419"/>
                </a:lnTo>
                <a:lnTo>
                  <a:pt x="88" y="422"/>
                </a:lnTo>
                <a:lnTo>
                  <a:pt x="76" y="420"/>
                </a:lnTo>
                <a:lnTo>
                  <a:pt x="73" y="422"/>
                </a:lnTo>
                <a:lnTo>
                  <a:pt x="69" y="425"/>
                </a:lnTo>
                <a:lnTo>
                  <a:pt x="67" y="426"/>
                </a:lnTo>
                <a:lnTo>
                  <a:pt x="66" y="428"/>
                </a:lnTo>
                <a:lnTo>
                  <a:pt x="66" y="428"/>
                </a:lnTo>
                <a:lnTo>
                  <a:pt x="64" y="430"/>
                </a:lnTo>
                <a:lnTo>
                  <a:pt x="61" y="430"/>
                </a:lnTo>
                <a:lnTo>
                  <a:pt x="55" y="432"/>
                </a:lnTo>
                <a:lnTo>
                  <a:pt x="51" y="434"/>
                </a:lnTo>
                <a:lnTo>
                  <a:pt x="46" y="437"/>
                </a:lnTo>
                <a:lnTo>
                  <a:pt x="44" y="438"/>
                </a:lnTo>
                <a:lnTo>
                  <a:pt x="42" y="440"/>
                </a:lnTo>
                <a:lnTo>
                  <a:pt x="40" y="442"/>
                </a:lnTo>
                <a:lnTo>
                  <a:pt x="37" y="439"/>
                </a:lnTo>
                <a:lnTo>
                  <a:pt x="35" y="443"/>
                </a:lnTo>
                <a:lnTo>
                  <a:pt x="34" y="442"/>
                </a:lnTo>
                <a:lnTo>
                  <a:pt x="31" y="443"/>
                </a:lnTo>
                <a:lnTo>
                  <a:pt x="31" y="440"/>
                </a:lnTo>
                <a:lnTo>
                  <a:pt x="21" y="442"/>
                </a:lnTo>
                <a:lnTo>
                  <a:pt x="17" y="440"/>
                </a:lnTo>
                <a:lnTo>
                  <a:pt x="16" y="438"/>
                </a:lnTo>
                <a:lnTo>
                  <a:pt x="14" y="437"/>
                </a:lnTo>
                <a:lnTo>
                  <a:pt x="13" y="438"/>
                </a:lnTo>
                <a:lnTo>
                  <a:pt x="11" y="437"/>
                </a:lnTo>
                <a:lnTo>
                  <a:pt x="9" y="434"/>
                </a:lnTo>
                <a:lnTo>
                  <a:pt x="7" y="430"/>
                </a:lnTo>
                <a:lnTo>
                  <a:pt x="5" y="428"/>
                </a:lnTo>
                <a:lnTo>
                  <a:pt x="3" y="427"/>
                </a:lnTo>
                <a:lnTo>
                  <a:pt x="0" y="427"/>
                </a:lnTo>
                <a:lnTo>
                  <a:pt x="2" y="418"/>
                </a:lnTo>
                <a:lnTo>
                  <a:pt x="4" y="415"/>
                </a:lnTo>
                <a:lnTo>
                  <a:pt x="4" y="415"/>
                </a:lnTo>
                <a:lnTo>
                  <a:pt x="6" y="416"/>
                </a:lnTo>
                <a:lnTo>
                  <a:pt x="9" y="415"/>
                </a:lnTo>
                <a:lnTo>
                  <a:pt x="13" y="410"/>
                </a:lnTo>
                <a:lnTo>
                  <a:pt x="16" y="407"/>
                </a:lnTo>
                <a:lnTo>
                  <a:pt x="17" y="404"/>
                </a:lnTo>
                <a:lnTo>
                  <a:pt x="17" y="400"/>
                </a:lnTo>
                <a:lnTo>
                  <a:pt x="19" y="396"/>
                </a:lnTo>
                <a:lnTo>
                  <a:pt x="19" y="398"/>
                </a:lnTo>
                <a:lnTo>
                  <a:pt x="21" y="395"/>
                </a:lnTo>
                <a:lnTo>
                  <a:pt x="22" y="389"/>
                </a:lnTo>
                <a:lnTo>
                  <a:pt x="25" y="384"/>
                </a:lnTo>
                <a:lnTo>
                  <a:pt x="25" y="380"/>
                </a:lnTo>
                <a:lnTo>
                  <a:pt x="24" y="369"/>
                </a:lnTo>
                <a:lnTo>
                  <a:pt x="25" y="366"/>
                </a:lnTo>
                <a:lnTo>
                  <a:pt x="24" y="365"/>
                </a:lnTo>
                <a:lnTo>
                  <a:pt x="23" y="362"/>
                </a:lnTo>
                <a:lnTo>
                  <a:pt x="23" y="356"/>
                </a:lnTo>
                <a:lnTo>
                  <a:pt x="24" y="349"/>
                </a:lnTo>
                <a:lnTo>
                  <a:pt x="26" y="339"/>
                </a:lnTo>
                <a:lnTo>
                  <a:pt x="26" y="336"/>
                </a:lnTo>
                <a:lnTo>
                  <a:pt x="24" y="328"/>
                </a:lnTo>
                <a:lnTo>
                  <a:pt x="25" y="324"/>
                </a:lnTo>
                <a:lnTo>
                  <a:pt x="23" y="321"/>
                </a:lnTo>
                <a:lnTo>
                  <a:pt x="22" y="314"/>
                </a:lnTo>
                <a:lnTo>
                  <a:pt x="23" y="307"/>
                </a:lnTo>
                <a:lnTo>
                  <a:pt x="22" y="303"/>
                </a:lnTo>
                <a:lnTo>
                  <a:pt x="22" y="296"/>
                </a:lnTo>
                <a:lnTo>
                  <a:pt x="20" y="294"/>
                </a:lnTo>
                <a:lnTo>
                  <a:pt x="17" y="292"/>
                </a:lnTo>
                <a:lnTo>
                  <a:pt x="16" y="288"/>
                </a:lnTo>
                <a:lnTo>
                  <a:pt x="16" y="286"/>
                </a:lnTo>
                <a:lnTo>
                  <a:pt x="15" y="285"/>
                </a:lnTo>
                <a:lnTo>
                  <a:pt x="14" y="282"/>
                </a:lnTo>
                <a:lnTo>
                  <a:pt x="15" y="279"/>
                </a:lnTo>
                <a:lnTo>
                  <a:pt x="15" y="282"/>
                </a:lnTo>
                <a:lnTo>
                  <a:pt x="16" y="282"/>
                </a:lnTo>
                <a:lnTo>
                  <a:pt x="17" y="282"/>
                </a:lnTo>
                <a:lnTo>
                  <a:pt x="17" y="284"/>
                </a:lnTo>
                <a:lnTo>
                  <a:pt x="17" y="287"/>
                </a:lnTo>
                <a:lnTo>
                  <a:pt x="19" y="286"/>
                </a:lnTo>
                <a:lnTo>
                  <a:pt x="19" y="288"/>
                </a:lnTo>
                <a:lnTo>
                  <a:pt x="21" y="288"/>
                </a:lnTo>
                <a:lnTo>
                  <a:pt x="23" y="287"/>
                </a:lnTo>
                <a:lnTo>
                  <a:pt x="23" y="284"/>
                </a:lnTo>
                <a:lnTo>
                  <a:pt x="22" y="282"/>
                </a:lnTo>
                <a:lnTo>
                  <a:pt x="20" y="273"/>
                </a:lnTo>
                <a:lnTo>
                  <a:pt x="21" y="269"/>
                </a:lnTo>
                <a:lnTo>
                  <a:pt x="22" y="271"/>
                </a:lnTo>
                <a:lnTo>
                  <a:pt x="22" y="274"/>
                </a:lnTo>
                <a:lnTo>
                  <a:pt x="22" y="282"/>
                </a:lnTo>
                <a:lnTo>
                  <a:pt x="25" y="278"/>
                </a:lnTo>
                <a:lnTo>
                  <a:pt x="25" y="281"/>
                </a:lnTo>
                <a:lnTo>
                  <a:pt x="25" y="284"/>
                </a:lnTo>
                <a:lnTo>
                  <a:pt x="26" y="285"/>
                </a:lnTo>
                <a:lnTo>
                  <a:pt x="29" y="283"/>
                </a:lnTo>
                <a:lnTo>
                  <a:pt x="31" y="278"/>
                </a:lnTo>
                <a:lnTo>
                  <a:pt x="31" y="273"/>
                </a:lnTo>
                <a:lnTo>
                  <a:pt x="30" y="271"/>
                </a:lnTo>
                <a:lnTo>
                  <a:pt x="29" y="267"/>
                </a:lnTo>
                <a:lnTo>
                  <a:pt x="27" y="268"/>
                </a:lnTo>
                <a:lnTo>
                  <a:pt x="29" y="266"/>
                </a:lnTo>
                <a:lnTo>
                  <a:pt x="27" y="263"/>
                </a:lnTo>
                <a:lnTo>
                  <a:pt x="26" y="257"/>
                </a:lnTo>
                <a:lnTo>
                  <a:pt x="24" y="249"/>
                </a:lnTo>
                <a:lnTo>
                  <a:pt x="25" y="241"/>
                </a:lnTo>
                <a:lnTo>
                  <a:pt x="27" y="237"/>
                </a:lnTo>
                <a:lnTo>
                  <a:pt x="33" y="233"/>
                </a:lnTo>
                <a:lnTo>
                  <a:pt x="33" y="230"/>
                </a:lnTo>
                <a:lnTo>
                  <a:pt x="34" y="227"/>
                </a:lnTo>
                <a:lnTo>
                  <a:pt x="35" y="222"/>
                </a:lnTo>
                <a:lnTo>
                  <a:pt x="34" y="217"/>
                </a:lnTo>
                <a:lnTo>
                  <a:pt x="36" y="211"/>
                </a:lnTo>
                <a:lnTo>
                  <a:pt x="39" y="208"/>
                </a:lnTo>
                <a:lnTo>
                  <a:pt x="41" y="203"/>
                </a:lnTo>
                <a:lnTo>
                  <a:pt x="43" y="20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73" name="Freeform 172"/>
          <p:cNvSpPr>
            <a:spLocks/>
          </p:cNvSpPr>
          <p:nvPr/>
        </p:nvSpPr>
        <p:spPr bwMode="auto">
          <a:xfrm>
            <a:off x="7121526" y="3887753"/>
            <a:ext cx="1012825" cy="819150"/>
          </a:xfrm>
          <a:custGeom>
            <a:avLst/>
            <a:gdLst>
              <a:gd name="T0" fmla="*/ 53 w 638"/>
              <a:gd name="T1" fmla="*/ 202 h 516"/>
              <a:gd name="T2" fmla="*/ 91 w 638"/>
              <a:gd name="T3" fmla="*/ 180 h 516"/>
              <a:gd name="T4" fmla="*/ 138 w 638"/>
              <a:gd name="T5" fmla="*/ 167 h 516"/>
              <a:gd name="T6" fmla="*/ 185 w 638"/>
              <a:gd name="T7" fmla="*/ 135 h 516"/>
              <a:gd name="T8" fmla="*/ 201 w 638"/>
              <a:gd name="T9" fmla="*/ 106 h 516"/>
              <a:gd name="T10" fmla="*/ 211 w 638"/>
              <a:gd name="T11" fmla="*/ 105 h 516"/>
              <a:gd name="T12" fmla="*/ 233 w 638"/>
              <a:gd name="T13" fmla="*/ 85 h 516"/>
              <a:gd name="T14" fmla="*/ 250 w 638"/>
              <a:gd name="T15" fmla="*/ 72 h 516"/>
              <a:gd name="T16" fmla="*/ 267 w 638"/>
              <a:gd name="T17" fmla="*/ 61 h 516"/>
              <a:gd name="T18" fmla="*/ 286 w 638"/>
              <a:gd name="T19" fmla="*/ 83 h 516"/>
              <a:gd name="T20" fmla="*/ 309 w 638"/>
              <a:gd name="T21" fmla="*/ 82 h 516"/>
              <a:gd name="T22" fmla="*/ 320 w 638"/>
              <a:gd name="T23" fmla="*/ 52 h 516"/>
              <a:gd name="T24" fmla="*/ 338 w 638"/>
              <a:gd name="T25" fmla="*/ 35 h 516"/>
              <a:gd name="T26" fmla="*/ 361 w 638"/>
              <a:gd name="T27" fmla="*/ 15 h 516"/>
              <a:gd name="T28" fmla="*/ 361 w 638"/>
              <a:gd name="T29" fmla="*/ 9 h 516"/>
              <a:gd name="T30" fmla="*/ 381 w 638"/>
              <a:gd name="T31" fmla="*/ 21 h 516"/>
              <a:gd name="T32" fmla="*/ 406 w 638"/>
              <a:gd name="T33" fmla="*/ 29 h 516"/>
              <a:gd name="T34" fmla="*/ 424 w 638"/>
              <a:gd name="T35" fmla="*/ 30 h 516"/>
              <a:gd name="T36" fmla="*/ 427 w 638"/>
              <a:gd name="T37" fmla="*/ 39 h 516"/>
              <a:gd name="T38" fmla="*/ 414 w 638"/>
              <a:gd name="T39" fmla="*/ 53 h 516"/>
              <a:gd name="T40" fmla="*/ 417 w 638"/>
              <a:gd name="T41" fmla="*/ 85 h 516"/>
              <a:gd name="T42" fmla="*/ 446 w 638"/>
              <a:gd name="T43" fmla="*/ 110 h 516"/>
              <a:gd name="T44" fmla="*/ 498 w 638"/>
              <a:gd name="T45" fmla="*/ 87 h 516"/>
              <a:gd name="T46" fmla="*/ 515 w 638"/>
              <a:gd name="T47" fmla="*/ 23 h 516"/>
              <a:gd name="T48" fmla="*/ 530 w 638"/>
              <a:gd name="T49" fmla="*/ 5 h 516"/>
              <a:gd name="T50" fmla="*/ 537 w 638"/>
              <a:gd name="T51" fmla="*/ 55 h 516"/>
              <a:gd name="T52" fmla="*/ 560 w 638"/>
              <a:gd name="T53" fmla="*/ 82 h 516"/>
              <a:gd name="T54" fmla="*/ 562 w 638"/>
              <a:gd name="T55" fmla="*/ 134 h 516"/>
              <a:gd name="T56" fmla="*/ 571 w 638"/>
              <a:gd name="T57" fmla="*/ 156 h 516"/>
              <a:gd name="T58" fmla="*/ 597 w 638"/>
              <a:gd name="T59" fmla="*/ 173 h 516"/>
              <a:gd name="T60" fmla="*/ 600 w 638"/>
              <a:gd name="T61" fmla="*/ 206 h 516"/>
              <a:gd name="T62" fmla="*/ 617 w 638"/>
              <a:gd name="T63" fmla="*/ 211 h 516"/>
              <a:gd name="T64" fmla="*/ 629 w 638"/>
              <a:gd name="T65" fmla="*/ 251 h 516"/>
              <a:gd name="T66" fmla="*/ 634 w 638"/>
              <a:gd name="T67" fmla="*/ 286 h 516"/>
              <a:gd name="T68" fmla="*/ 620 w 638"/>
              <a:gd name="T69" fmla="*/ 339 h 516"/>
              <a:gd name="T70" fmla="*/ 582 w 638"/>
              <a:gd name="T71" fmla="*/ 395 h 516"/>
              <a:gd name="T72" fmla="*/ 552 w 638"/>
              <a:gd name="T73" fmla="*/ 417 h 516"/>
              <a:gd name="T74" fmla="*/ 518 w 638"/>
              <a:gd name="T75" fmla="*/ 456 h 516"/>
              <a:gd name="T76" fmla="*/ 493 w 638"/>
              <a:gd name="T77" fmla="*/ 487 h 516"/>
              <a:gd name="T78" fmla="*/ 431 w 638"/>
              <a:gd name="T79" fmla="*/ 508 h 516"/>
              <a:gd name="T80" fmla="*/ 421 w 638"/>
              <a:gd name="T81" fmla="*/ 508 h 516"/>
              <a:gd name="T82" fmla="*/ 408 w 638"/>
              <a:gd name="T83" fmla="*/ 496 h 516"/>
              <a:gd name="T84" fmla="*/ 367 w 638"/>
              <a:gd name="T85" fmla="*/ 500 h 516"/>
              <a:gd name="T86" fmla="*/ 355 w 638"/>
              <a:gd name="T87" fmla="*/ 463 h 516"/>
              <a:gd name="T88" fmla="*/ 349 w 638"/>
              <a:gd name="T89" fmla="*/ 428 h 516"/>
              <a:gd name="T90" fmla="*/ 333 w 638"/>
              <a:gd name="T91" fmla="*/ 438 h 516"/>
              <a:gd name="T92" fmla="*/ 356 w 638"/>
              <a:gd name="T93" fmla="*/ 404 h 516"/>
              <a:gd name="T94" fmla="*/ 334 w 638"/>
              <a:gd name="T95" fmla="*/ 418 h 516"/>
              <a:gd name="T96" fmla="*/ 303 w 638"/>
              <a:gd name="T97" fmla="*/ 436 h 516"/>
              <a:gd name="T98" fmla="*/ 304 w 638"/>
              <a:gd name="T99" fmla="*/ 409 h 516"/>
              <a:gd name="T100" fmla="*/ 280 w 638"/>
              <a:gd name="T101" fmla="*/ 386 h 516"/>
              <a:gd name="T102" fmla="*/ 199 w 638"/>
              <a:gd name="T103" fmla="*/ 390 h 516"/>
              <a:gd name="T104" fmla="*/ 137 w 638"/>
              <a:gd name="T105" fmla="*/ 414 h 516"/>
              <a:gd name="T106" fmla="*/ 88 w 638"/>
              <a:gd name="T107" fmla="*/ 422 h 516"/>
              <a:gd name="T108" fmla="*/ 40 w 638"/>
              <a:gd name="T109" fmla="*/ 442 h 516"/>
              <a:gd name="T110" fmla="*/ 5 w 638"/>
              <a:gd name="T111" fmla="*/ 428 h 516"/>
              <a:gd name="T112" fmla="*/ 21 w 638"/>
              <a:gd name="T113" fmla="*/ 395 h 516"/>
              <a:gd name="T114" fmla="*/ 23 w 638"/>
              <a:gd name="T115" fmla="*/ 321 h 516"/>
              <a:gd name="T116" fmla="*/ 17 w 638"/>
              <a:gd name="T117" fmla="*/ 282 h 516"/>
              <a:gd name="T118" fmla="*/ 25 w 638"/>
              <a:gd name="T119" fmla="*/ 278 h 516"/>
              <a:gd name="T120" fmla="*/ 25 w 638"/>
              <a:gd name="T121" fmla="*/ 241 h 5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638" h="516">
                <a:moveTo>
                  <a:pt x="43" y="202"/>
                </a:moveTo>
                <a:lnTo>
                  <a:pt x="44" y="201"/>
                </a:lnTo>
                <a:lnTo>
                  <a:pt x="43" y="205"/>
                </a:lnTo>
                <a:lnTo>
                  <a:pt x="43" y="206"/>
                </a:lnTo>
                <a:lnTo>
                  <a:pt x="42" y="207"/>
                </a:lnTo>
                <a:lnTo>
                  <a:pt x="42" y="210"/>
                </a:lnTo>
                <a:lnTo>
                  <a:pt x="43" y="210"/>
                </a:lnTo>
                <a:lnTo>
                  <a:pt x="42" y="212"/>
                </a:lnTo>
                <a:lnTo>
                  <a:pt x="41" y="214"/>
                </a:lnTo>
                <a:lnTo>
                  <a:pt x="42" y="214"/>
                </a:lnTo>
                <a:lnTo>
                  <a:pt x="45" y="212"/>
                </a:lnTo>
                <a:lnTo>
                  <a:pt x="47" y="208"/>
                </a:lnTo>
                <a:lnTo>
                  <a:pt x="51" y="203"/>
                </a:lnTo>
                <a:lnTo>
                  <a:pt x="53" y="202"/>
                </a:lnTo>
                <a:lnTo>
                  <a:pt x="55" y="201"/>
                </a:lnTo>
                <a:lnTo>
                  <a:pt x="57" y="200"/>
                </a:lnTo>
                <a:lnTo>
                  <a:pt x="60" y="197"/>
                </a:lnTo>
                <a:lnTo>
                  <a:pt x="66" y="196"/>
                </a:lnTo>
                <a:lnTo>
                  <a:pt x="67" y="194"/>
                </a:lnTo>
                <a:lnTo>
                  <a:pt x="71" y="192"/>
                </a:lnTo>
                <a:lnTo>
                  <a:pt x="73" y="191"/>
                </a:lnTo>
                <a:lnTo>
                  <a:pt x="75" y="187"/>
                </a:lnTo>
                <a:lnTo>
                  <a:pt x="80" y="185"/>
                </a:lnTo>
                <a:lnTo>
                  <a:pt x="82" y="184"/>
                </a:lnTo>
                <a:lnTo>
                  <a:pt x="84" y="183"/>
                </a:lnTo>
                <a:lnTo>
                  <a:pt x="90" y="178"/>
                </a:lnTo>
                <a:lnTo>
                  <a:pt x="91" y="178"/>
                </a:lnTo>
                <a:lnTo>
                  <a:pt x="91" y="180"/>
                </a:lnTo>
                <a:lnTo>
                  <a:pt x="95" y="180"/>
                </a:lnTo>
                <a:lnTo>
                  <a:pt x="97" y="181"/>
                </a:lnTo>
                <a:lnTo>
                  <a:pt x="101" y="181"/>
                </a:lnTo>
                <a:lnTo>
                  <a:pt x="103" y="181"/>
                </a:lnTo>
                <a:lnTo>
                  <a:pt x="106" y="180"/>
                </a:lnTo>
                <a:lnTo>
                  <a:pt x="110" y="176"/>
                </a:lnTo>
                <a:lnTo>
                  <a:pt x="113" y="175"/>
                </a:lnTo>
                <a:lnTo>
                  <a:pt x="115" y="174"/>
                </a:lnTo>
                <a:lnTo>
                  <a:pt x="118" y="174"/>
                </a:lnTo>
                <a:lnTo>
                  <a:pt x="122" y="174"/>
                </a:lnTo>
                <a:lnTo>
                  <a:pt x="128" y="167"/>
                </a:lnTo>
                <a:lnTo>
                  <a:pt x="133" y="167"/>
                </a:lnTo>
                <a:lnTo>
                  <a:pt x="135" y="170"/>
                </a:lnTo>
                <a:lnTo>
                  <a:pt x="138" y="167"/>
                </a:lnTo>
                <a:lnTo>
                  <a:pt x="143" y="167"/>
                </a:lnTo>
                <a:lnTo>
                  <a:pt x="145" y="166"/>
                </a:lnTo>
                <a:lnTo>
                  <a:pt x="148" y="165"/>
                </a:lnTo>
                <a:lnTo>
                  <a:pt x="156" y="163"/>
                </a:lnTo>
                <a:lnTo>
                  <a:pt x="159" y="162"/>
                </a:lnTo>
                <a:lnTo>
                  <a:pt x="162" y="160"/>
                </a:lnTo>
                <a:lnTo>
                  <a:pt x="169" y="153"/>
                </a:lnTo>
                <a:lnTo>
                  <a:pt x="171" y="151"/>
                </a:lnTo>
                <a:lnTo>
                  <a:pt x="172" y="148"/>
                </a:lnTo>
                <a:lnTo>
                  <a:pt x="175" y="144"/>
                </a:lnTo>
                <a:lnTo>
                  <a:pt x="175" y="143"/>
                </a:lnTo>
                <a:lnTo>
                  <a:pt x="176" y="141"/>
                </a:lnTo>
                <a:lnTo>
                  <a:pt x="178" y="142"/>
                </a:lnTo>
                <a:lnTo>
                  <a:pt x="185" y="135"/>
                </a:lnTo>
                <a:lnTo>
                  <a:pt x="186" y="133"/>
                </a:lnTo>
                <a:lnTo>
                  <a:pt x="185" y="132"/>
                </a:lnTo>
                <a:lnTo>
                  <a:pt x="185" y="123"/>
                </a:lnTo>
                <a:lnTo>
                  <a:pt x="186" y="119"/>
                </a:lnTo>
                <a:lnTo>
                  <a:pt x="189" y="115"/>
                </a:lnTo>
                <a:lnTo>
                  <a:pt x="191" y="114"/>
                </a:lnTo>
                <a:lnTo>
                  <a:pt x="192" y="114"/>
                </a:lnTo>
                <a:lnTo>
                  <a:pt x="194" y="112"/>
                </a:lnTo>
                <a:lnTo>
                  <a:pt x="196" y="110"/>
                </a:lnTo>
                <a:lnTo>
                  <a:pt x="197" y="110"/>
                </a:lnTo>
                <a:lnTo>
                  <a:pt x="197" y="107"/>
                </a:lnTo>
                <a:lnTo>
                  <a:pt x="199" y="104"/>
                </a:lnTo>
                <a:lnTo>
                  <a:pt x="199" y="104"/>
                </a:lnTo>
                <a:lnTo>
                  <a:pt x="201" y="106"/>
                </a:lnTo>
                <a:lnTo>
                  <a:pt x="201" y="109"/>
                </a:lnTo>
                <a:lnTo>
                  <a:pt x="202" y="114"/>
                </a:lnTo>
                <a:lnTo>
                  <a:pt x="203" y="117"/>
                </a:lnTo>
                <a:lnTo>
                  <a:pt x="205" y="120"/>
                </a:lnTo>
                <a:lnTo>
                  <a:pt x="205" y="123"/>
                </a:lnTo>
                <a:lnTo>
                  <a:pt x="206" y="124"/>
                </a:lnTo>
                <a:lnTo>
                  <a:pt x="208" y="121"/>
                </a:lnTo>
                <a:lnTo>
                  <a:pt x="209" y="116"/>
                </a:lnTo>
                <a:lnTo>
                  <a:pt x="209" y="116"/>
                </a:lnTo>
                <a:lnTo>
                  <a:pt x="212" y="115"/>
                </a:lnTo>
                <a:lnTo>
                  <a:pt x="212" y="112"/>
                </a:lnTo>
                <a:lnTo>
                  <a:pt x="211" y="109"/>
                </a:lnTo>
                <a:lnTo>
                  <a:pt x="209" y="106"/>
                </a:lnTo>
                <a:lnTo>
                  <a:pt x="211" y="105"/>
                </a:lnTo>
                <a:lnTo>
                  <a:pt x="211" y="100"/>
                </a:lnTo>
                <a:lnTo>
                  <a:pt x="213" y="99"/>
                </a:lnTo>
                <a:lnTo>
                  <a:pt x="215" y="100"/>
                </a:lnTo>
                <a:lnTo>
                  <a:pt x="217" y="100"/>
                </a:lnTo>
                <a:lnTo>
                  <a:pt x="221" y="105"/>
                </a:lnTo>
                <a:lnTo>
                  <a:pt x="225" y="105"/>
                </a:lnTo>
                <a:lnTo>
                  <a:pt x="226" y="103"/>
                </a:lnTo>
                <a:lnTo>
                  <a:pt x="224" y="102"/>
                </a:lnTo>
                <a:lnTo>
                  <a:pt x="225" y="99"/>
                </a:lnTo>
                <a:lnTo>
                  <a:pt x="228" y="95"/>
                </a:lnTo>
                <a:lnTo>
                  <a:pt x="229" y="93"/>
                </a:lnTo>
                <a:lnTo>
                  <a:pt x="228" y="87"/>
                </a:lnTo>
                <a:lnTo>
                  <a:pt x="231" y="85"/>
                </a:lnTo>
                <a:lnTo>
                  <a:pt x="233" y="85"/>
                </a:lnTo>
                <a:lnTo>
                  <a:pt x="236" y="86"/>
                </a:lnTo>
                <a:lnTo>
                  <a:pt x="236" y="86"/>
                </a:lnTo>
                <a:lnTo>
                  <a:pt x="235" y="82"/>
                </a:lnTo>
                <a:lnTo>
                  <a:pt x="236" y="80"/>
                </a:lnTo>
                <a:lnTo>
                  <a:pt x="237" y="79"/>
                </a:lnTo>
                <a:lnTo>
                  <a:pt x="242" y="81"/>
                </a:lnTo>
                <a:lnTo>
                  <a:pt x="243" y="79"/>
                </a:lnTo>
                <a:lnTo>
                  <a:pt x="242" y="75"/>
                </a:lnTo>
                <a:lnTo>
                  <a:pt x="242" y="72"/>
                </a:lnTo>
                <a:lnTo>
                  <a:pt x="244" y="71"/>
                </a:lnTo>
                <a:lnTo>
                  <a:pt x="246" y="71"/>
                </a:lnTo>
                <a:lnTo>
                  <a:pt x="247" y="70"/>
                </a:lnTo>
                <a:lnTo>
                  <a:pt x="250" y="70"/>
                </a:lnTo>
                <a:lnTo>
                  <a:pt x="250" y="72"/>
                </a:lnTo>
                <a:lnTo>
                  <a:pt x="252" y="71"/>
                </a:lnTo>
                <a:lnTo>
                  <a:pt x="254" y="70"/>
                </a:lnTo>
                <a:lnTo>
                  <a:pt x="256" y="65"/>
                </a:lnTo>
                <a:lnTo>
                  <a:pt x="256" y="64"/>
                </a:lnTo>
                <a:lnTo>
                  <a:pt x="255" y="62"/>
                </a:lnTo>
                <a:lnTo>
                  <a:pt x="256" y="60"/>
                </a:lnTo>
                <a:lnTo>
                  <a:pt x="257" y="62"/>
                </a:lnTo>
                <a:lnTo>
                  <a:pt x="257" y="64"/>
                </a:lnTo>
                <a:lnTo>
                  <a:pt x="259" y="63"/>
                </a:lnTo>
                <a:lnTo>
                  <a:pt x="260" y="61"/>
                </a:lnTo>
                <a:lnTo>
                  <a:pt x="262" y="61"/>
                </a:lnTo>
                <a:lnTo>
                  <a:pt x="262" y="63"/>
                </a:lnTo>
                <a:lnTo>
                  <a:pt x="264" y="63"/>
                </a:lnTo>
                <a:lnTo>
                  <a:pt x="267" y="61"/>
                </a:lnTo>
                <a:lnTo>
                  <a:pt x="268" y="60"/>
                </a:lnTo>
                <a:lnTo>
                  <a:pt x="268" y="56"/>
                </a:lnTo>
                <a:lnTo>
                  <a:pt x="270" y="56"/>
                </a:lnTo>
                <a:lnTo>
                  <a:pt x="272" y="57"/>
                </a:lnTo>
                <a:lnTo>
                  <a:pt x="274" y="59"/>
                </a:lnTo>
                <a:lnTo>
                  <a:pt x="276" y="59"/>
                </a:lnTo>
                <a:lnTo>
                  <a:pt x="279" y="61"/>
                </a:lnTo>
                <a:lnTo>
                  <a:pt x="280" y="63"/>
                </a:lnTo>
                <a:lnTo>
                  <a:pt x="285" y="70"/>
                </a:lnTo>
                <a:lnTo>
                  <a:pt x="288" y="73"/>
                </a:lnTo>
                <a:lnTo>
                  <a:pt x="286" y="79"/>
                </a:lnTo>
                <a:lnTo>
                  <a:pt x="286" y="82"/>
                </a:lnTo>
                <a:lnTo>
                  <a:pt x="286" y="83"/>
                </a:lnTo>
                <a:lnTo>
                  <a:pt x="286" y="83"/>
                </a:lnTo>
                <a:lnTo>
                  <a:pt x="287" y="82"/>
                </a:lnTo>
                <a:lnTo>
                  <a:pt x="288" y="80"/>
                </a:lnTo>
                <a:lnTo>
                  <a:pt x="288" y="79"/>
                </a:lnTo>
                <a:lnTo>
                  <a:pt x="289" y="77"/>
                </a:lnTo>
                <a:lnTo>
                  <a:pt x="290" y="77"/>
                </a:lnTo>
                <a:lnTo>
                  <a:pt x="290" y="77"/>
                </a:lnTo>
                <a:lnTo>
                  <a:pt x="293" y="77"/>
                </a:lnTo>
                <a:lnTo>
                  <a:pt x="293" y="75"/>
                </a:lnTo>
                <a:lnTo>
                  <a:pt x="294" y="74"/>
                </a:lnTo>
                <a:lnTo>
                  <a:pt x="297" y="75"/>
                </a:lnTo>
                <a:lnTo>
                  <a:pt x="300" y="75"/>
                </a:lnTo>
                <a:lnTo>
                  <a:pt x="304" y="75"/>
                </a:lnTo>
                <a:lnTo>
                  <a:pt x="305" y="76"/>
                </a:lnTo>
                <a:lnTo>
                  <a:pt x="309" y="82"/>
                </a:lnTo>
                <a:lnTo>
                  <a:pt x="312" y="82"/>
                </a:lnTo>
                <a:lnTo>
                  <a:pt x="312" y="81"/>
                </a:lnTo>
                <a:lnTo>
                  <a:pt x="310" y="76"/>
                </a:lnTo>
                <a:lnTo>
                  <a:pt x="314" y="75"/>
                </a:lnTo>
                <a:lnTo>
                  <a:pt x="314" y="75"/>
                </a:lnTo>
                <a:lnTo>
                  <a:pt x="310" y="71"/>
                </a:lnTo>
                <a:lnTo>
                  <a:pt x="308" y="66"/>
                </a:lnTo>
                <a:lnTo>
                  <a:pt x="310" y="62"/>
                </a:lnTo>
                <a:lnTo>
                  <a:pt x="312" y="62"/>
                </a:lnTo>
                <a:lnTo>
                  <a:pt x="313" y="61"/>
                </a:lnTo>
                <a:lnTo>
                  <a:pt x="317" y="55"/>
                </a:lnTo>
                <a:lnTo>
                  <a:pt x="317" y="53"/>
                </a:lnTo>
                <a:lnTo>
                  <a:pt x="319" y="51"/>
                </a:lnTo>
                <a:lnTo>
                  <a:pt x="320" y="52"/>
                </a:lnTo>
                <a:lnTo>
                  <a:pt x="324" y="52"/>
                </a:lnTo>
                <a:lnTo>
                  <a:pt x="326" y="50"/>
                </a:lnTo>
                <a:lnTo>
                  <a:pt x="326" y="45"/>
                </a:lnTo>
                <a:lnTo>
                  <a:pt x="324" y="46"/>
                </a:lnTo>
                <a:lnTo>
                  <a:pt x="325" y="44"/>
                </a:lnTo>
                <a:lnTo>
                  <a:pt x="325" y="41"/>
                </a:lnTo>
                <a:lnTo>
                  <a:pt x="327" y="37"/>
                </a:lnTo>
                <a:lnTo>
                  <a:pt x="329" y="36"/>
                </a:lnTo>
                <a:lnTo>
                  <a:pt x="331" y="35"/>
                </a:lnTo>
                <a:lnTo>
                  <a:pt x="333" y="33"/>
                </a:lnTo>
                <a:lnTo>
                  <a:pt x="335" y="33"/>
                </a:lnTo>
                <a:lnTo>
                  <a:pt x="337" y="35"/>
                </a:lnTo>
                <a:lnTo>
                  <a:pt x="338" y="37"/>
                </a:lnTo>
                <a:lnTo>
                  <a:pt x="338" y="35"/>
                </a:lnTo>
                <a:lnTo>
                  <a:pt x="337" y="32"/>
                </a:lnTo>
                <a:lnTo>
                  <a:pt x="338" y="31"/>
                </a:lnTo>
                <a:lnTo>
                  <a:pt x="340" y="29"/>
                </a:lnTo>
                <a:lnTo>
                  <a:pt x="344" y="30"/>
                </a:lnTo>
                <a:lnTo>
                  <a:pt x="345" y="29"/>
                </a:lnTo>
                <a:lnTo>
                  <a:pt x="348" y="29"/>
                </a:lnTo>
                <a:lnTo>
                  <a:pt x="351" y="29"/>
                </a:lnTo>
                <a:lnTo>
                  <a:pt x="354" y="30"/>
                </a:lnTo>
                <a:lnTo>
                  <a:pt x="357" y="30"/>
                </a:lnTo>
                <a:lnTo>
                  <a:pt x="363" y="28"/>
                </a:lnTo>
                <a:lnTo>
                  <a:pt x="365" y="25"/>
                </a:lnTo>
                <a:lnTo>
                  <a:pt x="366" y="18"/>
                </a:lnTo>
                <a:lnTo>
                  <a:pt x="365" y="15"/>
                </a:lnTo>
                <a:lnTo>
                  <a:pt x="361" y="15"/>
                </a:lnTo>
                <a:lnTo>
                  <a:pt x="359" y="15"/>
                </a:lnTo>
                <a:lnTo>
                  <a:pt x="357" y="14"/>
                </a:lnTo>
                <a:lnTo>
                  <a:pt x="356" y="12"/>
                </a:lnTo>
                <a:lnTo>
                  <a:pt x="354" y="11"/>
                </a:lnTo>
                <a:lnTo>
                  <a:pt x="354" y="11"/>
                </a:lnTo>
                <a:lnTo>
                  <a:pt x="355" y="11"/>
                </a:lnTo>
                <a:lnTo>
                  <a:pt x="356" y="11"/>
                </a:lnTo>
                <a:lnTo>
                  <a:pt x="357" y="10"/>
                </a:lnTo>
                <a:lnTo>
                  <a:pt x="358" y="9"/>
                </a:lnTo>
                <a:lnTo>
                  <a:pt x="358" y="10"/>
                </a:lnTo>
                <a:lnTo>
                  <a:pt x="358" y="14"/>
                </a:lnTo>
                <a:lnTo>
                  <a:pt x="360" y="12"/>
                </a:lnTo>
                <a:lnTo>
                  <a:pt x="360" y="10"/>
                </a:lnTo>
                <a:lnTo>
                  <a:pt x="361" y="9"/>
                </a:lnTo>
                <a:lnTo>
                  <a:pt x="363" y="11"/>
                </a:lnTo>
                <a:lnTo>
                  <a:pt x="364" y="11"/>
                </a:lnTo>
                <a:lnTo>
                  <a:pt x="365" y="12"/>
                </a:lnTo>
                <a:lnTo>
                  <a:pt x="366" y="13"/>
                </a:lnTo>
                <a:lnTo>
                  <a:pt x="368" y="15"/>
                </a:lnTo>
                <a:lnTo>
                  <a:pt x="369" y="13"/>
                </a:lnTo>
                <a:lnTo>
                  <a:pt x="370" y="13"/>
                </a:lnTo>
                <a:lnTo>
                  <a:pt x="371" y="14"/>
                </a:lnTo>
                <a:lnTo>
                  <a:pt x="373" y="16"/>
                </a:lnTo>
                <a:lnTo>
                  <a:pt x="374" y="19"/>
                </a:lnTo>
                <a:lnTo>
                  <a:pt x="378" y="20"/>
                </a:lnTo>
                <a:lnTo>
                  <a:pt x="379" y="20"/>
                </a:lnTo>
                <a:lnTo>
                  <a:pt x="380" y="20"/>
                </a:lnTo>
                <a:lnTo>
                  <a:pt x="381" y="21"/>
                </a:lnTo>
                <a:lnTo>
                  <a:pt x="384" y="20"/>
                </a:lnTo>
                <a:lnTo>
                  <a:pt x="385" y="20"/>
                </a:lnTo>
                <a:lnTo>
                  <a:pt x="385" y="21"/>
                </a:lnTo>
                <a:lnTo>
                  <a:pt x="386" y="22"/>
                </a:lnTo>
                <a:lnTo>
                  <a:pt x="388" y="22"/>
                </a:lnTo>
                <a:lnTo>
                  <a:pt x="391" y="24"/>
                </a:lnTo>
                <a:lnTo>
                  <a:pt x="394" y="24"/>
                </a:lnTo>
                <a:lnTo>
                  <a:pt x="396" y="25"/>
                </a:lnTo>
                <a:lnTo>
                  <a:pt x="398" y="24"/>
                </a:lnTo>
                <a:lnTo>
                  <a:pt x="399" y="24"/>
                </a:lnTo>
                <a:lnTo>
                  <a:pt x="400" y="26"/>
                </a:lnTo>
                <a:lnTo>
                  <a:pt x="404" y="26"/>
                </a:lnTo>
                <a:lnTo>
                  <a:pt x="405" y="28"/>
                </a:lnTo>
                <a:lnTo>
                  <a:pt x="406" y="29"/>
                </a:lnTo>
                <a:lnTo>
                  <a:pt x="410" y="25"/>
                </a:lnTo>
                <a:lnTo>
                  <a:pt x="411" y="24"/>
                </a:lnTo>
                <a:lnTo>
                  <a:pt x="412" y="24"/>
                </a:lnTo>
                <a:lnTo>
                  <a:pt x="416" y="24"/>
                </a:lnTo>
                <a:lnTo>
                  <a:pt x="418" y="23"/>
                </a:lnTo>
                <a:lnTo>
                  <a:pt x="416" y="26"/>
                </a:lnTo>
                <a:lnTo>
                  <a:pt x="417" y="28"/>
                </a:lnTo>
                <a:lnTo>
                  <a:pt x="417" y="28"/>
                </a:lnTo>
                <a:lnTo>
                  <a:pt x="419" y="26"/>
                </a:lnTo>
                <a:lnTo>
                  <a:pt x="419" y="28"/>
                </a:lnTo>
                <a:lnTo>
                  <a:pt x="418" y="33"/>
                </a:lnTo>
                <a:lnTo>
                  <a:pt x="418" y="34"/>
                </a:lnTo>
                <a:lnTo>
                  <a:pt x="421" y="33"/>
                </a:lnTo>
                <a:lnTo>
                  <a:pt x="424" y="30"/>
                </a:lnTo>
                <a:lnTo>
                  <a:pt x="424" y="29"/>
                </a:lnTo>
                <a:lnTo>
                  <a:pt x="424" y="25"/>
                </a:lnTo>
                <a:lnTo>
                  <a:pt x="427" y="22"/>
                </a:lnTo>
                <a:lnTo>
                  <a:pt x="428" y="23"/>
                </a:lnTo>
                <a:lnTo>
                  <a:pt x="428" y="25"/>
                </a:lnTo>
                <a:lnTo>
                  <a:pt x="428" y="30"/>
                </a:lnTo>
                <a:lnTo>
                  <a:pt x="430" y="29"/>
                </a:lnTo>
                <a:lnTo>
                  <a:pt x="432" y="29"/>
                </a:lnTo>
                <a:lnTo>
                  <a:pt x="434" y="30"/>
                </a:lnTo>
                <a:lnTo>
                  <a:pt x="432" y="31"/>
                </a:lnTo>
                <a:lnTo>
                  <a:pt x="431" y="34"/>
                </a:lnTo>
                <a:lnTo>
                  <a:pt x="429" y="37"/>
                </a:lnTo>
                <a:lnTo>
                  <a:pt x="428" y="39"/>
                </a:lnTo>
                <a:lnTo>
                  <a:pt x="427" y="39"/>
                </a:lnTo>
                <a:lnTo>
                  <a:pt x="426" y="40"/>
                </a:lnTo>
                <a:lnTo>
                  <a:pt x="427" y="42"/>
                </a:lnTo>
                <a:lnTo>
                  <a:pt x="425" y="45"/>
                </a:lnTo>
                <a:lnTo>
                  <a:pt x="424" y="46"/>
                </a:lnTo>
                <a:lnTo>
                  <a:pt x="421" y="46"/>
                </a:lnTo>
                <a:lnTo>
                  <a:pt x="420" y="44"/>
                </a:lnTo>
                <a:lnTo>
                  <a:pt x="419" y="46"/>
                </a:lnTo>
                <a:lnTo>
                  <a:pt x="419" y="49"/>
                </a:lnTo>
                <a:lnTo>
                  <a:pt x="419" y="51"/>
                </a:lnTo>
                <a:lnTo>
                  <a:pt x="419" y="50"/>
                </a:lnTo>
                <a:lnTo>
                  <a:pt x="418" y="46"/>
                </a:lnTo>
                <a:lnTo>
                  <a:pt x="417" y="46"/>
                </a:lnTo>
                <a:lnTo>
                  <a:pt x="416" y="51"/>
                </a:lnTo>
                <a:lnTo>
                  <a:pt x="414" y="53"/>
                </a:lnTo>
                <a:lnTo>
                  <a:pt x="414" y="55"/>
                </a:lnTo>
                <a:lnTo>
                  <a:pt x="417" y="54"/>
                </a:lnTo>
                <a:lnTo>
                  <a:pt x="415" y="61"/>
                </a:lnTo>
                <a:lnTo>
                  <a:pt x="414" y="62"/>
                </a:lnTo>
                <a:lnTo>
                  <a:pt x="410" y="67"/>
                </a:lnTo>
                <a:lnTo>
                  <a:pt x="409" y="72"/>
                </a:lnTo>
                <a:lnTo>
                  <a:pt x="408" y="73"/>
                </a:lnTo>
                <a:lnTo>
                  <a:pt x="407" y="75"/>
                </a:lnTo>
                <a:lnTo>
                  <a:pt x="406" y="79"/>
                </a:lnTo>
                <a:lnTo>
                  <a:pt x="408" y="80"/>
                </a:lnTo>
                <a:lnTo>
                  <a:pt x="408" y="82"/>
                </a:lnTo>
                <a:lnTo>
                  <a:pt x="410" y="81"/>
                </a:lnTo>
                <a:lnTo>
                  <a:pt x="412" y="84"/>
                </a:lnTo>
                <a:lnTo>
                  <a:pt x="417" y="85"/>
                </a:lnTo>
                <a:lnTo>
                  <a:pt x="417" y="89"/>
                </a:lnTo>
                <a:lnTo>
                  <a:pt x="417" y="92"/>
                </a:lnTo>
                <a:lnTo>
                  <a:pt x="417" y="96"/>
                </a:lnTo>
                <a:lnTo>
                  <a:pt x="420" y="94"/>
                </a:lnTo>
                <a:lnTo>
                  <a:pt x="426" y="95"/>
                </a:lnTo>
                <a:lnTo>
                  <a:pt x="430" y="95"/>
                </a:lnTo>
                <a:lnTo>
                  <a:pt x="430" y="97"/>
                </a:lnTo>
                <a:lnTo>
                  <a:pt x="434" y="100"/>
                </a:lnTo>
                <a:lnTo>
                  <a:pt x="436" y="102"/>
                </a:lnTo>
                <a:lnTo>
                  <a:pt x="438" y="103"/>
                </a:lnTo>
                <a:lnTo>
                  <a:pt x="439" y="105"/>
                </a:lnTo>
                <a:lnTo>
                  <a:pt x="441" y="107"/>
                </a:lnTo>
                <a:lnTo>
                  <a:pt x="444" y="109"/>
                </a:lnTo>
                <a:lnTo>
                  <a:pt x="446" y="110"/>
                </a:lnTo>
                <a:lnTo>
                  <a:pt x="454" y="112"/>
                </a:lnTo>
                <a:lnTo>
                  <a:pt x="456" y="114"/>
                </a:lnTo>
                <a:lnTo>
                  <a:pt x="456" y="117"/>
                </a:lnTo>
                <a:lnTo>
                  <a:pt x="457" y="120"/>
                </a:lnTo>
                <a:lnTo>
                  <a:pt x="465" y="126"/>
                </a:lnTo>
                <a:lnTo>
                  <a:pt x="469" y="129"/>
                </a:lnTo>
                <a:lnTo>
                  <a:pt x="472" y="127"/>
                </a:lnTo>
                <a:lnTo>
                  <a:pt x="476" y="125"/>
                </a:lnTo>
                <a:lnTo>
                  <a:pt x="481" y="124"/>
                </a:lnTo>
                <a:lnTo>
                  <a:pt x="482" y="122"/>
                </a:lnTo>
                <a:lnTo>
                  <a:pt x="486" y="115"/>
                </a:lnTo>
                <a:lnTo>
                  <a:pt x="490" y="107"/>
                </a:lnTo>
                <a:lnTo>
                  <a:pt x="496" y="93"/>
                </a:lnTo>
                <a:lnTo>
                  <a:pt x="498" y="87"/>
                </a:lnTo>
                <a:lnTo>
                  <a:pt x="500" y="84"/>
                </a:lnTo>
                <a:lnTo>
                  <a:pt x="502" y="80"/>
                </a:lnTo>
                <a:lnTo>
                  <a:pt x="502" y="75"/>
                </a:lnTo>
                <a:lnTo>
                  <a:pt x="501" y="69"/>
                </a:lnTo>
                <a:lnTo>
                  <a:pt x="502" y="64"/>
                </a:lnTo>
                <a:lnTo>
                  <a:pt x="503" y="53"/>
                </a:lnTo>
                <a:lnTo>
                  <a:pt x="507" y="46"/>
                </a:lnTo>
                <a:lnTo>
                  <a:pt x="508" y="42"/>
                </a:lnTo>
                <a:lnTo>
                  <a:pt x="509" y="39"/>
                </a:lnTo>
                <a:lnTo>
                  <a:pt x="510" y="35"/>
                </a:lnTo>
                <a:lnTo>
                  <a:pt x="508" y="34"/>
                </a:lnTo>
                <a:lnTo>
                  <a:pt x="509" y="31"/>
                </a:lnTo>
                <a:lnTo>
                  <a:pt x="511" y="24"/>
                </a:lnTo>
                <a:lnTo>
                  <a:pt x="515" y="23"/>
                </a:lnTo>
                <a:lnTo>
                  <a:pt x="516" y="21"/>
                </a:lnTo>
                <a:lnTo>
                  <a:pt x="518" y="14"/>
                </a:lnTo>
                <a:lnTo>
                  <a:pt x="522" y="10"/>
                </a:lnTo>
                <a:lnTo>
                  <a:pt x="522" y="5"/>
                </a:lnTo>
                <a:lnTo>
                  <a:pt x="522" y="4"/>
                </a:lnTo>
                <a:lnTo>
                  <a:pt x="525" y="3"/>
                </a:lnTo>
                <a:lnTo>
                  <a:pt x="526" y="3"/>
                </a:lnTo>
                <a:lnTo>
                  <a:pt x="528" y="1"/>
                </a:lnTo>
                <a:lnTo>
                  <a:pt x="529" y="0"/>
                </a:lnTo>
                <a:lnTo>
                  <a:pt x="531" y="0"/>
                </a:lnTo>
                <a:lnTo>
                  <a:pt x="531" y="2"/>
                </a:lnTo>
                <a:lnTo>
                  <a:pt x="531" y="4"/>
                </a:lnTo>
                <a:lnTo>
                  <a:pt x="530" y="5"/>
                </a:lnTo>
                <a:lnTo>
                  <a:pt x="530" y="5"/>
                </a:lnTo>
                <a:lnTo>
                  <a:pt x="531" y="10"/>
                </a:lnTo>
                <a:lnTo>
                  <a:pt x="530" y="19"/>
                </a:lnTo>
                <a:lnTo>
                  <a:pt x="530" y="22"/>
                </a:lnTo>
                <a:lnTo>
                  <a:pt x="533" y="22"/>
                </a:lnTo>
                <a:lnTo>
                  <a:pt x="533" y="24"/>
                </a:lnTo>
                <a:lnTo>
                  <a:pt x="532" y="29"/>
                </a:lnTo>
                <a:lnTo>
                  <a:pt x="535" y="30"/>
                </a:lnTo>
                <a:lnTo>
                  <a:pt x="535" y="33"/>
                </a:lnTo>
                <a:lnTo>
                  <a:pt x="536" y="35"/>
                </a:lnTo>
                <a:lnTo>
                  <a:pt x="536" y="40"/>
                </a:lnTo>
                <a:lnTo>
                  <a:pt x="537" y="40"/>
                </a:lnTo>
                <a:lnTo>
                  <a:pt x="537" y="45"/>
                </a:lnTo>
                <a:lnTo>
                  <a:pt x="538" y="49"/>
                </a:lnTo>
                <a:lnTo>
                  <a:pt x="537" y="55"/>
                </a:lnTo>
                <a:lnTo>
                  <a:pt x="537" y="59"/>
                </a:lnTo>
                <a:lnTo>
                  <a:pt x="537" y="62"/>
                </a:lnTo>
                <a:lnTo>
                  <a:pt x="538" y="64"/>
                </a:lnTo>
                <a:lnTo>
                  <a:pt x="540" y="67"/>
                </a:lnTo>
                <a:lnTo>
                  <a:pt x="542" y="69"/>
                </a:lnTo>
                <a:lnTo>
                  <a:pt x="547" y="65"/>
                </a:lnTo>
                <a:lnTo>
                  <a:pt x="549" y="64"/>
                </a:lnTo>
                <a:lnTo>
                  <a:pt x="551" y="64"/>
                </a:lnTo>
                <a:lnTo>
                  <a:pt x="552" y="70"/>
                </a:lnTo>
                <a:lnTo>
                  <a:pt x="556" y="71"/>
                </a:lnTo>
                <a:lnTo>
                  <a:pt x="557" y="74"/>
                </a:lnTo>
                <a:lnTo>
                  <a:pt x="559" y="75"/>
                </a:lnTo>
                <a:lnTo>
                  <a:pt x="561" y="79"/>
                </a:lnTo>
                <a:lnTo>
                  <a:pt x="560" y="82"/>
                </a:lnTo>
                <a:lnTo>
                  <a:pt x="560" y="83"/>
                </a:lnTo>
                <a:lnTo>
                  <a:pt x="559" y="90"/>
                </a:lnTo>
                <a:lnTo>
                  <a:pt x="559" y="93"/>
                </a:lnTo>
                <a:lnTo>
                  <a:pt x="559" y="95"/>
                </a:lnTo>
                <a:lnTo>
                  <a:pt x="560" y="99"/>
                </a:lnTo>
                <a:lnTo>
                  <a:pt x="559" y="103"/>
                </a:lnTo>
                <a:lnTo>
                  <a:pt x="559" y="107"/>
                </a:lnTo>
                <a:lnTo>
                  <a:pt x="561" y="113"/>
                </a:lnTo>
                <a:lnTo>
                  <a:pt x="564" y="113"/>
                </a:lnTo>
                <a:lnTo>
                  <a:pt x="563" y="116"/>
                </a:lnTo>
                <a:lnTo>
                  <a:pt x="564" y="123"/>
                </a:lnTo>
                <a:lnTo>
                  <a:pt x="564" y="126"/>
                </a:lnTo>
                <a:lnTo>
                  <a:pt x="563" y="132"/>
                </a:lnTo>
                <a:lnTo>
                  <a:pt x="562" y="134"/>
                </a:lnTo>
                <a:lnTo>
                  <a:pt x="562" y="137"/>
                </a:lnTo>
                <a:lnTo>
                  <a:pt x="562" y="141"/>
                </a:lnTo>
                <a:lnTo>
                  <a:pt x="563" y="143"/>
                </a:lnTo>
                <a:lnTo>
                  <a:pt x="564" y="143"/>
                </a:lnTo>
                <a:lnTo>
                  <a:pt x="564" y="144"/>
                </a:lnTo>
                <a:lnTo>
                  <a:pt x="566" y="143"/>
                </a:lnTo>
                <a:lnTo>
                  <a:pt x="564" y="144"/>
                </a:lnTo>
                <a:lnTo>
                  <a:pt x="564" y="145"/>
                </a:lnTo>
                <a:lnTo>
                  <a:pt x="564" y="146"/>
                </a:lnTo>
                <a:lnTo>
                  <a:pt x="564" y="148"/>
                </a:lnTo>
                <a:lnTo>
                  <a:pt x="564" y="151"/>
                </a:lnTo>
                <a:lnTo>
                  <a:pt x="568" y="153"/>
                </a:lnTo>
                <a:lnTo>
                  <a:pt x="569" y="154"/>
                </a:lnTo>
                <a:lnTo>
                  <a:pt x="571" y="156"/>
                </a:lnTo>
                <a:lnTo>
                  <a:pt x="577" y="157"/>
                </a:lnTo>
                <a:lnTo>
                  <a:pt x="578" y="157"/>
                </a:lnTo>
                <a:lnTo>
                  <a:pt x="579" y="156"/>
                </a:lnTo>
                <a:lnTo>
                  <a:pt x="579" y="161"/>
                </a:lnTo>
                <a:lnTo>
                  <a:pt x="580" y="164"/>
                </a:lnTo>
                <a:lnTo>
                  <a:pt x="581" y="165"/>
                </a:lnTo>
                <a:lnTo>
                  <a:pt x="584" y="164"/>
                </a:lnTo>
                <a:lnTo>
                  <a:pt x="586" y="166"/>
                </a:lnTo>
                <a:lnTo>
                  <a:pt x="588" y="166"/>
                </a:lnTo>
                <a:lnTo>
                  <a:pt x="589" y="170"/>
                </a:lnTo>
                <a:lnTo>
                  <a:pt x="591" y="171"/>
                </a:lnTo>
                <a:lnTo>
                  <a:pt x="592" y="170"/>
                </a:lnTo>
                <a:lnTo>
                  <a:pt x="593" y="171"/>
                </a:lnTo>
                <a:lnTo>
                  <a:pt x="597" y="173"/>
                </a:lnTo>
                <a:lnTo>
                  <a:pt x="598" y="174"/>
                </a:lnTo>
                <a:lnTo>
                  <a:pt x="598" y="178"/>
                </a:lnTo>
                <a:lnTo>
                  <a:pt x="596" y="177"/>
                </a:lnTo>
                <a:lnTo>
                  <a:pt x="594" y="182"/>
                </a:lnTo>
                <a:lnTo>
                  <a:pt x="596" y="183"/>
                </a:lnTo>
                <a:lnTo>
                  <a:pt x="598" y="184"/>
                </a:lnTo>
                <a:lnTo>
                  <a:pt x="599" y="185"/>
                </a:lnTo>
                <a:lnTo>
                  <a:pt x="600" y="188"/>
                </a:lnTo>
                <a:lnTo>
                  <a:pt x="600" y="191"/>
                </a:lnTo>
                <a:lnTo>
                  <a:pt x="600" y="193"/>
                </a:lnTo>
                <a:lnTo>
                  <a:pt x="600" y="195"/>
                </a:lnTo>
                <a:lnTo>
                  <a:pt x="602" y="195"/>
                </a:lnTo>
                <a:lnTo>
                  <a:pt x="602" y="197"/>
                </a:lnTo>
                <a:lnTo>
                  <a:pt x="600" y="206"/>
                </a:lnTo>
                <a:lnTo>
                  <a:pt x="601" y="207"/>
                </a:lnTo>
                <a:lnTo>
                  <a:pt x="601" y="210"/>
                </a:lnTo>
                <a:lnTo>
                  <a:pt x="601" y="211"/>
                </a:lnTo>
                <a:lnTo>
                  <a:pt x="601" y="214"/>
                </a:lnTo>
                <a:lnTo>
                  <a:pt x="602" y="214"/>
                </a:lnTo>
                <a:lnTo>
                  <a:pt x="603" y="213"/>
                </a:lnTo>
                <a:lnTo>
                  <a:pt x="606" y="213"/>
                </a:lnTo>
                <a:lnTo>
                  <a:pt x="607" y="208"/>
                </a:lnTo>
                <a:lnTo>
                  <a:pt x="609" y="207"/>
                </a:lnTo>
                <a:lnTo>
                  <a:pt x="609" y="210"/>
                </a:lnTo>
                <a:lnTo>
                  <a:pt x="610" y="212"/>
                </a:lnTo>
                <a:lnTo>
                  <a:pt x="613" y="213"/>
                </a:lnTo>
                <a:lnTo>
                  <a:pt x="614" y="215"/>
                </a:lnTo>
                <a:lnTo>
                  <a:pt x="617" y="211"/>
                </a:lnTo>
                <a:lnTo>
                  <a:pt x="618" y="212"/>
                </a:lnTo>
                <a:lnTo>
                  <a:pt x="617" y="214"/>
                </a:lnTo>
                <a:lnTo>
                  <a:pt x="618" y="215"/>
                </a:lnTo>
                <a:lnTo>
                  <a:pt x="618" y="220"/>
                </a:lnTo>
                <a:lnTo>
                  <a:pt x="616" y="228"/>
                </a:lnTo>
                <a:lnTo>
                  <a:pt x="616" y="233"/>
                </a:lnTo>
                <a:lnTo>
                  <a:pt x="617" y="235"/>
                </a:lnTo>
                <a:lnTo>
                  <a:pt x="618" y="237"/>
                </a:lnTo>
                <a:lnTo>
                  <a:pt x="621" y="241"/>
                </a:lnTo>
                <a:lnTo>
                  <a:pt x="624" y="241"/>
                </a:lnTo>
                <a:lnTo>
                  <a:pt x="627" y="243"/>
                </a:lnTo>
                <a:lnTo>
                  <a:pt x="628" y="245"/>
                </a:lnTo>
                <a:lnTo>
                  <a:pt x="629" y="248"/>
                </a:lnTo>
                <a:lnTo>
                  <a:pt x="629" y="251"/>
                </a:lnTo>
                <a:lnTo>
                  <a:pt x="630" y="253"/>
                </a:lnTo>
                <a:lnTo>
                  <a:pt x="633" y="254"/>
                </a:lnTo>
                <a:lnTo>
                  <a:pt x="633" y="255"/>
                </a:lnTo>
                <a:lnTo>
                  <a:pt x="634" y="261"/>
                </a:lnTo>
                <a:lnTo>
                  <a:pt x="634" y="262"/>
                </a:lnTo>
                <a:lnTo>
                  <a:pt x="637" y="264"/>
                </a:lnTo>
                <a:lnTo>
                  <a:pt x="637" y="266"/>
                </a:lnTo>
                <a:lnTo>
                  <a:pt x="636" y="272"/>
                </a:lnTo>
                <a:lnTo>
                  <a:pt x="637" y="275"/>
                </a:lnTo>
                <a:lnTo>
                  <a:pt x="637" y="276"/>
                </a:lnTo>
                <a:lnTo>
                  <a:pt x="638" y="274"/>
                </a:lnTo>
                <a:lnTo>
                  <a:pt x="637" y="278"/>
                </a:lnTo>
                <a:lnTo>
                  <a:pt x="634" y="283"/>
                </a:lnTo>
                <a:lnTo>
                  <a:pt x="634" y="286"/>
                </a:lnTo>
                <a:lnTo>
                  <a:pt x="632" y="295"/>
                </a:lnTo>
                <a:lnTo>
                  <a:pt x="632" y="297"/>
                </a:lnTo>
                <a:lnTo>
                  <a:pt x="632" y="296"/>
                </a:lnTo>
                <a:lnTo>
                  <a:pt x="630" y="298"/>
                </a:lnTo>
                <a:lnTo>
                  <a:pt x="631" y="299"/>
                </a:lnTo>
                <a:lnTo>
                  <a:pt x="630" y="302"/>
                </a:lnTo>
                <a:lnTo>
                  <a:pt x="631" y="303"/>
                </a:lnTo>
                <a:lnTo>
                  <a:pt x="630" y="306"/>
                </a:lnTo>
                <a:lnTo>
                  <a:pt x="630" y="312"/>
                </a:lnTo>
                <a:lnTo>
                  <a:pt x="630" y="319"/>
                </a:lnTo>
                <a:lnTo>
                  <a:pt x="628" y="327"/>
                </a:lnTo>
                <a:lnTo>
                  <a:pt x="624" y="332"/>
                </a:lnTo>
                <a:lnTo>
                  <a:pt x="623" y="334"/>
                </a:lnTo>
                <a:lnTo>
                  <a:pt x="620" y="339"/>
                </a:lnTo>
                <a:lnTo>
                  <a:pt x="617" y="345"/>
                </a:lnTo>
                <a:lnTo>
                  <a:pt x="611" y="354"/>
                </a:lnTo>
                <a:lnTo>
                  <a:pt x="611" y="355"/>
                </a:lnTo>
                <a:lnTo>
                  <a:pt x="607" y="360"/>
                </a:lnTo>
                <a:lnTo>
                  <a:pt x="603" y="366"/>
                </a:lnTo>
                <a:lnTo>
                  <a:pt x="602" y="370"/>
                </a:lnTo>
                <a:lnTo>
                  <a:pt x="600" y="373"/>
                </a:lnTo>
                <a:lnTo>
                  <a:pt x="599" y="375"/>
                </a:lnTo>
                <a:lnTo>
                  <a:pt x="590" y="386"/>
                </a:lnTo>
                <a:lnTo>
                  <a:pt x="588" y="387"/>
                </a:lnTo>
                <a:lnTo>
                  <a:pt x="586" y="389"/>
                </a:lnTo>
                <a:lnTo>
                  <a:pt x="583" y="392"/>
                </a:lnTo>
                <a:lnTo>
                  <a:pt x="582" y="393"/>
                </a:lnTo>
                <a:lnTo>
                  <a:pt x="582" y="395"/>
                </a:lnTo>
                <a:lnTo>
                  <a:pt x="580" y="396"/>
                </a:lnTo>
                <a:lnTo>
                  <a:pt x="577" y="399"/>
                </a:lnTo>
                <a:lnTo>
                  <a:pt x="574" y="399"/>
                </a:lnTo>
                <a:lnTo>
                  <a:pt x="573" y="400"/>
                </a:lnTo>
                <a:lnTo>
                  <a:pt x="574" y="402"/>
                </a:lnTo>
                <a:lnTo>
                  <a:pt x="571" y="402"/>
                </a:lnTo>
                <a:lnTo>
                  <a:pt x="569" y="403"/>
                </a:lnTo>
                <a:lnTo>
                  <a:pt x="567" y="406"/>
                </a:lnTo>
                <a:lnTo>
                  <a:pt x="563" y="408"/>
                </a:lnTo>
                <a:lnTo>
                  <a:pt x="560" y="412"/>
                </a:lnTo>
                <a:lnTo>
                  <a:pt x="557" y="415"/>
                </a:lnTo>
                <a:lnTo>
                  <a:pt x="555" y="415"/>
                </a:lnTo>
                <a:lnTo>
                  <a:pt x="553" y="416"/>
                </a:lnTo>
                <a:lnTo>
                  <a:pt x="552" y="417"/>
                </a:lnTo>
                <a:lnTo>
                  <a:pt x="555" y="417"/>
                </a:lnTo>
                <a:lnTo>
                  <a:pt x="552" y="422"/>
                </a:lnTo>
                <a:lnTo>
                  <a:pt x="549" y="424"/>
                </a:lnTo>
                <a:lnTo>
                  <a:pt x="549" y="425"/>
                </a:lnTo>
                <a:lnTo>
                  <a:pt x="547" y="427"/>
                </a:lnTo>
                <a:lnTo>
                  <a:pt x="543" y="430"/>
                </a:lnTo>
                <a:lnTo>
                  <a:pt x="533" y="443"/>
                </a:lnTo>
                <a:lnTo>
                  <a:pt x="531" y="445"/>
                </a:lnTo>
                <a:lnTo>
                  <a:pt x="530" y="444"/>
                </a:lnTo>
                <a:lnTo>
                  <a:pt x="526" y="449"/>
                </a:lnTo>
                <a:lnTo>
                  <a:pt x="523" y="450"/>
                </a:lnTo>
                <a:lnTo>
                  <a:pt x="521" y="454"/>
                </a:lnTo>
                <a:lnTo>
                  <a:pt x="520" y="454"/>
                </a:lnTo>
                <a:lnTo>
                  <a:pt x="518" y="456"/>
                </a:lnTo>
                <a:lnTo>
                  <a:pt x="516" y="459"/>
                </a:lnTo>
                <a:lnTo>
                  <a:pt x="512" y="464"/>
                </a:lnTo>
                <a:lnTo>
                  <a:pt x="511" y="466"/>
                </a:lnTo>
                <a:lnTo>
                  <a:pt x="510" y="467"/>
                </a:lnTo>
                <a:lnTo>
                  <a:pt x="508" y="470"/>
                </a:lnTo>
                <a:lnTo>
                  <a:pt x="505" y="475"/>
                </a:lnTo>
                <a:lnTo>
                  <a:pt x="502" y="477"/>
                </a:lnTo>
                <a:lnTo>
                  <a:pt x="501" y="479"/>
                </a:lnTo>
                <a:lnTo>
                  <a:pt x="501" y="481"/>
                </a:lnTo>
                <a:lnTo>
                  <a:pt x="500" y="484"/>
                </a:lnTo>
                <a:lnTo>
                  <a:pt x="498" y="486"/>
                </a:lnTo>
                <a:lnTo>
                  <a:pt x="496" y="488"/>
                </a:lnTo>
                <a:lnTo>
                  <a:pt x="495" y="487"/>
                </a:lnTo>
                <a:lnTo>
                  <a:pt x="493" y="487"/>
                </a:lnTo>
                <a:lnTo>
                  <a:pt x="491" y="490"/>
                </a:lnTo>
                <a:lnTo>
                  <a:pt x="485" y="493"/>
                </a:lnTo>
                <a:lnTo>
                  <a:pt x="470" y="493"/>
                </a:lnTo>
                <a:lnTo>
                  <a:pt x="466" y="494"/>
                </a:lnTo>
                <a:lnTo>
                  <a:pt x="458" y="496"/>
                </a:lnTo>
                <a:lnTo>
                  <a:pt x="455" y="499"/>
                </a:lnTo>
                <a:lnTo>
                  <a:pt x="449" y="501"/>
                </a:lnTo>
                <a:lnTo>
                  <a:pt x="446" y="503"/>
                </a:lnTo>
                <a:lnTo>
                  <a:pt x="445" y="505"/>
                </a:lnTo>
                <a:lnTo>
                  <a:pt x="440" y="507"/>
                </a:lnTo>
                <a:lnTo>
                  <a:pt x="438" y="508"/>
                </a:lnTo>
                <a:lnTo>
                  <a:pt x="438" y="507"/>
                </a:lnTo>
                <a:lnTo>
                  <a:pt x="434" y="508"/>
                </a:lnTo>
                <a:lnTo>
                  <a:pt x="431" y="508"/>
                </a:lnTo>
                <a:lnTo>
                  <a:pt x="430" y="508"/>
                </a:lnTo>
                <a:lnTo>
                  <a:pt x="428" y="510"/>
                </a:lnTo>
                <a:lnTo>
                  <a:pt x="429" y="511"/>
                </a:lnTo>
                <a:lnTo>
                  <a:pt x="430" y="510"/>
                </a:lnTo>
                <a:lnTo>
                  <a:pt x="432" y="509"/>
                </a:lnTo>
                <a:lnTo>
                  <a:pt x="435" y="509"/>
                </a:lnTo>
                <a:lnTo>
                  <a:pt x="431" y="511"/>
                </a:lnTo>
                <a:lnTo>
                  <a:pt x="430" y="515"/>
                </a:lnTo>
                <a:lnTo>
                  <a:pt x="428" y="516"/>
                </a:lnTo>
                <a:lnTo>
                  <a:pt x="427" y="511"/>
                </a:lnTo>
                <a:lnTo>
                  <a:pt x="426" y="511"/>
                </a:lnTo>
                <a:lnTo>
                  <a:pt x="424" y="510"/>
                </a:lnTo>
                <a:lnTo>
                  <a:pt x="424" y="508"/>
                </a:lnTo>
                <a:lnTo>
                  <a:pt x="421" y="508"/>
                </a:lnTo>
                <a:lnTo>
                  <a:pt x="420" y="506"/>
                </a:lnTo>
                <a:lnTo>
                  <a:pt x="420" y="504"/>
                </a:lnTo>
                <a:lnTo>
                  <a:pt x="424" y="501"/>
                </a:lnTo>
                <a:lnTo>
                  <a:pt x="422" y="499"/>
                </a:lnTo>
                <a:lnTo>
                  <a:pt x="418" y="503"/>
                </a:lnTo>
                <a:lnTo>
                  <a:pt x="415" y="503"/>
                </a:lnTo>
                <a:lnTo>
                  <a:pt x="412" y="501"/>
                </a:lnTo>
                <a:lnTo>
                  <a:pt x="411" y="500"/>
                </a:lnTo>
                <a:lnTo>
                  <a:pt x="416" y="500"/>
                </a:lnTo>
                <a:lnTo>
                  <a:pt x="418" y="498"/>
                </a:lnTo>
                <a:lnTo>
                  <a:pt x="419" y="495"/>
                </a:lnTo>
                <a:lnTo>
                  <a:pt x="417" y="493"/>
                </a:lnTo>
                <a:lnTo>
                  <a:pt x="411" y="496"/>
                </a:lnTo>
                <a:lnTo>
                  <a:pt x="408" y="496"/>
                </a:lnTo>
                <a:lnTo>
                  <a:pt x="411" y="499"/>
                </a:lnTo>
                <a:lnTo>
                  <a:pt x="410" y="499"/>
                </a:lnTo>
                <a:lnTo>
                  <a:pt x="408" y="500"/>
                </a:lnTo>
                <a:lnTo>
                  <a:pt x="405" y="501"/>
                </a:lnTo>
                <a:lnTo>
                  <a:pt x="400" y="504"/>
                </a:lnTo>
                <a:lnTo>
                  <a:pt x="396" y="507"/>
                </a:lnTo>
                <a:lnTo>
                  <a:pt x="389" y="509"/>
                </a:lnTo>
                <a:lnTo>
                  <a:pt x="386" y="510"/>
                </a:lnTo>
                <a:lnTo>
                  <a:pt x="385" y="509"/>
                </a:lnTo>
                <a:lnTo>
                  <a:pt x="381" y="507"/>
                </a:lnTo>
                <a:lnTo>
                  <a:pt x="378" y="504"/>
                </a:lnTo>
                <a:lnTo>
                  <a:pt x="376" y="503"/>
                </a:lnTo>
                <a:lnTo>
                  <a:pt x="373" y="501"/>
                </a:lnTo>
                <a:lnTo>
                  <a:pt x="367" y="500"/>
                </a:lnTo>
                <a:lnTo>
                  <a:pt x="365" y="500"/>
                </a:lnTo>
                <a:lnTo>
                  <a:pt x="361" y="503"/>
                </a:lnTo>
                <a:lnTo>
                  <a:pt x="361" y="499"/>
                </a:lnTo>
                <a:lnTo>
                  <a:pt x="358" y="496"/>
                </a:lnTo>
                <a:lnTo>
                  <a:pt x="353" y="496"/>
                </a:lnTo>
                <a:lnTo>
                  <a:pt x="350" y="494"/>
                </a:lnTo>
                <a:lnTo>
                  <a:pt x="349" y="490"/>
                </a:lnTo>
                <a:lnTo>
                  <a:pt x="349" y="487"/>
                </a:lnTo>
                <a:lnTo>
                  <a:pt x="348" y="486"/>
                </a:lnTo>
                <a:lnTo>
                  <a:pt x="348" y="477"/>
                </a:lnTo>
                <a:lnTo>
                  <a:pt x="349" y="476"/>
                </a:lnTo>
                <a:lnTo>
                  <a:pt x="351" y="474"/>
                </a:lnTo>
                <a:lnTo>
                  <a:pt x="354" y="469"/>
                </a:lnTo>
                <a:lnTo>
                  <a:pt x="355" y="463"/>
                </a:lnTo>
                <a:lnTo>
                  <a:pt x="353" y="454"/>
                </a:lnTo>
                <a:lnTo>
                  <a:pt x="357" y="449"/>
                </a:lnTo>
                <a:lnTo>
                  <a:pt x="357" y="448"/>
                </a:lnTo>
                <a:lnTo>
                  <a:pt x="353" y="449"/>
                </a:lnTo>
                <a:lnTo>
                  <a:pt x="347" y="452"/>
                </a:lnTo>
                <a:lnTo>
                  <a:pt x="341" y="453"/>
                </a:lnTo>
                <a:lnTo>
                  <a:pt x="339" y="454"/>
                </a:lnTo>
                <a:lnTo>
                  <a:pt x="337" y="453"/>
                </a:lnTo>
                <a:lnTo>
                  <a:pt x="340" y="449"/>
                </a:lnTo>
                <a:lnTo>
                  <a:pt x="345" y="445"/>
                </a:lnTo>
                <a:lnTo>
                  <a:pt x="348" y="442"/>
                </a:lnTo>
                <a:lnTo>
                  <a:pt x="350" y="437"/>
                </a:lnTo>
                <a:lnTo>
                  <a:pt x="350" y="432"/>
                </a:lnTo>
                <a:lnTo>
                  <a:pt x="349" y="428"/>
                </a:lnTo>
                <a:lnTo>
                  <a:pt x="348" y="427"/>
                </a:lnTo>
                <a:lnTo>
                  <a:pt x="343" y="434"/>
                </a:lnTo>
                <a:lnTo>
                  <a:pt x="340" y="437"/>
                </a:lnTo>
                <a:lnTo>
                  <a:pt x="338" y="440"/>
                </a:lnTo>
                <a:lnTo>
                  <a:pt x="336" y="444"/>
                </a:lnTo>
                <a:lnTo>
                  <a:pt x="335" y="444"/>
                </a:lnTo>
                <a:lnTo>
                  <a:pt x="333" y="444"/>
                </a:lnTo>
                <a:lnTo>
                  <a:pt x="329" y="445"/>
                </a:lnTo>
                <a:lnTo>
                  <a:pt x="326" y="445"/>
                </a:lnTo>
                <a:lnTo>
                  <a:pt x="323" y="447"/>
                </a:lnTo>
                <a:lnTo>
                  <a:pt x="321" y="445"/>
                </a:lnTo>
                <a:lnTo>
                  <a:pt x="325" y="439"/>
                </a:lnTo>
                <a:lnTo>
                  <a:pt x="328" y="440"/>
                </a:lnTo>
                <a:lnTo>
                  <a:pt x="333" y="438"/>
                </a:lnTo>
                <a:lnTo>
                  <a:pt x="335" y="435"/>
                </a:lnTo>
                <a:lnTo>
                  <a:pt x="337" y="432"/>
                </a:lnTo>
                <a:lnTo>
                  <a:pt x="337" y="430"/>
                </a:lnTo>
                <a:lnTo>
                  <a:pt x="337" y="430"/>
                </a:lnTo>
                <a:lnTo>
                  <a:pt x="338" y="428"/>
                </a:lnTo>
                <a:lnTo>
                  <a:pt x="339" y="426"/>
                </a:lnTo>
                <a:lnTo>
                  <a:pt x="343" y="423"/>
                </a:lnTo>
                <a:lnTo>
                  <a:pt x="346" y="418"/>
                </a:lnTo>
                <a:lnTo>
                  <a:pt x="348" y="417"/>
                </a:lnTo>
                <a:lnTo>
                  <a:pt x="350" y="414"/>
                </a:lnTo>
                <a:lnTo>
                  <a:pt x="354" y="407"/>
                </a:lnTo>
                <a:lnTo>
                  <a:pt x="356" y="408"/>
                </a:lnTo>
                <a:lnTo>
                  <a:pt x="356" y="406"/>
                </a:lnTo>
                <a:lnTo>
                  <a:pt x="356" y="404"/>
                </a:lnTo>
                <a:lnTo>
                  <a:pt x="357" y="400"/>
                </a:lnTo>
                <a:lnTo>
                  <a:pt x="356" y="400"/>
                </a:lnTo>
                <a:lnTo>
                  <a:pt x="357" y="397"/>
                </a:lnTo>
                <a:lnTo>
                  <a:pt x="357" y="396"/>
                </a:lnTo>
                <a:lnTo>
                  <a:pt x="355" y="398"/>
                </a:lnTo>
                <a:lnTo>
                  <a:pt x="353" y="404"/>
                </a:lnTo>
                <a:lnTo>
                  <a:pt x="351" y="404"/>
                </a:lnTo>
                <a:lnTo>
                  <a:pt x="348" y="407"/>
                </a:lnTo>
                <a:lnTo>
                  <a:pt x="345" y="410"/>
                </a:lnTo>
                <a:lnTo>
                  <a:pt x="341" y="414"/>
                </a:lnTo>
                <a:lnTo>
                  <a:pt x="340" y="416"/>
                </a:lnTo>
                <a:lnTo>
                  <a:pt x="338" y="418"/>
                </a:lnTo>
                <a:lnTo>
                  <a:pt x="336" y="418"/>
                </a:lnTo>
                <a:lnTo>
                  <a:pt x="334" y="418"/>
                </a:lnTo>
                <a:lnTo>
                  <a:pt x="333" y="419"/>
                </a:lnTo>
                <a:lnTo>
                  <a:pt x="328" y="422"/>
                </a:lnTo>
                <a:lnTo>
                  <a:pt x="326" y="424"/>
                </a:lnTo>
                <a:lnTo>
                  <a:pt x="324" y="424"/>
                </a:lnTo>
                <a:lnTo>
                  <a:pt x="320" y="428"/>
                </a:lnTo>
                <a:lnTo>
                  <a:pt x="316" y="432"/>
                </a:lnTo>
                <a:lnTo>
                  <a:pt x="313" y="434"/>
                </a:lnTo>
                <a:lnTo>
                  <a:pt x="309" y="437"/>
                </a:lnTo>
                <a:lnTo>
                  <a:pt x="312" y="437"/>
                </a:lnTo>
                <a:lnTo>
                  <a:pt x="309" y="442"/>
                </a:lnTo>
                <a:lnTo>
                  <a:pt x="308" y="440"/>
                </a:lnTo>
                <a:lnTo>
                  <a:pt x="306" y="440"/>
                </a:lnTo>
                <a:lnTo>
                  <a:pt x="305" y="437"/>
                </a:lnTo>
                <a:lnTo>
                  <a:pt x="303" y="436"/>
                </a:lnTo>
                <a:lnTo>
                  <a:pt x="303" y="434"/>
                </a:lnTo>
                <a:lnTo>
                  <a:pt x="300" y="434"/>
                </a:lnTo>
                <a:lnTo>
                  <a:pt x="302" y="432"/>
                </a:lnTo>
                <a:lnTo>
                  <a:pt x="304" y="435"/>
                </a:lnTo>
                <a:lnTo>
                  <a:pt x="306" y="432"/>
                </a:lnTo>
                <a:lnTo>
                  <a:pt x="307" y="428"/>
                </a:lnTo>
                <a:lnTo>
                  <a:pt x="306" y="426"/>
                </a:lnTo>
                <a:lnTo>
                  <a:pt x="307" y="423"/>
                </a:lnTo>
                <a:lnTo>
                  <a:pt x="306" y="419"/>
                </a:lnTo>
                <a:lnTo>
                  <a:pt x="305" y="417"/>
                </a:lnTo>
                <a:lnTo>
                  <a:pt x="306" y="413"/>
                </a:lnTo>
                <a:lnTo>
                  <a:pt x="305" y="410"/>
                </a:lnTo>
                <a:lnTo>
                  <a:pt x="305" y="408"/>
                </a:lnTo>
                <a:lnTo>
                  <a:pt x="304" y="409"/>
                </a:lnTo>
                <a:lnTo>
                  <a:pt x="300" y="407"/>
                </a:lnTo>
                <a:lnTo>
                  <a:pt x="299" y="406"/>
                </a:lnTo>
                <a:lnTo>
                  <a:pt x="298" y="404"/>
                </a:lnTo>
                <a:lnTo>
                  <a:pt x="299" y="400"/>
                </a:lnTo>
                <a:lnTo>
                  <a:pt x="300" y="400"/>
                </a:lnTo>
                <a:lnTo>
                  <a:pt x="303" y="397"/>
                </a:lnTo>
                <a:lnTo>
                  <a:pt x="297" y="395"/>
                </a:lnTo>
                <a:lnTo>
                  <a:pt x="294" y="389"/>
                </a:lnTo>
                <a:lnTo>
                  <a:pt x="293" y="388"/>
                </a:lnTo>
                <a:lnTo>
                  <a:pt x="293" y="390"/>
                </a:lnTo>
                <a:lnTo>
                  <a:pt x="289" y="390"/>
                </a:lnTo>
                <a:lnTo>
                  <a:pt x="288" y="388"/>
                </a:lnTo>
                <a:lnTo>
                  <a:pt x="283" y="386"/>
                </a:lnTo>
                <a:lnTo>
                  <a:pt x="280" y="386"/>
                </a:lnTo>
                <a:lnTo>
                  <a:pt x="278" y="387"/>
                </a:lnTo>
                <a:lnTo>
                  <a:pt x="277" y="387"/>
                </a:lnTo>
                <a:lnTo>
                  <a:pt x="276" y="386"/>
                </a:lnTo>
                <a:lnTo>
                  <a:pt x="270" y="379"/>
                </a:lnTo>
                <a:lnTo>
                  <a:pt x="268" y="378"/>
                </a:lnTo>
                <a:lnTo>
                  <a:pt x="265" y="378"/>
                </a:lnTo>
                <a:lnTo>
                  <a:pt x="259" y="378"/>
                </a:lnTo>
                <a:lnTo>
                  <a:pt x="249" y="379"/>
                </a:lnTo>
                <a:lnTo>
                  <a:pt x="238" y="378"/>
                </a:lnTo>
                <a:lnTo>
                  <a:pt x="233" y="379"/>
                </a:lnTo>
                <a:lnTo>
                  <a:pt x="219" y="384"/>
                </a:lnTo>
                <a:lnTo>
                  <a:pt x="213" y="388"/>
                </a:lnTo>
                <a:lnTo>
                  <a:pt x="205" y="388"/>
                </a:lnTo>
                <a:lnTo>
                  <a:pt x="199" y="390"/>
                </a:lnTo>
                <a:lnTo>
                  <a:pt x="194" y="392"/>
                </a:lnTo>
                <a:lnTo>
                  <a:pt x="184" y="392"/>
                </a:lnTo>
                <a:lnTo>
                  <a:pt x="181" y="390"/>
                </a:lnTo>
                <a:lnTo>
                  <a:pt x="176" y="392"/>
                </a:lnTo>
                <a:lnTo>
                  <a:pt x="173" y="394"/>
                </a:lnTo>
                <a:lnTo>
                  <a:pt x="164" y="398"/>
                </a:lnTo>
                <a:lnTo>
                  <a:pt x="158" y="399"/>
                </a:lnTo>
                <a:lnTo>
                  <a:pt x="155" y="402"/>
                </a:lnTo>
                <a:lnTo>
                  <a:pt x="153" y="403"/>
                </a:lnTo>
                <a:lnTo>
                  <a:pt x="150" y="403"/>
                </a:lnTo>
                <a:lnTo>
                  <a:pt x="145" y="405"/>
                </a:lnTo>
                <a:lnTo>
                  <a:pt x="142" y="408"/>
                </a:lnTo>
                <a:lnTo>
                  <a:pt x="140" y="413"/>
                </a:lnTo>
                <a:lnTo>
                  <a:pt x="137" y="414"/>
                </a:lnTo>
                <a:lnTo>
                  <a:pt x="135" y="417"/>
                </a:lnTo>
                <a:lnTo>
                  <a:pt x="133" y="419"/>
                </a:lnTo>
                <a:lnTo>
                  <a:pt x="126" y="420"/>
                </a:lnTo>
                <a:lnTo>
                  <a:pt x="124" y="420"/>
                </a:lnTo>
                <a:lnTo>
                  <a:pt x="122" y="419"/>
                </a:lnTo>
                <a:lnTo>
                  <a:pt x="116" y="420"/>
                </a:lnTo>
                <a:lnTo>
                  <a:pt x="110" y="422"/>
                </a:lnTo>
                <a:lnTo>
                  <a:pt x="108" y="419"/>
                </a:lnTo>
                <a:lnTo>
                  <a:pt x="107" y="419"/>
                </a:lnTo>
                <a:lnTo>
                  <a:pt x="105" y="419"/>
                </a:lnTo>
                <a:lnTo>
                  <a:pt x="101" y="420"/>
                </a:lnTo>
                <a:lnTo>
                  <a:pt x="96" y="419"/>
                </a:lnTo>
                <a:lnTo>
                  <a:pt x="93" y="419"/>
                </a:lnTo>
                <a:lnTo>
                  <a:pt x="88" y="422"/>
                </a:lnTo>
                <a:lnTo>
                  <a:pt x="76" y="420"/>
                </a:lnTo>
                <a:lnTo>
                  <a:pt x="73" y="422"/>
                </a:lnTo>
                <a:lnTo>
                  <a:pt x="69" y="425"/>
                </a:lnTo>
                <a:lnTo>
                  <a:pt x="67" y="426"/>
                </a:lnTo>
                <a:lnTo>
                  <a:pt x="66" y="428"/>
                </a:lnTo>
                <a:lnTo>
                  <a:pt x="66" y="428"/>
                </a:lnTo>
                <a:lnTo>
                  <a:pt x="64" y="430"/>
                </a:lnTo>
                <a:lnTo>
                  <a:pt x="61" y="430"/>
                </a:lnTo>
                <a:lnTo>
                  <a:pt x="55" y="432"/>
                </a:lnTo>
                <a:lnTo>
                  <a:pt x="51" y="434"/>
                </a:lnTo>
                <a:lnTo>
                  <a:pt x="46" y="437"/>
                </a:lnTo>
                <a:lnTo>
                  <a:pt x="44" y="438"/>
                </a:lnTo>
                <a:lnTo>
                  <a:pt x="42" y="440"/>
                </a:lnTo>
                <a:lnTo>
                  <a:pt x="40" y="442"/>
                </a:lnTo>
                <a:lnTo>
                  <a:pt x="37" y="439"/>
                </a:lnTo>
                <a:lnTo>
                  <a:pt x="35" y="443"/>
                </a:lnTo>
                <a:lnTo>
                  <a:pt x="34" y="442"/>
                </a:lnTo>
                <a:lnTo>
                  <a:pt x="31" y="443"/>
                </a:lnTo>
                <a:lnTo>
                  <a:pt x="31" y="440"/>
                </a:lnTo>
                <a:lnTo>
                  <a:pt x="21" y="442"/>
                </a:lnTo>
                <a:lnTo>
                  <a:pt x="17" y="440"/>
                </a:lnTo>
                <a:lnTo>
                  <a:pt x="16" y="438"/>
                </a:lnTo>
                <a:lnTo>
                  <a:pt x="14" y="437"/>
                </a:lnTo>
                <a:lnTo>
                  <a:pt x="13" y="438"/>
                </a:lnTo>
                <a:lnTo>
                  <a:pt x="11" y="437"/>
                </a:lnTo>
                <a:lnTo>
                  <a:pt x="9" y="434"/>
                </a:lnTo>
                <a:lnTo>
                  <a:pt x="7" y="430"/>
                </a:lnTo>
                <a:lnTo>
                  <a:pt x="5" y="428"/>
                </a:lnTo>
                <a:lnTo>
                  <a:pt x="3" y="427"/>
                </a:lnTo>
                <a:lnTo>
                  <a:pt x="0" y="427"/>
                </a:lnTo>
                <a:lnTo>
                  <a:pt x="2" y="418"/>
                </a:lnTo>
                <a:lnTo>
                  <a:pt x="4" y="415"/>
                </a:lnTo>
                <a:lnTo>
                  <a:pt x="4" y="415"/>
                </a:lnTo>
                <a:lnTo>
                  <a:pt x="6" y="416"/>
                </a:lnTo>
                <a:lnTo>
                  <a:pt x="9" y="415"/>
                </a:lnTo>
                <a:lnTo>
                  <a:pt x="13" y="410"/>
                </a:lnTo>
                <a:lnTo>
                  <a:pt x="16" y="407"/>
                </a:lnTo>
                <a:lnTo>
                  <a:pt x="17" y="404"/>
                </a:lnTo>
                <a:lnTo>
                  <a:pt x="17" y="400"/>
                </a:lnTo>
                <a:lnTo>
                  <a:pt x="19" y="396"/>
                </a:lnTo>
                <a:lnTo>
                  <a:pt x="19" y="398"/>
                </a:lnTo>
                <a:lnTo>
                  <a:pt x="21" y="395"/>
                </a:lnTo>
                <a:lnTo>
                  <a:pt x="22" y="389"/>
                </a:lnTo>
                <a:lnTo>
                  <a:pt x="25" y="384"/>
                </a:lnTo>
                <a:lnTo>
                  <a:pt x="25" y="380"/>
                </a:lnTo>
                <a:lnTo>
                  <a:pt x="24" y="369"/>
                </a:lnTo>
                <a:lnTo>
                  <a:pt x="25" y="366"/>
                </a:lnTo>
                <a:lnTo>
                  <a:pt x="24" y="365"/>
                </a:lnTo>
                <a:lnTo>
                  <a:pt x="23" y="362"/>
                </a:lnTo>
                <a:lnTo>
                  <a:pt x="23" y="356"/>
                </a:lnTo>
                <a:lnTo>
                  <a:pt x="24" y="349"/>
                </a:lnTo>
                <a:lnTo>
                  <a:pt x="26" y="339"/>
                </a:lnTo>
                <a:lnTo>
                  <a:pt x="26" y="336"/>
                </a:lnTo>
                <a:lnTo>
                  <a:pt x="24" y="328"/>
                </a:lnTo>
                <a:lnTo>
                  <a:pt x="25" y="324"/>
                </a:lnTo>
                <a:lnTo>
                  <a:pt x="23" y="321"/>
                </a:lnTo>
                <a:lnTo>
                  <a:pt x="22" y="314"/>
                </a:lnTo>
                <a:lnTo>
                  <a:pt x="23" y="307"/>
                </a:lnTo>
                <a:lnTo>
                  <a:pt x="22" y="303"/>
                </a:lnTo>
                <a:lnTo>
                  <a:pt x="22" y="296"/>
                </a:lnTo>
                <a:lnTo>
                  <a:pt x="20" y="294"/>
                </a:lnTo>
                <a:lnTo>
                  <a:pt x="17" y="292"/>
                </a:lnTo>
                <a:lnTo>
                  <a:pt x="16" y="288"/>
                </a:lnTo>
                <a:lnTo>
                  <a:pt x="16" y="286"/>
                </a:lnTo>
                <a:lnTo>
                  <a:pt x="15" y="285"/>
                </a:lnTo>
                <a:lnTo>
                  <a:pt x="14" y="282"/>
                </a:lnTo>
                <a:lnTo>
                  <a:pt x="15" y="279"/>
                </a:lnTo>
                <a:lnTo>
                  <a:pt x="15" y="282"/>
                </a:lnTo>
                <a:lnTo>
                  <a:pt x="16" y="282"/>
                </a:lnTo>
                <a:lnTo>
                  <a:pt x="17" y="282"/>
                </a:lnTo>
                <a:lnTo>
                  <a:pt x="17" y="284"/>
                </a:lnTo>
                <a:lnTo>
                  <a:pt x="17" y="287"/>
                </a:lnTo>
                <a:lnTo>
                  <a:pt x="19" y="286"/>
                </a:lnTo>
                <a:lnTo>
                  <a:pt x="19" y="288"/>
                </a:lnTo>
                <a:lnTo>
                  <a:pt x="21" y="288"/>
                </a:lnTo>
                <a:lnTo>
                  <a:pt x="23" y="287"/>
                </a:lnTo>
                <a:lnTo>
                  <a:pt x="23" y="284"/>
                </a:lnTo>
                <a:lnTo>
                  <a:pt x="22" y="282"/>
                </a:lnTo>
                <a:lnTo>
                  <a:pt x="20" y="273"/>
                </a:lnTo>
                <a:lnTo>
                  <a:pt x="21" y="269"/>
                </a:lnTo>
                <a:lnTo>
                  <a:pt x="22" y="271"/>
                </a:lnTo>
                <a:lnTo>
                  <a:pt x="22" y="274"/>
                </a:lnTo>
                <a:lnTo>
                  <a:pt x="22" y="282"/>
                </a:lnTo>
                <a:lnTo>
                  <a:pt x="25" y="278"/>
                </a:lnTo>
                <a:lnTo>
                  <a:pt x="25" y="281"/>
                </a:lnTo>
                <a:lnTo>
                  <a:pt x="25" y="284"/>
                </a:lnTo>
                <a:lnTo>
                  <a:pt x="26" y="285"/>
                </a:lnTo>
                <a:lnTo>
                  <a:pt x="29" y="283"/>
                </a:lnTo>
                <a:lnTo>
                  <a:pt x="31" y="278"/>
                </a:lnTo>
                <a:lnTo>
                  <a:pt x="31" y="273"/>
                </a:lnTo>
                <a:lnTo>
                  <a:pt x="30" y="271"/>
                </a:lnTo>
                <a:lnTo>
                  <a:pt x="29" y="267"/>
                </a:lnTo>
                <a:lnTo>
                  <a:pt x="27" y="268"/>
                </a:lnTo>
                <a:lnTo>
                  <a:pt x="29" y="266"/>
                </a:lnTo>
                <a:lnTo>
                  <a:pt x="27" y="263"/>
                </a:lnTo>
                <a:lnTo>
                  <a:pt x="26" y="257"/>
                </a:lnTo>
                <a:lnTo>
                  <a:pt x="24" y="249"/>
                </a:lnTo>
                <a:lnTo>
                  <a:pt x="25" y="241"/>
                </a:lnTo>
                <a:lnTo>
                  <a:pt x="27" y="237"/>
                </a:lnTo>
                <a:lnTo>
                  <a:pt x="33" y="233"/>
                </a:lnTo>
                <a:lnTo>
                  <a:pt x="33" y="230"/>
                </a:lnTo>
                <a:lnTo>
                  <a:pt x="34" y="227"/>
                </a:lnTo>
                <a:lnTo>
                  <a:pt x="35" y="222"/>
                </a:lnTo>
                <a:lnTo>
                  <a:pt x="34" y="217"/>
                </a:lnTo>
                <a:lnTo>
                  <a:pt x="36" y="211"/>
                </a:lnTo>
                <a:lnTo>
                  <a:pt x="39" y="208"/>
                </a:lnTo>
                <a:lnTo>
                  <a:pt x="41" y="203"/>
                </a:lnTo>
                <a:lnTo>
                  <a:pt x="43" y="20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74" name="Freeform 173"/>
          <p:cNvSpPr>
            <a:spLocks/>
          </p:cNvSpPr>
          <p:nvPr/>
        </p:nvSpPr>
        <p:spPr bwMode="auto">
          <a:xfrm>
            <a:off x="3940176" y="3259103"/>
            <a:ext cx="6350" cy="3175"/>
          </a:xfrm>
          <a:custGeom>
            <a:avLst/>
            <a:gdLst>
              <a:gd name="T0" fmla="*/ 4 w 4"/>
              <a:gd name="T1" fmla="*/ 0 h 2"/>
              <a:gd name="T2" fmla="*/ 2 w 4"/>
              <a:gd name="T3" fmla="*/ 0 h 2"/>
              <a:gd name="T4" fmla="*/ 0 w 4"/>
              <a:gd name="T5" fmla="*/ 1 h 2"/>
              <a:gd name="T6" fmla="*/ 1 w 4"/>
              <a:gd name="T7" fmla="*/ 2 h 2"/>
              <a:gd name="T8" fmla="*/ 3 w 4"/>
              <a:gd name="T9" fmla="*/ 1 h 2"/>
              <a:gd name="T10" fmla="*/ 4 w 4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2">
                <a:moveTo>
                  <a:pt x="4" y="0"/>
                </a:moveTo>
                <a:lnTo>
                  <a:pt x="2" y="0"/>
                </a:lnTo>
                <a:lnTo>
                  <a:pt x="0" y="1"/>
                </a:lnTo>
                <a:lnTo>
                  <a:pt x="1" y="2"/>
                </a:lnTo>
                <a:lnTo>
                  <a:pt x="3" y="1"/>
                </a:lnTo>
                <a:lnTo>
                  <a:pt x="4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75" name="Freeform 174"/>
          <p:cNvSpPr>
            <a:spLocks/>
          </p:cNvSpPr>
          <p:nvPr/>
        </p:nvSpPr>
        <p:spPr bwMode="auto">
          <a:xfrm>
            <a:off x="3940176" y="3259103"/>
            <a:ext cx="6350" cy="3175"/>
          </a:xfrm>
          <a:custGeom>
            <a:avLst/>
            <a:gdLst>
              <a:gd name="T0" fmla="*/ 4 w 4"/>
              <a:gd name="T1" fmla="*/ 0 h 2"/>
              <a:gd name="T2" fmla="*/ 2 w 4"/>
              <a:gd name="T3" fmla="*/ 0 h 2"/>
              <a:gd name="T4" fmla="*/ 0 w 4"/>
              <a:gd name="T5" fmla="*/ 1 h 2"/>
              <a:gd name="T6" fmla="*/ 1 w 4"/>
              <a:gd name="T7" fmla="*/ 2 h 2"/>
              <a:gd name="T8" fmla="*/ 3 w 4"/>
              <a:gd name="T9" fmla="*/ 1 h 2"/>
              <a:gd name="T10" fmla="*/ 4 w 4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2">
                <a:moveTo>
                  <a:pt x="4" y="0"/>
                </a:moveTo>
                <a:lnTo>
                  <a:pt x="2" y="0"/>
                </a:lnTo>
                <a:lnTo>
                  <a:pt x="0" y="1"/>
                </a:lnTo>
                <a:lnTo>
                  <a:pt x="1" y="2"/>
                </a:lnTo>
                <a:lnTo>
                  <a:pt x="3" y="1"/>
                </a:lnTo>
                <a:lnTo>
                  <a:pt x="4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76" name="Freeform 175"/>
          <p:cNvSpPr>
            <a:spLocks/>
          </p:cNvSpPr>
          <p:nvPr/>
        </p:nvSpPr>
        <p:spPr bwMode="auto">
          <a:xfrm>
            <a:off x="4564063" y="3468653"/>
            <a:ext cx="11113" cy="15875"/>
          </a:xfrm>
          <a:custGeom>
            <a:avLst/>
            <a:gdLst>
              <a:gd name="T0" fmla="*/ 7 w 7"/>
              <a:gd name="T1" fmla="*/ 2 h 10"/>
              <a:gd name="T2" fmla="*/ 7 w 7"/>
              <a:gd name="T3" fmla="*/ 4 h 10"/>
              <a:gd name="T4" fmla="*/ 6 w 7"/>
              <a:gd name="T5" fmla="*/ 7 h 10"/>
              <a:gd name="T6" fmla="*/ 6 w 7"/>
              <a:gd name="T7" fmla="*/ 8 h 10"/>
              <a:gd name="T8" fmla="*/ 5 w 7"/>
              <a:gd name="T9" fmla="*/ 8 h 10"/>
              <a:gd name="T10" fmla="*/ 4 w 7"/>
              <a:gd name="T11" fmla="*/ 10 h 10"/>
              <a:gd name="T12" fmla="*/ 2 w 7"/>
              <a:gd name="T13" fmla="*/ 10 h 10"/>
              <a:gd name="T14" fmla="*/ 2 w 7"/>
              <a:gd name="T15" fmla="*/ 10 h 10"/>
              <a:gd name="T16" fmla="*/ 0 w 7"/>
              <a:gd name="T17" fmla="*/ 8 h 10"/>
              <a:gd name="T18" fmla="*/ 0 w 7"/>
              <a:gd name="T19" fmla="*/ 7 h 10"/>
              <a:gd name="T20" fmla="*/ 0 w 7"/>
              <a:gd name="T21" fmla="*/ 6 h 10"/>
              <a:gd name="T22" fmla="*/ 1 w 7"/>
              <a:gd name="T23" fmla="*/ 4 h 10"/>
              <a:gd name="T24" fmla="*/ 3 w 7"/>
              <a:gd name="T25" fmla="*/ 0 h 10"/>
              <a:gd name="T26" fmla="*/ 5 w 7"/>
              <a:gd name="T27" fmla="*/ 0 h 10"/>
              <a:gd name="T28" fmla="*/ 7 w 7"/>
              <a:gd name="T29" fmla="*/ 2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7" h="10">
                <a:moveTo>
                  <a:pt x="7" y="2"/>
                </a:moveTo>
                <a:lnTo>
                  <a:pt x="7" y="4"/>
                </a:lnTo>
                <a:lnTo>
                  <a:pt x="6" y="7"/>
                </a:lnTo>
                <a:lnTo>
                  <a:pt x="6" y="8"/>
                </a:lnTo>
                <a:lnTo>
                  <a:pt x="5" y="8"/>
                </a:lnTo>
                <a:lnTo>
                  <a:pt x="4" y="10"/>
                </a:lnTo>
                <a:lnTo>
                  <a:pt x="2" y="10"/>
                </a:lnTo>
                <a:lnTo>
                  <a:pt x="2" y="10"/>
                </a:lnTo>
                <a:lnTo>
                  <a:pt x="0" y="8"/>
                </a:lnTo>
                <a:lnTo>
                  <a:pt x="0" y="7"/>
                </a:lnTo>
                <a:lnTo>
                  <a:pt x="0" y="6"/>
                </a:lnTo>
                <a:lnTo>
                  <a:pt x="1" y="4"/>
                </a:lnTo>
                <a:lnTo>
                  <a:pt x="3" y="0"/>
                </a:lnTo>
                <a:lnTo>
                  <a:pt x="5" y="0"/>
                </a:lnTo>
                <a:lnTo>
                  <a:pt x="7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77" name="Freeform 176"/>
          <p:cNvSpPr>
            <a:spLocks/>
          </p:cNvSpPr>
          <p:nvPr/>
        </p:nvSpPr>
        <p:spPr bwMode="auto">
          <a:xfrm>
            <a:off x="4564063" y="3468653"/>
            <a:ext cx="11113" cy="15875"/>
          </a:xfrm>
          <a:custGeom>
            <a:avLst/>
            <a:gdLst>
              <a:gd name="T0" fmla="*/ 7 w 7"/>
              <a:gd name="T1" fmla="*/ 2 h 10"/>
              <a:gd name="T2" fmla="*/ 7 w 7"/>
              <a:gd name="T3" fmla="*/ 4 h 10"/>
              <a:gd name="T4" fmla="*/ 6 w 7"/>
              <a:gd name="T5" fmla="*/ 7 h 10"/>
              <a:gd name="T6" fmla="*/ 6 w 7"/>
              <a:gd name="T7" fmla="*/ 8 h 10"/>
              <a:gd name="T8" fmla="*/ 5 w 7"/>
              <a:gd name="T9" fmla="*/ 8 h 10"/>
              <a:gd name="T10" fmla="*/ 4 w 7"/>
              <a:gd name="T11" fmla="*/ 10 h 10"/>
              <a:gd name="T12" fmla="*/ 2 w 7"/>
              <a:gd name="T13" fmla="*/ 10 h 10"/>
              <a:gd name="T14" fmla="*/ 2 w 7"/>
              <a:gd name="T15" fmla="*/ 10 h 10"/>
              <a:gd name="T16" fmla="*/ 0 w 7"/>
              <a:gd name="T17" fmla="*/ 8 h 10"/>
              <a:gd name="T18" fmla="*/ 0 w 7"/>
              <a:gd name="T19" fmla="*/ 7 h 10"/>
              <a:gd name="T20" fmla="*/ 0 w 7"/>
              <a:gd name="T21" fmla="*/ 6 h 10"/>
              <a:gd name="T22" fmla="*/ 1 w 7"/>
              <a:gd name="T23" fmla="*/ 4 h 10"/>
              <a:gd name="T24" fmla="*/ 3 w 7"/>
              <a:gd name="T25" fmla="*/ 0 h 10"/>
              <a:gd name="T26" fmla="*/ 5 w 7"/>
              <a:gd name="T27" fmla="*/ 0 h 10"/>
              <a:gd name="T28" fmla="*/ 7 w 7"/>
              <a:gd name="T29" fmla="*/ 2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7" h="10">
                <a:moveTo>
                  <a:pt x="7" y="2"/>
                </a:moveTo>
                <a:lnTo>
                  <a:pt x="7" y="4"/>
                </a:lnTo>
                <a:lnTo>
                  <a:pt x="6" y="7"/>
                </a:lnTo>
                <a:lnTo>
                  <a:pt x="6" y="8"/>
                </a:lnTo>
                <a:lnTo>
                  <a:pt x="5" y="8"/>
                </a:lnTo>
                <a:lnTo>
                  <a:pt x="4" y="10"/>
                </a:lnTo>
                <a:lnTo>
                  <a:pt x="2" y="10"/>
                </a:lnTo>
                <a:lnTo>
                  <a:pt x="2" y="10"/>
                </a:lnTo>
                <a:lnTo>
                  <a:pt x="0" y="8"/>
                </a:lnTo>
                <a:lnTo>
                  <a:pt x="0" y="7"/>
                </a:lnTo>
                <a:lnTo>
                  <a:pt x="0" y="6"/>
                </a:lnTo>
                <a:lnTo>
                  <a:pt x="1" y="4"/>
                </a:lnTo>
                <a:lnTo>
                  <a:pt x="3" y="0"/>
                </a:lnTo>
                <a:lnTo>
                  <a:pt x="5" y="0"/>
                </a:lnTo>
                <a:lnTo>
                  <a:pt x="7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78" name="Freeform 177"/>
          <p:cNvSpPr>
            <a:spLocks/>
          </p:cNvSpPr>
          <p:nvPr/>
        </p:nvSpPr>
        <p:spPr bwMode="auto">
          <a:xfrm>
            <a:off x="5354638" y="3113053"/>
            <a:ext cx="3175" cy="4763"/>
          </a:xfrm>
          <a:custGeom>
            <a:avLst/>
            <a:gdLst>
              <a:gd name="T0" fmla="*/ 1 w 2"/>
              <a:gd name="T1" fmla="*/ 0 h 3"/>
              <a:gd name="T2" fmla="*/ 1 w 2"/>
              <a:gd name="T3" fmla="*/ 2 h 3"/>
              <a:gd name="T4" fmla="*/ 1 w 2"/>
              <a:gd name="T5" fmla="*/ 2 h 3"/>
              <a:gd name="T6" fmla="*/ 0 w 2"/>
              <a:gd name="T7" fmla="*/ 2 h 3"/>
              <a:gd name="T8" fmla="*/ 0 w 2"/>
              <a:gd name="T9" fmla="*/ 2 h 3"/>
              <a:gd name="T10" fmla="*/ 1 w 2"/>
              <a:gd name="T11" fmla="*/ 3 h 3"/>
              <a:gd name="T12" fmla="*/ 1 w 2"/>
              <a:gd name="T13" fmla="*/ 3 h 3"/>
              <a:gd name="T14" fmla="*/ 2 w 2"/>
              <a:gd name="T15" fmla="*/ 3 h 3"/>
              <a:gd name="T16" fmla="*/ 2 w 2"/>
              <a:gd name="T17" fmla="*/ 2 h 3"/>
              <a:gd name="T18" fmla="*/ 2 w 2"/>
              <a:gd name="T19" fmla="*/ 0 h 3"/>
              <a:gd name="T20" fmla="*/ 1 w 2"/>
              <a:gd name="T21" fmla="*/ 0 h 3"/>
              <a:gd name="T22" fmla="*/ 1 w 2"/>
              <a:gd name="T23" fmla="*/ 0 h 3"/>
              <a:gd name="T24" fmla="*/ 1 w 2"/>
              <a:gd name="T25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" h="3">
                <a:moveTo>
                  <a:pt x="1" y="0"/>
                </a:moveTo>
                <a:lnTo>
                  <a:pt x="1" y="2"/>
                </a:lnTo>
                <a:lnTo>
                  <a:pt x="1" y="2"/>
                </a:lnTo>
                <a:lnTo>
                  <a:pt x="0" y="2"/>
                </a:lnTo>
                <a:lnTo>
                  <a:pt x="0" y="2"/>
                </a:lnTo>
                <a:lnTo>
                  <a:pt x="1" y="3"/>
                </a:lnTo>
                <a:lnTo>
                  <a:pt x="1" y="3"/>
                </a:lnTo>
                <a:lnTo>
                  <a:pt x="2" y="3"/>
                </a:lnTo>
                <a:lnTo>
                  <a:pt x="2" y="2"/>
                </a:lnTo>
                <a:lnTo>
                  <a:pt x="2" y="0"/>
                </a:lnTo>
                <a:lnTo>
                  <a:pt x="1" y="0"/>
                </a:lnTo>
                <a:lnTo>
                  <a:pt x="1" y="0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79" name="Freeform 178"/>
          <p:cNvSpPr>
            <a:spLocks/>
          </p:cNvSpPr>
          <p:nvPr/>
        </p:nvSpPr>
        <p:spPr bwMode="auto">
          <a:xfrm>
            <a:off x="5354638" y="3113053"/>
            <a:ext cx="3175" cy="4763"/>
          </a:xfrm>
          <a:custGeom>
            <a:avLst/>
            <a:gdLst>
              <a:gd name="T0" fmla="*/ 1 w 2"/>
              <a:gd name="T1" fmla="*/ 0 h 3"/>
              <a:gd name="T2" fmla="*/ 1 w 2"/>
              <a:gd name="T3" fmla="*/ 2 h 3"/>
              <a:gd name="T4" fmla="*/ 1 w 2"/>
              <a:gd name="T5" fmla="*/ 2 h 3"/>
              <a:gd name="T6" fmla="*/ 0 w 2"/>
              <a:gd name="T7" fmla="*/ 2 h 3"/>
              <a:gd name="T8" fmla="*/ 0 w 2"/>
              <a:gd name="T9" fmla="*/ 2 h 3"/>
              <a:gd name="T10" fmla="*/ 1 w 2"/>
              <a:gd name="T11" fmla="*/ 3 h 3"/>
              <a:gd name="T12" fmla="*/ 1 w 2"/>
              <a:gd name="T13" fmla="*/ 3 h 3"/>
              <a:gd name="T14" fmla="*/ 2 w 2"/>
              <a:gd name="T15" fmla="*/ 3 h 3"/>
              <a:gd name="T16" fmla="*/ 2 w 2"/>
              <a:gd name="T17" fmla="*/ 2 h 3"/>
              <a:gd name="T18" fmla="*/ 2 w 2"/>
              <a:gd name="T19" fmla="*/ 0 h 3"/>
              <a:gd name="T20" fmla="*/ 1 w 2"/>
              <a:gd name="T21" fmla="*/ 0 h 3"/>
              <a:gd name="T22" fmla="*/ 1 w 2"/>
              <a:gd name="T23" fmla="*/ 0 h 3"/>
              <a:gd name="T24" fmla="*/ 1 w 2"/>
              <a:gd name="T25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" h="3">
                <a:moveTo>
                  <a:pt x="1" y="0"/>
                </a:moveTo>
                <a:lnTo>
                  <a:pt x="1" y="2"/>
                </a:lnTo>
                <a:lnTo>
                  <a:pt x="1" y="2"/>
                </a:lnTo>
                <a:lnTo>
                  <a:pt x="0" y="2"/>
                </a:lnTo>
                <a:lnTo>
                  <a:pt x="0" y="2"/>
                </a:lnTo>
                <a:lnTo>
                  <a:pt x="1" y="3"/>
                </a:lnTo>
                <a:lnTo>
                  <a:pt x="1" y="3"/>
                </a:lnTo>
                <a:lnTo>
                  <a:pt x="2" y="3"/>
                </a:lnTo>
                <a:lnTo>
                  <a:pt x="2" y="2"/>
                </a:lnTo>
                <a:lnTo>
                  <a:pt x="2" y="0"/>
                </a:lnTo>
                <a:lnTo>
                  <a:pt x="1" y="0"/>
                </a:lnTo>
                <a:lnTo>
                  <a:pt x="1" y="0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80" name="Freeform 179"/>
          <p:cNvSpPr>
            <a:spLocks/>
          </p:cNvSpPr>
          <p:nvPr/>
        </p:nvSpPr>
        <p:spPr bwMode="auto">
          <a:xfrm>
            <a:off x="5353051" y="3120991"/>
            <a:ext cx="14288" cy="7938"/>
          </a:xfrm>
          <a:custGeom>
            <a:avLst/>
            <a:gdLst>
              <a:gd name="T0" fmla="*/ 5 w 9"/>
              <a:gd name="T1" fmla="*/ 3 h 5"/>
              <a:gd name="T2" fmla="*/ 5 w 9"/>
              <a:gd name="T3" fmla="*/ 4 h 5"/>
              <a:gd name="T4" fmla="*/ 5 w 9"/>
              <a:gd name="T5" fmla="*/ 4 h 5"/>
              <a:gd name="T6" fmla="*/ 4 w 9"/>
              <a:gd name="T7" fmla="*/ 4 h 5"/>
              <a:gd name="T8" fmla="*/ 4 w 9"/>
              <a:gd name="T9" fmla="*/ 1 h 5"/>
              <a:gd name="T10" fmla="*/ 2 w 9"/>
              <a:gd name="T11" fmla="*/ 0 h 5"/>
              <a:gd name="T12" fmla="*/ 2 w 9"/>
              <a:gd name="T13" fmla="*/ 0 h 5"/>
              <a:gd name="T14" fmla="*/ 1 w 9"/>
              <a:gd name="T15" fmla="*/ 1 h 5"/>
              <a:gd name="T16" fmla="*/ 0 w 9"/>
              <a:gd name="T17" fmla="*/ 1 h 5"/>
              <a:gd name="T18" fmla="*/ 0 w 9"/>
              <a:gd name="T19" fmla="*/ 1 h 5"/>
              <a:gd name="T20" fmla="*/ 2 w 9"/>
              <a:gd name="T21" fmla="*/ 2 h 5"/>
              <a:gd name="T22" fmla="*/ 2 w 9"/>
              <a:gd name="T23" fmla="*/ 2 h 5"/>
              <a:gd name="T24" fmla="*/ 2 w 9"/>
              <a:gd name="T25" fmla="*/ 3 h 5"/>
              <a:gd name="T26" fmla="*/ 2 w 9"/>
              <a:gd name="T27" fmla="*/ 4 h 5"/>
              <a:gd name="T28" fmla="*/ 1 w 9"/>
              <a:gd name="T29" fmla="*/ 3 h 5"/>
              <a:gd name="T30" fmla="*/ 1 w 9"/>
              <a:gd name="T31" fmla="*/ 3 h 5"/>
              <a:gd name="T32" fmla="*/ 2 w 9"/>
              <a:gd name="T33" fmla="*/ 4 h 5"/>
              <a:gd name="T34" fmla="*/ 4 w 9"/>
              <a:gd name="T35" fmla="*/ 5 h 5"/>
              <a:gd name="T36" fmla="*/ 5 w 9"/>
              <a:gd name="T37" fmla="*/ 5 h 5"/>
              <a:gd name="T38" fmla="*/ 6 w 9"/>
              <a:gd name="T39" fmla="*/ 5 h 5"/>
              <a:gd name="T40" fmla="*/ 7 w 9"/>
              <a:gd name="T41" fmla="*/ 5 h 5"/>
              <a:gd name="T42" fmla="*/ 9 w 9"/>
              <a:gd name="T43" fmla="*/ 4 h 5"/>
              <a:gd name="T44" fmla="*/ 7 w 9"/>
              <a:gd name="T45" fmla="*/ 4 h 5"/>
              <a:gd name="T46" fmla="*/ 6 w 9"/>
              <a:gd name="T47" fmla="*/ 3 h 5"/>
              <a:gd name="T48" fmla="*/ 6 w 9"/>
              <a:gd name="T49" fmla="*/ 2 h 5"/>
              <a:gd name="T50" fmla="*/ 5 w 9"/>
              <a:gd name="T51" fmla="*/ 2 h 5"/>
              <a:gd name="T52" fmla="*/ 5 w 9"/>
              <a:gd name="T53" fmla="*/ 3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9" h="5">
                <a:moveTo>
                  <a:pt x="5" y="3"/>
                </a:moveTo>
                <a:lnTo>
                  <a:pt x="5" y="4"/>
                </a:lnTo>
                <a:lnTo>
                  <a:pt x="5" y="4"/>
                </a:lnTo>
                <a:lnTo>
                  <a:pt x="4" y="4"/>
                </a:lnTo>
                <a:lnTo>
                  <a:pt x="4" y="1"/>
                </a:lnTo>
                <a:lnTo>
                  <a:pt x="2" y="0"/>
                </a:lnTo>
                <a:lnTo>
                  <a:pt x="2" y="0"/>
                </a:lnTo>
                <a:lnTo>
                  <a:pt x="1" y="1"/>
                </a:lnTo>
                <a:lnTo>
                  <a:pt x="0" y="1"/>
                </a:lnTo>
                <a:lnTo>
                  <a:pt x="0" y="1"/>
                </a:lnTo>
                <a:lnTo>
                  <a:pt x="2" y="2"/>
                </a:lnTo>
                <a:lnTo>
                  <a:pt x="2" y="2"/>
                </a:lnTo>
                <a:lnTo>
                  <a:pt x="2" y="3"/>
                </a:lnTo>
                <a:lnTo>
                  <a:pt x="2" y="4"/>
                </a:lnTo>
                <a:lnTo>
                  <a:pt x="1" y="3"/>
                </a:lnTo>
                <a:lnTo>
                  <a:pt x="1" y="3"/>
                </a:lnTo>
                <a:lnTo>
                  <a:pt x="2" y="4"/>
                </a:lnTo>
                <a:lnTo>
                  <a:pt x="4" y="5"/>
                </a:lnTo>
                <a:lnTo>
                  <a:pt x="5" y="5"/>
                </a:lnTo>
                <a:lnTo>
                  <a:pt x="6" y="5"/>
                </a:lnTo>
                <a:lnTo>
                  <a:pt x="7" y="5"/>
                </a:lnTo>
                <a:lnTo>
                  <a:pt x="9" y="4"/>
                </a:lnTo>
                <a:lnTo>
                  <a:pt x="7" y="4"/>
                </a:lnTo>
                <a:lnTo>
                  <a:pt x="6" y="3"/>
                </a:lnTo>
                <a:lnTo>
                  <a:pt x="6" y="2"/>
                </a:lnTo>
                <a:lnTo>
                  <a:pt x="5" y="2"/>
                </a:lnTo>
                <a:lnTo>
                  <a:pt x="5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81" name="Freeform 180"/>
          <p:cNvSpPr>
            <a:spLocks/>
          </p:cNvSpPr>
          <p:nvPr/>
        </p:nvSpPr>
        <p:spPr bwMode="auto">
          <a:xfrm>
            <a:off x="5353051" y="3120991"/>
            <a:ext cx="14288" cy="7938"/>
          </a:xfrm>
          <a:custGeom>
            <a:avLst/>
            <a:gdLst>
              <a:gd name="T0" fmla="*/ 5 w 9"/>
              <a:gd name="T1" fmla="*/ 3 h 5"/>
              <a:gd name="T2" fmla="*/ 5 w 9"/>
              <a:gd name="T3" fmla="*/ 4 h 5"/>
              <a:gd name="T4" fmla="*/ 5 w 9"/>
              <a:gd name="T5" fmla="*/ 4 h 5"/>
              <a:gd name="T6" fmla="*/ 4 w 9"/>
              <a:gd name="T7" fmla="*/ 4 h 5"/>
              <a:gd name="T8" fmla="*/ 4 w 9"/>
              <a:gd name="T9" fmla="*/ 1 h 5"/>
              <a:gd name="T10" fmla="*/ 2 w 9"/>
              <a:gd name="T11" fmla="*/ 0 h 5"/>
              <a:gd name="T12" fmla="*/ 2 w 9"/>
              <a:gd name="T13" fmla="*/ 0 h 5"/>
              <a:gd name="T14" fmla="*/ 1 w 9"/>
              <a:gd name="T15" fmla="*/ 1 h 5"/>
              <a:gd name="T16" fmla="*/ 0 w 9"/>
              <a:gd name="T17" fmla="*/ 1 h 5"/>
              <a:gd name="T18" fmla="*/ 0 w 9"/>
              <a:gd name="T19" fmla="*/ 1 h 5"/>
              <a:gd name="T20" fmla="*/ 2 w 9"/>
              <a:gd name="T21" fmla="*/ 2 h 5"/>
              <a:gd name="T22" fmla="*/ 2 w 9"/>
              <a:gd name="T23" fmla="*/ 2 h 5"/>
              <a:gd name="T24" fmla="*/ 2 w 9"/>
              <a:gd name="T25" fmla="*/ 3 h 5"/>
              <a:gd name="T26" fmla="*/ 2 w 9"/>
              <a:gd name="T27" fmla="*/ 4 h 5"/>
              <a:gd name="T28" fmla="*/ 1 w 9"/>
              <a:gd name="T29" fmla="*/ 3 h 5"/>
              <a:gd name="T30" fmla="*/ 1 w 9"/>
              <a:gd name="T31" fmla="*/ 3 h 5"/>
              <a:gd name="T32" fmla="*/ 2 w 9"/>
              <a:gd name="T33" fmla="*/ 4 h 5"/>
              <a:gd name="T34" fmla="*/ 4 w 9"/>
              <a:gd name="T35" fmla="*/ 5 h 5"/>
              <a:gd name="T36" fmla="*/ 5 w 9"/>
              <a:gd name="T37" fmla="*/ 5 h 5"/>
              <a:gd name="T38" fmla="*/ 6 w 9"/>
              <a:gd name="T39" fmla="*/ 5 h 5"/>
              <a:gd name="T40" fmla="*/ 7 w 9"/>
              <a:gd name="T41" fmla="*/ 5 h 5"/>
              <a:gd name="T42" fmla="*/ 9 w 9"/>
              <a:gd name="T43" fmla="*/ 4 h 5"/>
              <a:gd name="T44" fmla="*/ 7 w 9"/>
              <a:gd name="T45" fmla="*/ 4 h 5"/>
              <a:gd name="T46" fmla="*/ 6 w 9"/>
              <a:gd name="T47" fmla="*/ 3 h 5"/>
              <a:gd name="T48" fmla="*/ 6 w 9"/>
              <a:gd name="T49" fmla="*/ 2 h 5"/>
              <a:gd name="T50" fmla="*/ 5 w 9"/>
              <a:gd name="T51" fmla="*/ 2 h 5"/>
              <a:gd name="T52" fmla="*/ 5 w 9"/>
              <a:gd name="T53" fmla="*/ 3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9" h="5">
                <a:moveTo>
                  <a:pt x="5" y="3"/>
                </a:moveTo>
                <a:lnTo>
                  <a:pt x="5" y="4"/>
                </a:lnTo>
                <a:lnTo>
                  <a:pt x="5" y="4"/>
                </a:lnTo>
                <a:lnTo>
                  <a:pt x="4" y="4"/>
                </a:lnTo>
                <a:lnTo>
                  <a:pt x="4" y="1"/>
                </a:lnTo>
                <a:lnTo>
                  <a:pt x="2" y="0"/>
                </a:lnTo>
                <a:lnTo>
                  <a:pt x="2" y="0"/>
                </a:lnTo>
                <a:lnTo>
                  <a:pt x="1" y="1"/>
                </a:lnTo>
                <a:lnTo>
                  <a:pt x="0" y="1"/>
                </a:lnTo>
                <a:lnTo>
                  <a:pt x="0" y="1"/>
                </a:lnTo>
                <a:lnTo>
                  <a:pt x="2" y="2"/>
                </a:lnTo>
                <a:lnTo>
                  <a:pt x="2" y="2"/>
                </a:lnTo>
                <a:lnTo>
                  <a:pt x="2" y="3"/>
                </a:lnTo>
                <a:lnTo>
                  <a:pt x="2" y="4"/>
                </a:lnTo>
                <a:lnTo>
                  <a:pt x="1" y="3"/>
                </a:lnTo>
                <a:lnTo>
                  <a:pt x="1" y="3"/>
                </a:lnTo>
                <a:lnTo>
                  <a:pt x="2" y="4"/>
                </a:lnTo>
                <a:lnTo>
                  <a:pt x="4" y="5"/>
                </a:lnTo>
                <a:lnTo>
                  <a:pt x="5" y="5"/>
                </a:lnTo>
                <a:lnTo>
                  <a:pt x="6" y="5"/>
                </a:lnTo>
                <a:lnTo>
                  <a:pt x="7" y="5"/>
                </a:lnTo>
                <a:lnTo>
                  <a:pt x="9" y="4"/>
                </a:lnTo>
                <a:lnTo>
                  <a:pt x="7" y="4"/>
                </a:lnTo>
                <a:lnTo>
                  <a:pt x="6" y="3"/>
                </a:lnTo>
                <a:lnTo>
                  <a:pt x="6" y="2"/>
                </a:lnTo>
                <a:lnTo>
                  <a:pt x="5" y="2"/>
                </a:lnTo>
                <a:lnTo>
                  <a:pt x="5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82" name="Freeform 181"/>
          <p:cNvSpPr>
            <a:spLocks/>
          </p:cNvSpPr>
          <p:nvPr/>
        </p:nvSpPr>
        <p:spPr bwMode="auto">
          <a:xfrm>
            <a:off x="4751388" y="4213191"/>
            <a:ext cx="407988" cy="366713"/>
          </a:xfrm>
          <a:custGeom>
            <a:avLst/>
            <a:gdLst>
              <a:gd name="T0" fmla="*/ 55 w 257"/>
              <a:gd name="T1" fmla="*/ 101 h 231"/>
              <a:gd name="T2" fmla="*/ 45 w 257"/>
              <a:gd name="T3" fmla="*/ 122 h 231"/>
              <a:gd name="T4" fmla="*/ 29 w 257"/>
              <a:gd name="T5" fmla="*/ 126 h 231"/>
              <a:gd name="T6" fmla="*/ 17 w 257"/>
              <a:gd name="T7" fmla="*/ 120 h 231"/>
              <a:gd name="T8" fmla="*/ 4 w 257"/>
              <a:gd name="T9" fmla="*/ 120 h 231"/>
              <a:gd name="T10" fmla="*/ 1 w 257"/>
              <a:gd name="T11" fmla="*/ 124 h 231"/>
              <a:gd name="T12" fmla="*/ 10 w 257"/>
              <a:gd name="T13" fmla="*/ 147 h 231"/>
              <a:gd name="T14" fmla="*/ 18 w 257"/>
              <a:gd name="T15" fmla="*/ 168 h 231"/>
              <a:gd name="T16" fmla="*/ 23 w 257"/>
              <a:gd name="T17" fmla="*/ 197 h 231"/>
              <a:gd name="T18" fmla="*/ 18 w 257"/>
              <a:gd name="T19" fmla="*/ 200 h 231"/>
              <a:gd name="T20" fmla="*/ 21 w 257"/>
              <a:gd name="T21" fmla="*/ 207 h 231"/>
              <a:gd name="T22" fmla="*/ 26 w 257"/>
              <a:gd name="T23" fmla="*/ 215 h 231"/>
              <a:gd name="T24" fmla="*/ 26 w 257"/>
              <a:gd name="T25" fmla="*/ 225 h 231"/>
              <a:gd name="T26" fmla="*/ 27 w 257"/>
              <a:gd name="T27" fmla="*/ 220 h 231"/>
              <a:gd name="T28" fmla="*/ 31 w 257"/>
              <a:gd name="T29" fmla="*/ 225 h 231"/>
              <a:gd name="T30" fmla="*/ 38 w 257"/>
              <a:gd name="T31" fmla="*/ 229 h 231"/>
              <a:gd name="T32" fmla="*/ 49 w 257"/>
              <a:gd name="T33" fmla="*/ 231 h 231"/>
              <a:gd name="T34" fmla="*/ 61 w 257"/>
              <a:gd name="T35" fmla="*/ 225 h 231"/>
              <a:gd name="T36" fmla="*/ 75 w 257"/>
              <a:gd name="T37" fmla="*/ 225 h 231"/>
              <a:gd name="T38" fmla="*/ 82 w 257"/>
              <a:gd name="T39" fmla="*/ 221 h 231"/>
              <a:gd name="T40" fmla="*/ 97 w 257"/>
              <a:gd name="T41" fmla="*/ 221 h 231"/>
              <a:gd name="T42" fmla="*/ 109 w 257"/>
              <a:gd name="T43" fmla="*/ 219 h 231"/>
              <a:gd name="T44" fmla="*/ 129 w 257"/>
              <a:gd name="T45" fmla="*/ 219 h 231"/>
              <a:gd name="T46" fmla="*/ 136 w 257"/>
              <a:gd name="T47" fmla="*/ 215 h 231"/>
              <a:gd name="T48" fmla="*/ 150 w 257"/>
              <a:gd name="T49" fmla="*/ 213 h 231"/>
              <a:gd name="T50" fmla="*/ 173 w 257"/>
              <a:gd name="T51" fmla="*/ 201 h 231"/>
              <a:gd name="T52" fmla="*/ 194 w 257"/>
              <a:gd name="T53" fmla="*/ 179 h 231"/>
              <a:gd name="T54" fmla="*/ 213 w 257"/>
              <a:gd name="T55" fmla="*/ 159 h 231"/>
              <a:gd name="T56" fmla="*/ 226 w 257"/>
              <a:gd name="T57" fmla="*/ 140 h 231"/>
              <a:gd name="T58" fmla="*/ 237 w 257"/>
              <a:gd name="T59" fmla="*/ 127 h 231"/>
              <a:gd name="T60" fmla="*/ 250 w 257"/>
              <a:gd name="T61" fmla="*/ 108 h 231"/>
              <a:gd name="T62" fmla="*/ 256 w 257"/>
              <a:gd name="T63" fmla="*/ 92 h 231"/>
              <a:gd name="T64" fmla="*/ 244 w 257"/>
              <a:gd name="T65" fmla="*/ 86 h 231"/>
              <a:gd name="T66" fmla="*/ 236 w 257"/>
              <a:gd name="T67" fmla="*/ 93 h 231"/>
              <a:gd name="T68" fmla="*/ 228 w 257"/>
              <a:gd name="T69" fmla="*/ 78 h 231"/>
              <a:gd name="T70" fmla="*/ 242 w 257"/>
              <a:gd name="T71" fmla="*/ 71 h 231"/>
              <a:gd name="T72" fmla="*/ 241 w 257"/>
              <a:gd name="T73" fmla="*/ 17 h 231"/>
              <a:gd name="T74" fmla="*/ 236 w 257"/>
              <a:gd name="T75" fmla="*/ 6 h 231"/>
              <a:gd name="T76" fmla="*/ 219 w 257"/>
              <a:gd name="T77" fmla="*/ 3 h 231"/>
              <a:gd name="T78" fmla="*/ 206 w 257"/>
              <a:gd name="T79" fmla="*/ 2 h 231"/>
              <a:gd name="T80" fmla="*/ 182 w 257"/>
              <a:gd name="T81" fmla="*/ 18 h 231"/>
              <a:gd name="T82" fmla="*/ 162 w 257"/>
              <a:gd name="T83" fmla="*/ 40 h 231"/>
              <a:gd name="T84" fmla="*/ 143 w 257"/>
              <a:gd name="T85" fmla="*/ 63 h 231"/>
              <a:gd name="T86" fmla="*/ 127 w 257"/>
              <a:gd name="T87" fmla="*/ 67 h 231"/>
              <a:gd name="T88" fmla="*/ 110 w 257"/>
              <a:gd name="T89" fmla="*/ 62 h 231"/>
              <a:gd name="T90" fmla="*/ 98 w 257"/>
              <a:gd name="T91" fmla="*/ 76 h 231"/>
              <a:gd name="T92" fmla="*/ 80 w 257"/>
              <a:gd name="T93" fmla="*/ 87 h 231"/>
              <a:gd name="T94" fmla="*/ 67 w 257"/>
              <a:gd name="T95" fmla="*/ 82 h 231"/>
              <a:gd name="T96" fmla="*/ 70 w 257"/>
              <a:gd name="T97" fmla="*/ 66 h 231"/>
              <a:gd name="T98" fmla="*/ 60 w 257"/>
              <a:gd name="T99" fmla="*/ 52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57" h="231">
                <a:moveTo>
                  <a:pt x="57" y="49"/>
                </a:moveTo>
                <a:lnTo>
                  <a:pt x="56" y="66"/>
                </a:lnTo>
                <a:lnTo>
                  <a:pt x="55" y="83"/>
                </a:lnTo>
                <a:lnTo>
                  <a:pt x="55" y="101"/>
                </a:lnTo>
                <a:lnTo>
                  <a:pt x="54" y="118"/>
                </a:lnTo>
                <a:lnTo>
                  <a:pt x="52" y="119"/>
                </a:lnTo>
                <a:lnTo>
                  <a:pt x="49" y="120"/>
                </a:lnTo>
                <a:lnTo>
                  <a:pt x="45" y="122"/>
                </a:lnTo>
                <a:lnTo>
                  <a:pt x="40" y="127"/>
                </a:lnTo>
                <a:lnTo>
                  <a:pt x="37" y="127"/>
                </a:lnTo>
                <a:lnTo>
                  <a:pt x="35" y="126"/>
                </a:lnTo>
                <a:lnTo>
                  <a:pt x="29" y="126"/>
                </a:lnTo>
                <a:lnTo>
                  <a:pt x="25" y="128"/>
                </a:lnTo>
                <a:lnTo>
                  <a:pt x="20" y="127"/>
                </a:lnTo>
                <a:lnTo>
                  <a:pt x="17" y="123"/>
                </a:lnTo>
                <a:lnTo>
                  <a:pt x="17" y="120"/>
                </a:lnTo>
                <a:lnTo>
                  <a:pt x="10" y="114"/>
                </a:lnTo>
                <a:lnTo>
                  <a:pt x="7" y="114"/>
                </a:lnTo>
                <a:lnTo>
                  <a:pt x="5" y="118"/>
                </a:lnTo>
                <a:lnTo>
                  <a:pt x="4" y="120"/>
                </a:lnTo>
                <a:lnTo>
                  <a:pt x="3" y="121"/>
                </a:lnTo>
                <a:lnTo>
                  <a:pt x="0" y="121"/>
                </a:lnTo>
                <a:lnTo>
                  <a:pt x="1" y="122"/>
                </a:lnTo>
                <a:lnTo>
                  <a:pt x="1" y="124"/>
                </a:lnTo>
                <a:lnTo>
                  <a:pt x="1" y="126"/>
                </a:lnTo>
                <a:lnTo>
                  <a:pt x="5" y="128"/>
                </a:lnTo>
                <a:lnTo>
                  <a:pt x="8" y="139"/>
                </a:lnTo>
                <a:lnTo>
                  <a:pt x="10" y="147"/>
                </a:lnTo>
                <a:lnTo>
                  <a:pt x="14" y="158"/>
                </a:lnTo>
                <a:lnTo>
                  <a:pt x="16" y="160"/>
                </a:lnTo>
                <a:lnTo>
                  <a:pt x="17" y="164"/>
                </a:lnTo>
                <a:lnTo>
                  <a:pt x="18" y="168"/>
                </a:lnTo>
                <a:lnTo>
                  <a:pt x="24" y="177"/>
                </a:lnTo>
                <a:lnTo>
                  <a:pt x="25" y="181"/>
                </a:lnTo>
                <a:lnTo>
                  <a:pt x="25" y="192"/>
                </a:lnTo>
                <a:lnTo>
                  <a:pt x="23" y="197"/>
                </a:lnTo>
                <a:lnTo>
                  <a:pt x="19" y="195"/>
                </a:lnTo>
                <a:lnTo>
                  <a:pt x="18" y="197"/>
                </a:lnTo>
                <a:lnTo>
                  <a:pt x="18" y="200"/>
                </a:lnTo>
                <a:lnTo>
                  <a:pt x="18" y="200"/>
                </a:lnTo>
                <a:lnTo>
                  <a:pt x="20" y="201"/>
                </a:lnTo>
                <a:lnTo>
                  <a:pt x="21" y="203"/>
                </a:lnTo>
                <a:lnTo>
                  <a:pt x="20" y="203"/>
                </a:lnTo>
                <a:lnTo>
                  <a:pt x="21" y="207"/>
                </a:lnTo>
                <a:lnTo>
                  <a:pt x="23" y="208"/>
                </a:lnTo>
                <a:lnTo>
                  <a:pt x="24" y="211"/>
                </a:lnTo>
                <a:lnTo>
                  <a:pt x="26" y="213"/>
                </a:lnTo>
                <a:lnTo>
                  <a:pt x="26" y="215"/>
                </a:lnTo>
                <a:lnTo>
                  <a:pt x="25" y="218"/>
                </a:lnTo>
                <a:lnTo>
                  <a:pt x="25" y="220"/>
                </a:lnTo>
                <a:lnTo>
                  <a:pt x="25" y="223"/>
                </a:lnTo>
                <a:lnTo>
                  <a:pt x="26" y="225"/>
                </a:lnTo>
                <a:lnTo>
                  <a:pt x="26" y="225"/>
                </a:lnTo>
                <a:lnTo>
                  <a:pt x="26" y="223"/>
                </a:lnTo>
                <a:lnTo>
                  <a:pt x="26" y="221"/>
                </a:lnTo>
                <a:lnTo>
                  <a:pt x="27" y="220"/>
                </a:lnTo>
                <a:lnTo>
                  <a:pt x="29" y="220"/>
                </a:lnTo>
                <a:lnTo>
                  <a:pt x="31" y="220"/>
                </a:lnTo>
                <a:lnTo>
                  <a:pt x="31" y="223"/>
                </a:lnTo>
                <a:lnTo>
                  <a:pt x="31" y="225"/>
                </a:lnTo>
                <a:lnTo>
                  <a:pt x="32" y="225"/>
                </a:lnTo>
                <a:lnTo>
                  <a:pt x="38" y="225"/>
                </a:lnTo>
                <a:lnTo>
                  <a:pt x="38" y="227"/>
                </a:lnTo>
                <a:lnTo>
                  <a:pt x="38" y="229"/>
                </a:lnTo>
                <a:lnTo>
                  <a:pt x="41" y="231"/>
                </a:lnTo>
                <a:lnTo>
                  <a:pt x="44" y="231"/>
                </a:lnTo>
                <a:lnTo>
                  <a:pt x="46" y="231"/>
                </a:lnTo>
                <a:lnTo>
                  <a:pt x="49" y="231"/>
                </a:lnTo>
                <a:lnTo>
                  <a:pt x="51" y="231"/>
                </a:lnTo>
                <a:lnTo>
                  <a:pt x="55" y="228"/>
                </a:lnTo>
                <a:lnTo>
                  <a:pt x="60" y="227"/>
                </a:lnTo>
                <a:lnTo>
                  <a:pt x="61" y="225"/>
                </a:lnTo>
                <a:lnTo>
                  <a:pt x="64" y="225"/>
                </a:lnTo>
                <a:lnTo>
                  <a:pt x="68" y="227"/>
                </a:lnTo>
                <a:lnTo>
                  <a:pt x="69" y="225"/>
                </a:lnTo>
                <a:lnTo>
                  <a:pt x="75" y="225"/>
                </a:lnTo>
                <a:lnTo>
                  <a:pt x="77" y="225"/>
                </a:lnTo>
                <a:lnTo>
                  <a:pt x="78" y="223"/>
                </a:lnTo>
                <a:lnTo>
                  <a:pt x="80" y="222"/>
                </a:lnTo>
                <a:lnTo>
                  <a:pt x="82" y="221"/>
                </a:lnTo>
                <a:lnTo>
                  <a:pt x="84" y="220"/>
                </a:lnTo>
                <a:lnTo>
                  <a:pt x="88" y="219"/>
                </a:lnTo>
                <a:lnTo>
                  <a:pt x="90" y="219"/>
                </a:lnTo>
                <a:lnTo>
                  <a:pt x="97" y="221"/>
                </a:lnTo>
                <a:lnTo>
                  <a:pt x="99" y="221"/>
                </a:lnTo>
                <a:lnTo>
                  <a:pt x="101" y="219"/>
                </a:lnTo>
                <a:lnTo>
                  <a:pt x="106" y="219"/>
                </a:lnTo>
                <a:lnTo>
                  <a:pt x="109" y="219"/>
                </a:lnTo>
                <a:lnTo>
                  <a:pt x="119" y="222"/>
                </a:lnTo>
                <a:lnTo>
                  <a:pt x="123" y="222"/>
                </a:lnTo>
                <a:lnTo>
                  <a:pt x="126" y="219"/>
                </a:lnTo>
                <a:lnTo>
                  <a:pt x="129" y="219"/>
                </a:lnTo>
                <a:lnTo>
                  <a:pt x="132" y="219"/>
                </a:lnTo>
                <a:lnTo>
                  <a:pt x="137" y="220"/>
                </a:lnTo>
                <a:lnTo>
                  <a:pt x="137" y="218"/>
                </a:lnTo>
                <a:lnTo>
                  <a:pt x="136" y="215"/>
                </a:lnTo>
                <a:lnTo>
                  <a:pt x="138" y="214"/>
                </a:lnTo>
                <a:lnTo>
                  <a:pt x="140" y="213"/>
                </a:lnTo>
                <a:lnTo>
                  <a:pt x="143" y="213"/>
                </a:lnTo>
                <a:lnTo>
                  <a:pt x="150" y="213"/>
                </a:lnTo>
                <a:lnTo>
                  <a:pt x="152" y="213"/>
                </a:lnTo>
                <a:lnTo>
                  <a:pt x="159" y="210"/>
                </a:lnTo>
                <a:lnTo>
                  <a:pt x="170" y="203"/>
                </a:lnTo>
                <a:lnTo>
                  <a:pt x="173" y="201"/>
                </a:lnTo>
                <a:lnTo>
                  <a:pt x="176" y="198"/>
                </a:lnTo>
                <a:lnTo>
                  <a:pt x="182" y="192"/>
                </a:lnTo>
                <a:lnTo>
                  <a:pt x="190" y="184"/>
                </a:lnTo>
                <a:lnTo>
                  <a:pt x="194" y="179"/>
                </a:lnTo>
                <a:lnTo>
                  <a:pt x="198" y="175"/>
                </a:lnTo>
                <a:lnTo>
                  <a:pt x="201" y="173"/>
                </a:lnTo>
                <a:lnTo>
                  <a:pt x="208" y="167"/>
                </a:lnTo>
                <a:lnTo>
                  <a:pt x="213" y="159"/>
                </a:lnTo>
                <a:lnTo>
                  <a:pt x="217" y="155"/>
                </a:lnTo>
                <a:lnTo>
                  <a:pt x="223" y="144"/>
                </a:lnTo>
                <a:lnTo>
                  <a:pt x="224" y="141"/>
                </a:lnTo>
                <a:lnTo>
                  <a:pt x="226" y="140"/>
                </a:lnTo>
                <a:lnTo>
                  <a:pt x="228" y="137"/>
                </a:lnTo>
                <a:lnTo>
                  <a:pt x="231" y="131"/>
                </a:lnTo>
                <a:lnTo>
                  <a:pt x="233" y="128"/>
                </a:lnTo>
                <a:lnTo>
                  <a:pt x="237" y="127"/>
                </a:lnTo>
                <a:lnTo>
                  <a:pt x="239" y="126"/>
                </a:lnTo>
                <a:lnTo>
                  <a:pt x="244" y="121"/>
                </a:lnTo>
                <a:lnTo>
                  <a:pt x="248" y="117"/>
                </a:lnTo>
                <a:lnTo>
                  <a:pt x="250" y="108"/>
                </a:lnTo>
                <a:lnTo>
                  <a:pt x="252" y="104"/>
                </a:lnTo>
                <a:lnTo>
                  <a:pt x="252" y="100"/>
                </a:lnTo>
                <a:lnTo>
                  <a:pt x="253" y="97"/>
                </a:lnTo>
                <a:lnTo>
                  <a:pt x="256" y="92"/>
                </a:lnTo>
                <a:lnTo>
                  <a:pt x="256" y="90"/>
                </a:lnTo>
                <a:lnTo>
                  <a:pt x="257" y="86"/>
                </a:lnTo>
                <a:lnTo>
                  <a:pt x="254" y="86"/>
                </a:lnTo>
                <a:lnTo>
                  <a:pt x="244" y="86"/>
                </a:lnTo>
                <a:lnTo>
                  <a:pt x="242" y="87"/>
                </a:lnTo>
                <a:lnTo>
                  <a:pt x="241" y="91"/>
                </a:lnTo>
                <a:lnTo>
                  <a:pt x="239" y="93"/>
                </a:lnTo>
                <a:lnTo>
                  <a:pt x="236" y="93"/>
                </a:lnTo>
                <a:lnTo>
                  <a:pt x="229" y="92"/>
                </a:lnTo>
                <a:lnTo>
                  <a:pt x="227" y="87"/>
                </a:lnTo>
                <a:lnTo>
                  <a:pt x="226" y="83"/>
                </a:lnTo>
                <a:lnTo>
                  <a:pt x="228" y="78"/>
                </a:lnTo>
                <a:lnTo>
                  <a:pt x="230" y="73"/>
                </a:lnTo>
                <a:lnTo>
                  <a:pt x="232" y="69"/>
                </a:lnTo>
                <a:lnTo>
                  <a:pt x="237" y="67"/>
                </a:lnTo>
                <a:lnTo>
                  <a:pt x="242" y="71"/>
                </a:lnTo>
                <a:lnTo>
                  <a:pt x="244" y="69"/>
                </a:lnTo>
                <a:lnTo>
                  <a:pt x="246" y="41"/>
                </a:lnTo>
                <a:lnTo>
                  <a:pt x="243" y="27"/>
                </a:lnTo>
                <a:lnTo>
                  <a:pt x="241" y="17"/>
                </a:lnTo>
                <a:lnTo>
                  <a:pt x="241" y="11"/>
                </a:lnTo>
                <a:lnTo>
                  <a:pt x="241" y="10"/>
                </a:lnTo>
                <a:lnTo>
                  <a:pt x="240" y="10"/>
                </a:lnTo>
                <a:lnTo>
                  <a:pt x="236" y="6"/>
                </a:lnTo>
                <a:lnTo>
                  <a:pt x="230" y="3"/>
                </a:lnTo>
                <a:lnTo>
                  <a:pt x="226" y="3"/>
                </a:lnTo>
                <a:lnTo>
                  <a:pt x="222" y="3"/>
                </a:lnTo>
                <a:lnTo>
                  <a:pt x="219" y="3"/>
                </a:lnTo>
                <a:lnTo>
                  <a:pt x="212" y="1"/>
                </a:lnTo>
                <a:lnTo>
                  <a:pt x="210" y="0"/>
                </a:lnTo>
                <a:lnTo>
                  <a:pt x="207" y="1"/>
                </a:lnTo>
                <a:lnTo>
                  <a:pt x="206" y="2"/>
                </a:lnTo>
                <a:lnTo>
                  <a:pt x="202" y="5"/>
                </a:lnTo>
                <a:lnTo>
                  <a:pt x="199" y="7"/>
                </a:lnTo>
                <a:lnTo>
                  <a:pt x="188" y="12"/>
                </a:lnTo>
                <a:lnTo>
                  <a:pt x="182" y="18"/>
                </a:lnTo>
                <a:lnTo>
                  <a:pt x="177" y="21"/>
                </a:lnTo>
                <a:lnTo>
                  <a:pt x="171" y="28"/>
                </a:lnTo>
                <a:lnTo>
                  <a:pt x="168" y="32"/>
                </a:lnTo>
                <a:lnTo>
                  <a:pt x="162" y="40"/>
                </a:lnTo>
                <a:lnTo>
                  <a:pt x="155" y="46"/>
                </a:lnTo>
                <a:lnTo>
                  <a:pt x="150" y="51"/>
                </a:lnTo>
                <a:lnTo>
                  <a:pt x="146" y="61"/>
                </a:lnTo>
                <a:lnTo>
                  <a:pt x="143" y="63"/>
                </a:lnTo>
                <a:lnTo>
                  <a:pt x="141" y="64"/>
                </a:lnTo>
                <a:lnTo>
                  <a:pt x="138" y="64"/>
                </a:lnTo>
                <a:lnTo>
                  <a:pt x="131" y="67"/>
                </a:lnTo>
                <a:lnTo>
                  <a:pt x="127" y="67"/>
                </a:lnTo>
                <a:lnTo>
                  <a:pt x="120" y="62"/>
                </a:lnTo>
                <a:lnTo>
                  <a:pt x="117" y="61"/>
                </a:lnTo>
                <a:lnTo>
                  <a:pt x="113" y="60"/>
                </a:lnTo>
                <a:lnTo>
                  <a:pt x="110" y="62"/>
                </a:lnTo>
                <a:lnTo>
                  <a:pt x="105" y="68"/>
                </a:lnTo>
                <a:lnTo>
                  <a:pt x="102" y="70"/>
                </a:lnTo>
                <a:lnTo>
                  <a:pt x="101" y="72"/>
                </a:lnTo>
                <a:lnTo>
                  <a:pt x="98" y="76"/>
                </a:lnTo>
                <a:lnTo>
                  <a:pt x="95" y="78"/>
                </a:lnTo>
                <a:lnTo>
                  <a:pt x="94" y="79"/>
                </a:lnTo>
                <a:lnTo>
                  <a:pt x="90" y="84"/>
                </a:lnTo>
                <a:lnTo>
                  <a:pt x="80" y="87"/>
                </a:lnTo>
                <a:lnTo>
                  <a:pt x="76" y="87"/>
                </a:lnTo>
                <a:lnTo>
                  <a:pt x="71" y="86"/>
                </a:lnTo>
                <a:lnTo>
                  <a:pt x="68" y="86"/>
                </a:lnTo>
                <a:lnTo>
                  <a:pt x="67" y="82"/>
                </a:lnTo>
                <a:lnTo>
                  <a:pt x="69" y="77"/>
                </a:lnTo>
                <a:lnTo>
                  <a:pt x="70" y="72"/>
                </a:lnTo>
                <a:lnTo>
                  <a:pt x="70" y="70"/>
                </a:lnTo>
                <a:lnTo>
                  <a:pt x="70" y="66"/>
                </a:lnTo>
                <a:lnTo>
                  <a:pt x="68" y="62"/>
                </a:lnTo>
                <a:lnTo>
                  <a:pt x="65" y="58"/>
                </a:lnTo>
                <a:lnTo>
                  <a:pt x="64" y="56"/>
                </a:lnTo>
                <a:lnTo>
                  <a:pt x="60" y="52"/>
                </a:lnTo>
                <a:lnTo>
                  <a:pt x="59" y="51"/>
                </a:lnTo>
                <a:lnTo>
                  <a:pt x="58" y="49"/>
                </a:lnTo>
                <a:lnTo>
                  <a:pt x="57" y="49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83" name="Freeform 182"/>
          <p:cNvSpPr>
            <a:spLocks/>
          </p:cNvSpPr>
          <p:nvPr/>
        </p:nvSpPr>
        <p:spPr bwMode="auto">
          <a:xfrm>
            <a:off x="4751388" y="4213191"/>
            <a:ext cx="407988" cy="366713"/>
          </a:xfrm>
          <a:custGeom>
            <a:avLst/>
            <a:gdLst>
              <a:gd name="T0" fmla="*/ 55 w 257"/>
              <a:gd name="T1" fmla="*/ 101 h 231"/>
              <a:gd name="T2" fmla="*/ 45 w 257"/>
              <a:gd name="T3" fmla="*/ 122 h 231"/>
              <a:gd name="T4" fmla="*/ 29 w 257"/>
              <a:gd name="T5" fmla="*/ 126 h 231"/>
              <a:gd name="T6" fmla="*/ 17 w 257"/>
              <a:gd name="T7" fmla="*/ 120 h 231"/>
              <a:gd name="T8" fmla="*/ 4 w 257"/>
              <a:gd name="T9" fmla="*/ 120 h 231"/>
              <a:gd name="T10" fmla="*/ 1 w 257"/>
              <a:gd name="T11" fmla="*/ 124 h 231"/>
              <a:gd name="T12" fmla="*/ 10 w 257"/>
              <a:gd name="T13" fmla="*/ 147 h 231"/>
              <a:gd name="T14" fmla="*/ 18 w 257"/>
              <a:gd name="T15" fmla="*/ 168 h 231"/>
              <a:gd name="T16" fmla="*/ 23 w 257"/>
              <a:gd name="T17" fmla="*/ 197 h 231"/>
              <a:gd name="T18" fmla="*/ 18 w 257"/>
              <a:gd name="T19" fmla="*/ 200 h 231"/>
              <a:gd name="T20" fmla="*/ 21 w 257"/>
              <a:gd name="T21" fmla="*/ 207 h 231"/>
              <a:gd name="T22" fmla="*/ 26 w 257"/>
              <a:gd name="T23" fmla="*/ 215 h 231"/>
              <a:gd name="T24" fmla="*/ 26 w 257"/>
              <a:gd name="T25" fmla="*/ 225 h 231"/>
              <a:gd name="T26" fmla="*/ 27 w 257"/>
              <a:gd name="T27" fmla="*/ 220 h 231"/>
              <a:gd name="T28" fmla="*/ 31 w 257"/>
              <a:gd name="T29" fmla="*/ 225 h 231"/>
              <a:gd name="T30" fmla="*/ 38 w 257"/>
              <a:gd name="T31" fmla="*/ 229 h 231"/>
              <a:gd name="T32" fmla="*/ 49 w 257"/>
              <a:gd name="T33" fmla="*/ 231 h 231"/>
              <a:gd name="T34" fmla="*/ 61 w 257"/>
              <a:gd name="T35" fmla="*/ 225 h 231"/>
              <a:gd name="T36" fmla="*/ 75 w 257"/>
              <a:gd name="T37" fmla="*/ 225 h 231"/>
              <a:gd name="T38" fmla="*/ 82 w 257"/>
              <a:gd name="T39" fmla="*/ 221 h 231"/>
              <a:gd name="T40" fmla="*/ 97 w 257"/>
              <a:gd name="T41" fmla="*/ 221 h 231"/>
              <a:gd name="T42" fmla="*/ 109 w 257"/>
              <a:gd name="T43" fmla="*/ 219 h 231"/>
              <a:gd name="T44" fmla="*/ 129 w 257"/>
              <a:gd name="T45" fmla="*/ 219 h 231"/>
              <a:gd name="T46" fmla="*/ 136 w 257"/>
              <a:gd name="T47" fmla="*/ 215 h 231"/>
              <a:gd name="T48" fmla="*/ 150 w 257"/>
              <a:gd name="T49" fmla="*/ 213 h 231"/>
              <a:gd name="T50" fmla="*/ 173 w 257"/>
              <a:gd name="T51" fmla="*/ 201 h 231"/>
              <a:gd name="T52" fmla="*/ 194 w 257"/>
              <a:gd name="T53" fmla="*/ 179 h 231"/>
              <a:gd name="T54" fmla="*/ 213 w 257"/>
              <a:gd name="T55" fmla="*/ 159 h 231"/>
              <a:gd name="T56" fmla="*/ 226 w 257"/>
              <a:gd name="T57" fmla="*/ 140 h 231"/>
              <a:gd name="T58" fmla="*/ 237 w 257"/>
              <a:gd name="T59" fmla="*/ 127 h 231"/>
              <a:gd name="T60" fmla="*/ 250 w 257"/>
              <a:gd name="T61" fmla="*/ 108 h 231"/>
              <a:gd name="T62" fmla="*/ 256 w 257"/>
              <a:gd name="T63" fmla="*/ 92 h 231"/>
              <a:gd name="T64" fmla="*/ 244 w 257"/>
              <a:gd name="T65" fmla="*/ 86 h 231"/>
              <a:gd name="T66" fmla="*/ 236 w 257"/>
              <a:gd name="T67" fmla="*/ 93 h 231"/>
              <a:gd name="T68" fmla="*/ 228 w 257"/>
              <a:gd name="T69" fmla="*/ 78 h 231"/>
              <a:gd name="T70" fmla="*/ 242 w 257"/>
              <a:gd name="T71" fmla="*/ 71 h 231"/>
              <a:gd name="T72" fmla="*/ 241 w 257"/>
              <a:gd name="T73" fmla="*/ 17 h 231"/>
              <a:gd name="T74" fmla="*/ 236 w 257"/>
              <a:gd name="T75" fmla="*/ 6 h 231"/>
              <a:gd name="T76" fmla="*/ 219 w 257"/>
              <a:gd name="T77" fmla="*/ 3 h 231"/>
              <a:gd name="T78" fmla="*/ 206 w 257"/>
              <a:gd name="T79" fmla="*/ 2 h 231"/>
              <a:gd name="T80" fmla="*/ 182 w 257"/>
              <a:gd name="T81" fmla="*/ 18 h 231"/>
              <a:gd name="T82" fmla="*/ 162 w 257"/>
              <a:gd name="T83" fmla="*/ 40 h 231"/>
              <a:gd name="T84" fmla="*/ 143 w 257"/>
              <a:gd name="T85" fmla="*/ 63 h 231"/>
              <a:gd name="T86" fmla="*/ 127 w 257"/>
              <a:gd name="T87" fmla="*/ 67 h 231"/>
              <a:gd name="T88" fmla="*/ 110 w 257"/>
              <a:gd name="T89" fmla="*/ 62 h 231"/>
              <a:gd name="T90" fmla="*/ 98 w 257"/>
              <a:gd name="T91" fmla="*/ 76 h 231"/>
              <a:gd name="T92" fmla="*/ 80 w 257"/>
              <a:gd name="T93" fmla="*/ 87 h 231"/>
              <a:gd name="T94" fmla="*/ 67 w 257"/>
              <a:gd name="T95" fmla="*/ 82 h 231"/>
              <a:gd name="T96" fmla="*/ 70 w 257"/>
              <a:gd name="T97" fmla="*/ 66 h 231"/>
              <a:gd name="T98" fmla="*/ 60 w 257"/>
              <a:gd name="T99" fmla="*/ 52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57" h="231">
                <a:moveTo>
                  <a:pt x="57" y="49"/>
                </a:moveTo>
                <a:lnTo>
                  <a:pt x="56" y="66"/>
                </a:lnTo>
                <a:lnTo>
                  <a:pt x="55" y="83"/>
                </a:lnTo>
                <a:lnTo>
                  <a:pt x="55" y="101"/>
                </a:lnTo>
                <a:lnTo>
                  <a:pt x="54" y="118"/>
                </a:lnTo>
                <a:lnTo>
                  <a:pt x="52" y="119"/>
                </a:lnTo>
                <a:lnTo>
                  <a:pt x="49" y="120"/>
                </a:lnTo>
                <a:lnTo>
                  <a:pt x="45" y="122"/>
                </a:lnTo>
                <a:lnTo>
                  <a:pt x="40" y="127"/>
                </a:lnTo>
                <a:lnTo>
                  <a:pt x="37" y="127"/>
                </a:lnTo>
                <a:lnTo>
                  <a:pt x="35" y="126"/>
                </a:lnTo>
                <a:lnTo>
                  <a:pt x="29" y="126"/>
                </a:lnTo>
                <a:lnTo>
                  <a:pt x="25" y="128"/>
                </a:lnTo>
                <a:lnTo>
                  <a:pt x="20" y="127"/>
                </a:lnTo>
                <a:lnTo>
                  <a:pt x="17" y="123"/>
                </a:lnTo>
                <a:lnTo>
                  <a:pt x="17" y="120"/>
                </a:lnTo>
                <a:lnTo>
                  <a:pt x="10" y="114"/>
                </a:lnTo>
                <a:lnTo>
                  <a:pt x="7" y="114"/>
                </a:lnTo>
                <a:lnTo>
                  <a:pt x="5" y="118"/>
                </a:lnTo>
                <a:lnTo>
                  <a:pt x="4" y="120"/>
                </a:lnTo>
                <a:lnTo>
                  <a:pt x="3" y="121"/>
                </a:lnTo>
                <a:lnTo>
                  <a:pt x="0" y="121"/>
                </a:lnTo>
                <a:lnTo>
                  <a:pt x="1" y="122"/>
                </a:lnTo>
                <a:lnTo>
                  <a:pt x="1" y="124"/>
                </a:lnTo>
                <a:lnTo>
                  <a:pt x="1" y="126"/>
                </a:lnTo>
                <a:lnTo>
                  <a:pt x="5" y="128"/>
                </a:lnTo>
                <a:lnTo>
                  <a:pt x="8" y="139"/>
                </a:lnTo>
                <a:lnTo>
                  <a:pt x="10" y="147"/>
                </a:lnTo>
                <a:lnTo>
                  <a:pt x="14" y="158"/>
                </a:lnTo>
                <a:lnTo>
                  <a:pt x="16" y="160"/>
                </a:lnTo>
                <a:lnTo>
                  <a:pt x="17" y="164"/>
                </a:lnTo>
                <a:lnTo>
                  <a:pt x="18" y="168"/>
                </a:lnTo>
                <a:lnTo>
                  <a:pt x="24" y="177"/>
                </a:lnTo>
                <a:lnTo>
                  <a:pt x="25" y="181"/>
                </a:lnTo>
                <a:lnTo>
                  <a:pt x="25" y="192"/>
                </a:lnTo>
                <a:lnTo>
                  <a:pt x="23" y="197"/>
                </a:lnTo>
                <a:lnTo>
                  <a:pt x="19" y="195"/>
                </a:lnTo>
                <a:lnTo>
                  <a:pt x="18" y="197"/>
                </a:lnTo>
                <a:lnTo>
                  <a:pt x="18" y="200"/>
                </a:lnTo>
                <a:lnTo>
                  <a:pt x="18" y="200"/>
                </a:lnTo>
                <a:lnTo>
                  <a:pt x="20" y="201"/>
                </a:lnTo>
                <a:lnTo>
                  <a:pt x="21" y="203"/>
                </a:lnTo>
                <a:lnTo>
                  <a:pt x="20" y="203"/>
                </a:lnTo>
                <a:lnTo>
                  <a:pt x="21" y="207"/>
                </a:lnTo>
                <a:lnTo>
                  <a:pt x="23" y="208"/>
                </a:lnTo>
                <a:lnTo>
                  <a:pt x="24" y="211"/>
                </a:lnTo>
                <a:lnTo>
                  <a:pt x="26" y="213"/>
                </a:lnTo>
                <a:lnTo>
                  <a:pt x="26" y="215"/>
                </a:lnTo>
                <a:lnTo>
                  <a:pt x="25" y="218"/>
                </a:lnTo>
                <a:lnTo>
                  <a:pt x="25" y="220"/>
                </a:lnTo>
                <a:lnTo>
                  <a:pt x="25" y="223"/>
                </a:lnTo>
                <a:lnTo>
                  <a:pt x="26" y="225"/>
                </a:lnTo>
                <a:lnTo>
                  <a:pt x="26" y="225"/>
                </a:lnTo>
                <a:lnTo>
                  <a:pt x="26" y="223"/>
                </a:lnTo>
                <a:lnTo>
                  <a:pt x="26" y="221"/>
                </a:lnTo>
                <a:lnTo>
                  <a:pt x="27" y="220"/>
                </a:lnTo>
                <a:lnTo>
                  <a:pt x="29" y="220"/>
                </a:lnTo>
                <a:lnTo>
                  <a:pt x="31" y="220"/>
                </a:lnTo>
                <a:lnTo>
                  <a:pt x="31" y="223"/>
                </a:lnTo>
                <a:lnTo>
                  <a:pt x="31" y="225"/>
                </a:lnTo>
                <a:lnTo>
                  <a:pt x="32" y="225"/>
                </a:lnTo>
                <a:lnTo>
                  <a:pt x="38" y="225"/>
                </a:lnTo>
                <a:lnTo>
                  <a:pt x="38" y="227"/>
                </a:lnTo>
                <a:lnTo>
                  <a:pt x="38" y="229"/>
                </a:lnTo>
                <a:lnTo>
                  <a:pt x="41" y="231"/>
                </a:lnTo>
                <a:lnTo>
                  <a:pt x="44" y="231"/>
                </a:lnTo>
                <a:lnTo>
                  <a:pt x="46" y="231"/>
                </a:lnTo>
                <a:lnTo>
                  <a:pt x="49" y="231"/>
                </a:lnTo>
                <a:lnTo>
                  <a:pt x="51" y="231"/>
                </a:lnTo>
                <a:lnTo>
                  <a:pt x="55" y="228"/>
                </a:lnTo>
                <a:lnTo>
                  <a:pt x="60" y="227"/>
                </a:lnTo>
                <a:lnTo>
                  <a:pt x="61" y="225"/>
                </a:lnTo>
                <a:lnTo>
                  <a:pt x="64" y="225"/>
                </a:lnTo>
                <a:lnTo>
                  <a:pt x="68" y="227"/>
                </a:lnTo>
                <a:lnTo>
                  <a:pt x="69" y="225"/>
                </a:lnTo>
                <a:lnTo>
                  <a:pt x="75" y="225"/>
                </a:lnTo>
                <a:lnTo>
                  <a:pt x="77" y="225"/>
                </a:lnTo>
                <a:lnTo>
                  <a:pt x="78" y="223"/>
                </a:lnTo>
                <a:lnTo>
                  <a:pt x="80" y="222"/>
                </a:lnTo>
                <a:lnTo>
                  <a:pt x="82" y="221"/>
                </a:lnTo>
                <a:lnTo>
                  <a:pt x="84" y="220"/>
                </a:lnTo>
                <a:lnTo>
                  <a:pt x="88" y="219"/>
                </a:lnTo>
                <a:lnTo>
                  <a:pt x="90" y="219"/>
                </a:lnTo>
                <a:lnTo>
                  <a:pt x="97" y="221"/>
                </a:lnTo>
                <a:lnTo>
                  <a:pt x="99" y="221"/>
                </a:lnTo>
                <a:lnTo>
                  <a:pt x="101" y="219"/>
                </a:lnTo>
                <a:lnTo>
                  <a:pt x="106" y="219"/>
                </a:lnTo>
                <a:lnTo>
                  <a:pt x="109" y="219"/>
                </a:lnTo>
                <a:lnTo>
                  <a:pt x="119" y="222"/>
                </a:lnTo>
                <a:lnTo>
                  <a:pt x="123" y="222"/>
                </a:lnTo>
                <a:lnTo>
                  <a:pt x="126" y="219"/>
                </a:lnTo>
                <a:lnTo>
                  <a:pt x="129" y="219"/>
                </a:lnTo>
                <a:lnTo>
                  <a:pt x="132" y="219"/>
                </a:lnTo>
                <a:lnTo>
                  <a:pt x="137" y="220"/>
                </a:lnTo>
                <a:lnTo>
                  <a:pt x="137" y="218"/>
                </a:lnTo>
                <a:lnTo>
                  <a:pt x="136" y="215"/>
                </a:lnTo>
                <a:lnTo>
                  <a:pt x="138" y="214"/>
                </a:lnTo>
                <a:lnTo>
                  <a:pt x="140" y="213"/>
                </a:lnTo>
                <a:lnTo>
                  <a:pt x="143" y="213"/>
                </a:lnTo>
                <a:lnTo>
                  <a:pt x="150" y="213"/>
                </a:lnTo>
                <a:lnTo>
                  <a:pt x="152" y="213"/>
                </a:lnTo>
                <a:lnTo>
                  <a:pt x="159" y="210"/>
                </a:lnTo>
                <a:lnTo>
                  <a:pt x="170" y="203"/>
                </a:lnTo>
                <a:lnTo>
                  <a:pt x="173" y="201"/>
                </a:lnTo>
                <a:lnTo>
                  <a:pt x="176" y="198"/>
                </a:lnTo>
                <a:lnTo>
                  <a:pt x="182" y="192"/>
                </a:lnTo>
                <a:lnTo>
                  <a:pt x="190" y="184"/>
                </a:lnTo>
                <a:lnTo>
                  <a:pt x="194" y="179"/>
                </a:lnTo>
                <a:lnTo>
                  <a:pt x="198" y="175"/>
                </a:lnTo>
                <a:lnTo>
                  <a:pt x="201" y="173"/>
                </a:lnTo>
                <a:lnTo>
                  <a:pt x="208" y="167"/>
                </a:lnTo>
                <a:lnTo>
                  <a:pt x="213" y="159"/>
                </a:lnTo>
                <a:lnTo>
                  <a:pt x="217" y="155"/>
                </a:lnTo>
                <a:lnTo>
                  <a:pt x="223" y="144"/>
                </a:lnTo>
                <a:lnTo>
                  <a:pt x="224" y="141"/>
                </a:lnTo>
                <a:lnTo>
                  <a:pt x="226" y="140"/>
                </a:lnTo>
                <a:lnTo>
                  <a:pt x="228" y="137"/>
                </a:lnTo>
                <a:lnTo>
                  <a:pt x="231" y="131"/>
                </a:lnTo>
                <a:lnTo>
                  <a:pt x="233" y="128"/>
                </a:lnTo>
                <a:lnTo>
                  <a:pt x="237" y="127"/>
                </a:lnTo>
                <a:lnTo>
                  <a:pt x="239" y="126"/>
                </a:lnTo>
                <a:lnTo>
                  <a:pt x="244" y="121"/>
                </a:lnTo>
                <a:lnTo>
                  <a:pt x="248" y="117"/>
                </a:lnTo>
                <a:lnTo>
                  <a:pt x="250" y="108"/>
                </a:lnTo>
                <a:lnTo>
                  <a:pt x="252" y="104"/>
                </a:lnTo>
                <a:lnTo>
                  <a:pt x="252" y="100"/>
                </a:lnTo>
                <a:lnTo>
                  <a:pt x="253" y="97"/>
                </a:lnTo>
                <a:lnTo>
                  <a:pt x="256" y="92"/>
                </a:lnTo>
                <a:lnTo>
                  <a:pt x="256" y="90"/>
                </a:lnTo>
                <a:lnTo>
                  <a:pt x="257" y="86"/>
                </a:lnTo>
                <a:lnTo>
                  <a:pt x="254" y="86"/>
                </a:lnTo>
                <a:lnTo>
                  <a:pt x="244" y="86"/>
                </a:lnTo>
                <a:lnTo>
                  <a:pt x="242" y="87"/>
                </a:lnTo>
                <a:lnTo>
                  <a:pt x="241" y="91"/>
                </a:lnTo>
                <a:lnTo>
                  <a:pt x="239" y="93"/>
                </a:lnTo>
                <a:lnTo>
                  <a:pt x="236" y="93"/>
                </a:lnTo>
                <a:lnTo>
                  <a:pt x="229" y="92"/>
                </a:lnTo>
                <a:lnTo>
                  <a:pt x="227" y="87"/>
                </a:lnTo>
                <a:lnTo>
                  <a:pt x="226" y="83"/>
                </a:lnTo>
                <a:lnTo>
                  <a:pt x="228" y="78"/>
                </a:lnTo>
                <a:lnTo>
                  <a:pt x="230" y="73"/>
                </a:lnTo>
                <a:lnTo>
                  <a:pt x="232" y="69"/>
                </a:lnTo>
                <a:lnTo>
                  <a:pt x="237" y="67"/>
                </a:lnTo>
                <a:lnTo>
                  <a:pt x="242" y="71"/>
                </a:lnTo>
                <a:lnTo>
                  <a:pt x="244" y="69"/>
                </a:lnTo>
                <a:lnTo>
                  <a:pt x="246" y="41"/>
                </a:lnTo>
                <a:lnTo>
                  <a:pt x="243" y="27"/>
                </a:lnTo>
                <a:lnTo>
                  <a:pt x="241" y="17"/>
                </a:lnTo>
                <a:lnTo>
                  <a:pt x="241" y="11"/>
                </a:lnTo>
                <a:lnTo>
                  <a:pt x="241" y="10"/>
                </a:lnTo>
                <a:lnTo>
                  <a:pt x="240" y="10"/>
                </a:lnTo>
                <a:lnTo>
                  <a:pt x="236" y="6"/>
                </a:lnTo>
                <a:lnTo>
                  <a:pt x="230" y="3"/>
                </a:lnTo>
                <a:lnTo>
                  <a:pt x="226" y="3"/>
                </a:lnTo>
                <a:lnTo>
                  <a:pt x="222" y="3"/>
                </a:lnTo>
                <a:lnTo>
                  <a:pt x="219" y="3"/>
                </a:lnTo>
                <a:lnTo>
                  <a:pt x="212" y="1"/>
                </a:lnTo>
                <a:lnTo>
                  <a:pt x="210" y="0"/>
                </a:lnTo>
                <a:lnTo>
                  <a:pt x="207" y="1"/>
                </a:lnTo>
                <a:lnTo>
                  <a:pt x="206" y="2"/>
                </a:lnTo>
                <a:lnTo>
                  <a:pt x="202" y="5"/>
                </a:lnTo>
                <a:lnTo>
                  <a:pt x="199" y="7"/>
                </a:lnTo>
                <a:lnTo>
                  <a:pt x="188" y="12"/>
                </a:lnTo>
                <a:lnTo>
                  <a:pt x="182" y="18"/>
                </a:lnTo>
                <a:lnTo>
                  <a:pt x="177" y="21"/>
                </a:lnTo>
                <a:lnTo>
                  <a:pt x="171" y="28"/>
                </a:lnTo>
                <a:lnTo>
                  <a:pt x="168" y="32"/>
                </a:lnTo>
                <a:lnTo>
                  <a:pt x="162" y="40"/>
                </a:lnTo>
                <a:lnTo>
                  <a:pt x="155" y="46"/>
                </a:lnTo>
                <a:lnTo>
                  <a:pt x="150" y="51"/>
                </a:lnTo>
                <a:lnTo>
                  <a:pt x="146" y="61"/>
                </a:lnTo>
                <a:lnTo>
                  <a:pt x="143" y="63"/>
                </a:lnTo>
                <a:lnTo>
                  <a:pt x="141" y="64"/>
                </a:lnTo>
                <a:lnTo>
                  <a:pt x="138" y="64"/>
                </a:lnTo>
                <a:lnTo>
                  <a:pt x="131" y="67"/>
                </a:lnTo>
                <a:lnTo>
                  <a:pt x="127" y="67"/>
                </a:lnTo>
                <a:lnTo>
                  <a:pt x="120" y="62"/>
                </a:lnTo>
                <a:lnTo>
                  <a:pt x="117" y="61"/>
                </a:lnTo>
                <a:lnTo>
                  <a:pt x="113" y="60"/>
                </a:lnTo>
                <a:lnTo>
                  <a:pt x="110" y="62"/>
                </a:lnTo>
                <a:lnTo>
                  <a:pt x="105" y="68"/>
                </a:lnTo>
                <a:lnTo>
                  <a:pt x="102" y="70"/>
                </a:lnTo>
                <a:lnTo>
                  <a:pt x="101" y="72"/>
                </a:lnTo>
                <a:lnTo>
                  <a:pt x="98" y="76"/>
                </a:lnTo>
                <a:lnTo>
                  <a:pt x="95" y="78"/>
                </a:lnTo>
                <a:lnTo>
                  <a:pt x="94" y="79"/>
                </a:lnTo>
                <a:lnTo>
                  <a:pt x="90" y="84"/>
                </a:lnTo>
                <a:lnTo>
                  <a:pt x="80" y="87"/>
                </a:lnTo>
                <a:lnTo>
                  <a:pt x="76" y="87"/>
                </a:lnTo>
                <a:lnTo>
                  <a:pt x="71" y="86"/>
                </a:lnTo>
                <a:lnTo>
                  <a:pt x="68" y="86"/>
                </a:lnTo>
                <a:lnTo>
                  <a:pt x="67" y="82"/>
                </a:lnTo>
                <a:lnTo>
                  <a:pt x="69" y="77"/>
                </a:lnTo>
                <a:lnTo>
                  <a:pt x="70" y="72"/>
                </a:lnTo>
                <a:lnTo>
                  <a:pt x="70" y="70"/>
                </a:lnTo>
                <a:lnTo>
                  <a:pt x="70" y="66"/>
                </a:lnTo>
                <a:lnTo>
                  <a:pt x="68" y="62"/>
                </a:lnTo>
                <a:lnTo>
                  <a:pt x="65" y="58"/>
                </a:lnTo>
                <a:lnTo>
                  <a:pt x="64" y="56"/>
                </a:lnTo>
                <a:lnTo>
                  <a:pt x="60" y="52"/>
                </a:lnTo>
                <a:lnTo>
                  <a:pt x="59" y="51"/>
                </a:lnTo>
                <a:lnTo>
                  <a:pt x="58" y="49"/>
                </a:lnTo>
                <a:lnTo>
                  <a:pt x="57" y="49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84" name="Freeform 183"/>
          <p:cNvSpPr>
            <a:spLocks/>
          </p:cNvSpPr>
          <p:nvPr/>
        </p:nvSpPr>
        <p:spPr bwMode="auto">
          <a:xfrm>
            <a:off x="4684713" y="2903503"/>
            <a:ext cx="269875" cy="460375"/>
          </a:xfrm>
          <a:custGeom>
            <a:avLst/>
            <a:gdLst>
              <a:gd name="T0" fmla="*/ 27 w 170"/>
              <a:gd name="T1" fmla="*/ 37 h 290"/>
              <a:gd name="T2" fmla="*/ 29 w 170"/>
              <a:gd name="T3" fmla="*/ 44 h 290"/>
              <a:gd name="T4" fmla="*/ 33 w 170"/>
              <a:gd name="T5" fmla="*/ 49 h 290"/>
              <a:gd name="T6" fmla="*/ 32 w 170"/>
              <a:gd name="T7" fmla="*/ 86 h 290"/>
              <a:gd name="T8" fmla="*/ 6 w 170"/>
              <a:gd name="T9" fmla="*/ 150 h 290"/>
              <a:gd name="T10" fmla="*/ 5 w 170"/>
              <a:gd name="T11" fmla="*/ 158 h 290"/>
              <a:gd name="T12" fmla="*/ 1 w 170"/>
              <a:gd name="T13" fmla="*/ 164 h 290"/>
              <a:gd name="T14" fmla="*/ 9 w 170"/>
              <a:gd name="T15" fmla="*/ 168 h 290"/>
              <a:gd name="T16" fmla="*/ 17 w 170"/>
              <a:gd name="T17" fmla="*/ 179 h 290"/>
              <a:gd name="T18" fmla="*/ 25 w 170"/>
              <a:gd name="T19" fmla="*/ 180 h 290"/>
              <a:gd name="T20" fmla="*/ 28 w 170"/>
              <a:gd name="T21" fmla="*/ 186 h 290"/>
              <a:gd name="T22" fmla="*/ 21 w 170"/>
              <a:gd name="T23" fmla="*/ 192 h 290"/>
              <a:gd name="T24" fmla="*/ 23 w 170"/>
              <a:gd name="T25" fmla="*/ 202 h 290"/>
              <a:gd name="T26" fmla="*/ 26 w 170"/>
              <a:gd name="T27" fmla="*/ 215 h 290"/>
              <a:gd name="T28" fmla="*/ 25 w 170"/>
              <a:gd name="T29" fmla="*/ 225 h 290"/>
              <a:gd name="T30" fmla="*/ 32 w 170"/>
              <a:gd name="T31" fmla="*/ 240 h 290"/>
              <a:gd name="T32" fmla="*/ 31 w 170"/>
              <a:gd name="T33" fmla="*/ 245 h 290"/>
              <a:gd name="T34" fmla="*/ 17 w 170"/>
              <a:gd name="T35" fmla="*/ 242 h 290"/>
              <a:gd name="T36" fmla="*/ 13 w 170"/>
              <a:gd name="T37" fmla="*/ 246 h 290"/>
              <a:gd name="T38" fmla="*/ 17 w 170"/>
              <a:gd name="T39" fmla="*/ 259 h 290"/>
              <a:gd name="T40" fmla="*/ 25 w 170"/>
              <a:gd name="T41" fmla="*/ 263 h 290"/>
              <a:gd name="T42" fmla="*/ 31 w 170"/>
              <a:gd name="T43" fmla="*/ 277 h 290"/>
              <a:gd name="T44" fmla="*/ 33 w 170"/>
              <a:gd name="T45" fmla="*/ 289 h 290"/>
              <a:gd name="T46" fmla="*/ 38 w 170"/>
              <a:gd name="T47" fmla="*/ 289 h 290"/>
              <a:gd name="T48" fmla="*/ 42 w 170"/>
              <a:gd name="T49" fmla="*/ 289 h 290"/>
              <a:gd name="T50" fmla="*/ 51 w 170"/>
              <a:gd name="T51" fmla="*/ 286 h 290"/>
              <a:gd name="T52" fmla="*/ 53 w 170"/>
              <a:gd name="T53" fmla="*/ 282 h 290"/>
              <a:gd name="T54" fmla="*/ 56 w 170"/>
              <a:gd name="T55" fmla="*/ 285 h 290"/>
              <a:gd name="T56" fmla="*/ 60 w 170"/>
              <a:gd name="T57" fmla="*/ 287 h 290"/>
              <a:gd name="T58" fmla="*/ 65 w 170"/>
              <a:gd name="T59" fmla="*/ 285 h 290"/>
              <a:gd name="T60" fmla="*/ 73 w 170"/>
              <a:gd name="T61" fmla="*/ 279 h 290"/>
              <a:gd name="T62" fmla="*/ 80 w 170"/>
              <a:gd name="T63" fmla="*/ 278 h 290"/>
              <a:gd name="T64" fmla="*/ 88 w 170"/>
              <a:gd name="T65" fmla="*/ 276 h 290"/>
              <a:gd name="T66" fmla="*/ 91 w 170"/>
              <a:gd name="T67" fmla="*/ 273 h 290"/>
              <a:gd name="T68" fmla="*/ 94 w 170"/>
              <a:gd name="T69" fmla="*/ 269 h 290"/>
              <a:gd name="T70" fmla="*/ 91 w 170"/>
              <a:gd name="T71" fmla="*/ 263 h 290"/>
              <a:gd name="T72" fmla="*/ 96 w 170"/>
              <a:gd name="T73" fmla="*/ 261 h 290"/>
              <a:gd name="T74" fmla="*/ 106 w 170"/>
              <a:gd name="T75" fmla="*/ 260 h 290"/>
              <a:gd name="T76" fmla="*/ 112 w 170"/>
              <a:gd name="T77" fmla="*/ 259 h 290"/>
              <a:gd name="T78" fmla="*/ 117 w 170"/>
              <a:gd name="T79" fmla="*/ 258 h 290"/>
              <a:gd name="T80" fmla="*/ 123 w 170"/>
              <a:gd name="T81" fmla="*/ 252 h 290"/>
              <a:gd name="T82" fmla="*/ 130 w 170"/>
              <a:gd name="T83" fmla="*/ 242 h 290"/>
              <a:gd name="T84" fmla="*/ 134 w 170"/>
              <a:gd name="T85" fmla="*/ 238 h 290"/>
              <a:gd name="T86" fmla="*/ 138 w 170"/>
              <a:gd name="T87" fmla="*/ 229 h 290"/>
              <a:gd name="T88" fmla="*/ 146 w 170"/>
              <a:gd name="T89" fmla="*/ 226 h 290"/>
              <a:gd name="T90" fmla="*/ 153 w 170"/>
              <a:gd name="T91" fmla="*/ 222 h 290"/>
              <a:gd name="T92" fmla="*/ 151 w 170"/>
              <a:gd name="T93" fmla="*/ 216 h 290"/>
              <a:gd name="T94" fmla="*/ 146 w 170"/>
              <a:gd name="T95" fmla="*/ 202 h 290"/>
              <a:gd name="T96" fmla="*/ 140 w 170"/>
              <a:gd name="T97" fmla="*/ 194 h 290"/>
              <a:gd name="T98" fmla="*/ 138 w 170"/>
              <a:gd name="T99" fmla="*/ 189 h 290"/>
              <a:gd name="T100" fmla="*/ 140 w 170"/>
              <a:gd name="T101" fmla="*/ 180 h 290"/>
              <a:gd name="T102" fmla="*/ 141 w 170"/>
              <a:gd name="T103" fmla="*/ 171 h 290"/>
              <a:gd name="T104" fmla="*/ 144 w 170"/>
              <a:gd name="T105" fmla="*/ 168 h 290"/>
              <a:gd name="T106" fmla="*/ 148 w 170"/>
              <a:gd name="T107" fmla="*/ 155 h 290"/>
              <a:gd name="T108" fmla="*/ 152 w 170"/>
              <a:gd name="T109" fmla="*/ 142 h 290"/>
              <a:gd name="T110" fmla="*/ 157 w 170"/>
              <a:gd name="T111" fmla="*/ 139 h 290"/>
              <a:gd name="T112" fmla="*/ 170 w 170"/>
              <a:gd name="T113" fmla="*/ 138 h 290"/>
              <a:gd name="T114" fmla="*/ 169 w 170"/>
              <a:gd name="T115" fmla="*/ 88 h 290"/>
              <a:gd name="T116" fmla="*/ 151 w 170"/>
              <a:gd name="T117" fmla="*/ 63 h 290"/>
              <a:gd name="T118" fmla="*/ 110 w 170"/>
              <a:gd name="T119" fmla="*/ 39 h 290"/>
              <a:gd name="T120" fmla="*/ 70 w 170"/>
              <a:gd name="T121" fmla="*/ 17 h 290"/>
              <a:gd name="T122" fmla="*/ 39 w 170"/>
              <a:gd name="T123" fmla="*/ 0 h 290"/>
              <a:gd name="T124" fmla="*/ 25 w 170"/>
              <a:gd name="T125" fmla="*/ 33 h 2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70" h="290">
                <a:moveTo>
                  <a:pt x="25" y="33"/>
                </a:moveTo>
                <a:lnTo>
                  <a:pt x="25" y="34"/>
                </a:lnTo>
                <a:lnTo>
                  <a:pt x="27" y="37"/>
                </a:lnTo>
                <a:lnTo>
                  <a:pt x="27" y="38"/>
                </a:lnTo>
                <a:lnTo>
                  <a:pt x="28" y="40"/>
                </a:lnTo>
                <a:lnTo>
                  <a:pt x="29" y="44"/>
                </a:lnTo>
                <a:lnTo>
                  <a:pt x="30" y="46"/>
                </a:lnTo>
                <a:lnTo>
                  <a:pt x="31" y="48"/>
                </a:lnTo>
                <a:lnTo>
                  <a:pt x="33" y="49"/>
                </a:lnTo>
                <a:lnTo>
                  <a:pt x="40" y="54"/>
                </a:lnTo>
                <a:lnTo>
                  <a:pt x="37" y="60"/>
                </a:lnTo>
                <a:lnTo>
                  <a:pt x="32" y="86"/>
                </a:lnTo>
                <a:lnTo>
                  <a:pt x="31" y="117"/>
                </a:lnTo>
                <a:lnTo>
                  <a:pt x="31" y="119"/>
                </a:lnTo>
                <a:lnTo>
                  <a:pt x="6" y="150"/>
                </a:lnTo>
                <a:lnTo>
                  <a:pt x="6" y="154"/>
                </a:lnTo>
                <a:lnTo>
                  <a:pt x="5" y="155"/>
                </a:lnTo>
                <a:lnTo>
                  <a:pt x="5" y="158"/>
                </a:lnTo>
                <a:lnTo>
                  <a:pt x="2" y="158"/>
                </a:lnTo>
                <a:lnTo>
                  <a:pt x="0" y="160"/>
                </a:lnTo>
                <a:lnTo>
                  <a:pt x="1" y="164"/>
                </a:lnTo>
                <a:lnTo>
                  <a:pt x="6" y="165"/>
                </a:lnTo>
                <a:lnTo>
                  <a:pt x="7" y="167"/>
                </a:lnTo>
                <a:lnTo>
                  <a:pt x="9" y="168"/>
                </a:lnTo>
                <a:lnTo>
                  <a:pt x="11" y="171"/>
                </a:lnTo>
                <a:lnTo>
                  <a:pt x="12" y="178"/>
                </a:lnTo>
                <a:lnTo>
                  <a:pt x="17" y="179"/>
                </a:lnTo>
                <a:lnTo>
                  <a:pt x="21" y="178"/>
                </a:lnTo>
                <a:lnTo>
                  <a:pt x="22" y="179"/>
                </a:lnTo>
                <a:lnTo>
                  <a:pt x="25" y="180"/>
                </a:lnTo>
                <a:lnTo>
                  <a:pt x="27" y="179"/>
                </a:lnTo>
                <a:lnTo>
                  <a:pt x="29" y="184"/>
                </a:lnTo>
                <a:lnTo>
                  <a:pt x="28" y="186"/>
                </a:lnTo>
                <a:lnTo>
                  <a:pt x="28" y="188"/>
                </a:lnTo>
                <a:lnTo>
                  <a:pt x="26" y="190"/>
                </a:lnTo>
                <a:lnTo>
                  <a:pt x="21" y="192"/>
                </a:lnTo>
                <a:lnTo>
                  <a:pt x="21" y="192"/>
                </a:lnTo>
                <a:lnTo>
                  <a:pt x="21" y="194"/>
                </a:lnTo>
                <a:lnTo>
                  <a:pt x="23" y="202"/>
                </a:lnTo>
                <a:lnTo>
                  <a:pt x="25" y="206"/>
                </a:lnTo>
                <a:lnTo>
                  <a:pt x="26" y="208"/>
                </a:lnTo>
                <a:lnTo>
                  <a:pt x="26" y="215"/>
                </a:lnTo>
                <a:lnTo>
                  <a:pt x="26" y="218"/>
                </a:lnTo>
                <a:lnTo>
                  <a:pt x="25" y="221"/>
                </a:lnTo>
                <a:lnTo>
                  <a:pt x="25" y="225"/>
                </a:lnTo>
                <a:lnTo>
                  <a:pt x="27" y="231"/>
                </a:lnTo>
                <a:lnTo>
                  <a:pt x="31" y="238"/>
                </a:lnTo>
                <a:lnTo>
                  <a:pt x="32" y="240"/>
                </a:lnTo>
                <a:lnTo>
                  <a:pt x="32" y="242"/>
                </a:lnTo>
                <a:lnTo>
                  <a:pt x="32" y="243"/>
                </a:lnTo>
                <a:lnTo>
                  <a:pt x="31" y="245"/>
                </a:lnTo>
                <a:lnTo>
                  <a:pt x="26" y="243"/>
                </a:lnTo>
                <a:lnTo>
                  <a:pt x="21" y="242"/>
                </a:lnTo>
                <a:lnTo>
                  <a:pt x="17" y="242"/>
                </a:lnTo>
                <a:lnTo>
                  <a:pt x="16" y="243"/>
                </a:lnTo>
                <a:lnTo>
                  <a:pt x="15" y="243"/>
                </a:lnTo>
                <a:lnTo>
                  <a:pt x="13" y="246"/>
                </a:lnTo>
                <a:lnTo>
                  <a:pt x="13" y="251"/>
                </a:lnTo>
                <a:lnTo>
                  <a:pt x="13" y="255"/>
                </a:lnTo>
                <a:lnTo>
                  <a:pt x="17" y="259"/>
                </a:lnTo>
                <a:lnTo>
                  <a:pt x="19" y="261"/>
                </a:lnTo>
                <a:lnTo>
                  <a:pt x="21" y="262"/>
                </a:lnTo>
                <a:lnTo>
                  <a:pt x="25" y="263"/>
                </a:lnTo>
                <a:lnTo>
                  <a:pt x="26" y="265"/>
                </a:lnTo>
                <a:lnTo>
                  <a:pt x="28" y="267"/>
                </a:lnTo>
                <a:lnTo>
                  <a:pt x="31" y="277"/>
                </a:lnTo>
                <a:lnTo>
                  <a:pt x="32" y="282"/>
                </a:lnTo>
                <a:lnTo>
                  <a:pt x="32" y="288"/>
                </a:lnTo>
                <a:lnTo>
                  <a:pt x="33" y="289"/>
                </a:lnTo>
                <a:lnTo>
                  <a:pt x="35" y="290"/>
                </a:lnTo>
                <a:lnTo>
                  <a:pt x="36" y="289"/>
                </a:lnTo>
                <a:lnTo>
                  <a:pt x="38" y="289"/>
                </a:lnTo>
                <a:lnTo>
                  <a:pt x="39" y="288"/>
                </a:lnTo>
                <a:lnTo>
                  <a:pt x="41" y="288"/>
                </a:lnTo>
                <a:lnTo>
                  <a:pt x="42" y="289"/>
                </a:lnTo>
                <a:lnTo>
                  <a:pt x="45" y="289"/>
                </a:lnTo>
                <a:lnTo>
                  <a:pt x="47" y="286"/>
                </a:lnTo>
                <a:lnTo>
                  <a:pt x="51" y="286"/>
                </a:lnTo>
                <a:lnTo>
                  <a:pt x="51" y="283"/>
                </a:lnTo>
                <a:lnTo>
                  <a:pt x="52" y="282"/>
                </a:lnTo>
                <a:lnTo>
                  <a:pt x="53" y="282"/>
                </a:lnTo>
                <a:lnTo>
                  <a:pt x="53" y="282"/>
                </a:lnTo>
                <a:lnTo>
                  <a:pt x="55" y="282"/>
                </a:lnTo>
                <a:lnTo>
                  <a:pt x="56" y="285"/>
                </a:lnTo>
                <a:lnTo>
                  <a:pt x="57" y="285"/>
                </a:lnTo>
                <a:lnTo>
                  <a:pt x="59" y="288"/>
                </a:lnTo>
                <a:lnTo>
                  <a:pt x="60" y="287"/>
                </a:lnTo>
                <a:lnTo>
                  <a:pt x="60" y="286"/>
                </a:lnTo>
                <a:lnTo>
                  <a:pt x="63" y="285"/>
                </a:lnTo>
                <a:lnTo>
                  <a:pt x="65" y="285"/>
                </a:lnTo>
                <a:lnTo>
                  <a:pt x="66" y="283"/>
                </a:lnTo>
                <a:lnTo>
                  <a:pt x="67" y="282"/>
                </a:lnTo>
                <a:lnTo>
                  <a:pt x="73" y="279"/>
                </a:lnTo>
                <a:lnTo>
                  <a:pt x="76" y="280"/>
                </a:lnTo>
                <a:lnTo>
                  <a:pt x="78" y="280"/>
                </a:lnTo>
                <a:lnTo>
                  <a:pt x="80" y="278"/>
                </a:lnTo>
                <a:lnTo>
                  <a:pt x="87" y="278"/>
                </a:lnTo>
                <a:lnTo>
                  <a:pt x="87" y="278"/>
                </a:lnTo>
                <a:lnTo>
                  <a:pt x="88" y="276"/>
                </a:lnTo>
                <a:lnTo>
                  <a:pt x="88" y="275"/>
                </a:lnTo>
                <a:lnTo>
                  <a:pt x="90" y="275"/>
                </a:lnTo>
                <a:lnTo>
                  <a:pt x="91" y="273"/>
                </a:lnTo>
                <a:lnTo>
                  <a:pt x="92" y="271"/>
                </a:lnTo>
                <a:lnTo>
                  <a:pt x="93" y="270"/>
                </a:lnTo>
                <a:lnTo>
                  <a:pt x="94" y="269"/>
                </a:lnTo>
                <a:lnTo>
                  <a:pt x="93" y="266"/>
                </a:lnTo>
                <a:lnTo>
                  <a:pt x="91" y="265"/>
                </a:lnTo>
                <a:lnTo>
                  <a:pt x="91" y="263"/>
                </a:lnTo>
                <a:lnTo>
                  <a:pt x="92" y="262"/>
                </a:lnTo>
                <a:lnTo>
                  <a:pt x="92" y="262"/>
                </a:lnTo>
                <a:lnTo>
                  <a:pt x="96" y="261"/>
                </a:lnTo>
                <a:lnTo>
                  <a:pt x="99" y="260"/>
                </a:lnTo>
                <a:lnTo>
                  <a:pt x="104" y="260"/>
                </a:lnTo>
                <a:lnTo>
                  <a:pt x="106" y="260"/>
                </a:lnTo>
                <a:lnTo>
                  <a:pt x="108" y="259"/>
                </a:lnTo>
                <a:lnTo>
                  <a:pt x="110" y="259"/>
                </a:lnTo>
                <a:lnTo>
                  <a:pt x="112" y="259"/>
                </a:lnTo>
                <a:lnTo>
                  <a:pt x="113" y="259"/>
                </a:lnTo>
                <a:lnTo>
                  <a:pt x="116" y="258"/>
                </a:lnTo>
                <a:lnTo>
                  <a:pt x="117" y="258"/>
                </a:lnTo>
                <a:lnTo>
                  <a:pt x="118" y="255"/>
                </a:lnTo>
                <a:lnTo>
                  <a:pt x="120" y="255"/>
                </a:lnTo>
                <a:lnTo>
                  <a:pt x="123" y="252"/>
                </a:lnTo>
                <a:lnTo>
                  <a:pt x="124" y="251"/>
                </a:lnTo>
                <a:lnTo>
                  <a:pt x="126" y="248"/>
                </a:lnTo>
                <a:lnTo>
                  <a:pt x="130" y="242"/>
                </a:lnTo>
                <a:lnTo>
                  <a:pt x="131" y="242"/>
                </a:lnTo>
                <a:lnTo>
                  <a:pt x="132" y="241"/>
                </a:lnTo>
                <a:lnTo>
                  <a:pt x="134" y="238"/>
                </a:lnTo>
                <a:lnTo>
                  <a:pt x="136" y="238"/>
                </a:lnTo>
                <a:lnTo>
                  <a:pt x="136" y="232"/>
                </a:lnTo>
                <a:lnTo>
                  <a:pt x="138" y="229"/>
                </a:lnTo>
                <a:lnTo>
                  <a:pt x="139" y="227"/>
                </a:lnTo>
                <a:lnTo>
                  <a:pt x="141" y="226"/>
                </a:lnTo>
                <a:lnTo>
                  <a:pt x="146" y="226"/>
                </a:lnTo>
                <a:lnTo>
                  <a:pt x="148" y="225"/>
                </a:lnTo>
                <a:lnTo>
                  <a:pt x="151" y="224"/>
                </a:lnTo>
                <a:lnTo>
                  <a:pt x="153" y="222"/>
                </a:lnTo>
                <a:lnTo>
                  <a:pt x="153" y="220"/>
                </a:lnTo>
                <a:lnTo>
                  <a:pt x="152" y="217"/>
                </a:lnTo>
                <a:lnTo>
                  <a:pt x="151" y="216"/>
                </a:lnTo>
                <a:lnTo>
                  <a:pt x="150" y="215"/>
                </a:lnTo>
                <a:lnTo>
                  <a:pt x="150" y="214"/>
                </a:lnTo>
                <a:lnTo>
                  <a:pt x="146" y="202"/>
                </a:lnTo>
                <a:lnTo>
                  <a:pt x="144" y="197"/>
                </a:lnTo>
                <a:lnTo>
                  <a:pt x="144" y="192"/>
                </a:lnTo>
                <a:lnTo>
                  <a:pt x="140" y="194"/>
                </a:lnTo>
                <a:lnTo>
                  <a:pt x="139" y="194"/>
                </a:lnTo>
                <a:lnTo>
                  <a:pt x="138" y="194"/>
                </a:lnTo>
                <a:lnTo>
                  <a:pt x="138" y="189"/>
                </a:lnTo>
                <a:lnTo>
                  <a:pt x="138" y="187"/>
                </a:lnTo>
                <a:lnTo>
                  <a:pt x="139" y="184"/>
                </a:lnTo>
                <a:lnTo>
                  <a:pt x="140" y="180"/>
                </a:lnTo>
                <a:lnTo>
                  <a:pt x="140" y="176"/>
                </a:lnTo>
                <a:lnTo>
                  <a:pt x="140" y="172"/>
                </a:lnTo>
                <a:lnTo>
                  <a:pt x="141" y="171"/>
                </a:lnTo>
                <a:lnTo>
                  <a:pt x="143" y="170"/>
                </a:lnTo>
                <a:lnTo>
                  <a:pt x="143" y="169"/>
                </a:lnTo>
                <a:lnTo>
                  <a:pt x="144" y="168"/>
                </a:lnTo>
                <a:lnTo>
                  <a:pt x="143" y="165"/>
                </a:lnTo>
                <a:lnTo>
                  <a:pt x="143" y="161"/>
                </a:lnTo>
                <a:lnTo>
                  <a:pt x="148" y="155"/>
                </a:lnTo>
                <a:lnTo>
                  <a:pt x="151" y="149"/>
                </a:lnTo>
                <a:lnTo>
                  <a:pt x="152" y="146"/>
                </a:lnTo>
                <a:lnTo>
                  <a:pt x="152" y="142"/>
                </a:lnTo>
                <a:lnTo>
                  <a:pt x="153" y="140"/>
                </a:lnTo>
                <a:lnTo>
                  <a:pt x="153" y="139"/>
                </a:lnTo>
                <a:lnTo>
                  <a:pt x="157" y="139"/>
                </a:lnTo>
                <a:lnTo>
                  <a:pt x="160" y="138"/>
                </a:lnTo>
                <a:lnTo>
                  <a:pt x="168" y="138"/>
                </a:lnTo>
                <a:lnTo>
                  <a:pt x="170" y="138"/>
                </a:lnTo>
                <a:lnTo>
                  <a:pt x="170" y="123"/>
                </a:lnTo>
                <a:lnTo>
                  <a:pt x="169" y="105"/>
                </a:lnTo>
                <a:lnTo>
                  <a:pt x="169" y="88"/>
                </a:lnTo>
                <a:lnTo>
                  <a:pt x="168" y="70"/>
                </a:lnTo>
                <a:lnTo>
                  <a:pt x="165" y="70"/>
                </a:lnTo>
                <a:lnTo>
                  <a:pt x="151" y="63"/>
                </a:lnTo>
                <a:lnTo>
                  <a:pt x="138" y="55"/>
                </a:lnTo>
                <a:lnTo>
                  <a:pt x="124" y="47"/>
                </a:lnTo>
                <a:lnTo>
                  <a:pt x="110" y="39"/>
                </a:lnTo>
                <a:lnTo>
                  <a:pt x="97" y="31"/>
                </a:lnTo>
                <a:lnTo>
                  <a:pt x="83" y="24"/>
                </a:lnTo>
                <a:lnTo>
                  <a:pt x="70" y="17"/>
                </a:lnTo>
                <a:lnTo>
                  <a:pt x="56" y="9"/>
                </a:lnTo>
                <a:lnTo>
                  <a:pt x="42" y="2"/>
                </a:lnTo>
                <a:lnTo>
                  <a:pt x="39" y="0"/>
                </a:lnTo>
                <a:lnTo>
                  <a:pt x="26" y="5"/>
                </a:lnTo>
                <a:lnTo>
                  <a:pt x="23" y="6"/>
                </a:lnTo>
                <a:lnTo>
                  <a:pt x="25" y="3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85" name="Freeform 184"/>
          <p:cNvSpPr>
            <a:spLocks/>
          </p:cNvSpPr>
          <p:nvPr/>
        </p:nvSpPr>
        <p:spPr bwMode="auto">
          <a:xfrm>
            <a:off x="4684713" y="2903503"/>
            <a:ext cx="269875" cy="460375"/>
          </a:xfrm>
          <a:custGeom>
            <a:avLst/>
            <a:gdLst>
              <a:gd name="T0" fmla="*/ 27 w 170"/>
              <a:gd name="T1" fmla="*/ 37 h 290"/>
              <a:gd name="T2" fmla="*/ 29 w 170"/>
              <a:gd name="T3" fmla="*/ 44 h 290"/>
              <a:gd name="T4" fmla="*/ 33 w 170"/>
              <a:gd name="T5" fmla="*/ 49 h 290"/>
              <a:gd name="T6" fmla="*/ 32 w 170"/>
              <a:gd name="T7" fmla="*/ 86 h 290"/>
              <a:gd name="T8" fmla="*/ 6 w 170"/>
              <a:gd name="T9" fmla="*/ 150 h 290"/>
              <a:gd name="T10" fmla="*/ 5 w 170"/>
              <a:gd name="T11" fmla="*/ 158 h 290"/>
              <a:gd name="T12" fmla="*/ 1 w 170"/>
              <a:gd name="T13" fmla="*/ 164 h 290"/>
              <a:gd name="T14" fmla="*/ 9 w 170"/>
              <a:gd name="T15" fmla="*/ 168 h 290"/>
              <a:gd name="T16" fmla="*/ 17 w 170"/>
              <a:gd name="T17" fmla="*/ 179 h 290"/>
              <a:gd name="T18" fmla="*/ 25 w 170"/>
              <a:gd name="T19" fmla="*/ 180 h 290"/>
              <a:gd name="T20" fmla="*/ 28 w 170"/>
              <a:gd name="T21" fmla="*/ 186 h 290"/>
              <a:gd name="T22" fmla="*/ 21 w 170"/>
              <a:gd name="T23" fmla="*/ 192 h 290"/>
              <a:gd name="T24" fmla="*/ 23 w 170"/>
              <a:gd name="T25" fmla="*/ 202 h 290"/>
              <a:gd name="T26" fmla="*/ 26 w 170"/>
              <a:gd name="T27" fmla="*/ 215 h 290"/>
              <a:gd name="T28" fmla="*/ 25 w 170"/>
              <a:gd name="T29" fmla="*/ 225 h 290"/>
              <a:gd name="T30" fmla="*/ 32 w 170"/>
              <a:gd name="T31" fmla="*/ 240 h 290"/>
              <a:gd name="T32" fmla="*/ 31 w 170"/>
              <a:gd name="T33" fmla="*/ 245 h 290"/>
              <a:gd name="T34" fmla="*/ 17 w 170"/>
              <a:gd name="T35" fmla="*/ 242 h 290"/>
              <a:gd name="T36" fmla="*/ 13 w 170"/>
              <a:gd name="T37" fmla="*/ 246 h 290"/>
              <a:gd name="T38" fmla="*/ 17 w 170"/>
              <a:gd name="T39" fmla="*/ 259 h 290"/>
              <a:gd name="T40" fmla="*/ 25 w 170"/>
              <a:gd name="T41" fmla="*/ 263 h 290"/>
              <a:gd name="T42" fmla="*/ 31 w 170"/>
              <a:gd name="T43" fmla="*/ 277 h 290"/>
              <a:gd name="T44" fmla="*/ 33 w 170"/>
              <a:gd name="T45" fmla="*/ 289 h 290"/>
              <a:gd name="T46" fmla="*/ 38 w 170"/>
              <a:gd name="T47" fmla="*/ 289 h 290"/>
              <a:gd name="T48" fmla="*/ 42 w 170"/>
              <a:gd name="T49" fmla="*/ 289 h 290"/>
              <a:gd name="T50" fmla="*/ 51 w 170"/>
              <a:gd name="T51" fmla="*/ 286 h 290"/>
              <a:gd name="T52" fmla="*/ 53 w 170"/>
              <a:gd name="T53" fmla="*/ 282 h 290"/>
              <a:gd name="T54" fmla="*/ 56 w 170"/>
              <a:gd name="T55" fmla="*/ 285 h 290"/>
              <a:gd name="T56" fmla="*/ 60 w 170"/>
              <a:gd name="T57" fmla="*/ 287 h 290"/>
              <a:gd name="T58" fmla="*/ 65 w 170"/>
              <a:gd name="T59" fmla="*/ 285 h 290"/>
              <a:gd name="T60" fmla="*/ 73 w 170"/>
              <a:gd name="T61" fmla="*/ 279 h 290"/>
              <a:gd name="T62" fmla="*/ 80 w 170"/>
              <a:gd name="T63" fmla="*/ 278 h 290"/>
              <a:gd name="T64" fmla="*/ 88 w 170"/>
              <a:gd name="T65" fmla="*/ 276 h 290"/>
              <a:gd name="T66" fmla="*/ 91 w 170"/>
              <a:gd name="T67" fmla="*/ 273 h 290"/>
              <a:gd name="T68" fmla="*/ 94 w 170"/>
              <a:gd name="T69" fmla="*/ 269 h 290"/>
              <a:gd name="T70" fmla="*/ 91 w 170"/>
              <a:gd name="T71" fmla="*/ 263 h 290"/>
              <a:gd name="T72" fmla="*/ 96 w 170"/>
              <a:gd name="T73" fmla="*/ 261 h 290"/>
              <a:gd name="T74" fmla="*/ 106 w 170"/>
              <a:gd name="T75" fmla="*/ 260 h 290"/>
              <a:gd name="T76" fmla="*/ 112 w 170"/>
              <a:gd name="T77" fmla="*/ 259 h 290"/>
              <a:gd name="T78" fmla="*/ 117 w 170"/>
              <a:gd name="T79" fmla="*/ 258 h 290"/>
              <a:gd name="T80" fmla="*/ 123 w 170"/>
              <a:gd name="T81" fmla="*/ 252 h 290"/>
              <a:gd name="T82" fmla="*/ 130 w 170"/>
              <a:gd name="T83" fmla="*/ 242 h 290"/>
              <a:gd name="T84" fmla="*/ 134 w 170"/>
              <a:gd name="T85" fmla="*/ 238 h 290"/>
              <a:gd name="T86" fmla="*/ 138 w 170"/>
              <a:gd name="T87" fmla="*/ 229 h 290"/>
              <a:gd name="T88" fmla="*/ 146 w 170"/>
              <a:gd name="T89" fmla="*/ 226 h 290"/>
              <a:gd name="T90" fmla="*/ 153 w 170"/>
              <a:gd name="T91" fmla="*/ 222 h 290"/>
              <a:gd name="T92" fmla="*/ 151 w 170"/>
              <a:gd name="T93" fmla="*/ 216 h 290"/>
              <a:gd name="T94" fmla="*/ 146 w 170"/>
              <a:gd name="T95" fmla="*/ 202 h 290"/>
              <a:gd name="T96" fmla="*/ 140 w 170"/>
              <a:gd name="T97" fmla="*/ 194 h 290"/>
              <a:gd name="T98" fmla="*/ 138 w 170"/>
              <a:gd name="T99" fmla="*/ 189 h 290"/>
              <a:gd name="T100" fmla="*/ 140 w 170"/>
              <a:gd name="T101" fmla="*/ 180 h 290"/>
              <a:gd name="T102" fmla="*/ 141 w 170"/>
              <a:gd name="T103" fmla="*/ 171 h 290"/>
              <a:gd name="T104" fmla="*/ 144 w 170"/>
              <a:gd name="T105" fmla="*/ 168 h 290"/>
              <a:gd name="T106" fmla="*/ 148 w 170"/>
              <a:gd name="T107" fmla="*/ 155 h 290"/>
              <a:gd name="T108" fmla="*/ 152 w 170"/>
              <a:gd name="T109" fmla="*/ 142 h 290"/>
              <a:gd name="T110" fmla="*/ 157 w 170"/>
              <a:gd name="T111" fmla="*/ 139 h 290"/>
              <a:gd name="T112" fmla="*/ 170 w 170"/>
              <a:gd name="T113" fmla="*/ 138 h 290"/>
              <a:gd name="T114" fmla="*/ 169 w 170"/>
              <a:gd name="T115" fmla="*/ 88 h 290"/>
              <a:gd name="T116" fmla="*/ 151 w 170"/>
              <a:gd name="T117" fmla="*/ 63 h 290"/>
              <a:gd name="T118" fmla="*/ 110 w 170"/>
              <a:gd name="T119" fmla="*/ 39 h 290"/>
              <a:gd name="T120" fmla="*/ 70 w 170"/>
              <a:gd name="T121" fmla="*/ 17 h 290"/>
              <a:gd name="T122" fmla="*/ 39 w 170"/>
              <a:gd name="T123" fmla="*/ 0 h 290"/>
              <a:gd name="T124" fmla="*/ 25 w 170"/>
              <a:gd name="T125" fmla="*/ 33 h 2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70" h="290">
                <a:moveTo>
                  <a:pt x="25" y="33"/>
                </a:moveTo>
                <a:lnTo>
                  <a:pt x="25" y="34"/>
                </a:lnTo>
                <a:lnTo>
                  <a:pt x="27" y="37"/>
                </a:lnTo>
                <a:lnTo>
                  <a:pt x="27" y="38"/>
                </a:lnTo>
                <a:lnTo>
                  <a:pt x="28" y="40"/>
                </a:lnTo>
                <a:lnTo>
                  <a:pt x="29" y="44"/>
                </a:lnTo>
                <a:lnTo>
                  <a:pt x="30" y="46"/>
                </a:lnTo>
                <a:lnTo>
                  <a:pt x="31" y="48"/>
                </a:lnTo>
                <a:lnTo>
                  <a:pt x="33" y="49"/>
                </a:lnTo>
                <a:lnTo>
                  <a:pt x="40" y="54"/>
                </a:lnTo>
                <a:lnTo>
                  <a:pt x="37" y="60"/>
                </a:lnTo>
                <a:lnTo>
                  <a:pt x="32" y="86"/>
                </a:lnTo>
                <a:lnTo>
                  <a:pt x="31" y="117"/>
                </a:lnTo>
                <a:lnTo>
                  <a:pt x="31" y="119"/>
                </a:lnTo>
                <a:lnTo>
                  <a:pt x="6" y="150"/>
                </a:lnTo>
                <a:lnTo>
                  <a:pt x="6" y="154"/>
                </a:lnTo>
                <a:lnTo>
                  <a:pt x="5" y="155"/>
                </a:lnTo>
                <a:lnTo>
                  <a:pt x="5" y="158"/>
                </a:lnTo>
                <a:lnTo>
                  <a:pt x="2" y="158"/>
                </a:lnTo>
                <a:lnTo>
                  <a:pt x="0" y="160"/>
                </a:lnTo>
                <a:lnTo>
                  <a:pt x="1" y="164"/>
                </a:lnTo>
                <a:lnTo>
                  <a:pt x="6" y="165"/>
                </a:lnTo>
                <a:lnTo>
                  <a:pt x="7" y="167"/>
                </a:lnTo>
                <a:lnTo>
                  <a:pt x="9" y="168"/>
                </a:lnTo>
                <a:lnTo>
                  <a:pt x="11" y="171"/>
                </a:lnTo>
                <a:lnTo>
                  <a:pt x="12" y="178"/>
                </a:lnTo>
                <a:lnTo>
                  <a:pt x="17" y="179"/>
                </a:lnTo>
                <a:lnTo>
                  <a:pt x="21" y="178"/>
                </a:lnTo>
                <a:lnTo>
                  <a:pt x="22" y="179"/>
                </a:lnTo>
                <a:lnTo>
                  <a:pt x="25" y="180"/>
                </a:lnTo>
                <a:lnTo>
                  <a:pt x="27" y="179"/>
                </a:lnTo>
                <a:lnTo>
                  <a:pt x="29" y="184"/>
                </a:lnTo>
                <a:lnTo>
                  <a:pt x="28" y="186"/>
                </a:lnTo>
                <a:lnTo>
                  <a:pt x="28" y="188"/>
                </a:lnTo>
                <a:lnTo>
                  <a:pt x="26" y="190"/>
                </a:lnTo>
                <a:lnTo>
                  <a:pt x="21" y="192"/>
                </a:lnTo>
                <a:lnTo>
                  <a:pt x="21" y="192"/>
                </a:lnTo>
                <a:lnTo>
                  <a:pt x="21" y="194"/>
                </a:lnTo>
                <a:lnTo>
                  <a:pt x="23" y="202"/>
                </a:lnTo>
                <a:lnTo>
                  <a:pt x="25" y="206"/>
                </a:lnTo>
                <a:lnTo>
                  <a:pt x="26" y="208"/>
                </a:lnTo>
                <a:lnTo>
                  <a:pt x="26" y="215"/>
                </a:lnTo>
                <a:lnTo>
                  <a:pt x="26" y="218"/>
                </a:lnTo>
                <a:lnTo>
                  <a:pt x="25" y="221"/>
                </a:lnTo>
                <a:lnTo>
                  <a:pt x="25" y="225"/>
                </a:lnTo>
                <a:lnTo>
                  <a:pt x="27" y="231"/>
                </a:lnTo>
                <a:lnTo>
                  <a:pt x="31" y="238"/>
                </a:lnTo>
                <a:lnTo>
                  <a:pt x="32" y="240"/>
                </a:lnTo>
                <a:lnTo>
                  <a:pt x="32" y="242"/>
                </a:lnTo>
                <a:lnTo>
                  <a:pt x="32" y="243"/>
                </a:lnTo>
                <a:lnTo>
                  <a:pt x="31" y="245"/>
                </a:lnTo>
                <a:lnTo>
                  <a:pt x="26" y="243"/>
                </a:lnTo>
                <a:lnTo>
                  <a:pt x="21" y="242"/>
                </a:lnTo>
                <a:lnTo>
                  <a:pt x="17" y="242"/>
                </a:lnTo>
                <a:lnTo>
                  <a:pt x="16" y="243"/>
                </a:lnTo>
                <a:lnTo>
                  <a:pt x="15" y="243"/>
                </a:lnTo>
                <a:lnTo>
                  <a:pt x="13" y="246"/>
                </a:lnTo>
                <a:lnTo>
                  <a:pt x="13" y="251"/>
                </a:lnTo>
                <a:lnTo>
                  <a:pt x="13" y="255"/>
                </a:lnTo>
                <a:lnTo>
                  <a:pt x="17" y="259"/>
                </a:lnTo>
                <a:lnTo>
                  <a:pt x="19" y="261"/>
                </a:lnTo>
                <a:lnTo>
                  <a:pt x="21" y="262"/>
                </a:lnTo>
                <a:lnTo>
                  <a:pt x="25" y="263"/>
                </a:lnTo>
                <a:lnTo>
                  <a:pt x="26" y="265"/>
                </a:lnTo>
                <a:lnTo>
                  <a:pt x="28" y="267"/>
                </a:lnTo>
                <a:lnTo>
                  <a:pt x="31" y="277"/>
                </a:lnTo>
                <a:lnTo>
                  <a:pt x="32" y="282"/>
                </a:lnTo>
                <a:lnTo>
                  <a:pt x="32" y="288"/>
                </a:lnTo>
                <a:lnTo>
                  <a:pt x="33" y="289"/>
                </a:lnTo>
                <a:lnTo>
                  <a:pt x="35" y="290"/>
                </a:lnTo>
                <a:lnTo>
                  <a:pt x="36" y="289"/>
                </a:lnTo>
                <a:lnTo>
                  <a:pt x="38" y="289"/>
                </a:lnTo>
                <a:lnTo>
                  <a:pt x="39" y="288"/>
                </a:lnTo>
                <a:lnTo>
                  <a:pt x="41" y="288"/>
                </a:lnTo>
                <a:lnTo>
                  <a:pt x="42" y="289"/>
                </a:lnTo>
                <a:lnTo>
                  <a:pt x="45" y="289"/>
                </a:lnTo>
                <a:lnTo>
                  <a:pt x="47" y="286"/>
                </a:lnTo>
                <a:lnTo>
                  <a:pt x="51" y="286"/>
                </a:lnTo>
                <a:lnTo>
                  <a:pt x="51" y="283"/>
                </a:lnTo>
                <a:lnTo>
                  <a:pt x="52" y="282"/>
                </a:lnTo>
                <a:lnTo>
                  <a:pt x="53" y="282"/>
                </a:lnTo>
                <a:lnTo>
                  <a:pt x="53" y="282"/>
                </a:lnTo>
                <a:lnTo>
                  <a:pt x="55" y="282"/>
                </a:lnTo>
                <a:lnTo>
                  <a:pt x="56" y="285"/>
                </a:lnTo>
                <a:lnTo>
                  <a:pt x="57" y="285"/>
                </a:lnTo>
                <a:lnTo>
                  <a:pt x="59" y="288"/>
                </a:lnTo>
                <a:lnTo>
                  <a:pt x="60" y="287"/>
                </a:lnTo>
                <a:lnTo>
                  <a:pt x="60" y="286"/>
                </a:lnTo>
                <a:lnTo>
                  <a:pt x="63" y="285"/>
                </a:lnTo>
                <a:lnTo>
                  <a:pt x="65" y="285"/>
                </a:lnTo>
                <a:lnTo>
                  <a:pt x="66" y="283"/>
                </a:lnTo>
                <a:lnTo>
                  <a:pt x="67" y="282"/>
                </a:lnTo>
                <a:lnTo>
                  <a:pt x="73" y="279"/>
                </a:lnTo>
                <a:lnTo>
                  <a:pt x="76" y="280"/>
                </a:lnTo>
                <a:lnTo>
                  <a:pt x="78" y="280"/>
                </a:lnTo>
                <a:lnTo>
                  <a:pt x="80" y="278"/>
                </a:lnTo>
                <a:lnTo>
                  <a:pt x="87" y="278"/>
                </a:lnTo>
                <a:lnTo>
                  <a:pt x="87" y="278"/>
                </a:lnTo>
                <a:lnTo>
                  <a:pt x="88" y="276"/>
                </a:lnTo>
                <a:lnTo>
                  <a:pt x="88" y="275"/>
                </a:lnTo>
                <a:lnTo>
                  <a:pt x="90" y="275"/>
                </a:lnTo>
                <a:lnTo>
                  <a:pt x="91" y="273"/>
                </a:lnTo>
                <a:lnTo>
                  <a:pt x="92" y="271"/>
                </a:lnTo>
                <a:lnTo>
                  <a:pt x="93" y="270"/>
                </a:lnTo>
                <a:lnTo>
                  <a:pt x="94" y="269"/>
                </a:lnTo>
                <a:lnTo>
                  <a:pt x="93" y="266"/>
                </a:lnTo>
                <a:lnTo>
                  <a:pt x="91" y="265"/>
                </a:lnTo>
                <a:lnTo>
                  <a:pt x="91" y="263"/>
                </a:lnTo>
                <a:lnTo>
                  <a:pt x="92" y="262"/>
                </a:lnTo>
                <a:lnTo>
                  <a:pt x="92" y="262"/>
                </a:lnTo>
                <a:lnTo>
                  <a:pt x="96" y="261"/>
                </a:lnTo>
                <a:lnTo>
                  <a:pt x="99" y="260"/>
                </a:lnTo>
                <a:lnTo>
                  <a:pt x="104" y="260"/>
                </a:lnTo>
                <a:lnTo>
                  <a:pt x="106" y="260"/>
                </a:lnTo>
                <a:lnTo>
                  <a:pt x="108" y="259"/>
                </a:lnTo>
                <a:lnTo>
                  <a:pt x="110" y="259"/>
                </a:lnTo>
                <a:lnTo>
                  <a:pt x="112" y="259"/>
                </a:lnTo>
                <a:lnTo>
                  <a:pt x="113" y="259"/>
                </a:lnTo>
                <a:lnTo>
                  <a:pt x="116" y="258"/>
                </a:lnTo>
                <a:lnTo>
                  <a:pt x="117" y="258"/>
                </a:lnTo>
                <a:lnTo>
                  <a:pt x="118" y="255"/>
                </a:lnTo>
                <a:lnTo>
                  <a:pt x="120" y="255"/>
                </a:lnTo>
                <a:lnTo>
                  <a:pt x="123" y="252"/>
                </a:lnTo>
                <a:lnTo>
                  <a:pt x="124" y="251"/>
                </a:lnTo>
                <a:lnTo>
                  <a:pt x="126" y="248"/>
                </a:lnTo>
                <a:lnTo>
                  <a:pt x="130" y="242"/>
                </a:lnTo>
                <a:lnTo>
                  <a:pt x="131" y="242"/>
                </a:lnTo>
                <a:lnTo>
                  <a:pt x="132" y="241"/>
                </a:lnTo>
                <a:lnTo>
                  <a:pt x="134" y="238"/>
                </a:lnTo>
                <a:lnTo>
                  <a:pt x="136" y="238"/>
                </a:lnTo>
                <a:lnTo>
                  <a:pt x="136" y="232"/>
                </a:lnTo>
                <a:lnTo>
                  <a:pt x="138" y="229"/>
                </a:lnTo>
                <a:lnTo>
                  <a:pt x="139" y="227"/>
                </a:lnTo>
                <a:lnTo>
                  <a:pt x="141" y="226"/>
                </a:lnTo>
                <a:lnTo>
                  <a:pt x="146" y="226"/>
                </a:lnTo>
                <a:lnTo>
                  <a:pt x="148" y="225"/>
                </a:lnTo>
                <a:lnTo>
                  <a:pt x="151" y="224"/>
                </a:lnTo>
                <a:lnTo>
                  <a:pt x="153" y="222"/>
                </a:lnTo>
                <a:lnTo>
                  <a:pt x="153" y="220"/>
                </a:lnTo>
                <a:lnTo>
                  <a:pt x="152" y="217"/>
                </a:lnTo>
                <a:lnTo>
                  <a:pt x="151" y="216"/>
                </a:lnTo>
                <a:lnTo>
                  <a:pt x="150" y="215"/>
                </a:lnTo>
                <a:lnTo>
                  <a:pt x="150" y="214"/>
                </a:lnTo>
                <a:lnTo>
                  <a:pt x="146" y="202"/>
                </a:lnTo>
                <a:lnTo>
                  <a:pt x="144" y="197"/>
                </a:lnTo>
                <a:lnTo>
                  <a:pt x="144" y="192"/>
                </a:lnTo>
                <a:lnTo>
                  <a:pt x="140" y="194"/>
                </a:lnTo>
                <a:lnTo>
                  <a:pt x="139" y="194"/>
                </a:lnTo>
                <a:lnTo>
                  <a:pt x="138" y="194"/>
                </a:lnTo>
                <a:lnTo>
                  <a:pt x="138" y="189"/>
                </a:lnTo>
                <a:lnTo>
                  <a:pt x="138" y="187"/>
                </a:lnTo>
                <a:lnTo>
                  <a:pt x="139" y="184"/>
                </a:lnTo>
                <a:lnTo>
                  <a:pt x="140" y="180"/>
                </a:lnTo>
                <a:lnTo>
                  <a:pt x="140" y="176"/>
                </a:lnTo>
                <a:lnTo>
                  <a:pt x="140" y="172"/>
                </a:lnTo>
                <a:lnTo>
                  <a:pt x="141" y="171"/>
                </a:lnTo>
                <a:lnTo>
                  <a:pt x="143" y="170"/>
                </a:lnTo>
                <a:lnTo>
                  <a:pt x="143" y="169"/>
                </a:lnTo>
                <a:lnTo>
                  <a:pt x="144" y="168"/>
                </a:lnTo>
                <a:lnTo>
                  <a:pt x="143" y="165"/>
                </a:lnTo>
                <a:lnTo>
                  <a:pt x="143" y="161"/>
                </a:lnTo>
                <a:lnTo>
                  <a:pt x="148" y="155"/>
                </a:lnTo>
                <a:lnTo>
                  <a:pt x="151" y="149"/>
                </a:lnTo>
                <a:lnTo>
                  <a:pt x="152" y="146"/>
                </a:lnTo>
                <a:lnTo>
                  <a:pt x="152" y="142"/>
                </a:lnTo>
                <a:lnTo>
                  <a:pt x="153" y="140"/>
                </a:lnTo>
                <a:lnTo>
                  <a:pt x="153" y="139"/>
                </a:lnTo>
                <a:lnTo>
                  <a:pt x="157" y="139"/>
                </a:lnTo>
                <a:lnTo>
                  <a:pt x="160" y="138"/>
                </a:lnTo>
                <a:lnTo>
                  <a:pt x="168" y="138"/>
                </a:lnTo>
                <a:lnTo>
                  <a:pt x="170" y="138"/>
                </a:lnTo>
                <a:lnTo>
                  <a:pt x="170" y="123"/>
                </a:lnTo>
                <a:lnTo>
                  <a:pt x="169" y="105"/>
                </a:lnTo>
                <a:lnTo>
                  <a:pt x="169" y="88"/>
                </a:lnTo>
                <a:lnTo>
                  <a:pt x="168" y="70"/>
                </a:lnTo>
                <a:lnTo>
                  <a:pt x="165" y="70"/>
                </a:lnTo>
                <a:lnTo>
                  <a:pt x="151" y="63"/>
                </a:lnTo>
                <a:lnTo>
                  <a:pt x="138" y="55"/>
                </a:lnTo>
                <a:lnTo>
                  <a:pt x="124" y="47"/>
                </a:lnTo>
                <a:lnTo>
                  <a:pt x="110" y="39"/>
                </a:lnTo>
                <a:lnTo>
                  <a:pt x="97" y="31"/>
                </a:lnTo>
                <a:lnTo>
                  <a:pt x="83" y="24"/>
                </a:lnTo>
                <a:lnTo>
                  <a:pt x="70" y="17"/>
                </a:lnTo>
                <a:lnTo>
                  <a:pt x="56" y="9"/>
                </a:lnTo>
                <a:lnTo>
                  <a:pt x="42" y="2"/>
                </a:lnTo>
                <a:lnTo>
                  <a:pt x="39" y="0"/>
                </a:lnTo>
                <a:lnTo>
                  <a:pt x="26" y="5"/>
                </a:lnTo>
                <a:lnTo>
                  <a:pt x="23" y="6"/>
                </a:lnTo>
                <a:lnTo>
                  <a:pt x="25" y="3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86" name="Freeform 185"/>
          <p:cNvSpPr>
            <a:spLocks/>
          </p:cNvSpPr>
          <p:nvPr/>
        </p:nvSpPr>
        <p:spPr bwMode="auto">
          <a:xfrm>
            <a:off x="2136776" y="3144803"/>
            <a:ext cx="112713" cy="122238"/>
          </a:xfrm>
          <a:custGeom>
            <a:avLst/>
            <a:gdLst>
              <a:gd name="T0" fmla="*/ 67 w 71"/>
              <a:gd name="T1" fmla="*/ 0 h 77"/>
              <a:gd name="T2" fmla="*/ 62 w 71"/>
              <a:gd name="T3" fmla="*/ 4 h 77"/>
              <a:gd name="T4" fmla="*/ 56 w 71"/>
              <a:gd name="T5" fmla="*/ 5 h 77"/>
              <a:gd name="T6" fmla="*/ 50 w 71"/>
              <a:gd name="T7" fmla="*/ 7 h 77"/>
              <a:gd name="T8" fmla="*/ 47 w 71"/>
              <a:gd name="T9" fmla="*/ 5 h 77"/>
              <a:gd name="T10" fmla="*/ 45 w 71"/>
              <a:gd name="T11" fmla="*/ 5 h 77"/>
              <a:gd name="T12" fmla="*/ 43 w 71"/>
              <a:gd name="T13" fmla="*/ 6 h 77"/>
              <a:gd name="T14" fmla="*/ 41 w 71"/>
              <a:gd name="T15" fmla="*/ 13 h 77"/>
              <a:gd name="T16" fmla="*/ 37 w 71"/>
              <a:gd name="T17" fmla="*/ 14 h 77"/>
              <a:gd name="T18" fmla="*/ 35 w 71"/>
              <a:gd name="T19" fmla="*/ 16 h 77"/>
              <a:gd name="T20" fmla="*/ 33 w 71"/>
              <a:gd name="T21" fmla="*/ 18 h 77"/>
              <a:gd name="T22" fmla="*/ 31 w 71"/>
              <a:gd name="T23" fmla="*/ 19 h 77"/>
              <a:gd name="T24" fmla="*/ 27 w 71"/>
              <a:gd name="T25" fmla="*/ 20 h 77"/>
              <a:gd name="T26" fmla="*/ 24 w 71"/>
              <a:gd name="T27" fmla="*/ 17 h 77"/>
              <a:gd name="T28" fmla="*/ 21 w 71"/>
              <a:gd name="T29" fmla="*/ 24 h 77"/>
              <a:gd name="T30" fmla="*/ 14 w 71"/>
              <a:gd name="T31" fmla="*/ 24 h 77"/>
              <a:gd name="T32" fmla="*/ 13 w 71"/>
              <a:gd name="T33" fmla="*/ 30 h 77"/>
              <a:gd name="T34" fmla="*/ 10 w 71"/>
              <a:gd name="T35" fmla="*/ 33 h 77"/>
              <a:gd name="T36" fmla="*/ 7 w 71"/>
              <a:gd name="T37" fmla="*/ 36 h 77"/>
              <a:gd name="T38" fmla="*/ 0 w 71"/>
              <a:gd name="T39" fmla="*/ 36 h 77"/>
              <a:gd name="T40" fmla="*/ 0 w 71"/>
              <a:gd name="T41" fmla="*/ 39 h 77"/>
              <a:gd name="T42" fmla="*/ 4 w 71"/>
              <a:gd name="T43" fmla="*/ 46 h 77"/>
              <a:gd name="T44" fmla="*/ 14 w 71"/>
              <a:gd name="T45" fmla="*/ 58 h 77"/>
              <a:gd name="T46" fmla="*/ 17 w 71"/>
              <a:gd name="T47" fmla="*/ 63 h 77"/>
              <a:gd name="T48" fmla="*/ 24 w 71"/>
              <a:gd name="T49" fmla="*/ 69 h 77"/>
              <a:gd name="T50" fmla="*/ 25 w 71"/>
              <a:gd name="T51" fmla="*/ 72 h 77"/>
              <a:gd name="T52" fmla="*/ 27 w 71"/>
              <a:gd name="T53" fmla="*/ 70 h 77"/>
              <a:gd name="T54" fmla="*/ 32 w 71"/>
              <a:gd name="T55" fmla="*/ 72 h 77"/>
              <a:gd name="T56" fmla="*/ 41 w 71"/>
              <a:gd name="T57" fmla="*/ 74 h 77"/>
              <a:gd name="T58" fmla="*/ 44 w 71"/>
              <a:gd name="T59" fmla="*/ 73 h 77"/>
              <a:gd name="T60" fmla="*/ 50 w 71"/>
              <a:gd name="T61" fmla="*/ 76 h 77"/>
              <a:gd name="T62" fmla="*/ 54 w 71"/>
              <a:gd name="T63" fmla="*/ 77 h 77"/>
              <a:gd name="T64" fmla="*/ 58 w 71"/>
              <a:gd name="T65" fmla="*/ 75 h 77"/>
              <a:gd name="T66" fmla="*/ 58 w 71"/>
              <a:gd name="T67" fmla="*/ 73 h 77"/>
              <a:gd name="T68" fmla="*/ 56 w 71"/>
              <a:gd name="T69" fmla="*/ 65 h 77"/>
              <a:gd name="T70" fmla="*/ 58 w 71"/>
              <a:gd name="T71" fmla="*/ 58 h 77"/>
              <a:gd name="T72" fmla="*/ 63 w 71"/>
              <a:gd name="T73" fmla="*/ 38 h 77"/>
              <a:gd name="T74" fmla="*/ 68 w 71"/>
              <a:gd name="T75" fmla="*/ 14 h 77"/>
              <a:gd name="T76" fmla="*/ 71 w 71"/>
              <a:gd name="T77" fmla="*/ 0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1" h="77">
                <a:moveTo>
                  <a:pt x="71" y="0"/>
                </a:moveTo>
                <a:lnTo>
                  <a:pt x="67" y="0"/>
                </a:lnTo>
                <a:lnTo>
                  <a:pt x="63" y="2"/>
                </a:lnTo>
                <a:lnTo>
                  <a:pt x="62" y="4"/>
                </a:lnTo>
                <a:lnTo>
                  <a:pt x="60" y="5"/>
                </a:lnTo>
                <a:lnTo>
                  <a:pt x="56" y="5"/>
                </a:lnTo>
                <a:lnTo>
                  <a:pt x="54" y="7"/>
                </a:lnTo>
                <a:lnTo>
                  <a:pt x="50" y="7"/>
                </a:lnTo>
                <a:lnTo>
                  <a:pt x="48" y="6"/>
                </a:lnTo>
                <a:lnTo>
                  <a:pt x="47" y="5"/>
                </a:lnTo>
                <a:lnTo>
                  <a:pt x="46" y="4"/>
                </a:lnTo>
                <a:lnTo>
                  <a:pt x="45" y="5"/>
                </a:lnTo>
                <a:lnTo>
                  <a:pt x="45" y="6"/>
                </a:lnTo>
                <a:lnTo>
                  <a:pt x="43" y="6"/>
                </a:lnTo>
                <a:lnTo>
                  <a:pt x="42" y="8"/>
                </a:lnTo>
                <a:lnTo>
                  <a:pt x="41" y="13"/>
                </a:lnTo>
                <a:lnTo>
                  <a:pt x="40" y="14"/>
                </a:lnTo>
                <a:lnTo>
                  <a:pt x="37" y="14"/>
                </a:lnTo>
                <a:lnTo>
                  <a:pt x="35" y="15"/>
                </a:lnTo>
                <a:lnTo>
                  <a:pt x="35" y="16"/>
                </a:lnTo>
                <a:lnTo>
                  <a:pt x="34" y="17"/>
                </a:lnTo>
                <a:lnTo>
                  <a:pt x="33" y="18"/>
                </a:lnTo>
                <a:lnTo>
                  <a:pt x="31" y="19"/>
                </a:lnTo>
                <a:lnTo>
                  <a:pt x="31" y="19"/>
                </a:lnTo>
                <a:lnTo>
                  <a:pt x="30" y="20"/>
                </a:lnTo>
                <a:lnTo>
                  <a:pt x="27" y="20"/>
                </a:lnTo>
                <a:lnTo>
                  <a:pt x="25" y="18"/>
                </a:lnTo>
                <a:lnTo>
                  <a:pt x="24" y="17"/>
                </a:lnTo>
                <a:lnTo>
                  <a:pt x="22" y="20"/>
                </a:lnTo>
                <a:lnTo>
                  <a:pt x="21" y="24"/>
                </a:lnTo>
                <a:lnTo>
                  <a:pt x="15" y="24"/>
                </a:lnTo>
                <a:lnTo>
                  <a:pt x="14" y="24"/>
                </a:lnTo>
                <a:lnTo>
                  <a:pt x="13" y="26"/>
                </a:lnTo>
                <a:lnTo>
                  <a:pt x="13" y="30"/>
                </a:lnTo>
                <a:lnTo>
                  <a:pt x="12" y="30"/>
                </a:lnTo>
                <a:lnTo>
                  <a:pt x="10" y="33"/>
                </a:lnTo>
                <a:lnTo>
                  <a:pt x="9" y="35"/>
                </a:lnTo>
                <a:lnTo>
                  <a:pt x="7" y="36"/>
                </a:lnTo>
                <a:lnTo>
                  <a:pt x="3" y="36"/>
                </a:lnTo>
                <a:lnTo>
                  <a:pt x="0" y="36"/>
                </a:lnTo>
                <a:lnTo>
                  <a:pt x="0" y="38"/>
                </a:lnTo>
                <a:lnTo>
                  <a:pt x="0" y="39"/>
                </a:lnTo>
                <a:lnTo>
                  <a:pt x="3" y="44"/>
                </a:lnTo>
                <a:lnTo>
                  <a:pt x="4" y="46"/>
                </a:lnTo>
                <a:lnTo>
                  <a:pt x="11" y="53"/>
                </a:lnTo>
                <a:lnTo>
                  <a:pt x="14" y="58"/>
                </a:lnTo>
                <a:lnTo>
                  <a:pt x="16" y="62"/>
                </a:lnTo>
                <a:lnTo>
                  <a:pt x="17" y="63"/>
                </a:lnTo>
                <a:lnTo>
                  <a:pt x="20" y="64"/>
                </a:lnTo>
                <a:lnTo>
                  <a:pt x="24" y="69"/>
                </a:lnTo>
                <a:lnTo>
                  <a:pt x="25" y="70"/>
                </a:lnTo>
                <a:lnTo>
                  <a:pt x="25" y="72"/>
                </a:lnTo>
                <a:lnTo>
                  <a:pt x="25" y="72"/>
                </a:lnTo>
                <a:lnTo>
                  <a:pt x="27" y="70"/>
                </a:lnTo>
                <a:lnTo>
                  <a:pt x="28" y="70"/>
                </a:lnTo>
                <a:lnTo>
                  <a:pt x="32" y="72"/>
                </a:lnTo>
                <a:lnTo>
                  <a:pt x="37" y="74"/>
                </a:lnTo>
                <a:lnTo>
                  <a:pt x="41" y="74"/>
                </a:lnTo>
                <a:lnTo>
                  <a:pt x="43" y="73"/>
                </a:lnTo>
                <a:lnTo>
                  <a:pt x="44" y="73"/>
                </a:lnTo>
                <a:lnTo>
                  <a:pt x="47" y="74"/>
                </a:lnTo>
                <a:lnTo>
                  <a:pt x="50" y="76"/>
                </a:lnTo>
                <a:lnTo>
                  <a:pt x="51" y="77"/>
                </a:lnTo>
                <a:lnTo>
                  <a:pt x="54" y="77"/>
                </a:lnTo>
                <a:lnTo>
                  <a:pt x="57" y="76"/>
                </a:lnTo>
                <a:lnTo>
                  <a:pt x="58" y="75"/>
                </a:lnTo>
                <a:lnTo>
                  <a:pt x="58" y="75"/>
                </a:lnTo>
                <a:lnTo>
                  <a:pt x="58" y="73"/>
                </a:lnTo>
                <a:lnTo>
                  <a:pt x="56" y="69"/>
                </a:lnTo>
                <a:lnTo>
                  <a:pt x="56" y="65"/>
                </a:lnTo>
                <a:lnTo>
                  <a:pt x="58" y="62"/>
                </a:lnTo>
                <a:lnTo>
                  <a:pt x="58" y="58"/>
                </a:lnTo>
                <a:lnTo>
                  <a:pt x="60" y="50"/>
                </a:lnTo>
                <a:lnTo>
                  <a:pt x="63" y="38"/>
                </a:lnTo>
                <a:lnTo>
                  <a:pt x="64" y="27"/>
                </a:lnTo>
                <a:lnTo>
                  <a:pt x="68" y="14"/>
                </a:lnTo>
                <a:lnTo>
                  <a:pt x="70" y="7"/>
                </a:lnTo>
                <a:lnTo>
                  <a:pt x="7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87" name="Freeform 186"/>
          <p:cNvSpPr>
            <a:spLocks/>
          </p:cNvSpPr>
          <p:nvPr/>
        </p:nvSpPr>
        <p:spPr bwMode="auto">
          <a:xfrm>
            <a:off x="2136776" y="3144803"/>
            <a:ext cx="112713" cy="122238"/>
          </a:xfrm>
          <a:custGeom>
            <a:avLst/>
            <a:gdLst>
              <a:gd name="T0" fmla="*/ 67 w 71"/>
              <a:gd name="T1" fmla="*/ 0 h 77"/>
              <a:gd name="T2" fmla="*/ 62 w 71"/>
              <a:gd name="T3" fmla="*/ 4 h 77"/>
              <a:gd name="T4" fmla="*/ 56 w 71"/>
              <a:gd name="T5" fmla="*/ 5 h 77"/>
              <a:gd name="T6" fmla="*/ 50 w 71"/>
              <a:gd name="T7" fmla="*/ 7 h 77"/>
              <a:gd name="T8" fmla="*/ 47 w 71"/>
              <a:gd name="T9" fmla="*/ 5 h 77"/>
              <a:gd name="T10" fmla="*/ 45 w 71"/>
              <a:gd name="T11" fmla="*/ 5 h 77"/>
              <a:gd name="T12" fmla="*/ 43 w 71"/>
              <a:gd name="T13" fmla="*/ 6 h 77"/>
              <a:gd name="T14" fmla="*/ 41 w 71"/>
              <a:gd name="T15" fmla="*/ 13 h 77"/>
              <a:gd name="T16" fmla="*/ 37 w 71"/>
              <a:gd name="T17" fmla="*/ 14 h 77"/>
              <a:gd name="T18" fmla="*/ 35 w 71"/>
              <a:gd name="T19" fmla="*/ 16 h 77"/>
              <a:gd name="T20" fmla="*/ 33 w 71"/>
              <a:gd name="T21" fmla="*/ 18 h 77"/>
              <a:gd name="T22" fmla="*/ 31 w 71"/>
              <a:gd name="T23" fmla="*/ 19 h 77"/>
              <a:gd name="T24" fmla="*/ 27 w 71"/>
              <a:gd name="T25" fmla="*/ 20 h 77"/>
              <a:gd name="T26" fmla="*/ 24 w 71"/>
              <a:gd name="T27" fmla="*/ 17 h 77"/>
              <a:gd name="T28" fmla="*/ 21 w 71"/>
              <a:gd name="T29" fmla="*/ 24 h 77"/>
              <a:gd name="T30" fmla="*/ 14 w 71"/>
              <a:gd name="T31" fmla="*/ 24 h 77"/>
              <a:gd name="T32" fmla="*/ 13 w 71"/>
              <a:gd name="T33" fmla="*/ 30 h 77"/>
              <a:gd name="T34" fmla="*/ 10 w 71"/>
              <a:gd name="T35" fmla="*/ 33 h 77"/>
              <a:gd name="T36" fmla="*/ 7 w 71"/>
              <a:gd name="T37" fmla="*/ 36 h 77"/>
              <a:gd name="T38" fmla="*/ 0 w 71"/>
              <a:gd name="T39" fmla="*/ 36 h 77"/>
              <a:gd name="T40" fmla="*/ 0 w 71"/>
              <a:gd name="T41" fmla="*/ 39 h 77"/>
              <a:gd name="T42" fmla="*/ 4 w 71"/>
              <a:gd name="T43" fmla="*/ 46 h 77"/>
              <a:gd name="T44" fmla="*/ 14 w 71"/>
              <a:gd name="T45" fmla="*/ 58 h 77"/>
              <a:gd name="T46" fmla="*/ 17 w 71"/>
              <a:gd name="T47" fmla="*/ 63 h 77"/>
              <a:gd name="T48" fmla="*/ 24 w 71"/>
              <a:gd name="T49" fmla="*/ 69 h 77"/>
              <a:gd name="T50" fmla="*/ 25 w 71"/>
              <a:gd name="T51" fmla="*/ 72 h 77"/>
              <a:gd name="T52" fmla="*/ 27 w 71"/>
              <a:gd name="T53" fmla="*/ 70 h 77"/>
              <a:gd name="T54" fmla="*/ 32 w 71"/>
              <a:gd name="T55" fmla="*/ 72 h 77"/>
              <a:gd name="T56" fmla="*/ 41 w 71"/>
              <a:gd name="T57" fmla="*/ 74 h 77"/>
              <a:gd name="T58" fmla="*/ 44 w 71"/>
              <a:gd name="T59" fmla="*/ 73 h 77"/>
              <a:gd name="T60" fmla="*/ 50 w 71"/>
              <a:gd name="T61" fmla="*/ 76 h 77"/>
              <a:gd name="T62" fmla="*/ 54 w 71"/>
              <a:gd name="T63" fmla="*/ 77 h 77"/>
              <a:gd name="T64" fmla="*/ 58 w 71"/>
              <a:gd name="T65" fmla="*/ 75 h 77"/>
              <a:gd name="T66" fmla="*/ 58 w 71"/>
              <a:gd name="T67" fmla="*/ 73 h 77"/>
              <a:gd name="T68" fmla="*/ 56 w 71"/>
              <a:gd name="T69" fmla="*/ 65 h 77"/>
              <a:gd name="T70" fmla="*/ 58 w 71"/>
              <a:gd name="T71" fmla="*/ 58 h 77"/>
              <a:gd name="T72" fmla="*/ 63 w 71"/>
              <a:gd name="T73" fmla="*/ 38 h 77"/>
              <a:gd name="T74" fmla="*/ 68 w 71"/>
              <a:gd name="T75" fmla="*/ 14 h 77"/>
              <a:gd name="T76" fmla="*/ 71 w 71"/>
              <a:gd name="T77" fmla="*/ 0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1" h="77">
                <a:moveTo>
                  <a:pt x="71" y="0"/>
                </a:moveTo>
                <a:lnTo>
                  <a:pt x="67" y="0"/>
                </a:lnTo>
                <a:lnTo>
                  <a:pt x="63" y="2"/>
                </a:lnTo>
                <a:lnTo>
                  <a:pt x="62" y="4"/>
                </a:lnTo>
                <a:lnTo>
                  <a:pt x="60" y="5"/>
                </a:lnTo>
                <a:lnTo>
                  <a:pt x="56" y="5"/>
                </a:lnTo>
                <a:lnTo>
                  <a:pt x="54" y="7"/>
                </a:lnTo>
                <a:lnTo>
                  <a:pt x="50" y="7"/>
                </a:lnTo>
                <a:lnTo>
                  <a:pt x="48" y="6"/>
                </a:lnTo>
                <a:lnTo>
                  <a:pt x="47" y="5"/>
                </a:lnTo>
                <a:lnTo>
                  <a:pt x="46" y="4"/>
                </a:lnTo>
                <a:lnTo>
                  <a:pt x="45" y="5"/>
                </a:lnTo>
                <a:lnTo>
                  <a:pt x="45" y="6"/>
                </a:lnTo>
                <a:lnTo>
                  <a:pt x="43" y="6"/>
                </a:lnTo>
                <a:lnTo>
                  <a:pt x="42" y="8"/>
                </a:lnTo>
                <a:lnTo>
                  <a:pt x="41" y="13"/>
                </a:lnTo>
                <a:lnTo>
                  <a:pt x="40" y="14"/>
                </a:lnTo>
                <a:lnTo>
                  <a:pt x="37" y="14"/>
                </a:lnTo>
                <a:lnTo>
                  <a:pt x="35" y="15"/>
                </a:lnTo>
                <a:lnTo>
                  <a:pt x="35" y="16"/>
                </a:lnTo>
                <a:lnTo>
                  <a:pt x="34" y="17"/>
                </a:lnTo>
                <a:lnTo>
                  <a:pt x="33" y="18"/>
                </a:lnTo>
                <a:lnTo>
                  <a:pt x="31" y="19"/>
                </a:lnTo>
                <a:lnTo>
                  <a:pt x="31" y="19"/>
                </a:lnTo>
                <a:lnTo>
                  <a:pt x="30" y="20"/>
                </a:lnTo>
                <a:lnTo>
                  <a:pt x="27" y="20"/>
                </a:lnTo>
                <a:lnTo>
                  <a:pt x="25" y="18"/>
                </a:lnTo>
                <a:lnTo>
                  <a:pt x="24" y="17"/>
                </a:lnTo>
                <a:lnTo>
                  <a:pt x="22" y="20"/>
                </a:lnTo>
                <a:lnTo>
                  <a:pt x="21" y="24"/>
                </a:lnTo>
                <a:lnTo>
                  <a:pt x="15" y="24"/>
                </a:lnTo>
                <a:lnTo>
                  <a:pt x="14" y="24"/>
                </a:lnTo>
                <a:lnTo>
                  <a:pt x="13" y="26"/>
                </a:lnTo>
                <a:lnTo>
                  <a:pt x="13" y="30"/>
                </a:lnTo>
                <a:lnTo>
                  <a:pt x="12" y="30"/>
                </a:lnTo>
                <a:lnTo>
                  <a:pt x="10" y="33"/>
                </a:lnTo>
                <a:lnTo>
                  <a:pt x="9" y="35"/>
                </a:lnTo>
                <a:lnTo>
                  <a:pt x="7" y="36"/>
                </a:lnTo>
                <a:lnTo>
                  <a:pt x="3" y="36"/>
                </a:lnTo>
                <a:lnTo>
                  <a:pt x="0" y="36"/>
                </a:lnTo>
                <a:lnTo>
                  <a:pt x="0" y="38"/>
                </a:lnTo>
                <a:lnTo>
                  <a:pt x="0" y="39"/>
                </a:lnTo>
                <a:lnTo>
                  <a:pt x="3" y="44"/>
                </a:lnTo>
                <a:lnTo>
                  <a:pt x="4" y="46"/>
                </a:lnTo>
                <a:lnTo>
                  <a:pt x="11" y="53"/>
                </a:lnTo>
                <a:lnTo>
                  <a:pt x="14" y="58"/>
                </a:lnTo>
                <a:lnTo>
                  <a:pt x="16" y="62"/>
                </a:lnTo>
                <a:lnTo>
                  <a:pt x="17" y="63"/>
                </a:lnTo>
                <a:lnTo>
                  <a:pt x="20" y="64"/>
                </a:lnTo>
                <a:lnTo>
                  <a:pt x="24" y="69"/>
                </a:lnTo>
                <a:lnTo>
                  <a:pt x="25" y="70"/>
                </a:lnTo>
                <a:lnTo>
                  <a:pt x="25" y="72"/>
                </a:lnTo>
                <a:lnTo>
                  <a:pt x="25" y="72"/>
                </a:lnTo>
                <a:lnTo>
                  <a:pt x="27" y="70"/>
                </a:lnTo>
                <a:lnTo>
                  <a:pt x="28" y="70"/>
                </a:lnTo>
                <a:lnTo>
                  <a:pt x="32" y="72"/>
                </a:lnTo>
                <a:lnTo>
                  <a:pt x="37" y="74"/>
                </a:lnTo>
                <a:lnTo>
                  <a:pt x="41" y="74"/>
                </a:lnTo>
                <a:lnTo>
                  <a:pt x="43" y="73"/>
                </a:lnTo>
                <a:lnTo>
                  <a:pt x="44" y="73"/>
                </a:lnTo>
                <a:lnTo>
                  <a:pt x="47" y="74"/>
                </a:lnTo>
                <a:lnTo>
                  <a:pt x="50" y="76"/>
                </a:lnTo>
                <a:lnTo>
                  <a:pt x="51" y="77"/>
                </a:lnTo>
                <a:lnTo>
                  <a:pt x="54" y="77"/>
                </a:lnTo>
                <a:lnTo>
                  <a:pt x="57" y="76"/>
                </a:lnTo>
                <a:lnTo>
                  <a:pt x="58" y="75"/>
                </a:lnTo>
                <a:lnTo>
                  <a:pt x="58" y="75"/>
                </a:lnTo>
                <a:lnTo>
                  <a:pt x="58" y="73"/>
                </a:lnTo>
                <a:lnTo>
                  <a:pt x="56" y="69"/>
                </a:lnTo>
                <a:lnTo>
                  <a:pt x="56" y="65"/>
                </a:lnTo>
                <a:lnTo>
                  <a:pt x="58" y="62"/>
                </a:lnTo>
                <a:lnTo>
                  <a:pt x="58" y="58"/>
                </a:lnTo>
                <a:lnTo>
                  <a:pt x="60" y="50"/>
                </a:lnTo>
                <a:lnTo>
                  <a:pt x="63" y="38"/>
                </a:lnTo>
                <a:lnTo>
                  <a:pt x="64" y="27"/>
                </a:lnTo>
                <a:lnTo>
                  <a:pt x="68" y="14"/>
                </a:lnTo>
                <a:lnTo>
                  <a:pt x="70" y="7"/>
                </a:lnTo>
                <a:lnTo>
                  <a:pt x="7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88" name="Freeform 187"/>
          <p:cNvSpPr>
            <a:spLocks/>
          </p:cNvSpPr>
          <p:nvPr/>
        </p:nvSpPr>
        <p:spPr bwMode="auto">
          <a:xfrm>
            <a:off x="2241551" y="3300378"/>
            <a:ext cx="146050" cy="71438"/>
          </a:xfrm>
          <a:custGeom>
            <a:avLst/>
            <a:gdLst>
              <a:gd name="T0" fmla="*/ 7 w 92"/>
              <a:gd name="T1" fmla="*/ 0 h 45"/>
              <a:gd name="T2" fmla="*/ 4 w 92"/>
              <a:gd name="T3" fmla="*/ 3 h 45"/>
              <a:gd name="T4" fmla="*/ 6 w 92"/>
              <a:gd name="T5" fmla="*/ 10 h 45"/>
              <a:gd name="T6" fmla="*/ 4 w 92"/>
              <a:gd name="T7" fmla="*/ 15 h 45"/>
              <a:gd name="T8" fmla="*/ 0 w 92"/>
              <a:gd name="T9" fmla="*/ 23 h 45"/>
              <a:gd name="T10" fmla="*/ 2 w 92"/>
              <a:gd name="T11" fmla="*/ 27 h 45"/>
              <a:gd name="T12" fmla="*/ 7 w 92"/>
              <a:gd name="T13" fmla="*/ 23 h 45"/>
              <a:gd name="T14" fmla="*/ 17 w 92"/>
              <a:gd name="T15" fmla="*/ 27 h 45"/>
              <a:gd name="T16" fmla="*/ 21 w 92"/>
              <a:gd name="T17" fmla="*/ 29 h 45"/>
              <a:gd name="T18" fmla="*/ 27 w 92"/>
              <a:gd name="T19" fmla="*/ 37 h 45"/>
              <a:gd name="T20" fmla="*/ 31 w 92"/>
              <a:gd name="T21" fmla="*/ 35 h 45"/>
              <a:gd name="T22" fmla="*/ 34 w 92"/>
              <a:gd name="T23" fmla="*/ 43 h 45"/>
              <a:gd name="T24" fmla="*/ 39 w 92"/>
              <a:gd name="T25" fmla="*/ 45 h 45"/>
              <a:gd name="T26" fmla="*/ 46 w 92"/>
              <a:gd name="T27" fmla="*/ 37 h 45"/>
              <a:gd name="T28" fmla="*/ 40 w 92"/>
              <a:gd name="T29" fmla="*/ 31 h 45"/>
              <a:gd name="T30" fmla="*/ 41 w 92"/>
              <a:gd name="T31" fmla="*/ 27 h 45"/>
              <a:gd name="T32" fmla="*/ 47 w 92"/>
              <a:gd name="T33" fmla="*/ 23 h 45"/>
              <a:gd name="T34" fmla="*/ 55 w 92"/>
              <a:gd name="T35" fmla="*/ 15 h 45"/>
              <a:gd name="T36" fmla="*/ 59 w 92"/>
              <a:gd name="T37" fmla="*/ 11 h 45"/>
              <a:gd name="T38" fmla="*/ 66 w 92"/>
              <a:gd name="T39" fmla="*/ 15 h 45"/>
              <a:gd name="T40" fmla="*/ 77 w 92"/>
              <a:gd name="T41" fmla="*/ 21 h 45"/>
              <a:gd name="T42" fmla="*/ 80 w 92"/>
              <a:gd name="T43" fmla="*/ 23 h 45"/>
              <a:gd name="T44" fmla="*/ 75 w 92"/>
              <a:gd name="T45" fmla="*/ 28 h 45"/>
              <a:gd name="T46" fmla="*/ 76 w 92"/>
              <a:gd name="T47" fmla="*/ 37 h 45"/>
              <a:gd name="T48" fmla="*/ 81 w 92"/>
              <a:gd name="T49" fmla="*/ 42 h 45"/>
              <a:gd name="T50" fmla="*/ 85 w 92"/>
              <a:gd name="T51" fmla="*/ 36 h 45"/>
              <a:gd name="T52" fmla="*/ 88 w 92"/>
              <a:gd name="T53" fmla="*/ 36 h 45"/>
              <a:gd name="T54" fmla="*/ 92 w 92"/>
              <a:gd name="T55" fmla="*/ 29 h 45"/>
              <a:gd name="T56" fmla="*/ 91 w 92"/>
              <a:gd name="T57" fmla="*/ 26 h 45"/>
              <a:gd name="T58" fmla="*/ 89 w 92"/>
              <a:gd name="T59" fmla="*/ 22 h 45"/>
              <a:gd name="T60" fmla="*/ 88 w 92"/>
              <a:gd name="T61" fmla="*/ 16 h 45"/>
              <a:gd name="T62" fmla="*/ 79 w 92"/>
              <a:gd name="T63" fmla="*/ 6 h 45"/>
              <a:gd name="T64" fmla="*/ 69 w 92"/>
              <a:gd name="T65" fmla="*/ 3 h 45"/>
              <a:gd name="T66" fmla="*/ 57 w 92"/>
              <a:gd name="T67" fmla="*/ 0 h 45"/>
              <a:gd name="T68" fmla="*/ 52 w 92"/>
              <a:gd name="T69" fmla="*/ 3 h 45"/>
              <a:gd name="T70" fmla="*/ 49 w 92"/>
              <a:gd name="T71" fmla="*/ 10 h 45"/>
              <a:gd name="T72" fmla="*/ 47 w 92"/>
              <a:gd name="T73" fmla="*/ 7 h 45"/>
              <a:gd name="T74" fmla="*/ 35 w 92"/>
              <a:gd name="T75" fmla="*/ 11 h 45"/>
              <a:gd name="T76" fmla="*/ 30 w 92"/>
              <a:gd name="T77" fmla="*/ 15 h 45"/>
              <a:gd name="T78" fmla="*/ 21 w 92"/>
              <a:gd name="T79" fmla="*/ 11 h 45"/>
              <a:gd name="T80" fmla="*/ 15 w 92"/>
              <a:gd name="T81" fmla="*/ 8 h 45"/>
              <a:gd name="T82" fmla="*/ 11 w 92"/>
              <a:gd name="T83" fmla="*/ 2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92" h="45">
                <a:moveTo>
                  <a:pt x="8" y="0"/>
                </a:moveTo>
                <a:lnTo>
                  <a:pt x="8" y="0"/>
                </a:lnTo>
                <a:lnTo>
                  <a:pt x="7" y="0"/>
                </a:lnTo>
                <a:lnTo>
                  <a:pt x="7" y="0"/>
                </a:lnTo>
                <a:lnTo>
                  <a:pt x="6" y="0"/>
                </a:lnTo>
                <a:lnTo>
                  <a:pt x="4" y="3"/>
                </a:lnTo>
                <a:lnTo>
                  <a:pt x="2" y="8"/>
                </a:lnTo>
                <a:lnTo>
                  <a:pt x="5" y="9"/>
                </a:lnTo>
                <a:lnTo>
                  <a:pt x="6" y="10"/>
                </a:lnTo>
                <a:lnTo>
                  <a:pt x="5" y="12"/>
                </a:lnTo>
                <a:lnTo>
                  <a:pt x="4" y="13"/>
                </a:lnTo>
                <a:lnTo>
                  <a:pt x="4" y="15"/>
                </a:lnTo>
                <a:lnTo>
                  <a:pt x="4" y="19"/>
                </a:lnTo>
                <a:lnTo>
                  <a:pt x="2" y="20"/>
                </a:lnTo>
                <a:lnTo>
                  <a:pt x="0" y="23"/>
                </a:lnTo>
                <a:lnTo>
                  <a:pt x="0" y="23"/>
                </a:lnTo>
                <a:lnTo>
                  <a:pt x="1" y="27"/>
                </a:lnTo>
                <a:lnTo>
                  <a:pt x="2" y="27"/>
                </a:lnTo>
                <a:lnTo>
                  <a:pt x="4" y="25"/>
                </a:lnTo>
                <a:lnTo>
                  <a:pt x="4" y="23"/>
                </a:lnTo>
                <a:lnTo>
                  <a:pt x="7" y="23"/>
                </a:lnTo>
                <a:lnTo>
                  <a:pt x="12" y="25"/>
                </a:lnTo>
                <a:lnTo>
                  <a:pt x="14" y="25"/>
                </a:lnTo>
                <a:lnTo>
                  <a:pt x="17" y="27"/>
                </a:lnTo>
                <a:lnTo>
                  <a:pt x="20" y="27"/>
                </a:lnTo>
                <a:lnTo>
                  <a:pt x="20" y="27"/>
                </a:lnTo>
                <a:lnTo>
                  <a:pt x="21" y="29"/>
                </a:lnTo>
                <a:lnTo>
                  <a:pt x="22" y="31"/>
                </a:lnTo>
                <a:lnTo>
                  <a:pt x="25" y="35"/>
                </a:lnTo>
                <a:lnTo>
                  <a:pt x="27" y="37"/>
                </a:lnTo>
                <a:lnTo>
                  <a:pt x="28" y="37"/>
                </a:lnTo>
                <a:lnTo>
                  <a:pt x="30" y="35"/>
                </a:lnTo>
                <a:lnTo>
                  <a:pt x="31" y="35"/>
                </a:lnTo>
                <a:lnTo>
                  <a:pt x="32" y="37"/>
                </a:lnTo>
                <a:lnTo>
                  <a:pt x="32" y="40"/>
                </a:lnTo>
                <a:lnTo>
                  <a:pt x="34" y="43"/>
                </a:lnTo>
                <a:lnTo>
                  <a:pt x="34" y="45"/>
                </a:lnTo>
                <a:lnTo>
                  <a:pt x="37" y="45"/>
                </a:lnTo>
                <a:lnTo>
                  <a:pt x="39" y="45"/>
                </a:lnTo>
                <a:lnTo>
                  <a:pt x="43" y="41"/>
                </a:lnTo>
                <a:lnTo>
                  <a:pt x="46" y="39"/>
                </a:lnTo>
                <a:lnTo>
                  <a:pt x="46" y="37"/>
                </a:lnTo>
                <a:lnTo>
                  <a:pt x="45" y="36"/>
                </a:lnTo>
                <a:lnTo>
                  <a:pt x="43" y="33"/>
                </a:lnTo>
                <a:lnTo>
                  <a:pt x="40" y="31"/>
                </a:lnTo>
                <a:lnTo>
                  <a:pt x="40" y="30"/>
                </a:lnTo>
                <a:lnTo>
                  <a:pt x="40" y="29"/>
                </a:lnTo>
                <a:lnTo>
                  <a:pt x="41" y="27"/>
                </a:lnTo>
                <a:lnTo>
                  <a:pt x="43" y="25"/>
                </a:lnTo>
                <a:lnTo>
                  <a:pt x="46" y="23"/>
                </a:lnTo>
                <a:lnTo>
                  <a:pt x="47" y="23"/>
                </a:lnTo>
                <a:lnTo>
                  <a:pt x="49" y="22"/>
                </a:lnTo>
                <a:lnTo>
                  <a:pt x="52" y="19"/>
                </a:lnTo>
                <a:lnTo>
                  <a:pt x="55" y="15"/>
                </a:lnTo>
                <a:lnTo>
                  <a:pt x="56" y="13"/>
                </a:lnTo>
                <a:lnTo>
                  <a:pt x="57" y="12"/>
                </a:lnTo>
                <a:lnTo>
                  <a:pt x="59" y="11"/>
                </a:lnTo>
                <a:lnTo>
                  <a:pt x="61" y="11"/>
                </a:lnTo>
                <a:lnTo>
                  <a:pt x="61" y="11"/>
                </a:lnTo>
                <a:lnTo>
                  <a:pt x="66" y="15"/>
                </a:lnTo>
                <a:lnTo>
                  <a:pt x="71" y="18"/>
                </a:lnTo>
                <a:lnTo>
                  <a:pt x="73" y="22"/>
                </a:lnTo>
                <a:lnTo>
                  <a:pt x="77" y="21"/>
                </a:lnTo>
                <a:lnTo>
                  <a:pt x="78" y="21"/>
                </a:lnTo>
                <a:lnTo>
                  <a:pt x="80" y="22"/>
                </a:lnTo>
                <a:lnTo>
                  <a:pt x="80" y="23"/>
                </a:lnTo>
                <a:lnTo>
                  <a:pt x="79" y="23"/>
                </a:lnTo>
                <a:lnTo>
                  <a:pt x="76" y="27"/>
                </a:lnTo>
                <a:lnTo>
                  <a:pt x="75" y="28"/>
                </a:lnTo>
                <a:lnTo>
                  <a:pt x="75" y="31"/>
                </a:lnTo>
                <a:lnTo>
                  <a:pt x="75" y="35"/>
                </a:lnTo>
                <a:lnTo>
                  <a:pt x="76" y="37"/>
                </a:lnTo>
                <a:lnTo>
                  <a:pt x="79" y="40"/>
                </a:lnTo>
                <a:lnTo>
                  <a:pt x="81" y="42"/>
                </a:lnTo>
                <a:lnTo>
                  <a:pt x="81" y="42"/>
                </a:lnTo>
                <a:lnTo>
                  <a:pt x="81" y="40"/>
                </a:lnTo>
                <a:lnTo>
                  <a:pt x="83" y="39"/>
                </a:lnTo>
                <a:lnTo>
                  <a:pt x="85" y="36"/>
                </a:lnTo>
                <a:lnTo>
                  <a:pt x="86" y="36"/>
                </a:lnTo>
                <a:lnTo>
                  <a:pt x="87" y="37"/>
                </a:lnTo>
                <a:lnTo>
                  <a:pt x="88" y="36"/>
                </a:lnTo>
                <a:lnTo>
                  <a:pt x="91" y="31"/>
                </a:lnTo>
                <a:lnTo>
                  <a:pt x="92" y="30"/>
                </a:lnTo>
                <a:lnTo>
                  <a:pt x="92" y="29"/>
                </a:lnTo>
                <a:lnTo>
                  <a:pt x="92" y="28"/>
                </a:lnTo>
                <a:lnTo>
                  <a:pt x="91" y="28"/>
                </a:lnTo>
                <a:lnTo>
                  <a:pt x="91" y="26"/>
                </a:lnTo>
                <a:lnTo>
                  <a:pt x="90" y="23"/>
                </a:lnTo>
                <a:lnTo>
                  <a:pt x="89" y="22"/>
                </a:lnTo>
                <a:lnTo>
                  <a:pt x="89" y="22"/>
                </a:lnTo>
                <a:lnTo>
                  <a:pt x="90" y="19"/>
                </a:lnTo>
                <a:lnTo>
                  <a:pt x="90" y="18"/>
                </a:lnTo>
                <a:lnTo>
                  <a:pt x="88" y="16"/>
                </a:lnTo>
                <a:lnTo>
                  <a:pt x="85" y="12"/>
                </a:lnTo>
                <a:lnTo>
                  <a:pt x="83" y="11"/>
                </a:lnTo>
                <a:lnTo>
                  <a:pt x="79" y="6"/>
                </a:lnTo>
                <a:lnTo>
                  <a:pt x="76" y="5"/>
                </a:lnTo>
                <a:lnTo>
                  <a:pt x="72" y="3"/>
                </a:lnTo>
                <a:lnTo>
                  <a:pt x="69" y="3"/>
                </a:lnTo>
                <a:lnTo>
                  <a:pt x="65" y="2"/>
                </a:lnTo>
                <a:lnTo>
                  <a:pt x="62" y="0"/>
                </a:lnTo>
                <a:lnTo>
                  <a:pt x="57" y="0"/>
                </a:lnTo>
                <a:lnTo>
                  <a:pt x="55" y="1"/>
                </a:lnTo>
                <a:lnTo>
                  <a:pt x="55" y="1"/>
                </a:lnTo>
                <a:lnTo>
                  <a:pt x="52" y="3"/>
                </a:lnTo>
                <a:lnTo>
                  <a:pt x="51" y="9"/>
                </a:lnTo>
                <a:lnTo>
                  <a:pt x="50" y="10"/>
                </a:lnTo>
                <a:lnTo>
                  <a:pt x="49" y="10"/>
                </a:lnTo>
                <a:lnTo>
                  <a:pt x="49" y="7"/>
                </a:lnTo>
                <a:lnTo>
                  <a:pt x="48" y="7"/>
                </a:lnTo>
                <a:lnTo>
                  <a:pt x="47" y="7"/>
                </a:lnTo>
                <a:lnTo>
                  <a:pt x="41" y="10"/>
                </a:lnTo>
                <a:lnTo>
                  <a:pt x="37" y="11"/>
                </a:lnTo>
                <a:lnTo>
                  <a:pt x="35" y="11"/>
                </a:lnTo>
                <a:lnTo>
                  <a:pt x="32" y="15"/>
                </a:lnTo>
                <a:lnTo>
                  <a:pt x="31" y="15"/>
                </a:lnTo>
                <a:lnTo>
                  <a:pt x="30" y="15"/>
                </a:lnTo>
                <a:lnTo>
                  <a:pt x="28" y="15"/>
                </a:lnTo>
                <a:lnTo>
                  <a:pt x="22" y="11"/>
                </a:lnTo>
                <a:lnTo>
                  <a:pt x="21" y="11"/>
                </a:lnTo>
                <a:lnTo>
                  <a:pt x="15" y="11"/>
                </a:lnTo>
                <a:lnTo>
                  <a:pt x="15" y="9"/>
                </a:lnTo>
                <a:lnTo>
                  <a:pt x="15" y="8"/>
                </a:lnTo>
                <a:lnTo>
                  <a:pt x="12" y="7"/>
                </a:lnTo>
                <a:lnTo>
                  <a:pt x="12" y="3"/>
                </a:lnTo>
                <a:lnTo>
                  <a:pt x="11" y="2"/>
                </a:lnTo>
                <a:lnTo>
                  <a:pt x="9" y="1"/>
                </a:lnTo>
                <a:lnTo>
                  <a:pt x="8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89" name="Freeform 188"/>
          <p:cNvSpPr>
            <a:spLocks/>
          </p:cNvSpPr>
          <p:nvPr/>
        </p:nvSpPr>
        <p:spPr bwMode="auto">
          <a:xfrm>
            <a:off x="2241551" y="3300378"/>
            <a:ext cx="146050" cy="71438"/>
          </a:xfrm>
          <a:custGeom>
            <a:avLst/>
            <a:gdLst>
              <a:gd name="T0" fmla="*/ 7 w 92"/>
              <a:gd name="T1" fmla="*/ 0 h 45"/>
              <a:gd name="T2" fmla="*/ 4 w 92"/>
              <a:gd name="T3" fmla="*/ 3 h 45"/>
              <a:gd name="T4" fmla="*/ 6 w 92"/>
              <a:gd name="T5" fmla="*/ 10 h 45"/>
              <a:gd name="T6" fmla="*/ 4 w 92"/>
              <a:gd name="T7" fmla="*/ 15 h 45"/>
              <a:gd name="T8" fmla="*/ 0 w 92"/>
              <a:gd name="T9" fmla="*/ 23 h 45"/>
              <a:gd name="T10" fmla="*/ 2 w 92"/>
              <a:gd name="T11" fmla="*/ 27 h 45"/>
              <a:gd name="T12" fmla="*/ 7 w 92"/>
              <a:gd name="T13" fmla="*/ 23 h 45"/>
              <a:gd name="T14" fmla="*/ 17 w 92"/>
              <a:gd name="T15" fmla="*/ 27 h 45"/>
              <a:gd name="T16" fmla="*/ 21 w 92"/>
              <a:gd name="T17" fmla="*/ 29 h 45"/>
              <a:gd name="T18" fmla="*/ 27 w 92"/>
              <a:gd name="T19" fmla="*/ 37 h 45"/>
              <a:gd name="T20" fmla="*/ 31 w 92"/>
              <a:gd name="T21" fmla="*/ 35 h 45"/>
              <a:gd name="T22" fmla="*/ 34 w 92"/>
              <a:gd name="T23" fmla="*/ 43 h 45"/>
              <a:gd name="T24" fmla="*/ 39 w 92"/>
              <a:gd name="T25" fmla="*/ 45 h 45"/>
              <a:gd name="T26" fmla="*/ 46 w 92"/>
              <a:gd name="T27" fmla="*/ 37 h 45"/>
              <a:gd name="T28" fmla="*/ 40 w 92"/>
              <a:gd name="T29" fmla="*/ 31 h 45"/>
              <a:gd name="T30" fmla="*/ 41 w 92"/>
              <a:gd name="T31" fmla="*/ 27 h 45"/>
              <a:gd name="T32" fmla="*/ 47 w 92"/>
              <a:gd name="T33" fmla="*/ 23 h 45"/>
              <a:gd name="T34" fmla="*/ 55 w 92"/>
              <a:gd name="T35" fmla="*/ 15 h 45"/>
              <a:gd name="T36" fmla="*/ 59 w 92"/>
              <a:gd name="T37" fmla="*/ 11 h 45"/>
              <a:gd name="T38" fmla="*/ 66 w 92"/>
              <a:gd name="T39" fmla="*/ 15 h 45"/>
              <a:gd name="T40" fmla="*/ 77 w 92"/>
              <a:gd name="T41" fmla="*/ 21 h 45"/>
              <a:gd name="T42" fmla="*/ 80 w 92"/>
              <a:gd name="T43" fmla="*/ 23 h 45"/>
              <a:gd name="T44" fmla="*/ 75 w 92"/>
              <a:gd name="T45" fmla="*/ 28 h 45"/>
              <a:gd name="T46" fmla="*/ 76 w 92"/>
              <a:gd name="T47" fmla="*/ 37 h 45"/>
              <a:gd name="T48" fmla="*/ 81 w 92"/>
              <a:gd name="T49" fmla="*/ 42 h 45"/>
              <a:gd name="T50" fmla="*/ 85 w 92"/>
              <a:gd name="T51" fmla="*/ 36 h 45"/>
              <a:gd name="T52" fmla="*/ 88 w 92"/>
              <a:gd name="T53" fmla="*/ 36 h 45"/>
              <a:gd name="T54" fmla="*/ 92 w 92"/>
              <a:gd name="T55" fmla="*/ 29 h 45"/>
              <a:gd name="T56" fmla="*/ 91 w 92"/>
              <a:gd name="T57" fmla="*/ 26 h 45"/>
              <a:gd name="T58" fmla="*/ 89 w 92"/>
              <a:gd name="T59" fmla="*/ 22 h 45"/>
              <a:gd name="T60" fmla="*/ 88 w 92"/>
              <a:gd name="T61" fmla="*/ 16 h 45"/>
              <a:gd name="T62" fmla="*/ 79 w 92"/>
              <a:gd name="T63" fmla="*/ 6 h 45"/>
              <a:gd name="T64" fmla="*/ 69 w 92"/>
              <a:gd name="T65" fmla="*/ 3 h 45"/>
              <a:gd name="T66" fmla="*/ 57 w 92"/>
              <a:gd name="T67" fmla="*/ 0 h 45"/>
              <a:gd name="T68" fmla="*/ 52 w 92"/>
              <a:gd name="T69" fmla="*/ 3 h 45"/>
              <a:gd name="T70" fmla="*/ 49 w 92"/>
              <a:gd name="T71" fmla="*/ 10 h 45"/>
              <a:gd name="T72" fmla="*/ 47 w 92"/>
              <a:gd name="T73" fmla="*/ 7 h 45"/>
              <a:gd name="T74" fmla="*/ 35 w 92"/>
              <a:gd name="T75" fmla="*/ 11 h 45"/>
              <a:gd name="T76" fmla="*/ 30 w 92"/>
              <a:gd name="T77" fmla="*/ 15 h 45"/>
              <a:gd name="T78" fmla="*/ 21 w 92"/>
              <a:gd name="T79" fmla="*/ 11 h 45"/>
              <a:gd name="T80" fmla="*/ 15 w 92"/>
              <a:gd name="T81" fmla="*/ 8 h 45"/>
              <a:gd name="T82" fmla="*/ 11 w 92"/>
              <a:gd name="T83" fmla="*/ 2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92" h="45">
                <a:moveTo>
                  <a:pt x="8" y="0"/>
                </a:moveTo>
                <a:lnTo>
                  <a:pt x="8" y="0"/>
                </a:lnTo>
                <a:lnTo>
                  <a:pt x="7" y="0"/>
                </a:lnTo>
                <a:lnTo>
                  <a:pt x="7" y="0"/>
                </a:lnTo>
                <a:lnTo>
                  <a:pt x="6" y="0"/>
                </a:lnTo>
                <a:lnTo>
                  <a:pt x="4" y="3"/>
                </a:lnTo>
                <a:lnTo>
                  <a:pt x="2" y="8"/>
                </a:lnTo>
                <a:lnTo>
                  <a:pt x="5" y="9"/>
                </a:lnTo>
                <a:lnTo>
                  <a:pt x="6" y="10"/>
                </a:lnTo>
                <a:lnTo>
                  <a:pt x="5" y="12"/>
                </a:lnTo>
                <a:lnTo>
                  <a:pt x="4" y="13"/>
                </a:lnTo>
                <a:lnTo>
                  <a:pt x="4" y="15"/>
                </a:lnTo>
                <a:lnTo>
                  <a:pt x="4" y="19"/>
                </a:lnTo>
                <a:lnTo>
                  <a:pt x="2" y="20"/>
                </a:lnTo>
                <a:lnTo>
                  <a:pt x="0" y="23"/>
                </a:lnTo>
                <a:lnTo>
                  <a:pt x="0" y="23"/>
                </a:lnTo>
                <a:lnTo>
                  <a:pt x="1" y="27"/>
                </a:lnTo>
                <a:lnTo>
                  <a:pt x="2" y="27"/>
                </a:lnTo>
                <a:lnTo>
                  <a:pt x="4" y="25"/>
                </a:lnTo>
                <a:lnTo>
                  <a:pt x="4" y="23"/>
                </a:lnTo>
                <a:lnTo>
                  <a:pt x="7" y="23"/>
                </a:lnTo>
                <a:lnTo>
                  <a:pt x="12" y="25"/>
                </a:lnTo>
                <a:lnTo>
                  <a:pt x="14" y="25"/>
                </a:lnTo>
                <a:lnTo>
                  <a:pt x="17" y="27"/>
                </a:lnTo>
                <a:lnTo>
                  <a:pt x="20" y="27"/>
                </a:lnTo>
                <a:lnTo>
                  <a:pt x="20" y="27"/>
                </a:lnTo>
                <a:lnTo>
                  <a:pt x="21" y="29"/>
                </a:lnTo>
                <a:lnTo>
                  <a:pt x="22" y="31"/>
                </a:lnTo>
                <a:lnTo>
                  <a:pt x="25" y="35"/>
                </a:lnTo>
                <a:lnTo>
                  <a:pt x="27" y="37"/>
                </a:lnTo>
                <a:lnTo>
                  <a:pt x="28" y="37"/>
                </a:lnTo>
                <a:lnTo>
                  <a:pt x="30" y="35"/>
                </a:lnTo>
                <a:lnTo>
                  <a:pt x="31" y="35"/>
                </a:lnTo>
                <a:lnTo>
                  <a:pt x="32" y="37"/>
                </a:lnTo>
                <a:lnTo>
                  <a:pt x="32" y="40"/>
                </a:lnTo>
                <a:lnTo>
                  <a:pt x="34" y="43"/>
                </a:lnTo>
                <a:lnTo>
                  <a:pt x="34" y="45"/>
                </a:lnTo>
                <a:lnTo>
                  <a:pt x="37" y="45"/>
                </a:lnTo>
                <a:lnTo>
                  <a:pt x="39" y="45"/>
                </a:lnTo>
                <a:lnTo>
                  <a:pt x="43" y="41"/>
                </a:lnTo>
                <a:lnTo>
                  <a:pt x="46" y="39"/>
                </a:lnTo>
                <a:lnTo>
                  <a:pt x="46" y="37"/>
                </a:lnTo>
                <a:lnTo>
                  <a:pt x="45" y="36"/>
                </a:lnTo>
                <a:lnTo>
                  <a:pt x="43" y="33"/>
                </a:lnTo>
                <a:lnTo>
                  <a:pt x="40" y="31"/>
                </a:lnTo>
                <a:lnTo>
                  <a:pt x="40" y="30"/>
                </a:lnTo>
                <a:lnTo>
                  <a:pt x="40" y="29"/>
                </a:lnTo>
                <a:lnTo>
                  <a:pt x="41" y="27"/>
                </a:lnTo>
                <a:lnTo>
                  <a:pt x="43" y="25"/>
                </a:lnTo>
                <a:lnTo>
                  <a:pt x="46" y="23"/>
                </a:lnTo>
                <a:lnTo>
                  <a:pt x="47" y="23"/>
                </a:lnTo>
                <a:lnTo>
                  <a:pt x="49" y="22"/>
                </a:lnTo>
                <a:lnTo>
                  <a:pt x="52" y="19"/>
                </a:lnTo>
                <a:lnTo>
                  <a:pt x="55" y="15"/>
                </a:lnTo>
                <a:lnTo>
                  <a:pt x="56" y="13"/>
                </a:lnTo>
                <a:lnTo>
                  <a:pt x="57" y="12"/>
                </a:lnTo>
                <a:lnTo>
                  <a:pt x="59" y="11"/>
                </a:lnTo>
                <a:lnTo>
                  <a:pt x="61" y="11"/>
                </a:lnTo>
                <a:lnTo>
                  <a:pt x="61" y="11"/>
                </a:lnTo>
                <a:lnTo>
                  <a:pt x="66" y="15"/>
                </a:lnTo>
                <a:lnTo>
                  <a:pt x="71" y="18"/>
                </a:lnTo>
                <a:lnTo>
                  <a:pt x="73" y="22"/>
                </a:lnTo>
                <a:lnTo>
                  <a:pt x="77" y="21"/>
                </a:lnTo>
                <a:lnTo>
                  <a:pt x="78" y="21"/>
                </a:lnTo>
                <a:lnTo>
                  <a:pt x="80" y="22"/>
                </a:lnTo>
                <a:lnTo>
                  <a:pt x="80" y="23"/>
                </a:lnTo>
                <a:lnTo>
                  <a:pt x="79" y="23"/>
                </a:lnTo>
                <a:lnTo>
                  <a:pt x="76" y="27"/>
                </a:lnTo>
                <a:lnTo>
                  <a:pt x="75" y="28"/>
                </a:lnTo>
                <a:lnTo>
                  <a:pt x="75" y="31"/>
                </a:lnTo>
                <a:lnTo>
                  <a:pt x="75" y="35"/>
                </a:lnTo>
                <a:lnTo>
                  <a:pt x="76" y="37"/>
                </a:lnTo>
                <a:lnTo>
                  <a:pt x="79" y="40"/>
                </a:lnTo>
                <a:lnTo>
                  <a:pt x="81" y="42"/>
                </a:lnTo>
                <a:lnTo>
                  <a:pt x="81" y="42"/>
                </a:lnTo>
                <a:lnTo>
                  <a:pt x="81" y="40"/>
                </a:lnTo>
                <a:lnTo>
                  <a:pt x="83" y="39"/>
                </a:lnTo>
                <a:lnTo>
                  <a:pt x="85" y="36"/>
                </a:lnTo>
                <a:lnTo>
                  <a:pt x="86" y="36"/>
                </a:lnTo>
                <a:lnTo>
                  <a:pt x="87" y="37"/>
                </a:lnTo>
                <a:lnTo>
                  <a:pt x="88" y="36"/>
                </a:lnTo>
                <a:lnTo>
                  <a:pt x="91" y="31"/>
                </a:lnTo>
                <a:lnTo>
                  <a:pt x="92" y="30"/>
                </a:lnTo>
                <a:lnTo>
                  <a:pt x="92" y="29"/>
                </a:lnTo>
                <a:lnTo>
                  <a:pt x="92" y="28"/>
                </a:lnTo>
                <a:lnTo>
                  <a:pt x="91" y="28"/>
                </a:lnTo>
                <a:lnTo>
                  <a:pt x="91" y="26"/>
                </a:lnTo>
                <a:lnTo>
                  <a:pt x="90" y="23"/>
                </a:lnTo>
                <a:lnTo>
                  <a:pt x="89" y="22"/>
                </a:lnTo>
                <a:lnTo>
                  <a:pt x="89" y="22"/>
                </a:lnTo>
                <a:lnTo>
                  <a:pt x="90" y="19"/>
                </a:lnTo>
                <a:lnTo>
                  <a:pt x="90" y="18"/>
                </a:lnTo>
                <a:lnTo>
                  <a:pt x="88" y="16"/>
                </a:lnTo>
                <a:lnTo>
                  <a:pt x="85" y="12"/>
                </a:lnTo>
                <a:lnTo>
                  <a:pt x="83" y="11"/>
                </a:lnTo>
                <a:lnTo>
                  <a:pt x="79" y="6"/>
                </a:lnTo>
                <a:lnTo>
                  <a:pt x="76" y="5"/>
                </a:lnTo>
                <a:lnTo>
                  <a:pt x="72" y="3"/>
                </a:lnTo>
                <a:lnTo>
                  <a:pt x="69" y="3"/>
                </a:lnTo>
                <a:lnTo>
                  <a:pt x="65" y="2"/>
                </a:lnTo>
                <a:lnTo>
                  <a:pt x="62" y="0"/>
                </a:lnTo>
                <a:lnTo>
                  <a:pt x="57" y="0"/>
                </a:lnTo>
                <a:lnTo>
                  <a:pt x="55" y="1"/>
                </a:lnTo>
                <a:lnTo>
                  <a:pt x="55" y="1"/>
                </a:lnTo>
                <a:lnTo>
                  <a:pt x="52" y="3"/>
                </a:lnTo>
                <a:lnTo>
                  <a:pt x="51" y="9"/>
                </a:lnTo>
                <a:lnTo>
                  <a:pt x="50" y="10"/>
                </a:lnTo>
                <a:lnTo>
                  <a:pt x="49" y="10"/>
                </a:lnTo>
                <a:lnTo>
                  <a:pt x="49" y="7"/>
                </a:lnTo>
                <a:lnTo>
                  <a:pt x="48" y="7"/>
                </a:lnTo>
                <a:lnTo>
                  <a:pt x="47" y="7"/>
                </a:lnTo>
                <a:lnTo>
                  <a:pt x="41" y="10"/>
                </a:lnTo>
                <a:lnTo>
                  <a:pt x="37" y="11"/>
                </a:lnTo>
                <a:lnTo>
                  <a:pt x="35" y="11"/>
                </a:lnTo>
                <a:lnTo>
                  <a:pt x="32" y="15"/>
                </a:lnTo>
                <a:lnTo>
                  <a:pt x="31" y="15"/>
                </a:lnTo>
                <a:lnTo>
                  <a:pt x="30" y="15"/>
                </a:lnTo>
                <a:lnTo>
                  <a:pt x="28" y="15"/>
                </a:lnTo>
                <a:lnTo>
                  <a:pt x="22" y="11"/>
                </a:lnTo>
                <a:lnTo>
                  <a:pt x="21" y="11"/>
                </a:lnTo>
                <a:lnTo>
                  <a:pt x="15" y="11"/>
                </a:lnTo>
                <a:lnTo>
                  <a:pt x="15" y="9"/>
                </a:lnTo>
                <a:lnTo>
                  <a:pt x="15" y="8"/>
                </a:lnTo>
                <a:lnTo>
                  <a:pt x="12" y="7"/>
                </a:lnTo>
                <a:lnTo>
                  <a:pt x="12" y="3"/>
                </a:lnTo>
                <a:lnTo>
                  <a:pt x="11" y="2"/>
                </a:lnTo>
                <a:lnTo>
                  <a:pt x="9" y="1"/>
                </a:lnTo>
                <a:lnTo>
                  <a:pt x="8" y="0"/>
                </a:lnTo>
              </a:path>
            </a:pathLst>
          </a:custGeom>
          <a:solidFill>
            <a:srgbClr val="B1DEEE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90" name="Freeform 189"/>
          <p:cNvSpPr>
            <a:spLocks/>
          </p:cNvSpPr>
          <p:nvPr/>
        </p:nvSpPr>
        <p:spPr bwMode="auto">
          <a:xfrm>
            <a:off x="2022476" y="3062253"/>
            <a:ext cx="101600" cy="120650"/>
          </a:xfrm>
          <a:custGeom>
            <a:avLst/>
            <a:gdLst>
              <a:gd name="T0" fmla="*/ 27 w 64"/>
              <a:gd name="T1" fmla="*/ 0 h 76"/>
              <a:gd name="T2" fmla="*/ 17 w 64"/>
              <a:gd name="T3" fmla="*/ 9 h 76"/>
              <a:gd name="T4" fmla="*/ 23 w 64"/>
              <a:gd name="T5" fmla="*/ 17 h 76"/>
              <a:gd name="T6" fmla="*/ 28 w 64"/>
              <a:gd name="T7" fmla="*/ 23 h 76"/>
              <a:gd name="T8" fmla="*/ 31 w 64"/>
              <a:gd name="T9" fmla="*/ 27 h 76"/>
              <a:gd name="T10" fmla="*/ 31 w 64"/>
              <a:gd name="T11" fmla="*/ 32 h 76"/>
              <a:gd name="T12" fmla="*/ 23 w 64"/>
              <a:gd name="T13" fmla="*/ 31 h 76"/>
              <a:gd name="T14" fmla="*/ 6 w 64"/>
              <a:gd name="T15" fmla="*/ 45 h 76"/>
              <a:gd name="T16" fmla="*/ 4 w 64"/>
              <a:gd name="T17" fmla="*/ 48 h 76"/>
              <a:gd name="T18" fmla="*/ 3 w 64"/>
              <a:gd name="T19" fmla="*/ 50 h 76"/>
              <a:gd name="T20" fmla="*/ 3 w 64"/>
              <a:gd name="T21" fmla="*/ 54 h 76"/>
              <a:gd name="T22" fmla="*/ 1 w 64"/>
              <a:gd name="T23" fmla="*/ 59 h 76"/>
              <a:gd name="T24" fmla="*/ 1 w 64"/>
              <a:gd name="T25" fmla="*/ 61 h 76"/>
              <a:gd name="T26" fmla="*/ 2 w 64"/>
              <a:gd name="T27" fmla="*/ 62 h 76"/>
              <a:gd name="T28" fmla="*/ 5 w 64"/>
              <a:gd name="T29" fmla="*/ 65 h 76"/>
              <a:gd name="T30" fmla="*/ 10 w 64"/>
              <a:gd name="T31" fmla="*/ 69 h 76"/>
              <a:gd name="T32" fmla="*/ 15 w 64"/>
              <a:gd name="T33" fmla="*/ 72 h 76"/>
              <a:gd name="T34" fmla="*/ 24 w 64"/>
              <a:gd name="T35" fmla="*/ 72 h 76"/>
              <a:gd name="T36" fmla="*/ 31 w 64"/>
              <a:gd name="T37" fmla="*/ 74 h 76"/>
              <a:gd name="T38" fmla="*/ 33 w 64"/>
              <a:gd name="T39" fmla="*/ 75 h 76"/>
              <a:gd name="T40" fmla="*/ 37 w 64"/>
              <a:gd name="T41" fmla="*/ 70 h 76"/>
              <a:gd name="T42" fmla="*/ 42 w 64"/>
              <a:gd name="T43" fmla="*/ 67 h 76"/>
              <a:gd name="T44" fmla="*/ 43 w 64"/>
              <a:gd name="T45" fmla="*/ 64 h 76"/>
              <a:gd name="T46" fmla="*/ 45 w 64"/>
              <a:gd name="T47" fmla="*/ 62 h 76"/>
              <a:gd name="T48" fmla="*/ 48 w 64"/>
              <a:gd name="T49" fmla="*/ 59 h 76"/>
              <a:gd name="T50" fmla="*/ 48 w 64"/>
              <a:gd name="T51" fmla="*/ 56 h 76"/>
              <a:gd name="T52" fmla="*/ 47 w 64"/>
              <a:gd name="T53" fmla="*/ 54 h 76"/>
              <a:gd name="T54" fmla="*/ 51 w 64"/>
              <a:gd name="T55" fmla="*/ 51 h 76"/>
              <a:gd name="T56" fmla="*/ 53 w 64"/>
              <a:gd name="T57" fmla="*/ 50 h 76"/>
              <a:gd name="T58" fmla="*/ 62 w 64"/>
              <a:gd name="T59" fmla="*/ 42 h 76"/>
              <a:gd name="T60" fmla="*/ 64 w 64"/>
              <a:gd name="T61" fmla="*/ 39 h 76"/>
              <a:gd name="T62" fmla="*/ 64 w 64"/>
              <a:gd name="T63" fmla="*/ 38 h 76"/>
              <a:gd name="T64" fmla="*/ 63 w 64"/>
              <a:gd name="T65" fmla="*/ 37 h 76"/>
              <a:gd name="T66" fmla="*/ 59 w 64"/>
              <a:gd name="T67" fmla="*/ 38 h 76"/>
              <a:gd name="T68" fmla="*/ 56 w 64"/>
              <a:gd name="T69" fmla="*/ 37 h 76"/>
              <a:gd name="T70" fmla="*/ 56 w 64"/>
              <a:gd name="T71" fmla="*/ 36 h 76"/>
              <a:gd name="T72" fmla="*/ 51 w 64"/>
              <a:gd name="T73" fmla="*/ 35 h 76"/>
              <a:gd name="T74" fmla="*/ 52 w 64"/>
              <a:gd name="T75" fmla="*/ 23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4" h="76">
                <a:moveTo>
                  <a:pt x="55" y="0"/>
                </a:moveTo>
                <a:lnTo>
                  <a:pt x="27" y="0"/>
                </a:lnTo>
                <a:lnTo>
                  <a:pt x="26" y="9"/>
                </a:lnTo>
                <a:lnTo>
                  <a:pt x="17" y="9"/>
                </a:lnTo>
                <a:lnTo>
                  <a:pt x="17" y="8"/>
                </a:lnTo>
                <a:lnTo>
                  <a:pt x="23" y="17"/>
                </a:lnTo>
                <a:lnTo>
                  <a:pt x="27" y="19"/>
                </a:lnTo>
                <a:lnTo>
                  <a:pt x="28" y="23"/>
                </a:lnTo>
                <a:lnTo>
                  <a:pt x="31" y="25"/>
                </a:lnTo>
                <a:lnTo>
                  <a:pt x="31" y="27"/>
                </a:lnTo>
                <a:lnTo>
                  <a:pt x="31" y="31"/>
                </a:lnTo>
                <a:lnTo>
                  <a:pt x="31" y="32"/>
                </a:lnTo>
                <a:lnTo>
                  <a:pt x="29" y="31"/>
                </a:lnTo>
                <a:lnTo>
                  <a:pt x="23" y="31"/>
                </a:lnTo>
                <a:lnTo>
                  <a:pt x="15" y="32"/>
                </a:lnTo>
                <a:lnTo>
                  <a:pt x="6" y="45"/>
                </a:lnTo>
                <a:lnTo>
                  <a:pt x="6" y="45"/>
                </a:lnTo>
                <a:lnTo>
                  <a:pt x="4" y="48"/>
                </a:lnTo>
                <a:lnTo>
                  <a:pt x="3" y="50"/>
                </a:lnTo>
                <a:lnTo>
                  <a:pt x="3" y="50"/>
                </a:lnTo>
                <a:lnTo>
                  <a:pt x="3" y="52"/>
                </a:lnTo>
                <a:lnTo>
                  <a:pt x="3" y="54"/>
                </a:lnTo>
                <a:lnTo>
                  <a:pt x="2" y="55"/>
                </a:lnTo>
                <a:lnTo>
                  <a:pt x="1" y="59"/>
                </a:lnTo>
                <a:lnTo>
                  <a:pt x="0" y="60"/>
                </a:lnTo>
                <a:lnTo>
                  <a:pt x="1" y="61"/>
                </a:lnTo>
                <a:lnTo>
                  <a:pt x="2" y="62"/>
                </a:lnTo>
                <a:lnTo>
                  <a:pt x="2" y="62"/>
                </a:lnTo>
                <a:lnTo>
                  <a:pt x="4" y="65"/>
                </a:lnTo>
                <a:lnTo>
                  <a:pt x="5" y="65"/>
                </a:lnTo>
                <a:lnTo>
                  <a:pt x="8" y="68"/>
                </a:lnTo>
                <a:lnTo>
                  <a:pt x="10" y="69"/>
                </a:lnTo>
                <a:lnTo>
                  <a:pt x="13" y="71"/>
                </a:lnTo>
                <a:lnTo>
                  <a:pt x="15" y="72"/>
                </a:lnTo>
                <a:lnTo>
                  <a:pt x="18" y="72"/>
                </a:lnTo>
                <a:lnTo>
                  <a:pt x="24" y="72"/>
                </a:lnTo>
                <a:lnTo>
                  <a:pt x="26" y="74"/>
                </a:lnTo>
                <a:lnTo>
                  <a:pt x="31" y="74"/>
                </a:lnTo>
                <a:lnTo>
                  <a:pt x="33" y="76"/>
                </a:lnTo>
                <a:lnTo>
                  <a:pt x="33" y="75"/>
                </a:lnTo>
                <a:lnTo>
                  <a:pt x="35" y="71"/>
                </a:lnTo>
                <a:lnTo>
                  <a:pt x="37" y="70"/>
                </a:lnTo>
                <a:lnTo>
                  <a:pt x="39" y="68"/>
                </a:lnTo>
                <a:lnTo>
                  <a:pt x="42" y="67"/>
                </a:lnTo>
                <a:lnTo>
                  <a:pt x="43" y="66"/>
                </a:lnTo>
                <a:lnTo>
                  <a:pt x="43" y="64"/>
                </a:lnTo>
                <a:lnTo>
                  <a:pt x="44" y="62"/>
                </a:lnTo>
                <a:lnTo>
                  <a:pt x="45" y="62"/>
                </a:lnTo>
                <a:lnTo>
                  <a:pt x="45" y="60"/>
                </a:lnTo>
                <a:lnTo>
                  <a:pt x="48" y="59"/>
                </a:lnTo>
                <a:lnTo>
                  <a:pt x="48" y="57"/>
                </a:lnTo>
                <a:lnTo>
                  <a:pt x="48" y="56"/>
                </a:lnTo>
                <a:lnTo>
                  <a:pt x="47" y="56"/>
                </a:lnTo>
                <a:lnTo>
                  <a:pt x="47" y="54"/>
                </a:lnTo>
                <a:lnTo>
                  <a:pt x="48" y="52"/>
                </a:lnTo>
                <a:lnTo>
                  <a:pt x="51" y="51"/>
                </a:lnTo>
                <a:lnTo>
                  <a:pt x="52" y="50"/>
                </a:lnTo>
                <a:lnTo>
                  <a:pt x="53" y="50"/>
                </a:lnTo>
                <a:lnTo>
                  <a:pt x="56" y="47"/>
                </a:lnTo>
                <a:lnTo>
                  <a:pt x="62" y="42"/>
                </a:lnTo>
                <a:lnTo>
                  <a:pt x="63" y="40"/>
                </a:lnTo>
                <a:lnTo>
                  <a:pt x="64" y="39"/>
                </a:lnTo>
                <a:lnTo>
                  <a:pt x="64" y="39"/>
                </a:lnTo>
                <a:lnTo>
                  <a:pt x="64" y="38"/>
                </a:lnTo>
                <a:lnTo>
                  <a:pt x="64" y="38"/>
                </a:lnTo>
                <a:lnTo>
                  <a:pt x="63" y="37"/>
                </a:lnTo>
                <a:lnTo>
                  <a:pt x="62" y="37"/>
                </a:lnTo>
                <a:lnTo>
                  <a:pt x="59" y="38"/>
                </a:lnTo>
                <a:lnTo>
                  <a:pt x="58" y="38"/>
                </a:lnTo>
                <a:lnTo>
                  <a:pt x="56" y="37"/>
                </a:lnTo>
                <a:lnTo>
                  <a:pt x="56" y="35"/>
                </a:lnTo>
                <a:lnTo>
                  <a:pt x="56" y="36"/>
                </a:lnTo>
                <a:lnTo>
                  <a:pt x="53" y="35"/>
                </a:lnTo>
                <a:lnTo>
                  <a:pt x="51" y="35"/>
                </a:lnTo>
                <a:lnTo>
                  <a:pt x="51" y="34"/>
                </a:lnTo>
                <a:lnTo>
                  <a:pt x="52" y="23"/>
                </a:lnTo>
                <a:lnTo>
                  <a:pt x="55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91" name="Freeform 190"/>
          <p:cNvSpPr>
            <a:spLocks/>
          </p:cNvSpPr>
          <p:nvPr/>
        </p:nvSpPr>
        <p:spPr bwMode="auto">
          <a:xfrm>
            <a:off x="2022476" y="3062253"/>
            <a:ext cx="101600" cy="120650"/>
          </a:xfrm>
          <a:custGeom>
            <a:avLst/>
            <a:gdLst>
              <a:gd name="T0" fmla="*/ 27 w 64"/>
              <a:gd name="T1" fmla="*/ 0 h 76"/>
              <a:gd name="T2" fmla="*/ 17 w 64"/>
              <a:gd name="T3" fmla="*/ 9 h 76"/>
              <a:gd name="T4" fmla="*/ 23 w 64"/>
              <a:gd name="T5" fmla="*/ 17 h 76"/>
              <a:gd name="T6" fmla="*/ 28 w 64"/>
              <a:gd name="T7" fmla="*/ 23 h 76"/>
              <a:gd name="T8" fmla="*/ 31 w 64"/>
              <a:gd name="T9" fmla="*/ 27 h 76"/>
              <a:gd name="T10" fmla="*/ 31 w 64"/>
              <a:gd name="T11" fmla="*/ 32 h 76"/>
              <a:gd name="T12" fmla="*/ 23 w 64"/>
              <a:gd name="T13" fmla="*/ 31 h 76"/>
              <a:gd name="T14" fmla="*/ 6 w 64"/>
              <a:gd name="T15" fmla="*/ 45 h 76"/>
              <a:gd name="T16" fmla="*/ 4 w 64"/>
              <a:gd name="T17" fmla="*/ 48 h 76"/>
              <a:gd name="T18" fmla="*/ 3 w 64"/>
              <a:gd name="T19" fmla="*/ 50 h 76"/>
              <a:gd name="T20" fmla="*/ 3 w 64"/>
              <a:gd name="T21" fmla="*/ 54 h 76"/>
              <a:gd name="T22" fmla="*/ 1 w 64"/>
              <a:gd name="T23" fmla="*/ 59 h 76"/>
              <a:gd name="T24" fmla="*/ 1 w 64"/>
              <a:gd name="T25" fmla="*/ 61 h 76"/>
              <a:gd name="T26" fmla="*/ 2 w 64"/>
              <a:gd name="T27" fmla="*/ 62 h 76"/>
              <a:gd name="T28" fmla="*/ 5 w 64"/>
              <a:gd name="T29" fmla="*/ 65 h 76"/>
              <a:gd name="T30" fmla="*/ 10 w 64"/>
              <a:gd name="T31" fmla="*/ 69 h 76"/>
              <a:gd name="T32" fmla="*/ 15 w 64"/>
              <a:gd name="T33" fmla="*/ 72 h 76"/>
              <a:gd name="T34" fmla="*/ 24 w 64"/>
              <a:gd name="T35" fmla="*/ 72 h 76"/>
              <a:gd name="T36" fmla="*/ 31 w 64"/>
              <a:gd name="T37" fmla="*/ 74 h 76"/>
              <a:gd name="T38" fmla="*/ 33 w 64"/>
              <a:gd name="T39" fmla="*/ 75 h 76"/>
              <a:gd name="T40" fmla="*/ 37 w 64"/>
              <a:gd name="T41" fmla="*/ 70 h 76"/>
              <a:gd name="T42" fmla="*/ 42 w 64"/>
              <a:gd name="T43" fmla="*/ 67 h 76"/>
              <a:gd name="T44" fmla="*/ 43 w 64"/>
              <a:gd name="T45" fmla="*/ 64 h 76"/>
              <a:gd name="T46" fmla="*/ 45 w 64"/>
              <a:gd name="T47" fmla="*/ 62 h 76"/>
              <a:gd name="T48" fmla="*/ 48 w 64"/>
              <a:gd name="T49" fmla="*/ 59 h 76"/>
              <a:gd name="T50" fmla="*/ 48 w 64"/>
              <a:gd name="T51" fmla="*/ 56 h 76"/>
              <a:gd name="T52" fmla="*/ 47 w 64"/>
              <a:gd name="T53" fmla="*/ 54 h 76"/>
              <a:gd name="T54" fmla="*/ 51 w 64"/>
              <a:gd name="T55" fmla="*/ 51 h 76"/>
              <a:gd name="T56" fmla="*/ 53 w 64"/>
              <a:gd name="T57" fmla="*/ 50 h 76"/>
              <a:gd name="T58" fmla="*/ 62 w 64"/>
              <a:gd name="T59" fmla="*/ 42 h 76"/>
              <a:gd name="T60" fmla="*/ 64 w 64"/>
              <a:gd name="T61" fmla="*/ 39 h 76"/>
              <a:gd name="T62" fmla="*/ 64 w 64"/>
              <a:gd name="T63" fmla="*/ 38 h 76"/>
              <a:gd name="T64" fmla="*/ 63 w 64"/>
              <a:gd name="T65" fmla="*/ 37 h 76"/>
              <a:gd name="T66" fmla="*/ 59 w 64"/>
              <a:gd name="T67" fmla="*/ 38 h 76"/>
              <a:gd name="T68" fmla="*/ 56 w 64"/>
              <a:gd name="T69" fmla="*/ 37 h 76"/>
              <a:gd name="T70" fmla="*/ 56 w 64"/>
              <a:gd name="T71" fmla="*/ 36 h 76"/>
              <a:gd name="T72" fmla="*/ 51 w 64"/>
              <a:gd name="T73" fmla="*/ 35 h 76"/>
              <a:gd name="T74" fmla="*/ 52 w 64"/>
              <a:gd name="T75" fmla="*/ 23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4" h="76">
                <a:moveTo>
                  <a:pt x="55" y="0"/>
                </a:moveTo>
                <a:lnTo>
                  <a:pt x="27" y="0"/>
                </a:lnTo>
                <a:lnTo>
                  <a:pt x="26" y="9"/>
                </a:lnTo>
                <a:lnTo>
                  <a:pt x="17" y="9"/>
                </a:lnTo>
                <a:lnTo>
                  <a:pt x="17" y="8"/>
                </a:lnTo>
                <a:lnTo>
                  <a:pt x="23" y="17"/>
                </a:lnTo>
                <a:lnTo>
                  <a:pt x="27" y="19"/>
                </a:lnTo>
                <a:lnTo>
                  <a:pt x="28" y="23"/>
                </a:lnTo>
                <a:lnTo>
                  <a:pt x="31" y="25"/>
                </a:lnTo>
                <a:lnTo>
                  <a:pt x="31" y="27"/>
                </a:lnTo>
                <a:lnTo>
                  <a:pt x="31" y="31"/>
                </a:lnTo>
                <a:lnTo>
                  <a:pt x="31" y="32"/>
                </a:lnTo>
                <a:lnTo>
                  <a:pt x="29" y="31"/>
                </a:lnTo>
                <a:lnTo>
                  <a:pt x="23" y="31"/>
                </a:lnTo>
                <a:lnTo>
                  <a:pt x="15" y="32"/>
                </a:lnTo>
                <a:lnTo>
                  <a:pt x="6" y="45"/>
                </a:lnTo>
                <a:lnTo>
                  <a:pt x="6" y="45"/>
                </a:lnTo>
                <a:lnTo>
                  <a:pt x="4" y="48"/>
                </a:lnTo>
                <a:lnTo>
                  <a:pt x="3" y="50"/>
                </a:lnTo>
                <a:lnTo>
                  <a:pt x="3" y="50"/>
                </a:lnTo>
                <a:lnTo>
                  <a:pt x="3" y="52"/>
                </a:lnTo>
                <a:lnTo>
                  <a:pt x="3" y="54"/>
                </a:lnTo>
                <a:lnTo>
                  <a:pt x="2" y="55"/>
                </a:lnTo>
                <a:lnTo>
                  <a:pt x="1" y="59"/>
                </a:lnTo>
                <a:lnTo>
                  <a:pt x="0" y="60"/>
                </a:lnTo>
                <a:lnTo>
                  <a:pt x="1" y="61"/>
                </a:lnTo>
                <a:lnTo>
                  <a:pt x="2" y="62"/>
                </a:lnTo>
                <a:lnTo>
                  <a:pt x="2" y="62"/>
                </a:lnTo>
                <a:lnTo>
                  <a:pt x="4" y="65"/>
                </a:lnTo>
                <a:lnTo>
                  <a:pt x="5" y="65"/>
                </a:lnTo>
                <a:lnTo>
                  <a:pt x="8" y="68"/>
                </a:lnTo>
                <a:lnTo>
                  <a:pt x="10" y="69"/>
                </a:lnTo>
                <a:lnTo>
                  <a:pt x="13" y="71"/>
                </a:lnTo>
                <a:lnTo>
                  <a:pt x="15" y="72"/>
                </a:lnTo>
                <a:lnTo>
                  <a:pt x="18" y="72"/>
                </a:lnTo>
                <a:lnTo>
                  <a:pt x="24" y="72"/>
                </a:lnTo>
                <a:lnTo>
                  <a:pt x="26" y="74"/>
                </a:lnTo>
                <a:lnTo>
                  <a:pt x="31" y="74"/>
                </a:lnTo>
                <a:lnTo>
                  <a:pt x="33" y="76"/>
                </a:lnTo>
                <a:lnTo>
                  <a:pt x="33" y="75"/>
                </a:lnTo>
                <a:lnTo>
                  <a:pt x="35" y="71"/>
                </a:lnTo>
                <a:lnTo>
                  <a:pt x="37" y="70"/>
                </a:lnTo>
                <a:lnTo>
                  <a:pt x="39" y="68"/>
                </a:lnTo>
                <a:lnTo>
                  <a:pt x="42" y="67"/>
                </a:lnTo>
                <a:lnTo>
                  <a:pt x="43" y="66"/>
                </a:lnTo>
                <a:lnTo>
                  <a:pt x="43" y="64"/>
                </a:lnTo>
                <a:lnTo>
                  <a:pt x="44" y="62"/>
                </a:lnTo>
                <a:lnTo>
                  <a:pt x="45" y="62"/>
                </a:lnTo>
                <a:lnTo>
                  <a:pt x="45" y="60"/>
                </a:lnTo>
                <a:lnTo>
                  <a:pt x="48" y="59"/>
                </a:lnTo>
                <a:lnTo>
                  <a:pt x="48" y="57"/>
                </a:lnTo>
                <a:lnTo>
                  <a:pt x="48" y="56"/>
                </a:lnTo>
                <a:lnTo>
                  <a:pt x="47" y="56"/>
                </a:lnTo>
                <a:lnTo>
                  <a:pt x="47" y="54"/>
                </a:lnTo>
                <a:lnTo>
                  <a:pt x="48" y="52"/>
                </a:lnTo>
                <a:lnTo>
                  <a:pt x="51" y="51"/>
                </a:lnTo>
                <a:lnTo>
                  <a:pt x="52" y="50"/>
                </a:lnTo>
                <a:lnTo>
                  <a:pt x="53" y="50"/>
                </a:lnTo>
                <a:lnTo>
                  <a:pt x="56" y="47"/>
                </a:lnTo>
                <a:lnTo>
                  <a:pt x="62" y="42"/>
                </a:lnTo>
                <a:lnTo>
                  <a:pt x="63" y="40"/>
                </a:lnTo>
                <a:lnTo>
                  <a:pt x="64" y="39"/>
                </a:lnTo>
                <a:lnTo>
                  <a:pt x="64" y="39"/>
                </a:lnTo>
                <a:lnTo>
                  <a:pt x="64" y="38"/>
                </a:lnTo>
                <a:lnTo>
                  <a:pt x="64" y="38"/>
                </a:lnTo>
                <a:lnTo>
                  <a:pt x="63" y="37"/>
                </a:lnTo>
                <a:lnTo>
                  <a:pt x="62" y="37"/>
                </a:lnTo>
                <a:lnTo>
                  <a:pt x="59" y="38"/>
                </a:lnTo>
                <a:lnTo>
                  <a:pt x="58" y="38"/>
                </a:lnTo>
                <a:lnTo>
                  <a:pt x="56" y="37"/>
                </a:lnTo>
                <a:lnTo>
                  <a:pt x="56" y="35"/>
                </a:lnTo>
                <a:lnTo>
                  <a:pt x="56" y="36"/>
                </a:lnTo>
                <a:lnTo>
                  <a:pt x="53" y="35"/>
                </a:lnTo>
                <a:lnTo>
                  <a:pt x="51" y="35"/>
                </a:lnTo>
                <a:lnTo>
                  <a:pt x="51" y="34"/>
                </a:lnTo>
                <a:lnTo>
                  <a:pt x="52" y="23"/>
                </a:lnTo>
                <a:lnTo>
                  <a:pt x="55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92" name="Freeform 191"/>
          <p:cNvSpPr>
            <a:spLocks/>
          </p:cNvSpPr>
          <p:nvPr/>
        </p:nvSpPr>
        <p:spPr bwMode="auto">
          <a:xfrm>
            <a:off x="2546351" y="3003516"/>
            <a:ext cx="88900" cy="65088"/>
          </a:xfrm>
          <a:custGeom>
            <a:avLst/>
            <a:gdLst>
              <a:gd name="T0" fmla="*/ 5 w 56"/>
              <a:gd name="T1" fmla="*/ 1 h 41"/>
              <a:gd name="T2" fmla="*/ 9 w 56"/>
              <a:gd name="T3" fmla="*/ 0 h 41"/>
              <a:gd name="T4" fmla="*/ 20 w 56"/>
              <a:gd name="T5" fmla="*/ 1 h 41"/>
              <a:gd name="T6" fmla="*/ 29 w 56"/>
              <a:gd name="T7" fmla="*/ 4 h 41"/>
              <a:gd name="T8" fmla="*/ 33 w 56"/>
              <a:gd name="T9" fmla="*/ 6 h 41"/>
              <a:gd name="T10" fmla="*/ 35 w 56"/>
              <a:gd name="T11" fmla="*/ 10 h 41"/>
              <a:gd name="T12" fmla="*/ 42 w 56"/>
              <a:gd name="T13" fmla="*/ 11 h 41"/>
              <a:gd name="T14" fmla="*/ 43 w 56"/>
              <a:gd name="T15" fmla="*/ 13 h 41"/>
              <a:gd name="T16" fmla="*/ 38 w 56"/>
              <a:gd name="T17" fmla="*/ 13 h 41"/>
              <a:gd name="T18" fmla="*/ 41 w 56"/>
              <a:gd name="T19" fmla="*/ 16 h 41"/>
              <a:gd name="T20" fmla="*/ 50 w 56"/>
              <a:gd name="T21" fmla="*/ 18 h 41"/>
              <a:gd name="T22" fmla="*/ 55 w 56"/>
              <a:gd name="T23" fmla="*/ 22 h 41"/>
              <a:gd name="T24" fmla="*/ 55 w 56"/>
              <a:gd name="T25" fmla="*/ 25 h 41"/>
              <a:gd name="T26" fmla="*/ 51 w 56"/>
              <a:gd name="T27" fmla="*/ 30 h 41"/>
              <a:gd name="T28" fmla="*/ 48 w 56"/>
              <a:gd name="T29" fmla="*/ 28 h 41"/>
              <a:gd name="T30" fmla="*/ 36 w 56"/>
              <a:gd name="T31" fmla="*/ 26 h 41"/>
              <a:gd name="T32" fmla="*/ 28 w 56"/>
              <a:gd name="T33" fmla="*/ 28 h 41"/>
              <a:gd name="T34" fmla="*/ 27 w 56"/>
              <a:gd name="T35" fmla="*/ 31 h 41"/>
              <a:gd name="T36" fmla="*/ 20 w 56"/>
              <a:gd name="T37" fmla="*/ 33 h 41"/>
              <a:gd name="T38" fmla="*/ 19 w 56"/>
              <a:gd name="T39" fmla="*/ 28 h 41"/>
              <a:gd name="T40" fmla="*/ 15 w 56"/>
              <a:gd name="T41" fmla="*/ 28 h 41"/>
              <a:gd name="T42" fmla="*/ 11 w 56"/>
              <a:gd name="T43" fmla="*/ 32 h 41"/>
              <a:gd name="T44" fmla="*/ 8 w 56"/>
              <a:gd name="T45" fmla="*/ 37 h 41"/>
              <a:gd name="T46" fmla="*/ 5 w 56"/>
              <a:gd name="T47" fmla="*/ 41 h 41"/>
              <a:gd name="T48" fmla="*/ 4 w 56"/>
              <a:gd name="T49" fmla="*/ 41 h 41"/>
              <a:gd name="T50" fmla="*/ 1 w 56"/>
              <a:gd name="T51" fmla="*/ 38 h 41"/>
              <a:gd name="T52" fmla="*/ 1 w 56"/>
              <a:gd name="T53" fmla="*/ 34 h 41"/>
              <a:gd name="T54" fmla="*/ 2 w 56"/>
              <a:gd name="T55" fmla="*/ 30 h 41"/>
              <a:gd name="T56" fmla="*/ 0 w 56"/>
              <a:gd name="T57" fmla="*/ 25 h 41"/>
              <a:gd name="T58" fmla="*/ 1 w 56"/>
              <a:gd name="T59" fmla="*/ 23 h 41"/>
              <a:gd name="T60" fmla="*/ 4 w 56"/>
              <a:gd name="T61" fmla="*/ 16 h 41"/>
              <a:gd name="T62" fmla="*/ 6 w 56"/>
              <a:gd name="T63" fmla="*/ 13 h 41"/>
              <a:gd name="T64" fmla="*/ 6 w 56"/>
              <a:gd name="T65" fmla="*/ 7 h 41"/>
              <a:gd name="T66" fmla="*/ 4 w 56"/>
              <a:gd name="T67" fmla="*/ 2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6" h="41">
                <a:moveTo>
                  <a:pt x="4" y="2"/>
                </a:moveTo>
                <a:lnTo>
                  <a:pt x="5" y="1"/>
                </a:lnTo>
                <a:lnTo>
                  <a:pt x="6" y="0"/>
                </a:lnTo>
                <a:lnTo>
                  <a:pt x="9" y="0"/>
                </a:lnTo>
                <a:lnTo>
                  <a:pt x="12" y="1"/>
                </a:lnTo>
                <a:lnTo>
                  <a:pt x="20" y="1"/>
                </a:lnTo>
                <a:lnTo>
                  <a:pt x="25" y="2"/>
                </a:lnTo>
                <a:lnTo>
                  <a:pt x="29" y="4"/>
                </a:lnTo>
                <a:lnTo>
                  <a:pt x="32" y="5"/>
                </a:lnTo>
                <a:lnTo>
                  <a:pt x="33" y="6"/>
                </a:lnTo>
                <a:lnTo>
                  <a:pt x="33" y="10"/>
                </a:lnTo>
                <a:lnTo>
                  <a:pt x="35" y="10"/>
                </a:lnTo>
                <a:lnTo>
                  <a:pt x="37" y="11"/>
                </a:lnTo>
                <a:lnTo>
                  <a:pt x="42" y="11"/>
                </a:lnTo>
                <a:lnTo>
                  <a:pt x="43" y="11"/>
                </a:lnTo>
                <a:lnTo>
                  <a:pt x="43" y="13"/>
                </a:lnTo>
                <a:lnTo>
                  <a:pt x="41" y="13"/>
                </a:lnTo>
                <a:lnTo>
                  <a:pt x="38" y="13"/>
                </a:lnTo>
                <a:lnTo>
                  <a:pt x="38" y="15"/>
                </a:lnTo>
                <a:lnTo>
                  <a:pt x="41" y="16"/>
                </a:lnTo>
                <a:lnTo>
                  <a:pt x="49" y="16"/>
                </a:lnTo>
                <a:lnTo>
                  <a:pt x="50" y="18"/>
                </a:lnTo>
                <a:lnTo>
                  <a:pt x="53" y="22"/>
                </a:lnTo>
                <a:lnTo>
                  <a:pt x="55" y="22"/>
                </a:lnTo>
                <a:lnTo>
                  <a:pt x="56" y="23"/>
                </a:lnTo>
                <a:lnTo>
                  <a:pt x="55" y="25"/>
                </a:lnTo>
                <a:lnTo>
                  <a:pt x="53" y="28"/>
                </a:lnTo>
                <a:lnTo>
                  <a:pt x="51" y="30"/>
                </a:lnTo>
                <a:lnTo>
                  <a:pt x="49" y="30"/>
                </a:lnTo>
                <a:lnTo>
                  <a:pt x="48" y="28"/>
                </a:lnTo>
                <a:lnTo>
                  <a:pt x="45" y="27"/>
                </a:lnTo>
                <a:lnTo>
                  <a:pt x="36" y="26"/>
                </a:lnTo>
                <a:lnTo>
                  <a:pt x="30" y="27"/>
                </a:lnTo>
                <a:lnTo>
                  <a:pt x="28" y="28"/>
                </a:lnTo>
                <a:lnTo>
                  <a:pt x="27" y="30"/>
                </a:lnTo>
                <a:lnTo>
                  <a:pt x="27" y="31"/>
                </a:lnTo>
                <a:lnTo>
                  <a:pt x="23" y="32"/>
                </a:lnTo>
                <a:lnTo>
                  <a:pt x="20" y="33"/>
                </a:lnTo>
                <a:lnTo>
                  <a:pt x="19" y="28"/>
                </a:lnTo>
                <a:lnTo>
                  <a:pt x="19" y="28"/>
                </a:lnTo>
                <a:lnTo>
                  <a:pt x="17" y="27"/>
                </a:lnTo>
                <a:lnTo>
                  <a:pt x="15" y="28"/>
                </a:lnTo>
                <a:lnTo>
                  <a:pt x="13" y="30"/>
                </a:lnTo>
                <a:lnTo>
                  <a:pt x="11" y="32"/>
                </a:lnTo>
                <a:lnTo>
                  <a:pt x="9" y="36"/>
                </a:lnTo>
                <a:lnTo>
                  <a:pt x="8" y="37"/>
                </a:lnTo>
                <a:lnTo>
                  <a:pt x="8" y="38"/>
                </a:lnTo>
                <a:lnTo>
                  <a:pt x="5" y="41"/>
                </a:lnTo>
                <a:lnTo>
                  <a:pt x="4" y="41"/>
                </a:lnTo>
                <a:lnTo>
                  <a:pt x="4" y="41"/>
                </a:lnTo>
                <a:lnTo>
                  <a:pt x="1" y="38"/>
                </a:lnTo>
                <a:lnTo>
                  <a:pt x="1" y="38"/>
                </a:lnTo>
                <a:lnTo>
                  <a:pt x="1" y="35"/>
                </a:lnTo>
                <a:lnTo>
                  <a:pt x="1" y="34"/>
                </a:lnTo>
                <a:lnTo>
                  <a:pt x="1" y="33"/>
                </a:lnTo>
                <a:lnTo>
                  <a:pt x="2" y="30"/>
                </a:lnTo>
                <a:lnTo>
                  <a:pt x="2" y="27"/>
                </a:lnTo>
                <a:lnTo>
                  <a:pt x="0" y="25"/>
                </a:lnTo>
                <a:lnTo>
                  <a:pt x="0" y="24"/>
                </a:lnTo>
                <a:lnTo>
                  <a:pt x="1" y="23"/>
                </a:lnTo>
                <a:lnTo>
                  <a:pt x="4" y="21"/>
                </a:lnTo>
                <a:lnTo>
                  <a:pt x="4" y="16"/>
                </a:lnTo>
                <a:lnTo>
                  <a:pt x="5" y="15"/>
                </a:lnTo>
                <a:lnTo>
                  <a:pt x="6" y="13"/>
                </a:lnTo>
                <a:lnTo>
                  <a:pt x="5" y="12"/>
                </a:lnTo>
                <a:lnTo>
                  <a:pt x="6" y="7"/>
                </a:lnTo>
                <a:lnTo>
                  <a:pt x="6" y="4"/>
                </a:lnTo>
                <a:lnTo>
                  <a:pt x="4" y="2"/>
                </a:lnTo>
                <a:lnTo>
                  <a:pt x="4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93" name="Freeform 192"/>
          <p:cNvSpPr>
            <a:spLocks/>
          </p:cNvSpPr>
          <p:nvPr/>
        </p:nvSpPr>
        <p:spPr bwMode="auto">
          <a:xfrm>
            <a:off x="2546351" y="3003516"/>
            <a:ext cx="88900" cy="65088"/>
          </a:xfrm>
          <a:custGeom>
            <a:avLst/>
            <a:gdLst>
              <a:gd name="T0" fmla="*/ 5 w 56"/>
              <a:gd name="T1" fmla="*/ 1 h 41"/>
              <a:gd name="T2" fmla="*/ 9 w 56"/>
              <a:gd name="T3" fmla="*/ 0 h 41"/>
              <a:gd name="T4" fmla="*/ 20 w 56"/>
              <a:gd name="T5" fmla="*/ 1 h 41"/>
              <a:gd name="T6" fmla="*/ 29 w 56"/>
              <a:gd name="T7" fmla="*/ 4 h 41"/>
              <a:gd name="T8" fmla="*/ 33 w 56"/>
              <a:gd name="T9" fmla="*/ 6 h 41"/>
              <a:gd name="T10" fmla="*/ 35 w 56"/>
              <a:gd name="T11" fmla="*/ 10 h 41"/>
              <a:gd name="T12" fmla="*/ 42 w 56"/>
              <a:gd name="T13" fmla="*/ 11 h 41"/>
              <a:gd name="T14" fmla="*/ 43 w 56"/>
              <a:gd name="T15" fmla="*/ 13 h 41"/>
              <a:gd name="T16" fmla="*/ 38 w 56"/>
              <a:gd name="T17" fmla="*/ 13 h 41"/>
              <a:gd name="T18" fmla="*/ 41 w 56"/>
              <a:gd name="T19" fmla="*/ 16 h 41"/>
              <a:gd name="T20" fmla="*/ 50 w 56"/>
              <a:gd name="T21" fmla="*/ 18 h 41"/>
              <a:gd name="T22" fmla="*/ 55 w 56"/>
              <a:gd name="T23" fmla="*/ 22 h 41"/>
              <a:gd name="T24" fmla="*/ 55 w 56"/>
              <a:gd name="T25" fmla="*/ 25 h 41"/>
              <a:gd name="T26" fmla="*/ 51 w 56"/>
              <a:gd name="T27" fmla="*/ 30 h 41"/>
              <a:gd name="T28" fmla="*/ 48 w 56"/>
              <a:gd name="T29" fmla="*/ 28 h 41"/>
              <a:gd name="T30" fmla="*/ 36 w 56"/>
              <a:gd name="T31" fmla="*/ 26 h 41"/>
              <a:gd name="T32" fmla="*/ 28 w 56"/>
              <a:gd name="T33" fmla="*/ 28 h 41"/>
              <a:gd name="T34" fmla="*/ 27 w 56"/>
              <a:gd name="T35" fmla="*/ 31 h 41"/>
              <a:gd name="T36" fmla="*/ 20 w 56"/>
              <a:gd name="T37" fmla="*/ 33 h 41"/>
              <a:gd name="T38" fmla="*/ 19 w 56"/>
              <a:gd name="T39" fmla="*/ 28 h 41"/>
              <a:gd name="T40" fmla="*/ 15 w 56"/>
              <a:gd name="T41" fmla="*/ 28 h 41"/>
              <a:gd name="T42" fmla="*/ 11 w 56"/>
              <a:gd name="T43" fmla="*/ 32 h 41"/>
              <a:gd name="T44" fmla="*/ 8 w 56"/>
              <a:gd name="T45" fmla="*/ 37 h 41"/>
              <a:gd name="T46" fmla="*/ 5 w 56"/>
              <a:gd name="T47" fmla="*/ 41 h 41"/>
              <a:gd name="T48" fmla="*/ 4 w 56"/>
              <a:gd name="T49" fmla="*/ 41 h 41"/>
              <a:gd name="T50" fmla="*/ 1 w 56"/>
              <a:gd name="T51" fmla="*/ 38 h 41"/>
              <a:gd name="T52" fmla="*/ 1 w 56"/>
              <a:gd name="T53" fmla="*/ 34 h 41"/>
              <a:gd name="T54" fmla="*/ 2 w 56"/>
              <a:gd name="T55" fmla="*/ 30 h 41"/>
              <a:gd name="T56" fmla="*/ 0 w 56"/>
              <a:gd name="T57" fmla="*/ 25 h 41"/>
              <a:gd name="T58" fmla="*/ 1 w 56"/>
              <a:gd name="T59" fmla="*/ 23 h 41"/>
              <a:gd name="T60" fmla="*/ 4 w 56"/>
              <a:gd name="T61" fmla="*/ 16 h 41"/>
              <a:gd name="T62" fmla="*/ 6 w 56"/>
              <a:gd name="T63" fmla="*/ 13 h 41"/>
              <a:gd name="T64" fmla="*/ 6 w 56"/>
              <a:gd name="T65" fmla="*/ 7 h 41"/>
              <a:gd name="T66" fmla="*/ 4 w 56"/>
              <a:gd name="T67" fmla="*/ 2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6" h="41">
                <a:moveTo>
                  <a:pt x="4" y="2"/>
                </a:moveTo>
                <a:lnTo>
                  <a:pt x="5" y="1"/>
                </a:lnTo>
                <a:lnTo>
                  <a:pt x="6" y="0"/>
                </a:lnTo>
                <a:lnTo>
                  <a:pt x="9" y="0"/>
                </a:lnTo>
                <a:lnTo>
                  <a:pt x="12" y="1"/>
                </a:lnTo>
                <a:lnTo>
                  <a:pt x="20" y="1"/>
                </a:lnTo>
                <a:lnTo>
                  <a:pt x="25" y="2"/>
                </a:lnTo>
                <a:lnTo>
                  <a:pt x="29" y="4"/>
                </a:lnTo>
                <a:lnTo>
                  <a:pt x="32" y="5"/>
                </a:lnTo>
                <a:lnTo>
                  <a:pt x="33" y="6"/>
                </a:lnTo>
                <a:lnTo>
                  <a:pt x="33" y="10"/>
                </a:lnTo>
                <a:lnTo>
                  <a:pt x="35" y="10"/>
                </a:lnTo>
                <a:lnTo>
                  <a:pt x="37" y="11"/>
                </a:lnTo>
                <a:lnTo>
                  <a:pt x="42" y="11"/>
                </a:lnTo>
                <a:lnTo>
                  <a:pt x="43" y="11"/>
                </a:lnTo>
                <a:lnTo>
                  <a:pt x="43" y="13"/>
                </a:lnTo>
                <a:lnTo>
                  <a:pt x="41" y="13"/>
                </a:lnTo>
                <a:lnTo>
                  <a:pt x="38" y="13"/>
                </a:lnTo>
                <a:lnTo>
                  <a:pt x="38" y="15"/>
                </a:lnTo>
                <a:lnTo>
                  <a:pt x="41" y="16"/>
                </a:lnTo>
                <a:lnTo>
                  <a:pt x="49" y="16"/>
                </a:lnTo>
                <a:lnTo>
                  <a:pt x="50" y="18"/>
                </a:lnTo>
                <a:lnTo>
                  <a:pt x="53" y="22"/>
                </a:lnTo>
                <a:lnTo>
                  <a:pt x="55" y="22"/>
                </a:lnTo>
                <a:lnTo>
                  <a:pt x="56" y="23"/>
                </a:lnTo>
                <a:lnTo>
                  <a:pt x="55" y="25"/>
                </a:lnTo>
                <a:lnTo>
                  <a:pt x="53" y="28"/>
                </a:lnTo>
                <a:lnTo>
                  <a:pt x="51" y="30"/>
                </a:lnTo>
                <a:lnTo>
                  <a:pt x="49" y="30"/>
                </a:lnTo>
                <a:lnTo>
                  <a:pt x="48" y="28"/>
                </a:lnTo>
                <a:lnTo>
                  <a:pt x="45" y="27"/>
                </a:lnTo>
                <a:lnTo>
                  <a:pt x="36" y="26"/>
                </a:lnTo>
                <a:lnTo>
                  <a:pt x="30" y="27"/>
                </a:lnTo>
                <a:lnTo>
                  <a:pt x="28" y="28"/>
                </a:lnTo>
                <a:lnTo>
                  <a:pt x="27" y="30"/>
                </a:lnTo>
                <a:lnTo>
                  <a:pt x="27" y="31"/>
                </a:lnTo>
                <a:lnTo>
                  <a:pt x="23" y="32"/>
                </a:lnTo>
                <a:lnTo>
                  <a:pt x="20" y="33"/>
                </a:lnTo>
                <a:lnTo>
                  <a:pt x="19" y="28"/>
                </a:lnTo>
                <a:lnTo>
                  <a:pt x="19" y="28"/>
                </a:lnTo>
                <a:lnTo>
                  <a:pt x="17" y="27"/>
                </a:lnTo>
                <a:lnTo>
                  <a:pt x="15" y="28"/>
                </a:lnTo>
                <a:lnTo>
                  <a:pt x="13" y="30"/>
                </a:lnTo>
                <a:lnTo>
                  <a:pt x="11" y="32"/>
                </a:lnTo>
                <a:lnTo>
                  <a:pt x="9" y="36"/>
                </a:lnTo>
                <a:lnTo>
                  <a:pt x="8" y="37"/>
                </a:lnTo>
                <a:lnTo>
                  <a:pt x="8" y="38"/>
                </a:lnTo>
                <a:lnTo>
                  <a:pt x="5" y="41"/>
                </a:lnTo>
                <a:lnTo>
                  <a:pt x="4" y="41"/>
                </a:lnTo>
                <a:lnTo>
                  <a:pt x="4" y="41"/>
                </a:lnTo>
                <a:lnTo>
                  <a:pt x="1" y="38"/>
                </a:lnTo>
                <a:lnTo>
                  <a:pt x="1" y="38"/>
                </a:lnTo>
                <a:lnTo>
                  <a:pt x="1" y="35"/>
                </a:lnTo>
                <a:lnTo>
                  <a:pt x="1" y="34"/>
                </a:lnTo>
                <a:lnTo>
                  <a:pt x="1" y="33"/>
                </a:lnTo>
                <a:lnTo>
                  <a:pt x="2" y="30"/>
                </a:lnTo>
                <a:lnTo>
                  <a:pt x="2" y="27"/>
                </a:lnTo>
                <a:lnTo>
                  <a:pt x="0" y="25"/>
                </a:lnTo>
                <a:lnTo>
                  <a:pt x="0" y="24"/>
                </a:lnTo>
                <a:lnTo>
                  <a:pt x="1" y="23"/>
                </a:lnTo>
                <a:lnTo>
                  <a:pt x="4" y="21"/>
                </a:lnTo>
                <a:lnTo>
                  <a:pt x="4" y="16"/>
                </a:lnTo>
                <a:lnTo>
                  <a:pt x="5" y="15"/>
                </a:lnTo>
                <a:lnTo>
                  <a:pt x="6" y="13"/>
                </a:lnTo>
                <a:lnTo>
                  <a:pt x="5" y="12"/>
                </a:lnTo>
                <a:lnTo>
                  <a:pt x="6" y="7"/>
                </a:lnTo>
                <a:lnTo>
                  <a:pt x="6" y="4"/>
                </a:lnTo>
                <a:lnTo>
                  <a:pt x="4" y="2"/>
                </a:lnTo>
                <a:lnTo>
                  <a:pt x="4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94" name="Freeform 193"/>
          <p:cNvSpPr>
            <a:spLocks/>
          </p:cNvSpPr>
          <p:nvPr/>
        </p:nvSpPr>
        <p:spPr bwMode="auto">
          <a:xfrm>
            <a:off x="2489201" y="3227353"/>
            <a:ext cx="342900" cy="330200"/>
          </a:xfrm>
          <a:custGeom>
            <a:avLst/>
            <a:gdLst>
              <a:gd name="T0" fmla="*/ 26 w 216"/>
              <a:gd name="T1" fmla="*/ 15 h 208"/>
              <a:gd name="T2" fmla="*/ 30 w 216"/>
              <a:gd name="T3" fmla="*/ 24 h 208"/>
              <a:gd name="T4" fmla="*/ 22 w 216"/>
              <a:gd name="T5" fmla="*/ 43 h 208"/>
              <a:gd name="T6" fmla="*/ 28 w 216"/>
              <a:gd name="T7" fmla="*/ 57 h 208"/>
              <a:gd name="T8" fmla="*/ 37 w 216"/>
              <a:gd name="T9" fmla="*/ 47 h 208"/>
              <a:gd name="T10" fmla="*/ 33 w 216"/>
              <a:gd name="T11" fmla="*/ 24 h 208"/>
              <a:gd name="T12" fmla="*/ 59 w 216"/>
              <a:gd name="T13" fmla="*/ 13 h 208"/>
              <a:gd name="T14" fmla="*/ 52 w 216"/>
              <a:gd name="T15" fmla="*/ 8 h 208"/>
              <a:gd name="T16" fmla="*/ 58 w 216"/>
              <a:gd name="T17" fmla="*/ 0 h 208"/>
              <a:gd name="T18" fmla="*/ 73 w 216"/>
              <a:gd name="T19" fmla="*/ 14 h 208"/>
              <a:gd name="T20" fmla="*/ 84 w 216"/>
              <a:gd name="T21" fmla="*/ 28 h 208"/>
              <a:gd name="T22" fmla="*/ 108 w 216"/>
              <a:gd name="T23" fmla="*/ 28 h 208"/>
              <a:gd name="T24" fmla="*/ 120 w 216"/>
              <a:gd name="T25" fmla="*/ 34 h 208"/>
              <a:gd name="T26" fmla="*/ 145 w 216"/>
              <a:gd name="T27" fmla="*/ 32 h 208"/>
              <a:gd name="T28" fmla="*/ 147 w 216"/>
              <a:gd name="T29" fmla="*/ 28 h 208"/>
              <a:gd name="T30" fmla="*/ 181 w 216"/>
              <a:gd name="T31" fmla="*/ 27 h 208"/>
              <a:gd name="T32" fmla="*/ 168 w 216"/>
              <a:gd name="T33" fmla="*/ 31 h 208"/>
              <a:gd name="T34" fmla="*/ 174 w 216"/>
              <a:gd name="T35" fmla="*/ 37 h 208"/>
              <a:gd name="T36" fmla="*/ 194 w 216"/>
              <a:gd name="T37" fmla="*/ 48 h 208"/>
              <a:gd name="T38" fmla="*/ 200 w 216"/>
              <a:gd name="T39" fmla="*/ 64 h 208"/>
              <a:gd name="T40" fmla="*/ 201 w 216"/>
              <a:gd name="T41" fmla="*/ 68 h 208"/>
              <a:gd name="T42" fmla="*/ 214 w 216"/>
              <a:gd name="T43" fmla="*/ 68 h 208"/>
              <a:gd name="T44" fmla="*/ 211 w 216"/>
              <a:gd name="T45" fmla="*/ 75 h 208"/>
              <a:gd name="T46" fmla="*/ 199 w 216"/>
              <a:gd name="T47" fmla="*/ 83 h 208"/>
              <a:gd name="T48" fmla="*/ 203 w 216"/>
              <a:gd name="T49" fmla="*/ 92 h 208"/>
              <a:gd name="T50" fmla="*/ 194 w 216"/>
              <a:gd name="T51" fmla="*/ 105 h 208"/>
              <a:gd name="T52" fmla="*/ 194 w 216"/>
              <a:gd name="T53" fmla="*/ 117 h 208"/>
              <a:gd name="T54" fmla="*/ 200 w 216"/>
              <a:gd name="T55" fmla="*/ 132 h 208"/>
              <a:gd name="T56" fmla="*/ 185 w 216"/>
              <a:gd name="T57" fmla="*/ 142 h 208"/>
              <a:gd name="T58" fmla="*/ 163 w 216"/>
              <a:gd name="T59" fmla="*/ 150 h 208"/>
              <a:gd name="T60" fmla="*/ 135 w 216"/>
              <a:gd name="T61" fmla="*/ 143 h 208"/>
              <a:gd name="T62" fmla="*/ 142 w 216"/>
              <a:gd name="T63" fmla="*/ 154 h 208"/>
              <a:gd name="T64" fmla="*/ 143 w 216"/>
              <a:gd name="T65" fmla="*/ 173 h 208"/>
              <a:gd name="T66" fmla="*/ 156 w 216"/>
              <a:gd name="T67" fmla="*/ 180 h 208"/>
              <a:gd name="T68" fmla="*/ 147 w 216"/>
              <a:gd name="T69" fmla="*/ 186 h 208"/>
              <a:gd name="T70" fmla="*/ 137 w 216"/>
              <a:gd name="T71" fmla="*/ 195 h 208"/>
              <a:gd name="T72" fmla="*/ 127 w 216"/>
              <a:gd name="T73" fmla="*/ 200 h 208"/>
              <a:gd name="T74" fmla="*/ 113 w 216"/>
              <a:gd name="T75" fmla="*/ 208 h 208"/>
              <a:gd name="T76" fmla="*/ 101 w 216"/>
              <a:gd name="T77" fmla="*/ 202 h 208"/>
              <a:gd name="T78" fmla="*/ 89 w 216"/>
              <a:gd name="T79" fmla="*/ 175 h 208"/>
              <a:gd name="T80" fmla="*/ 92 w 216"/>
              <a:gd name="T81" fmla="*/ 162 h 208"/>
              <a:gd name="T82" fmla="*/ 88 w 216"/>
              <a:gd name="T83" fmla="*/ 150 h 208"/>
              <a:gd name="T84" fmla="*/ 84 w 216"/>
              <a:gd name="T85" fmla="*/ 137 h 208"/>
              <a:gd name="T86" fmla="*/ 89 w 216"/>
              <a:gd name="T87" fmla="*/ 116 h 208"/>
              <a:gd name="T88" fmla="*/ 89 w 216"/>
              <a:gd name="T89" fmla="*/ 107 h 208"/>
              <a:gd name="T90" fmla="*/ 72 w 216"/>
              <a:gd name="T91" fmla="*/ 111 h 208"/>
              <a:gd name="T92" fmla="*/ 61 w 216"/>
              <a:gd name="T93" fmla="*/ 111 h 208"/>
              <a:gd name="T94" fmla="*/ 47 w 216"/>
              <a:gd name="T95" fmla="*/ 94 h 208"/>
              <a:gd name="T96" fmla="*/ 25 w 216"/>
              <a:gd name="T97" fmla="*/ 94 h 208"/>
              <a:gd name="T98" fmla="*/ 14 w 216"/>
              <a:gd name="T99" fmla="*/ 75 h 208"/>
              <a:gd name="T100" fmla="*/ 8 w 216"/>
              <a:gd name="T101" fmla="*/ 64 h 208"/>
              <a:gd name="T102" fmla="*/ 5 w 216"/>
              <a:gd name="T103" fmla="*/ 45 h 208"/>
              <a:gd name="T104" fmla="*/ 25 w 216"/>
              <a:gd name="T105" fmla="*/ 8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16" h="208">
                <a:moveTo>
                  <a:pt x="34" y="6"/>
                </a:moveTo>
                <a:lnTo>
                  <a:pt x="32" y="8"/>
                </a:lnTo>
                <a:lnTo>
                  <a:pt x="28" y="10"/>
                </a:lnTo>
                <a:lnTo>
                  <a:pt x="26" y="11"/>
                </a:lnTo>
                <a:lnTo>
                  <a:pt x="26" y="12"/>
                </a:lnTo>
                <a:lnTo>
                  <a:pt x="26" y="15"/>
                </a:lnTo>
                <a:lnTo>
                  <a:pt x="27" y="17"/>
                </a:lnTo>
                <a:lnTo>
                  <a:pt x="30" y="21"/>
                </a:lnTo>
                <a:lnTo>
                  <a:pt x="30" y="22"/>
                </a:lnTo>
                <a:lnTo>
                  <a:pt x="28" y="23"/>
                </a:lnTo>
                <a:lnTo>
                  <a:pt x="28" y="23"/>
                </a:lnTo>
                <a:lnTo>
                  <a:pt x="30" y="24"/>
                </a:lnTo>
                <a:lnTo>
                  <a:pt x="30" y="26"/>
                </a:lnTo>
                <a:lnTo>
                  <a:pt x="28" y="31"/>
                </a:lnTo>
                <a:lnTo>
                  <a:pt x="24" y="35"/>
                </a:lnTo>
                <a:lnTo>
                  <a:pt x="23" y="36"/>
                </a:lnTo>
                <a:lnTo>
                  <a:pt x="22" y="38"/>
                </a:lnTo>
                <a:lnTo>
                  <a:pt x="22" y="43"/>
                </a:lnTo>
                <a:lnTo>
                  <a:pt x="22" y="45"/>
                </a:lnTo>
                <a:lnTo>
                  <a:pt x="23" y="47"/>
                </a:lnTo>
                <a:lnTo>
                  <a:pt x="25" y="49"/>
                </a:lnTo>
                <a:lnTo>
                  <a:pt x="27" y="53"/>
                </a:lnTo>
                <a:lnTo>
                  <a:pt x="27" y="56"/>
                </a:lnTo>
                <a:lnTo>
                  <a:pt x="28" y="57"/>
                </a:lnTo>
                <a:lnTo>
                  <a:pt x="31" y="57"/>
                </a:lnTo>
                <a:lnTo>
                  <a:pt x="33" y="56"/>
                </a:lnTo>
                <a:lnTo>
                  <a:pt x="35" y="55"/>
                </a:lnTo>
                <a:lnTo>
                  <a:pt x="36" y="52"/>
                </a:lnTo>
                <a:lnTo>
                  <a:pt x="36" y="52"/>
                </a:lnTo>
                <a:lnTo>
                  <a:pt x="37" y="47"/>
                </a:lnTo>
                <a:lnTo>
                  <a:pt x="36" y="43"/>
                </a:lnTo>
                <a:lnTo>
                  <a:pt x="34" y="37"/>
                </a:lnTo>
                <a:lnTo>
                  <a:pt x="33" y="35"/>
                </a:lnTo>
                <a:lnTo>
                  <a:pt x="31" y="33"/>
                </a:lnTo>
                <a:lnTo>
                  <a:pt x="32" y="24"/>
                </a:lnTo>
                <a:lnTo>
                  <a:pt x="33" y="24"/>
                </a:lnTo>
                <a:lnTo>
                  <a:pt x="34" y="22"/>
                </a:lnTo>
                <a:lnTo>
                  <a:pt x="34" y="22"/>
                </a:lnTo>
                <a:lnTo>
                  <a:pt x="36" y="21"/>
                </a:lnTo>
                <a:lnTo>
                  <a:pt x="43" y="16"/>
                </a:lnTo>
                <a:lnTo>
                  <a:pt x="52" y="14"/>
                </a:lnTo>
                <a:lnTo>
                  <a:pt x="59" y="13"/>
                </a:lnTo>
                <a:lnTo>
                  <a:pt x="59" y="11"/>
                </a:lnTo>
                <a:lnTo>
                  <a:pt x="59" y="10"/>
                </a:lnTo>
                <a:lnTo>
                  <a:pt x="57" y="10"/>
                </a:lnTo>
                <a:lnTo>
                  <a:pt x="53" y="8"/>
                </a:lnTo>
                <a:lnTo>
                  <a:pt x="53" y="8"/>
                </a:lnTo>
                <a:lnTo>
                  <a:pt x="52" y="8"/>
                </a:lnTo>
                <a:lnTo>
                  <a:pt x="52" y="7"/>
                </a:lnTo>
                <a:lnTo>
                  <a:pt x="52" y="5"/>
                </a:lnTo>
                <a:lnTo>
                  <a:pt x="54" y="1"/>
                </a:lnTo>
                <a:lnTo>
                  <a:pt x="56" y="0"/>
                </a:lnTo>
                <a:lnTo>
                  <a:pt x="57" y="0"/>
                </a:lnTo>
                <a:lnTo>
                  <a:pt x="58" y="0"/>
                </a:lnTo>
                <a:lnTo>
                  <a:pt x="58" y="1"/>
                </a:lnTo>
                <a:lnTo>
                  <a:pt x="61" y="8"/>
                </a:lnTo>
                <a:lnTo>
                  <a:pt x="61" y="8"/>
                </a:lnTo>
                <a:lnTo>
                  <a:pt x="63" y="13"/>
                </a:lnTo>
                <a:lnTo>
                  <a:pt x="67" y="13"/>
                </a:lnTo>
                <a:lnTo>
                  <a:pt x="73" y="14"/>
                </a:lnTo>
                <a:lnTo>
                  <a:pt x="74" y="14"/>
                </a:lnTo>
                <a:lnTo>
                  <a:pt x="77" y="15"/>
                </a:lnTo>
                <a:lnTo>
                  <a:pt x="81" y="17"/>
                </a:lnTo>
                <a:lnTo>
                  <a:pt x="82" y="20"/>
                </a:lnTo>
                <a:lnTo>
                  <a:pt x="83" y="24"/>
                </a:lnTo>
                <a:lnTo>
                  <a:pt x="84" y="28"/>
                </a:lnTo>
                <a:lnTo>
                  <a:pt x="84" y="28"/>
                </a:lnTo>
                <a:lnTo>
                  <a:pt x="86" y="31"/>
                </a:lnTo>
                <a:lnTo>
                  <a:pt x="89" y="31"/>
                </a:lnTo>
                <a:lnTo>
                  <a:pt x="97" y="28"/>
                </a:lnTo>
                <a:lnTo>
                  <a:pt x="101" y="30"/>
                </a:lnTo>
                <a:lnTo>
                  <a:pt x="108" y="28"/>
                </a:lnTo>
                <a:lnTo>
                  <a:pt x="116" y="28"/>
                </a:lnTo>
                <a:lnTo>
                  <a:pt x="117" y="28"/>
                </a:lnTo>
                <a:lnTo>
                  <a:pt x="118" y="30"/>
                </a:lnTo>
                <a:lnTo>
                  <a:pt x="119" y="31"/>
                </a:lnTo>
                <a:lnTo>
                  <a:pt x="119" y="33"/>
                </a:lnTo>
                <a:lnTo>
                  <a:pt x="120" y="34"/>
                </a:lnTo>
                <a:lnTo>
                  <a:pt x="124" y="36"/>
                </a:lnTo>
                <a:lnTo>
                  <a:pt x="126" y="37"/>
                </a:lnTo>
                <a:lnTo>
                  <a:pt x="132" y="37"/>
                </a:lnTo>
                <a:lnTo>
                  <a:pt x="139" y="35"/>
                </a:lnTo>
                <a:lnTo>
                  <a:pt x="142" y="34"/>
                </a:lnTo>
                <a:lnTo>
                  <a:pt x="145" y="32"/>
                </a:lnTo>
                <a:lnTo>
                  <a:pt x="150" y="32"/>
                </a:lnTo>
                <a:lnTo>
                  <a:pt x="154" y="31"/>
                </a:lnTo>
                <a:lnTo>
                  <a:pt x="155" y="30"/>
                </a:lnTo>
                <a:lnTo>
                  <a:pt x="154" y="30"/>
                </a:lnTo>
                <a:lnTo>
                  <a:pt x="148" y="28"/>
                </a:lnTo>
                <a:lnTo>
                  <a:pt x="147" y="28"/>
                </a:lnTo>
                <a:lnTo>
                  <a:pt x="147" y="28"/>
                </a:lnTo>
                <a:lnTo>
                  <a:pt x="148" y="27"/>
                </a:lnTo>
                <a:lnTo>
                  <a:pt x="153" y="26"/>
                </a:lnTo>
                <a:lnTo>
                  <a:pt x="178" y="26"/>
                </a:lnTo>
                <a:lnTo>
                  <a:pt x="181" y="27"/>
                </a:lnTo>
                <a:lnTo>
                  <a:pt x="181" y="27"/>
                </a:lnTo>
                <a:lnTo>
                  <a:pt x="181" y="28"/>
                </a:lnTo>
                <a:lnTo>
                  <a:pt x="178" y="28"/>
                </a:lnTo>
                <a:lnTo>
                  <a:pt x="177" y="30"/>
                </a:lnTo>
                <a:lnTo>
                  <a:pt x="176" y="31"/>
                </a:lnTo>
                <a:lnTo>
                  <a:pt x="171" y="30"/>
                </a:lnTo>
                <a:lnTo>
                  <a:pt x="168" y="31"/>
                </a:lnTo>
                <a:lnTo>
                  <a:pt x="167" y="32"/>
                </a:lnTo>
                <a:lnTo>
                  <a:pt x="167" y="33"/>
                </a:lnTo>
                <a:lnTo>
                  <a:pt x="169" y="34"/>
                </a:lnTo>
                <a:lnTo>
                  <a:pt x="170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9"/>
                </a:lnTo>
                <a:lnTo>
                  <a:pt x="175" y="42"/>
                </a:lnTo>
                <a:lnTo>
                  <a:pt x="176" y="43"/>
                </a:lnTo>
                <a:lnTo>
                  <a:pt x="181" y="43"/>
                </a:lnTo>
                <a:lnTo>
                  <a:pt x="186" y="44"/>
                </a:lnTo>
                <a:lnTo>
                  <a:pt x="194" y="48"/>
                </a:lnTo>
                <a:lnTo>
                  <a:pt x="196" y="49"/>
                </a:lnTo>
                <a:lnTo>
                  <a:pt x="198" y="52"/>
                </a:lnTo>
                <a:lnTo>
                  <a:pt x="200" y="56"/>
                </a:lnTo>
                <a:lnTo>
                  <a:pt x="200" y="57"/>
                </a:lnTo>
                <a:lnTo>
                  <a:pt x="200" y="63"/>
                </a:lnTo>
                <a:lnTo>
                  <a:pt x="200" y="64"/>
                </a:lnTo>
                <a:lnTo>
                  <a:pt x="199" y="65"/>
                </a:lnTo>
                <a:lnTo>
                  <a:pt x="197" y="66"/>
                </a:lnTo>
                <a:lnTo>
                  <a:pt x="197" y="67"/>
                </a:lnTo>
                <a:lnTo>
                  <a:pt x="197" y="67"/>
                </a:lnTo>
                <a:lnTo>
                  <a:pt x="200" y="67"/>
                </a:lnTo>
                <a:lnTo>
                  <a:pt x="201" y="68"/>
                </a:lnTo>
                <a:lnTo>
                  <a:pt x="204" y="68"/>
                </a:lnTo>
                <a:lnTo>
                  <a:pt x="205" y="68"/>
                </a:lnTo>
                <a:lnTo>
                  <a:pt x="207" y="65"/>
                </a:lnTo>
                <a:lnTo>
                  <a:pt x="209" y="65"/>
                </a:lnTo>
                <a:lnTo>
                  <a:pt x="211" y="66"/>
                </a:lnTo>
                <a:lnTo>
                  <a:pt x="214" y="68"/>
                </a:lnTo>
                <a:lnTo>
                  <a:pt x="215" y="69"/>
                </a:lnTo>
                <a:lnTo>
                  <a:pt x="216" y="71"/>
                </a:lnTo>
                <a:lnTo>
                  <a:pt x="216" y="73"/>
                </a:lnTo>
                <a:lnTo>
                  <a:pt x="215" y="74"/>
                </a:lnTo>
                <a:lnTo>
                  <a:pt x="213" y="74"/>
                </a:lnTo>
                <a:lnTo>
                  <a:pt x="211" y="75"/>
                </a:lnTo>
                <a:lnTo>
                  <a:pt x="210" y="76"/>
                </a:lnTo>
                <a:lnTo>
                  <a:pt x="206" y="78"/>
                </a:lnTo>
                <a:lnTo>
                  <a:pt x="204" y="79"/>
                </a:lnTo>
                <a:lnTo>
                  <a:pt x="204" y="81"/>
                </a:lnTo>
                <a:lnTo>
                  <a:pt x="200" y="82"/>
                </a:lnTo>
                <a:lnTo>
                  <a:pt x="199" y="83"/>
                </a:lnTo>
                <a:lnTo>
                  <a:pt x="199" y="84"/>
                </a:lnTo>
                <a:lnTo>
                  <a:pt x="198" y="87"/>
                </a:lnTo>
                <a:lnTo>
                  <a:pt x="199" y="91"/>
                </a:lnTo>
                <a:lnTo>
                  <a:pt x="200" y="92"/>
                </a:lnTo>
                <a:lnTo>
                  <a:pt x="203" y="91"/>
                </a:lnTo>
                <a:lnTo>
                  <a:pt x="203" y="92"/>
                </a:lnTo>
                <a:lnTo>
                  <a:pt x="205" y="93"/>
                </a:lnTo>
                <a:lnTo>
                  <a:pt x="204" y="95"/>
                </a:lnTo>
                <a:lnTo>
                  <a:pt x="199" y="97"/>
                </a:lnTo>
                <a:lnTo>
                  <a:pt x="195" y="99"/>
                </a:lnTo>
                <a:lnTo>
                  <a:pt x="195" y="101"/>
                </a:lnTo>
                <a:lnTo>
                  <a:pt x="194" y="105"/>
                </a:lnTo>
                <a:lnTo>
                  <a:pt x="193" y="107"/>
                </a:lnTo>
                <a:lnTo>
                  <a:pt x="191" y="109"/>
                </a:lnTo>
                <a:lnTo>
                  <a:pt x="190" y="111"/>
                </a:lnTo>
                <a:lnTo>
                  <a:pt x="190" y="112"/>
                </a:lnTo>
                <a:lnTo>
                  <a:pt x="190" y="112"/>
                </a:lnTo>
                <a:lnTo>
                  <a:pt x="194" y="117"/>
                </a:lnTo>
                <a:lnTo>
                  <a:pt x="197" y="122"/>
                </a:lnTo>
                <a:lnTo>
                  <a:pt x="198" y="124"/>
                </a:lnTo>
                <a:lnTo>
                  <a:pt x="200" y="126"/>
                </a:lnTo>
                <a:lnTo>
                  <a:pt x="200" y="126"/>
                </a:lnTo>
                <a:lnTo>
                  <a:pt x="200" y="127"/>
                </a:lnTo>
                <a:lnTo>
                  <a:pt x="200" y="132"/>
                </a:lnTo>
                <a:lnTo>
                  <a:pt x="198" y="136"/>
                </a:lnTo>
                <a:lnTo>
                  <a:pt x="196" y="138"/>
                </a:lnTo>
                <a:lnTo>
                  <a:pt x="195" y="138"/>
                </a:lnTo>
                <a:lnTo>
                  <a:pt x="189" y="139"/>
                </a:lnTo>
                <a:lnTo>
                  <a:pt x="188" y="140"/>
                </a:lnTo>
                <a:lnTo>
                  <a:pt x="185" y="142"/>
                </a:lnTo>
                <a:lnTo>
                  <a:pt x="184" y="144"/>
                </a:lnTo>
                <a:lnTo>
                  <a:pt x="181" y="145"/>
                </a:lnTo>
                <a:lnTo>
                  <a:pt x="174" y="146"/>
                </a:lnTo>
                <a:lnTo>
                  <a:pt x="169" y="147"/>
                </a:lnTo>
                <a:lnTo>
                  <a:pt x="164" y="149"/>
                </a:lnTo>
                <a:lnTo>
                  <a:pt x="163" y="150"/>
                </a:lnTo>
                <a:lnTo>
                  <a:pt x="161" y="150"/>
                </a:lnTo>
                <a:lnTo>
                  <a:pt x="155" y="150"/>
                </a:lnTo>
                <a:lnTo>
                  <a:pt x="149" y="148"/>
                </a:lnTo>
                <a:lnTo>
                  <a:pt x="144" y="145"/>
                </a:lnTo>
                <a:lnTo>
                  <a:pt x="137" y="144"/>
                </a:lnTo>
                <a:lnTo>
                  <a:pt x="135" y="143"/>
                </a:lnTo>
                <a:lnTo>
                  <a:pt x="134" y="143"/>
                </a:lnTo>
                <a:lnTo>
                  <a:pt x="134" y="144"/>
                </a:lnTo>
                <a:lnTo>
                  <a:pt x="134" y="146"/>
                </a:lnTo>
                <a:lnTo>
                  <a:pt x="135" y="149"/>
                </a:lnTo>
                <a:lnTo>
                  <a:pt x="138" y="150"/>
                </a:lnTo>
                <a:lnTo>
                  <a:pt x="142" y="154"/>
                </a:lnTo>
                <a:lnTo>
                  <a:pt x="143" y="155"/>
                </a:lnTo>
                <a:lnTo>
                  <a:pt x="142" y="158"/>
                </a:lnTo>
                <a:lnTo>
                  <a:pt x="140" y="163"/>
                </a:lnTo>
                <a:lnTo>
                  <a:pt x="140" y="165"/>
                </a:lnTo>
                <a:lnTo>
                  <a:pt x="140" y="167"/>
                </a:lnTo>
                <a:lnTo>
                  <a:pt x="143" y="173"/>
                </a:lnTo>
                <a:lnTo>
                  <a:pt x="143" y="175"/>
                </a:lnTo>
                <a:lnTo>
                  <a:pt x="143" y="177"/>
                </a:lnTo>
                <a:lnTo>
                  <a:pt x="147" y="178"/>
                </a:lnTo>
                <a:lnTo>
                  <a:pt x="148" y="178"/>
                </a:lnTo>
                <a:lnTo>
                  <a:pt x="156" y="178"/>
                </a:lnTo>
                <a:lnTo>
                  <a:pt x="156" y="180"/>
                </a:lnTo>
                <a:lnTo>
                  <a:pt x="155" y="182"/>
                </a:lnTo>
                <a:lnTo>
                  <a:pt x="155" y="183"/>
                </a:lnTo>
                <a:lnTo>
                  <a:pt x="152" y="183"/>
                </a:lnTo>
                <a:lnTo>
                  <a:pt x="149" y="184"/>
                </a:lnTo>
                <a:lnTo>
                  <a:pt x="149" y="185"/>
                </a:lnTo>
                <a:lnTo>
                  <a:pt x="147" y="186"/>
                </a:lnTo>
                <a:lnTo>
                  <a:pt x="145" y="186"/>
                </a:lnTo>
                <a:lnTo>
                  <a:pt x="144" y="188"/>
                </a:lnTo>
                <a:lnTo>
                  <a:pt x="142" y="194"/>
                </a:lnTo>
                <a:lnTo>
                  <a:pt x="140" y="195"/>
                </a:lnTo>
                <a:lnTo>
                  <a:pt x="139" y="195"/>
                </a:lnTo>
                <a:lnTo>
                  <a:pt x="137" y="195"/>
                </a:lnTo>
                <a:lnTo>
                  <a:pt x="136" y="196"/>
                </a:lnTo>
                <a:lnTo>
                  <a:pt x="135" y="197"/>
                </a:lnTo>
                <a:lnTo>
                  <a:pt x="134" y="198"/>
                </a:lnTo>
                <a:lnTo>
                  <a:pt x="132" y="198"/>
                </a:lnTo>
                <a:lnTo>
                  <a:pt x="128" y="200"/>
                </a:lnTo>
                <a:lnTo>
                  <a:pt x="127" y="200"/>
                </a:lnTo>
                <a:lnTo>
                  <a:pt x="125" y="202"/>
                </a:lnTo>
                <a:lnTo>
                  <a:pt x="123" y="203"/>
                </a:lnTo>
                <a:lnTo>
                  <a:pt x="122" y="204"/>
                </a:lnTo>
                <a:lnTo>
                  <a:pt x="119" y="206"/>
                </a:lnTo>
                <a:lnTo>
                  <a:pt x="118" y="207"/>
                </a:lnTo>
                <a:lnTo>
                  <a:pt x="113" y="208"/>
                </a:lnTo>
                <a:lnTo>
                  <a:pt x="108" y="208"/>
                </a:lnTo>
                <a:lnTo>
                  <a:pt x="107" y="207"/>
                </a:lnTo>
                <a:lnTo>
                  <a:pt x="107" y="207"/>
                </a:lnTo>
                <a:lnTo>
                  <a:pt x="103" y="205"/>
                </a:lnTo>
                <a:lnTo>
                  <a:pt x="102" y="204"/>
                </a:lnTo>
                <a:lnTo>
                  <a:pt x="101" y="202"/>
                </a:lnTo>
                <a:lnTo>
                  <a:pt x="101" y="200"/>
                </a:lnTo>
                <a:lnTo>
                  <a:pt x="98" y="197"/>
                </a:lnTo>
                <a:lnTo>
                  <a:pt x="97" y="195"/>
                </a:lnTo>
                <a:lnTo>
                  <a:pt x="96" y="190"/>
                </a:lnTo>
                <a:lnTo>
                  <a:pt x="92" y="179"/>
                </a:lnTo>
                <a:lnTo>
                  <a:pt x="89" y="175"/>
                </a:lnTo>
                <a:lnTo>
                  <a:pt x="85" y="170"/>
                </a:lnTo>
                <a:lnTo>
                  <a:pt x="85" y="169"/>
                </a:lnTo>
                <a:lnTo>
                  <a:pt x="88" y="166"/>
                </a:lnTo>
                <a:lnTo>
                  <a:pt x="91" y="164"/>
                </a:lnTo>
                <a:lnTo>
                  <a:pt x="91" y="163"/>
                </a:lnTo>
                <a:lnTo>
                  <a:pt x="92" y="162"/>
                </a:lnTo>
                <a:lnTo>
                  <a:pt x="93" y="162"/>
                </a:lnTo>
                <a:lnTo>
                  <a:pt x="93" y="160"/>
                </a:lnTo>
                <a:lnTo>
                  <a:pt x="93" y="158"/>
                </a:lnTo>
                <a:lnTo>
                  <a:pt x="92" y="156"/>
                </a:lnTo>
                <a:lnTo>
                  <a:pt x="91" y="154"/>
                </a:lnTo>
                <a:lnTo>
                  <a:pt x="88" y="150"/>
                </a:lnTo>
                <a:lnTo>
                  <a:pt x="86" y="149"/>
                </a:lnTo>
                <a:lnTo>
                  <a:pt x="86" y="148"/>
                </a:lnTo>
                <a:lnTo>
                  <a:pt x="86" y="145"/>
                </a:lnTo>
                <a:lnTo>
                  <a:pt x="85" y="143"/>
                </a:lnTo>
                <a:lnTo>
                  <a:pt x="85" y="139"/>
                </a:lnTo>
                <a:lnTo>
                  <a:pt x="84" y="137"/>
                </a:lnTo>
                <a:lnTo>
                  <a:pt x="84" y="134"/>
                </a:lnTo>
                <a:lnTo>
                  <a:pt x="85" y="132"/>
                </a:lnTo>
                <a:lnTo>
                  <a:pt x="86" y="128"/>
                </a:lnTo>
                <a:lnTo>
                  <a:pt x="86" y="125"/>
                </a:lnTo>
                <a:lnTo>
                  <a:pt x="89" y="121"/>
                </a:lnTo>
                <a:lnTo>
                  <a:pt x="89" y="116"/>
                </a:lnTo>
                <a:lnTo>
                  <a:pt x="89" y="115"/>
                </a:lnTo>
                <a:lnTo>
                  <a:pt x="92" y="113"/>
                </a:lnTo>
                <a:lnTo>
                  <a:pt x="92" y="112"/>
                </a:lnTo>
                <a:lnTo>
                  <a:pt x="91" y="108"/>
                </a:lnTo>
                <a:lnTo>
                  <a:pt x="91" y="108"/>
                </a:lnTo>
                <a:lnTo>
                  <a:pt x="89" y="107"/>
                </a:lnTo>
                <a:lnTo>
                  <a:pt x="86" y="108"/>
                </a:lnTo>
                <a:lnTo>
                  <a:pt x="81" y="111"/>
                </a:lnTo>
                <a:lnTo>
                  <a:pt x="77" y="112"/>
                </a:lnTo>
                <a:lnTo>
                  <a:pt x="75" y="112"/>
                </a:lnTo>
                <a:lnTo>
                  <a:pt x="73" y="111"/>
                </a:lnTo>
                <a:lnTo>
                  <a:pt x="72" y="111"/>
                </a:lnTo>
                <a:lnTo>
                  <a:pt x="69" y="109"/>
                </a:lnTo>
                <a:lnTo>
                  <a:pt x="68" y="108"/>
                </a:lnTo>
                <a:lnTo>
                  <a:pt x="66" y="109"/>
                </a:lnTo>
                <a:lnTo>
                  <a:pt x="65" y="111"/>
                </a:lnTo>
                <a:lnTo>
                  <a:pt x="63" y="111"/>
                </a:lnTo>
                <a:lnTo>
                  <a:pt x="61" y="111"/>
                </a:lnTo>
                <a:lnTo>
                  <a:pt x="59" y="109"/>
                </a:lnTo>
                <a:lnTo>
                  <a:pt x="59" y="109"/>
                </a:lnTo>
                <a:lnTo>
                  <a:pt x="52" y="96"/>
                </a:lnTo>
                <a:lnTo>
                  <a:pt x="52" y="95"/>
                </a:lnTo>
                <a:lnTo>
                  <a:pt x="51" y="95"/>
                </a:lnTo>
                <a:lnTo>
                  <a:pt x="47" y="94"/>
                </a:lnTo>
                <a:lnTo>
                  <a:pt x="46" y="93"/>
                </a:lnTo>
                <a:lnTo>
                  <a:pt x="42" y="92"/>
                </a:lnTo>
                <a:lnTo>
                  <a:pt x="37" y="92"/>
                </a:lnTo>
                <a:lnTo>
                  <a:pt x="32" y="94"/>
                </a:lnTo>
                <a:lnTo>
                  <a:pt x="28" y="94"/>
                </a:lnTo>
                <a:lnTo>
                  <a:pt x="25" y="94"/>
                </a:lnTo>
                <a:lnTo>
                  <a:pt x="20" y="92"/>
                </a:lnTo>
                <a:lnTo>
                  <a:pt x="18" y="88"/>
                </a:lnTo>
                <a:lnTo>
                  <a:pt x="17" y="88"/>
                </a:lnTo>
                <a:lnTo>
                  <a:pt x="14" y="86"/>
                </a:lnTo>
                <a:lnTo>
                  <a:pt x="14" y="85"/>
                </a:lnTo>
                <a:lnTo>
                  <a:pt x="14" y="75"/>
                </a:lnTo>
                <a:lnTo>
                  <a:pt x="14" y="72"/>
                </a:lnTo>
                <a:lnTo>
                  <a:pt x="13" y="69"/>
                </a:lnTo>
                <a:lnTo>
                  <a:pt x="12" y="68"/>
                </a:lnTo>
                <a:lnTo>
                  <a:pt x="12" y="67"/>
                </a:lnTo>
                <a:lnTo>
                  <a:pt x="10" y="65"/>
                </a:lnTo>
                <a:lnTo>
                  <a:pt x="8" y="64"/>
                </a:lnTo>
                <a:lnTo>
                  <a:pt x="8" y="57"/>
                </a:lnTo>
                <a:lnTo>
                  <a:pt x="7" y="55"/>
                </a:lnTo>
                <a:lnTo>
                  <a:pt x="6" y="54"/>
                </a:lnTo>
                <a:lnTo>
                  <a:pt x="0" y="55"/>
                </a:lnTo>
                <a:lnTo>
                  <a:pt x="2" y="51"/>
                </a:lnTo>
                <a:lnTo>
                  <a:pt x="5" y="45"/>
                </a:lnTo>
                <a:lnTo>
                  <a:pt x="8" y="31"/>
                </a:lnTo>
                <a:lnTo>
                  <a:pt x="13" y="23"/>
                </a:lnTo>
                <a:lnTo>
                  <a:pt x="21" y="15"/>
                </a:lnTo>
                <a:lnTo>
                  <a:pt x="22" y="14"/>
                </a:lnTo>
                <a:lnTo>
                  <a:pt x="24" y="11"/>
                </a:lnTo>
                <a:lnTo>
                  <a:pt x="25" y="8"/>
                </a:lnTo>
                <a:lnTo>
                  <a:pt x="30" y="6"/>
                </a:lnTo>
                <a:lnTo>
                  <a:pt x="34" y="6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95" name="Freeform 194"/>
          <p:cNvSpPr>
            <a:spLocks/>
          </p:cNvSpPr>
          <p:nvPr/>
        </p:nvSpPr>
        <p:spPr bwMode="auto">
          <a:xfrm>
            <a:off x="2489201" y="3227353"/>
            <a:ext cx="342900" cy="330200"/>
          </a:xfrm>
          <a:custGeom>
            <a:avLst/>
            <a:gdLst>
              <a:gd name="T0" fmla="*/ 26 w 216"/>
              <a:gd name="T1" fmla="*/ 15 h 208"/>
              <a:gd name="T2" fmla="*/ 30 w 216"/>
              <a:gd name="T3" fmla="*/ 24 h 208"/>
              <a:gd name="T4" fmla="*/ 22 w 216"/>
              <a:gd name="T5" fmla="*/ 43 h 208"/>
              <a:gd name="T6" fmla="*/ 28 w 216"/>
              <a:gd name="T7" fmla="*/ 57 h 208"/>
              <a:gd name="T8" fmla="*/ 37 w 216"/>
              <a:gd name="T9" fmla="*/ 47 h 208"/>
              <a:gd name="T10" fmla="*/ 33 w 216"/>
              <a:gd name="T11" fmla="*/ 24 h 208"/>
              <a:gd name="T12" fmla="*/ 59 w 216"/>
              <a:gd name="T13" fmla="*/ 13 h 208"/>
              <a:gd name="T14" fmla="*/ 52 w 216"/>
              <a:gd name="T15" fmla="*/ 8 h 208"/>
              <a:gd name="T16" fmla="*/ 58 w 216"/>
              <a:gd name="T17" fmla="*/ 0 h 208"/>
              <a:gd name="T18" fmla="*/ 73 w 216"/>
              <a:gd name="T19" fmla="*/ 14 h 208"/>
              <a:gd name="T20" fmla="*/ 84 w 216"/>
              <a:gd name="T21" fmla="*/ 28 h 208"/>
              <a:gd name="T22" fmla="*/ 108 w 216"/>
              <a:gd name="T23" fmla="*/ 28 h 208"/>
              <a:gd name="T24" fmla="*/ 120 w 216"/>
              <a:gd name="T25" fmla="*/ 34 h 208"/>
              <a:gd name="T26" fmla="*/ 145 w 216"/>
              <a:gd name="T27" fmla="*/ 32 h 208"/>
              <a:gd name="T28" fmla="*/ 147 w 216"/>
              <a:gd name="T29" fmla="*/ 28 h 208"/>
              <a:gd name="T30" fmla="*/ 181 w 216"/>
              <a:gd name="T31" fmla="*/ 27 h 208"/>
              <a:gd name="T32" fmla="*/ 168 w 216"/>
              <a:gd name="T33" fmla="*/ 31 h 208"/>
              <a:gd name="T34" fmla="*/ 174 w 216"/>
              <a:gd name="T35" fmla="*/ 37 h 208"/>
              <a:gd name="T36" fmla="*/ 194 w 216"/>
              <a:gd name="T37" fmla="*/ 48 h 208"/>
              <a:gd name="T38" fmla="*/ 200 w 216"/>
              <a:gd name="T39" fmla="*/ 64 h 208"/>
              <a:gd name="T40" fmla="*/ 201 w 216"/>
              <a:gd name="T41" fmla="*/ 68 h 208"/>
              <a:gd name="T42" fmla="*/ 214 w 216"/>
              <a:gd name="T43" fmla="*/ 68 h 208"/>
              <a:gd name="T44" fmla="*/ 211 w 216"/>
              <a:gd name="T45" fmla="*/ 75 h 208"/>
              <a:gd name="T46" fmla="*/ 199 w 216"/>
              <a:gd name="T47" fmla="*/ 83 h 208"/>
              <a:gd name="T48" fmla="*/ 203 w 216"/>
              <a:gd name="T49" fmla="*/ 92 h 208"/>
              <a:gd name="T50" fmla="*/ 194 w 216"/>
              <a:gd name="T51" fmla="*/ 105 h 208"/>
              <a:gd name="T52" fmla="*/ 194 w 216"/>
              <a:gd name="T53" fmla="*/ 117 h 208"/>
              <a:gd name="T54" fmla="*/ 200 w 216"/>
              <a:gd name="T55" fmla="*/ 132 h 208"/>
              <a:gd name="T56" fmla="*/ 185 w 216"/>
              <a:gd name="T57" fmla="*/ 142 h 208"/>
              <a:gd name="T58" fmla="*/ 163 w 216"/>
              <a:gd name="T59" fmla="*/ 150 h 208"/>
              <a:gd name="T60" fmla="*/ 135 w 216"/>
              <a:gd name="T61" fmla="*/ 143 h 208"/>
              <a:gd name="T62" fmla="*/ 142 w 216"/>
              <a:gd name="T63" fmla="*/ 154 h 208"/>
              <a:gd name="T64" fmla="*/ 143 w 216"/>
              <a:gd name="T65" fmla="*/ 173 h 208"/>
              <a:gd name="T66" fmla="*/ 156 w 216"/>
              <a:gd name="T67" fmla="*/ 180 h 208"/>
              <a:gd name="T68" fmla="*/ 147 w 216"/>
              <a:gd name="T69" fmla="*/ 186 h 208"/>
              <a:gd name="T70" fmla="*/ 137 w 216"/>
              <a:gd name="T71" fmla="*/ 195 h 208"/>
              <a:gd name="T72" fmla="*/ 127 w 216"/>
              <a:gd name="T73" fmla="*/ 200 h 208"/>
              <a:gd name="T74" fmla="*/ 113 w 216"/>
              <a:gd name="T75" fmla="*/ 208 h 208"/>
              <a:gd name="T76" fmla="*/ 101 w 216"/>
              <a:gd name="T77" fmla="*/ 202 h 208"/>
              <a:gd name="T78" fmla="*/ 89 w 216"/>
              <a:gd name="T79" fmla="*/ 175 h 208"/>
              <a:gd name="T80" fmla="*/ 92 w 216"/>
              <a:gd name="T81" fmla="*/ 162 h 208"/>
              <a:gd name="T82" fmla="*/ 88 w 216"/>
              <a:gd name="T83" fmla="*/ 150 h 208"/>
              <a:gd name="T84" fmla="*/ 84 w 216"/>
              <a:gd name="T85" fmla="*/ 137 h 208"/>
              <a:gd name="T86" fmla="*/ 89 w 216"/>
              <a:gd name="T87" fmla="*/ 116 h 208"/>
              <a:gd name="T88" fmla="*/ 89 w 216"/>
              <a:gd name="T89" fmla="*/ 107 h 208"/>
              <a:gd name="T90" fmla="*/ 72 w 216"/>
              <a:gd name="T91" fmla="*/ 111 h 208"/>
              <a:gd name="T92" fmla="*/ 61 w 216"/>
              <a:gd name="T93" fmla="*/ 111 h 208"/>
              <a:gd name="T94" fmla="*/ 47 w 216"/>
              <a:gd name="T95" fmla="*/ 94 h 208"/>
              <a:gd name="T96" fmla="*/ 25 w 216"/>
              <a:gd name="T97" fmla="*/ 94 h 208"/>
              <a:gd name="T98" fmla="*/ 14 w 216"/>
              <a:gd name="T99" fmla="*/ 75 h 208"/>
              <a:gd name="T100" fmla="*/ 8 w 216"/>
              <a:gd name="T101" fmla="*/ 64 h 208"/>
              <a:gd name="T102" fmla="*/ 5 w 216"/>
              <a:gd name="T103" fmla="*/ 45 h 208"/>
              <a:gd name="T104" fmla="*/ 25 w 216"/>
              <a:gd name="T105" fmla="*/ 8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16" h="208">
                <a:moveTo>
                  <a:pt x="34" y="6"/>
                </a:moveTo>
                <a:lnTo>
                  <a:pt x="32" y="8"/>
                </a:lnTo>
                <a:lnTo>
                  <a:pt x="28" y="10"/>
                </a:lnTo>
                <a:lnTo>
                  <a:pt x="26" y="11"/>
                </a:lnTo>
                <a:lnTo>
                  <a:pt x="26" y="12"/>
                </a:lnTo>
                <a:lnTo>
                  <a:pt x="26" y="15"/>
                </a:lnTo>
                <a:lnTo>
                  <a:pt x="27" y="17"/>
                </a:lnTo>
                <a:lnTo>
                  <a:pt x="30" y="21"/>
                </a:lnTo>
                <a:lnTo>
                  <a:pt x="30" y="22"/>
                </a:lnTo>
                <a:lnTo>
                  <a:pt x="28" y="23"/>
                </a:lnTo>
                <a:lnTo>
                  <a:pt x="28" y="23"/>
                </a:lnTo>
                <a:lnTo>
                  <a:pt x="30" y="24"/>
                </a:lnTo>
                <a:lnTo>
                  <a:pt x="30" y="26"/>
                </a:lnTo>
                <a:lnTo>
                  <a:pt x="28" y="31"/>
                </a:lnTo>
                <a:lnTo>
                  <a:pt x="24" y="35"/>
                </a:lnTo>
                <a:lnTo>
                  <a:pt x="23" y="36"/>
                </a:lnTo>
                <a:lnTo>
                  <a:pt x="22" y="38"/>
                </a:lnTo>
                <a:lnTo>
                  <a:pt x="22" y="43"/>
                </a:lnTo>
                <a:lnTo>
                  <a:pt x="22" y="45"/>
                </a:lnTo>
                <a:lnTo>
                  <a:pt x="23" y="47"/>
                </a:lnTo>
                <a:lnTo>
                  <a:pt x="25" y="49"/>
                </a:lnTo>
                <a:lnTo>
                  <a:pt x="27" y="53"/>
                </a:lnTo>
                <a:lnTo>
                  <a:pt x="27" y="56"/>
                </a:lnTo>
                <a:lnTo>
                  <a:pt x="28" y="57"/>
                </a:lnTo>
                <a:lnTo>
                  <a:pt x="31" y="57"/>
                </a:lnTo>
                <a:lnTo>
                  <a:pt x="33" y="56"/>
                </a:lnTo>
                <a:lnTo>
                  <a:pt x="35" y="55"/>
                </a:lnTo>
                <a:lnTo>
                  <a:pt x="36" y="52"/>
                </a:lnTo>
                <a:lnTo>
                  <a:pt x="36" y="52"/>
                </a:lnTo>
                <a:lnTo>
                  <a:pt x="37" y="47"/>
                </a:lnTo>
                <a:lnTo>
                  <a:pt x="36" y="43"/>
                </a:lnTo>
                <a:lnTo>
                  <a:pt x="34" y="37"/>
                </a:lnTo>
                <a:lnTo>
                  <a:pt x="33" y="35"/>
                </a:lnTo>
                <a:lnTo>
                  <a:pt x="31" y="33"/>
                </a:lnTo>
                <a:lnTo>
                  <a:pt x="32" y="24"/>
                </a:lnTo>
                <a:lnTo>
                  <a:pt x="33" y="24"/>
                </a:lnTo>
                <a:lnTo>
                  <a:pt x="34" y="22"/>
                </a:lnTo>
                <a:lnTo>
                  <a:pt x="34" y="22"/>
                </a:lnTo>
                <a:lnTo>
                  <a:pt x="36" y="21"/>
                </a:lnTo>
                <a:lnTo>
                  <a:pt x="43" y="16"/>
                </a:lnTo>
                <a:lnTo>
                  <a:pt x="52" y="14"/>
                </a:lnTo>
                <a:lnTo>
                  <a:pt x="59" y="13"/>
                </a:lnTo>
                <a:lnTo>
                  <a:pt x="59" y="11"/>
                </a:lnTo>
                <a:lnTo>
                  <a:pt x="59" y="10"/>
                </a:lnTo>
                <a:lnTo>
                  <a:pt x="57" y="10"/>
                </a:lnTo>
                <a:lnTo>
                  <a:pt x="53" y="8"/>
                </a:lnTo>
                <a:lnTo>
                  <a:pt x="53" y="8"/>
                </a:lnTo>
                <a:lnTo>
                  <a:pt x="52" y="8"/>
                </a:lnTo>
                <a:lnTo>
                  <a:pt x="52" y="7"/>
                </a:lnTo>
                <a:lnTo>
                  <a:pt x="52" y="5"/>
                </a:lnTo>
                <a:lnTo>
                  <a:pt x="54" y="1"/>
                </a:lnTo>
                <a:lnTo>
                  <a:pt x="56" y="0"/>
                </a:lnTo>
                <a:lnTo>
                  <a:pt x="57" y="0"/>
                </a:lnTo>
                <a:lnTo>
                  <a:pt x="58" y="0"/>
                </a:lnTo>
                <a:lnTo>
                  <a:pt x="58" y="1"/>
                </a:lnTo>
                <a:lnTo>
                  <a:pt x="61" y="8"/>
                </a:lnTo>
                <a:lnTo>
                  <a:pt x="61" y="8"/>
                </a:lnTo>
                <a:lnTo>
                  <a:pt x="63" y="13"/>
                </a:lnTo>
                <a:lnTo>
                  <a:pt x="67" y="13"/>
                </a:lnTo>
                <a:lnTo>
                  <a:pt x="73" y="14"/>
                </a:lnTo>
                <a:lnTo>
                  <a:pt x="74" y="14"/>
                </a:lnTo>
                <a:lnTo>
                  <a:pt x="77" y="15"/>
                </a:lnTo>
                <a:lnTo>
                  <a:pt x="81" y="17"/>
                </a:lnTo>
                <a:lnTo>
                  <a:pt x="82" y="20"/>
                </a:lnTo>
                <a:lnTo>
                  <a:pt x="83" y="24"/>
                </a:lnTo>
                <a:lnTo>
                  <a:pt x="84" y="28"/>
                </a:lnTo>
                <a:lnTo>
                  <a:pt x="84" y="28"/>
                </a:lnTo>
                <a:lnTo>
                  <a:pt x="86" y="31"/>
                </a:lnTo>
                <a:lnTo>
                  <a:pt x="89" y="31"/>
                </a:lnTo>
                <a:lnTo>
                  <a:pt x="97" y="28"/>
                </a:lnTo>
                <a:lnTo>
                  <a:pt x="101" y="30"/>
                </a:lnTo>
                <a:lnTo>
                  <a:pt x="108" y="28"/>
                </a:lnTo>
                <a:lnTo>
                  <a:pt x="116" y="28"/>
                </a:lnTo>
                <a:lnTo>
                  <a:pt x="117" y="28"/>
                </a:lnTo>
                <a:lnTo>
                  <a:pt x="118" y="30"/>
                </a:lnTo>
                <a:lnTo>
                  <a:pt x="119" y="31"/>
                </a:lnTo>
                <a:lnTo>
                  <a:pt x="119" y="33"/>
                </a:lnTo>
                <a:lnTo>
                  <a:pt x="120" y="34"/>
                </a:lnTo>
                <a:lnTo>
                  <a:pt x="124" y="36"/>
                </a:lnTo>
                <a:lnTo>
                  <a:pt x="126" y="37"/>
                </a:lnTo>
                <a:lnTo>
                  <a:pt x="132" y="37"/>
                </a:lnTo>
                <a:lnTo>
                  <a:pt x="139" y="35"/>
                </a:lnTo>
                <a:lnTo>
                  <a:pt x="142" y="34"/>
                </a:lnTo>
                <a:lnTo>
                  <a:pt x="145" y="32"/>
                </a:lnTo>
                <a:lnTo>
                  <a:pt x="150" y="32"/>
                </a:lnTo>
                <a:lnTo>
                  <a:pt x="154" y="31"/>
                </a:lnTo>
                <a:lnTo>
                  <a:pt x="155" y="30"/>
                </a:lnTo>
                <a:lnTo>
                  <a:pt x="154" y="30"/>
                </a:lnTo>
                <a:lnTo>
                  <a:pt x="148" y="28"/>
                </a:lnTo>
                <a:lnTo>
                  <a:pt x="147" y="28"/>
                </a:lnTo>
                <a:lnTo>
                  <a:pt x="147" y="28"/>
                </a:lnTo>
                <a:lnTo>
                  <a:pt x="148" y="27"/>
                </a:lnTo>
                <a:lnTo>
                  <a:pt x="153" y="26"/>
                </a:lnTo>
                <a:lnTo>
                  <a:pt x="178" y="26"/>
                </a:lnTo>
                <a:lnTo>
                  <a:pt x="181" y="27"/>
                </a:lnTo>
                <a:lnTo>
                  <a:pt x="181" y="27"/>
                </a:lnTo>
                <a:lnTo>
                  <a:pt x="181" y="28"/>
                </a:lnTo>
                <a:lnTo>
                  <a:pt x="178" y="28"/>
                </a:lnTo>
                <a:lnTo>
                  <a:pt x="177" y="30"/>
                </a:lnTo>
                <a:lnTo>
                  <a:pt x="176" y="31"/>
                </a:lnTo>
                <a:lnTo>
                  <a:pt x="171" y="30"/>
                </a:lnTo>
                <a:lnTo>
                  <a:pt x="168" y="31"/>
                </a:lnTo>
                <a:lnTo>
                  <a:pt x="167" y="32"/>
                </a:lnTo>
                <a:lnTo>
                  <a:pt x="167" y="33"/>
                </a:lnTo>
                <a:lnTo>
                  <a:pt x="169" y="34"/>
                </a:lnTo>
                <a:lnTo>
                  <a:pt x="170" y="34"/>
                </a:lnTo>
                <a:lnTo>
                  <a:pt x="173" y="36"/>
                </a:lnTo>
                <a:lnTo>
                  <a:pt x="174" y="37"/>
                </a:lnTo>
                <a:lnTo>
                  <a:pt x="175" y="39"/>
                </a:lnTo>
                <a:lnTo>
                  <a:pt x="175" y="42"/>
                </a:lnTo>
                <a:lnTo>
                  <a:pt x="176" y="43"/>
                </a:lnTo>
                <a:lnTo>
                  <a:pt x="181" y="43"/>
                </a:lnTo>
                <a:lnTo>
                  <a:pt x="186" y="44"/>
                </a:lnTo>
                <a:lnTo>
                  <a:pt x="194" y="48"/>
                </a:lnTo>
                <a:lnTo>
                  <a:pt x="196" y="49"/>
                </a:lnTo>
                <a:lnTo>
                  <a:pt x="198" y="52"/>
                </a:lnTo>
                <a:lnTo>
                  <a:pt x="200" y="56"/>
                </a:lnTo>
                <a:lnTo>
                  <a:pt x="200" y="57"/>
                </a:lnTo>
                <a:lnTo>
                  <a:pt x="200" y="63"/>
                </a:lnTo>
                <a:lnTo>
                  <a:pt x="200" y="64"/>
                </a:lnTo>
                <a:lnTo>
                  <a:pt x="199" y="65"/>
                </a:lnTo>
                <a:lnTo>
                  <a:pt x="197" y="66"/>
                </a:lnTo>
                <a:lnTo>
                  <a:pt x="197" y="67"/>
                </a:lnTo>
                <a:lnTo>
                  <a:pt x="197" y="67"/>
                </a:lnTo>
                <a:lnTo>
                  <a:pt x="200" y="67"/>
                </a:lnTo>
                <a:lnTo>
                  <a:pt x="201" y="68"/>
                </a:lnTo>
                <a:lnTo>
                  <a:pt x="204" y="68"/>
                </a:lnTo>
                <a:lnTo>
                  <a:pt x="205" y="68"/>
                </a:lnTo>
                <a:lnTo>
                  <a:pt x="207" y="65"/>
                </a:lnTo>
                <a:lnTo>
                  <a:pt x="209" y="65"/>
                </a:lnTo>
                <a:lnTo>
                  <a:pt x="211" y="66"/>
                </a:lnTo>
                <a:lnTo>
                  <a:pt x="214" y="68"/>
                </a:lnTo>
                <a:lnTo>
                  <a:pt x="215" y="69"/>
                </a:lnTo>
                <a:lnTo>
                  <a:pt x="216" y="71"/>
                </a:lnTo>
                <a:lnTo>
                  <a:pt x="216" y="73"/>
                </a:lnTo>
                <a:lnTo>
                  <a:pt x="215" y="74"/>
                </a:lnTo>
                <a:lnTo>
                  <a:pt x="213" y="74"/>
                </a:lnTo>
                <a:lnTo>
                  <a:pt x="211" y="75"/>
                </a:lnTo>
                <a:lnTo>
                  <a:pt x="210" y="76"/>
                </a:lnTo>
                <a:lnTo>
                  <a:pt x="206" y="78"/>
                </a:lnTo>
                <a:lnTo>
                  <a:pt x="204" y="79"/>
                </a:lnTo>
                <a:lnTo>
                  <a:pt x="204" y="81"/>
                </a:lnTo>
                <a:lnTo>
                  <a:pt x="200" y="82"/>
                </a:lnTo>
                <a:lnTo>
                  <a:pt x="199" y="83"/>
                </a:lnTo>
                <a:lnTo>
                  <a:pt x="199" y="84"/>
                </a:lnTo>
                <a:lnTo>
                  <a:pt x="198" y="87"/>
                </a:lnTo>
                <a:lnTo>
                  <a:pt x="199" y="91"/>
                </a:lnTo>
                <a:lnTo>
                  <a:pt x="200" y="92"/>
                </a:lnTo>
                <a:lnTo>
                  <a:pt x="203" y="91"/>
                </a:lnTo>
                <a:lnTo>
                  <a:pt x="203" y="92"/>
                </a:lnTo>
                <a:lnTo>
                  <a:pt x="205" y="93"/>
                </a:lnTo>
                <a:lnTo>
                  <a:pt x="204" y="95"/>
                </a:lnTo>
                <a:lnTo>
                  <a:pt x="199" y="97"/>
                </a:lnTo>
                <a:lnTo>
                  <a:pt x="195" y="99"/>
                </a:lnTo>
                <a:lnTo>
                  <a:pt x="195" y="101"/>
                </a:lnTo>
                <a:lnTo>
                  <a:pt x="194" y="105"/>
                </a:lnTo>
                <a:lnTo>
                  <a:pt x="193" y="107"/>
                </a:lnTo>
                <a:lnTo>
                  <a:pt x="191" y="109"/>
                </a:lnTo>
                <a:lnTo>
                  <a:pt x="190" y="111"/>
                </a:lnTo>
                <a:lnTo>
                  <a:pt x="190" y="112"/>
                </a:lnTo>
                <a:lnTo>
                  <a:pt x="190" y="112"/>
                </a:lnTo>
                <a:lnTo>
                  <a:pt x="194" y="117"/>
                </a:lnTo>
                <a:lnTo>
                  <a:pt x="197" y="122"/>
                </a:lnTo>
                <a:lnTo>
                  <a:pt x="198" y="124"/>
                </a:lnTo>
                <a:lnTo>
                  <a:pt x="200" y="126"/>
                </a:lnTo>
                <a:lnTo>
                  <a:pt x="200" y="126"/>
                </a:lnTo>
                <a:lnTo>
                  <a:pt x="200" y="127"/>
                </a:lnTo>
                <a:lnTo>
                  <a:pt x="200" y="132"/>
                </a:lnTo>
                <a:lnTo>
                  <a:pt x="198" y="136"/>
                </a:lnTo>
                <a:lnTo>
                  <a:pt x="196" y="138"/>
                </a:lnTo>
                <a:lnTo>
                  <a:pt x="195" y="138"/>
                </a:lnTo>
                <a:lnTo>
                  <a:pt x="189" y="139"/>
                </a:lnTo>
                <a:lnTo>
                  <a:pt x="188" y="140"/>
                </a:lnTo>
                <a:lnTo>
                  <a:pt x="185" y="142"/>
                </a:lnTo>
                <a:lnTo>
                  <a:pt x="184" y="144"/>
                </a:lnTo>
                <a:lnTo>
                  <a:pt x="181" y="145"/>
                </a:lnTo>
                <a:lnTo>
                  <a:pt x="174" y="146"/>
                </a:lnTo>
                <a:lnTo>
                  <a:pt x="169" y="147"/>
                </a:lnTo>
                <a:lnTo>
                  <a:pt x="164" y="149"/>
                </a:lnTo>
                <a:lnTo>
                  <a:pt x="163" y="150"/>
                </a:lnTo>
                <a:lnTo>
                  <a:pt x="161" y="150"/>
                </a:lnTo>
                <a:lnTo>
                  <a:pt x="155" y="150"/>
                </a:lnTo>
                <a:lnTo>
                  <a:pt x="149" y="148"/>
                </a:lnTo>
                <a:lnTo>
                  <a:pt x="144" y="145"/>
                </a:lnTo>
                <a:lnTo>
                  <a:pt x="137" y="144"/>
                </a:lnTo>
                <a:lnTo>
                  <a:pt x="135" y="143"/>
                </a:lnTo>
                <a:lnTo>
                  <a:pt x="134" y="143"/>
                </a:lnTo>
                <a:lnTo>
                  <a:pt x="134" y="144"/>
                </a:lnTo>
                <a:lnTo>
                  <a:pt x="134" y="146"/>
                </a:lnTo>
                <a:lnTo>
                  <a:pt x="135" y="149"/>
                </a:lnTo>
                <a:lnTo>
                  <a:pt x="138" y="150"/>
                </a:lnTo>
                <a:lnTo>
                  <a:pt x="142" y="154"/>
                </a:lnTo>
                <a:lnTo>
                  <a:pt x="143" y="155"/>
                </a:lnTo>
                <a:lnTo>
                  <a:pt x="142" y="158"/>
                </a:lnTo>
                <a:lnTo>
                  <a:pt x="140" y="163"/>
                </a:lnTo>
                <a:lnTo>
                  <a:pt x="140" y="165"/>
                </a:lnTo>
                <a:lnTo>
                  <a:pt x="140" y="167"/>
                </a:lnTo>
                <a:lnTo>
                  <a:pt x="143" y="173"/>
                </a:lnTo>
                <a:lnTo>
                  <a:pt x="143" y="175"/>
                </a:lnTo>
                <a:lnTo>
                  <a:pt x="143" y="177"/>
                </a:lnTo>
                <a:lnTo>
                  <a:pt x="147" y="178"/>
                </a:lnTo>
                <a:lnTo>
                  <a:pt x="148" y="178"/>
                </a:lnTo>
                <a:lnTo>
                  <a:pt x="156" y="178"/>
                </a:lnTo>
                <a:lnTo>
                  <a:pt x="156" y="180"/>
                </a:lnTo>
                <a:lnTo>
                  <a:pt x="155" y="182"/>
                </a:lnTo>
                <a:lnTo>
                  <a:pt x="155" y="183"/>
                </a:lnTo>
                <a:lnTo>
                  <a:pt x="152" y="183"/>
                </a:lnTo>
                <a:lnTo>
                  <a:pt x="149" y="184"/>
                </a:lnTo>
                <a:lnTo>
                  <a:pt x="149" y="185"/>
                </a:lnTo>
                <a:lnTo>
                  <a:pt x="147" y="186"/>
                </a:lnTo>
                <a:lnTo>
                  <a:pt x="145" y="186"/>
                </a:lnTo>
                <a:lnTo>
                  <a:pt x="144" y="188"/>
                </a:lnTo>
                <a:lnTo>
                  <a:pt x="142" y="194"/>
                </a:lnTo>
                <a:lnTo>
                  <a:pt x="140" y="195"/>
                </a:lnTo>
                <a:lnTo>
                  <a:pt x="139" y="195"/>
                </a:lnTo>
                <a:lnTo>
                  <a:pt x="137" y="195"/>
                </a:lnTo>
                <a:lnTo>
                  <a:pt x="136" y="196"/>
                </a:lnTo>
                <a:lnTo>
                  <a:pt x="135" y="197"/>
                </a:lnTo>
                <a:lnTo>
                  <a:pt x="134" y="198"/>
                </a:lnTo>
                <a:lnTo>
                  <a:pt x="132" y="198"/>
                </a:lnTo>
                <a:lnTo>
                  <a:pt x="128" y="200"/>
                </a:lnTo>
                <a:lnTo>
                  <a:pt x="127" y="200"/>
                </a:lnTo>
                <a:lnTo>
                  <a:pt x="125" y="202"/>
                </a:lnTo>
                <a:lnTo>
                  <a:pt x="123" y="203"/>
                </a:lnTo>
                <a:lnTo>
                  <a:pt x="122" y="204"/>
                </a:lnTo>
                <a:lnTo>
                  <a:pt x="119" y="206"/>
                </a:lnTo>
                <a:lnTo>
                  <a:pt x="118" y="207"/>
                </a:lnTo>
                <a:lnTo>
                  <a:pt x="113" y="208"/>
                </a:lnTo>
                <a:lnTo>
                  <a:pt x="108" y="208"/>
                </a:lnTo>
                <a:lnTo>
                  <a:pt x="107" y="207"/>
                </a:lnTo>
                <a:lnTo>
                  <a:pt x="107" y="207"/>
                </a:lnTo>
                <a:lnTo>
                  <a:pt x="103" y="205"/>
                </a:lnTo>
                <a:lnTo>
                  <a:pt x="102" y="204"/>
                </a:lnTo>
                <a:lnTo>
                  <a:pt x="101" y="202"/>
                </a:lnTo>
                <a:lnTo>
                  <a:pt x="101" y="200"/>
                </a:lnTo>
                <a:lnTo>
                  <a:pt x="98" y="197"/>
                </a:lnTo>
                <a:lnTo>
                  <a:pt x="97" y="195"/>
                </a:lnTo>
                <a:lnTo>
                  <a:pt x="96" y="190"/>
                </a:lnTo>
                <a:lnTo>
                  <a:pt x="92" y="179"/>
                </a:lnTo>
                <a:lnTo>
                  <a:pt x="89" y="175"/>
                </a:lnTo>
                <a:lnTo>
                  <a:pt x="85" y="170"/>
                </a:lnTo>
                <a:lnTo>
                  <a:pt x="85" y="169"/>
                </a:lnTo>
                <a:lnTo>
                  <a:pt x="88" y="166"/>
                </a:lnTo>
                <a:lnTo>
                  <a:pt x="91" y="164"/>
                </a:lnTo>
                <a:lnTo>
                  <a:pt x="91" y="163"/>
                </a:lnTo>
                <a:lnTo>
                  <a:pt x="92" y="162"/>
                </a:lnTo>
                <a:lnTo>
                  <a:pt x="93" y="162"/>
                </a:lnTo>
                <a:lnTo>
                  <a:pt x="93" y="160"/>
                </a:lnTo>
                <a:lnTo>
                  <a:pt x="93" y="158"/>
                </a:lnTo>
                <a:lnTo>
                  <a:pt x="92" y="156"/>
                </a:lnTo>
                <a:lnTo>
                  <a:pt x="91" y="154"/>
                </a:lnTo>
                <a:lnTo>
                  <a:pt x="88" y="150"/>
                </a:lnTo>
                <a:lnTo>
                  <a:pt x="86" y="149"/>
                </a:lnTo>
                <a:lnTo>
                  <a:pt x="86" y="148"/>
                </a:lnTo>
                <a:lnTo>
                  <a:pt x="86" y="145"/>
                </a:lnTo>
                <a:lnTo>
                  <a:pt x="85" y="143"/>
                </a:lnTo>
                <a:lnTo>
                  <a:pt x="85" y="139"/>
                </a:lnTo>
                <a:lnTo>
                  <a:pt x="84" y="137"/>
                </a:lnTo>
                <a:lnTo>
                  <a:pt x="84" y="134"/>
                </a:lnTo>
                <a:lnTo>
                  <a:pt x="85" y="132"/>
                </a:lnTo>
                <a:lnTo>
                  <a:pt x="86" y="128"/>
                </a:lnTo>
                <a:lnTo>
                  <a:pt x="86" y="125"/>
                </a:lnTo>
                <a:lnTo>
                  <a:pt x="89" y="121"/>
                </a:lnTo>
                <a:lnTo>
                  <a:pt x="89" y="116"/>
                </a:lnTo>
                <a:lnTo>
                  <a:pt x="89" y="115"/>
                </a:lnTo>
                <a:lnTo>
                  <a:pt x="92" y="113"/>
                </a:lnTo>
                <a:lnTo>
                  <a:pt x="92" y="112"/>
                </a:lnTo>
                <a:lnTo>
                  <a:pt x="91" y="108"/>
                </a:lnTo>
                <a:lnTo>
                  <a:pt x="91" y="108"/>
                </a:lnTo>
                <a:lnTo>
                  <a:pt x="89" y="107"/>
                </a:lnTo>
                <a:lnTo>
                  <a:pt x="86" y="108"/>
                </a:lnTo>
                <a:lnTo>
                  <a:pt x="81" y="111"/>
                </a:lnTo>
                <a:lnTo>
                  <a:pt x="77" y="112"/>
                </a:lnTo>
                <a:lnTo>
                  <a:pt x="75" y="112"/>
                </a:lnTo>
                <a:lnTo>
                  <a:pt x="73" y="111"/>
                </a:lnTo>
                <a:lnTo>
                  <a:pt x="72" y="111"/>
                </a:lnTo>
                <a:lnTo>
                  <a:pt x="69" y="109"/>
                </a:lnTo>
                <a:lnTo>
                  <a:pt x="68" y="108"/>
                </a:lnTo>
                <a:lnTo>
                  <a:pt x="66" y="109"/>
                </a:lnTo>
                <a:lnTo>
                  <a:pt x="65" y="111"/>
                </a:lnTo>
                <a:lnTo>
                  <a:pt x="63" y="111"/>
                </a:lnTo>
                <a:lnTo>
                  <a:pt x="61" y="111"/>
                </a:lnTo>
                <a:lnTo>
                  <a:pt x="59" y="109"/>
                </a:lnTo>
                <a:lnTo>
                  <a:pt x="59" y="109"/>
                </a:lnTo>
                <a:lnTo>
                  <a:pt x="52" y="96"/>
                </a:lnTo>
                <a:lnTo>
                  <a:pt x="52" y="95"/>
                </a:lnTo>
                <a:lnTo>
                  <a:pt x="51" y="95"/>
                </a:lnTo>
                <a:lnTo>
                  <a:pt x="47" y="94"/>
                </a:lnTo>
                <a:lnTo>
                  <a:pt x="46" y="93"/>
                </a:lnTo>
                <a:lnTo>
                  <a:pt x="42" y="92"/>
                </a:lnTo>
                <a:lnTo>
                  <a:pt x="37" y="92"/>
                </a:lnTo>
                <a:lnTo>
                  <a:pt x="32" y="94"/>
                </a:lnTo>
                <a:lnTo>
                  <a:pt x="28" y="94"/>
                </a:lnTo>
                <a:lnTo>
                  <a:pt x="25" y="94"/>
                </a:lnTo>
                <a:lnTo>
                  <a:pt x="20" y="92"/>
                </a:lnTo>
                <a:lnTo>
                  <a:pt x="18" y="88"/>
                </a:lnTo>
                <a:lnTo>
                  <a:pt x="17" y="88"/>
                </a:lnTo>
                <a:lnTo>
                  <a:pt x="14" y="86"/>
                </a:lnTo>
                <a:lnTo>
                  <a:pt x="14" y="85"/>
                </a:lnTo>
                <a:lnTo>
                  <a:pt x="14" y="75"/>
                </a:lnTo>
                <a:lnTo>
                  <a:pt x="14" y="72"/>
                </a:lnTo>
                <a:lnTo>
                  <a:pt x="13" y="69"/>
                </a:lnTo>
                <a:lnTo>
                  <a:pt x="12" y="68"/>
                </a:lnTo>
                <a:lnTo>
                  <a:pt x="12" y="67"/>
                </a:lnTo>
                <a:lnTo>
                  <a:pt x="10" y="65"/>
                </a:lnTo>
                <a:lnTo>
                  <a:pt x="8" y="64"/>
                </a:lnTo>
                <a:lnTo>
                  <a:pt x="8" y="57"/>
                </a:lnTo>
                <a:lnTo>
                  <a:pt x="7" y="55"/>
                </a:lnTo>
                <a:lnTo>
                  <a:pt x="6" y="54"/>
                </a:lnTo>
                <a:lnTo>
                  <a:pt x="0" y="55"/>
                </a:lnTo>
                <a:lnTo>
                  <a:pt x="2" y="51"/>
                </a:lnTo>
                <a:lnTo>
                  <a:pt x="5" y="45"/>
                </a:lnTo>
                <a:lnTo>
                  <a:pt x="8" y="31"/>
                </a:lnTo>
                <a:lnTo>
                  <a:pt x="13" y="23"/>
                </a:lnTo>
                <a:lnTo>
                  <a:pt x="21" y="15"/>
                </a:lnTo>
                <a:lnTo>
                  <a:pt x="22" y="14"/>
                </a:lnTo>
                <a:lnTo>
                  <a:pt x="24" y="11"/>
                </a:lnTo>
                <a:lnTo>
                  <a:pt x="25" y="8"/>
                </a:lnTo>
                <a:lnTo>
                  <a:pt x="30" y="6"/>
                </a:lnTo>
                <a:lnTo>
                  <a:pt x="34" y="6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96" name="Freeform 195"/>
          <p:cNvSpPr>
            <a:spLocks/>
          </p:cNvSpPr>
          <p:nvPr/>
        </p:nvSpPr>
        <p:spPr bwMode="auto">
          <a:xfrm>
            <a:off x="2290763" y="3540091"/>
            <a:ext cx="142875" cy="184150"/>
          </a:xfrm>
          <a:custGeom>
            <a:avLst/>
            <a:gdLst>
              <a:gd name="T0" fmla="*/ 32 w 90"/>
              <a:gd name="T1" fmla="*/ 1 h 116"/>
              <a:gd name="T2" fmla="*/ 42 w 90"/>
              <a:gd name="T3" fmla="*/ 7 h 116"/>
              <a:gd name="T4" fmla="*/ 55 w 90"/>
              <a:gd name="T5" fmla="*/ 15 h 116"/>
              <a:gd name="T6" fmla="*/ 56 w 90"/>
              <a:gd name="T7" fmla="*/ 19 h 116"/>
              <a:gd name="T8" fmla="*/ 60 w 90"/>
              <a:gd name="T9" fmla="*/ 21 h 116"/>
              <a:gd name="T10" fmla="*/ 65 w 90"/>
              <a:gd name="T11" fmla="*/ 20 h 116"/>
              <a:gd name="T12" fmla="*/ 74 w 90"/>
              <a:gd name="T13" fmla="*/ 21 h 116"/>
              <a:gd name="T14" fmla="*/ 75 w 90"/>
              <a:gd name="T15" fmla="*/ 19 h 116"/>
              <a:gd name="T16" fmla="*/ 79 w 90"/>
              <a:gd name="T17" fmla="*/ 19 h 116"/>
              <a:gd name="T18" fmla="*/ 82 w 90"/>
              <a:gd name="T19" fmla="*/ 22 h 116"/>
              <a:gd name="T20" fmla="*/ 88 w 90"/>
              <a:gd name="T21" fmla="*/ 26 h 116"/>
              <a:gd name="T22" fmla="*/ 85 w 90"/>
              <a:gd name="T23" fmla="*/ 27 h 116"/>
              <a:gd name="T24" fmla="*/ 86 w 90"/>
              <a:gd name="T25" fmla="*/ 30 h 116"/>
              <a:gd name="T26" fmla="*/ 88 w 90"/>
              <a:gd name="T27" fmla="*/ 35 h 116"/>
              <a:gd name="T28" fmla="*/ 90 w 90"/>
              <a:gd name="T29" fmla="*/ 42 h 116"/>
              <a:gd name="T30" fmla="*/ 88 w 90"/>
              <a:gd name="T31" fmla="*/ 42 h 116"/>
              <a:gd name="T32" fmla="*/ 81 w 90"/>
              <a:gd name="T33" fmla="*/ 56 h 116"/>
              <a:gd name="T34" fmla="*/ 76 w 90"/>
              <a:gd name="T35" fmla="*/ 62 h 116"/>
              <a:gd name="T36" fmla="*/ 70 w 90"/>
              <a:gd name="T37" fmla="*/ 69 h 116"/>
              <a:gd name="T38" fmla="*/ 64 w 90"/>
              <a:gd name="T39" fmla="*/ 73 h 116"/>
              <a:gd name="T40" fmla="*/ 48 w 90"/>
              <a:gd name="T41" fmla="*/ 80 h 116"/>
              <a:gd name="T42" fmla="*/ 45 w 90"/>
              <a:gd name="T43" fmla="*/ 82 h 116"/>
              <a:gd name="T44" fmla="*/ 44 w 90"/>
              <a:gd name="T45" fmla="*/ 89 h 116"/>
              <a:gd name="T46" fmla="*/ 41 w 90"/>
              <a:gd name="T47" fmla="*/ 90 h 116"/>
              <a:gd name="T48" fmla="*/ 39 w 90"/>
              <a:gd name="T49" fmla="*/ 89 h 116"/>
              <a:gd name="T50" fmla="*/ 36 w 90"/>
              <a:gd name="T51" fmla="*/ 96 h 116"/>
              <a:gd name="T52" fmla="*/ 35 w 90"/>
              <a:gd name="T53" fmla="*/ 107 h 116"/>
              <a:gd name="T54" fmla="*/ 35 w 90"/>
              <a:gd name="T55" fmla="*/ 110 h 116"/>
              <a:gd name="T56" fmla="*/ 29 w 90"/>
              <a:gd name="T57" fmla="*/ 113 h 116"/>
              <a:gd name="T58" fmla="*/ 24 w 90"/>
              <a:gd name="T59" fmla="*/ 114 h 116"/>
              <a:gd name="T60" fmla="*/ 21 w 90"/>
              <a:gd name="T61" fmla="*/ 110 h 116"/>
              <a:gd name="T62" fmla="*/ 18 w 90"/>
              <a:gd name="T63" fmla="*/ 108 h 116"/>
              <a:gd name="T64" fmla="*/ 15 w 90"/>
              <a:gd name="T65" fmla="*/ 107 h 116"/>
              <a:gd name="T66" fmla="*/ 10 w 90"/>
              <a:gd name="T67" fmla="*/ 104 h 116"/>
              <a:gd name="T68" fmla="*/ 7 w 90"/>
              <a:gd name="T69" fmla="*/ 107 h 116"/>
              <a:gd name="T70" fmla="*/ 6 w 90"/>
              <a:gd name="T71" fmla="*/ 102 h 116"/>
              <a:gd name="T72" fmla="*/ 5 w 90"/>
              <a:gd name="T73" fmla="*/ 99 h 116"/>
              <a:gd name="T74" fmla="*/ 9 w 90"/>
              <a:gd name="T75" fmla="*/ 97 h 116"/>
              <a:gd name="T76" fmla="*/ 10 w 90"/>
              <a:gd name="T77" fmla="*/ 92 h 116"/>
              <a:gd name="T78" fmla="*/ 8 w 90"/>
              <a:gd name="T79" fmla="*/ 89 h 116"/>
              <a:gd name="T80" fmla="*/ 8 w 90"/>
              <a:gd name="T81" fmla="*/ 88 h 116"/>
              <a:gd name="T82" fmla="*/ 12 w 90"/>
              <a:gd name="T83" fmla="*/ 86 h 116"/>
              <a:gd name="T84" fmla="*/ 16 w 90"/>
              <a:gd name="T85" fmla="*/ 81 h 116"/>
              <a:gd name="T86" fmla="*/ 17 w 90"/>
              <a:gd name="T87" fmla="*/ 71 h 116"/>
              <a:gd name="T88" fmla="*/ 16 w 90"/>
              <a:gd name="T89" fmla="*/ 69 h 116"/>
              <a:gd name="T90" fmla="*/ 14 w 90"/>
              <a:gd name="T91" fmla="*/ 67 h 116"/>
              <a:gd name="T92" fmla="*/ 9 w 90"/>
              <a:gd name="T93" fmla="*/ 72 h 116"/>
              <a:gd name="T94" fmla="*/ 6 w 90"/>
              <a:gd name="T95" fmla="*/ 70 h 116"/>
              <a:gd name="T96" fmla="*/ 0 w 90"/>
              <a:gd name="T97" fmla="*/ 67 h 116"/>
              <a:gd name="T98" fmla="*/ 0 w 90"/>
              <a:gd name="T99" fmla="*/ 56 h 116"/>
              <a:gd name="T100" fmla="*/ 0 w 90"/>
              <a:gd name="T101" fmla="*/ 43 h 116"/>
              <a:gd name="T102" fmla="*/ 5 w 90"/>
              <a:gd name="T103" fmla="*/ 40 h 116"/>
              <a:gd name="T104" fmla="*/ 7 w 90"/>
              <a:gd name="T105" fmla="*/ 32 h 116"/>
              <a:gd name="T106" fmla="*/ 11 w 90"/>
              <a:gd name="T107" fmla="*/ 25 h 116"/>
              <a:gd name="T108" fmla="*/ 12 w 90"/>
              <a:gd name="T109" fmla="*/ 20 h 116"/>
              <a:gd name="T110" fmla="*/ 11 w 90"/>
              <a:gd name="T111" fmla="*/ 11 h 116"/>
              <a:gd name="T112" fmla="*/ 19 w 90"/>
              <a:gd name="T113" fmla="*/ 9 h 116"/>
              <a:gd name="T114" fmla="*/ 20 w 90"/>
              <a:gd name="T115" fmla="*/ 9 h 116"/>
              <a:gd name="T116" fmla="*/ 26 w 90"/>
              <a:gd name="T117" fmla="*/ 3 h 116"/>
              <a:gd name="T118" fmla="*/ 30 w 90"/>
              <a:gd name="T119" fmla="*/ 2 h 116"/>
              <a:gd name="T120" fmla="*/ 31 w 90"/>
              <a:gd name="T121" fmla="*/ 0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90" h="116">
                <a:moveTo>
                  <a:pt x="31" y="0"/>
                </a:moveTo>
                <a:lnTo>
                  <a:pt x="32" y="1"/>
                </a:lnTo>
                <a:lnTo>
                  <a:pt x="34" y="2"/>
                </a:lnTo>
                <a:lnTo>
                  <a:pt x="42" y="7"/>
                </a:lnTo>
                <a:lnTo>
                  <a:pt x="51" y="11"/>
                </a:lnTo>
                <a:lnTo>
                  <a:pt x="55" y="15"/>
                </a:lnTo>
                <a:lnTo>
                  <a:pt x="56" y="16"/>
                </a:lnTo>
                <a:lnTo>
                  <a:pt x="56" y="19"/>
                </a:lnTo>
                <a:lnTo>
                  <a:pt x="57" y="21"/>
                </a:lnTo>
                <a:lnTo>
                  <a:pt x="60" y="21"/>
                </a:lnTo>
                <a:lnTo>
                  <a:pt x="64" y="20"/>
                </a:lnTo>
                <a:lnTo>
                  <a:pt x="65" y="20"/>
                </a:lnTo>
                <a:lnTo>
                  <a:pt x="70" y="21"/>
                </a:lnTo>
                <a:lnTo>
                  <a:pt x="74" y="21"/>
                </a:lnTo>
                <a:lnTo>
                  <a:pt x="74" y="20"/>
                </a:lnTo>
                <a:lnTo>
                  <a:pt x="75" y="19"/>
                </a:lnTo>
                <a:lnTo>
                  <a:pt x="77" y="18"/>
                </a:lnTo>
                <a:lnTo>
                  <a:pt x="79" y="19"/>
                </a:lnTo>
                <a:lnTo>
                  <a:pt x="80" y="21"/>
                </a:lnTo>
                <a:lnTo>
                  <a:pt x="82" y="22"/>
                </a:lnTo>
                <a:lnTo>
                  <a:pt x="87" y="26"/>
                </a:lnTo>
                <a:lnTo>
                  <a:pt x="88" y="26"/>
                </a:lnTo>
                <a:lnTo>
                  <a:pt x="88" y="27"/>
                </a:lnTo>
                <a:lnTo>
                  <a:pt x="85" y="27"/>
                </a:lnTo>
                <a:lnTo>
                  <a:pt x="85" y="29"/>
                </a:lnTo>
                <a:lnTo>
                  <a:pt x="86" y="30"/>
                </a:lnTo>
                <a:lnTo>
                  <a:pt x="86" y="31"/>
                </a:lnTo>
                <a:lnTo>
                  <a:pt x="88" y="35"/>
                </a:lnTo>
                <a:lnTo>
                  <a:pt x="88" y="37"/>
                </a:lnTo>
                <a:lnTo>
                  <a:pt x="90" y="42"/>
                </a:lnTo>
                <a:lnTo>
                  <a:pt x="90" y="42"/>
                </a:lnTo>
                <a:lnTo>
                  <a:pt x="88" y="42"/>
                </a:lnTo>
                <a:lnTo>
                  <a:pt x="86" y="48"/>
                </a:lnTo>
                <a:lnTo>
                  <a:pt x="81" y="56"/>
                </a:lnTo>
                <a:lnTo>
                  <a:pt x="78" y="60"/>
                </a:lnTo>
                <a:lnTo>
                  <a:pt x="76" y="62"/>
                </a:lnTo>
                <a:lnTo>
                  <a:pt x="74" y="66"/>
                </a:lnTo>
                <a:lnTo>
                  <a:pt x="70" y="69"/>
                </a:lnTo>
                <a:lnTo>
                  <a:pt x="68" y="71"/>
                </a:lnTo>
                <a:lnTo>
                  <a:pt x="64" y="73"/>
                </a:lnTo>
                <a:lnTo>
                  <a:pt x="52" y="78"/>
                </a:lnTo>
                <a:lnTo>
                  <a:pt x="48" y="80"/>
                </a:lnTo>
                <a:lnTo>
                  <a:pt x="46" y="82"/>
                </a:lnTo>
                <a:lnTo>
                  <a:pt x="45" y="82"/>
                </a:lnTo>
                <a:lnTo>
                  <a:pt x="44" y="86"/>
                </a:lnTo>
                <a:lnTo>
                  <a:pt x="44" y="89"/>
                </a:lnTo>
                <a:lnTo>
                  <a:pt x="42" y="90"/>
                </a:lnTo>
                <a:lnTo>
                  <a:pt x="41" y="90"/>
                </a:lnTo>
                <a:lnTo>
                  <a:pt x="40" y="89"/>
                </a:lnTo>
                <a:lnTo>
                  <a:pt x="39" y="89"/>
                </a:lnTo>
                <a:lnTo>
                  <a:pt x="39" y="89"/>
                </a:lnTo>
                <a:lnTo>
                  <a:pt x="36" y="96"/>
                </a:lnTo>
                <a:lnTo>
                  <a:pt x="35" y="100"/>
                </a:lnTo>
                <a:lnTo>
                  <a:pt x="35" y="107"/>
                </a:lnTo>
                <a:lnTo>
                  <a:pt x="35" y="110"/>
                </a:lnTo>
                <a:lnTo>
                  <a:pt x="35" y="110"/>
                </a:lnTo>
                <a:lnTo>
                  <a:pt x="31" y="111"/>
                </a:lnTo>
                <a:lnTo>
                  <a:pt x="29" y="113"/>
                </a:lnTo>
                <a:lnTo>
                  <a:pt x="27" y="116"/>
                </a:lnTo>
                <a:lnTo>
                  <a:pt x="24" y="114"/>
                </a:lnTo>
                <a:lnTo>
                  <a:pt x="22" y="112"/>
                </a:lnTo>
                <a:lnTo>
                  <a:pt x="21" y="110"/>
                </a:lnTo>
                <a:lnTo>
                  <a:pt x="20" y="108"/>
                </a:lnTo>
                <a:lnTo>
                  <a:pt x="18" y="108"/>
                </a:lnTo>
                <a:lnTo>
                  <a:pt x="16" y="108"/>
                </a:lnTo>
                <a:lnTo>
                  <a:pt x="15" y="107"/>
                </a:lnTo>
                <a:lnTo>
                  <a:pt x="14" y="106"/>
                </a:lnTo>
                <a:lnTo>
                  <a:pt x="10" y="104"/>
                </a:lnTo>
                <a:lnTo>
                  <a:pt x="8" y="107"/>
                </a:lnTo>
                <a:lnTo>
                  <a:pt x="7" y="107"/>
                </a:lnTo>
                <a:lnTo>
                  <a:pt x="7" y="107"/>
                </a:lnTo>
                <a:lnTo>
                  <a:pt x="6" y="102"/>
                </a:lnTo>
                <a:lnTo>
                  <a:pt x="5" y="100"/>
                </a:lnTo>
                <a:lnTo>
                  <a:pt x="5" y="99"/>
                </a:lnTo>
                <a:lnTo>
                  <a:pt x="6" y="98"/>
                </a:lnTo>
                <a:lnTo>
                  <a:pt x="9" y="97"/>
                </a:lnTo>
                <a:lnTo>
                  <a:pt x="10" y="96"/>
                </a:lnTo>
                <a:lnTo>
                  <a:pt x="10" y="92"/>
                </a:lnTo>
                <a:lnTo>
                  <a:pt x="9" y="92"/>
                </a:lnTo>
                <a:lnTo>
                  <a:pt x="8" y="89"/>
                </a:lnTo>
                <a:lnTo>
                  <a:pt x="8" y="89"/>
                </a:lnTo>
                <a:lnTo>
                  <a:pt x="8" y="88"/>
                </a:lnTo>
                <a:lnTo>
                  <a:pt x="9" y="87"/>
                </a:lnTo>
                <a:lnTo>
                  <a:pt x="12" y="86"/>
                </a:lnTo>
                <a:lnTo>
                  <a:pt x="14" y="84"/>
                </a:lnTo>
                <a:lnTo>
                  <a:pt x="16" y="81"/>
                </a:lnTo>
                <a:lnTo>
                  <a:pt x="16" y="80"/>
                </a:lnTo>
                <a:lnTo>
                  <a:pt x="17" y="71"/>
                </a:lnTo>
                <a:lnTo>
                  <a:pt x="17" y="69"/>
                </a:lnTo>
                <a:lnTo>
                  <a:pt x="16" y="69"/>
                </a:lnTo>
                <a:lnTo>
                  <a:pt x="15" y="64"/>
                </a:lnTo>
                <a:lnTo>
                  <a:pt x="14" y="67"/>
                </a:lnTo>
                <a:lnTo>
                  <a:pt x="11" y="70"/>
                </a:lnTo>
                <a:lnTo>
                  <a:pt x="9" y="72"/>
                </a:lnTo>
                <a:lnTo>
                  <a:pt x="8" y="72"/>
                </a:lnTo>
                <a:lnTo>
                  <a:pt x="6" y="70"/>
                </a:lnTo>
                <a:lnTo>
                  <a:pt x="4" y="69"/>
                </a:lnTo>
                <a:lnTo>
                  <a:pt x="0" y="67"/>
                </a:lnTo>
                <a:lnTo>
                  <a:pt x="0" y="58"/>
                </a:lnTo>
                <a:lnTo>
                  <a:pt x="0" y="56"/>
                </a:lnTo>
                <a:lnTo>
                  <a:pt x="0" y="52"/>
                </a:lnTo>
                <a:lnTo>
                  <a:pt x="0" y="43"/>
                </a:lnTo>
                <a:lnTo>
                  <a:pt x="0" y="42"/>
                </a:lnTo>
                <a:lnTo>
                  <a:pt x="5" y="40"/>
                </a:lnTo>
                <a:lnTo>
                  <a:pt x="7" y="38"/>
                </a:lnTo>
                <a:lnTo>
                  <a:pt x="7" y="32"/>
                </a:lnTo>
                <a:lnTo>
                  <a:pt x="8" y="30"/>
                </a:lnTo>
                <a:lnTo>
                  <a:pt x="11" y="25"/>
                </a:lnTo>
                <a:lnTo>
                  <a:pt x="12" y="22"/>
                </a:lnTo>
                <a:lnTo>
                  <a:pt x="12" y="20"/>
                </a:lnTo>
                <a:lnTo>
                  <a:pt x="11" y="16"/>
                </a:lnTo>
                <a:lnTo>
                  <a:pt x="11" y="11"/>
                </a:lnTo>
                <a:lnTo>
                  <a:pt x="14" y="9"/>
                </a:lnTo>
                <a:lnTo>
                  <a:pt x="19" y="9"/>
                </a:lnTo>
                <a:lnTo>
                  <a:pt x="19" y="9"/>
                </a:lnTo>
                <a:lnTo>
                  <a:pt x="20" y="9"/>
                </a:lnTo>
                <a:lnTo>
                  <a:pt x="24" y="5"/>
                </a:lnTo>
                <a:lnTo>
                  <a:pt x="26" y="3"/>
                </a:lnTo>
                <a:lnTo>
                  <a:pt x="28" y="3"/>
                </a:lnTo>
                <a:lnTo>
                  <a:pt x="30" y="2"/>
                </a:lnTo>
                <a:lnTo>
                  <a:pt x="31" y="1"/>
                </a:lnTo>
                <a:lnTo>
                  <a:pt x="3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97" name="Freeform 196"/>
          <p:cNvSpPr>
            <a:spLocks/>
          </p:cNvSpPr>
          <p:nvPr/>
        </p:nvSpPr>
        <p:spPr bwMode="auto">
          <a:xfrm>
            <a:off x="2290763" y="3540091"/>
            <a:ext cx="142875" cy="184150"/>
          </a:xfrm>
          <a:custGeom>
            <a:avLst/>
            <a:gdLst>
              <a:gd name="T0" fmla="*/ 32 w 90"/>
              <a:gd name="T1" fmla="*/ 1 h 116"/>
              <a:gd name="T2" fmla="*/ 42 w 90"/>
              <a:gd name="T3" fmla="*/ 7 h 116"/>
              <a:gd name="T4" fmla="*/ 55 w 90"/>
              <a:gd name="T5" fmla="*/ 15 h 116"/>
              <a:gd name="T6" fmla="*/ 56 w 90"/>
              <a:gd name="T7" fmla="*/ 19 h 116"/>
              <a:gd name="T8" fmla="*/ 60 w 90"/>
              <a:gd name="T9" fmla="*/ 21 h 116"/>
              <a:gd name="T10" fmla="*/ 65 w 90"/>
              <a:gd name="T11" fmla="*/ 20 h 116"/>
              <a:gd name="T12" fmla="*/ 74 w 90"/>
              <a:gd name="T13" fmla="*/ 21 h 116"/>
              <a:gd name="T14" fmla="*/ 75 w 90"/>
              <a:gd name="T15" fmla="*/ 19 h 116"/>
              <a:gd name="T16" fmla="*/ 79 w 90"/>
              <a:gd name="T17" fmla="*/ 19 h 116"/>
              <a:gd name="T18" fmla="*/ 82 w 90"/>
              <a:gd name="T19" fmla="*/ 22 h 116"/>
              <a:gd name="T20" fmla="*/ 88 w 90"/>
              <a:gd name="T21" fmla="*/ 26 h 116"/>
              <a:gd name="T22" fmla="*/ 85 w 90"/>
              <a:gd name="T23" fmla="*/ 27 h 116"/>
              <a:gd name="T24" fmla="*/ 86 w 90"/>
              <a:gd name="T25" fmla="*/ 30 h 116"/>
              <a:gd name="T26" fmla="*/ 88 w 90"/>
              <a:gd name="T27" fmla="*/ 35 h 116"/>
              <a:gd name="T28" fmla="*/ 90 w 90"/>
              <a:gd name="T29" fmla="*/ 42 h 116"/>
              <a:gd name="T30" fmla="*/ 88 w 90"/>
              <a:gd name="T31" fmla="*/ 42 h 116"/>
              <a:gd name="T32" fmla="*/ 81 w 90"/>
              <a:gd name="T33" fmla="*/ 56 h 116"/>
              <a:gd name="T34" fmla="*/ 76 w 90"/>
              <a:gd name="T35" fmla="*/ 62 h 116"/>
              <a:gd name="T36" fmla="*/ 70 w 90"/>
              <a:gd name="T37" fmla="*/ 69 h 116"/>
              <a:gd name="T38" fmla="*/ 64 w 90"/>
              <a:gd name="T39" fmla="*/ 73 h 116"/>
              <a:gd name="T40" fmla="*/ 48 w 90"/>
              <a:gd name="T41" fmla="*/ 80 h 116"/>
              <a:gd name="T42" fmla="*/ 45 w 90"/>
              <a:gd name="T43" fmla="*/ 82 h 116"/>
              <a:gd name="T44" fmla="*/ 44 w 90"/>
              <a:gd name="T45" fmla="*/ 89 h 116"/>
              <a:gd name="T46" fmla="*/ 41 w 90"/>
              <a:gd name="T47" fmla="*/ 90 h 116"/>
              <a:gd name="T48" fmla="*/ 39 w 90"/>
              <a:gd name="T49" fmla="*/ 89 h 116"/>
              <a:gd name="T50" fmla="*/ 36 w 90"/>
              <a:gd name="T51" fmla="*/ 96 h 116"/>
              <a:gd name="T52" fmla="*/ 35 w 90"/>
              <a:gd name="T53" fmla="*/ 107 h 116"/>
              <a:gd name="T54" fmla="*/ 35 w 90"/>
              <a:gd name="T55" fmla="*/ 110 h 116"/>
              <a:gd name="T56" fmla="*/ 29 w 90"/>
              <a:gd name="T57" fmla="*/ 113 h 116"/>
              <a:gd name="T58" fmla="*/ 24 w 90"/>
              <a:gd name="T59" fmla="*/ 114 h 116"/>
              <a:gd name="T60" fmla="*/ 21 w 90"/>
              <a:gd name="T61" fmla="*/ 110 h 116"/>
              <a:gd name="T62" fmla="*/ 18 w 90"/>
              <a:gd name="T63" fmla="*/ 108 h 116"/>
              <a:gd name="T64" fmla="*/ 15 w 90"/>
              <a:gd name="T65" fmla="*/ 107 h 116"/>
              <a:gd name="T66" fmla="*/ 10 w 90"/>
              <a:gd name="T67" fmla="*/ 104 h 116"/>
              <a:gd name="T68" fmla="*/ 7 w 90"/>
              <a:gd name="T69" fmla="*/ 107 h 116"/>
              <a:gd name="T70" fmla="*/ 6 w 90"/>
              <a:gd name="T71" fmla="*/ 102 h 116"/>
              <a:gd name="T72" fmla="*/ 5 w 90"/>
              <a:gd name="T73" fmla="*/ 99 h 116"/>
              <a:gd name="T74" fmla="*/ 9 w 90"/>
              <a:gd name="T75" fmla="*/ 97 h 116"/>
              <a:gd name="T76" fmla="*/ 10 w 90"/>
              <a:gd name="T77" fmla="*/ 92 h 116"/>
              <a:gd name="T78" fmla="*/ 8 w 90"/>
              <a:gd name="T79" fmla="*/ 89 h 116"/>
              <a:gd name="T80" fmla="*/ 8 w 90"/>
              <a:gd name="T81" fmla="*/ 88 h 116"/>
              <a:gd name="T82" fmla="*/ 12 w 90"/>
              <a:gd name="T83" fmla="*/ 86 h 116"/>
              <a:gd name="T84" fmla="*/ 16 w 90"/>
              <a:gd name="T85" fmla="*/ 81 h 116"/>
              <a:gd name="T86" fmla="*/ 17 w 90"/>
              <a:gd name="T87" fmla="*/ 71 h 116"/>
              <a:gd name="T88" fmla="*/ 16 w 90"/>
              <a:gd name="T89" fmla="*/ 69 h 116"/>
              <a:gd name="T90" fmla="*/ 14 w 90"/>
              <a:gd name="T91" fmla="*/ 67 h 116"/>
              <a:gd name="T92" fmla="*/ 9 w 90"/>
              <a:gd name="T93" fmla="*/ 72 h 116"/>
              <a:gd name="T94" fmla="*/ 6 w 90"/>
              <a:gd name="T95" fmla="*/ 70 h 116"/>
              <a:gd name="T96" fmla="*/ 0 w 90"/>
              <a:gd name="T97" fmla="*/ 67 h 116"/>
              <a:gd name="T98" fmla="*/ 0 w 90"/>
              <a:gd name="T99" fmla="*/ 56 h 116"/>
              <a:gd name="T100" fmla="*/ 0 w 90"/>
              <a:gd name="T101" fmla="*/ 43 h 116"/>
              <a:gd name="T102" fmla="*/ 5 w 90"/>
              <a:gd name="T103" fmla="*/ 40 h 116"/>
              <a:gd name="T104" fmla="*/ 7 w 90"/>
              <a:gd name="T105" fmla="*/ 32 h 116"/>
              <a:gd name="T106" fmla="*/ 11 w 90"/>
              <a:gd name="T107" fmla="*/ 25 h 116"/>
              <a:gd name="T108" fmla="*/ 12 w 90"/>
              <a:gd name="T109" fmla="*/ 20 h 116"/>
              <a:gd name="T110" fmla="*/ 11 w 90"/>
              <a:gd name="T111" fmla="*/ 11 h 116"/>
              <a:gd name="T112" fmla="*/ 19 w 90"/>
              <a:gd name="T113" fmla="*/ 9 h 116"/>
              <a:gd name="T114" fmla="*/ 20 w 90"/>
              <a:gd name="T115" fmla="*/ 9 h 116"/>
              <a:gd name="T116" fmla="*/ 26 w 90"/>
              <a:gd name="T117" fmla="*/ 3 h 116"/>
              <a:gd name="T118" fmla="*/ 30 w 90"/>
              <a:gd name="T119" fmla="*/ 2 h 116"/>
              <a:gd name="T120" fmla="*/ 31 w 90"/>
              <a:gd name="T121" fmla="*/ 0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90" h="116">
                <a:moveTo>
                  <a:pt x="31" y="0"/>
                </a:moveTo>
                <a:lnTo>
                  <a:pt x="32" y="1"/>
                </a:lnTo>
                <a:lnTo>
                  <a:pt x="34" y="2"/>
                </a:lnTo>
                <a:lnTo>
                  <a:pt x="42" y="7"/>
                </a:lnTo>
                <a:lnTo>
                  <a:pt x="51" y="11"/>
                </a:lnTo>
                <a:lnTo>
                  <a:pt x="55" y="15"/>
                </a:lnTo>
                <a:lnTo>
                  <a:pt x="56" y="16"/>
                </a:lnTo>
                <a:lnTo>
                  <a:pt x="56" y="19"/>
                </a:lnTo>
                <a:lnTo>
                  <a:pt x="57" y="21"/>
                </a:lnTo>
                <a:lnTo>
                  <a:pt x="60" y="21"/>
                </a:lnTo>
                <a:lnTo>
                  <a:pt x="64" y="20"/>
                </a:lnTo>
                <a:lnTo>
                  <a:pt x="65" y="20"/>
                </a:lnTo>
                <a:lnTo>
                  <a:pt x="70" y="21"/>
                </a:lnTo>
                <a:lnTo>
                  <a:pt x="74" y="21"/>
                </a:lnTo>
                <a:lnTo>
                  <a:pt x="74" y="20"/>
                </a:lnTo>
                <a:lnTo>
                  <a:pt x="75" y="19"/>
                </a:lnTo>
                <a:lnTo>
                  <a:pt x="77" y="18"/>
                </a:lnTo>
                <a:lnTo>
                  <a:pt x="79" y="19"/>
                </a:lnTo>
                <a:lnTo>
                  <a:pt x="80" y="21"/>
                </a:lnTo>
                <a:lnTo>
                  <a:pt x="82" y="22"/>
                </a:lnTo>
                <a:lnTo>
                  <a:pt x="87" y="26"/>
                </a:lnTo>
                <a:lnTo>
                  <a:pt x="88" y="26"/>
                </a:lnTo>
                <a:lnTo>
                  <a:pt x="88" y="27"/>
                </a:lnTo>
                <a:lnTo>
                  <a:pt x="85" y="27"/>
                </a:lnTo>
                <a:lnTo>
                  <a:pt x="85" y="29"/>
                </a:lnTo>
                <a:lnTo>
                  <a:pt x="86" y="30"/>
                </a:lnTo>
                <a:lnTo>
                  <a:pt x="86" y="31"/>
                </a:lnTo>
                <a:lnTo>
                  <a:pt x="88" y="35"/>
                </a:lnTo>
                <a:lnTo>
                  <a:pt x="88" y="37"/>
                </a:lnTo>
                <a:lnTo>
                  <a:pt x="90" y="42"/>
                </a:lnTo>
                <a:lnTo>
                  <a:pt x="90" y="42"/>
                </a:lnTo>
                <a:lnTo>
                  <a:pt x="88" y="42"/>
                </a:lnTo>
                <a:lnTo>
                  <a:pt x="86" y="48"/>
                </a:lnTo>
                <a:lnTo>
                  <a:pt x="81" y="56"/>
                </a:lnTo>
                <a:lnTo>
                  <a:pt x="78" y="60"/>
                </a:lnTo>
                <a:lnTo>
                  <a:pt x="76" y="62"/>
                </a:lnTo>
                <a:lnTo>
                  <a:pt x="74" y="66"/>
                </a:lnTo>
                <a:lnTo>
                  <a:pt x="70" y="69"/>
                </a:lnTo>
                <a:lnTo>
                  <a:pt x="68" y="71"/>
                </a:lnTo>
                <a:lnTo>
                  <a:pt x="64" y="73"/>
                </a:lnTo>
                <a:lnTo>
                  <a:pt x="52" y="78"/>
                </a:lnTo>
                <a:lnTo>
                  <a:pt x="48" y="80"/>
                </a:lnTo>
                <a:lnTo>
                  <a:pt x="46" y="82"/>
                </a:lnTo>
                <a:lnTo>
                  <a:pt x="45" y="82"/>
                </a:lnTo>
                <a:lnTo>
                  <a:pt x="44" y="86"/>
                </a:lnTo>
                <a:lnTo>
                  <a:pt x="44" y="89"/>
                </a:lnTo>
                <a:lnTo>
                  <a:pt x="42" y="90"/>
                </a:lnTo>
                <a:lnTo>
                  <a:pt x="41" y="90"/>
                </a:lnTo>
                <a:lnTo>
                  <a:pt x="40" y="89"/>
                </a:lnTo>
                <a:lnTo>
                  <a:pt x="39" y="89"/>
                </a:lnTo>
                <a:lnTo>
                  <a:pt x="39" y="89"/>
                </a:lnTo>
                <a:lnTo>
                  <a:pt x="36" y="96"/>
                </a:lnTo>
                <a:lnTo>
                  <a:pt x="35" y="100"/>
                </a:lnTo>
                <a:lnTo>
                  <a:pt x="35" y="107"/>
                </a:lnTo>
                <a:lnTo>
                  <a:pt x="35" y="110"/>
                </a:lnTo>
                <a:lnTo>
                  <a:pt x="35" y="110"/>
                </a:lnTo>
                <a:lnTo>
                  <a:pt x="31" y="111"/>
                </a:lnTo>
                <a:lnTo>
                  <a:pt x="29" y="113"/>
                </a:lnTo>
                <a:lnTo>
                  <a:pt x="27" y="116"/>
                </a:lnTo>
                <a:lnTo>
                  <a:pt x="24" y="114"/>
                </a:lnTo>
                <a:lnTo>
                  <a:pt x="22" y="112"/>
                </a:lnTo>
                <a:lnTo>
                  <a:pt x="21" y="110"/>
                </a:lnTo>
                <a:lnTo>
                  <a:pt x="20" y="108"/>
                </a:lnTo>
                <a:lnTo>
                  <a:pt x="18" y="108"/>
                </a:lnTo>
                <a:lnTo>
                  <a:pt x="16" y="108"/>
                </a:lnTo>
                <a:lnTo>
                  <a:pt x="15" y="107"/>
                </a:lnTo>
                <a:lnTo>
                  <a:pt x="14" y="106"/>
                </a:lnTo>
                <a:lnTo>
                  <a:pt x="10" y="104"/>
                </a:lnTo>
                <a:lnTo>
                  <a:pt x="8" y="107"/>
                </a:lnTo>
                <a:lnTo>
                  <a:pt x="7" y="107"/>
                </a:lnTo>
                <a:lnTo>
                  <a:pt x="7" y="107"/>
                </a:lnTo>
                <a:lnTo>
                  <a:pt x="6" y="102"/>
                </a:lnTo>
                <a:lnTo>
                  <a:pt x="5" y="100"/>
                </a:lnTo>
                <a:lnTo>
                  <a:pt x="5" y="99"/>
                </a:lnTo>
                <a:lnTo>
                  <a:pt x="6" y="98"/>
                </a:lnTo>
                <a:lnTo>
                  <a:pt x="9" y="97"/>
                </a:lnTo>
                <a:lnTo>
                  <a:pt x="10" y="96"/>
                </a:lnTo>
                <a:lnTo>
                  <a:pt x="10" y="92"/>
                </a:lnTo>
                <a:lnTo>
                  <a:pt x="9" y="92"/>
                </a:lnTo>
                <a:lnTo>
                  <a:pt x="8" y="89"/>
                </a:lnTo>
                <a:lnTo>
                  <a:pt x="8" y="89"/>
                </a:lnTo>
                <a:lnTo>
                  <a:pt x="8" y="88"/>
                </a:lnTo>
                <a:lnTo>
                  <a:pt x="9" y="87"/>
                </a:lnTo>
                <a:lnTo>
                  <a:pt x="12" y="86"/>
                </a:lnTo>
                <a:lnTo>
                  <a:pt x="14" y="84"/>
                </a:lnTo>
                <a:lnTo>
                  <a:pt x="16" y="81"/>
                </a:lnTo>
                <a:lnTo>
                  <a:pt x="16" y="80"/>
                </a:lnTo>
                <a:lnTo>
                  <a:pt x="17" y="71"/>
                </a:lnTo>
                <a:lnTo>
                  <a:pt x="17" y="69"/>
                </a:lnTo>
                <a:lnTo>
                  <a:pt x="16" y="69"/>
                </a:lnTo>
                <a:lnTo>
                  <a:pt x="15" y="64"/>
                </a:lnTo>
                <a:lnTo>
                  <a:pt x="14" y="67"/>
                </a:lnTo>
                <a:lnTo>
                  <a:pt x="11" y="70"/>
                </a:lnTo>
                <a:lnTo>
                  <a:pt x="9" y="72"/>
                </a:lnTo>
                <a:lnTo>
                  <a:pt x="8" y="72"/>
                </a:lnTo>
                <a:lnTo>
                  <a:pt x="6" y="70"/>
                </a:lnTo>
                <a:lnTo>
                  <a:pt x="4" y="69"/>
                </a:lnTo>
                <a:lnTo>
                  <a:pt x="0" y="67"/>
                </a:lnTo>
                <a:lnTo>
                  <a:pt x="0" y="58"/>
                </a:lnTo>
                <a:lnTo>
                  <a:pt x="0" y="56"/>
                </a:lnTo>
                <a:lnTo>
                  <a:pt x="0" y="52"/>
                </a:lnTo>
                <a:lnTo>
                  <a:pt x="0" y="43"/>
                </a:lnTo>
                <a:lnTo>
                  <a:pt x="0" y="42"/>
                </a:lnTo>
                <a:lnTo>
                  <a:pt x="5" y="40"/>
                </a:lnTo>
                <a:lnTo>
                  <a:pt x="7" y="38"/>
                </a:lnTo>
                <a:lnTo>
                  <a:pt x="7" y="32"/>
                </a:lnTo>
                <a:lnTo>
                  <a:pt x="8" y="30"/>
                </a:lnTo>
                <a:lnTo>
                  <a:pt x="11" y="25"/>
                </a:lnTo>
                <a:lnTo>
                  <a:pt x="12" y="22"/>
                </a:lnTo>
                <a:lnTo>
                  <a:pt x="12" y="20"/>
                </a:lnTo>
                <a:lnTo>
                  <a:pt x="11" y="16"/>
                </a:lnTo>
                <a:lnTo>
                  <a:pt x="11" y="11"/>
                </a:lnTo>
                <a:lnTo>
                  <a:pt x="14" y="9"/>
                </a:lnTo>
                <a:lnTo>
                  <a:pt x="19" y="9"/>
                </a:lnTo>
                <a:lnTo>
                  <a:pt x="19" y="9"/>
                </a:lnTo>
                <a:lnTo>
                  <a:pt x="20" y="9"/>
                </a:lnTo>
                <a:lnTo>
                  <a:pt x="24" y="5"/>
                </a:lnTo>
                <a:lnTo>
                  <a:pt x="26" y="3"/>
                </a:lnTo>
                <a:lnTo>
                  <a:pt x="28" y="3"/>
                </a:lnTo>
                <a:lnTo>
                  <a:pt x="30" y="2"/>
                </a:lnTo>
                <a:lnTo>
                  <a:pt x="31" y="1"/>
                </a:lnTo>
                <a:lnTo>
                  <a:pt x="3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98" name="Freeform 197"/>
          <p:cNvSpPr>
            <a:spLocks/>
          </p:cNvSpPr>
          <p:nvPr/>
        </p:nvSpPr>
        <p:spPr bwMode="auto">
          <a:xfrm>
            <a:off x="2786063" y="4132228"/>
            <a:ext cx="214313" cy="239713"/>
          </a:xfrm>
          <a:custGeom>
            <a:avLst/>
            <a:gdLst>
              <a:gd name="T0" fmla="*/ 2 w 135"/>
              <a:gd name="T1" fmla="*/ 52 h 151"/>
              <a:gd name="T2" fmla="*/ 4 w 135"/>
              <a:gd name="T3" fmla="*/ 38 h 151"/>
              <a:gd name="T4" fmla="*/ 3 w 135"/>
              <a:gd name="T5" fmla="*/ 28 h 151"/>
              <a:gd name="T6" fmla="*/ 6 w 135"/>
              <a:gd name="T7" fmla="*/ 21 h 151"/>
              <a:gd name="T8" fmla="*/ 9 w 135"/>
              <a:gd name="T9" fmla="*/ 12 h 151"/>
              <a:gd name="T10" fmla="*/ 14 w 135"/>
              <a:gd name="T11" fmla="*/ 9 h 151"/>
              <a:gd name="T12" fmla="*/ 30 w 135"/>
              <a:gd name="T13" fmla="*/ 3 h 151"/>
              <a:gd name="T14" fmla="*/ 40 w 135"/>
              <a:gd name="T15" fmla="*/ 0 h 151"/>
              <a:gd name="T16" fmla="*/ 57 w 135"/>
              <a:gd name="T17" fmla="*/ 2 h 151"/>
              <a:gd name="T18" fmla="*/ 62 w 135"/>
              <a:gd name="T19" fmla="*/ 7 h 151"/>
              <a:gd name="T20" fmla="*/ 68 w 135"/>
              <a:gd name="T21" fmla="*/ 14 h 151"/>
              <a:gd name="T22" fmla="*/ 69 w 135"/>
              <a:gd name="T23" fmla="*/ 18 h 151"/>
              <a:gd name="T24" fmla="*/ 72 w 135"/>
              <a:gd name="T25" fmla="*/ 23 h 151"/>
              <a:gd name="T26" fmla="*/ 73 w 135"/>
              <a:gd name="T27" fmla="*/ 39 h 151"/>
              <a:gd name="T28" fmla="*/ 77 w 135"/>
              <a:gd name="T29" fmla="*/ 51 h 151"/>
              <a:gd name="T30" fmla="*/ 82 w 135"/>
              <a:gd name="T31" fmla="*/ 53 h 151"/>
              <a:gd name="T32" fmla="*/ 89 w 135"/>
              <a:gd name="T33" fmla="*/ 56 h 151"/>
              <a:gd name="T34" fmla="*/ 97 w 135"/>
              <a:gd name="T35" fmla="*/ 56 h 151"/>
              <a:gd name="T36" fmla="*/ 100 w 135"/>
              <a:gd name="T37" fmla="*/ 53 h 151"/>
              <a:gd name="T38" fmla="*/ 109 w 135"/>
              <a:gd name="T39" fmla="*/ 57 h 151"/>
              <a:gd name="T40" fmla="*/ 111 w 135"/>
              <a:gd name="T41" fmla="*/ 61 h 151"/>
              <a:gd name="T42" fmla="*/ 114 w 135"/>
              <a:gd name="T43" fmla="*/ 72 h 151"/>
              <a:gd name="T44" fmla="*/ 115 w 135"/>
              <a:gd name="T45" fmla="*/ 81 h 151"/>
              <a:gd name="T46" fmla="*/ 119 w 135"/>
              <a:gd name="T47" fmla="*/ 86 h 151"/>
              <a:gd name="T48" fmla="*/ 124 w 135"/>
              <a:gd name="T49" fmla="*/ 86 h 151"/>
              <a:gd name="T50" fmla="*/ 129 w 135"/>
              <a:gd name="T51" fmla="*/ 86 h 151"/>
              <a:gd name="T52" fmla="*/ 133 w 135"/>
              <a:gd name="T53" fmla="*/ 86 h 151"/>
              <a:gd name="T54" fmla="*/ 135 w 135"/>
              <a:gd name="T55" fmla="*/ 95 h 151"/>
              <a:gd name="T56" fmla="*/ 134 w 135"/>
              <a:gd name="T57" fmla="*/ 102 h 151"/>
              <a:gd name="T58" fmla="*/ 134 w 135"/>
              <a:gd name="T59" fmla="*/ 115 h 151"/>
              <a:gd name="T60" fmla="*/ 134 w 135"/>
              <a:gd name="T61" fmla="*/ 130 h 151"/>
              <a:gd name="T62" fmla="*/ 132 w 135"/>
              <a:gd name="T63" fmla="*/ 134 h 151"/>
              <a:gd name="T64" fmla="*/ 127 w 135"/>
              <a:gd name="T65" fmla="*/ 141 h 151"/>
              <a:gd name="T66" fmla="*/ 125 w 135"/>
              <a:gd name="T67" fmla="*/ 142 h 151"/>
              <a:gd name="T68" fmla="*/ 121 w 135"/>
              <a:gd name="T69" fmla="*/ 147 h 151"/>
              <a:gd name="T70" fmla="*/ 119 w 135"/>
              <a:gd name="T71" fmla="*/ 148 h 151"/>
              <a:gd name="T72" fmla="*/ 112 w 135"/>
              <a:gd name="T73" fmla="*/ 149 h 151"/>
              <a:gd name="T74" fmla="*/ 109 w 135"/>
              <a:gd name="T75" fmla="*/ 151 h 151"/>
              <a:gd name="T76" fmla="*/ 105 w 135"/>
              <a:gd name="T77" fmla="*/ 150 h 151"/>
              <a:gd name="T78" fmla="*/ 100 w 135"/>
              <a:gd name="T79" fmla="*/ 150 h 151"/>
              <a:gd name="T80" fmla="*/ 93 w 135"/>
              <a:gd name="T81" fmla="*/ 145 h 151"/>
              <a:gd name="T82" fmla="*/ 78 w 135"/>
              <a:gd name="T83" fmla="*/ 144 h 151"/>
              <a:gd name="T84" fmla="*/ 77 w 135"/>
              <a:gd name="T85" fmla="*/ 141 h 151"/>
              <a:gd name="T86" fmla="*/ 78 w 135"/>
              <a:gd name="T87" fmla="*/ 137 h 151"/>
              <a:gd name="T88" fmla="*/ 83 w 135"/>
              <a:gd name="T89" fmla="*/ 122 h 151"/>
              <a:gd name="T90" fmla="*/ 84 w 135"/>
              <a:gd name="T91" fmla="*/ 115 h 151"/>
              <a:gd name="T92" fmla="*/ 83 w 135"/>
              <a:gd name="T93" fmla="*/ 111 h 151"/>
              <a:gd name="T94" fmla="*/ 80 w 135"/>
              <a:gd name="T95" fmla="*/ 108 h 151"/>
              <a:gd name="T96" fmla="*/ 73 w 135"/>
              <a:gd name="T97" fmla="*/ 105 h 151"/>
              <a:gd name="T98" fmla="*/ 65 w 135"/>
              <a:gd name="T99" fmla="*/ 99 h 151"/>
              <a:gd name="T100" fmla="*/ 53 w 135"/>
              <a:gd name="T101" fmla="*/ 91 h 151"/>
              <a:gd name="T102" fmla="*/ 48 w 135"/>
              <a:gd name="T103" fmla="*/ 90 h 151"/>
              <a:gd name="T104" fmla="*/ 38 w 135"/>
              <a:gd name="T105" fmla="*/ 89 h 151"/>
              <a:gd name="T106" fmla="*/ 33 w 135"/>
              <a:gd name="T107" fmla="*/ 87 h 151"/>
              <a:gd name="T108" fmla="*/ 29 w 135"/>
              <a:gd name="T109" fmla="*/ 80 h 151"/>
              <a:gd name="T110" fmla="*/ 23 w 135"/>
              <a:gd name="T111" fmla="*/ 78 h 151"/>
              <a:gd name="T112" fmla="*/ 16 w 135"/>
              <a:gd name="T113" fmla="*/ 70 h 151"/>
              <a:gd name="T114" fmla="*/ 7 w 135"/>
              <a:gd name="T115" fmla="*/ 60 h 151"/>
              <a:gd name="T116" fmla="*/ 0 w 135"/>
              <a:gd name="T117" fmla="*/ 57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35" h="151">
                <a:moveTo>
                  <a:pt x="0" y="57"/>
                </a:moveTo>
                <a:lnTo>
                  <a:pt x="2" y="52"/>
                </a:lnTo>
                <a:lnTo>
                  <a:pt x="4" y="40"/>
                </a:lnTo>
                <a:lnTo>
                  <a:pt x="4" y="38"/>
                </a:lnTo>
                <a:lnTo>
                  <a:pt x="3" y="36"/>
                </a:lnTo>
                <a:lnTo>
                  <a:pt x="3" y="28"/>
                </a:lnTo>
                <a:lnTo>
                  <a:pt x="3" y="27"/>
                </a:lnTo>
                <a:lnTo>
                  <a:pt x="6" y="21"/>
                </a:lnTo>
                <a:lnTo>
                  <a:pt x="8" y="17"/>
                </a:lnTo>
                <a:lnTo>
                  <a:pt x="9" y="12"/>
                </a:lnTo>
                <a:lnTo>
                  <a:pt x="9" y="10"/>
                </a:lnTo>
                <a:lnTo>
                  <a:pt x="14" y="9"/>
                </a:lnTo>
                <a:lnTo>
                  <a:pt x="29" y="3"/>
                </a:lnTo>
                <a:lnTo>
                  <a:pt x="30" y="3"/>
                </a:lnTo>
                <a:lnTo>
                  <a:pt x="39" y="1"/>
                </a:lnTo>
                <a:lnTo>
                  <a:pt x="40" y="0"/>
                </a:lnTo>
                <a:lnTo>
                  <a:pt x="52" y="1"/>
                </a:lnTo>
                <a:lnTo>
                  <a:pt x="57" y="2"/>
                </a:lnTo>
                <a:lnTo>
                  <a:pt x="60" y="4"/>
                </a:lnTo>
                <a:lnTo>
                  <a:pt x="62" y="7"/>
                </a:lnTo>
                <a:lnTo>
                  <a:pt x="67" y="13"/>
                </a:lnTo>
                <a:lnTo>
                  <a:pt x="68" y="14"/>
                </a:lnTo>
                <a:lnTo>
                  <a:pt x="70" y="17"/>
                </a:lnTo>
                <a:lnTo>
                  <a:pt x="69" y="18"/>
                </a:lnTo>
                <a:lnTo>
                  <a:pt x="69" y="19"/>
                </a:lnTo>
                <a:lnTo>
                  <a:pt x="72" y="23"/>
                </a:lnTo>
                <a:lnTo>
                  <a:pt x="72" y="23"/>
                </a:lnTo>
                <a:lnTo>
                  <a:pt x="73" y="39"/>
                </a:lnTo>
                <a:lnTo>
                  <a:pt x="74" y="49"/>
                </a:lnTo>
                <a:lnTo>
                  <a:pt x="77" y="51"/>
                </a:lnTo>
                <a:lnTo>
                  <a:pt x="78" y="52"/>
                </a:lnTo>
                <a:lnTo>
                  <a:pt x="82" y="53"/>
                </a:lnTo>
                <a:lnTo>
                  <a:pt x="84" y="54"/>
                </a:lnTo>
                <a:lnTo>
                  <a:pt x="89" y="56"/>
                </a:lnTo>
                <a:lnTo>
                  <a:pt x="92" y="56"/>
                </a:lnTo>
                <a:lnTo>
                  <a:pt x="97" y="56"/>
                </a:lnTo>
                <a:lnTo>
                  <a:pt x="98" y="54"/>
                </a:lnTo>
                <a:lnTo>
                  <a:pt x="100" y="53"/>
                </a:lnTo>
                <a:lnTo>
                  <a:pt x="102" y="54"/>
                </a:lnTo>
                <a:lnTo>
                  <a:pt x="109" y="57"/>
                </a:lnTo>
                <a:lnTo>
                  <a:pt x="111" y="60"/>
                </a:lnTo>
                <a:lnTo>
                  <a:pt x="111" y="61"/>
                </a:lnTo>
                <a:lnTo>
                  <a:pt x="113" y="69"/>
                </a:lnTo>
                <a:lnTo>
                  <a:pt x="114" y="72"/>
                </a:lnTo>
                <a:lnTo>
                  <a:pt x="114" y="80"/>
                </a:lnTo>
                <a:lnTo>
                  <a:pt x="115" y="81"/>
                </a:lnTo>
                <a:lnTo>
                  <a:pt x="117" y="83"/>
                </a:lnTo>
                <a:lnTo>
                  <a:pt x="119" y="86"/>
                </a:lnTo>
                <a:lnTo>
                  <a:pt x="121" y="86"/>
                </a:lnTo>
                <a:lnTo>
                  <a:pt x="124" y="86"/>
                </a:lnTo>
                <a:lnTo>
                  <a:pt x="125" y="86"/>
                </a:lnTo>
                <a:lnTo>
                  <a:pt x="129" y="86"/>
                </a:lnTo>
                <a:lnTo>
                  <a:pt x="131" y="84"/>
                </a:lnTo>
                <a:lnTo>
                  <a:pt x="133" y="86"/>
                </a:lnTo>
                <a:lnTo>
                  <a:pt x="134" y="89"/>
                </a:lnTo>
                <a:lnTo>
                  <a:pt x="135" y="95"/>
                </a:lnTo>
                <a:lnTo>
                  <a:pt x="135" y="97"/>
                </a:lnTo>
                <a:lnTo>
                  <a:pt x="134" y="102"/>
                </a:lnTo>
                <a:lnTo>
                  <a:pt x="134" y="110"/>
                </a:lnTo>
                <a:lnTo>
                  <a:pt x="134" y="115"/>
                </a:lnTo>
                <a:lnTo>
                  <a:pt x="134" y="124"/>
                </a:lnTo>
                <a:lnTo>
                  <a:pt x="134" y="130"/>
                </a:lnTo>
                <a:lnTo>
                  <a:pt x="134" y="132"/>
                </a:lnTo>
                <a:lnTo>
                  <a:pt x="132" y="134"/>
                </a:lnTo>
                <a:lnTo>
                  <a:pt x="130" y="138"/>
                </a:lnTo>
                <a:lnTo>
                  <a:pt x="127" y="141"/>
                </a:lnTo>
                <a:lnTo>
                  <a:pt x="127" y="142"/>
                </a:lnTo>
                <a:lnTo>
                  <a:pt x="125" y="142"/>
                </a:lnTo>
                <a:lnTo>
                  <a:pt x="122" y="145"/>
                </a:lnTo>
                <a:lnTo>
                  <a:pt x="121" y="147"/>
                </a:lnTo>
                <a:lnTo>
                  <a:pt x="121" y="148"/>
                </a:lnTo>
                <a:lnTo>
                  <a:pt x="119" y="148"/>
                </a:lnTo>
                <a:lnTo>
                  <a:pt x="114" y="148"/>
                </a:lnTo>
                <a:lnTo>
                  <a:pt x="112" y="149"/>
                </a:lnTo>
                <a:lnTo>
                  <a:pt x="111" y="150"/>
                </a:lnTo>
                <a:lnTo>
                  <a:pt x="109" y="151"/>
                </a:lnTo>
                <a:lnTo>
                  <a:pt x="108" y="151"/>
                </a:lnTo>
                <a:lnTo>
                  <a:pt x="105" y="150"/>
                </a:lnTo>
                <a:lnTo>
                  <a:pt x="103" y="150"/>
                </a:lnTo>
                <a:lnTo>
                  <a:pt x="100" y="150"/>
                </a:lnTo>
                <a:lnTo>
                  <a:pt x="94" y="147"/>
                </a:lnTo>
                <a:lnTo>
                  <a:pt x="93" y="145"/>
                </a:lnTo>
                <a:lnTo>
                  <a:pt x="83" y="144"/>
                </a:lnTo>
                <a:lnTo>
                  <a:pt x="78" y="144"/>
                </a:lnTo>
                <a:lnTo>
                  <a:pt x="77" y="143"/>
                </a:lnTo>
                <a:lnTo>
                  <a:pt x="77" y="141"/>
                </a:lnTo>
                <a:lnTo>
                  <a:pt x="77" y="139"/>
                </a:lnTo>
                <a:lnTo>
                  <a:pt x="78" y="137"/>
                </a:lnTo>
                <a:lnTo>
                  <a:pt x="80" y="129"/>
                </a:lnTo>
                <a:lnTo>
                  <a:pt x="83" y="122"/>
                </a:lnTo>
                <a:lnTo>
                  <a:pt x="84" y="118"/>
                </a:lnTo>
                <a:lnTo>
                  <a:pt x="84" y="115"/>
                </a:lnTo>
                <a:lnTo>
                  <a:pt x="83" y="112"/>
                </a:lnTo>
                <a:lnTo>
                  <a:pt x="83" y="111"/>
                </a:lnTo>
                <a:lnTo>
                  <a:pt x="82" y="111"/>
                </a:lnTo>
                <a:lnTo>
                  <a:pt x="80" y="108"/>
                </a:lnTo>
                <a:lnTo>
                  <a:pt x="78" y="107"/>
                </a:lnTo>
                <a:lnTo>
                  <a:pt x="73" y="105"/>
                </a:lnTo>
                <a:lnTo>
                  <a:pt x="71" y="102"/>
                </a:lnTo>
                <a:lnTo>
                  <a:pt x="65" y="99"/>
                </a:lnTo>
                <a:lnTo>
                  <a:pt x="61" y="97"/>
                </a:lnTo>
                <a:lnTo>
                  <a:pt x="53" y="91"/>
                </a:lnTo>
                <a:lnTo>
                  <a:pt x="51" y="91"/>
                </a:lnTo>
                <a:lnTo>
                  <a:pt x="48" y="90"/>
                </a:lnTo>
                <a:lnTo>
                  <a:pt x="40" y="89"/>
                </a:lnTo>
                <a:lnTo>
                  <a:pt x="38" y="89"/>
                </a:lnTo>
                <a:lnTo>
                  <a:pt x="34" y="88"/>
                </a:lnTo>
                <a:lnTo>
                  <a:pt x="33" y="87"/>
                </a:lnTo>
                <a:lnTo>
                  <a:pt x="32" y="86"/>
                </a:lnTo>
                <a:lnTo>
                  <a:pt x="29" y="80"/>
                </a:lnTo>
                <a:lnTo>
                  <a:pt x="27" y="79"/>
                </a:lnTo>
                <a:lnTo>
                  <a:pt x="23" y="78"/>
                </a:lnTo>
                <a:lnTo>
                  <a:pt x="17" y="71"/>
                </a:lnTo>
                <a:lnTo>
                  <a:pt x="16" y="70"/>
                </a:lnTo>
                <a:lnTo>
                  <a:pt x="11" y="66"/>
                </a:lnTo>
                <a:lnTo>
                  <a:pt x="7" y="60"/>
                </a:lnTo>
                <a:lnTo>
                  <a:pt x="6" y="58"/>
                </a:lnTo>
                <a:lnTo>
                  <a:pt x="0" y="57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99" name="Freeform 198"/>
          <p:cNvSpPr>
            <a:spLocks/>
          </p:cNvSpPr>
          <p:nvPr/>
        </p:nvSpPr>
        <p:spPr bwMode="auto">
          <a:xfrm>
            <a:off x="2786063" y="4132228"/>
            <a:ext cx="214313" cy="239713"/>
          </a:xfrm>
          <a:custGeom>
            <a:avLst/>
            <a:gdLst>
              <a:gd name="T0" fmla="*/ 2 w 135"/>
              <a:gd name="T1" fmla="*/ 52 h 151"/>
              <a:gd name="T2" fmla="*/ 4 w 135"/>
              <a:gd name="T3" fmla="*/ 38 h 151"/>
              <a:gd name="T4" fmla="*/ 3 w 135"/>
              <a:gd name="T5" fmla="*/ 28 h 151"/>
              <a:gd name="T6" fmla="*/ 6 w 135"/>
              <a:gd name="T7" fmla="*/ 21 h 151"/>
              <a:gd name="T8" fmla="*/ 9 w 135"/>
              <a:gd name="T9" fmla="*/ 12 h 151"/>
              <a:gd name="T10" fmla="*/ 14 w 135"/>
              <a:gd name="T11" fmla="*/ 9 h 151"/>
              <a:gd name="T12" fmla="*/ 30 w 135"/>
              <a:gd name="T13" fmla="*/ 3 h 151"/>
              <a:gd name="T14" fmla="*/ 40 w 135"/>
              <a:gd name="T15" fmla="*/ 0 h 151"/>
              <a:gd name="T16" fmla="*/ 57 w 135"/>
              <a:gd name="T17" fmla="*/ 2 h 151"/>
              <a:gd name="T18" fmla="*/ 62 w 135"/>
              <a:gd name="T19" fmla="*/ 7 h 151"/>
              <a:gd name="T20" fmla="*/ 68 w 135"/>
              <a:gd name="T21" fmla="*/ 14 h 151"/>
              <a:gd name="T22" fmla="*/ 69 w 135"/>
              <a:gd name="T23" fmla="*/ 18 h 151"/>
              <a:gd name="T24" fmla="*/ 72 w 135"/>
              <a:gd name="T25" fmla="*/ 23 h 151"/>
              <a:gd name="T26" fmla="*/ 73 w 135"/>
              <a:gd name="T27" fmla="*/ 39 h 151"/>
              <a:gd name="T28" fmla="*/ 77 w 135"/>
              <a:gd name="T29" fmla="*/ 51 h 151"/>
              <a:gd name="T30" fmla="*/ 82 w 135"/>
              <a:gd name="T31" fmla="*/ 53 h 151"/>
              <a:gd name="T32" fmla="*/ 89 w 135"/>
              <a:gd name="T33" fmla="*/ 56 h 151"/>
              <a:gd name="T34" fmla="*/ 97 w 135"/>
              <a:gd name="T35" fmla="*/ 56 h 151"/>
              <a:gd name="T36" fmla="*/ 100 w 135"/>
              <a:gd name="T37" fmla="*/ 53 h 151"/>
              <a:gd name="T38" fmla="*/ 109 w 135"/>
              <a:gd name="T39" fmla="*/ 57 h 151"/>
              <a:gd name="T40" fmla="*/ 111 w 135"/>
              <a:gd name="T41" fmla="*/ 61 h 151"/>
              <a:gd name="T42" fmla="*/ 114 w 135"/>
              <a:gd name="T43" fmla="*/ 72 h 151"/>
              <a:gd name="T44" fmla="*/ 115 w 135"/>
              <a:gd name="T45" fmla="*/ 81 h 151"/>
              <a:gd name="T46" fmla="*/ 119 w 135"/>
              <a:gd name="T47" fmla="*/ 86 h 151"/>
              <a:gd name="T48" fmla="*/ 124 w 135"/>
              <a:gd name="T49" fmla="*/ 86 h 151"/>
              <a:gd name="T50" fmla="*/ 129 w 135"/>
              <a:gd name="T51" fmla="*/ 86 h 151"/>
              <a:gd name="T52" fmla="*/ 133 w 135"/>
              <a:gd name="T53" fmla="*/ 86 h 151"/>
              <a:gd name="T54" fmla="*/ 135 w 135"/>
              <a:gd name="T55" fmla="*/ 95 h 151"/>
              <a:gd name="T56" fmla="*/ 134 w 135"/>
              <a:gd name="T57" fmla="*/ 102 h 151"/>
              <a:gd name="T58" fmla="*/ 134 w 135"/>
              <a:gd name="T59" fmla="*/ 115 h 151"/>
              <a:gd name="T60" fmla="*/ 134 w 135"/>
              <a:gd name="T61" fmla="*/ 130 h 151"/>
              <a:gd name="T62" fmla="*/ 132 w 135"/>
              <a:gd name="T63" fmla="*/ 134 h 151"/>
              <a:gd name="T64" fmla="*/ 127 w 135"/>
              <a:gd name="T65" fmla="*/ 141 h 151"/>
              <a:gd name="T66" fmla="*/ 125 w 135"/>
              <a:gd name="T67" fmla="*/ 142 h 151"/>
              <a:gd name="T68" fmla="*/ 121 w 135"/>
              <a:gd name="T69" fmla="*/ 147 h 151"/>
              <a:gd name="T70" fmla="*/ 119 w 135"/>
              <a:gd name="T71" fmla="*/ 148 h 151"/>
              <a:gd name="T72" fmla="*/ 112 w 135"/>
              <a:gd name="T73" fmla="*/ 149 h 151"/>
              <a:gd name="T74" fmla="*/ 109 w 135"/>
              <a:gd name="T75" fmla="*/ 151 h 151"/>
              <a:gd name="T76" fmla="*/ 105 w 135"/>
              <a:gd name="T77" fmla="*/ 150 h 151"/>
              <a:gd name="T78" fmla="*/ 100 w 135"/>
              <a:gd name="T79" fmla="*/ 150 h 151"/>
              <a:gd name="T80" fmla="*/ 93 w 135"/>
              <a:gd name="T81" fmla="*/ 145 h 151"/>
              <a:gd name="T82" fmla="*/ 78 w 135"/>
              <a:gd name="T83" fmla="*/ 144 h 151"/>
              <a:gd name="T84" fmla="*/ 77 w 135"/>
              <a:gd name="T85" fmla="*/ 141 h 151"/>
              <a:gd name="T86" fmla="*/ 78 w 135"/>
              <a:gd name="T87" fmla="*/ 137 h 151"/>
              <a:gd name="T88" fmla="*/ 83 w 135"/>
              <a:gd name="T89" fmla="*/ 122 h 151"/>
              <a:gd name="T90" fmla="*/ 84 w 135"/>
              <a:gd name="T91" fmla="*/ 115 h 151"/>
              <a:gd name="T92" fmla="*/ 83 w 135"/>
              <a:gd name="T93" fmla="*/ 111 h 151"/>
              <a:gd name="T94" fmla="*/ 80 w 135"/>
              <a:gd name="T95" fmla="*/ 108 h 151"/>
              <a:gd name="T96" fmla="*/ 73 w 135"/>
              <a:gd name="T97" fmla="*/ 105 h 151"/>
              <a:gd name="T98" fmla="*/ 65 w 135"/>
              <a:gd name="T99" fmla="*/ 99 h 151"/>
              <a:gd name="T100" fmla="*/ 53 w 135"/>
              <a:gd name="T101" fmla="*/ 91 h 151"/>
              <a:gd name="T102" fmla="*/ 48 w 135"/>
              <a:gd name="T103" fmla="*/ 90 h 151"/>
              <a:gd name="T104" fmla="*/ 38 w 135"/>
              <a:gd name="T105" fmla="*/ 89 h 151"/>
              <a:gd name="T106" fmla="*/ 33 w 135"/>
              <a:gd name="T107" fmla="*/ 87 h 151"/>
              <a:gd name="T108" fmla="*/ 29 w 135"/>
              <a:gd name="T109" fmla="*/ 80 h 151"/>
              <a:gd name="T110" fmla="*/ 23 w 135"/>
              <a:gd name="T111" fmla="*/ 78 h 151"/>
              <a:gd name="T112" fmla="*/ 16 w 135"/>
              <a:gd name="T113" fmla="*/ 70 h 151"/>
              <a:gd name="T114" fmla="*/ 7 w 135"/>
              <a:gd name="T115" fmla="*/ 60 h 151"/>
              <a:gd name="T116" fmla="*/ 0 w 135"/>
              <a:gd name="T117" fmla="*/ 57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35" h="151">
                <a:moveTo>
                  <a:pt x="0" y="57"/>
                </a:moveTo>
                <a:lnTo>
                  <a:pt x="2" y="52"/>
                </a:lnTo>
                <a:lnTo>
                  <a:pt x="4" y="40"/>
                </a:lnTo>
                <a:lnTo>
                  <a:pt x="4" y="38"/>
                </a:lnTo>
                <a:lnTo>
                  <a:pt x="3" y="36"/>
                </a:lnTo>
                <a:lnTo>
                  <a:pt x="3" y="28"/>
                </a:lnTo>
                <a:lnTo>
                  <a:pt x="3" y="27"/>
                </a:lnTo>
                <a:lnTo>
                  <a:pt x="6" y="21"/>
                </a:lnTo>
                <a:lnTo>
                  <a:pt x="8" y="17"/>
                </a:lnTo>
                <a:lnTo>
                  <a:pt x="9" y="12"/>
                </a:lnTo>
                <a:lnTo>
                  <a:pt x="9" y="10"/>
                </a:lnTo>
                <a:lnTo>
                  <a:pt x="14" y="9"/>
                </a:lnTo>
                <a:lnTo>
                  <a:pt x="29" y="3"/>
                </a:lnTo>
                <a:lnTo>
                  <a:pt x="30" y="3"/>
                </a:lnTo>
                <a:lnTo>
                  <a:pt x="39" y="1"/>
                </a:lnTo>
                <a:lnTo>
                  <a:pt x="40" y="0"/>
                </a:lnTo>
                <a:lnTo>
                  <a:pt x="52" y="1"/>
                </a:lnTo>
                <a:lnTo>
                  <a:pt x="57" y="2"/>
                </a:lnTo>
                <a:lnTo>
                  <a:pt x="60" y="4"/>
                </a:lnTo>
                <a:lnTo>
                  <a:pt x="62" y="7"/>
                </a:lnTo>
                <a:lnTo>
                  <a:pt x="67" y="13"/>
                </a:lnTo>
                <a:lnTo>
                  <a:pt x="68" y="14"/>
                </a:lnTo>
                <a:lnTo>
                  <a:pt x="70" y="17"/>
                </a:lnTo>
                <a:lnTo>
                  <a:pt x="69" y="18"/>
                </a:lnTo>
                <a:lnTo>
                  <a:pt x="69" y="19"/>
                </a:lnTo>
                <a:lnTo>
                  <a:pt x="72" y="23"/>
                </a:lnTo>
                <a:lnTo>
                  <a:pt x="72" y="23"/>
                </a:lnTo>
                <a:lnTo>
                  <a:pt x="73" y="39"/>
                </a:lnTo>
                <a:lnTo>
                  <a:pt x="74" y="49"/>
                </a:lnTo>
                <a:lnTo>
                  <a:pt x="77" y="51"/>
                </a:lnTo>
                <a:lnTo>
                  <a:pt x="78" y="52"/>
                </a:lnTo>
                <a:lnTo>
                  <a:pt x="82" y="53"/>
                </a:lnTo>
                <a:lnTo>
                  <a:pt x="84" y="54"/>
                </a:lnTo>
                <a:lnTo>
                  <a:pt x="89" y="56"/>
                </a:lnTo>
                <a:lnTo>
                  <a:pt x="92" y="56"/>
                </a:lnTo>
                <a:lnTo>
                  <a:pt x="97" y="56"/>
                </a:lnTo>
                <a:lnTo>
                  <a:pt x="98" y="54"/>
                </a:lnTo>
                <a:lnTo>
                  <a:pt x="100" y="53"/>
                </a:lnTo>
                <a:lnTo>
                  <a:pt x="102" y="54"/>
                </a:lnTo>
                <a:lnTo>
                  <a:pt x="109" y="57"/>
                </a:lnTo>
                <a:lnTo>
                  <a:pt x="111" y="60"/>
                </a:lnTo>
                <a:lnTo>
                  <a:pt x="111" y="61"/>
                </a:lnTo>
                <a:lnTo>
                  <a:pt x="113" y="69"/>
                </a:lnTo>
                <a:lnTo>
                  <a:pt x="114" y="72"/>
                </a:lnTo>
                <a:lnTo>
                  <a:pt x="114" y="80"/>
                </a:lnTo>
                <a:lnTo>
                  <a:pt x="115" y="81"/>
                </a:lnTo>
                <a:lnTo>
                  <a:pt x="117" y="83"/>
                </a:lnTo>
                <a:lnTo>
                  <a:pt x="119" y="86"/>
                </a:lnTo>
                <a:lnTo>
                  <a:pt x="121" y="86"/>
                </a:lnTo>
                <a:lnTo>
                  <a:pt x="124" y="86"/>
                </a:lnTo>
                <a:lnTo>
                  <a:pt x="125" y="86"/>
                </a:lnTo>
                <a:lnTo>
                  <a:pt x="129" y="86"/>
                </a:lnTo>
                <a:lnTo>
                  <a:pt x="131" y="84"/>
                </a:lnTo>
                <a:lnTo>
                  <a:pt x="133" y="86"/>
                </a:lnTo>
                <a:lnTo>
                  <a:pt x="134" y="89"/>
                </a:lnTo>
                <a:lnTo>
                  <a:pt x="135" y="95"/>
                </a:lnTo>
                <a:lnTo>
                  <a:pt x="135" y="97"/>
                </a:lnTo>
                <a:lnTo>
                  <a:pt x="134" y="102"/>
                </a:lnTo>
                <a:lnTo>
                  <a:pt x="134" y="110"/>
                </a:lnTo>
                <a:lnTo>
                  <a:pt x="134" y="115"/>
                </a:lnTo>
                <a:lnTo>
                  <a:pt x="134" y="124"/>
                </a:lnTo>
                <a:lnTo>
                  <a:pt x="134" y="130"/>
                </a:lnTo>
                <a:lnTo>
                  <a:pt x="134" y="132"/>
                </a:lnTo>
                <a:lnTo>
                  <a:pt x="132" y="134"/>
                </a:lnTo>
                <a:lnTo>
                  <a:pt x="130" y="138"/>
                </a:lnTo>
                <a:lnTo>
                  <a:pt x="127" y="141"/>
                </a:lnTo>
                <a:lnTo>
                  <a:pt x="127" y="142"/>
                </a:lnTo>
                <a:lnTo>
                  <a:pt x="125" y="142"/>
                </a:lnTo>
                <a:lnTo>
                  <a:pt x="122" y="145"/>
                </a:lnTo>
                <a:lnTo>
                  <a:pt x="121" y="147"/>
                </a:lnTo>
                <a:lnTo>
                  <a:pt x="121" y="148"/>
                </a:lnTo>
                <a:lnTo>
                  <a:pt x="119" y="148"/>
                </a:lnTo>
                <a:lnTo>
                  <a:pt x="114" y="148"/>
                </a:lnTo>
                <a:lnTo>
                  <a:pt x="112" y="149"/>
                </a:lnTo>
                <a:lnTo>
                  <a:pt x="111" y="150"/>
                </a:lnTo>
                <a:lnTo>
                  <a:pt x="109" y="151"/>
                </a:lnTo>
                <a:lnTo>
                  <a:pt x="108" y="151"/>
                </a:lnTo>
                <a:lnTo>
                  <a:pt x="105" y="150"/>
                </a:lnTo>
                <a:lnTo>
                  <a:pt x="103" y="150"/>
                </a:lnTo>
                <a:lnTo>
                  <a:pt x="100" y="150"/>
                </a:lnTo>
                <a:lnTo>
                  <a:pt x="94" y="147"/>
                </a:lnTo>
                <a:lnTo>
                  <a:pt x="93" y="145"/>
                </a:lnTo>
                <a:lnTo>
                  <a:pt x="83" y="144"/>
                </a:lnTo>
                <a:lnTo>
                  <a:pt x="78" y="144"/>
                </a:lnTo>
                <a:lnTo>
                  <a:pt x="77" y="143"/>
                </a:lnTo>
                <a:lnTo>
                  <a:pt x="77" y="141"/>
                </a:lnTo>
                <a:lnTo>
                  <a:pt x="77" y="139"/>
                </a:lnTo>
                <a:lnTo>
                  <a:pt x="78" y="137"/>
                </a:lnTo>
                <a:lnTo>
                  <a:pt x="80" y="129"/>
                </a:lnTo>
                <a:lnTo>
                  <a:pt x="83" y="122"/>
                </a:lnTo>
                <a:lnTo>
                  <a:pt x="84" y="118"/>
                </a:lnTo>
                <a:lnTo>
                  <a:pt x="84" y="115"/>
                </a:lnTo>
                <a:lnTo>
                  <a:pt x="83" y="112"/>
                </a:lnTo>
                <a:lnTo>
                  <a:pt x="83" y="111"/>
                </a:lnTo>
                <a:lnTo>
                  <a:pt x="82" y="111"/>
                </a:lnTo>
                <a:lnTo>
                  <a:pt x="80" y="108"/>
                </a:lnTo>
                <a:lnTo>
                  <a:pt x="78" y="107"/>
                </a:lnTo>
                <a:lnTo>
                  <a:pt x="73" y="105"/>
                </a:lnTo>
                <a:lnTo>
                  <a:pt x="71" y="102"/>
                </a:lnTo>
                <a:lnTo>
                  <a:pt x="65" y="99"/>
                </a:lnTo>
                <a:lnTo>
                  <a:pt x="61" y="97"/>
                </a:lnTo>
                <a:lnTo>
                  <a:pt x="53" y="91"/>
                </a:lnTo>
                <a:lnTo>
                  <a:pt x="51" y="91"/>
                </a:lnTo>
                <a:lnTo>
                  <a:pt x="48" y="90"/>
                </a:lnTo>
                <a:lnTo>
                  <a:pt x="40" y="89"/>
                </a:lnTo>
                <a:lnTo>
                  <a:pt x="38" y="89"/>
                </a:lnTo>
                <a:lnTo>
                  <a:pt x="34" y="88"/>
                </a:lnTo>
                <a:lnTo>
                  <a:pt x="33" y="87"/>
                </a:lnTo>
                <a:lnTo>
                  <a:pt x="32" y="86"/>
                </a:lnTo>
                <a:lnTo>
                  <a:pt x="29" y="80"/>
                </a:lnTo>
                <a:lnTo>
                  <a:pt x="27" y="79"/>
                </a:lnTo>
                <a:lnTo>
                  <a:pt x="23" y="78"/>
                </a:lnTo>
                <a:lnTo>
                  <a:pt x="17" y="71"/>
                </a:lnTo>
                <a:lnTo>
                  <a:pt x="16" y="70"/>
                </a:lnTo>
                <a:lnTo>
                  <a:pt x="11" y="66"/>
                </a:lnTo>
                <a:lnTo>
                  <a:pt x="7" y="60"/>
                </a:lnTo>
                <a:lnTo>
                  <a:pt x="6" y="58"/>
                </a:lnTo>
                <a:lnTo>
                  <a:pt x="0" y="57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00" name="Freeform 199"/>
          <p:cNvSpPr>
            <a:spLocks/>
          </p:cNvSpPr>
          <p:nvPr/>
        </p:nvSpPr>
        <p:spPr bwMode="auto">
          <a:xfrm>
            <a:off x="2578101" y="4084603"/>
            <a:ext cx="285750" cy="1036638"/>
          </a:xfrm>
          <a:custGeom>
            <a:avLst/>
            <a:gdLst>
              <a:gd name="T0" fmla="*/ 31 w 180"/>
              <a:gd name="T1" fmla="*/ 29 h 653"/>
              <a:gd name="T2" fmla="*/ 31 w 180"/>
              <a:gd name="T3" fmla="*/ 47 h 653"/>
              <a:gd name="T4" fmla="*/ 41 w 180"/>
              <a:gd name="T5" fmla="*/ 66 h 653"/>
              <a:gd name="T6" fmla="*/ 55 w 180"/>
              <a:gd name="T7" fmla="*/ 98 h 653"/>
              <a:gd name="T8" fmla="*/ 59 w 180"/>
              <a:gd name="T9" fmla="*/ 120 h 653"/>
              <a:gd name="T10" fmla="*/ 49 w 180"/>
              <a:gd name="T11" fmla="*/ 157 h 653"/>
              <a:gd name="T12" fmla="*/ 39 w 180"/>
              <a:gd name="T13" fmla="*/ 192 h 653"/>
              <a:gd name="T14" fmla="*/ 38 w 180"/>
              <a:gd name="T15" fmla="*/ 232 h 653"/>
              <a:gd name="T16" fmla="*/ 38 w 180"/>
              <a:gd name="T17" fmla="*/ 260 h 653"/>
              <a:gd name="T18" fmla="*/ 53 w 180"/>
              <a:gd name="T19" fmla="*/ 308 h 653"/>
              <a:gd name="T20" fmla="*/ 52 w 180"/>
              <a:gd name="T21" fmla="*/ 339 h 653"/>
              <a:gd name="T22" fmla="*/ 56 w 180"/>
              <a:gd name="T23" fmla="*/ 376 h 653"/>
              <a:gd name="T24" fmla="*/ 57 w 180"/>
              <a:gd name="T25" fmla="*/ 414 h 653"/>
              <a:gd name="T26" fmla="*/ 64 w 180"/>
              <a:gd name="T27" fmla="*/ 453 h 653"/>
              <a:gd name="T28" fmla="*/ 79 w 180"/>
              <a:gd name="T29" fmla="*/ 486 h 653"/>
              <a:gd name="T30" fmla="*/ 86 w 180"/>
              <a:gd name="T31" fmla="*/ 497 h 653"/>
              <a:gd name="T32" fmla="*/ 96 w 180"/>
              <a:gd name="T33" fmla="*/ 527 h 653"/>
              <a:gd name="T34" fmla="*/ 94 w 180"/>
              <a:gd name="T35" fmla="*/ 552 h 653"/>
              <a:gd name="T36" fmla="*/ 94 w 180"/>
              <a:gd name="T37" fmla="*/ 576 h 653"/>
              <a:gd name="T38" fmla="*/ 103 w 180"/>
              <a:gd name="T39" fmla="*/ 602 h 653"/>
              <a:gd name="T40" fmla="*/ 117 w 180"/>
              <a:gd name="T41" fmla="*/ 605 h 653"/>
              <a:gd name="T42" fmla="*/ 157 w 180"/>
              <a:gd name="T43" fmla="*/ 622 h 653"/>
              <a:gd name="T44" fmla="*/ 170 w 180"/>
              <a:gd name="T45" fmla="*/ 625 h 653"/>
              <a:gd name="T46" fmla="*/ 151 w 180"/>
              <a:gd name="T47" fmla="*/ 634 h 653"/>
              <a:gd name="T48" fmla="*/ 147 w 180"/>
              <a:gd name="T49" fmla="*/ 652 h 653"/>
              <a:gd name="T50" fmla="*/ 141 w 180"/>
              <a:gd name="T51" fmla="*/ 643 h 653"/>
              <a:gd name="T52" fmla="*/ 131 w 180"/>
              <a:gd name="T53" fmla="*/ 631 h 653"/>
              <a:gd name="T54" fmla="*/ 123 w 180"/>
              <a:gd name="T55" fmla="*/ 624 h 653"/>
              <a:gd name="T56" fmla="*/ 118 w 180"/>
              <a:gd name="T57" fmla="*/ 617 h 653"/>
              <a:gd name="T58" fmla="*/ 109 w 180"/>
              <a:gd name="T59" fmla="*/ 617 h 653"/>
              <a:gd name="T60" fmla="*/ 92 w 180"/>
              <a:gd name="T61" fmla="*/ 606 h 653"/>
              <a:gd name="T62" fmla="*/ 88 w 180"/>
              <a:gd name="T63" fmla="*/ 596 h 653"/>
              <a:gd name="T64" fmla="*/ 80 w 180"/>
              <a:gd name="T65" fmla="*/ 583 h 653"/>
              <a:gd name="T66" fmla="*/ 81 w 180"/>
              <a:gd name="T67" fmla="*/ 571 h 653"/>
              <a:gd name="T68" fmla="*/ 72 w 180"/>
              <a:gd name="T69" fmla="*/ 563 h 653"/>
              <a:gd name="T70" fmla="*/ 67 w 180"/>
              <a:gd name="T71" fmla="*/ 555 h 653"/>
              <a:gd name="T72" fmla="*/ 79 w 180"/>
              <a:gd name="T73" fmla="*/ 553 h 653"/>
              <a:gd name="T74" fmla="*/ 62 w 180"/>
              <a:gd name="T75" fmla="*/ 542 h 653"/>
              <a:gd name="T76" fmla="*/ 58 w 180"/>
              <a:gd name="T77" fmla="*/ 528 h 653"/>
              <a:gd name="T78" fmla="*/ 46 w 180"/>
              <a:gd name="T79" fmla="*/ 531 h 653"/>
              <a:gd name="T80" fmla="*/ 49 w 180"/>
              <a:gd name="T81" fmla="*/ 517 h 653"/>
              <a:gd name="T82" fmla="*/ 55 w 180"/>
              <a:gd name="T83" fmla="*/ 514 h 653"/>
              <a:gd name="T84" fmla="*/ 62 w 180"/>
              <a:gd name="T85" fmla="*/ 522 h 653"/>
              <a:gd name="T86" fmla="*/ 68 w 180"/>
              <a:gd name="T87" fmla="*/ 520 h 653"/>
              <a:gd name="T88" fmla="*/ 64 w 180"/>
              <a:gd name="T89" fmla="*/ 512 h 653"/>
              <a:gd name="T90" fmla="*/ 62 w 180"/>
              <a:gd name="T91" fmla="*/ 505 h 653"/>
              <a:gd name="T92" fmla="*/ 62 w 180"/>
              <a:gd name="T93" fmla="*/ 503 h 653"/>
              <a:gd name="T94" fmla="*/ 64 w 180"/>
              <a:gd name="T95" fmla="*/ 487 h 653"/>
              <a:gd name="T96" fmla="*/ 60 w 180"/>
              <a:gd name="T97" fmla="*/ 476 h 653"/>
              <a:gd name="T98" fmla="*/ 56 w 180"/>
              <a:gd name="T99" fmla="*/ 454 h 653"/>
              <a:gd name="T100" fmla="*/ 51 w 180"/>
              <a:gd name="T101" fmla="*/ 444 h 653"/>
              <a:gd name="T102" fmla="*/ 46 w 180"/>
              <a:gd name="T103" fmla="*/ 435 h 653"/>
              <a:gd name="T104" fmla="*/ 31 w 180"/>
              <a:gd name="T105" fmla="*/ 431 h 653"/>
              <a:gd name="T106" fmla="*/ 23 w 180"/>
              <a:gd name="T107" fmla="*/ 386 h 653"/>
              <a:gd name="T108" fmla="*/ 17 w 180"/>
              <a:gd name="T109" fmla="*/ 357 h 653"/>
              <a:gd name="T110" fmla="*/ 21 w 180"/>
              <a:gd name="T111" fmla="*/ 326 h 653"/>
              <a:gd name="T112" fmla="*/ 25 w 180"/>
              <a:gd name="T113" fmla="*/ 279 h 653"/>
              <a:gd name="T114" fmla="*/ 15 w 180"/>
              <a:gd name="T115" fmla="*/ 219 h 653"/>
              <a:gd name="T116" fmla="*/ 15 w 180"/>
              <a:gd name="T117" fmla="*/ 174 h 653"/>
              <a:gd name="T118" fmla="*/ 16 w 180"/>
              <a:gd name="T119" fmla="*/ 142 h 653"/>
              <a:gd name="T120" fmla="*/ 11 w 180"/>
              <a:gd name="T121" fmla="*/ 99 h 653"/>
              <a:gd name="T122" fmla="*/ 9 w 180"/>
              <a:gd name="T123" fmla="*/ 44 h 653"/>
              <a:gd name="T124" fmla="*/ 11 w 180"/>
              <a:gd name="T125" fmla="*/ 8 h 6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0" h="653">
                <a:moveTo>
                  <a:pt x="15" y="0"/>
                </a:moveTo>
                <a:lnTo>
                  <a:pt x="15" y="0"/>
                </a:lnTo>
                <a:lnTo>
                  <a:pt x="18" y="5"/>
                </a:lnTo>
                <a:lnTo>
                  <a:pt x="20" y="6"/>
                </a:lnTo>
                <a:lnTo>
                  <a:pt x="22" y="9"/>
                </a:lnTo>
                <a:lnTo>
                  <a:pt x="22" y="11"/>
                </a:lnTo>
                <a:lnTo>
                  <a:pt x="25" y="22"/>
                </a:lnTo>
                <a:lnTo>
                  <a:pt x="26" y="24"/>
                </a:lnTo>
                <a:lnTo>
                  <a:pt x="27" y="26"/>
                </a:lnTo>
                <a:lnTo>
                  <a:pt x="31" y="29"/>
                </a:lnTo>
                <a:lnTo>
                  <a:pt x="33" y="31"/>
                </a:lnTo>
                <a:lnTo>
                  <a:pt x="35" y="34"/>
                </a:lnTo>
                <a:lnTo>
                  <a:pt x="33" y="36"/>
                </a:lnTo>
                <a:lnTo>
                  <a:pt x="33" y="38"/>
                </a:lnTo>
                <a:lnTo>
                  <a:pt x="35" y="40"/>
                </a:lnTo>
                <a:lnTo>
                  <a:pt x="35" y="41"/>
                </a:lnTo>
                <a:lnTo>
                  <a:pt x="35" y="41"/>
                </a:lnTo>
                <a:lnTo>
                  <a:pt x="32" y="42"/>
                </a:lnTo>
                <a:lnTo>
                  <a:pt x="31" y="43"/>
                </a:lnTo>
                <a:lnTo>
                  <a:pt x="31" y="47"/>
                </a:lnTo>
                <a:lnTo>
                  <a:pt x="31" y="49"/>
                </a:lnTo>
                <a:lnTo>
                  <a:pt x="33" y="50"/>
                </a:lnTo>
                <a:lnTo>
                  <a:pt x="35" y="51"/>
                </a:lnTo>
                <a:lnTo>
                  <a:pt x="36" y="54"/>
                </a:lnTo>
                <a:lnTo>
                  <a:pt x="36" y="57"/>
                </a:lnTo>
                <a:lnTo>
                  <a:pt x="37" y="58"/>
                </a:lnTo>
                <a:lnTo>
                  <a:pt x="38" y="58"/>
                </a:lnTo>
                <a:lnTo>
                  <a:pt x="40" y="60"/>
                </a:lnTo>
                <a:lnTo>
                  <a:pt x="40" y="61"/>
                </a:lnTo>
                <a:lnTo>
                  <a:pt x="41" y="66"/>
                </a:lnTo>
                <a:lnTo>
                  <a:pt x="42" y="68"/>
                </a:lnTo>
                <a:lnTo>
                  <a:pt x="45" y="71"/>
                </a:lnTo>
                <a:lnTo>
                  <a:pt x="46" y="78"/>
                </a:lnTo>
                <a:lnTo>
                  <a:pt x="46" y="83"/>
                </a:lnTo>
                <a:lnTo>
                  <a:pt x="48" y="90"/>
                </a:lnTo>
                <a:lnTo>
                  <a:pt x="48" y="92"/>
                </a:lnTo>
                <a:lnTo>
                  <a:pt x="50" y="96"/>
                </a:lnTo>
                <a:lnTo>
                  <a:pt x="50" y="96"/>
                </a:lnTo>
                <a:lnTo>
                  <a:pt x="52" y="97"/>
                </a:lnTo>
                <a:lnTo>
                  <a:pt x="55" y="98"/>
                </a:lnTo>
                <a:lnTo>
                  <a:pt x="58" y="97"/>
                </a:lnTo>
                <a:lnTo>
                  <a:pt x="59" y="97"/>
                </a:lnTo>
                <a:lnTo>
                  <a:pt x="62" y="97"/>
                </a:lnTo>
                <a:lnTo>
                  <a:pt x="62" y="97"/>
                </a:lnTo>
                <a:lnTo>
                  <a:pt x="62" y="98"/>
                </a:lnTo>
                <a:lnTo>
                  <a:pt x="62" y="98"/>
                </a:lnTo>
                <a:lnTo>
                  <a:pt x="64" y="99"/>
                </a:lnTo>
                <a:lnTo>
                  <a:pt x="64" y="103"/>
                </a:lnTo>
                <a:lnTo>
                  <a:pt x="63" y="118"/>
                </a:lnTo>
                <a:lnTo>
                  <a:pt x="59" y="120"/>
                </a:lnTo>
                <a:lnTo>
                  <a:pt x="46" y="127"/>
                </a:lnTo>
                <a:lnTo>
                  <a:pt x="46" y="129"/>
                </a:lnTo>
                <a:lnTo>
                  <a:pt x="46" y="131"/>
                </a:lnTo>
                <a:lnTo>
                  <a:pt x="47" y="133"/>
                </a:lnTo>
                <a:lnTo>
                  <a:pt x="47" y="137"/>
                </a:lnTo>
                <a:lnTo>
                  <a:pt x="46" y="139"/>
                </a:lnTo>
                <a:lnTo>
                  <a:pt x="46" y="140"/>
                </a:lnTo>
                <a:lnTo>
                  <a:pt x="47" y="144"/>
                </a:lnTo>
                <a:lnTo>
                  <a:pt x="48" y="149"/>
                </a:lnTo>
                <a:lnTo>
                  <a:pt x="49" y="157"/>
                </a:lnTo>
                <a:lnTo>
                  <a:pt x="50" y="160"/>
                </a:lnTo>
                <a:lnTo>
                  <a:pt x="52" y="164"/>
                </a:lnTo>
                <a:lnTo>
                  <a:pt x="53" y="169"/>
                </a:lnTo>
                <a:lnTo>
                  <a:pt x="53" y="170"/>
                </a:lnTo>
                <a:lnTo>
                  <a:pt x="52" y="171"/>
                </a:lnTo>
                <a:lnTo>
                  <a:pt x="49" y="172"/>
                </a:lnTo>
                <a:lnTo>
                  <a:pt x="46" y="175"/>
                </a:lnTo>
                <a:lnTo>
                  <a:pt x="46" y="177"/>
                </a:lnTo>
                <a:lnTo>
                  <a:pt x="45" y="184"/>
                </a:lnTo>
                <a:lnTo>
                  <a:pt x="39" y="192"/>
                </a:lnTo>
                <a:lnTo>
                  <a:pt x="38" y="200"/>
                </a:lnTo>
                <a:lnTo>
                  <a:pt x="38" y="207"/>
                </a:lnTo>
                <a:lnTo>
                  <a:pt x="38" y="209"/>
                </a:lnTo>
                <a:lnTo>
                  <a:pt x="37" y="212"/>
                </a:lnTo>
                <a:lnTo>
                  <a:pt x="37" y="214"/>
                </a:lnTo>
                <a:lnTo>
                  <a:pt x="38" y="222"/>
                </a:lnTo>
                <a:lnTo>
                  <a:pt x="38" y="224"/>
                </a:lnTo>
                <a:lnTo>
                  <a:pt x="39" y="228"/>
                </a:lnTo>
                <a:lnTo>
                  <a:pt x="39" y="231"/>
                </a:lnTo>
                <a:lnTo>
                  <a:pt x="38" y="232"/>
                </a:lnTo>
                <a:lnTo>
                  <a:pt x="38" y="233"/>
                </a:lnTo>
                <a:lnTo>
                  <a:pt x="38" y="235"/>
                </a:lnTo>
                <a:lnTo>
                  <a:pt x="37" y="236"/>
                </a:lnTo>
                <a:lnTo>
                  <a:pt x="36" y="241"/>
                </a:lnTo>
                <a:lnTo>
                  <a:pt x="35" y="245"/>
                </a:lnTo>
                <a:lnTo>
                  <a:pt x="35" y="245"/>
                </a:lnTo>
                <a:lnTo>
                  <a:pt x="35" y="249"/>
                </a:lnTo>
                <a:lnTo>
                  <a:pt x="35" y="253"/>
                </a:lnTo>
                <a:lnTo>
                  <a:pt x="36" y="258"/>
                </a:lnTo>
                <a:lnTo>
                  <a:pt x="38" y="260"/>
                </a:lnTo>
                <a:lnTo>
                  <a:pt x="40" y="269"/>
                </a:lnTo>
                <a:lnTo>
                  <a:pt x="46" y="278"/>
                </a:lnTo>
                <a:lnTo>
                  <a:pt x="47" y="281"/>
                </a:lnTo>
                <a:lnTo>
                  <a:pt x="47" y="284"/>
                </a:lnTo>
                <a:lnTo>
                  <a:pt x="50" y="286"/>
                </a:lnTo>
                <a:lnTo>
                  <a:pt x="50" y="288"/>
                </a:lnTo>
                <a:lnTo>
                  <a:pt x="52" y="293"/>
                </a:lnTo>
                <a:lnTo>
                  <a:pt x="55" y="298"/>
                </a:lnTo>
                <a:lnTo>
                  <a:pt x="56" y="302"/>
                </a:lnTo>
                <a:lnTo>
                  <a:pt x="53" y="308"/>
                </a:lnTo>
                <a:lnTo>
                  <a:pt x="52" y="311"/>
                </a:lnTo>
                <a:lnTo>
                  <a:pt x="52" y="313"/>
                </a:lnTo>
                <a:lnTo>
                  <a:pt x="52" y="319"/>
                </a:lnTo>
                <a:lnTo>
                  <a:pt x="52" y="320"/>
                </a:lnTo>
                <a:lnTo>
                  <a:pt x="50" y="322"/>
                </a:lnTo>
                <a:lnTo>
                  <a:pt x="52" y="331"/>
                </a:lnTo>
                <a:lnTo>
                  <a:pt x="55" y="335"/>
                </a:lnTo>
                <a:lnTo>
                  <a:pt x="55" y="336"/>
                </a:lnTo>
                <a:lnTo>
                  <a:pt x="53" y="337"/>
                </a:lnTo>
                <a:lnTo>
                  <a:pt x="52" y="339"/>
                </a:lnTo>
                <a:lnTo>
                  <a:pt x="52" y="340"/>
                </a:lnTo>
                <a:lnTo>
                  <a:pt x="52" y="341"/>
                </a:lnTo>
                <a:lnTo>
                  <a:pt x="51" y="342"/>
                </a:lnTo>
                <a:lnTo>
                  <a:pt x="50" y="342"/>
                </a:lnTo>
                <a:lnTo>
                  <a:pt x="49" y="343"/>
                </a:lnTo>
                <a:lnTo>
                  <a:pt x="48" y="345"/>
                </a:lnTo>
                <a:lnTo>
                  <a:pt x="48" y="349"/>
                </a:lnTo>
                <a:lnTo>
                  <a:pt x="49" y="359"/>
                </a:lnTo>
                <a:lnTo>
                  <a:pt x="52" y="369"/>
                </a:lnTo>
                <a:lnTo>
                  <a:pt x="56" y="376"/>
                </a:lnTo>
                <a:lnTo>
                  <a:pt x="57" y="379"/>
                </a:lnTo>
                <a:lnTo>
                  <a:pt x="58" y="382"/>
                </a:lnTo>
                <a:lnTo>
                  <a:pt x="58" y="385"/>
                </a:lnTo>
                <a:lnTo>
                  <a:pt x="56" y="386"/>
                </a:lnTo>
                <a:lnTo>
                  <a:pt x="56" y="389"/>
                </a:lnTo>
                <a:lnTo>
                  <a:pt x="55" y="390"/>
                </a:lnTo>
                <a:lnTo>
                  <a:pt x="56" y="393"/>
                </a:lnTo>
                <a:lnTo>
                  <a:pt x="56" y="409"/>
                </a:lnTo>
                <a:lnTo>
                  <a:pt x="56" y="411"/>
                </a:lnTo>
                <a:lnTo>
                  <a:pt x="57" y="414"/>
                </a:lnTo>
                <a:lnTo>
                  <a:pt x="58" y="425"/>
                </a:lnTo>
                <a:lnTo>
                  <a:pt x="59" y="432"/>
                </a:lnTo>
                <a:lnTo>
                  <a:pt x="61" y="435"/>
                </a:lnTo>
                <a:lnTo>
                  <a:pt x="64" y="437"/>
                </a:lnTo>
                <a:lnTo>
                  <a:pt x="64" y="438"/>
                </a:lnTo>
                <a:lnTo>
                  <a:pt x="66" y="442"/>
                </a:lnTo>
                <a:lnTo>
                  <a:pt x="66" y="443"/>
                </a:lnTo>
                <a:lnTo>
                  <a:pt x="66" y="445"/>
                </a:lnTo>
                <a:lnTo>
                  <a:pt x="64" y="448"/>
                </a:lnTo>
                <a:lnTo>
                  <a:pt x="64" y="453"/>
                </a:lnTo>
                <a:lnTo>
                  <a:pt x="67" y="462"/>
                </a:lnTo>
                <a:lnTo>
                  <a:pt x="68" y="463"/>
                </a:lnTo>
                <a:lnTo>
                  <a:pt x="70" y="464"/>
                </a:lnTo>
                <a:lnTo>
                  <a:pt x="70" y="465"/>
                </a:lnTo>
                <a:lnTo>
                  <a:pt x="72" y="472"/>
                </a:lnTo>
                <a:lnTo>
                  <a:pt x="72" y="473"/>
                </a:lnTo>
                <a:lnTo>
                  <a:pt x="74" y="475"/>
                </a:lnTo>
                <a:lnTo>
                  <a:pt x="77" y="478"/>
                </a:lnTo>
                <a:lnTo>
                  <a:pt x="78" y="485"/>
                </a:lnTo>
                <a:lnTo>
                  <a:pt x="79" y="486"/>
                </a:lnTo>
                <a:lnTo>
                  <a:pt x="80" y="486"/>
                </a:lnTo>
                <a:lnTo>
                  <a:pt x="84" y="487"/>
                </a:lnTo>
                <a:lnTo>
                  <a:pt x="87" y="490"/>
                </a:lnTo>
                <a:lnTo>
                  <a:pt x="88" y="492"/>
                </a:lnTo>
                <a:lnTo>
                  <a:pt x="88" y="494"/>
                </a:lnTo>
                <a:lnTo>
                  <a:pt x="84" y="494"/>
                </a:lnTo>
                <a:lnTo>
                  <a:pt x="80" y="493"/>
                </a:lnTo>
                <a:lnTo>
                  <a:pt x="80" y="494"/>
                </a:lnTo>
                <a:lnTo>
                  <a:pt x="81" y="496"/>
                </a:lnTo>
                <a:lnTo>
                  <a:pt x="86" y="497"/>
                </a:lnTo>
                <a:lnTo>
                  <a:pt x="89" y="501"/>
                </a:lnTo>
                <a:lnTo>
                  <a:pt x="90" y="503"/>
                </a:lnTo>
                <a:lnTo>
                  <a:pt x="89" y="504"/>
                </a:lnTo>
                <a:lnTo>
                  <a:pt x="89" y="505"/>
                </a:lnTo>
                <a:lnTo>
                  <a:pt x="89" y="507"/>
                </a:lnTo>
                <a:lnTo>
                  <a:pt x="91" y="513"/>
                </a:lnTo>
                <a:lnTo>
                  <a:pt x="91" y="514"/>
                </a:lnTo>
                <a:lnTo>
                  <a:pt x="92" y="517"/>
                </a:lnTo>
                <a:lnTo>
                  <a:pt x="93" y="518"/>
                </a:lnTo>
                <a:lnTo>
                  <a:pt x="96" y="527"/>
                </a:lnTo>
                <a:lnTo>
                  <a:pt x="96" y="531"/>
                </a:lnTo>
                <a:lnTo>
                  <a:pt x="94" y="534"/>
                </a:lnTo>
                <a:lnTo>
                  <a:pt x="96" y="536"/>
                </a:lnTo>
                <a:lnTo>
                  <a:pt x="94" y="541"/>
                </a:lnTo>
                <a:lnTo>
                  <a:pt x="92" y="544"/>
                </a:lnTo>
                <a:lnTo>
                  <a:pt x="92" y="545"/>
                </a:lnTo>
                <a:lnTo>
                  <a:pt x="92" y="546"/>
                </a:lnTo>
                <a:lnTo>
                  <a:pt x="93" y="549"/>
                </a:lnTo>
                <a:lnTo>
                  <a:pt x="93" y="549"/>
                </a:lnTo>
                <a:lnTo>
                  <a:pt x="94" y="552"/>
                </a:lnTo>
                <a:lnTo>
                  <a:pt x="96" y="553"/>
                </a:lnTo>
                <a:lnTo>
                  <a:pt x="97" y="555"/>
                </a:lnTo>
                <a:lnTo>
                  <a:pt x="97" y="557"/>
                </a:lnTo>
                <a:lnTo>
                  <a:pt x="97" y="558"/>
                </a:lnTo>
                <a:lnTo>
                  <a:pt x="97" y="558"/>
                </a:lnTo>
                <a:lnTo>
                  <a:pt x="98" y="563"/>
                </a:lnTo>
                <a:lnTo>
                  <a:pt x="98" y="566"/>
                </a:lnTo>
                <a:lnTo>
                  <a:pt x="98" y="567"/>
                </a:lnTo>
                <a:lnTo>
                  <a:pt x="96" y="569"/>
                </a:lnTo>
                <a:lnTo>
                  <a:pt x="94" y="576"/>
                </a:lnTo>
                <a:lnTo>
                  <a:pt x="93" y="576"/>
                </a:lnTo>
                <a:lnTo>
                  <a:pt x="93" y="578"/>
                </a:lnTo>
                <a:lnTo>
                  <a:pt x="94" y="585"/>
                </a:lnTo>
                <a:lnTo>
                  <a:pt x="96" y="588"/>
                </a:lnTo>
                <a:lnTo>
                  <a:pt x="96" y="589"/>
                </a:lnTo>
                <a:lnTo>
                  <a:pt x="98" y="596"/>
                </a:lnTo>
                <a:lnTo>
                  <a:pt x="99" y="597"/>
                </a:lnTo>
                <a:lnTo>
                  <a:pt x="101" y="599"/>
                </a:lnTo>
                <a:lnTo>
                  <a:pt x="102" y="601"/>
                </a:lnTo>
                <a:lnTo>
                  <a:pt x="103" y="602"/>
                </a:lnTo>
                <a:lnTo>
                  <a:pt x="103" y="601"/>
                </a:lnTo>
                <a:lnTo>
                  <a:pt x="103" y="599"/>
                </a:lnTo>
                <a:lnTo>
                  <a:pt x="105" y="598"/>
                </a:lnTo>
                <a:lnTo>
                  <a:pt x="111" y="599"/>
                </a:lnTo>
                <a:lnTo>
                  <a:pt x="111" y="597"/>
                </a:lnTo>
                <a:lnTo>
                  <a:pt x="111" y="597"/>
                </a:lnTo>
                <a:lnTo>
                  <a:pt x="112" y="598"/>
                </a:lnTo>
                <a:lnTo>
                  <a:pt x="113" y="598"/>
                </a:lnTo>
                <a:lnTo>
                  <a:pt x="115" y="602"/>
                </a:lnTo>
                <a:lnTo>
                  <a:pt x="117" y="605"/>
                </a:lnTo>
                <a:lnTo>
                  <a:pt x="122" y="617"/>
                </a:lnTo>
                <a:lnTo>
                  <a:pt x="122" y="617"/>
                </a:lnTo>
                <a:lnTo>
                  <a:pt x="125" y="621"/>
                </a:lnTo>
                <a:lnTo>
                  <a:pt x="127" y="622"/>
                </a:lnTo>
                <a:lnTo>
                  <a:pt x="131" y="623"/>
                </a:lnTo>
                <a:lnTo>
                  <a:pt x="144" y="623"/>
                </a:lnTo>
                <a:lnTo>
                  <a:pt x="145" y="623"/>
                </a:lnTo>
                <a:lnTo>
                  <a:pt x="147" y="623"/>
                </a:lnTo>
                <a:lnTo>
                  <a:pt x="152" y="623"/>
                </a:lnTo>
                <a:lnTo>
                  <a:pt x="157" y="622"/>
                </a:lnTo>
                <a:lnTo>
                  <a:pt x="159" y="622"/>
                </a:lnTo>
                <a:lnTo>
                  <a:pt x="165" y="624"/>
                </a:lnTo>
                <a:lnTo>
                  <a:pt x="174" y="625"/>
                </a:lnTo>
                <a:lnTo>
                  <a:pt x="179" y="626"/>
                </a:lnTo>
                <a:lnTo>
                  <a:pt x="180" y="627"/>
                </a:lnTo>
                <a:lnTo>
                  <a:pt x="180" y="627"/>
                </a:lnTo>
                <a:lnTo>
                  <a:pt x="180" y="627"/>
                </a:lnTo>
                <a:lnTo>
                  <a:pt x="177" y="627"/>
                </a:lnTo>
                <a:lnTo>
                  <a:pt x="173" y="627"/>
                </a:lnTo>
                <a:lnTo>
                  <a:pt x="170" y="625"/>
                </a:lnTo>
                <a:lnTo>
                  <a:pt x="168" y="625"/>
                </a:lnTo>
                <a:lnTo>
                  <a:pt x="164" y="626"/>
                </a:lnTo>
                <a:lnTo>
                  <a:pt x="164" y="628"/>
                </a:lnTo>
                <a:lnTo>
                  <a:pt x="164" y="629"/>
                </a:lnTo>
                <a:lnTo>
                  <a:pt x="161" y="631"/>
                </a:lnTo>
                <a:lnTo>
                  <a:pt x="158" y="632"/>
                </a:lnTo>
                <a:lnTo>
                  <a:pt x="157" y="633"/>
                </a:lnTo>
                <a:lnTo>
                  <a:pt x="154" y="634"/>
                </a:lnTo>
                <a:lnTo>
                  <a:pt x="153" y="633"/>
                </a:lnTo>
                <a:lnTo>
                  <a:pt x="151" y="634"/>
                </a:lnTo>
                <a:lnTo>
                  <a:pt x="150" y="634"/>
                </a:lnTo>
                <a:lnTo>
                  <a:pt x="151" y="638"/>
                </a:lnTo>
                <a:lnTo>
                  <a:pt x="152" y="644"/>
                </a:lnTo>
                <a:lnTo>
                  <a:pt x="154" y="649"/>
                </a:lnTo>
                <a:lnTo>
                  <a:pt x="154" y="652"/>
                </a:lnTo>
                <a:lnTo>
                  <a:pt x="154" y="653"/>
                </a:lnTo>
                <a:lnTo>
                  <a:pt x="153" y="653"/>
                </a:lnTo>
                <a:lnTo>
                  <a:pt x="152" y="653"/>
                </a:lnTo>
                <a:lnTo>
                  <a:pt x="149" y="652"/>
                </a:lnTo>
                <a:lnTo>
                  <a:pt x="147" y="652"/>
                </a:lnTo>
                <a:lnTo>
                  <a:pt x="141" y="650"/>
                </a:lnTo>
                <a:lnTo>
                  <a:pt x="137" y="648"/>
                </a:lnTo>
                <a:lnTo>
                  <a:pt x="135" y="646"/>
                </a:lnTo>
                <a:lnTo>
                  <a:pt x="134" y="645"/>
                </a:lnTo>
                <a:lnTo>
                  <a:pt x="135" y="644"/>
                </a:lnTo>
                <a:lnTo>
                  <a:pt x="138" y="645"/>
                </a:lnTo>
                <a:lnTo>
                  <a:pt x="138" y="646"/>
                </a:lnTo>
                <a:lnTo>
                  <a:pt x="139" y="645"/>
                </a:lnTo>
                <a:lnTo>
                  <a:pt x="140" y="644"/>
                </a:lnTo>
                <a:lnTo>
                  <a:pt x="141" y="643"/>
                </a:lnTo>
                <a:lnTo>
                  <a:pt x="143" y="643"/>
                </a:lnTo>
                <a:lnTo>
                  <a:pt x="145" y="642"/>
                </a:lnTo>
                <a:lnTo>
                  <a:pt x="147" y="641"/>
                </a:lnTo>
                <a:lnTo>
                  <a:pt x="148" y="638"/>
                </a:lnTo>
                <a:lnTo>
                  <a:pt x="147" y="636"/>
                </a:lnTo>
                <a:lnTo>
                  <a:pt x="143" y="635"/>
                </a:lnTo>
                <a:lnTo>
                  <a:pt x="141" y="634"/>
                </a:lnTo>
                <a:lnTo>
                  <a:pt x="139" y="632"/>
                </a:lnTo>
                <a:lnTo>
                  <a:pt x="137" y="631"/>
                </a:lnTo>
                <a:lnTo>
                  <a:pt x="131" y="631"/>
                </a:lnTo>
                <a:lnTo>
                  <a:pt x="128" y="632"/>
                </a:lnTo>
                <a:lnTo>
                  <a:pt x="127" y="633"/>
                </a:lnTo>
                <a:lnTo>
                  <a:pt x="127" y="632"/>
                </a:lnTo>
                <a:lnTo>
                  <a:pt x="125" y="631"/>
                </a:lnTo>
                <a:lnTo>
                  <a:pt x="122" y="632"/>
                </a:lnTo>
                <a:lnTo>
                  <a:pt x="121" y="629"/>
                </a:lnTo>
                <a:lnTo>
                  <a:pt x="122" y="629"/>
                </a:lnTo>
                <a:lnTo>
                  <a:pt x="124" y="628"/>
                </a:lnTo>
                <a:lnTo>
                  <a:pt x="124" y="626"/>
                </a:lnTo>
                <a:lnTo>
                  <a:pt x="123" y="624"/>
                </a:lnTo>
                <a:lnTo>
                  <a:pt x="119" y="621"/>
                </a:lnTo>
                <a:lnTo>
                  <a:pt x="121" y="621"/>
                </a:lnTo>
                <a:lnTo>
                  <a:pt x="121" y="619"/>
                </a:lnTo>
                <a:lnTo>
                  <a:pt x="120" y="617"/>
                </a:lnTo>
                <a:lnTo>
                  <a:pt x="117" y="616"/>
                </a:lnTo>
                <a:lnTo>
                  <a:pt x="112" y="613"/>
                </a:lnTo>
                <a:lnTo>
                  <a:pt x="109" y="612"/>
                </a:lnTo>
                <a:lnTo>
                  <a:pt x="108" y="612"/>
                </a:lnTo>
                <a:lnTo>
                  <a:pt x="117" y="616"/>
                </a:lnTo>
                <a:lnTo>
                  <a:pt x="118" y="617"/>
                </a:lnTo>
                <a:lnTo>
                  <a:pt x="117" y="618"/>
                </a:lnTo>
                <a:lnTo>
                  <a:pt x="114" y="617"/>
                </a:lnTo>
                <a:lnTo>
                  <a:pt x="111" y="616"/>
                </a:lnTo>
                <a:lnTo>
                  <a:pt x="111" y="616"/>
                </a:lnTo>
                <a:lnTo>
                  <a:pt x="113" y="618"/>
                </a:lnTo>
                <a:lnTo>
                  <a:pt x="113" y="621"/>
                </a:lnTo>
                <a:lnTo>
                  <a:pt x="112" y="622"/>
                </a:lnTo>
                <a:lnTo>
                  <a:pt x="111" y="621"/>
                </a:lnTo>
                <a:lnTo>
                  <a:pt x="110" y="619"/>
                </a:lnTo>
                <a:lnTo>
                  <a:pt x="109" y="617"/>
                </a:lnTo>
                <a:lnTo>
                  <a:pt x="105" y="614"/>
                </a:lnTo>
                <a:lnTo>
                  <a:pt x="109" y="617"/>
                </a:lnTo>
                <a:lnTo>
                  <a:pt x="110" y="621"/>
                </a:lnTo>
                <a:lnTo>
                  <a:pt x="111" y="623"/>
                </a:lnTo>
                <a:lnTo>
                  <a:pt x="110" y="623"/>
                </a:lnTo>
                <a:lnTo>
                  <a:pt x="108" y="622"/>
                </a:lnTo>
                <a:lnTo>
                  <a:pt x="107" y="619"/>
                </a:lnTo>
                <a:lnTo>
                  <a:pt x="104" y="615"/>
                </a:lnTo>
                <a:lnTo>
                  <a:pt x="101" y="611"/>
                </a:lnTo>
                <a:lnTo>
                  <a:pt x="92" y="606"/>
                </a:lnTo>
                <a:lnTo>
                  <a:pt x="91" y="603"/>
                </a:lnTo>
                <a:lnTo>
                  <a:pt x="91" y="602"/>
                </a:lnTo>
                <a:lnTo>
                  <a:pt x="93" y="602"/>
                </a:lnTo>
                <a:lnTo>
                  <a:pt x="96" y="602"/>
                </a:lnTo>
                <a:lnTo>
                  <a:pt x="94" y="598"/>
                </a:lnTo>
                <a:lnTo>
                  <a:pt x="93" y="598"/>
                </a:lnTo>
                <a:lnTo>
                  <a:pt x="93" y="599"/>
                </a:lnTo>
                <a:lnTo>
                  <a:pt x="92" y="599"/>
                </a:lnTo>
                <a:lnTo>
                  <a:pt x="90" y="598"/>
                </a:lnTo>
                <a:lnTo>
                  <a:pt x="88" y="596"/>
                </a:lnTo>
                <a:lnTo>
                  <a:pt x="89" y="595"/>
                </a:lnTo>
                <a:lnTo>
                  <a:pt x="91" y="596"/>
                </a:lnTo>
                <a:lnTo>
                  <a:pt x="91" y="595"/>
                </a:lnTo>
                <a:lnTo>
                  <a:pt x="89" y="594"/>
                </a:lnTo>
                <a:lnTo>
                  <a:pt x="86" y="594"/>
                </a:lnTo>
                <a:lnTo>
                  <a:pt x="83" y="593"/>
                </a:lnTo>
                <a:lnTo>
                  <a:pt x="81" y="592"/>
                </a:lnTo>
                <a:lnTo>
                  <a:pt x="79" y="589"/>
                </a:lnTo>
                <a:lnTo>
                  <a:pt x="81" y="586"/>
                </a:lnTo>
                <a:lnTo>
                  <a:pt x="80" y="583"/>
                </a:lnTo>
                <a:lnTo>
                  <a:pt x="80" y="582"/>
                </a:lnTo>
                <a:lnTo>
                  <a:pt x="80" y="581"/>
                </a:lnTo>
                <a:lnTo>
                  <a:pt x="83" y="578"/>
                </a:lnTo>
                <a:lnTo>
                  <a:pt x="84" y="579"/>
                </a:lnTo>
                <a:lnTo>
                  <a:pt x="86" y="579"/>
                </a:lnTo>
                <a:lnTo>
                  <a:pt x="86" y="578"/>
                </a:lnTo>
                <a:lnTo>
                  <a:pt x="83" y="578"/>
                </a:lnTo>
                <a:lnTo>
                  <a:pt x="82" y="577"/>
                </a:lnTo>
                <a:lnTo>
                  <a:pt x="82" y="571"/>
                </a:lnTo>
                <a:lnTo>
                  <a:pt x="81" y="571"/>
                </a:lnTo>
                <a:lnTo>
                  <a:pt x="80" y="573"/>
                </a:lnTo>
                <a:lnTo>
                  <a:pt x="80" y="575"/>
                </a:lnTo>
                <a:lnTo>
                  <a:pt x="80" y="577"/>
                </a:lnTo>
                <a:lnTo>
                  <a:pt x="78" y="576"/>
                </a:lnTo>
                <a:lnTo>
                  <a:pt x="77" y="575"/>
                </a:lnTo>
                <a:lnTo>
                  <a:pt x="76" y="572"/>
                </a:lnTo>
                <a:lnTo>
                  <a:pt x="73" y="565"/>
                </a:lnTo>
                <a:lnTo>
                  <a:pt x="73" y="564"/>
                </a:lnTo>
                <a:lnTo>
                  <a:pt x="74" y="564"/>
                </a:lnTo>
                <a:lnTo>
                  <a:pt x="72" y="563"/>
                </a:lnTo>
                <a:lnTo>
                  <a:pt x="72" y="559"/>
                </a:lnTo>
                <a:lnTo>
                  <a:pt x="76" y="559"/>
                </a:lnTo>
                <a:lnTo>
                  <a:pt x="79" y="562"/>
                </a:lnTo>
                <a:lnTo>
                  <a:pt x="78" y="559"/>
                </a:lnTo>
                <a:lnTo>
                  <a:pt x="76" y="557"/>
                </a:lnTo>
                <a:lnTo>
                  <a:pt x="76" y="558"/>
                </a:lnTo>
                <a:lnTo>
                  <a:pt x="71" y="559"/>
                </a:lnTo>
                <a:lnTo>
                  <a:pt x="69" y="558"/>
                </a:lnTo>
                <a:lnTo>
                  <a:pt x="68" y="556"/>
                </a:lnTo>
                <a:lnTo>
                  <a:pt x="67" y="555"/>
                </a:lnTo>
                <a:lnTo>
                  <a:pt x="64" y="551"/>
                </a:lnTo>
                <a:lnTo>
                  <a:pt x="67" y="551"/>
                </a:lnTo>
                <a:lnTo>
                  <a:pt x="69" y="553"/>
                </a:lnTo>
                <a:lnTo>
                  <a:pt x="71" y="555"/>
                </a:lnTo>
                <a:lnTo>
                  <a:pt x="69" y="552"/>
                </a:lnTo>
                <a:lnTo>
                  <a:pt x="70" y="552"/>
                </a:lnTo>
                <a:lnTo>
                  <a:pt x="76" y="552"/>
                </a:lnTo>
                <a:lnTo>
                  <a:pt x="81" y="555"/>
                </a:lnTo>
                <a:lnTo>
                  <a:pt x="82" y="555"/>
                </a:lnTo>
                <a:lnTo>
                  <a:pt x="79" y="553"/>
                </a:lnTo>
                <a:lnTo>
                  <a:pt x="76" y="549"/>
                </a:lnTo>
                <a:lnTo>
                  <a:pt x="73" y="547"/>
                </a:lnTo>
                <a:lnTo>
                  <a:pt x="72" y="546"/>
                </a:lnTo>
                <a:lnTo>
                  <a:pt x="72" y="547"/>
                </a:lnTo>
                <a:lnTo>
                  <a:pt x="69" y="547"/>
                </a:lnTo>
                <a:lnTo>
                  <a:pt x="68" y="546"/>
                </a:lnTo>
                <a:lnTo>
                  <a:pt x="67" y="545"/>
                </a:lnTo>
                <a:lnTo>
                  <a:pt x="69" y="544"/>
                </a:lnTo>
                <a:lnTo>
                  <a:pt x="66" y="543"/>
                </a:lnTo>
                <a:lnTo>
                  <a:pt x="62" y="542"/>
                </a:lnTo>
                <a:lnTo>
                  <a:pt x="61" y="541"/>
                </a:lnTo>
                <a:lnTo>
                  <a:pt x="62" y="538"/>
                </a:lnTo>
                <a:lnTo>
                  <a:pt x="64" y="537"/>
                </a:lnTo>
                <a:lnTo>
                  <a:pt x="66" y="536"/>
                </a:lnTo>
                <a:lnTo>
                  <a:pt x="63" y="535"/>
                </a:lnTo>
                <a:lnTo>
                  <a:pt x="66" y="533"/>
                </a:lnTo>
                <a:lnTo>
                  <a:pt x="64" y="533"/>
                </a:lnTo>
                <a:lnTo>
                  <a:pt x="63" y="531"/>
                </a:lnTo>
                <a:lnTo>
                  <a:pt x="60" y="530"/>
                </a:lnTo>
                <a:lnTo>
                  <a:pt x="58" y="528"/>
                </a:lnTo>
                <a:lnTo>
                  <a:pt x="57" y="528"/>
                </a:lnTo>
                <a:lnTo>
                  <a:pt x="56" y="530"/>
                </a:lnTo>
                <a:lnTo>
                  <a:pt x="55" y="531"/>
                </a:lnTo>
                <a:lnTo>
                  <a:pt x="50" y="528"/>
                </a:lnTo>
                <a:lnTo>
                  <a:pt x="48" y="527"/>
                </a:lnTo>
                <a:lnTo>
                  <a:pt x="46" y="526"/>
                </a:lnTo>
                <a:lnTo>
                  <a:pt x="43" y="527"/>
                </a:lnTo>
                <a:lnTo>
                  <a:pt x="42" y="528"/>
                </a:lnTo>
                <a:lnTo>
                  <a:pt x="45" y="528"/>
                </a:lnTo>
                <a:lnTo>
                  <a:pt x="46" y="531"/>
                </a:lnTo>
                <a:lnTo>
                  <a:pt x="46" y="533"/>
                </a:lnTo>
                <a:lnTo>
                  <a:pt x="42" y="532"/>
                </a:lnTo>
                <a:lnTo>
                  <a:pt x="41" y="531"/>
                </a:lnTo>
                <a:lnTo>
                  <a:pt x="41" y="525"/>
                </a:lnTo>
                <a:lnTo>
                  <a:pt x="42" y="525"/>
                </a:lnTo>
                <a:lnTo>
                  <a:pt x="45" y="523"/>
                </a:lnTo>
                <a:lnTo>
                  <a:pt x="46" y="521"/>
                </a:lnTo>
                <a:lnTo>
                  <a:pt x="47" y="521"/>
                </a:lnTo>
                <a:lnTo>
                  <a:pt x="49" y="520"/>
                </a:lnTo>
                <a:lnTo>
                  <a:pt x="49" y="517"/>
                </a:lnTo>
                <a:lnTo>
                  <a:pt x="48" y="517"/>
                </a:lnTo>
                <a:lnTo>
                  <a:pt x="47" y="517"/>
                </a:lnTo>
                <a:lnTo>
                  <a:pt x="45" y="517"/>
                </a:lnTo>
                <a:lnTo>
                  <a:pt x="45" y="516"/>
                </a:lnTo>
                <a:lnTo>
                  <a:pt x="43" y="514"/>
                </a:lnTo>
                <a:lnTo>
                  <a:pt x="48" y="513"/>
                </a:lnTo>
                <a:lnTo>
                  <a:pt x="50" y="514"/>
                </a:lnTo>
                <a:lnTo>
                  <a:pt x="51" y="514"/>
                </a:lnTo>
                <a:lnTo>
                  <a:pt x="52" y="513"/>
                </a:lnTo>
                <a:lnTo>
                  <a:pt x="55" y="514"/>
                </a:lnTo>
                <a:lnTo>
                  <a:pt x="57" y="515"/>
                </a:lnTo>
                <a:lnTo>
                  <a:pt x="57" y="516"/>
                </a:lnTo>
                <a:lnTo>
                  <a:pt x="57" y="518"/>
                </a:lnTo>
                <a:lnTo>
                  <a:pt x="58" y="517"/>
                </a:lnTo>
                <a:lnTo>
                  <a:pt x="59" y="518"/>
                </a:lnTo>
                <a:lnTo>
                  <a:pt x="58" y="521"/>
                </a:lnTo>
                <a:lnTo>
                  <a:pt x="58" y="522"/>
                </a:lnTo>
                <a:lnTo>
                  <a:pt x="60" y="523"/>
                </a:lnTo>
                <a:lnTo>
                  <a:pt x="61" y="524"/>
                </a:lnTo>
                <a:lnTo>
                  <a:pt x="62" y="522"/>
                </a:lnTo>
                <a:lnTo>
                  <a:pt x="62" y="520"/>
                </a:lnTo>
                <a:lnTo>
                  <a:pt x="63" y="522"/>
                </a:lnTo>
                <a:lnTo>
                  <a:pt x="63" y="524"/>
                </a:lnTo>
                <a:lnTo>
                  <a:pt x="64" y="525"/>
                </a:lnTo>
                <a:lnTo>
                  <a:pt x="66" y="525"/>
                </a:lnTo>
                <a:lnTo>
                  <a:pt x="66" y="523"/>
                </a:lnTo>
                <a:lnTo>
                  <a:pt x="66" y="522"/>
                </a:lnTo>
                <a:lnTo>
                  <a:pt x="67" y="521"/>
                </a:lnTo>
                <a:lnTo>
                  <a:pt x="68" y="520"/>
                </a:lnTo>
                <a:lnTo>
                  <a:pt x="68" y="520"/>
                </a:lnTo>
                <a:lnTo>
                  <a:pt x="68" y="517"/>
                </a:lnTo>
                <a:lnTo>
                  <a:pt x="68" y="515"/>
                </a:lnTo>
                <a:lnTo>
                  <a:pt x="68" y="513"/>
                </a:lnTo>
                <a:lnTo>
                  <a:pt x="67" y="514"/>
                </a:lnTo>
                <a:lnTo>
                  <a:pt x="67" y="515"/>
                </a:lnTo>
                <a:lnTo>
                  <a:pt x="67" y="516"/>
                </a:lnTo>
                <a:lnTo>
                  <a:pt x="66" y="520"/>
                </a:lnTo>
                <a:lnTo>
                  <a:pt x="64" y="514"/>
                </a:lnTo>
                <a:lnTo>
                  <a:pt x="64" y="513"/>
                </a:lnTo>
                <a:lnTo>
                  <a:pt x="64" y="512"/>
                </a:lnTo>
                <a:lnTo>
                  <a:pt x="68" y="512"/>
                </a:lnTo>
                <a:lnTo>
                  <a:pt x="66" y="511"/>
                </a:lnTo>
                <a:lnTo>
                  <a:pt x="66" y="511"/>
                </a:lnTo>
                <a:lnTo>
                  <a:pt x="66" y="510"/>
                </a:lnTo>
                <a:lnTo>
                  <a:pt x="68" y="508"/>
                </a:lnTo>
                <a:lnTo>
                  <a:pt x="68" y="507"/>
                </a:lnTo>
                <a:lnTo>
                  <a:pt x="66" y="507"/>
                </a:lnTo>
                <a:lnTo>
                  <a:pt x="62" y="508"/>
                </a:lnTo>
                <a:lnTo>
                  <a:pt x="62" y="506"/>
                </a:lnTo>
                <a:lnTo>
                  <a:pt x="62" y="505"/>
                </a:lnTo>
                <a:lnTo>
                  <a:pt x="63" y="504"/>
                </a:lnTo>
                <a:lnTo>
                  <a:pt x="64" y="504"/>
                </a:lnTo>
                <a:lnTo>
                  <a:pt x="68" y="505"/>
                </a:lnTo>
                <a:lnTo>
                  <a:pt x="69" y="506"/>
                </a:lnTo>
                <a:lnTo>
                  <a:pt x="70" y="506"/>
                </a:lnTo>
                <a:lnTo>
                  <a:pt x="72" y="506"/>
                </a:lnTo>
                <a:lnTo>
                  <a:pt x="71" y="505"/>
                </a:lnTo>
                <a:lnTo>
                  <a:pt x="70" y="505"/>
                </a:lnTo>
                <a:lnTo>
                  <a:pt x="66" y="503"/>
                </a:lnTo>
                <a:lnTo>
                  <a:pt x="62" y="503"/>
                </a:lnTo>
                <a:lnTo>
                  <a:pt x="62" y="501"/>
                </a:lnTo>
                <a:lnTo>
                  <a:pt x="62" y="498"/>
                </a:lnTo>
                <a:lnTo>
                  <a:pt x="62" y="498"/>
                </a:lnTo>
                <a:lnTo>
                  <a:pt x="66" y="498"/>
                </a:lnTo>
                <a:lnTo>
                  <a:pt x="68" y="497"/>
                </a:lnTo>
                <a:lnTo>
                  <a:pt x="69" y="495"/>
                </a:lnTo>
                <a:lnTo>
                  <a:pt x="69" y="494"/>
                </a:lnTo>
                <a:lnTo>
                  <a:pt x="68" y="490"/>
                </a:lnTo>
                <a:lnTo>
                  <a:pt x="67" y="487"/>
                </a:lnTo>
                <a:lnTo>
                  <a:pt x="64" y="487"/>
                </a:lnTo>
                <a:lnTo>
                  <a:pt x="61" y="485"/>
                </a:lnTo>
                <a:lnTo>
                  <a:pt x="59" y="484"/>
                </a:lnTo>
                <a:lnTo>
                  <a:pt x="58" y="483"/>
                </a:lnTo>
                <a:lnTo>
                  <a:pt x="58" y="483"/>
                </a:lnTo>
                <a:lnTo>
                  <a:pt x="58" y="483"/>
                </a:lnTo>
                <a:lnTo>
                  <a:pt x="58" y="482"/>
                </a:lnTo>
                <a:lnTo>
                  <a:pt x="59" y="481"/>
                </a:lnTo>
                <a:lnTo>
                  <a:pt x="59" y="478"/>
                </a:lnTo>
                <a:lnTo>
                  <a:pt x="59" y="477"/>
                </a:lnTo>
                <a:lnTo>
                  <a:pt x="60" y="476"/>
                </a:lnTo>
                <a:lnTo>
                  <a:pt x="59" y="474"/>
                </a:lnTo>
                <a:lnTo>
                  <a:pt x="59" y="473"/>
                </a:lnTo>
                <a:lnTo>
                  <a:pt x="57" y="472"/>
                </a:lnTo>
                <a:lnTo>
                  <a:pt x="57" y="470"/>
                </a:lnTo>
                <a:lnTo>
                  <a:pt x="56" y="468"/>
                </a:lnTo>
                <a:lnTo>
                  <a:pt x="57" y="467"/>
                </a:lnTo>
                <a:lnTo>
                  <a:pt x="58" y="466"/>
                </a:lnTo>
                <a:lnTo>
                  <a:pt x="58" y="462"/>
                </a:lnTo>
                <a:lnTo>
                  <a:pt x="55" y="456"/>
                </a:lnTo>
                <a:lnTo>
                  <a:pt x="56" y="454"/>
                </a:lnTo>
                <a:lnTo>
                  <a:pt x="58" y="455"/>
                </a:lnTo>
                <a:lnTo>
                  <a:pt x="57" y="453"/>
                </a:lnTo>
                <a:lnTo>
                  <a:pt x="55" y="451"/>
                </a:lnTo>
                <a:lnTo>
                  <a:pt x="55" y="448"/>
                </a:lnTo>
                <a:lnTo>
                  <a:pt x="57" y="450"/>
                </a:lnTo>
                <a:lnTo>
                  <a:pt x="59" y="453"/>
                </a:lnTo>
                <a:lnTo>
                  <a:pt x="58" y="450"/>
                </a:lnTo>
                <a:lnTo>
                  <a:pt x="56" y="444"/>
                </a:lnTo>
                <a:lnTo>
                  <a:pt x="53" y="444"/>
                </a:lnTo>
                <a:lnTo>
                  <a:pt x="51" y="444"/>
                </a:lnTo>
                <a:lnTo>
                  <a:pt x="51" y="441"/>
                </a:lnTo>
                <a:lnTo>
                  <a:pt x="53" y="440"/>
                </a:lnTo>
                <a:lnTo>
                  <a:pt x="55" y="440"/>
                </a:lnTo>
                <a:lnTo>
                  <a:pt x="56" y="437"/>
                </a:lnTo>
                <a:lnTo>
                  <a:pt x="56" y="437"/>
                </a:lnTo>
                <a:lnTo>
                  <a:pt x="53" y="438"/>
                </a:lnTo>
                <a:lnTo>
                  <a:pt x="52" y="438"/>
                </a:lnTo>
                <a:lnTo>
                  <a:pt x="50" y="437"/>
                </a:lnTo>
                <a:lnTo>
                  <a:pt x="48" y="435"/>
                </a:lnTo>
                <a:lnTo>
                  <a:pt x="46" y="435"/>
                </a:lnTo>
                <a:lnTo>
                  <a:pt x="45" y="436"/>
                </a:lnTo>
                <a:lnTo>
                  <a:pt x="45" y="438"/>
                </a:lnTo>
                <a:lnTo>
                  <a:pt x="43" y="440"/>
                </a:lnTo>
                <a:lnTo>
                  <a:pt x="40" y="440"/>
                </a:lnTo>
                <a:lnTo>
                  <a:pt x="36" y="438"/>
                </a:lnTo>
                <a:lnTo>
                  <a:pt x="36" y="437"/>
                </a:lnTo>
                <a:lnTo>
                  <a:pt x="35" y="435"/>
                </a:lnTo>
                <a:lnTo>
                  <a:pt x="33" y="435"/>
                </a:lnTo>
                <a:lnTo>
                  <a:pt x="32" y="433"/>
                </a:lnTo>
                <a:lnTo>
                  <a:pt x="31" y="431"/>
                </a:lnTo>
                <a:lnTo>
                  <a:pt x="30" y="426"/>
                </a:lnTo>
                <a:lnTo>
                  <a:pt x="29" y="421"/>
                </a:lnTo>
                <a:lnTo>
                  <a:pt x="29" y="417"/>
                </a:lnTo>
                <a:lnTo>
                  <a:pt x="26" y="406"/>
                </a:lnTo>
                <a:lnTo>
                  <a:pt x="28" y="405"/>
                </a:lnTo>
                <a:lnTo>
                  <a:pt x="28" y="403"/>
                </a:lnTo>
                <a:lnTo>
                  <a:pt x="29" y="402"/>
                </a:lnTo>
                <a:lnTo>
                  <a:pt x="29" y="399"/>
                </a:lnTo>
                <a:lnTo>
                  <a:pt x="26" y="391"/>
                </a:lnTo>
                <a:lnTo>
                  <a:pt x="23" y="386"/>
                </a:lnTo>
                <a:lnTo>
                  <a:pt x="20" y="382"/>
                </a:lnTo>
                <a:lnTo>
                  <a:pt x="20" y="382"/>
                </a:lnTo>
                <a:lnTo>
                  <a:pt x="20" y="382"/>
                </a:lnTo>
                <a:lnTo>
                  <a:pt x="19" y="375"/>
                </a:lnTo>
                <a:lnTo>
                  <a:pt x="18" y="372"/>
                </a:lnTo>
                <a:lnTo>
                  <a:pt x="16" y="369"/>
                </a:lnTo>
                <a:lnTo>
                  <a:pt x="15" y="364"/>
                </a:lnTo>
                <a:lnTo>
                  <a:pt x="13" y="359"/>
                </a:lnTo>
                <a:lnTo>
                  <a:pt x="15" y="356"/>
                </a:lnTo>
                <a:lnTo>
                  <a:pt x="17" y="357"/>
                </a:lnTo>
                <a:lnTo>
                  <a:pt x="19" y="356"/>
                </a:lnTo>
                <a:lnTo>
                  <a:pt x="17" y="347"/>
                </a:lnTo>
                <a:lnTo>
                  <a:pt x="18" y="346"/>
                </a:lnTo>
                <a:lnTo>
                  <a:pt x="19" y="347"/>
                </a:lnTo>
                <a:lnTo>
                  <a:pt x="20" y="347"/>
                </a:lnTo>
                <a:lnTo>
                  <a:pt x="20" y="342"/>
                </a:lnTo>
                <a:lnTo>
                  <a:pt x="20" y="336"/>
                </a:lnTo>
                <a:lnTo>
                  <a:pt x="21" y="334"/>
                </a:lnTo>
                <a:lnTo>
                  <a:pt x="21" y="330"/>
                </a:lnTo>
                <a:lnTo>
                  <a:pt x="21" y="326"/>
                </a:lnTo>
                <a:lnTo>
                  <a:pt x="23" y="320"/>
                </a:lnTo>
                <a:lnTo>
                  <a:pt x="23" y="316"/>
                </a:lnTo>
                <a:lnTo>
                  <a:pt x="25" y="309"/>
                </a:lnTo>
                <a:lnTo>
                  <a:pt x="23" y="305"/>
                </a:lnTo>
                <a:lnTo>
                  <a:pt x="25" y="305"/>
                </a:lnTo>
                <a:lnTo>
                  <a:pt x="25" y="296"/>
                </a:lnTo>
                <a:lnTo>
                  <a:pt x="26" y="294"/>
                </a:lnTo>
                <a:lnTo>
                  <a:pt x="23" y="284"/>
                </a:lnTo>
                <a:lnTo>
                  <a:pt x="25" y="281"/>
                </a:lnTo>
                <a:lnTo>
                  <a:pt x="25" y="279"/>
                </a:lnTo>
                <a:lnTo>
                  <a:pt x="23" y="271"/>
                </a:lnTo>
                <a:lnTo>
                  <a:pt x="21" y="265"/>
                </a:lnTo>
                <a:lnTo>
                  <a:pt x="19" y="258"/>
                </a:lnTo>
                <a:lnTo>
                  <a:pt x="16" y="248"/>
                </a:lnTo>
                <a:lnTo>
                  <a:pt x="13" y="239"/>
                </a:lnTo>
                <a:lnTo>
                  <a:pt x="12" y="232"/>
                </a:lnTo>
                <a:lnTo>
                  <a:pt x="16" y="230"/>
                </a:lnTo>
                <a:lnTo>
                  <a:pt x="16" y="224"/>
                </a:lnTo>
                <a:lnTo>
                  <a:pt x="15" y="222"/>
                </a:lnTo>
                <a:lnTo>
                  <a:pt x="15" y="219"/>
                </a:lnTo>
                <a:lnTo>
                  <a:pt x="11" y="213"/>
                </a:lnTo>
                <a:lnTo>
                  <a:pt x="10" y="212"/>
                </a:lnTo>
                <a:lnTo>
                  <a:pt x="10" y="209"/>
                </a:lnTo>
                <a:lnTo>
                  <a:pt x="10" y="207"/>
                </a:lnTo>
                <a:lnTo>
                  <a:pt x="12" y="203"/>
                </a:lnTo>
                <a:lnTo>
                  <a:pt x="13" y="197"/>
                </a:lnTo>
                <a:lnTo>
                  <a:pt x="13" y="185"/>
                </a:lnTo>
                <a:lnTo>
                  <a:pt x="15" y="182"/>
                </a:lnTo>
                <a:lnTo>
                  <a:pt x="13" y="175"/>
                </a:lnTo>
                <a:lnTo>
                  <a:pt x="15" y="174"/>
                </a:lnTo>
                <a:lnTo>
                  <a:pt x="15" y="172"/>
                </a:lnTo>
                <a:lnTo>
                  <a:pt x="16" y="169"/>
                </a:lnTo>
                <a:lnTo>
                  <a:pt x="16" y="163"/>
                </a:lnTo>
                <a:lnTo>
                  <a:pt x="16" y="161"/>
                </a:lnTo>
                <a:lnTo>
                  <a:pt x="15" y="158"/>
                </a:lnTo>
                <a:lnTo>
                  <a:pt x="13" y="153"/>
                </a:lnTo>
                <a:lnTo>
                  <a:pt x="12" y="150"/>
                </a:lnTo>
                <a:lnTo>
                  <a:pt x="13" y="147"/>
                </a:lnTo>
                <a:lnTo>
                  <a:pt x="13" y="144"/>
                </a:lnTo>
                <a:lnTo>
                  <a:pt x="16" y="142"/>
                </a:lnTo>
                <a:lnTo>
                  <a:pt x="16" y="140"/>
                </a:lnTo>
                <a:lnTo>
                  <a:pt x="15" y="135"/>
                </a:lnTo>
                <a:lnTo>
                  <a:pt x="13" y="131"/>
                </a:lnTo>
                <a:lnTo>
                  <a:pt x="12" y="117"/>
                </a:lnTo>
                <a:lnTo>
                  <a:pt x="12" y="113"/>
                </a:lnTo>
                <a:lnTo>
                  <a:pt x="12" y="109"/>
                </a:lnTo>
                <a:lnTo>
                  <a:pt x="10" y="107"/>
                </a:lnTo>
                <a:lnTo>
                  <a:pt x="10" y="104"/>
                </a:lnTo>
                <a:lnTo>
                  <a:pt x="10" y="101"/>
                </a:lnTo>
                <a:lnTo>
                  <a:pt x="11" y="99"/>
                </a:lnTo>
                <a:lnTo>
                  <a:pt x="12" y="99"/>
                </a:lnTo>
                <a:lnTo>
                  <a:pt x="13" y="97"/>
                </a:lnTo>
                <a:lnTo>
                  <a:pt x="12" y="83"/>
                </a:lnTo>
                <a:lnTo>
                  <a:pt x="13" y="80"/>
                </a:lnTo>
                <a:lnTo>
                  <a:pt x="12" y="77"/>
                </a:lnTo>
                <a:lnTo>
                  <a:pt x="13" y="73"/>
                </a:lnTo>
                <a:lnTo>
                  <a:pt x="13" y="70"/>
                </a:lnTo>
                <a:lnTo>
                  <a:pt x="12" y="69"/>
                </a:lnTo>
                <a:lnTo>
                  <a:pt x="10" y="61"/>
                </a:lnTo>
                <a:lnTo>
                  <a:pt x="9" y="44"/>
                </a:lnTo>
                <a:lnTo>
                  <a:pt x="8" y="41"/>
                </a:lnTo>
                <a:lnTo>
                  <a:pt x="7" y="39"/>
                </a:lnTo>
                <a:lnTo>
                  <a:pt x="6" y="30"/>
                </a:lnTo>
                <a:lnTo>
                  <a:pt x="2" y="18"/>
                </a:lnTo>
                <a:lnTo>
                  <a:pt x="0" y="12"/>
                </a:lnTo>
                <a:lnTo>
                  <a:pt x="3" y="9"/>
                </a:lnTo>
                <a:lnTo>
                  <a:pt x="3" y="9"/>
                </a:lnTo>
                <a:lnTo>
                  <a:pt x="9" y="9"/>
                </a:lnTo>
                <a:lnTo>
                  <a:pt x="10" y="8"/>
                </a:lnTo>
                <a:lnTo>
                  <a:pt x="11" y="8"/>
                </a:lnTo>
                <a:lnTo>
                  <a:pt x="11" y="5"/>
                </a:lnTo>
                <a:lnTo>
                  <a:pt x="12" y="1"/>
                </a:lnTo>
                <a:lnTo>
                  <a:pt x="13" y="0"/>
                </a:lnTo>
                <a:lnTo>
                  <a:pt x="15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01" name="Freeform 200"/>
          <p:cNvSpPr>
            <a:spLocks/>
          </p:cNvSpPr>
          <p:nvPr/>
        </p:nvSpPr>
        <p:spPr bwMode="auto">
          <a:xfrm>
            <a:off x="2578101" y="4084603"/>
            <a:ext cx="285750" cy="1036638"/>
          </a:xfrm>
          <a:custGeom>
            <a:avLst/>
            <a:gdLst>
              <a:gd name="T0" fmla="*/ 31 w 180"/>
              <a:gd name="T1" fmla="*/ 29 h 653"/>
              <a:gd name="T2" fmla="*/ 31 w 180"/>
              <a:gd name="T3" fmla="*/ 47 h 653"/>
              <a:gd name="T4" fmla="*/ 41 w 180"/>
              <a:gd name="T5" fmla="*/ 66 h 653"/>
              <a:gd name="T6" fmla="*/ 55 w 180"/>
              <a:gd name="T7" fmla="*/ 98 h 653"/>
              <a:gd name="T8" fmla="*/ 59 w 180"/>
              <a:gd name="T9" fmla="*/ 120 h 653"/>
              <a:gd name="T10" fmla="*/ 49 w 180"/>
              <a:gd name="T11" fmla="*/ 157 h 653"/>
              <a:gd name="T12" fmla="*/ 39 w 180"/>
              <a:gd name="T13" fmla="*/ 192 h 653"/>
              <a:gd name="T14" fmla="*/ 38 w 180"/>
              <a:gd name="T15" fmla="*/ 232 h 653"/>
              <a:gd name="T16" fmla="*/ 38 w 180"/>
              <a:gd name="T17" fmla="*/ 260 h 653"/>
              <a:gd name="T18" fmla="*/ 53 w 180"/>
              <a:gd name="T19" fmla="*/ 308 h 653"/>
              <a:gd name="T20" fmla="*/ 52 w 180"/>
              <a:gd name="T21" fmla="*/ 339 h 653"/>
              <a:gd name="T22" fmla="*/ 56 w 180"/>
              <a:gd name="T23" fmla="*/ 376 h 653"/>
              <a:gd name="T24" fmla="*/ 57 w 180"/>
              <a:gd name="T25" fmla="*/ 414 h 653"/>
              <a:gd name="T26" fmla="*/ 64 w 180"/>
              <a:gd name="T27" fmla="*/ 453 h 653"/>
              <a:gd name="T28" fmla="*/ 79 w 180"/>
              <a:gd name="T29" fmla="*/ 486 h 653"/>
              <a:gd name="T30" fmla="*/ 86 w 180"/>
              <a:gd name="T31" fmla="*/ 497 h 653"/>
              <a:gd name="T32" fmla="*/ 96 w 180"/>
              <a:gd name="T33" fmla="*/ 527 h 653"/>
              <a:gd name="T34" fmla="*/ 94 w 180"/>
              <a:gd name="T35" fmla="*/ 552 h 653"/>
              <a:gd name="T36" fmla="*/ 94 w 180"/>
              <a:gd name="T37" fmla="*/ 576 h 653"/>
              <a:gd name="T38" fmla="*/ 103 w 180"/>
              <a:gd name="T39" fmla="*/ 602 h 653"/>
              <a:gd name="T40" fmla="*/ 117 w 180"/>
              <a:gd name="T41" fmla="*/ 605 h 653"/>
              <a:gd name="T42" fmla="*/ 157 w 180"/>
              <a:gd name="T43" fmla="*/ 622 h 653"/>
              <a:gd name="T44" fmla="*/ 170 w 180"/>
              <a:gd name="T45" fmla="*/ 625 h 653"/>
              <a:gd name="T46" fmla="*/ 151 w 180"/>
              <a:gd name="T47" fmla="*/ 634 h 653"/>
              <a:gd name="T48" fmla="*/ 147 w 180"/>
              <a:gd name="T49" fmla="*/ 652 h 653"/>
              <a:gd name="T50" fmla="*/ 141 w 180"/>
              <a:gd name="T51" fmla="*/ 643 h 653"/>
              <a:gd name="T52" fmla="*/ 131 w 180"/>
              <a:gd name="T53" fmla="*/ 631 h 653"/>
              <a:gd name="T54" fmla="*/ 123 w 180"/>
              <a:gd name="T55" fmla="*/ 624 h 653"/>
              <a:gd name="T56" fmla="*/ 118 w 180"/>
              <a:gd name="T57" fmla="*/ 617 h 653"/>
              <a:gd name="T58" fmla="*/ 109 w 180"/>
              <a:gd name="T59" fmla="*/ 617 h 653"/>
              <a:gd name="T60" fmla="*/ 92 w 180"/>
              <a:gd name="T61" fmla="*/ 606 h 653"/>
              <a:gd name="T62" fmla="*/ 88 w 180"/>
              <a:gd name="T63" fmla="*/ 596 h 653"/>
              <a:gd name="T64" fmla="*/ 80 w 180"/>
              <a:gd name="T65" fmla="*/ 583 h 653"/>
              <a:gd name="T66" fmla="*/ 81 w 180"/>
              <a:gd name="T67" fmla="*/ 571 h 653"/>
              <a:gd name="T68" fmla="*/ 72 w 180"/>
              <a:gd name="T69" fmla="*/ 563 h 653"/>
              <a:gd name="T70" fmla="*/ 67 w 180"/>
              <a:gd name="T71" fmla="*/ 555 h 653"/>
              <a:gd name="T72" fmla="*/ 79 w 180"/>
              <a:gd name="T73" fmla="*/ 553 h 653"/>
              <a:gd name="T74" fmla="*/ 62 w 180"/>
              <a:gd name="T75" fmla="*/ 542 h 653"/>
              <a:gd name="T76" fmla="*/ 58 w 180"/>
              <a:gd name="T77" fmla="*/ 528 h 653"/>
              <a:gd name="T78" fmla="*/ 46 w 180"/>
              <a:gd name="T79" fmla="*/ 531 h 653"/>
              <a:gd name="T80" fmla="*/ 49 w 180"/>
              <a:gd name="T81" fmla="*/ 517 h 653"/>
              <a:gd name="T82" fmla="*/ 55 w 180"/>
              <a:gd name="T83" fmla="*/ 514 h 653"/>
              <a:gd name="T84" fmla="*/ 62 w 180"/>
              <a:gd name="T85" fmla="*/ 522 h 653"/>
              <a:gd name="T86" fmla="*/ 68 w 180"/>
              <a:gd name="T87" fmla="*/ 520 h 653"/>
              <a:gd name="T88" fmla="*/ 64 w 180"/>
              <a:gd name="T89" fmla="*/ 512 h 653"/>
              <a:gd name="T90" fmla="*/ 62 w 180"/>
              <a:gd name="T91" fmla="*/ 505 h 653"/>
              <a:gd name="T92" fmla="*/ 62 w 180"/>
              <a:gd name="T93" fmla="*/ 503 h 653"/>
              <a:gd name="T94" fmla="*/ 64 w 180"/>
              <a:gd name="T95" fmla="*/ 487 h 653"/>
              <a:gd name="T96" fmla="*/ 60 w 180"/>
              <a:gd name="T97" fmla="*/ 476 h 653"/>
              <a:gd name="T98" fmla="*/ 56 w 180"/>
              <a:gd name="T99" fmla="*/ 454 h 653"/>
              <a:gd name="T100" fmla="*/ 51 w 180"/>
              <a:gd name="T101" fmla="*/ 444 h 653"/>
              <a:gd name="T102" fmla="*/ 46 w 180"/>
              <a:gd name="T103" fmla="*/ 435 h 653"/>
              <a:gd name="T104" fmla="*/ 31 w 180"/>
              <a:gd name="T105" fmla="*/ 431 h 653"/>
              <a:gd name="T106" fmla="*/ 23 w 180"/>
              <a:gd name="T107" fmla="*/ 386 h 653"/>
              <a:gd name="T108" fmla="*/ 17 w 180"/>
              <a:gd name="T109" fmla="*/ 357 h 653"/>
              <a:gd name="T110" fmla="*/ 21 w 180"/>
              <a:gd name="T111" fmla="*/ 326 h 653"/>
              <a:gd name="T112" fmla="*/ 25 w 180"/>
              <a:gd name="T113" fmla="*/ 279 h 653"/>
              <a:gd name="T114" fmla="*/ 15 w 180"/>
              <a:gd name="T115" fmla="*/ 219 h 653"/>
              <a:gd name="T116" fmla="*/ 15 w 180"/>
              <a:gd name="T117" fmla="*/ 174 h 653"/>
              <a:gd name="T118" fmla="*/ 16 w 180"/>
              <a:gd name="T119" fmla="*/ 142 h 653"/>
              <a:gd name="T120" fmla="*/ 11 w 180"/>
              <a:gd name="T121" fmla="*/ 99 h 653"/>
              <a:gd name="T122" fmla="*/ 9 w 180"/>
              <a:gd name="T123" fmla="*/ 44 h 653"/>
              <a:gd name="T124" fmla="*/ 11 w 180"/>
              <a:gd name="T125" fmla="*/ 8 h 6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0" h="653">
                <a:moveTo>
                  <a:pt x="15" y="0"/>
                </a:moveTo>
                <a:lnTo>
                  <a:pt x="15" y="0"/>
                </a:lnTo>
                <a:lnTo>
                  <a:pt x="18" y="5"/>
                </a:lnTo>
                <a:lnTo>
                  <a:pt x="20" y="6"/>
                </a:lnTo>
                <a:lnTo>
                  <a:pt x="22" y="9"/>
                </a:lnTo>
                <a:lnTo>
                  <a:pt x="22" y="11"/>
                </a:lnTo>
                <a:lnTo>
                  <a:pt x="25" y="22"/>
                </a:lnTo>
                <a:lnTo>
                  <a:pt x="26" y="24"/>
                </a:lnTo>
                <a:lnTo>
                  <a:pt x="27" y="26"/>
                </a:lnTo>
                <a:lnTo>
                  <a:pt x="31" y="29"/>
                </a:lnTo>
                <a:lnTo>
                  <a:pt x="33" y="31"/>
                </a:lnTo>
                <a:lnTo>
                  <a:pt x="35" y="34"/>
                </a:lnTo>
                <a:lnTo>
                  <a:pt x="33" y="36"/>
                </a:lnTo>
                <a:lnTo>
                  <a:pt x="33" y="38"/>
                </a:lnTo>
                <a:lnTo>
                  <a:pt x="35" y="40"/>
                </a:lnTo>
                <a:lnTo>
                  <a:pt x="35" y="41"/>
                </a:lnTo>
                <a:lnTo>
                  <a:pt x="35" y="41"/>
                </a:lnTo>
                <a:lnTo>
                  <a:pt x="32" y="42"/>
                </a:lnTo>
                <a:lnTo>
                  <a:pt x="31" y="43"/>
                </a:lnTo>
                <a:lnTo>
                  <a:pt x="31" y="47"/>
                </a:lnTo>
                <a:lnTo>
                  <a:pt x="31" y="49"/>
                </a:lnTo>
                <a:lnTo>
                  <a:pt x="33" y="50"/>
                </a:lnTo>
                <a:lnTo>
                  <a:pt x="35" y="51"/>
                </a:lnTo>
                <a:lnTo>
                  <a:pt x="36" y="54"/>
                </a:lnTo>
                <a:lnTo>
                  <a:pt x="36" y="57"/>
                </a:lnTo>
                <a:lnTo>
                  <a:pt x="37" y="58"/>
                </a:lnTo>
                <a:lnTo>
                  <a:pt x="38" y="58"/>
                </a:lnTo>
                <a:lnTo>
                  <a:pt x="40" y="60"/>
                </a:lnTo>
                <a:lnTo>
                  <a:pt x="40" y="61"/>
                </a:lnTo>
                <a:lnTo>
                  <a:pt x="41" y="66"/>
                </a:lnTo>
                <a:lnTo>
                  <a:pt x="42" y="68"/>
                </a:lnTo>
                <a:lnTo>
                  <a:pt x="45" y="71"/>
                </a:lnTo>
                <a:lnTo>
                  <a:pt x="46" y="78"/>
                </a:lnTo>
                <a:lnTo>
                  <a:pt x="46" y="83"/>
                </a:lnTo>
                <a:lnTo>
                  <a:pt x="48" y="90"/>
                </a:lnTo>
                <a:lnTo>
                  <a:pt x="48" y="92"/>
                </a:lnTo>
                <a:lnTo>
                  <a:pt x="50" y="96"/>
                </a:lnTo>
                <a:lnTo>
                  <a:pt x="50" y="96"/>
                </a:lnTo>
                <a:lnTo>
                  <a:pt x="52" y="97"/>
                </a:lnTo>
                <a:lnTo>
                  <a:pt x="55" y="98"/>
                </a:lnTo>
                <a:lnTo>
                  <a:pt x="58" y="97"/>
                </a:lnTo>
                <a:lnTo>
                  <a:pt x="59" y="97"/>
                </a:lnTo>
                <a:lnTo>
                  <a:pt x="62" y="97"/>
                </a:lnTo>
                <a:lnTo>
                  <a:pt x="62" y="97"/>
                </a:lnTo>
                <a:lnTo>
                  <a:pt x="62" y="98"/>
                </a:lnTo>
                <a:lnTo>
                  <a:pt x="62" y="98"/>
                </a:lnTo>
                <a:lnTo>
                  <a:pt x="64" y="99"/>
                </a:lnTo>
                <a:lnTo>
                  <a:pt x="64" y="103"/>
                </a:lnTo>
                <a:lnTo>
                  <a:pt x="63" y="118"/>
                </a:lnTo>
                <a:lnTo>
                  <a:pt x="59" y="120"/>
                </a:lnTo>
                <a:lnTo>
                  <a:pt x="46" y="127"/>
                </a:lnTo>
                <a:lnTo>
                  <a:pt x="46" y="129"/>
                </a:lnTo>
                <a:lnTo>
                  <a:pt x="46" y="131"/>
                </a:lnTo>
                <a:lnTo>
                  <a:pt x="47" y="133"/>
                </a:lnTo>
                <a:lnTo>
                  <a:pt x="47" y="137"/>
                </a:lnTo>
                <a:lnTo>
                  <a:pt x="46" y="139"/>
                </a:lnTo>
                <a:lnTo>
                  <a:pt x="46" y="140"/>
                </a:lnTo>
                <a:lnTo>
                  <a:pt x="47" y="144"/>
                </a:lnTo>
                <a:lnTo>
                  <a:pt x="48" y="149"/>
                </a:lnTo>
                <a:lnTo>
                  <a:pt x="49" y="157"/>
                </a:lnTo>
                <a:lnTo>
                  <a:pt x="50" y="160"/>
                </a:lnTo>
                <a:lnTo>
                  <a:pt x="52" y="164"/>
                </a:lnTo>
                <a:lnTo>
                  <a:pt x="53" y="169"/>
                </a:lnTo>
                <a:lnTo>
                  <a:pt x="53" y="170"/>
                </a:lnTo>
                <a:lnTo>
                  <a:pt x="52" y="171"/>
                </a:lnTo>
                <a:lnTo>
                  <a:pt x="49" y="172"/>
                </a:lnTo>
                <a:lnTo>
                  <a:pt x="46" y="175"/>
                </a:lnTo>
                <a:lnTo>
                  <a:pt x="46" y="177"/>
                </a:lnTo>
                <a:lnTo>
                  <a:pt x="45" y="184"/>
                </a:lnTo>
                <a:lnTo>
                  <a:pt x="39" y="192"/>
                </a:lnTo>
                <a:lnTo>
                  <a:pt x="38" y="200"/>
                </a:lnTo>
                <a:lnTo>
                  <a:pt x="38" y="207"/>
                </a:lnTo>
                <a:lnTo>
                  <a:pt x="38" y="209"/>
                </a:lnTo>
                <a:lnTo>
                  <a:pt x="37" y="212"/>
                </a:lnTo>
                <a:lnTo>
                  <a:pt x="37" y="214"/>
                </a:lnTo>
                <a:lnTo>
                  <a:pt x="38" y="222"/>
                </a:lnTo>
                <a:lnTo>
                  <a:pt x="38" y="224"/>
                </a:lnTo>
                <a:lnTo>
                  <a:pt x="39" y="228"/>
                </a:lnTo>
                <a:lnTo>
                  <a:pt x="39" y="231"/>
                </a:lnTo>
                <a:lnTo>
                  <a:pt x="38" y="232"/>
                </a:lnTo>
                <a:lnTo>
                  <a:pt x="38" y="233"/>
                </a:lnTo>
                <a:lnTo>
                  <a:pt x="38" y="235"/>
                </a:lnTo>
                <a:lnTo>
                  <a:pt x="37" y="236"/>
                </a:lnTo>
                <a:lnTo>
                  <a:pt x="36" y="241"/>
                </a:lnTo>
                <a:lnTo>
                  <a:pt x="35" y="245"/>
                </a:lnTo>
                <a:lnTo>
                  <a:pt x="35" y="245"/>
                </a:lnTo>
                <a:lnTo>
                  <a:pt x="35" y="249"/>
                </a:lnTo>
                <a:lnTo>
                  <a:pt x="35" y="253"/>
                </a:lnTo>
                <a:lnTo>
                  <a:pt x="36" y="258"/>
                </a:lnTo>
                <a:lnTo>
                  <a:pt x="38" y="260"/>
                </a:lnTo>
                <a:lnTo>
                  <a:pt x="40" y="269"/>
                </a:lnTo>
                <a:lnTo>
                  <a:pt x="46" y="278"/>
                </a:lnTo>
                <a:lnTo>
                  <a:pt x="47" y="281"/>
                </a:lnTo>
                <a:lnTo>
                  <a:pt x="47" y="284"/>
                </a:lnTo>
                <a:lnTo>
                  <a:pt x="50" y="286"/>
                </a:lnTo>
                <a:lnTo>
                  <a:pt x="50" y="288"/>
                </a:lnTo>
                <a:lnTo>
                  <a:pt x="52" y="293"/>
                </a:lnTo>
                <a:lnTo>
                  <a:pt x="55" y="298"/>
                </a:lnTo>
                <a:lnTo>
                  <a:pt x="56" y="302"/>
                </a:lnTo>
                <a:lnTo>
                  <a:pt x="53" y="308"/>
                </a:lnTo>
                <a:lnTo>
                  <a:pt x="52" y="311"/>
                </a:lnTo>
                <a:lnTo>
                  <a:pt x="52" y="313"/>
                </a:lnTo>
                <a:lnTo>
                  <a:pt x="52" y="319"/>
                </a:lnTo>
                <a:lnTo>
                  <a:pt x="52" y="320"/>
                </a:lnTo>
                <a:lnTo>
                  <a:pt x="50" y="322"/>
                </a:lnTo>
                <a:lnTo>
                  <a:pt x="52" y="331"/>
                </a:lnTo>
                <a:lnTo>
                  <a:pt x="55" y="335"/>
                </a:lnTo>
                <a:lnTo>
                  <a:pt x="55" y="336"/>
                </a:lnTo>
                <a:lnTo>
                  <a:pt x="53" y="337"/>
                </a:lnTo>
                <a:lnTo>
                  <a:pt x="52" y="339"/>
                </a:lnTo>
                <a:lnTo>
                  <a:pt x="52" y="340"/>
                </a:lnTo>
                <a:lnTo>
                  <a:pt x="52" y="341"/>
                </a:lnTo>
                <a:lnTo>
                  <a:pt x="51" y="342"/>
                </a:lnTo>
                <a:lnTo>
                  <a:pt x="50" y="342"/>
                </a:lnTo>
                <a:lnTo>
                  <a:pt x="49" y="343"/>
                </a:lnTo>
                <a:lnTo>
                  <a:pt x="48" y="345"/>
                </a:lnTo>
                <a:lnTo>
                  <a:pt x="48" y="349"/>
                </a:lnTo>
                <a:lnTo>
                  <a:pt x="49" y="359"/>
                </a:lnTo>
                <a:lnTo>
                  <a:pt x="52" y="369"/>
                </a:lnTo>
                <a:lnTo>
                  <a:pt x="56" y="376"/>
                </a:lnTo>
                <a:lnTo>
                  <a:pt x="57" y="379"/>
                </a:lnTo>
                <a:lnTo>
                  <a:pt x="58" y="382"/>
                </a:lnTo>
                <a:lnTo>
                  <a:pt x="58" y="385"/>
                </a:lnTo>
                <a:lnTo>
                  <a:pt x="56" y="386"/>
                </a:lnTo>
                <a:lnTo>
                  <a:pt x="56" y="389"/>
                </a:lnTo>
                <a:lnTo>
                  <a:pt x="55" y="390"/>
                </a:lnTo>
                <a:lnTo>
                  <a:pt x="56" y="393"/>
                </a:lnTo>
                <a:lnTo>
                  <a:pt x="56" y="409"/>
                </a:lnTo>
                <a:lnTo>
                  <a:pt x="56" y="411"/>
                </a:lnTo>
                <a:lnTo>
                  <a:pt x="57" y="414"/>
                </a:lnTo>
                <a:lnTo>
                  <a:pt x="58" y="425"/>
                </a:lnTo>
                <a:lnTo>
                  <a:pt x="59" y="432"/>
                </a:lnTo>
                <a:lnTo>
                  <a:pt x="61" y="435"/>
                </a:lnTo>
                <a:lnTo>
                  <a:pt x="64" y="437"/>
                </a:lnTo>
                <a:lnTo>
                  <a:pt x="64" y="438"/>
                </a:lnTo>
                <a:lnTo>
                  <a:pt x="66" y="442"/>
                </a:lnTo>
                <a:lnTo>
                  <a:pt x="66" y="443"/>
                </a:lnTo>
                <a:lnTo>
                  <a:pt x="66" y="445"/>
                </a:lnTo>
                <a:lnTo>
                  <a:pt x="64" y="448"/>
                </a:lnTo>
                <a:lnTo>
                  <a:pt x="64" y="453"/>
                </a:lnTo>
                <a:lnTo>
                  <a:pt x="67" y="462"/>
                </a:lnTo>
                <a:lnTo>
                  <a:pt x="68" y="463"/>
                </a:lnTo>
                <a:lnTo>
                  <a:pt x="70" y="464"/>
                </a:lnTo>
                <a:lnTo>
                  <a:pt x="70" y="465"/>
                </a:lnTo>
                <a:lnTo>
                  <a:pt x="72" y="472"/>
                </a:lnTo>
                <a:lnTo>
                  <a:pt x="72" y="473"/>
                </a:lnTo>
                <a:lnTo>
                  <a:pt x="74" y="475"/>
                </a:lnTo>
                <a:lnTo>
                  <a:pt x="77" y="478"/>
                </a:lnTo>
                <a:lnTo>
                  <a:pt x="78" y="485"/>
                </a:lnTo>
                <a:lnTo>
                  <a:pt x="79" y="486"/>
                </a:lnTo>
                <a:lnTo>
                  <a:pt x="80" y="486"/>
                </a:lnTo>
                <a:lnTo>
                  <a:pt x="84" y="487"/>
                </a:lnTo>
                <a:lnTo>
                  <a:pt x="87" y="490"/>
                </a:lnTo>
                <a:lnTo>
                  <a:pt x="88" y="492"/>
                </a:lnTo>
                <a:lnTo>
                  <a:pt x="88" y="494"/>
                </a:lnTo>
                <a:lnTo>
                  <a:pt x="84" y="494"/>
                </a:lnTo>
                <a:lnTo>
                  <a:pt x="80" y="493"/>
                </a:lnTo>
                <a:lnTo>
                  <a:pt x="80" y="494"/>
                </a:lnTo>
                <a:lnTo>
                  <a:pt x="81" y="496"/>
                </a:lnTo>
                <a:lnTo>
                  <a:pt x="86" y="497"/>
                </a:lnTo>
                <a:lnTo>
                  <a:pt x="89" y="501"/>
                </a:lnTo>
                <a:lnTo>
                  <a:pt x="90" y="503"/>
                </a:lnTo>
                <a:lnTo>
                  <a:pt x="89" y="504"/>
                </a:lnTo>
                <a:lnTo>
                  <a:pt x="89" y="505"/>
                </a:lnTo>
                <a:lnTo>
                  <a:pt x="89" y="507"/>
                </a:lnTo>
                <a:lnTo>
                  <a:pt x="91" y="513"/>
                </a:lnTo>
                <a:lnTo>
                  <a:pt x="91" y="514"/>
                </a:lnTo>
                <a:lnTo>
                  <a:pt x="92" y="517"/>
                </a:lnTo>
                <a:lnTo>
                  <a:pt x="93" y="518"/>
                </a:lnTo>
                <a:lnTo>
                  <a:pt x="96" y="527"/>
                </a:lnTo>
                <a:lnTo>
                  <a:pt x="96" y="531"/>
                </a:lnTo>
                <a:lnTo>
                  <a:pt x="94" y="534"/>
                </a:lnTo>
                <a:lnTo>
                  <a:pt x="96" y="536"/>
                </a:lnTo>
                <a:lnTo>
                  <a:pt x="94" y="541"/>
                </a:lnTo>
                <a:lnTo>
                  <a:pt x="92" y="544"/>
                </a:lnTo>
                <a:lnTo>
                  <a:pt x="92" y="545"/>
                </a:lnTo>
                <a:lnTo>
                  <a:pt x="92" y="546"/>
                </a:lnTo>
                <a:lnTo>
                  <a:pt x="93" y="549"/>
                </a:lnTo>
                <a:lnTo>
                  <a:pt x="93" y="549"/>
                </a:lnTo>
                <a:lnTo>
                  <a:pt x="94" y="552"/>
                </a:lnTo>
                <a:lnTo>
                  <a:pt x="96" y="553"/>
                </a:lnTo>
                <a:lnTo>
                  <a:pt x="97" y="555"/>
                </a:lnTo>
                <a:lnTo>
                  <a:pt x="97" y="557"/>
                </a:lnTo>
                <a:lnTo>
                  <a:pt x="97" y="558"/>
                </a:lnTo>
                <a:lnTo>
                  <a:pt x="97" y="558"/>
                </a:lnTo>
                <a:lnTo>
                  <a:pt x="98" y="563"/>
                </a:lnTo>
                <a:lnTo>
                  <a:pt x="98" y="566"/>
                </a:lnTo>
                <a:lnTo>
                  <a:pt x="98" y="567"/>
                </a:lnTo>
                <a:lnTo>
                  <a:pt x="96" y="569"/>
                </a:lnTo>
                <a:lnTo>
                  <a:pt x="94" y="576"/>
                </a:lnTo>
                <a:lnTo>
                  <a:pt x="93" y="576"/>
                </a:lnTo>
                <a:lnTo>
                  <a:pt x="93" y="578"/>
                </a:lnTo>
                <a:lnTo>
                  <a:pt x="94" y="585"/>
                </a:lnTo>
                <a:lnTo>
                  <a:pt x="96" y="588"/>
                </a:lnTo>
                <a:lnTo>
                  <a:pt x="96" y="589"/>
                </a:lnTo>
                <a:lnTo>
                  <a:pt x="98" y="596"/>
                </a:lnTo>
                <a:lnTo>
                  <a:pt x="99" y="597"/>
                </a:lnTo>
                <a:lnTo>
                  <a:pt x="101" y="599"/>
                </a:lnTo>
                <a:lnTo>
                  <a:pt x="102" y="601"/>
                </a:lnTo>
                <a:lnTo>
                  <a:pt x="103" y="602"/>
                </a:lnTo>
                <a:lnTo>
                  <a:pt x="103" y="601"/>
                </a:lnTo>
                <a:lnTo>
                  <a:pt x="103" y="599"/>
                </a:lnTo>
                <a:lnTo>
                  <a:pt x="105" y="598"/>
                </a:lnTo>
                <a:lnTo>
                  <a:pt x="111" y="599"/>
                </a:lnTo>
                <a:lnTo>
                  <a:pt x="111" y="597"/>
                </a:lnTo>
                <a:lnTo>
                  <a:pt x="111" y="597"/>
                </a:lnTo>
                <a:lnTo>
                  <a:pt x="112" y="598"/>
                </a:lnTo>
                <a:lnTo>
                  <a:pt x="113" y="598"/>
                </a:lnTo>
                <a:lnTo>
                  <a:pt x="115" y="602"/>
                </a:lnTo>
                <a:lnTo>
                  <a:pt x="117" y="605"/>
                </a:lnTo>
                <a:lnTo>
                  <a:pt x="122" y="617"/>
                </a:lnTo>
                <a:lnTo>
                  <a:pt x="122" y="617"/>
                </a:lnTo>
                <a:lnTo>
                  <a:pt x="125" y="621"/>
                </a:lnTo>
                <a:lnTo>
                  <a:pt x="127" y="622"/>
                </a:lnTo>
                <a:lnTo>
                  <a:pt x="131" y="623"/>
                </a:lnTo>
                <a:lnTo>
                  <a:pt x="144" y="623"/>
                </a:lnTo>
                <a:lnTo>
                  <a:pt x="145" y="623"/>
                </a:lnTo>
                <a:lnTo>
                  <a:pt x="147" y="623"/>
                </a:lnTo>
                <a:lnTo>
                  <a:pt x="152" y="623"/>
                </a:lnTo>
                <a:lnTo>
                  <a:pt x="157" y="622"/>
                </a:lnTo>
                <a:lnTo>
                  <a:pt x="159" y="622"/>
                </a:lnTo>
                <a:lnTo>
                  <a:pt x="165" y="624"/>
                </a:lnTo>
                <a:lnTo>
                  <a:pt x="174" y="625"/>
                </a:lnTo>
                <a:lnTo>
                  <a:pt x="179" y="626"/>
                </a:lnTo>
                <a:lnTo>
                  <a:pt x="180" y="627"/>
                </a:lnTo>
                <a:lnTo>
                  <a:pt x="180" y="627"/>
                </a:lnTo>
                <a:lnTo>
                  <a:pt x="180" y="627"/>
                </a:lnTo>
                <a:lnTo>
                  <a:pt x="177" y="627"/>
                </a:lnTo>
                <a:lnTo>
                  <a:pt x="173" y="627"/>
                </a:lnTo>
                <a:lnTo>
                  <a:pt x="170" y="625"/>
                </a:lnTo>
                <a:lnTo>
                  <a:pt x="168" y="625"/>
                </a:lnTo>
                <a:lnTo>
                  <a:pt x="164" y="626"/>
                </a:lnTo>
                <a:lnTo>
                  <a:pt x="164" y="628"/>
                </a:lnTo>
                <a:lnTo>
                  <a:pt x="164" y="629"/>
                </a:lnTo>
                <a:lnTo>
                  <a:pt x="161" y="631"/>
                </a:lnTo>
                <a:lnTo>
                  <a:pt x="158" y="632"/>
                </a:lnTo>
                <a:lnTo>
                  <a:pt x="157" y="633"/>
                </a:lnTo>
                <a:lnTo>
                  <a:pt x="154" y="634"/>
                </a:lnTo>
                <a:lnTo>
                  <a:pt x="153" y="633"/>
                </a:lnTo>
                <a:lnTo>
                  <a:pt x="151" y="634"/>
                </a:lnTo>
                <a:lnTo>
                  <a:pt x="150" y="634"/>
                </a:lnTo>
                <a:lnTo>
                  <a:pt x="151" y="638"/>
                </a:lnTo>
                <a:lnTo>
                  <a:pt x="152" y="644"/>
                </a:lnTo>
                <a:lnTo>
                  <a:pt x="154" y="649"/>
                </a:lnTo>
                <a:lnTo>
                  <a:pt x="154" y="652"/>
                </a:lnTo>
                <a:lnTo>
                  <a:pt x="154" y="653"/>
                </a:lnTo>
                <a:lnTo>
                  <a:pt x="153" y="653"/>
                </a:lnTo>
                <a:lnTo>
                  <a:pt x="152" y="653"/>
                </a:lnTo>
                <a:lnTo>
                  <a:pt x="149" y="652"/>
                </a:lnTo>
                <a:lnTo>
                  <a:pt x="147" y="652"/>
                </a:lnTo>
                <a:lnTo>
                  <a:pt x="141" y="650"/>
                </a:lnTo>
                <a:lnTo>
                  <a:pt x="137" y="648"/>
                </a:lnTo>
                <a:lnTo>
                  <a:pt x="135" y="646"/>
                </a:lnTo>
                <a:lnTo>
                  <a:pt x="134" y="645"/>
                </a:lnTo>
                <a:lnTo>
                  <a:pt x="135" y="644"/>
                </a:lnTo>
                <a:lnTo>
                  <a:pt x="138" y="645"/>
                </a:lnTo>
                <a:lnTo>
                  <a:pt x="138" y="646"/>
                </a:lnTo>
                <a:lnTo>
                  <a:pt x="139" y="645"/>
                </a:lnTo>
                <a:lnTo>
                  <a:pt x="140" y="644"/>
                </a:lnTo>
                <a:lnTo>
                  <a:pt x="141" y="643"/>
                </a:lnTo>
                <a:lnTo>
                  <a:pt x="143" y="643"/>
                </a:lnTo>
                <a:lnTo>
                  <a:pt x="145" y="642"/>
                </a:lnTo>
                <a:lnTo>
                  <a:pt x="147" y="641"/>
                </a:lnTo>
                <a:lnTo>
                  <a:pt x="148" y="638"/>
                </a:lnTo>
                <a:lnTo>
                  <a:pt x="147" y="636"/>
                </a:lnTo>
                <a:lnTo>
                  <a:pt x="143" y="635"/>
                </a:lnTo>
                <a:lnTo>
                  <a:pt x="141" y="634"/>
                </a:lnTo>
                <a:lnTo>
                  <a:pt x="139" y="632"/>
                </a:lnTo>
                <a:lnTo>
                  <a:pt x="137" y="631"/>
                </a:lnTo>
                <a:lnTo>
                  <a:pt x="131" y="631"/>
                </a:lnTo>
                <a:lnTo>
                  <a:pt x="128" y="632"/>
                </a:lnTo>
                <a:lnTo>
                  <a:pt x="127" y="633"/>
                </a:lnTo>
                <a:lnTo>
                  <a:pt x="127" y="632"/>
                </a:lnTo>
                <a:lnTo>
                  <a:pt x="125" y="631"/>
                </a:lnTo>
                <a:lnTo>
                  <a:pt x="122" y="632"/>
                </a:lnTo>
                <a:lnTo>
                  <a:pt x="121" y="629"/>
                </a:lnTo>
                <a:lnTo>
                  <a:pt x="122" y="629"/>
                </a:lnTo>
                <a:lnTo>
                  <a:pt x="124" y="628"/>
                </a:lnTo>
                <a:lnTo>
                  <a:pt x="124" y="626"/>
                </a:lnTo>
                <a:lnTo>
                  <a:pt x="123" y="624"/>
                </a:lnTo>
                <a:lnTo>
                  <a:pt x="119" y="621"/>
                </a:lnTo>
                <a:lnTo>
                  <a:pt x="121" y="621"/>
                </a:lnTo>
                <a:lnTo>
                  <a:pt x="121" y="619"/>
                </a:lnTo>
                <a:lnTo>
                  <a:pt x="120" y="617"/>
                </a:lnTo>
                <a:lnTo>
                  <a:pt x="117" y="616"/>
                </a:lnTo>
                <a:lnTo>
                  <a:pt x="112" y="613"/>
                </a:lnTo>
                <a:lnTo>
                  <a:pt x="109" y="612"/>
                </a:lnTo>
                <a:lnTo>
                  <a:pt x="108" y="612"/>
                </a:lnTo>
                <a:lnTo>
                  <a:pt x="117" y="616"/>
                </a:lnTo>
                <a:lnTo>
                  <a:pt x="118" y="617"/>
                </a:lnTo>
                <a:lnTo>
                  <a:pt x="117" y="618"/>
                </a:lnTo>
                <a:lnTo>
                  <a:pt x="114" y="617"/>
                </a:lnTo>
                <a:lnTo>
                  <a:pt x="111" y="616"/>
                </a:lnTo>
                <a:lnTo>
                  <a:pt x="111" y="616"/>
                </a:lnTo>
                <a:lnTo>
                  <a:pt x="113" y="618"/>
                </a:lnTo>
                <a:lnTo>
                  <a:pt x="113" y="621"/>
                </a:lnTo>
                <a:lnTo>
                  <a:pt x="112" y="622"/>
                </a:lnTo>
                <a:lnTo>
                  <a:pt x="111" y="621"/>
                </a:lnTo>
                <a:lnTo>
                  <a:pt x="110" y="619"/>
                </a:lnTo>
                <a:lnTo>
                  <a:pt x="109" y="617"/>
                </a:lnTo>
                <a:lnTo>
                  <a:pt x="105" y="614"/>
                </a:lnTo>
                <a:lnTo>
                  <a:pt x="109" y="617"/>
                </a:lnTo>
                <a:lnTo>
                  <a:pt x="110" y="621"/>
                </a:lnTo>
                <a:lnTo>
                  <a:pt x="111" y="623"/>
                </a:lnTo>
                <a:lnTo>
                  <a:pt x="110" y="623"/>
                </a:lnTo>
                <a:lnTo>
                  <a:pt x="108" y="622"/>
                </a:lnTo>
                <a:lnTo>
                  <a:pt x="107" y="619"/>
                </a:lnTo>
                <a:lnTo>
                  <a:pt x="104" y="615"/>
                </a:lnTo>
                <a:lnTo>
                  <a:pt x="101" y="611"/>
                </a:lnTo>
                <a:lnTo>
                  <a:pt x="92" y="606"/>
                </a:lnTo>
                <a:lnTo>
                  <a:pt x="91" y="603"/>
                </a:lnTo>
                <a:lnTo>
                  <a:pt x="91" y="602"/>
                </a:lnTo>
                <a:lnTo>
                  <a:pt x="93" y="602"/>
                </a:lnTo>
                <a:lnTo>
                  <a:pt x="96" y="602"/>
                </a:lnTo>
                <a:lnTo>
                  <a:pt x="94" y="598"/>
                </a:lnTo>
                <a:lnTo>
                  <a:pt x="93" y="598"/>
                </a:lnTo>
                <a:lnTo>
                  <a:pt x="93" y="599"/>
                </a:lnTo>
                <a:lnTo>
                  <a:pt x="92" y="599"/>
                </a:lnTo>
                <a:lnTo>
                  <a:pt x="90" y="598"/>
                </a:lnTo>
                <a:lnTo>
                  <a:pt x="88" y="596"/>
                </a:lnTo>
                <a:lnTo>
                  <a:pt x="89" y="595"/>
                </a:lnTo>
                <a:lnTo>
                  <a:pt x="91" y="596"/>
                </a:lnTo>
                <a:lnTo>
                  <a:pt x="91" y="595"/>
                </a:lnTo>
                <a:lnTo>
                  <a:pt x="89" y="594"/>
                </a:lnTo>
                <a:lnTo>
                  <a:pt x="86" y="594"/>
                </a:lnTo>
                <a:lnTo>
                  <a:pt x="83" y="593"/>
                </a:lnTo>
                <a:lnTo>
                  <a:pt x="81" y="592"/>
                </a:lnTo>
                <a:lnTo>
                  <a:pt x="79" y="589"/>
                </a:lnTo>
                <a:lnTo>
                  <a:pt x="81" y="586"/>
                </a:lnTo>
                <a:lnTo>
                  <a:pt x="80" y="583"/>
                </a:lnTo>
                <a:lnTo>
                  <a:pt x="80" y="582"/>
                </a:lnTo>
                <a:lnTo>
                  <a:pt x="80" y="581"/>
                </a:lnTo>
                <a:lnTo>
                  <a:pt x="83" y="578"/>
                </a:lnTo>
                <a:lnTo>
                  <a:pt x="84" y="579"/>
                </a:lnTo>
                <a:lnTo>
                  <a:pt x="86" y="579"/>
                </a:lnTo>
                <a:lnTo>
                  <a:pt x="86" y="578"/>
                </a:lnTo>
                <a:lnTo>
                  <a:pt x="83" y="578"/>
                </a:lnTo>
                <a:lnTo>
                  <a:pt x="82" y="577"/>
                </a:lnTo>
                <a:lnTo>
                  <a:pt x="82" y="571"/>
                </a:lnTo>
                <a:lnTo>
                  <a:pt x="81" y="571"/>
                </a:lnTo>
                <a:lnTo>
                  <a:pt x="80" y="573"/>
                </a:lnTo>
                <a:lnTo>
                  <a:pt x="80" y="575"/>
                </a:lnTo>
                <a:lnTo>
                  <a:pt x="80" y="577"/>
                </a:lnTo>
                <a:lnTo>
                  <a:pt x="78" y="576"/>
                </a:lnTo>
                <a:lnTo>
                  <a:pt x="77" y="575"/>
                </a:lnTo>
                <a:lnTo>
                  <a:pt x="76" y="572"/>
                </a:lnTo>
                <a:lnTo>
                  <a:pt x="73" y="565"/>
                </a:lnTo>
                <a:lnTo>
                  <a:pt x="73" y="564"/>
                </a:lnTo>
                <a:lnTo>
                  <a:pt x="74" y="564"/>
                </a:lnTo>
                <a:lnTo>
                  <a:pt x="72" y="563"/>
                </a:lnTo>
                <a:lnTo>
                  <a:pt x="72" y="559"/>
                </a:lnTo>
                <a:lnTo>
                  <a:pt x="76" y="559"/>
                </a:lnTo>
                <a:lnTo>
                  <a:pt x="79" y="562"/>
                </a:lnTo>
                <a:lnTo>
                  <a:pt x="78" y="559"/>
                </a:lnTo>
                <a:lnTo>
                  <a:pt x="76" y="557"/>
                </a:lnTo>
                <a:lnTo>
                  <a:pt x="76" y="558"/>
                </a:lnTo>
                <a:lnTo>
                  <a:pt x="71" y="559"/>
                </a:lnTo>
                <a:lnTo>
                  <a:pt x="69" y="558"/>
                </a:lnTo>
                <a:lnTo>
                  <a:pt x="68" y="556"/>
                </a:lnTo>
                <a:lnTo>
                  <a:pt x="67" y="555"/>
                </a:lnTo>
                <a:lnTo>
                  <a:pt x="64" y="551"/>
                </a:lnTo>
                <a:lnTo>
                  <a:pt x="67" y="551"/>
                </a:lnTo>
                <a:lnTo>
                  <a:pt x="69" y="553"/>
                </a:lnTo>
                <a:lnTo>
                  <a:pt x="71" y="555"/>
                </a:lnTo>
                <a:lnTo>
                  <a:pt x="69" y="552"/>
                </a:lnTo>
                <a:lnTo>
                  <a:pt x="70" y="552"/>
                </a:lnTo>
                <a:lnTo>
                  <a:pt x="76" y="552"/>
                </a:lnTo>
                <a:lnTo>
                  <a:pt x="81" y="555"/>
                </a:lnTo>
                <a:lnTo>
                  <a:pt x="82" y="555"/>
                </a:lnTo>
                <a:lnTo>
                  <a:pt x="79" y="553"/>
                </a:lnTo>
                <a:lnTo>
                  <a:pt x="76" y="549"/>
                </a:lnTo>
                <a:lnTo>
                  <a:pt x="73" y="547"/>
                </a:lnTo>
                <a:lnTo>
                  <a:pt x="72" y="546"/>
                </a:lnTo>
                <a:lnTo>
                  <a:pt x="72" y="547"/>
                </a:lnTo>
                <a:lnTo>
                  <a:pt x="69" y="547"/>
                </a:lnTo>
                <a:lnTo>
                  <a:pt x="68" y="546"/>
                </a:lnTo>
                <a:lnTo>
                  <a:pt x="67" y="545"/>
                </a:lnTo>
                <a:lnTo>
                  <a:pt x="69" y="544"/>
                </a:lnTo>
                <a:lnTo>
                  <a:pt x="66" y="543"/>
                </a:lnTo>
                <a:lnTo>
                  <a:pt x="62" y="542"/>
                </a:lnTo>
                <a:lnTo>
                  <a:pt x="61" y="541"/>
                </a:lnTo>
                <a:lnTo>
                  <a:pt x="62" y="538"/>
                </a:lnTo>
                <a:lnTo>
                  <a:pt x="64" y="537"/>
                </a:lnTo>
                <a:lnTo>
                  <a:pt x="66" y="536"/>
                </a:lnTo>
                <a:lnTo>
                  <a:pt x="63" y="535"/>
                </a:lnTo>
                <a:lnTo>
                  <a:pt x="66" y="533"/>
                </a:lnTo>
                <a:lnTo>
                  <a:pt x="64" y="533"/>
                </a:lnTo>
                <a:lnTo>
                  <a:pt x="63" y="531"/>
                </a:lnTo>
                <a:lnTo>
                  <a:pt x="60" y="530"/>
                </a:lnTo>
                <a:lnTo>
                  <a:pt x="58" y="528"/>
                </a:lnTo>
                <a:lnTo>
                  <a:pt x="57" y="528"/>
                </a:lnTo>
                <a:lnTo>
                  <a:pt x="56" y="530"/>
                </a:lnTo>
                <a:lnTo>
                  <a:pt x="55" y="531"/>
                </a:lnTo>
                <a:lnTo>
                  <a:pt x="50" y="528"/>
                </a:lnTo>
                <a:lnTo>
                  <a:pt x="48" y="527"/>
                </a:lnTo>
                <a:lnTo>
                  <a:pt x="46" y="526"/>
                </a:lnTo>
                <a:lnTo>
                  <a:pt x="43" y="527"/>
                </a:lnTo>
                <a:lnTo>
                  <a:pt x="42" y="528"/>
                </a:lnTo>
                <a:lnTo>
                  <a:pt x="45" y="528"/>
                </a:lnTo>
                <a:lnTo>
                  <a:pt x="46" y="531"/>
                </a:lnTo>
                <a:lnTo>
                  <a:pt x="46" y="533"/>
                </a:lnTo>
                <a:lnTo>
                  <a:pt x="42" y="532"/>
                </a:lnTo>
                <a:lnTo>
                  <a:pt x="41" y="531"/>
                </a:lnTo>
                <a:lnTo>
                  <a:pt x="41" y="525"/>
                </a:lnTo>
                <a:lnTo>
                  <a:pt x="42" y="525"/>
                </a:lnTo>
                <a:lnTo>
                  <a:pt x="45" y="523"/>
                </a:lnTo>
                <a:lnTo>
                  <a:pt x="46" y="521"/>
                </a:lnTo>
                <a:lnTo>
                  <a:pt x="47" y="521"/>
                </a:lnTo>
                <a:lnTo>
                  <a:pt x="49" y="520"/>
                </a:lnTo>
                <a:lnTo>
                  <a:pt x="49" y="517"/>
                </a:lnTo>
                <a:lnTo>
                  <a:pt x="48" y="517"/>
                </a:lnTo>
                <a:lnTo>
                  <a:pt x="47" y="517"/>
                </a:lnTo>
                <a:lnTo>
                  <a:pt x="45" y="517"/>
                </a:lnTo>
                <a:lnTo>
                  <a:pt x="45" y="516"/>
                </a:lnTo>
                <a:lnTo>
                  <a:pt x="43" y="514"/>
                </a:lnTo>
                <a:lnTo>
                  <a:pt x="48" y="513"/>
                </a:lnTo>
                <a:lnTo>
                  <a:pt x="50" y="514"/>
                </a:lnTo>
                <a:lnTo>
                  <a:pt x="51" y="514"/>
                </a:lnTo>
                <a:lnTo>
                  <a:pt x="52" y="513"/>
                </a:lnTo>
                <a:lnTo>
                  <a:pt x="55" y="514"/>
                </a:lnTo>
                <a:lnTo>
                  <a:pt x="57" y="515"/>
                </a:lnTo>
                <a:lnTo>
                  <a:pt x="57" y="516"/>
                </a:lnTo>
                <a:lnTo>
                  <a:pt x="57" y="518"/>
                </a:lnTo>
                <a:lnTo>
                  <a:pt x="58" y="517"/>
                </a:lnTo>
                <a:lnTo>
                  <a:pt x="59" y="518"/>
                </a:lnTo>
                <a:lnTo>
                  <a:pt x="58" y="521"/>
                </a:lnTo>
                <a:lnTo>
                  <a:pt x="58" y="522"/>
                </a:lnTo>
                <a:lnTo>
                  <a:pt x="60" y="523"/>
                </a:lnTo>
                <a:lnTo>
                  <a:pt x="61" y="524"/>
                </a:lnTo>
                <a:lnTo>
                  <a:pt x="62" y="522"/>
                </a:lnTo>
                <a:lnTo>
                  <a:pt x="62" y="520"/>
                </a:lnTo>
                <a:lnTo>
                  <a:pt x="63" y="522"/>
                </a:lnTo>
                <a:lnTo>
                  <a:pt x="63" y="524"/>
                </a:lnTo>
                <a:lnTo>
                  <a:pt x="64" y="525"/>
                </a:lnTo>
                <a:lnTo>
                  <a:pt x="66" y="525"/>
                </a:lnTo>
                <a:lnTo>
                  <a:pt x="66" y="523"/>
                </a:lnTo>
                <a:lnTo>
                  <a:pt x="66" y="522"/>
                </a:lnTo>
                <a:lnTo>
                  <a:pt x="67" y="521"/>
                </a:lnTo>
                <a:lnTo>
                  <a:pt x="68" y="520"/>
                </a:lnTo>
                <a:lnTo>
                  <a:pt x="68" y="520"/>
                </a:lnTo>
                <a:lnTo>
                  <a:pt x="68" y="517"/>
                </a:lnTo>
                <a:lnTo>
                  <a:pt x="68" y="515"/>
                </a:lnTo>
                <a:lnTo>
                  <a:pt x="68" y="513"/>
                </a:lnTo>
                <a:lnTo>
                  <a:pt x="67" y="514"/>
                </a:lnTo>
                <a:lnTo>
                  <a:pt x="67" y="515"/>
                </a:lnTo>
                <a:lnTo>
                  <a:pt x="67" y="516"/>
                </a:lnTo>
                <a:lnTo>
                  <a:pt x="66" y="520"/>
                </a:lnTo>
                <a:lnTo>
                  <a:pt x="64" y="514"/>
                </a:lnTo>
                <a:lnTo>
                  <a:pt x="64" y="513"/>
                </a:lnTo>
                <a:lnTo>
                  <a:pt x="64" y="512"/>
                </a:lnTo>
                <a:lnTo>
                  <a:pt x="68" y="512"/>
                </a:lnTo>
                <a:lnTo>
                  <a:pt x="66" y="511"/>
                </a:lnTo>
                <a:lnTo>
                  <a:pt x="66" y="511"/>
                </a:lnTo>
                <a:lnTo>
                  <a:pt x="66" y="510"/>
                </a:lnTo>
                <a:lnTo>
                  <a:pt x="68" y="508"/>
                </a:lnTo>
                <a:lnTo>
                  <a:pt x="68" y="507"/>
                </a:lnTo>
                <a:lnTo>
                  <a:pt x="66" y="507"/>
                </a:lnTo>
                <a:lnTo>
                  <a:pt x="62" y="508"/>
                </a:lnTo>
                <a:lnTo>
                  <a:pt x="62" y="506"/>
                </a:lnTo>
                <a:lnTo>
                  <a:pt x="62" y="505"/>
                </a:lnTo>
                <a:lnTo>
                  <a:pt x="63" y="504"/>
                </a:lnTo>
                <a:lnTo>
                  <a:pt x="64" y="504"/>
                </a:lnTo>
                <a:lnTo>
                  <a:pt x="68" y="505"/>
                </a:lnTo>
                <a:lnTo>
                  <a:pt x="69" y="506"/>
                </a:lnTo>
                <a:lnTo>
                  <a:pt x="70" y="506"/>
                </a:lnTo>
                <a:lnTo>
                  <a:pt x="72" y="506"/>
                </a:lnTo>
                <a:lnTo>
                  <a:pt x="71" y="505"/>
                </a:lnTo>
                <a:lnTo>
                  <a:pt x="70" y="505"/>
                </a:lnTo>
                <a:lnTo>
                  <a:pt x="66" y="503"/>
                </a:lnTo>
                <a:lnTo>
                  <a:pt x="62" y="503"/>
                </a:lnTo>
                <a:lnTo>
                  <a:pt x="62" y="501"/>
                </a:lnTo>
                <a:lnTo>
                  <a:pt x="62" y="498"/>
                </a:lnTo>
                <a:lnTo>
                  <a:pt x="62" y="498"/>
                </a:lnTo>
                <a:lnTo>
                  <a:pt x="66" y="498"/>
                </a:lnTo>
                <a:lnTo>
                  <a:pt x="68" y="497"/>
                </a:lnTo>
                <a:lnTo>
                  <a:pt x="69" y="495"/>
                </a:lnTo>
                <a:lnTo>
                  <a:pt x="69" y="494"/>
                </a:lnTo>
                <a:lnTo>
                  <a:pt x="68" y="490"/>
                </a:lnTo>
                <a:lnTo>
                  <a:pt x="67" y="487"/>
                </a:lnTo>
                <a:lnTo>
                  <a:pt x="64" y="487"/>
                </a:lnTo>
                <a:lnTo>
                  <a:pt x="61" y="485"/>
                </a:lnTo>
                <a:lnTo>
                  <a:pt x="59" y="484"/>
                </a:lnTo>
                <a:lnTo>
                  <a:pt x="58" y="483"/>
                </a:lnTo>
                <a:lnTo>
                  <a:pt x="58" y="483"/>
                </a:lnTo>
                <a:lnTo>
                  <a:pt x="58" y="483"/>
                </a:lnTo>
                <a:lnTo>
                  <a:pt x="58" y="482"/>
                </a:lnTo>
                <a:lnTo>
                  <a:pt x="59" y="481"/>
                </a:lnTo>
                <a:lnTo>
                  <a:pt x="59" y="478"/>
                </a:lnTo>
                <a:lnTo>
                  <a:pt x="59" y="477"/>
                </a:lnTo>
                <a:lnTo>
                  <a:pt x="60" y="476"/>
                </a:lnTo>
                <a:lnTo>
                  <a:pt x="59" y="474"/>
                </a:lnTo>
                <a:lnTo>
                  <a:pt x="59" y="473"/>
                </a:lnTo>
                <a:lnTo>
                  <a:pt x="57" y="472"/>
                </a:lnTo>
                <a:lnTo>
                  <a:pt x="57" y="470"/>
                </a:lnTo>
                <a:lnTo>
                  <a:pt x="56" y="468"/>
                </a:lnTo>
                <a:lnTo>
                  <a:pt x="57" y="467"/>
                </a:lnTo>
                <a:lnTo>
                  <a:pt x="58" y="466"/>
                </a:lnTo>
                <a:lnTo>
                  <a:pt x="58" y="462"/>
                </a:lnTo>
                <a:lnTo>
                  <a:pt x="55" y="456"/>
                </a:lnTo>
                <a:lnTo>
                  <a:pt x="56" y="454"/>
                </a:lnTo>
                <a:lnTo>
                  <a:pt x="58" y="455"/>
                </a:lnTo>
                <a:lnTo>
                  <a:pt x="57" y="453"/>
                </a:lnTo>
                <a:lnTo>
                  <a:pt x="55" y="451"/>
                </a:lnTo>
                <a:lnTo>
                  <a:pt x="55" y="448"/>
                </a:lnTo>
                <a:lnTo>
                  <a:pt x="57" y="450"/>
                </a:lnTo>
                <a:lnTo>
                  <a:pt x="59" y="453"/>
                </a:lnTo>
                <a:lnTo>
                  <a:pt x="58" y="450"/>
                </a:lnTo>
                <a:lnTo>
                  <a:pt x="56" y="444"/>
                </a:lnTo>
                <a:lnTo>
                  <a:pt x="53" y="444"/>
                </a:lnTo>
                <a:lnTo>
                  <a:pt x="51" y="444"/>
                </a:lnTo>
                <a:lnTo>
                  <a:pt x="51" y="441"/>
                </a:lnTo>
                <a:lnTo>
                  <a:pt x="53" y="440"/>
                </a:lnTo>
                <a:lnTo>
                  <a:pt x="55" y="440"/>
                </a:lnTo>
                <a:lnTo>
                  <a:pt x="56" y="437"/>
                </a:lnTo>
                <a:lnTo>
                  <a:pt x="56" y="437"/>
                </a:lnTo>
                <a:lnTo>
                  <a:pt x="53" y="438"/>
                </a:lnTo>
                <a:lnTo>
                  <a:pt x="52" y="438"/>
                </a:lnTo>
                <a:lnTo>
                  <a:pt x="50" y="437"/>
                </a:lnTo>
                <a:lnTo>
                  <a:pt x="48" y="435"/>
                </a:lnTo>
                <a:lnTo>
                  <a:pt x="46" y="435"/>
                </a:lnTo>
                <a:lnTo>
                  <a:pt x="45" y="436"/>
                </a:lnTo>
                <a:lnTo>
                  <a:pt x="45" y="438"/>
                </a:lnTo>
                <a:lnTo>
                  <a:pt x="43" y="440"/>
                </a:lnTo>
                <a:lnTo>
                  <a:pt x="40" y="440"/>
                </a:lnTo>
                <a:lnTo>
                  <a:pt x="36" y="438"/>
                </a:lnTo>
                <a:lnTo>
                  <a:pt x="36" y="437"/>
                </a:lnTo>
                <a:lnTo>
                  <a:pt x="35" y="435"/>
                </a:lnTo>
                <a:lnTo>
                  <a:pt x="33" y="435"/>
                </a:lnTo>
                <a:lnTo>
                  <a:pt x="32" y="433"/>
                </a:lnTo>
                <a:lnTo>
                  <a:pt x="31" y="431"/>
                </a:lnTo>
                <a:lnTo>
                  <a:pt x="30" y="426"/>
                </a:lnTo>
                <a:lnTo>
                  <a:pt x="29" y="421"/>
                </a:lnTo>
                <a:lnTo>
                  <a:pt x="29" y="417"/>
                </a:lnTo>
                <a:lnTo>
                  <a:pt x="26" y="406"/>
                </a:lnTo>
                <a:lnTo>
                  <a:pt x="28" y="405"/>
                </a:lnTo>
                <a:lnTo>
                  <a:pt x="28" y="403"/>
                </a:lnTo>
                <a:lnTo>
                  <a:pt x="29" y="402"/>
                </a:lnTo>
                <a:lnTo>
                  <a:pt x="29" y="399"/>
                </a:lnTo>
                <a:lnTo>
                  <a:pt x="26" y="391"/>
                </a:lnTo>
                <a:lnTo>
                  <a:pt x="23" y="386"/>
                </a:lnTo>
                <a:lnTo>
                  <a:pt x="20" y="382"/>
                </a:lnTo>
                <a:lnTo>
                  <a:pt x="20" y="382"/>
                </a:lnTo>
                <a:lnTo>
                  <a:pt x="20" y="382"/>
                </a:lnTo>
                <a:lnTo>
                  <a:pt x="19" y="375"/>
                </a:lnTo>
                <a:lnTo>
                  <a:pt x="18" y="372"/>
                </a:lnTo>
                <a:lnTo>
                  <a:pt x="16" y="369"/>
                </a:lnTo>
                <a:lnTo>
                  <a:pt x="15" y="364"/>
                </a:lnTo>
                <a:lnTo>
                  <a:pt x="13" y="359"/>
                </a:lnTo>
                <a:lnTo>
                  <a:pt x="15" y="356"/>
                </a:lnTo>
                <a:lnTo>
                  <a:pt x="17" y="357"/>
                </a:lnTo>
                <a:lnTo>
                  <a:pt x="19" y="356"/>
                </a:lnTo>
                <a:lnTo>
                  <a:pt x="17" y="347"/>
                </a:lnTo>
                <a:lnTo>
                  <a:pt x="18" y="346"/>
                </a:lnTo>
                <a:lnTo>
                  <a:pt x="19" y="347"/>
                </a:lnTo>
                <a:lnTo>
                  <a:pt x="20" y="347"/>
                </a:lnTo>
                <a:lnTo>
                  <a:pt x="20" y="342"/>
                </a:lnTo>
                <a:lnTo>
                  <a:pt x="20" y="336"/>
                </a:lnTo>
                <a:lnTo>
                  <a:pt x="21" y="334"/>
                </a:lnTo>
                <a:lnTo>
                  <a:pt x="21" y="330"/>
                </a:lnTo>
                <a:lnTo>
                  <a:pt x="21" y="326"/>
                </a:lnTo>
                <a:lnTo>
                  <a:pt x="23" y="320"/>
                </a:lnTo>
                <a:lnTo>
                  <a:pt x="23" y="316"/>
                </a:lnTo>
                <a:lnTo>
                  <a:pt x="25" y="309"/>
                </a:lnTo>
                <a:lnTo>
                  <a:pt x="23" y="305"/>
                </a:lnTo>
                <a:lnTo>
                  <a:pt x="25" y="305"/>
                </a:lnTo>
                <a:lnTo>
                  <a:pt x="25" y="296"/>
                </a:lnTo>
                <a:lnTo>
                  <a:pt x="26" y="294"/>
                </a:lnTo>
                <a:lnTo>
                  <a:pt x="23" y="284"/>
                </a:lnTo>
                <a:lnTo>
                  <a:pt x="25" y="281"/>
                </a:lnTo>
                <a:lnTo>
                  <a:pt x="25" y="279"/>
                </a:lnTo>
                <a:lnTo>
                  <a:pt x="23" y="271"/>
                </a:lnTo>
                <a:lnTo>
                  <a:pt x="21" y="265"/>
                </a:lnTo>
                <a:lnTo>
                  <a:pt x="19" y="258"/>
                </a:lnTo>
                <a:lnTo>
                  <a:pt x="16" y="248"/>
                </a:lnTo>
                <a:lnTo>
                  <a:pt x="13" y="239"/>
                </a:lnTo>
                <a:lnTo>
                  <a:pt x="12" y="232"/>
                </a:lnTo>
                <a:lnTo>
                  <a:pt x="16" y="230"/>
                </a:lnTo>
                <a:lnTo>
                  <a:pt x="16" y="224"/>
                </a:lnTo>
                <a:lnTo>
                  <a:pt x="15" y="222"/>
                </a:lnTo>
                <a:lnTo>
                  <a:pt x="15" y="219"/>
                </a:lnTo>
                <a:lnTo>
                  <a:pt x="11" y="213"/>
                </a:lnTo>
                <a:lnTo>
                  <a:pt x="10" y="212"/>
                </a:lnTo>
                <a:lnTo>
                  <a:pt x="10" y="209"/>
                </a:lnTo>
                <a:lnTo>
                  <a:pt x="10" y="207"/>
                </a:lnTo>
                <a:lnTo>
                  <a:pt x="12" y="203"/>
                </a:lnTo>
                <a:lnTo>
                  <a:pt x="13" y="197"/>
                </a:lnTo>
                <a:lnTo>
                  <a:pt x="13" y="185"/>
                </a:lnTo>
                <a:lnTo>
                  <a:pt x="15" y="182"/>
                </a:lnTo>
                <a:lnTo>
                  <a:pt x="13" y="175"/>
                </a:lnTo>
                <a:lnTo>
                  <a:pt x="15" y="174"/>
                </a:lnTo>
                <a:lnTo>
                  <a:pt x="15" y="172"/>
                </a:lnTo>
                <a:lnTo>
                  <a:pt x="16" y="169"/>
                </a:lnTo>
                <a:lnTo>
                  <a:pt x="16" y="163"/>
                </a:lnTo>
                <a:lnTo>
                  <a:pt x="16" y="161"/>
                </a:lnTo>
                <a:lnTo>
                  <a:pt x="15" y="158"/>
                </a:lnTo>
                <a:lnTo>
                  <a:pt x="13" y="153"/>
                </a:lnTo>
                <a:lnTo>
                  <a:pt x="12" y="150"/>
                </a:lnTo>
                <a:lnTo>
                  <a:pt x="13" y="147"/>
                </a:lnTo>
                <a:lnTo>
                  <a:pt x="13" y="144"/>
                </a:lnTo>
                <a:lnTo>
                  <a:pt x="16" y="142"/>
                </a:lnTo>
                <a:lnTo>
                  <a:pt x="16" y="140"/>
                </a:lnTo>
                <a:lnTo>
                  <a:pt x="15" y="135"/>
                </a:lnTo>
                <a:lnTo>
                  <a:pt x="13" y="131"/>
                </a:lnTo>
                <a:lnTo>
                  <a:pt x="12" y="117"/>
                </a:lnTo>
                <a:lnTo>
                  <a:pt x="12" y="113"/>
                </a:lnTo>
                <a:lnTo>
                  <a:pt x="12" y="109"/>
                </a:lnTo>
                <a:lnTo>
                  <a:pt x="10" y="107"/>
                </a:lnTo>
                <a:lnTo>
                  <a:pt x="10" y="104"/>
                </a:lnTo>
                <a:lnTo>
                  <a:pt x="10" y="101"/>
                </a:lnTo>
                <a:lnTo>
                  <a:pt x="11" y="99"/>
                </a:lnTo>
                <a:lnTo>
                  <a:pt x="12" y="99"/>
                </a:lnTo>
                <a:lnTo>
                  <a:pt x="13" y="97"/>
                </a:lnTo>
                <a:lnTo>
                  <a:pt x="12" y="83"/>
                </a:lnTo>
                <a:lnTo>
                  <a:pt x="13" y="80"/>
                </a:lnTo>
                <a:lnTo>
                  <a:pt x="12" y="77"/>
                </a:lnTo>
                <a:lnTo>
                  <a:pt x="13" y="73"/>
                </a:lnTo>
                <a:lnTo>
                  <a:pt x="13" y="70"/>
                </a:lnTo>
                <a:lnTo>
                  <a:pt x="12" y="69"/>
                </a:lnTo>
                <a:lnTo>
                  <a:pt x="10" y="61"/>
                </a:lnTo>
                <a:lnTo>
                  <a:pt x="9" y="44"/>
                </a:lnTo>
                <a:lnTo>
                  <a:pt x="8" y="41"/>
                </a:lnTo>
                <a:lnTo>
                  <a:pt x="7" y="39"/>
                </a:lnTo>
                <a:lnTo>
                  <a:pt x="6" y="30"/>
                </a:lnTo>
                <a:lnTo>
                  <a:pt x="2" y="18"/>
                </a:lnTo>
                <a:lnTo>
                  <a:pt x="0" y="12"/>
                </a:lnTo>
                <a:lnTo>
                  <a:pt x="3" y="9"/>
                </a:lnTo>
                <a:lnTo>
                  <a:pt x="3" y="9"/>
                </a:lnTo>
                <a:lnTo>
                  <a:pt x="9" y="9"/>
                </a:lnTo>
                <a:lnTo>
                  <a:pt x="10" y="8"/>
                </a:lnTo>
                <a:lnTo>
                  <a:pt x="11" y="8"/>
                </a:lnTo>
                <a:lnTo>
                  <a:pt x="11" y="5"/>
                </a:lnTo>
                <a:lnTo>
                  <a:pt x="12" y="1"/>
                </a:lnTo>
                <a:lnTo>
                  <a:pt x="13" y="0"/>
                </a:lnTo>
                <a:lnTo>
                  <a:pt x="15" y="0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02" name="Freeform 201"/>
          <p:cNvSpPr>
            <a:spLocks/>
          </p:cNvSpPr>
          <p:nvPr/>
        </p:nvSpPr>
        <p:spPr bwMode="auto">
          <a:xfrm>
            <a:off x="2824163" y="5083141"/>
            <a:ext cx="65088" cy="69850"/>
          </a:xfrm>
          <a:custGeom>
            <a:avLst/>
            <a:gdLst>
              <a:gd name="T0" fmla="*/ 38 w 41"/>
              <a:gd name="T1" fmla="*/ 43 h 44"/>
              <a:gd name="T2" fmla="*/ 37 w 41"/>
              <a:gd name="T3" fmla="*/ 44 h 44"/>
              <a:gd name="T4" fmla="*/ 31 w 41"/>
              <a:gd name="T5" fmla="*/ 43 h 44"/>
              <a:gd name="T6" fmla="*/ 23 w 41"/>
              <a:gd name="T7" fmla="*/ 41 h 44"/>
              <a:gd name="T8" fmla="*/ 19 w 41"/>
              <a:gd name="T9" fmla="*/ 43 h 44"/>
              <a:gd name="T10" fmla="*/ 12 w 41"/>
              <a:gd name="T11" fmla="*/ 41 h 44"/>
              <a:gd name="T12" fmla="*/ 10 w 41"/>
              <a:gd name="T13" fmla="*/ 40 h 44"/>
              <a:gd name="T14" fmla="*/ 8 w 41"/>
              <a:gd name="T15" fmla="*/ 40 h 44"/>
              <a:gd name="T16" fmla="*/ 9 w 41"/>
              <a:gd name="T17" fmla="*/ 38 h 44"/>
              <a:gd name="T18" fmla="*/ 5 w 41"/>
              <a:gd name="T19" fmla="*/ 38 h 44"/>
              <a:gd name="T20" fmla="*/ 3 w 41"/>
              <a:gd name="T21" fmla="*/ 38 h 44"/>
              <a:gd name="T22" fmla="*/ 0 w 41"/>
              <a:gd name="T23" fmla="*/ 36 h 44"/>
              <a:gd name="T24" fmla="*/ 4 w 41"/>
              <a:gd name="T25" fmla="*/ 34 h 44"/>
              <a:gd name="T26" fmla="*/ 7 w 41"/>
              <a:gd name="T27" fmla="*/ 33 h 44"/>
              <a:gd name="T28" fmla="*/ 9 w 41"/>
              <a:gd name="T29" fmla="*/ 33 h 44"/>
              <a:gd name="T30" fmla="*/ 4 w 41"/>
              <a:gd name="T31" fmla="*/ 30 h 44"/>
              <a:gd name="T32" fmla="*/ 8 w 41"/>
              <a:gd name="T33" fmla="*/ 31 h 44"/>
              <a:gd name="T34" fmla="*/ 16 w 41"/>
              <a:gd name="T35" fmla="*/ 35 h 44"/>
              <a:gd name="T36" fmla="*/ 18 w 41"/>
              <a:gd name="T37" fmla="*/ 34 h 44"/>
              <a:gd name="T38" fmla="*/ 15 w 41"/>
              <a:gd name="T39" fmla="*/ 33 h 44"/>
              <a:gd name="T40" fmla="*/ 20 w 41"/>
              <a:gd name="T41" fmla="*/ 34 h 44"/>
              <a:gd name="T42" fmla="*/ 22 w 41"/>
              <a:gd name="T43" fmla="*/ 31 h 44"/>
              <a:gd name="T44" fmla="*/ 25 w 41"/>
              <a:gd name="T45" fmla="*/ 33 h 44"/>
              <a:gd name="T46" fmla="*/ 26 w 41"/>
              <a:gd name="T47" fmla="*/ 31 h 44"/>
              <a:gd name="T48" fmla="*/ 15 w 41"/>
              <a:gd name="T49" fmla="*/ 28 h 44"/>
              <a:gd name="T50" fmla="*/ 12 w 41"/>
              <a:gd name="T51" fmla="*/ 21 h 44"/>
              <a:gd name="T52" fmla="*/ 15 w 41"/>
              <a:gd name="T53" fmla="*/ 20 h 44"/>
              <a:gd name="T54" fmla="*/ 20 w 41"/>
              <a:gd name="T55" fmla="*/ 17 h 44"/>
              <a:gd name="T56" fmla="*/ 16 w 41"/>
              <a:gd name="T57" fmla="*/ 15 h 44"/>
              <a:gd name="T58" fmla="*/ 9 w 41"/>
              <a:gd name="T59" fmla="*/ 17 h 44"/>
              <a:gd name="T60" fmla="*/ 3 w 41"/>
              <a:gd name="T61" fmla="*/ 14 h 44"/>
              <a:gd name="T62" fmla="*/ 2 w 41"/>
              <a:gd name="T63" fmla="*/ 9 h 44"/>
              <a:gd name="T64" fmla="*/ 4 w 41"/>
              <a:gd name="T65" fmla="*/ 10 h 44"/>
              <a:gd name="T66" fmla="*/ 6 w 41"/>
              <a:gd name="T67" fmla="*/ 8 h 44"/>
              <a:gd name="T68" fmla="*/ 3 w 41"/>
              <a:gd name="T69" fmla="*/ 6 h 44"/>
              <a:gd name="T70" fmla="*/ 4 w 41"/>
              <a:gd name="T71" fmla="*/ 5 h 44"/>
              <a:gd name="T72" fmla="*/ 7 w 41"/>
              <a:gd name="T73" fmla="*/ 6 h 44"/>
              <a:gd name="T74" fmla="*/ 9 w 41"/>
              <a:gd name="T75" fmla="*/ 2 h 44"/>
              <a:gd name="T76" fmla="*/ 15 w 41"/>
              <a:gd name="T77" fmla="*/ 3 h 44"/>
              <a:gd name="T78" fmla="*/ 19 w 41"/>
              <a:gd name="T79" fmla="*/ 3 h 44"/>
              <a:gd name="T80" fmla="*/ 24 w 41"/>
              <a:gd name="T81" fmla="*/ 4 h 44"/>
              <a:gd name="T82" fmla="*/ 40 w 41"/>
              <a:gd name="T83" fmla="*/ 40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41" h="44">
                <a:moveTo>
                  <a:pt x="41" y="43"/>
                </a:moveTo>
                <a:lnTo>
                  <a:pt x="38" y="43"/>
                </a:lnTo>
                <a:lnTo>
                  <a:pt x="39" y="44"/>
                </a:lnTo>
                <a:lnTo>
                  <a:pt x="37" y="44"/>
                </a:lnTo>
                <a:lnTo>
                  <a:pt x="36" y="44"/>
                </a:lnTo>
                <a:lnTo>
                  <a:pt x="31" y="43"/>
                </a:lnTo>
                <a:lnTo>
                  <a:pt x="28" y="41"/>
                </a:lnTo>
                <a:lnTo>
                  <a:pt x="23" y="41"/>
                </a:lnTo>
                <a:lnTo>
                  <a:pt x="23" y="43"/>
                </a:lnTo>
                <a:lnTo>
                  <a:pt x="19" y="43"/>
                </a:lnTo>
                <a:lnTo>
                  <a:pt x="14" y="40"/>
                </a:lnTo>
                <a:lnTo>
                  <a:pt x="12" y="41"/>
                </a:lnTo>
                <a:lnTo>
                  <a:pt x="9" y="40"/>
                </a:lnTo>
                <a:lnTo>
                  <a:pt x="10" y="40"/>
                </a:lnTo>
                <a:lnTo>
                  <a:pt x="10" y="40"/>
                </a:lnTo>
                <a:lnTo>
                  <a:pt x="8" y="40"/>
                </a:lnTo>
                <a:lnTo>
                  <a:pt x="8" y="39"/>
                </a:lnTo>
                <a:lnTo>
                  <a:pt x="9" y="38"/>
                </a:lnTo>
                <a:lnTo>
                  <a:pt x="6" y="38"/>
                </a:lnTo>
                <a:lnTo>
                  <a:pt x="5" y="38"/>
                </a:lnTo>
                <a:lnTo>
                  <a:pt x="3" y="38"/>
                </a:lnTo>
                <a:lnTo>
                  <a:pt x="3" y="38"/>
                </a:lnTo>
                <a:lnTo>
                  <a:pt x="3" y="37"/>
                </a:lnTo>
                <a:lnTo>
                  <a:pt x="0" y="36"/>
                </a:lnTo>
                <a:lnTo>
                  <a:pt x="5" y="35"/>
                </a:lnTo>
                <a:lnTo>
                  <a:pt x="4" y="34"/>
                </a:lnTo>
                <a:lnTo>
                  <a:pt x="6" y="34"/>
                </a:lnTo>
                <a:lnTo>
                  <a:pt x="7" y="33"/>
                </a:lnTo>
                <a:lnTo>
                  <a:pt x="8" y="34"/>
                </a:lnTo>
                <a:lnTo>
                  <a:pt x="9" y="33"/>
                </a:lnTo>
                <a:lnTo>
                  <a:pt x="7" y="31"/>
                </a:lnTo>
                <a:lnTo>
                  <a:pt x="4" y="30"/>
                </a:lnTo>
                <a:lnTo>
                  <a:pt x="4" y="28"/>
                </a:lnTo>
                <a:lnTo>
                  <a:pt x="8" y="31"/>
                </a:lnTo>
                <a:lnTo>
                  <a:pt x="14" y="34"/>
                </a:lnTo>
                <a:lnTo>
                  <a:pt x="16" y="35"/>
                </a:lnTo>
                <a:lnTo>
                  <a:pt x="17" y="34"/>
                </a:lnTo>
                <a:lnTo>
                  <a:pt x="18" y="34"/>
                </a:lnTo>
                <a:lnTo>
                  <a:pt x="16" y="33"/>
                </a:lnTo>
                <a:lnTo>
                  <a:pt x="15" y="33"/>
                </a:lnTo>
                <a:lnTo>
                  <a:pt x="16" y="31"/>
                </a:lnTo>
                <a:lnTo>
                  <a:pt x="20" y="34"/>
                </a:lnTo>
                <a:lnTo>
                  <a:pt x="19" y="31"/>
                </a:lnTo>
                <a:lnTo>
                  <a:pt x="22" y="31"/>
                </a:lnTo>
                <a:lnTo>
                  <a:pt x="25" y="34"/>
                </a:lnTo>
                <a:lnTo>
                  <a:pt x="25" y="33"/>
                </a:lnTo>
                <a:lnTo>
                  <a:pt x="27" y="33"/>
                </a:lnTo>
                <a:lnTo>
                  <a:pt x="26" y="31"/>
                </a:lnTo>
                <a:lnTo>
                  <a:pt x="16" y="29"/>
                </a:lnTo>
                <a:lnTo>
                  <a:pt x="15" y="28"/>
                </a:lnTo>
                <a:lnTo>
                  <a:pt x="12" y="23"/>
                </a:lnTo>
                <a:lnTo>
                  <a:pt x="12" y="21"/>
                </a:lnTo>
                <a:lnTo>
                  <a:pt x="14" y="21"/>
                </a:lnTo>
                <a:lnTo>
                  <a:pt x="15" y="20"/>
                </a:lnTo>
                <a:lnTo>
                  <a:pt x="20" y="19"/>
                </a:lnTo>
                <a:lnTo>
                  <a:pt x="20" y="17"/>
                </a:lnTo>
                <a:lnTo>
                  <a:pt x="18" y="16"/>
                </a:lnTo>
                <a:lnTo>
                  <a:pt x="16" y="15"/>
                </a:lnTo>
                <a:lnTo>
                  <a:pt x="14" y="16"/>
                </a:lnTo>
                <a:lnTo>
                  <a:pt x="9" y="17"/>
                </a:lnTo>
                <a:lnTo>
                  <a:pt x="5" y="16"/>
                </a:lnTo>
                <a:lnTo>
                  <a:pt x="3" y="14"/>
                </a:lnTo>
                <a:lnTo>
                  <a:pt x="3" y="12"/>
                </a:lnTo>
                <a:lnTo>
                  <a:pt x="2" y="9"/>
                </a:lnTo>
                <a:lnTo>
                  <a:pt x="3" y="9"/>
                </a:lnTo>
                <a:lnTo>
                  <a:pt x="4" y="10"/>
                </a:lnTo>
                <a:lnTo>
                  <a:pt x="6" y="10"/>
                </a:lnTo>
                <a:lnTo>
                  <a:pt x="6" y="8"/>
                </a:lnTo>
                <a:lnTo>
                  <a:pt x="4" y="7"/>
                </a:lnTo>
                <a:lnTo>
                  <a:pt x="3" y="6"/>
                </a:lnTo>
                <a:lnTo>
                  <a:pt x="0" y="5"/>
                </a:lnTo>
                <a:lnTo>
                  <a:pt x="4" y="5"/>
                </a:lnTo>
                <a:lnTo>
                  <a:pt x="6" y="6"/>
                </a:lnTo>
                <a:lnTo>
                  <a:pt x="7" y="6"/>
                </a:lnTo>
                <a:lnTo>
                  <a:pt x="9" y="5"/>
                </a:lnTo>
                <a:lnTo>
                  <a:pt x="9" y="2"/>
                </a:lnTo>
                <a:lnTo>
                  <a:pt x="12" y="0"/>
                </a:lnTo>
                <a:lnTo>
                  <a:pt x="15" y="3"/>
                </a:lnTo>
                <a:lnTo>
                  <a:pt x="17" y="4"/>
                </a:lnTo>
                <a:lnTo>
                  <a:pt x="19" y="3"/>
                </a:lnTo>
                <a:lnTo>
                  <a:pt x="22" y="2"/>
                </a:lnTo>
                <a:lnTo>
                  <a:pt x="24" y="4"/>
                </a:lnTo>
                <a:lnTo>
                  <a:pt x="39" y="39"/>
                </a:lnTo>
                <a:lnTo>
                  <a:pt x="40" y="40"/>
                </a:lnTo>
                <a:lnTo>
                  <a:pt x="41" y="4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03" name="Freeform 202"/>
          <p:cNvSpPr>
            <a:spLocks/>
          </p:cNvSpPr>
          <p:nvPr/>
        </p:nvSpPr>
        <p:spPr bwMode="auto">
          <a:xfrm>
            <a:off x="2824163" y="5083141"/>
            <a:ext cx="65088" cy="69850"/>
          </a:xfrm>
          <a:custGeom>
            <a:avLst/>
            <a:gdLst>
              <a:gd name="T0" fmla="*/ 38 w 41"/>
              <a:gd name="T1" fmla="*/ 43 h 44"/>
              <a:gd name="T2" fmla="*/ 37 w 41"/>
              <a:gd name="T3" fmla="*/ 44 h 44"/>
              <a:gd name="T4" fmla="*/ 31 w 41"/>
              <a:gd name="T5" fmla="*/ 43 h 44"/>
              <a:gd name="T6" fmla="*/ 23 w 41"/>
              <a:gd name="T7" fmla="*/ 41 h 44"/>
              <a:gd name="T8" fmla="*/ 19 w 41"/>
              <a:gd name="T9" fmla="*/ 43 h 44"/>
              <a:gd name="T10" fmla="*/ 12 w 41"/>
              <a:gd name="T11" fmla="*/ 41 h 44"/>
              <a:gd name="T12" fmla="*/ 10 w 41"/>
              <a:gd name="T13" fmla="*/ 40 h 44"/>
              <a:gd name="T14" fmla="*/ 8 w 41"/>
              <a:gd name="T15" fmla="*/ 40 h 44"/>
              <a:gd name="T16" fmla="*/ 9 w 41"/>
              <a:gd name="T17" fmla="*/ 38 h 44"/>
              <a:gd name="T18" fmla="*/ 5 w 41"/>
              <a:gd name="T19" fmla="*/ 38 h 44"/>
              <a:gd name="T20" fmla="*/ 3 w 41"/>
              <a:gd name="T21" fmla="*/ 38 h 44"/>
              <a:gd name="T22" fmla="*/ 0 w 41"/>
              <a:gd name="T23" fmla="*/ 36 h 44"/>
              <a:gd name="T24" fmla="*/ 4 w 41"/>
              <a:gd name="T25" fmla="*/ 34 h 44"/>
              <a:gd name="T26" fmla="*/ 7 w 41"/>
              <a:gd name="T27" fmla="*/ 33 h 44"/>
              <a:gd name="T28" fmla="*/ 9 w 41"/>
              <a:gd name="T29" fmla="*/ 33 h 44"/>
              <a:gd name="T30" fmla="*/ 4 w 41"/>
              <a:gd name="T31" fmla="*/ 30 h 44"/>
              <a:gd name="T32" fmla="*/ 8 w 41"/>
              <a:gd name="T33" fmla="*/ 31 h 44"/>
              <a:gd name="T34" fmla="*/ 16 w 41"/>
              <a:gd name="T35" fmla="*/ 35 h 44"/>
              <a:gd name="T36" fmla="*/ 18 w 41"/>
              <a:gd name="T37" fmla="*/ 34 h 44"/>
              <a:gd name="T38" fmla="*/ 15 w 41"/>
              <a:gd name="T39" fmla="*/ 33 h 44"/>
              <a:gd name="T40" fmla="*/ 20 w 41"/>
              <a:gd name="T41" fmla="*/ 34 h 44"/>
              <a:gd name="T42" fmla="*/ 22 w 41"/>
              <a:gd name="T43" fmla="*/ 31 h 44"/>
              <a:gd name="T44" fmla="*/ 25 w 41"/>
              <a:gd name="T45" fmla="*/ 33 h 44"/>
              <a:gd name="T46" fmla="*/ 26 w 41"/>
              <a:gd name="T47" fmla="*/ 31 h 44"/>
              <a:gd name="T48" fmla="*/ 15 w 41"/>
              <a:gd name="T49" fmla="*/ 28 h 44"/>
              <a:gd name="T50" fmla="*/ 12 w 41"/>
              <a:gd name="T51" fmla="*/ 21 h 44"/>
              <a:gd name="T52" fmla="*/ 15 w 41"/>
              <a:gd name="T53" fmla="*/ 20 h 44"/>
              <a:gd name="T54" fmla="*/ 20 w 41"/>
              <a:gd name="T55" fmla="*/ 17 h 44"/>
              <a:gd name="T56" fmla="*/ 16 w 41"/>
              <a:gd name="T57" fmla="*/ 15 h 44"/>
              <a:gd name="T58" fmla="*/ 9 w 41"/>
              <a:gd name="T59" fmla="*/ 17 h 44"/>
              <a:gd name="T60" fmla="*/ 3 w 41"/>
              <a:gd name="T61" fmla="*/ 14 h 44"/>
              <a:gd name="T62" fmla="*/ 2 w 41"/>
              <a:gd name="T63" fmla="*/ 9 h 44"/>
              <a:gd name="T64" fmla="*/ 4 w 41"/>
              <a:gd name="T65" fmla="*/ 10 h 44"/>
              <a:gd name="T66" fmla="*/ 6 w 41"/>
              <a:gd name="T67" fmla="*/ 8 h 44"/>
              <a:gd name="T68" fmla="*/ 3 w 41"/>
              <a:gd name="T69" fmla="*/ 6 h 44"/>
              <a:gd name="T70" fmla="*/ 4 w 41"/>
              <a:gd name="T71" fmla="*/ 5 h 44"/>
              <a:gd name="T72" fmla="*/ 7 w 41"/>
              <a:gd name="T73" fmla="*/ 6 h 44"/>
              <a:gd name="T74" fmla="*/ 9 w 41"/>
              <a:gd name="T75" fmla="*/ 2 h 44"/>
              <a:gd name="T76" fmla="*/ 15 w 41"/>
              <a:gd name="T77" fmla="*/ 3 h 44"/>
              <a:gd name="T78" fmla="*/ 19 w 41"/>
              <a:gd name="T79" fmla="*/ 3 h 44"/>
              <a:gd name="T80" fmla="*/ 24 w 41"/>
              <a:gd name="T81" fmla="*/ 4 h 44"/>
              <a:gd name="T82" fmla="*/ 40 w 41"/>
              <a:gd name="T83" fmla="*/ 40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41" h="44">
                <a:moveTo>
                  <a:pt x="41" y="43"/>
                </a:moveTo>
                <a:lnTo>
                  <a:pt x="38" y="43"/>
                </a:lnTo>
                <a:lnTo>
                  <a:pt x="39" y="44"/>
                </a:lnTo>
                <a:lnTo>
                  <a:pt x="37" y="44"/>
                </a:lnTo>
                <a:lnTo>
                  <a:pt x="36" y="44"/>
                </a:lnTo>
                <a:lnTo>
                  <a:pt x="31" y="43"/>
                </a:lnTo>
                <a:lnTo>
                  <a:pt x="28" y="41"/>
                </a:lnTo>
                <a:lnTo>
                  <a:pt x="23" y="41"/>
                </a:lnTo>
                <a:lnTo>
                  <a:pt x="23" y="43"/>
                </a:lnTo>
                <a:lnTo>
                  <a:pt x="19" y="43"/>
                </a:lnTo>
                <a:lnTo>
                  <a:pt x="14" y="40"/>
                </a:lnTo>
                <a:lnTo>
                  <a:pt x="12" y="41"/>
                </a:lnTo>
                <a:lnTo>
                  <a:pt x="9" y="40"/>
                </a:lnTo>
                <a:lnTo>
                  <a:pt x="10" y="40"/>
                </a:lnTo>
                <a:lnTo>
                  <a:pt x="10" y="40"/>
                </a:lnTo>
                <a:lnTo>
                  <a:pt x="8" y="40"/>
                </a:lnTo>
                <a:lnTo>
                  <a:pt x="8" y="39"/>
                </a:lnTo>
                <a:lnTo>
                  <a:pt x="9" y="38"/>
                </a:lnTo>
                <a:lnTo>
                  <a:pt x="6" y="38"/>
                </a:lnTo>
                <a:lnTo>
                  <a:pt x="5" y="38"/>
                </a:lnTo>
                <a:lnTo>
                  <a:pt x="3" y="38"/>
                </a:lnTo>
                <a:lnTo>
                  <a:pt x="3" y="38"/>
                </a:lnTo>
                <a:lnTo>
                  <a:pt x="3" y="37"/>
                </a:lnTo>
                <a:lnTo>
                  <a:pt x="0" y="36"/>
                </a:lnTo>
                <a:lnTo>
                  <a:pt x="5" y="35"/>
                </a:lnTo>
                <a:lnTo>
                  <a:pt x="4" y="34"/>
                </a:lnTo>
                <a:lnTo>
                  <a:pt x="6" y="34"/>
                </a:lnTo>
                <a:lnTo>
                  <a:pt x="7" y="33"/>
                </a:lnTo>
                <a:lnTo>
                  <a:pt x="8" y="34"/>
                </a:lnTo>
                <a:lnTo>
                  <a:pt x="9" y="33"/>
                </a:lnTo>
                <a:lnTo>
                  <a:pt x="7" y="31"/>
                </a:lnTo>
                <a:lnTo>
                  <a:pt x="4" y="30"/>
                </a:lnTo>
                <a:lnTo>
                  <a:pt x="4" y="28"/>
                </a:lnTo>
                <a:lnTo>
                  <a:pt x="8" y="31"/>
                </a:lnTo>
                <a:lnTo>
                  <a:pt x="14" y="34"/>
                </a:lnTo>
                <a:lnTo>
                  <a:pt x="16" y="35"/>
                </a:lnTo>
                <a:lnTo>
                  <a:pt x="17" y="34"/>
                </a:lnTo>
                <a:lnTo>
                  <a:pt x="18" y="34"/>
                </a:lnTo>
                <a:lnTo>
                  <a:pt x="16" y="33"/>
                </a:lnTo>
                <a:lnTo>
                  <a:pt x="15" y="33"/>
                </a:lnTo>
                <a:lnTo>
                  <a:pt x="16" y="31"/>
                </a:lnTo>
                <a:lnTo>
                  <a:pt x="20" y="34"/>
                </a:lnTo>
                <a:lnTo>
                  <a:pt x="19" y="31"/>
                </a:lnTo>
                <a:lnTo>
                  <a:pt x="22" y="31"/>
                </a:lnTo>
                <a:lnTo>
                  <a:pt x="25" y="34"/>
                </a:lnTo>
                <a:lnTo>
                  <a:pt x="25" y="33"/>
                </a:lnTo>
                <a:lnTo>
                  <a:pt x="27" y="33"/>
                </a:lnTo>
                <a:lnTo>
                  <a:pt x="26" y="31"/>
                </a:lnTo>
                <a:lnTo>
                  <a:pt x="16" y="29"/>
                </a:lnTo>
                <a:lnTo>
                  <a:pt x="15" y="28"/>
                </a:lnTo>
                <a:lnTo>
                  <a:pt x="12" y="23"/>
                </a:lnTo>
                <a:lnTo>
                  <a:pt x="12" y="21"/>
                </a:lnTo>
                <a:lnTo>
                  <a:pt x="14" y="21"/>
                </a:lnTo>
                <a:lnTo>
                  <a:pt x="15" y="20"/>
                </a:lnTo>
                <a:lnTo>
                  <a:pt x="20" y="19"/>
                </a:lnTo>
                <a:lnTo>
                  <a:pt x="20" y="17"/>
                </a:lnTo>
                <a:lnTo>
                  <a:pt x="18" y="16"/>
                </a:lnTo>
                <a:lnTo>
                  <a:pt x="16" y="15"/>
                </a:lnTo>
                <a:lnTo>
                  <a:pt x="14" y="16"/>
                </a:lnTo>
                <a:lnTo>
                  <a:pt x="9" y="17"/>
                </a:lnTo>
                <a:lnTo>
                  <a:pt x="5" y="16"/>
                </a:lnTo>
                <a:lnTo>
                  <a:pt x="3" y="14"/>
                </a:lnTo>
                <a:lnTo>
                  <a:pt x="3" y="12"/>
                </a:lnTo>
                <a:lnTo>
                  <a:pt x="2" y="9"/>
                </a:lnTo>
                <a:lnTo>
                  <a:pt x="3" y="9"/>
                </a:lnTo>
                <a:lnTo>
                  <a:pt x="4" y="10"/>
                </a:lnTo>
                <a:lnTo>
                  <a:pt x="6" y="10"/>
                </a:lnTo>
                <a:lnTo>
                  <a:pt x="6" y="8"/>
                </a:lnTo>
                <a:lnTo>
                  <a:pt x="4" y="7"/>
                </a:lnTo>
                <a:lnTo>
                  <a:pt x="3" y="6"/>
                </a:lnTo>
                <a:lnTo>
                  <a:pt x="0" y="5"/>
                </a:lnTo>
                <a:lnTo>
                  <a:pt x="4" y="5"/>
                </a:lnTo>
                <a:lnTo>
                  <a:pt x="6" y="6"/>
                </a:lnTo>
                <a:lnTo>
                  <a:pt x="7" y="6"/>
                </a:lnTo>
                <a:lnTo>
                  <a:pt x="9" y="5"/>
                </a:lnTo>
                <a:lnTo>
                  <a:pt x="9" y="2"/>
                </a:lnTo>
                <a:lnTo>
                  <a:pt x="12" y="0"/>
                </a:lnTo>
                <a:lnTo>
                  <a:pt x="15" y="3"/>
                </a:lnTo>
                <a:lnTo>
                  <a:pt x="17" y="4"/>
                </a:lnTo>
                <a:lnTo>
                  <a:pt x="19" y="3"/>
                </a:lnTo>
                <a:lnTo>
                  <a:pt x="22" y="2"/>
                </a:lnTo>
                <a:lnTo>
                  <a:pt x="24" y="4"/>
                </a:lnTo>
                <a:lnTo>
                  <a:pt x="39" y="39"/>
                </a:lnTo>
                <a:lnTo>
                  <a:pt x="40" y="40"/>
                </a:lnTo>
                <a:lnTo>
                  <a:pt x="41" y="4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04" name="Freeform 203"/>
          <p:cNvSpPr>
            <a:spLocks/>
          </p:cNvSpPr>
          <p:nvPr/>
        </p:nvSpPr>
        <p:spPr bwMode="auto">
          <a:xfrm>
            <a:off x="4729163" y="1614453"/>
            <a:ext cx="241300" cy="258763"/>
          </a:xfrm>
          <a:custGeom>
            <a:avLst/>
            <a:gdLst>
              <a:gd name="T0" fmla="*/ 11 w 152"/>
              <a:gd name="T1" fmla="*/ 20 h 163"/>
              <a:gd name="T2" fmla="*/ 39 w 152"/>
              <a:gd name="T3" fmla="*/ 32 h 163"/>
              <a:gd name="T4" fmla="*/ 39 w 152"/>
              <a:gd name="T5" fmla="*/ 39 h 163"/>
              <a:gd name="T6" fmla="*/ 41 w 152"/>
              <a:gd name="T7" fmla="*/ 44 h 163"/>
              <a:gd name="T8" fmla="*/ 48 w 152"/>
              <a:gd name="T9" fmla="*/ 54 h 163"/>
              <a:gd name="T10" fmla="*/ 51 w 152"/>
              <a:gd name="T11" fmla="*/ 64 h 163"/>
              <a:gd name="T12" fmla="*/ 55 w 152"/>
              <a:gd name="T13" fmla="*/ 67 h 163"/>
              <a:gd name="T14" fmla="*/ 62 w 152"/>
              <a:gd name="T15" fmla="*/ 69 h 163"/>
              <a:gd name="T16" fmla="*/ 71 w 152"/>
              <a:gd name="T17" fmla="*/ 80 h 163"/>
              <a:gd name="T18" fmla="*/ 68 w 152"/>
              <a:gd name="T19" fmla="*/ 81 h 163"/>
              <a:gd name="T20" fmla="*/ 58 w 152"/>
              <a:gd name="T21" fmla="*/ 88 h 163"/>
              <a:gd name="T22" fmla="*/ 42 w 152"/>
              <a:gd name="T23" fmla="*/ 103 h 163"/>
              <a:gd name="T24" fmla="*/ 37 w 152"/>
              <a:gd name="T25" fmla="*/ 108 h 163"/>
              <a:gd name="T26" fmla="*/ 31 w 152"/>
              <a:gd name="T27" fmla="*/ 110 h 163"/>
              <a:gd name="T28" fmla="*/ 25 w 152"/>
              <a:gd name="T29" fmla="*/ 112 h 163"/>
              <a:gd name="T30" fmla="*/ 22 w 152"/>
              <a:gd name="T31" fmla="*/ 117 h 163"/>
              <a:gd name="T32" fmla="*/ 27 w 152"/>
              <a:gd name="T33" fmla="*/ 123 h 163"/>
              <a:gd name="T34" fmla="*/ 30 w 152"/>
              <a:gd name="T35" fmla="*/ 131 h 163"/>
              <a:gd name="T36" fmla="*/ 33 w 152"/>
              <a:gd name="T37" fmla="*/ 135 h 163"/>
              <a:gd name="T38" fmla="*/ 31 w 152"/>
              <a:gd name="T39" fmla="*/ 137 h 163"/>
              <a:gd name="T40" fmla="*/ 31 w 152"/>
              <a:gd name="T41" fmla="*/ 142 h 163"/>
              <a:gd name="T42" fmla="*/ 31 w 152"/>
              <a:gd name="T43" fmla="*/ 145 h 163"/>
              <a:gd name="T44" fmla="*/ 32 w 152"/>
              <a:gd name="T45" fmla="*/ 149 h 163"/>
              <a:gd name="T46" fmla="*/ 38 w 152"/>
              <a:gd name="T47" fmla="*/ 151 h 163"/>
              <a:gd name="T48" fmla="*/ 46 w 152"/>
              <a:gd name="T49" fmla="*/ 154 h 163"/>
              <a:gd name="T50" fmla="*/ 52 w 152"/>
              <a:gd name="T51" fmla="*/ 155 h 163"/>
              <a:gd name="T52" fmla="*/ 56 w 152"/>
              <a:gd name="T53" fmla="*/ 161 h 163"/>
              <a:gd name="T54" fmla="*/ 56 w 152"/>
              <a:gd name="T55" fmla="*/ 162 h 163"/>
              <a:gd name="T56" fmla="*/ 61 w 152"/>
              <a:gd name="T57" fmla="*/ 161 h 163"/>
              <a:gd name="T58" fmla="*/ 71 w 152"/>
              <a:gd name="T59" fmla="*/ 160 h 163"/>
              <a:gd name="T60" fmla="*/ 76 w 152"/>
              <a:gd name="T61" fmla="*/ 157 h 163"/>
              <a:gd name="T62" fmla="*/ 85 w 152"/>
              <a:gd name="T63" fmla="*/ 153 h 163"/>
              <a:gd name="T64" fmla="*/ 91 w 152"/>
              <a:gd name="T65" fmla="*/ 153 h 163"/>
              <a:gd name="T66" fmla="*/ 100 w 152"/>
              <a:gd name="T67" fmla="*/ 152 h 163"/>
              <a:gd name="T68" fmla="*/ 111 w 152"/>
              <a:gd name="T69" fmla="*/ 152 h 163"/>
              <a:gd name="T70" fmla="*/ 120 w 152"/>
              <a:gd name="T71" fmla="*/ 147 h 163"/>
              <a:gd name="T72" fmla="*/ 150 w 152"/>
              <a:gd name="T73" fmla="*/ 121 h 163"/>
              <a:gd name="T74" fmla="*/ 147 w 152"/>
              <a:gd name="T75" fmla="*/ 109 h 163"/>
              <a:gd name="T76" fmla="*/ 134 w 152"/>
              <a:gd name="T77" fmla="*/ 100 h 163"/>
              <a:gd name="T78" fmla="*/ 136 w 152"/>
              <a:gd name="T79" fmla="*/ 91 h 163"/>
              <a:gd name="T80" fmla="*/ 127 w 152"/>
              <a:gd name="T81" fmla="*/ 82 h 163"/>
              <a:gd name="T82" fmla="*/ 123 w 152"/>
              <a:gd name="T83" fmla="*/ 75 h 163"/>
              <a:gd name="T84" fmla="*/ 125 w 152"/>
              <a:gd name="T85" fmla="*/ 68 h 163"/>
              <a:gd name="T86" fmla="*/ 116 w 152"/>
              <a:gd name="T87" fmla="*/ 57 h 163"/>
              <a:gd name="T88" fmla="*/ 110 w 152"/>
              <a:gd name="T89" fmla="*/ 49 h 163"/>
              <a:gd name="T90" fmla="*/ 115 w 152"/>
              <a:gd name="T91" fmla="*/ 36 h 163"/>
              <a:gd name="T92" fmla="*/ 101 w 152"/>
              <a:gd name="T93" fmla="*/ 29 h 163"/>
              <a:gd name="T94" fmla="*/ 94 w 152"/>
              <a:gd name="T95" fmla="*/ 23 h 163"/>
              <a:gd name="T96" fmla="*/ 94 w 152"/>
              <a:gd name="T97" fmla="*/ 18 h 163"/>
              <a:gd name="T98" fmla="*/ 98 w 152"/>
              <a:gd name="T99" fmla="*/ 12 h 163"/>
              <a:gd name="T100" fmla="*/ 93 w 152"/>
              <a:gd name="T101" fmla="*/ 3 h 163"/>
              <a:gd name="T102" fmla="*/ 83 w 152"/>
              <a:gd name="T103" fmla="*/ 0 h 163"/>
              <a:gd name="T104" fmla="*/ 63 w 152"/>
              <a:gd name="T105" fmla="*/ 3 h 163"/>
              <a:gd name="T106" fmla="*/ 60 w 152"/>
              <a:gd name="T107" fmla="*/ 12 h 163"/>
              <a:gd name="T108" fmla="*/ 54 w 152"/>
              <a:gd name="T109" fmla="*/ 20 h 163"/>
              <a:gd name="T110" fmla="*/ 45 w 152"/>
              <a:gd name="T111" fmla="*/ 20 h 163"/>
              <a:gd name="T112" fmla="*/ 34 w 152"/>
              <a:gd name="T113" fmla="*/ 21 h 163"/>
              <a:gd name="T114" fmla="*/ 22 w 152"/>
              <a:gd name="T115" fmla="*/ 19 h 163"/>
              <a:gd name="T116" fmla="*/ 8 w 152"/>
              <a:gd name="T117" fmla="*/ 11 h 163"/>
              <a:gd name="T118" fmla="*/ 4 w 152"/>
              <a:gd name="T119" fmla="*/ 14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52" h="163">
                <a:moveTo>
                  <a:pt x="0" y="16"/>
                </a:moveTo>
                <a:lnTo>
                  <a:pt x="1" y="16"/>
                </a:lnTo>
                <a:lnTo>
                  <a:pt x="1" y="16"/>
                </a:lnTo>
                <a:lnTo>
                  <a:pt x="11" y="20"/>
                </a:lnTo>
                <a:lnTo>
                  <a:pt x="18" y="23"/>
                </a:lnTo>
                <a:lnTo>
                  <a:pt x="25" y="24"/>
                </a:lnTo>
                <a:lnTo>
                  <a:pt x="30" y="27"/>
                </a:lnTo>
                <a:lnTo>
                  <a:pt x="39" y="32"/>
                </a:lnTo>
                <a:lnTo>
                  <a:pt x="39" y="33"/>
                </a:lnTo>
                <a:lnTo>
                  <a:pt x="39" y="34"/>
                </a:lnTo>
                <a:lnTo>
                  <a:pt x="38" y="37"/>
                </a:lnTo>
                <a:lnTo>
                  <a:pt x="39" y="39"/>
                </a:lnTo>
                <a:lnTo>
                  <a:pt x="40" y="40"/>
                </a:lnTo>
                <a:lnTo>
                  <a:pt x="41" y="41"/>
                </a:lnTo>
                <a:lnTo>
                  <a:pt x="41" y="42"/>
                </a:lnTo>
                <a:lnTo>
                  <a:pt x="41" y="44"/>
                </a:lnTo>
                <a:lnTo>
                  <a:pt x="41" y="47"/>
                </a:lnTo>
                <a:lnTo>
                  <a:pt x="46" y="51"/>
                </a:lnTo>
                <a:lnTo>
                  <a:pt x="48" y="53"/>
                </a:lnTo>
                <a:lnTo>
                  <a:pt x="48" y="54"/>
                </a:lnTo>
                <a:lnTo>
                  <a:pt x="45" y="56"/>
                </a:lnTo>
                <a:lnTo>
                  <a:pt x="45" y="58"/>
                </a:lnTo>
                <a:lnTo>
                  <a:pt x="46" y="60"/>
                </a:lnTo>
                <a:lnTo>
                  <a:pt x="51" y="64"/>
                </a:lnTo>
                <a:lnTo>
                  <a:pt x="52" y="65"/>
                </a:lnTo>
                <a:lnTo>
                  <a:pt x="53" y="65"/>
                </a:lnTo>
                <a:lnTo>
                  <a:pt x="54" y="65"/>
                </a:lnTo>
                <a:lnTo>
                  <a:pt x="55" y="67"/>
                </a:lnTo>
                <a:lnTo>
                  <a:pt x="56" y="65"/>
                </a:lnTo>
                <a:lnTo>
                  <a:pt x="58" y="65"/>
                </a:lnTo>
                <a:lnTo>
                  <a:pt x="59" y="68"/>
                </a:lnTo>
                <a:lnTo>
                  <a:pt x="62" y="69"/>
                </a:lnTo>
                <a:lnTo>
                  <a:pt x="66" y="72"/>
                </a:lnTo>
                <a:lnTo>
                  <a:pt x="69" y="73"/>
                </a:lnTo>
                <a:lnTo>
                  <a:pt x="69" y="77"/>
                </a:lnTo>
                <a:lnTo>
                  <a:pt x="71" y="80"/>
                </a:lnTo>
                <a:lnTo>
                  <a:pt x="70" y="79"/>
                </a:lnTo>
                <a:lnTo>
                  <a:pt x="69" y="80"/>
                </a:lnTo>
                <a:lnTo>
                  <a:pt x="70" y="81"/>
                </a:lnTo>
                <a:lnTo>
                  <a:pt x="68" y="81"/>
                </a:lnTo>
                <a:lnTo>
                  <a:pt x="65" y="81"/>
                </a:lnTo>
                <a:lnTo>
                  <a:pt x="61" y="82"/>
                </a:lnTo>
                <a:lnTo>
                  <a:pt x="60" y="87"/>
                </a:lnTo>
                <a:lnTo>
                  <a:pt x="58" y="88"/>
                </a:lnTo>
                <a:lnTo>
                  <a:pt x="54" y="91"/>
                </a:lnTo>
                <a:lnTo>
                  <a:pt x="49" y="94"/>
                </a:lnTo>
                <a:lnTo>
                  <a:pt x="46" y="98"/>
                </a:lnTo>
                <a:lnTo>
                  <a:pt x="42" y="103"/>
                </a:lnTo>
                <a:lnTo>
                  <a:pt x="40" y="104"/>
                </a:lnTo>
                <a:lnTo>
                  <a:pt x="39" y="105"/>
                </a:lnTo>
                <a:lnTo>
                  <a:pt x="38" y="105"/>
                </a:lnTo>
                <a:lnTo>
                  <a:pt x="37" y="108"/>
                </a:lnTo>
                <a:lnTo>
                  <a:pt x="32" y="108"/>
                </a:lnTo>
                <a:lnTo>
                  <a:pt x="30" y="107"/>
                </a:lnTo>
                <a:lnTo>
                  <a:pt x="29" y="109"/>
                </a:lnTo>
                <a:lnTo>
                  <a:pt x="31" y="110"/>
                </a:lnTo>
                <a:lnTo>
                  <a:pt x="30" y="111"/>
                </a:lnTo>
                <a:lnTo>
                  <a:pt x="27" y="111"/>
                </a:lnTo>
                <a:lnTo>
                  <a:pt x="27" y="111"/>
                </a:lnTo>
                <a:lnTo>
                  <a:pt x="25" y="112"/>
                </a:lnTo>
                <a:lnTo>
                  <a:pt x="24" y="113"/>
                </a:lnTo>
                <a:lnTo>
                  <a:pt x="23" y="113"/>
                </a:lnTo>
                <a:lnTo>
                  <a:pt x="23" y="114"/>
                </a:lnTo>
                <a:lnTo>
                  <a:pt x="22" y="117"/>
                </a:lnTo>
                <a:lnTo>
                  <a:pt x="23" y="120"/>
                </a:lnTo>
                <a:lnTo>
                  <a:pt x="24" y="120"/>
                </a:lnTo>
                <a:lnTo>
                  <a:pt x="25" y="121"/>
                </a:lnTo>
                <a:lnTo>
                  <a:pt x="27" y="123"/>
                </a:lnTo>
                <a:lnTo>
                  <a:pt x="25" y="127"/>
                </a:lnTo>
                <a:lnTo>
                  <a:pt x="27" y="128"/>
                </a:lnTo>
                <a:lnTo>
                  <a:pt x="29" y="129"/>
                </a:lnTo>
                <a:lnTo>
                  <a:pt x="30" y="131"/>
                </a:lnTo>
                <a:lnTo>
                  <a:pt x="31" y="133"/>
                </a:lnTo>
                <a:lnTo>
                  <a:pt x="32" y="134"/>
                </a:lnTo>
                <a:lnTo>
                  <a:pt x="33" y="135"/>
                </a:lnTo>
                <a:lnTo>
                  <a:pt x="33" y="135"/>
                </a:lnTo>
                <a:lnTo>
                  <a:pt x="32" y="134"/>
                </a:lnTo>
                <a:lnTo>
                  <a:pt x="31" y="134"/>
                </a:lnTo>
                <a:lnTo>
                  <a:pt x="30" y="135"/>
                </a:lnTo>
                <a:lnTo>
                  <a:pt x="31" y="137"/>
                </a:lnTo>
                <a:lnTo>
                  <a:pt x="31" y="138"/>
                </a:lnTo>
                <a:lnTo>
                  <a:pt x="31" y="139"/>
                </a:lnTo>
                <a:lnTo>
                  <a:pt x="31" y="140"/>
                </a:lnTo>
                <a:lnTo>
                  <a:pt x="31" y="142"/>
                </a:lnTo>
                <a:lnTo>
                  <a:pt x="30" y="142"/>
                </a:lnTo>
                <a:lnTo>
                  <a:pt x="29" y="144"/>
                </a:lnTo>
                <a:lnTo>
                  <a:pt x="30" y="144"/>
                </a:lnTo>
                <a:lnTo>
                  <a:pt x="31" y="145"/>
                </a:lnTo>
                <a:lnTo>
                  <a:pt x="30" y="147"/>
                </a:lnTo>
                <a:lnTo>
                  <a:pt x="31" y="147"/>
                </a:lnTo>
                <a:lnTo>
                  <a:pt x="32" y="148"/>
                </a:lnTo>
                <a:lnTo>
                  <a:pt x="32" y="149"/>
                </a:lnTo>
                <a:lnTo>
                  <a:pt x="31" y="149"/>
                </a:lnTo>
                <a:lnTo>
                  <a:pt x="32" y="150"/>
                </a:lnTo>
                <a:lnTo>
                  <a:pt x="34" y="150"/>
                </a:lnTo>
                <a:lnTo>
                  <a:pt x="38" y="151"/>
                </a:lnTo>
                <a:lnTo>
                  <a:pt x="39" y="152"/>
                </a:lnTo>
                <a:lnTo>
                  <a:pt x="42" y="152"/>
                </a:lnTo>
                <a:lnTo>
                  <a:pt x="45" y="153"/>
                </a:lnTo>
                <a:lnTo>
                  <a:pt x="46" y="154"/>
                </a:lnTo>
                <a:lnTo>
                  <a:pt x="46" y="154"/>
                </a:lnTo>
                <a:lnTo>
                  <a:pt x="48" y="155"/>
                </a:lnTo>
                <a:lnTo>
                  <a:pt x="51" y="154"/>
                </a:lnTo>
                <a:lnTo>
                  <a:pt x="52" y="155"/>
                </a:lnTo>
                <a:lnTo>
                  <a:pt x="52" y="157"/>
                </a:lnTo>
                <a:lnTo>
                  <a:pt x="54" y="159"/>
                </a:lnTo>
                <a:lnTo>
                  <a:pt x="54" y="160"/>
                </a:lnTo>
                <a:lnTo>
                  <a:pt x="56" y="161"/>
                </a:lnTo>
                <a:lnTo>
                  <a:pt x="55" y="162"/>
                </a:lnTo>
                <a:lnTo>
                  <a:pt x="53" y="163"/>
                </a:lnTo>
                <a:lnTo>
                  <a:pt x="54" y="163"/>
                </a:lnTo>
                <a:lnTo>
                  <a:pt x="56" y="162"/>
                </a:lnTo>
                <a:lnTo>
                  <a:pt x="59" y="159"/>
                </a:lnTo>
                <a:lnTo>
                  <a:pt x="60" y="160"/>
                </a:lnTo>
                <a:lnTo>
                  <a:pt x="60" y="161"/>
                </a:lnTo>
                <a:lnTo>
                  <a:pt x="61" y="161"/>
                </a:lnTo>
                <a:lnTo>
                  <a:pt x="66" y="159"/>
                </a:lnTo>
                <a:lnTo>
                  <a:pt x="68" y="159"/>
                </a:lnTo>
                <a:lnTo>
                  <a:pt x="70" y="159"/>
                </a:lnTo>
                <a:lnTo>
                  <a:pt x="71" y="160"/>
                </a:lnTo>
                <a:lnTo>
                  <a:pt x="71" y="160"/>
                </a:lnTo>
                <a:lnTo>
                  <a:pt x="73" y="158"/>
                </a:lnTo>
                <a:lnTo>
                  <a:pt x="75" y="157"/>
                </a:lnTo>
                <a:lnTo>
                  <a:pt x="76" y="157"/>
                </a:lnTo>
                <a:lnTo>
                  <a:pt x="79" y="158"/>
                </a:lnTo>
                <a:lnTo>
                  <a:pt x="82" y="155"/>
                </a:lnTo>
                <a:lnTo>
                  <a:pt x="84" y="155"/>
                </a:lnTo>
                <a:lnTo>
                  <a:pt x="85" y="153"/>
                </a:lnTo>
                <a:lnTo>
                  <a:pt x="86" y="155"/>
                </a:lnTo>
                <a:lnTo>
                  <a:pt x="91" y="154"/>
                </a:lnTo>
                <a:lnTo>
                  <a:pt x="90" y="152"/>
                </a:lnTo>
                <a:lnTo>
                  <a:pt x="91" y="153"/>
                </a:lnTo>
                <a:lnTo>
                  <a:pt x="93" y="153"/>
                </a:lnTo>
                <a:lnTo>
                  <a:pt x="94" y="153"/>
                </a:lnTo>
                <a:lnTo>
                  <a:pt x="95" y="152"/>
                </a:lnTo>
                <a:lnTo>
                  <a:pt x="100" y="152"/>
                </a:lnTo>
                <a:lnTo>
                  <a:pt x="102" y="151"/>
                </a:lnTo>
                <a:lnTo>
                  <a:pt x="104" y="151"/>
                </a:lnTo>
                <a:lnTo>
                  <a:pt x="106" y="152"/>
                </a:lnTo>
                <a:lnTo>
                  <a:pt x="111" y="152"/>
                </a:lnTo>
                <a:lnTo>
                  <a:pt x="112" y="151"/>
                </a:lnTo>
                <a:lnTo>
                  <a:pt x="112" y="151"/>
                </a:lnTo>
                <a:lnTo>
                  <a:pt x="112" y="151"/>
                </a:lnTo>
                <a:lnTo>
                  <a:pt x="120" y="147"/>
                </a:lnTo>
                <a:lnTo>
                  <a:pt x="130" y="140"/>
                </a:lnTo>
                <a:lnTo>
                  <a:pt x="137" y="133"/>
                </a:lnTo>
                <a:lnTo>
                  <a:pt x="147" y="123"/>
                </a:lnTo>
                <a:lnTo>
                  <a:pt x="150" y="121"/>
                </a:lnTo>
                <a:lnTo>
                  <a:pt x="152" y="115"/>
                </a:lnTo>
                <a:lnTo>
                  <a:pt x="151" y="111"/>
                </a:lnTo>
                <a:lnTo>
                  <a:pt x="150" y="111"/>
                </a:lnTo>
                <a:lnTo>
                  <a:pt x="147" y="109"/>
                </a:lnTo>
                <a:lnTo>
                  <a:pt x="145" y="107"/>
                </a:lnTo>
                <a:lnTo>
                  <a:pt x="139" y="103"/>
                </a:lnTo>
                <a:lnTo>
                  <a:pt x="136" y="102"/>
                </a:lnTo>
                <a:lnTo>
                  <a:pt x="134" y="100"/>
                </a:lnTo>
                <a:lnTo>
                  <a:pt x="134" y="98"/>
                </a:lnTo>
                <a:lnTo>
                  <a:pt x="136" y="95"/>
                </a:lnTo>
                <a:lnTo>
                  <a:pt x="137" y="93"/>
                </a:lnTo>
                <a:lnTo>
                  <a:pt x="136" y="91"/>
                </a:lnTo>
                <a:lnTo>
                  <a:pt x="132" y="89"/>
                </a:lnTo>
                <a:lnTo>
                  <a:pt x="130" y="87"/>
                </a:lnTo>
                <a:lnTo>
                  <a:pt x="130" y="84"/>
                </a:lnTo>
                <a:lnTo>
                  <a:pt x="127" y="82"/>
                </a:lnTo>
                <a:lnTo>
                  <a:pt x="124" y="81"/>
                </a:lnTo>
                <a:lnTo>
                  <a:pt x="123" y="79"/>
                </a:lnTo>
                <a:lnTo>
                  <a:pt x="124" y="78"/>
                </a:lnTo>
                <a:lnTo>
                  <a:pt x="123" y="75"/>
                </a:lnTo>
                <a:lnTo>
                  <a:pt x="122" y="74"/>
                </a:lnTo>
                <a:lnTo>
                  <a:pt x="123" y="72"/>
                </a:lnTo>
                <a:lnTo>
                  <a:pt x="123" y="70"/>
                </a:lnTo>
                <a:lnTo>
                  <a:pt x="125" y="68"/>
                </a:lnTo>
                <a:lnTo>
                  <a:pt x="124" y="67"/>
                </a:lnTo>
                <a:lnTo>
                  <a:pt x="123" y="64"/>
                </a:lnTo>
                <a:lnTo>
                  <a:pt x="120" y="60"/>
                </a:lnTo>
                <a:lnTo>
                  <a:pt x="116" y="57"/>
                </a:lnTo>
                <a:lnTo>
                  <a:pt x="115" y="54"/>
                </a:lnTo>
                <a:lnTo>
                  <a:pt x="113" y="53"/>
                </a:lnTo>
                <a:lnTo>
                  <a:pt x="110" y="51"/>
                </a:lnTo>
                <a:lnTo>
                  <a:pt x="110" y="49"/>
                </a:lnTo>
                <a:lnTo>
                  <a:pt x="111" y="47"/>
                </a:lnTo>
                <a:lnTo>
                  <a:pt x="113" y="42"/>
                </a:lnTo>
                <a:lnTo>
                  <a:pt x="116" y="38"/>
                </a:lnTo>
                <a:lnTo>
                  <a:pt x="115" y="36"/>
                </a:lnTo>
                <a:lnTo>
                  <a:pt x="112" y="34"/>
                </a:lnTo>
                <a:lnTo>
                  <a:pt x="108" y="30"/>
                </a:lnTo>
                <a:lnTo>
                  <a:pt x="104" y="29"/>
                </a:lnTo>
                <a:lnTo>
                  <a:pt x="101" y="29"/>
                </a:lnTo>
                <a:lnTo>
                  <a:pt x="99" y="29"/>
                </a:lnTo>
                <a:lnTo>
                  <a:pt x="98" y="28"/>
                </a:lnTo>
                <a:lnTo>
                  <a:pt x="95" y="26"/>
                </a:lnTo>
                <a:lnTo>
                  <a:pt x="94" y="23"/>
                </a:lnTo>
                <a:lnTo>
                  <a:pt x="94" y="22"/>
                </a:lnTo>
                <a:lnTo>
                  <a:pt x="96" y="19"/>
                </a:lnTo>
                <a:lnTo>
                  <a:pt x="95" y="19"/>
                </a:lnTo>
                <a:lnTo>
                  <a:pt x="94" y="18"/>
                </a:lnTo>
                <a:lnTo>
                  <a:pt x="100" y="16"/>
                </a:lnTo>
                <a:lnTo>
                  <a:pt x="98" y="14"/>
                </a:lnTo>
                <a:lnTo>
                  <a:pt x="96" y="13"/>
                </a:lnTo>
                <a:lnTo>
                  <a:pt x="98" y="12"/>
                </a:lnTo>
                <a:lnTo>
                  <a:pt x="101" y="10"/>
                </a:lnTo>
                <a:lnTo>
                  <a:pt x="100" y="8"/>
                </a:lnTo>
                <a:lnTo>
                  <a:pt x="98" y="6"/>
                </a:lnTo>
                <a:lnTo>
                  <a:pt x="93" y="3"/>
                </a:lnTo>
                <a:lnTo>
                  <a:pt x="90" y="3"/>
                </a:lnTo>
                <a:lnTo>
                  <a:pt x="88" y="2"/>
                </a:lnTo>
                <a:lnTo>
                  <a:pt x="84" y="0"/>
                </a:lnTo>
                <a:lnTo>
                  <a:pt x="83" y="0"/>
                </a:lnTo>
                <a:lnTo>
                  <a:pt x="79" y="0"/>
                </a:lnTo>
                <a:lnTo>
                  <a:pt x="71" y="2"/>
                </a:lnTo>
                <a:lnTo>
                  <a:pt x="65" y="2"/>
                </a:lnTo>
                <a:lnTo>
                  <a:pt x="63" y="3"/>
                </a:lnTo>
                <a:lnTo>
                  <a:pt x="61" y="4"/>
                </a:lnTo>
                <a:lnTo>
                  <a:pt x="60" y="8"/>
                </a:lnTo>
                <a:lnTo>
                  <a:pt x="60" y="11"/>
                </a:lnTo>
                <a:lnTo>
                  <a:pt x="60" y="12"/>
                </a:lnTo>
                <a:lnTo>
                  <a:pt x="61" y="16"/>
                </a:lnTo>
                <a:lnTo>
                  <a:pt x="61" y="17"/>
                </a:lnTo>
                <a:lnTo>
                  <a:pt x="55" y="18"/>
                </a:lnTo>
                <a:lnTo>
                  <a:pt x="54" y="20"/>
                </a:lnTo>
                <a:lnTo>
                  <a:pt x="52" y="21"/>
                </a:lnTo>
                <a:lnTo>
                  <a:pt x="49" y="21"/>
                </a:lnTo>
                <a:lnTo>
                  <a:pt x="46" y="21"/>
                </a:lnTo>
                <a:lnTo>
                  <a:pt x="45" y="20"/>
                </a:lnTo>
                <a:lnTo>
                  <a:pt x="43" y="19"/>
                </a:lnTo>
                <a:lnTo>
                  <a:pt x="41" y="18"/>
                </a:lnTo>
                <a:lnTo>
                  <a:pt x="38" y="20"/>
                </a:lnTo>
                <a:lnTo>
                  <a:pt x="34" y="21"/>
                </a:lnTo>
                <a:lnTo>
                  <a:pt x="32" y="21"/>
                </a:lnTo>
                <a:lnTo>
                  <a:pt x="29" y="20"/>
                </a:lnTo>
                <a:lnTo>
                  <a:pt x="23" y="20"/>
                </a:lnTo>
                <a:lnTo>
                  <a:pt x="22" y="19"/>
                </a:lnTo>
                <a:lnTo>
                  <a:pt x="21" y="18"/>
                </a:lnTo>
                <a:lnTo>
                  <a:pt x="13" y="13"/>
                </a:lnTo>
                <a:lnTo>
                  <a:pt x="11" y="12"/>
                </a:lnTo>
                <a:lnTo>
                  <a:pt x="8" y="11"/>
                </a:lnTo>
                <a:lnTo>
                  <a:pt x="5" y="12"/>
                </a:lnTo>
                <a:lnTo>
                  <a:pt x="5" y="13"/>
                </a:lnTo>
                <a:lnTo>
                  <a:pt x="7" y="14"/>
                </a:lnTo>
                <a:lnTo>
                  <a:pt x="4" y="14"/>
                </a:lnTo>
                <a:lnTo>
                  <a:pt x="2" y="14"/>
                </a:lnTo>
                <a:lnTo>
                  <a:pt x="1" y="14"/>
                </a:lnTo>
                <a:lnTo>
                  <a:pt x="0" y="16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05" name="Freeform 204"/>
          <p:cNvSpPr>
            <a:spLocks/>
          </p:cNvSpPr>
          <p:nvPr/>
        </p:nvSpPr>
        <p:spPr bwMode="auto">
          <a:xfrm>
            <a:off x="4729163" y="1614453"/>
            <a:ext cx="241300" cy="258763"/>
          </a:xfrm>
          <a:custGeom>
            <a:avLst/>
            <a:gdLst>
              <a:gd name="T0" fmla="*/ 11 w 152"/>
              <a:gd name="T1" fmla="*/ 20 h 163"/>
              <a:gd name="T2" fmla="*/ 39 w 152"/>
              <a:gd name="T3" fmla="*/ 32 h 163"/>
              <a:gd name="T4" fmla="*/ 39 w 152"/>
              <a:gd name="T5" fmla="*/ 39 h 163"/>
              <a:gd name="T6" fmla="*/ 41 w 152"/>
              <a:gd name="T7" fmla="*/ 44 h 163"/>
              <a:gd name="T8" fmla="*/ 48 w 152"/>
              <a:gd name="T9" fmla="*/ 54 h 163"/>
              <a:gd name="T10" fmla="*/ 51 w 152"/>
              <a:gd name="T11" fmla="*/ 64 h 163"/>
              <a:gd name="T12" fmla="*/ 55 w 152"/>
              <a:gd name="T13" fmla="*/ 67 h 163"/>
              <a:gd name="T14" fmla="*/ 62 w 152"/>
              <a:gd name="T15" fmla="*/ 69 h 163"/>
              <a:gd name="T16" fmla="*/ 71 w 152"/>
              <a:gd name="T17" fmla="*/ 80 h 163"/>
              <a:gd name="T18" fmla="*/ 68 w 152"/>
              <a:gd name="T19" fmla="*/ 81 h 163"/>
              <a:gd name="T20" fmla="*/ 58 w 152"/>
              <a:gd name="T21" fmla="*/ 88 h 163"/>
              <a:gd name="T22" fmla="*/ 42 w 152"/>
              <a:gd name="T23" fmla="*/ 103 h 163"/>
              <a:gd name="T24" fmla="*/ 37 w 152"/>
              <a:gd name="T25" fmla="*/ 108 h 163"/>
              <a:gd name="T26" fmla="*/ 31 w 152"/>
              <a:gd name="T27" fmla="*/ 110 h 163"/>
              <a:gd name="T28" fmla="*/ 25 w 152"/>
              <a:gd name="T29" fmla="*/ 112 h 163"/>
              <a:gd name="T30" fmla="*/ 22 w 152"/>
              <a:gd name="T31" fmla="*/ 117 h 163"/>
              <a:gd name="T32" fmla="*/ 27 w 152"/>
              <a:gd name="T33" fmla="*/ 123 h 163"/>
              <a:gd name="T34" fmla="*/ 30 w 152"/>
              <a:gd name="T35" fmla="*/ 131 h 163"/>
              <a:gd name="T36" fmla="*/ 33 w 152"/>
              <a:gd name="T37" fmla="*/ 135 h 163"/>
              <a:gd name="T38" fmla="*/ 31 w 152"/>
              <a:gd name="T39" fmla="*/ 137 h 163"/>
              <a:gd name="T40" fmla="*/ 31 w 152"/>
              <a:gd name="T41" fmla="*/ 142 h 163"/>
              <a:gd name="T42" fmla="*/ 31 w 152"/>
              <a:gd name="T43" fmla="*/ 145 h 163"/>
              <a:gd name="T44" fmla="*/ 32 w 152"/>
              <a:gd name="T45" fmla="*/ 149 h 163"/>
              <a:gd name="T46" fmla="*/ 38 w 152"/>
              <a:gd name="T47" fmla="*/ 151 h 163"/>
              <a:gd name="T48" fmla="*/ 46 w 152"/>
              <a:gd name="T49" fmla="*/ 154 h 163"/>
              <a:gd name="T50" fmla="*/ 52 w 152"/>
              <a:gd name="T51" fmla="*/ 155 h 163"/>
              <a:gd name="T52" fmla="*/ 56 w 152"/>
              <a:gd name="T53" fmla="*/ 161 h 163"/>
              <a:gd name="T54" fmla="*/ 56 w 152"/>
              <a:gd name="T55" fmla="*/ 162 h 163"/>
              <a:gd name="T56" fmla="*/ 61 w 152"/>
              <a:gd name="T57" fmla="*/ 161 h 163"/>
              <a:gd name="T58" fmla="*/ 71 w 152"/>
              <a:gd name="T59" fmla="*/ 160 h 163"/>
              <a:gd name="T60" fmla="*/ 76 w 152"/>
              <a:gd name="T61" fmla="*/ 157 h 163"/>
              <a:gd name="T62" fmla="*/ 85 w 152"/>
              <a:gd name="T63" fmla="*/ 153 h 163"/>
              <a:gd name="T64" fmla="*/ 91 w 152"/>
              <a:gd name="T65" fmla="*/ 153 h 163"/>
              <a:gd name="T66" fmla="*/ 100 w 152"/>
              <a:gd name="T67" fmla="*/ 152 h 163"/>
              <a:gd name="T68" fmla="*/ 111 w 152"/>
              <a:gd name="T69" fmla="*/ 152 h 163"/>
              <a:gd name="T70" fmla="*/ 120 w 152"/>
              <a:gd name="T71" fmla="*/ 147 h 163"/>
              <a:gd name="T72" fmla="*/ 150 w 152"/>
              <a:gd name="T73" fmla="*/ 121 h 163"/>
              <a:gd name="T74" fmla="*/ 147 w 152"/>
              <a:gd name="T75" fmla="*/ 109 h 163"/>
              <a:gd name="T76" fmla="*/ 134 w 152"/>
              <a:gd name="T77" fmla="*/ 100 h 163"/>
              <a:gd name="T78" fmla="*/ 136 w 152"/>
              <a:gd name="T79" fmla="*/ 91 h 163"/>
              <a:gd name="T80" fmla="*/ 127 w 152"/>
              <a:gd name="T81" fmla="*/ 82 h 163"/>
              <a:gd name="T82" fmla="*/ 123 w 152"/>
              <a:gd name="T83" fmla="*/ 75 h 163"/>
              <a:gd name="T84" fmla="*/ 125 w 152"/>
              <a:gd name="T85" fmla="*/ 68 h 163"/>
              <a:gd name="T86" fmla="*/ 116 w 152"/>
              <a:gd name="T87" fmla="*/ 57 h 163"/>
              <a:gd name="T88" fmla="*/ 110 w 152"/>
              <a:gd name="T89" fmla="*/ 49 h 163"/>
              <a:gd name="T90" fmla="*/ 115 w 152"/>
              <a:gd name="T91" fmla="*/ 36 h 163"/>
              <a:gd name="T92" fmla="*/ 101 w 152"/>
              <a:gd name="T93" fmla="*/ 29 h 163"/>
              <a:gd name="T94" fmla="*/ 94 w 152"/>
              <a:gd name="T95" fmla="*/ 23 h 163"/>
              <a:gd name="T96" fmla="*/ 94 w 152"/>
              <a:gd name="T97" fmla="*/ 18 h 163"/>
              <a:gd name="T98" fmla="*/ 98 w 152"/>
              <a:gd name="T99" fmla="*/ 12 h 163"/>
              <a:gd name="T100" fmla="*/ 93 w 152"/>
              <a:gd name="T101" fmla="*/ 3 h 163"/>
              <a:gd name="T102" fmla="*/ 83 w 152"/>
              <a:gd name="T103" fmla="*/ 0 h 163"/>
              <a:gd name="T104" fmla="*/ 63 w 152"/>
              <a:gd name="T105" fmla="*/ 3 h 163"/>
              <a:gd name="T106" fmla="*/ 60 w 152"/>
              <a:gd name="T107" fmla="*/ 12 h 163"/>
              <a:gd name="T108" fmla="*/ 54 w 152"/>
              <a:gd name="T109" fmla="*/ 20 h 163"/>
              <a:gd name="T110" fmla="*/ 45 w 152"/>
              <a:gd name="T111" fmla="*/ 20 h 163"/>
              <a:gd name="T112" fmla="*/ 34 w 152"/>
              <a:gd name="T113" fmla="*/ 21 h 163"/>
              <a:gd name="T114" fmla="*/ 22 w 152"/>
              <a:gd name="T115" fmla="*/ 19 h 163"/>
              <a:gd name="T116" fmla="*/ 8 w 152"/>
              <a:gd name="T117" fmla="*/ 11 h 163"/>
              <a:gd name="T118" fmla="*/ 4 w 152"/>
              <a:gd name="T119" fmla="*/ 14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52" h="163">
                <a:moveTo>
                  <a:pt x="0" y="16"/>
                </a:moveTo>
                <a:lnTo>
                  <a:pt x="1" y="16"/>
                </a:lnTo>
                <a:lnTo>
                  <a:pt x="1" y="16"/>
                </a:lnTo>
                <a:lnTo>
                  <a:pt x="11" y="20"/>
                </a:lnTo>
                <a:lnTo>
                  <a:pt x="18" y="23"/>
                </a:lnTo>
                <a:lnTo>
                  <a:pt x="25" y="24"/>
                </a:lnTo>
                <a:lnTo>
                  <a:pt x="30" y="27"/>
                </a:lnTo>
                <a:lnTo>
                  <a:pt x="39" y="32"/>
                </a:lnTo>
                <a:lnTo>
                  <a:pt x="39" y="33"/>
                </a:lnTo>
                <a:lnTo>
                  <a:pt x="39" y="34"/>
                </a:lnTo>
                <a:lnTo>
                  <a:pt x="38" y="37"/>
                </a:lnTo>
                <a:lnTo>
                  <a:pt x="39" y="39"/>
                </a:lnTo>
                <a:lnTo>
                  <a:pt x="40" y="40"/>
                </a:lnTo>
                <a:lnTo>
                  <a:pt x="41" y="41"/>
                </a:lnTo>
                <a:lnTo>
                  <a:pt x="41" y="42"/>
                </a:lnTo>
                <a:lnTo>
                  <a:pt x="41" y="44"/>
                </a:lnTo>
                <a:lnTo>
                  <a:pt x="41" y="47"/>
                </a:lnTo>
                <a:lnTo>
                  <a:pt x="46" y="51"/>
                </a:lnTo>
                <a:lnTo>
                  <a:pt x="48" y="53"/>
                </a:lnTo>
                <a:lnTo>
                  <a:pt x="48" y="54"/>
                </a:lnTo>
                <a:lnTo>
                  <a:pt x="45" y="56"/>
                </a:lnTo>
                <a:lnTo>
                  <a:pt x="45" y="58"/>
                </a:lnTo>
                <a:lnTo>
                  <a:pt x="46" y="60"/>
                </a:lnTo>
                <a:lnTo>
                  <a:pt x="51" y="64"/>
                </a:lnTo>
                <a:lnTo>
                  <a:pt x="52" y="65"/>
                </a:lnTo>
                <a:lnTo>
                  <a:pt x="53" y="65"/>
                </a:lnTo>
                <a:lnTo>
                  <a:pt x="54" y="65"/>
                </a:lnTo>
                <a:lnTo>
                  <a:pt x="55" y="67"/>
                </a:lnTo>
                <a:lnTo>
                  <a:pt x="56" y="65"/>
                </a:lnTo>
                <a:lnTo>
                  <a:pt x="58" y="65"/>
                </a:lnTo>
                <a:lnTo>
                  <a:pt x="59" y="68"/>
                </a:lnTo>
                <a:lnTo>
                  <a:pt x="62" y="69"/>
                </a:lnTo>
                <a:lnTo>
                  <a:pt x="66" y="72"/>
                </a:lnTo>
                <a:lnTo>
                  <a:pt x="69" y="73"/>
                </a:lnTo>
                <a:lnTo>
                  <a:pt x="69" y="77"/>
                </a:lnTo>
                <a:lnTo>
                  <a:pt x="71" y="80"/>
                </a:lnTo>
                <a:lnTo>
                  <a:pt x="70" y="79"/>
                </a:lnTo>
                <a:lnTo>
                  <a:pt x="69" y="80"/>
                </a:lnTo>
                <a:lnTo>
                  <a:pt x="70" y="81"/>
                </a:lnTo>
                <a:lnTo>
                  <a:pt x="68" y="81"/>
                </a:lnTo>
                <a:lnTo>
                  <a:pt x="65" y="81"/>
                </a:lnTo>
                <a:lnTo>
                  <a:pt x="61" y="82"/>
                </a:lnTo>
                <a:lnTo>
                  <a:pt x="60" y="87"/>
                </a:lnTo>
                <a:lnTo>
                  <a:pt x="58" y="88"/>
                </a:lnTo>
                <a:lnTo>
                  <a:pt x="54" y="91"/>
                </a:lnTo>
                <a:lnTo>
                  <a:pt x="49" y="94"/>
                </a:lnTo>
                <a:lnTo>
                  <a:pt x="46" y="98"/>
                </a:lnTo>
                <a:lnTo>
                  <a:pt x="42" y="103"/>
                </a:lnTo>
                <a:lnTo>
                  <a:pt x="40" y="104"/>
                </a:lnTo>
                <a:lnTo>
                  <a:pt x="39" y="105"/>
                </a:lnTo>
                <a:lnTo>
                  <a:pt x="38" y="105"/>
                </a:lnTo>
                <a:lnTo>
                  <a:pt x="37" y="108"/>
                </a:lnTo>
                <a:lnTo>
                  <a:pt x="32" y="108"/>
                </a:lnTo>
                <a:lnTo>
                  <a:pt x="30" y="107"/>
                </a:lnTo>
                <a:lnTo>
                  <a:pt x="29" y="109"/>
                </a:lnTo>
                <a:lnTo>
                  <a:pt x="31" y="110"/>
                </a:lnTo>
                <a:lnTo>
                  <a:pt x="30" y="111"/>
                </a:lnTo>
                <a:lnTo>
                  <a:pt x="27" y="111"/>
                </a:lnTo>
                <a:lnTo>
                  <a:pt x="27" y="111"/>
                </a:lnTo>
                <a:lnTo>
                  <a:pt x="25" y="112"/>
                </a:lnTo>
                <a:lnTo>
                  <a:pt x="24" y="113"/>
                </a:lnTo>
                <a:lnTo>
                  <a:pt x="23" y="113"/>
                </a:lnTo>
                <a:lnTo>
                  <a:pt x="23" y="114"/>
                </a:lnTo>
                <a:lnTo>
                  <a:pt x="22" y="117"/>
                </a:lnTo>
                <a:lnTo>
                  <a:pt x="23" y="120"/>
                </a:lnTo>
                <a:lnTo>
                  <a:pt x="24" y="120"/>
                </a:lnTo>
                <a:lnTo>
                  <a:pt x="25" y="121"/>
                </a:lnTo>
                <a:lnTo>
                  <a:pt x="27" y="123"/>
                </a:lnTo>
                <a:lnTo>
                  <a:pt x="25" y="127"/>
                </a:lnTo>
                <a:lnTo>
                  <a:pt x="27" y="128"/>
                </a:lnTo>
                <a:lnTo>
                  <a:pt x="29" y="129"/>
                </a:lnTo>
                <a:lnTo>
                  <a:pt x="30" y="131"/>
                </a:lnTo>
                <a:lnTo>
                  <a:pt x="31" y="133"/>
                </a:lnTo>
                <a:lnTo>
                  <a:pt x="32" y="134"/>
                </a:lnTo>
                <a:lnTo>
                  <a:pt x="33" y="135"/>
                </a:lnTo>
                <a:lnTo>
                  <a:pt x="33" y="135"/>
                </a:lnTo>
                <a:lnTo>
                  <a:pt x="32" y="134"/>
                </a:lnTo>
                <a:lnTo>
                  <a:pt x="31" y="134"/>
                </a:lnTo>
                <a:lnTo>
                  <a:pt x="30" y="135"/>
                </a:lnTo>
                <a:lnTo>
                  <a:pt x="31" y="137"/>
                </a:lnTo>
                <a:lnTo>
                  <a:pt x="31" y="138"/>
                </a:lnTo>
                <a:lnTo>
                  <a:pt x="31" y="139"/>
                </a:lnTo>
                <a:lnTo>
                  <a:pt x="31" y="140"/>
                </a:lnTo>
                <a:lnTo>
                  <a:pt x="31" y="142"/>
                </a:lnTo>
                <a:lnTo>
                  <a:pt x="30" y="142"/>
                </a:lnTo>
                <a:lnTo>
                  <a:pt x="29" y="144"/>
                </a:lnTo>
                <a:lnTo>
                  <a:pt x="30" y="144"/>
                </a:lnTo>
                <a:lnTo>
                  <a:pt x="31" y="145"/>
                </a:lnTo>
                <a:lnTo>
                  <a:pt x="30" y="147"/>
                </a:lnTo>
                <a:lnTo>
                  <a:pt x="31" y="147"/>
                </a:lnTo>
                <a:lnTo>
                  <a:pt x="32" y="148"/>
                </a:lnTo>
                <a:lnTo>
                  <a:pt x="32" y="149"/>
                </a:lnTo>
                <a:lnTo>
                  <a:pt x="31" y="149"/>
                </a:lnTo>
                <a:lnTo>
                  <a:pt x="32" y="150"/>
                </a:lnTo>
                <a:lnTo>
                  <a:pt x="34" y="150"/>
                </a:lnTo>
                <a:lnTo>
                  <a:pt x="38" y="151"/>
                </a:lnTo>
                <a:lnTo>
                  <a:pt x="39" y="152"/>
                </a:lnTo>
                <a:lnTo>
                  <a:pt x="42" y="152"/>
                </a:lnTo>
                <a:lnTo>
                  <a:pt x="45" y="153"/>
                </a:lnTo>
                <a:lnTo>
                  <a:pt x="46" y="154"/>
                </a:lnTo>
                <a:lnTo>
                  <a:pt x="46" y="154"/>
                </a:lnTo>
                <a:lnTo>
                  <a:pt x="48" y="155"/>
                </a:lnTo>
                <a:lnTo>
                  <a:pt x="51" y="154"/>
                </a:lnTo>
                <a:lnTo>
                  <a:pt x="52" y="155"/>
                </a:lnTo>
                <a:lnTo>
                  <a:pt x="52" y="157"/>
                </a:lnTo>
                <a:lnTo>
                  <a:pt x="54" y="159"/>
                </a:lnTo>
                <a:lnTo>
                  <a:pt x="54" y="160"/>
                </a:lnTo>
                <a:lnTo>
                  <a:pt x="56" y="161"/>
                </a:lnTo>
                <a:lnTo>
                  <a:pt x="55" y="162"/>
                </a:lnTo>
                <a:lnTo>
                  <a:pt x="53" y="163"/>
                </a:lnTo>
                <a:lnTo>
                  <a:pt x="54" y="163"/>
                </a:lnTo>
                <a:lnTo>
                  <a:pt x="56" y="162"/>
                </a:lnTo>
                <a:lnTo>
                  <a:pt x="59" y="159"/>
                </a:lnTo>
                <a:lnTo>
                  <a:pt x="60" y="160"/>
                </a:lnTo>
                <a:lnTo>
                  <a:pt x="60" y="161"/>
                </a:lnTo>
                <a:lnTo>
                  <a:pt x="61" y="161"/>
                </a:lnTo>
                <a:lnTo>
                  <a:pt x="66" y="159"/>
                </a:lnTo>
                <a:lnTo>
                  <a:pt x="68" y="159"/>
                </a:lnTo>
                <a:lnTo>
                  <a:pt x="70" y="159"/>
                </a:lnTo>
                <a:lnTo>
                  <a:pt x="71" y="160"/>
                </a:lnTo>
                <a:lnTo>
                  <a:pt x="71" y="160"/>
                </a:lnTo>
                <a:lnTo>
                  <a:pt x="73" y="158"/>
                </a:lnTo>
                <a:lnTo>
                  <a:pt x="75" y="157"/>
                </a:lnTo>
                <a:lnTo>
                  <a:pt x="76" y="157"/>
                </a:lnTo>
                <a:lnTo>
                  <a:pt x="79" y="158"/>
                </a:lnTo>
                <a:lnTo>
                  <a:pt x="82" y="155"/>
                </a:lnTo>
                <a:lnTo>
                  <a:pt x="84" y="155"/>
                </a:lnTo>
                <a:lnTo>
                  <a:pt x="85" y="153"/>
                </a:lnTo>
                <a:lnTo>
                  <a:pt x="86" y="155"/>
                </a:lnTo>
                <a:lnTo>
                  <a:pt x="91" y="154"/>
                </a:lnTo>
                <a:lnTo>
                  <a:pt x="90" y="152"/>
                </a:lnTo>
                <a:lnTo>
                  <a:pt x="91" y="153"/>
                </a:lnTo>
                <a:lnTo>
                  <a:pt x="93" y="153"/>
                </a:lnTo>
                <a:lnTo>
                  <a:pt x="94" y="153"/>
                </a:lnTo>
                <a:lnTo>
                  <a:pt x="95" y="152"/>
                </a:lnTo>
                <a:lnTo>
                  <a:pt x="100" y="152"/>
                </a:lnTo>
                <a:lnTo>
                  <a:pt x="102" y="151"/>
                </a:lnTo>
                <a:lnTo>
                  <a:pt x="104" y="151"/>
                </a:lnTo>
                <a:lnTo>
                  <a:pt x="106" y="152"/>
                </a:lnTo>
                <a:lnTo>
                  <a:pt x="111" y="152"/>
                </a:lnTo>
                <a:lnTo>
                  <a:pt x="112" y="151"/>
                </a:lnTo>
                <a:lnTo>
                  <a:pt x="112" y="151"/>
                </a:lnTo>
                <a:lnTo>
                  <a:pt x="112" y="151"/>
                </a:lnTo>
                <a:lnTo>
                  <a:pt x="120" y="147"/>
                </a:lnTo>
                <a:lnTo>
                  <a:pt x="130" y="140"/>
                </a:lnTo>
                <a:lnTo>
                  <a:pt x="137" y="133"/>
                </a:lnTo>
                <a:lnTo>
                  <a:pt x="147" y="123"/>
                </a:lnTo>
                <a:lnTo>
                  <a:pt x="150" y="121"/>
                </a:lnTo>
                <a:lnTo>
                  <a:pt x="152" y="115"/>
                </a:lnTo>
                <a:lnTo>
                  <a:pt x="151" y="111"/>
                </a:lnTo>
                <a:lnTo>
                  <a:pt x="150" y="111"/>
                </a:lnTo>
                <a:lnTo>
                  <a:pt x="147" y="109"/>
                </a:lnTo>
                <a:lnTo>
                  <a:pt x="145" y="107"/>
                </a:lnTo>
                <a:lnTo>
                  <a:pt x="139" y="103"/>
                </a:lnTo>
                <a:lnTo>
                  <a:pt x="136" y="102"/>
                </a:lnTo>
                <a:lnTo>
                  <a:pt x="134" y="100"/>
                </a:lnTo>
                <a:lnTo>
                  <a:pt x="134" y="98"/>
                </a:lnTo>
                <a:lnTo>
                  <a:pt x="136" y="95"/>
                </a:lnTo>
                <a:lnTo>
                  <a:pt x="137" y="93"/>
                </a:lnTo>
                <a:lnTo>
                  <a:pt x="136" y="91"/>
                </a:lnTo>
                <a:lnTo>
                  <a:pt x="132" y="89"/>
                </a:lnTo>
                <a:lnTo>
                  <a:pt x="130" y="87"/>
                </a:lnTo>
                <a:lnTo>
                  <a:pt x="130" y="84"/>
                </a:lnTo>
                <a:lnTo>
                  <a:pt x="127" y="82"/>
                </a:lnTo>
                <a:lnTo>
                  <a:pt x="124" y="81"/>
                </a:lnTo>
                <a:lnTo>
                  <a:pt x="123" y="79"/>
                </a:lnTo>
                <a:lnTo>
                  <a:pt x="124" y="78"/>
                </a:lnTo>
                <a:lnTo>
                  <a:pt x="123" y="75"/>
                </a:lnTo>
                <a:lnTo>
                  <a:pt x="122" y="74"/>
                </a:lnTo>
                <a:lnTo>
                  <a:pt x="123" y="72"/>
                </a:lnTo>
                <a:lnTo>
                  <a:pt x="123" y="70"/>
                </a:lnTo>
                <a:lnTo>
                  <a:pt x="125" y="68"/>
                </a:lnTo>
                <a:lnTo>
                  <a:pt x="124" y="67"/>
                </a:lnTo>
                <a:lnTo>
                  <a:pt x="123" y="64"/>
                </a:lnTo>
                <a:lnTo>
                  <a:pt x="120" y="60"/>
                </a:lnTo>
                <a:lnTo>
                  <a:pt x="116" y="57"/>
                </a:lnTo>
                <a:lnTo>
                  <a:pt x="115" y="54"/>
                </a:lnTo>
                <a:lnTo>
                  <a:pt x="113" y="53"/>
                </a:lnTo>
                <a:lnTo>
                  <a:pt x="110" y="51"/>
                </a:lnTo>
                <a:lnTo>
                  <a:pt x="110" y="49"/>
                </a:lnTo>
                <a:lnTo>
                  <a:pt x="111" y="47"/>
                </a:lnTo>
                <a:lnTo>
                  <a:pt x="113" y="42"/>
                </a:lnTo>
                <a:lnTo>
                  <a:pt x="116" y="38"/>
                </a:lnTo>
                <a:lnTo>
                  <a:pt x="115" y="36"/>
                </a:lnTo>
                <a:lnTo>
                  <a:pt x="112" y="34"/>
                </a:lnTo>
                <a:lnTo>
                  <a:pt x="108" y="30"/>
                </a:lnTo>
                <a:lnTo>
                  <a:pt x="104" y="29"/>
                </a:lnTo>
                <a:lnTo>
                  <a:pt x="101" y="29"/>
                </a:lnTo>
                <a:lnTo>
                  <a:pt x="99" y="29"/>
                </a:lnTo>
                <a:lnTo>
                  <a:pt x="98" y="28"/>
                </a:lnTo>
                <a:lnTo>
                  <a:pt x="95" y="26"/>
                </a:lnTo>
                <a:lnTo>
                  <a:pt x="94" y="23"/>
                </a:lnTo>
                <a:lnTo>
                  <a:pt x="94" y="22"/>
                </a:lnTo>
                <a:lnTo>
                  <a:pt x="96" y="19"/>
                </a:lnTo>
                <a:lnTo>
                  <a:pt x="95" y="19"/>
                </a:lnTo>
                <a:lnTo>
                  <a:pt x="94" y="18"/>
                </a:lnTo>
                <a:lnTo>
                  <a:pt x="100" y="16"/>
                </a:lnTo>
                <a:lnTo>
                  <a:pt x="98" y="14"/>
                </a:lnTo>
                <a:lnTo>
                  <a:pt x="96" y="13"/>
                </a:lnTo>
                <a:lnTo>
                  <a:pt x="98" y="12"/>
                </a:lnTo>
                <a:lnTo>
                  <a:pt x="101" y="10"/>
                </a:lnTo>
                <a:lnTo>
                  <a:pt x="100" y="8"/>
                </a:lnTo>
                <a:lnTo>
                  <a:pt x="98" y="6"/>
                </a:lnTo>
                <a:lnTo>
                  <a:pt x="93" y="3"/>
                </a:lnTo>
                <a:lnTo>
                  <a:pt x="90" y="3"/>
                </a:lnTo>
                <a:lnTo>
                  <a:pt x="88" y="2"/>
                </a:lnTo>
                <a:lnTo>
                  <a:pt x="84" y="0"/>
                </a:lnTo>
                <a:lnTo>
                  <a:pt x="83" y="0"/>
                </a:lnTo>
                <a:lnTo>
                  <a:pt x="79" y="0"/>
                </a:lnTo>
                <a:lnTo>
                  <a:pt x="71" y="2"/>
                </a:lnTo>
                <a:lnTo>
                  <a:pt x="65" y="2"/>
                </a:lnTo>
                <a:lnTo>
                  <a:pt x="63" y="3"/>
                </a:lnTo>
                <a:lnTo>
                  <a:pt x="61" y="4"/>
                </a:lnTo>
                <a:lnTo>
                  <a:pt x="60" y="8"/>
                </a:lnTo>
                <a:lnTo>
                  <a:pt x="60" y="11"/>
                </a:lnTo>
                <a:lnTo>
                  <a:pt x="60" y="12"/>
                </a:lnTo>
                <a:lnTo>
                  <a:pt x="61" y="16"/>
                </a:lnTo>
                <a:lnTo>
                  <a:pt x="61" y="17"/>
                </a:lnTo>
                <a:lnTo>
                  <a:pt x="55" y="18"/>
                </a:lnTo>
                <a:lnTo>
                  <a:pt x="54" y="20"/>
                </a:lnTo>
                <a:lnTo>
                  <a:pt x="52" y="21"/>
                </a:lnTo>
                <a:lnTo>
                  <a:pt x="49" y="21"/>
                </a:lnTo>
                <a:lnTo>
                  <a:pt x="46" y="21"/>
                </a:lnTo>
                <a:lnTo>
                  <a:pt x="45" y="20"/>
                </a:lnTo>
                <a:lnTo>
                  <a:pt x="43" y="19"/>
                </a:lnTo>
                <a:lnTo>
                  <a:pt x="41" y="18"/>
                </a:lnTo>
                <a:lnTo>
                  <a:pt x="38" y="20"/>
                </a:lnTo>
                <a:lnTo>
                  <a:pt x="34" y="21"/>
                </a:lnTo>
                <a:lnTo>
                  <a:pt x="32" y="21"/>
                </a:lnTo>
                <a:lnTo>
                  <a:pt x="29" y="20"/>
                </a:lnTo>
                <a:lnTo>
                  <a:pt x="23" y="20"/>
                </a:lnTo>
                <a:lnTo>
                  <a:pt x="22" y="19"/>
                </a:lnTo>
                <a:lnTo>
                  <a:pt x="21" y="18"/>
                </a:lnTo>
                <a:lnTo>
                  <a:pt x="13" y="13"/>
                </a:lnTo>
                <a:lnTo>
                  <a:pt x="11" y="12"/>
                </a:lnTo>
                <a:lnTo>
                  <a:pt x="8" y="11"/>
                </a:lnTo>
                <a:lnTo>
                  <a:pt x="5" y="12"/>
                </a:lnTo>
                <a:lnTo>
                  <a:pt x="5" y="13"/>
                </a:lnTo>
                <a:lnTo>
                  <a:pt x="7" y="14"/>
                </a:lnTo>
                <a:lnTo>
                  <a:pt x="4" y="14"/>
                </a:lnTo>
                <a:lnTo>
                  <a:pt x="2" y="14"/>
                </a:lnTo>
                <a:lnTo>
                  <a:pt x="1" y="14"/>
                </a:lnTo>
                <a:lnTo>
                  <a:pt x="0" y="16"/>
                </a:lnTo>
              </a:path>
            </a:pathLst>
          </a:custGeom>
          <a:solidFill>
            <a:srgbClr val="00A6D3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07" name="Freeform 206"/>
          <p:cNvSpPr>
            <a:spLocks/>
          </p:cNvSpPr>
          <p:nvPr/>
        </p:nvSpPr>
        <p:spPr bwMode="auto">
          <a:xfrm>
            <a:off x="4502150" y="2222466"/>
            <a:ext cx="279400" cy="261938"/>
          </a:xfrm>
          <a:custGeom>
            <a:avLst/>
            <a:gdLst>
              <a:gd name="T0" fmla="*/ 50 w 176"/>
              <a:gd name="T1" fmla="*/ 9 h 165"/>
              <a:gd name="T2" fmla="*/ 47 w 176"/>
              <a:gd name="T3" fmla="*/ 13 h 165"/>
              <a:gd name="T4" fmla="*/ 37 w 176"/>
              <a:gd name="T5" fmla="*/ 12 h 165"/>
              <a:gd name="T6" fmla="*/ 32 w 176"/>
              <a:gd name="T7" fmla="*/ 20 h 165"/>
              <a:gd name="T8" fmla="*/ 25 w 176"/>
              <a:gd name="T9" fmla="*/ 17 h 165"/>
              <a:gd name="T10" fmla="*/ 19 w 176"/>
              <a:gd name="T11" fmla="*/ 18 h 165"/>
              <a:gd name="T12" fmla="*/ 5 w 176"/>
              <a:gd name="T13" fmla="*/ 22 h 165"/>
              <a:gd name="T14" fmla="*/ 1 w 176"/>
              <a:gd name="T15" fmla="*/ 24 h 165"/>
              <a:gd name="T16" fmla="*/ 1 w 176"/>
              <a:gd name="T17" fmla="*/ 35 h 165"/>
              <a:gd name="T18" fmla="*/ 3 w 176"/>
              <a:gd name="T19" fmla="*/ 40 h 165"/>
              <a:gd name="T20" fmla="*/ 4 w 176"/>
              <a:gd name="T21" fmla="*/ 50 h 165"/>
              <a:gd name="T22" fmla="*/ 13 w 176"/>
              <a:gd name="T23" fmla="*/ 57 h 165"/>
              <a:gd name="T24" fmla="*/ 18 w 176"/>
              <a:gd name="T25" fmla="*/ 59 h 165"/>
              <a:gd name="T26" fmla="*/ 25 w 176"/>
              <a:gd name="T27" fmla="*/ 51 h 165"/>
              <a:gd name="T28" fmla="*/ 35 w 176"/>
              <a:gd name="T29" fmla="*/ 49 h 165"/>
              <a:gd name="T30" fmla="*/ 52 w 176"/>
              <a:gd name="T31" fmla="*/ 60 h 165"/>
              <a:gd name="T32" fmla="*/ 63 w 176"/>
              <a:gd name="T33" fmla="*/ 78 h 165"/>
              <a:gd name="T34" fmla="*/ 71 w 176"/>
              <a:gd name="T35" fmla="*/ 83 h 165"/>
              <a:gd name="T36" fmla="*/ 85 w 176"/>
              <a:gd name="T37" fmla="*/ 96 h 165"/>
              <a:gd name="T38" fmla="*/ 104 w 176"/>
              <a:gd name="T39" fmla="*/ 104 h 165"/>
              <a:gd name="T40" fmla="*/ 115 w 176"/>
              <a:gd name="T41" fmla="*/ 113 h 165"/>
              <a:gd name="T42" fmla="*/ 122 w 176"/>
              <a:gd name="T43" fmla="*/ 115 h 165"/>
              <a:gd name="T44" fmla="*/ 125 w 176"/>
              <a:gd name="T45" fmla="*/ 123 h 165"/>
              <a:gd name="T46" fmla="*/ 133 w 176"/>
              <a:gd name="T47" fmla="*/ 125 h 165"/>
              <a:gd name="T48" fmla="*/ 137 w 176"/>
              <a:gd name="T49" fmla="*/ 133 h 165"/>
              <a:gd name="T50" fmla="*/ 141 w 176"/>
              <a:gd name="T51" fmla="*/ 150 h 165"/>
              <a:gd name="T52" fmla="*/ 137 w 176"/>
              <a:gd name="T53" fmla="*/ 160 h 165"/>
              <a:gd name="T54" fmla="*/ 138 w 176"/>
              <a:gd name="T55" fmla="*/ 164 h 165"/>
              <a:gd name="T56" fmla="*/ 146 w 176"/>
              <a:gd name="T57" fmla="*/ 160 h 165"/>
              <a:gd name="T58" fmla="*/ 151 w 176"/>
              <a:gd name="T59" fmla="*/ 154 h 165"/>
              <a:gd name="T60" fmla="*/ 156 w 176"/>
              <a:gd name="T61" fmla="*/ 145 h 165"/>
              <a:gd name="T62" fmla="*/ 157 w 176"/>
              <a:gd name="T63" fmla="*/ 140 h 165"/>
              <a:gd name="T64" fmla="*/ 151 w 176"/>
              <a:gd name="T65" fmla="*/ 133 h 165"/>
              <a:gd name="T66" fmla="*/ 151 w 176"/>
              <a:gd name="T67" fmla="*/ 121 h 165"/>
              <a:gd name="T68" fmla="*/ 165 w 176"/>
              <a:gd name="T69" fmla="*/ 121 h 165"/>
              <a:gd name="T70" fmla="*/ 175 w 176"/>
              <a:gd name="T71" fmla="*/ 130 h 165"/>
              <a:gd name="T72" fmla="*/ 174 w 176"/>
              <a:gd name="T73" fmla="*/ 121 h 165"/>
              <a:gd name="T74" fmla="*/ 155 w 176"/>
              <a:gd name="T75" fmla="*/ 108 h 165"/>
              <a:gd name="T76" fmla="*/ 138 w 176"/>
              <a:gd name="T77" fmla="*/ 101 h 165"/>
              <a:gd name="T78" fmla="*/ 138 w 176"/>
              <a:gd name="T79" fmla="*/ 96 h 165"/>
              <a:gd name="T80" fmla="*/ 135 w 176"/>
              <a:gd name="T81" fmla="*/ 92 h 165"/>
              <a:gd name="T82" fmla="*/ 126 w 176"/>
              <a:gd name="T83" fmla="*/ 92 h 165"/>
              <a:gd name="T84" fmla="*/ 118 w 176"/>
              <a:gd name="T85" fmla="*/ 89 h 165"/>
              <a:gd name="T86" fmla="*/ 110 w 176"/>
              <a:gd name="T87" fmla="*/ 80 h 165"/>
              <a:gd name="T88" fmla="*/ 102 w 176"/>
              <a:gd name="T89" fmla="*/ 65 h 165"/>
              <a:gd name="T90" fmla="*/ 96 w 176"/>
              <a:gd name="T91" fmla="*/ 61 h 165"/>
              <a:gd name="T92" fmla="*/ 83 w 176"/>
              <a:gd name="T93" fmla="*/ 52 h 165"/>
              <a:gd name="T94" fmla="*/ 81 w 176"/>
              <a:gd name="T95" fmla="*/ 40 h 165"/>
              <a:gd name="T96" fmla="*/ 80 w 176"/>
              <a:gd name="T97" fmla="*/ 35 h 165"/>
              <a:gd name="T98" fmla="*/ 83 w 176"/>
              <a:gd name="T99" fmla="*/ 29 h 165"/>
              <a:gd name="T100" fmla="*/ 95 w 176"/>
              <a:gd name="T101" fmla="*/ 25 h 165"/>
              <a:gd name="T102" fmla="*/ 99 w 176"/>
              <a:gd name="T103" fmla="*/ 28 h 165"/>
              <a:gd name="T104" fmla="*/ 103 w 176"/>
              <a:gd name="T105" fmla="*/ 27 h 165"/>
              <a:gd name="T106" fmla="*/ 101 w 176"/>
              <a:gd name="T107" fmla="*/ 23 h 165"/>
              <a:gd name="T108" fmla="*/ 96 w 176"/>
              <a:gd name="T109" fmla="*/ 19 h 165"/>
              <a:gd name="T110" fmla="*/ 95 w 176"/>
              <a:gd name="T111" fmla="*/ 15 h 165"/>
              <a:gd name="T112" fmla="*/ 95 w 176"/>
              <a:gd name="T113" fmla="*/ 11 h 165"/>
              <a:gd name="T114" fmla="*/ 81 w 176"/>
              <a:gd name="T115" fmla="*/ 7 h 165"/>
              <a:gd name="T116" fmla="*/ 75 w 176"/>
              <a:gd name="T117" fmla="*/ 1 h 165"/>
              <a:gd name="T118" fmla="*/ 70 w 176"/>
              <a:gd name="T119" fmla="*/ 2 h 165"/>
              <a:gd name="T120" fmla="*/ 54 w 176"/>
              <a:gd name="T121" fmla="*/ 5 h 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76" h="165">
                <a:moveTo>
                  <a:pt x="51" y="4"/>
                </a:moveTo>
                <a:lnTo>
                  <a:pt x="51" y="7"/>
                </a:lnTo>
                <a:lnTo>
                  <a:pt x="51" y="8"/>
                </a:lnTo>
                <a:lnTo>
                  <a:pt x="50" y="9"/>
                </a:lnTo>
                <a:lnTo>
                  <a:pt x="47" y="9"/>
                </a:lnTo>
                <a:lnTo>
                  <a:pt x="46" y="10"/>
                </a:lnTo>
                <a:lnTo>
                  <a:pt x="47" y="12"/>
                </a:lnTo>
                <a:lnTo>
                  <a:pt x="47" y="13"/>
                </a:lnTo>
                <a:lnTo>
                  <a:pt x="47" y="14"/>
                </a:lnTo>
                <a:lnTo>
                  <a:pt x="42" y="13"/>
                </a:lnTo>
                <a:lnTo>
                  <a:pt x="39" y="13"/>
                </a:lnTo>
                <a:lnTo>
                  <a:pt x="37" y="12"/>
                </a:lnTo>
                <a:lnTo>
                  <a:pt x="35" y="11"/>
                </a:lnTo>
                <a:lnTo>
                  <a:pt x="35" y="13"/>
                </a:lnTo>
                <a:lnTo>
                  <a:pt x="32" y="18"/>
                </a:lnTo>
                <a:lnTo>
                  <a:pt x="32" y="20"/>
                </a:lnTo>
                <a:lnTo>
                  <a:pt x="31" y="21"/>
                </a:lnTo>
                <a:lnTo>
                  <a:pt x="30" y="20"/>
                </a:lnTo>
                <a:lnTo>
                  <a:pt x="27" y="19"/>
                </a:lnTo>
                <a:lnTo>
                  <a:pt x="25" y="17"/>
                </a:lnTo>
                <a:lnTo>
                  <a:pt x="23" y="12"/>
                </a:lnTo>
                <a:lnTo>
                  <a:pt x="21" y="13"/>
                </a:lnTo>
                <a:lnTo>
                  <a:pt x="19" y="15"/>
                </a:lnTo>
                <a:lnTo>
                  <a:pt x="19" y="18"/>
                </a:lnTo>
                <a:lnTo>
                  <a:pt x="18" y="19"/>
                </a:lnTo>
                <a:lnTo>
                  <a:pt x="15" y="20"/>
                </a:lnTo>
                <a:lnTo>
                  <a:pt x="12" y="20"/>
                </a:lnTo>
                <a:lnTo>
                  <a:pt x="5" y="22"/>
                </a:lnTo>
                <a:lnTo>
                  <a:pt x="3" y="22"/>
                </a:lnTo>
                <a:lnTo>
                  <a:pt x="1" y="22"/>
                </a:lnTo>
                <a:lnTo>
                  <a:pt x="1" y="23"/>
                </a:lnTo>
                <a:lnTo>
                  <a:pt x="1" y="24"/>
                </a:lnTo>
                <a:lnTo>
                  <a:pt x="4" y="30"/>
                </a:lnTo>
                <a:lnTo>
                  <a:pt x="4" y="32"/>
                </a:lnTo>
                <a:lnTo>
                  <a:pt x="2" y="34"/>
                </a:lnTo>
                <a:lnTo>
                  <a:pt x="1" y="35"/>
                </a:lnTo>
                <a:lnTo>
                  <a:pt x="0" y="38"/>
                </a:lnTo>
                <a:lnTo>
                  <a:pt x="0" y="39"/>
                </a:lnTo>
                <a:lnTo>
                  <a:pt x="1" y="40"/>
                </a:lnTo>
                <a:lnTo>
                  <a:pt x="3" y="40"/>
                </a:lnTo>
                <a:lnTo>
                  <a:pt x="3" y="42"/>
                </a:lnTo>
                <a:lnTo>
                  <a:pt x="3" y="44"/>
                </a:lnTo>
                <a:lnTo>
                  <a:pt x="3" y="47"/>
                </a:lnTo>
                <a:lnTo>
                  <a:pt x="4" y="50"/>
                </a:lnTo>
                <a:lnTo>
                  <a:pt x="5" y="51"/>
                </a:lnTo>
                <a:lnTo>
                  <a:pt x="12" y="52"/>
                </a:lnTo>
                <a:lnTo>
                  <a:pt x="13" y="54"/>
                </a:lnTo>
                <a:lnTo>
                  <a:pt x="13" y="57"/>
                </a:lnTo>
                <a:lnTo>
                  <a:pt x="13" y="58"/>
                </a:lnTo>
                <a:lnTo>
                  <a:pt x="13" y="59"/>
                </a:lnTo>
                <a:lnTo>
                  <a:pt x="15" y="59"/>
                </a:lnTo>
                <a:lnTo>
                  <a:pt x="18" y="59"/>
                </a:lnTo>
                <a:lnTo>
                  <a:pt x="22" y="57"/>
                </a:lnTo>
                <a:lnTo>
                  <a:pt x="22" y="55"/>
                </a:lnTo>
                <a:lnTo>
                  <a:pt x="24" y="52"/>
                </a:lnTo>
                <a:lnTo>
                  <a:pt x="25" y="51"/>
                </a:lnTo>
                <a:lnTo>
                  <a:pt x="26" y="50"/>
                </a:lnTo>
                <a:lnTo>
                  <a:pt x="31" y="48"/>
                </a:lnTo>
                <a:lnTo>
                  <a:pt x="33" y="48"/>
                </a:lnTo>
                <a:lnTo>
                  <a:pt x="35" y="49"/>
                </a:lnTo>
                <a:lnTo>
                  <a:pt x="46" y="54"/>
                </a:lnTo>
                <a:lnTo>
                  <a:pt x="51" y="55"/>
                </a:lnTo>
                <a:lnTo>
                  <a:pt x="52" y="57"/>
                </a:lnTo>
                <a:lnTo>
                  <a:pt x="52" y="60"/>
                </a:lnTo>
                <a:lnTo>
                  <a:pt x="56" y="68"/>
                </a:lnTo>
                <a:lnTo>
                  <a:pt x="57" y="71"/>
                </a:lnTo>
                <a:lnTo>
                  <a:pt x="57" y="72"/>
                </a:lnTo>
                <a:lnTo>
                  <a:pt x="63" y="78"/>
                </a:lnTo>
                <a:lnTo>
                  <a:pt x="65" y="80"/>
                </a:lnTo>
                <a:lnTo>
                  <a:pt x="66" y="84"/>
                </a:lnTo>
                <a:lnTo>
                  <a:pt x="69" y="83"/>
                </a:lnTo>
                <a:lnTo>
                  <a:pt x="71" y="83"/>
                </a:lnTo>
                <a:lnTo>
                  <a:pt x="73" y="85"/>
                </a:lnTo>
                <a:lnTo>
                  <a:pt x="77" y="90"/>
                </a:lnTo>
                <a:lnTo>
                  <a:pt x="80" y="90"/>
                </a:lnTo>
                <a:lnTo>
                  <a:pt x="85" y="96"/>
                </a:lnTo>
                <a:lnTo>
                  <a:pt x="89" y="100"/>
                </a:lnTo>
                <a:lnTo>
                  <a:pt x="95" y="104"/>
                </a:lnTo>
                <a:lnTo>
                  <a:pt x="96" y="104"/>
                </a:lnTo>
                <a:lnTo>
                  <a:pt x="104" y="104"/>
                </a:lnTo>
                <a:lnTo>
                  <a:pt x="105" y="104"/>
                </a:lnTo>
                <a:lnTo>
                  <a:pt x="110" y="109"/>
                </a:lnTo>
                <a:lnTo>
                  <a:pt x="111" y="111"/>
                </a:lnTo>
                <a:lnTo>
                  <a:pt x="115" y="113"/>
                </a:lnTo>
                <a:lnTo>
                  <a:pt x="116" y="114"/>
                </a:lnTo>
                <a:lnTo>
                  <a:pt x="115" y="115"/>
                </a:lnTo>
                <a:lnTo>
                  <a:pt x="121" y="115"/>
                </a:lnTo>
                <a:lnTo>
                  <a:pt x="122" y="115"/>
                </a:lnTo>
                <a:lnTo>
                  <a:pt x="123" y="116"/>
                </a:lnTo>
                <a:lnTo>
                  <a:pt x="124" y="120"/>
                </a:lnTo>
                <a:lnTo>
                  <a:pt x="124" y="121"/>
                </a:lnTo>
                <a:lnTo>
                  <a:pt x="125" y="123"/>
                </a:lnTo>
                <a:lnTo>
                  <a:pt x="128" y="124"/>
                </a:lnTo>
                <a:lnTo>
                  <a:pt x="131" y="125"/>
                </a:lnTo>
                <a:lnTo>
                  <a:pt x="132" y="128"/>
                </a:lnTo>
                <a:lnTo>
                  <a:pt x="133" y="125"/>
                </a:lnTo>
                <a:lnTo>
                  <a:pt x="134" y="125"/>
                </a:lnTo>
                <a:lnTo>
                  <a:pt x="136" y="128"/>
                </a:lnTo>
                <a:lnTo>
                  <a:pt x="136" y="130"/>
                </a:lnTo>
                <a:lnTo>
                  <a:pt x="137" y="133"/>
                </a:lnTo>
                <a:lnTo>
                  <a:pt x="141" y="138"/>
                </a:lnTo>
                <a:lnTo>
                  <a:pt x="143" y="143"/>
                </a:lnTo>
                <a:lnTo>
                  <a:pt x="145" y="149"/>
                </a:lnTo>
                <a:lnTo>
                  <a:pt x="141" y="150"/>
                </a:lnTo>
                <a:lnTo>
                  <a:pt x="140" y="151"/>
                </a:lnTo>
                <a:lnTo>
                  <a:pt x="141" y="154"/>
                </a:lnTo>
                <a:lnTo>
                  <a:pt x="138" y="156"/>
                </a:lnTo>
                <a:lnTo>
                  <a:pt x="137" y="160"/>
                </a:lnTo>
                <a:lnTo>
                  <a:pt x="138" y="163"/>
                </a:lnTo>
                <a:lnTo>
                  <a:pt x="138" y="164"/>
                </a:lnTo>
                <a:lnTo>
                  <a:pt x="140" y="164"/>
                </a:lnTo>
                <a:lnTo>
                  <a:pt x="138" y="164"/>
                </a:lnTo>
                <a:lnTo>
                  <a:pt x="141" y="165"/>
                </a:lnTo>
                <a:lnTo>
                  <a:pt x="143" y="164"/>
                </a:lnTo>
                <a:lnTo>
                  <a:pt x="144" y="164"/>
                </a:lnTo>
                <a:lnTo>
                  <a:pt x="146" y="160"/>
                </a:lnTo>
                <a:lnTo>
                  <a:pt x="146" y="159"/>
                </a:lnTo>
                <a:lnTo>
                  <a:pt x="148" y="156"/>
                </a:lnTo>
                <a:lnTo>
                  <a:pt x="150" y="156"/>
                </a:lnTo>
                <a:lnTo>
                  <a:pt x="151" y="154"/>
                </a:lnTo>
                <a:lnTo>
                  <a:pt x="151" y="149"/>
                </a:lnTo>
                <a:lnTo>
                  <a:pt x="151" y="147"/>
                </a:lnTo>
                <a:lnTo>
                  <a:pt x="153" y="147"/>
                </a:lnTo>
                <a:lnTo>
                  <a:pt x="156" y="145"/>
                </a:lnTo>
                <a:lnTo>
                  <a:pt x="157" y="145"/>
                </a:lnTo>
                <a:lnTo>
                  <a:pt x="157" y="144"/>
                </a:lnTo>
                <a:lnTo>
                  <a:pt x="157" y="141"/>
                </a:lnTo>
                <a:lnTo>
                  <a:pt x="157" y="140"/>
                </a:lnTo>
                <a:lnTo>
                  <a:pt x="156" y="138"/>
                </a:lnTo>
                <a:lnTo>
                  <a:pt x="155" y="136"/>
                </a:lnTo>
                <a:lnTo>
                  <a:pt x="153" y="134"/>
                </a:lnTo>
                <a:lnTo>
                  <a:pt x="151" y="133"/>
                </a:lnTo>
                <a:lnTo>
                  <a:pt x="148" y="132"/>
                </a:lnTo>
                <a:lnTo>
                  <a:pt x="148" y="129"/>
                </a:lnTo>
                <a:lnTo>
                  <a:pt x="150" y="124"/>
                </a:lnTo>
                <a:lnTo>
                  <a:pt x="151" y="121"/>
                </a:lnTo>
                <a:lnTo>
                  <a:pt x="154" y="118"/>
                </a:lnTo>
                <a:lnTo>
                  <a:pt x="157" y="118"/>
                </a:lnTo>
                <a:lnTo>
                  <a:pt x="162" y="121"/>
                </a:lnTo>
                <a:lnTo>
                  <a:pt x="165" y="121"/>
                </a:lnTo>
                <a:lnTo>
                  <a:pt x="168" y="123"/>
                </a:lnTo>
                <a:lnTo>
                  <a:pt x="170" y="125"/>
                </a:lnTo>
                <a:lnTo>
                  <a:pt x="172" y="128"/>
                </a:lnTo>
                <a:lnTo>
                  <a:pt x="175" y="130"/>
                </a:lnTo>
                <a:lnTo>
                  <a:pt x="175" y="129"/>
                </a:lnTo>
                <a:lnTo>
                  <a:pt x="176" y="125"/>
                </a:lnTo>
                <a:lnTo>
                  <a:pt x="175" y="123"/>
                </a:lnTo>
                <a:lnTo>
                  <a:pt x="174" y="121"/>
                </a:lnTo>
                <a:lnTo>
                  <a:pt x="171" y="119"/>
                </a:lnTo>
                <a:lnTo>
                  <a:pt x="167" y="114"/>
                </a:lnTo>
                <a:lnTo>
                  <a:pt x="157" y="110"/>
                </a:lnTo>
                <a:lnTo>
                  <a:pt x="155" y="108"/>
                </a:lnTo>
                <a:lnTo>
                  <a:pt x="152" y="106"/>
                </a:lnTo>
                <a:lnTo>
                  <a:pt x="143" y="103"/>
                </a:lnTo>
                <a:lnTo>
                  <a:pt x="141" y="101"/>
                </a:lnTo>
                <a:lnTo>
                  <a:pt x="138" y="101"/>
                </a:lnTo>
                <a:lnTo>
                  <a:pt x="137" y="101"/>
                </a:lnTo>
                <a:lnTo>
                  <a:pt x="136" y="100"/>
                </a:lnTo>
                <a:lnTo>
                  <a:pt x="136" y="99"/>
                </a:lnTo>
                <a:lnTo>
                  <a:pt x="138" y="96"/>
                </a:lnTo>
                <a:lnTo>
                  <a:pt x="140" y="95"/>
                </a:lnTo>
                <a:lnTo>
                  <a:pt x="140" y="93"/>
                </a:lnTo>
                <a:lnTo>
                  <a:pt x="138" y="91"/>
                </a:lnTo>
                <a:lnTo>
                  <a:pt x="135" y="92"/>
                </a:lnTo>
                <a:lnTo>
                  <a:pt x="134" y="92"/>
                </a:lnTo>
                <a:lnTo>
                  <a:pt x="136" y="92"/>
                </a:lnTo>
                <a:lnTo>
                  <a:pt x="134" y="92"/>
                </a:lnTo>
                <a:lnTo>
                  <a:pt x="126" y="92"/>
                </a:lnTo>
                <a:lnTo>
                  <a:pt x="126" y="94"/>
                </a:lnTo>
                <a:lnTo>
                  <a:pt x="123" y="91"/>
                </a:lnTo>
                <a:lnTo>
                  <a:pt x="120" y="89"/>
                </a:lnTo>
                <a:lnTo>
                  <a:pt x="118" y="89"/>
                </a:lnTo>
                <a:lnTo>
                  <a:pt x="117" y="88"/>
                </a:lnTo>
                <a:lnTo>
                  <a:pt x="116" y="88"/>
                </a:lnTo>
                <a:lnTo>
                  <a:pt x="111" y="82"/>
                </a:lnTo>
                <a:lnTo>
                  <a:pt x="110" y="80"/>
                </a:lnTo>
                <a:lnTo>
                  <a:pt x="107" y="77"/>
                </a:lnTo>
                <a:lnTo>
                  <a:pt x="105" y="72"/>
                </a:lnTo>
                <a:lnTo>
                  <a:pt x="104" y="71"/>
                </a:lnTo>
                <a:lnTo>
                  <a:pt x="102" y="65"/>
                </a:lnTo>
                <a:lnTo>
                  <a:pt x="100" y="62"/>
                </a:lnTo>
                <a:lnTo>
                  <a:pt x="99" y="61"/>
                </a:lnTo>
                <a:lnTo>
                  <a:pt x="97" y="61"/>
                </a:lnTo>
                <a:lnTo>
                  <a:pt x="96" y="61"/>
                </a:lnTo>
                <a:lnTo>
                  <a:pt x="93" y="59"/>
                </a:lnTo>
                <a:lnTo>
                  <a:pt x="91" y="57"/>
                </a:lnTo>
                <a:lnTo>
                  <a:pt x="85" y="54"/>
                </a:lnTo>
                <a:lnTo>
                  <a:pt x="83" y="52"/>
                </a:lnTo>
                <a:lnTo>
                  <a:pt x="82" y="51"/>
                </a:lnTo>
                <a:lnTo>
                  <a:pt x="81" y="49"/>
                </a:lnTo>
                <a:lnTo>
                  <a:pt x="81" y="44"/>
                </a:lnTo>
                <a:lnTo>
                  <a:pt x="81" y="40"/>
                </a:lnTo>
                <a:lnTo>
                  <a:pt x="82" y="39"/>
                </a:lnTo>
                <a:lnTo>
                  <a:pt x="83" y="38"/>
                </a:lnTo>
                <a:lnTo>
                  <a:pt x="82" y="35"/>
                </a:lnTo>
                <a:lnTo>
                  <a:pt x="80" y="35"/>
                </a:lnTo>
                <a:lnTo>
                  <a:pt x="79" y="32"/>
                </a:lnTo>
                <a:lnTo>
                  <a:pt x="80" y="30"/>
                </a:lnTo>
                <a:lnTo>
                  <a:pt x="82" y="29"/>
                </a:lnTo>
                <a:lnTo>
                  <a:pt x="83" y="29"/>
                </a:lnTo>
                <a:lnTo>
                  <a:pt x="83" y="29"/>
                </a:lnTo>
                <a:lnTo>
                  <a:pt x="84" y="29"/>
                </a:lnTo>
                <a:lnTo>
                  <a:pt x="93" y="24"/>
                </a:lnTo>
                <a:lnTo>
                  <a:pt x="95" y="25"/>
                </a:lnTo>
                <a:lnTo>
                  <a:pt x="97" y="24"/>
                </a:lnTo>
                <a:lnTo>
                  <a:pt x="100" y="24"/>
                </a:lnTo>
                <a:lnTo>
                  <a:pt x="100" y="25"/>
                </a:lnTo>
                <a:lnTo>
                  <a:pt x="99" y="28"/>
                </a:lnTo>
                <a:lnTo>
                  <a:pt x="99" y="28"/>
                </a:lnTo>
                <a:lnTo>
                  <a:pt x="101" y="28"/>
                </a:lnTo>
                <a:lnTo>
                  <a:pt x="102" y="28"/>
                </a:lnTo>
                <a:lnTo>
                  <a:pt x="103" y="27"/>
                </a:lnTo>
                <a:lnTo>
                  <a:pt x="103" y="25"/>
                </a:lnTo>
                <a:lnTo>
                  <a:pt x="102" y="25"/>
                </a:lnTo>
                <a:lnTo>
                  <a:pt x="101" y="24"/>
                </a:lnTo>
                <a:lnTo>
                  <a:pt x="101" y="23"/>
                </a:lnTo>
                <a:lnTo>
                  <a:pt x="99" y="23"/>
                </a:lnTo>
                <a:lnTo>
                  <a:pt x="97" y="22"/>
                </a:lnTo>
                <a:lnTo>
                  <a:pt x="97" y="20"/>
                </a:lnTo>
                <a:lnTo>
                  <a:pt x="96" y="19"/>
                </a:lnTo>
                <a:lnTo>
                  <a:pt x="96" y="18"/>
                </a:lnTo>
                <a:lnTo>
                  <a:pt x="97" y="15"/>
                </a:lnTo>
                <a:lnTo>
                  <a:pt x="95" y="15"/>
                </a:lnTo>
                <a:lnTo>
                  <a:pt x="95" y="15"/>
                </a:lnTo>
                <a:lnTo>
                  <a:pt x="95" y="14"/>
                </a:lnTo>
                <a:lnTo>
                  <a:pt x="95" y="13"/>
                </a:lnTo>
                <a:lnTo>
                  <a:pt x="97" y="11"/>
                </a:lnTo>
                <a:lnTo>
                  <a:pt x="95" y="11"/>
                </a:lnTo>
                <a:lnTo>
                  <a:pt x="92" y="10"/>
                </a:lnTo>
                <a:lnTo>
                  <a:pt x="84" y="9"/>
                </a:lnTo>
                <a:lnTo>
                  <a:pt x="82" y="7"/>
                </a:lnTo>
                <a:lnTo>
                  <a:pt x="81" y="7"/>
                </a:lnTo>
                <a:lnTo>
                  <a:pt x="77" y="5"/>
                </a:lnTo>
                <a:lnTo>
                  <a:pt x="76" y="3"/>
                </a:lnTo>
                <a:lnTo>
                  <a:pt x="75" y="2"/>
                </a:lnTo>
                <a:lnTo>
                  <a:pt x="75" y="1"/>
                </a:lnTo>
                <a:lnTo>
                  <a:pt x="75" y="0"/>
                </a:lnTo>
                <a:lnTo>
                  <a:pt x="73" y="1"/>
                </a:lnTo>
                <a:lnTo>
                  <a:pt x="72" y="1"/>
                </a:lnTo>
                <a:lnTo>
                  <a:pt x="70" y="2"/>
                </a:lnTo>
                <a:lnTo>
                  <a:pt x="64" y="2"/>
                </a:lnTo>
                <a:lnTo>
                  <a:pt x="60" y="4"/>
                </a:lnTo>
                <a:lnTo>
                  <a:pt x="55" y="5"/>
                </a:lnTo>
                <a:lnTo>
                  <a:pt x="54" y="5"/>
                </a:lnTo>
                <a:lnTo>
                  <a:pt x="51" y="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08" name="Freeform 207"/>
          <p:cNvSpPr>
            <a:spLocks/>
          </p:cNvSpPr>
          <p:nvPr/>
        </p:nvSpPr>
        <p:spPr bwMode="auto">
          <a:xfrm>
            <a:off x="4502150" y="2222466"/>
            <a:ext cx="279400" cy="261938"/>
          </a:xfrm>
          <a:custGeom>
            <a:avLst/>
            <a:gdLst>
              <a:gd name="T0" fmla="*/ 50 w 176"/>
              <a:gd name="T1" fmla="*/ 9 h 165"/>
              <a:gd name="T2" fmla="*/ 47 w 176"/>
              <a:gd name="T3" fmla="*/ 13 h 165"/>
              <a:gd name="T4" fmla="*/ 37 w 176"/>
              <a:gd name="T5" fmla="*/ 12 h 165"/>
              <a:gd name="T6" fmla="*/ 32 w 176"/>
              <a:gd name="T7" fmla="*/ 20 h 165"/>
              <a:gd name="T8" fmla="*/ 25 w 176"/>
              <a:gd name="T9" fmla="*/ 17 h 165"/>
              <a:gd name="T10" fmla="*/ 19 w 176"/>
              <a:gd name="T11" fmla="*/ 18 h 165"/>
              <a:gd name="T12" fmla="*/ 5 w 176"/>
              <a:gd name="T13" fmla="*/ 22 h 165"/>
              <a:gd name="T14" fmla="*/ 1 w 176"/>
              <a:gd name="T15" fmla="*/ 24 h 165"/>
              <a:gd name="T16" fmla="*/ 1 w 176"/>
              <a:gd name="T17" fmla="*/ 35 h 165"/>
              <a:gd name="T18" fmla="*/ 3 w 176"/>
              <a:gd name="T19" fmla="*/ 40 h 165"/>
              <a:gd name="T20" fmla="*/ 4 w 176"/>
              <a:gd name="T21" fmla="*/ 50 h 165"/>
              <a:gd name="T22" fmla="*/ 13 w 176"/>
              <a:gd name="T23" fmla="*/ 57 h 165"/>
              <a:gd name="T24" fmla="*/ 18 w 176"/>
              <a:gd name="T25" fmla="*/ 59 h 165"/>
              <a:gd name="T26" fmla="*/ 25 w 176"/>
              <a:gd name="T27" fmla="*/ 51 h 165"/>
              <a:gd name="T28" fmla="*/ 35 w 176"/>
              <a:gd name="T29" fmla="*/ 49 h 165"/>
              <a:gd name="T30" fmla="*/ 52 w 176"/>
              <a:gd name="T31" fmla="*/ 60 h 165"/>
              <a:gd name="T32" fmla="*/ 63 w 176"/>
              <a:gd name="T33" fmla="*/ 78 h 165"/>
              <a:gd name="T34" fmla="*/ 71 w 176"/>
              <a:gd name="T35" fmla="*/ 83 h 165"/>
              <a:gd name="T36" fmla="*/ 85 w 176"/>
              <a:gd name="T37" fmla="*/ 96 h 165"/>
              <a:gd name="T38" fmla="*/ 104 w 176"/>
              <a:gd name="T39" fmla="*/ 104 h 165"/>
              <a:gd name="T40" fmla="*/ 115 w 176"/>
              <a:gd name="T41" fmla="*/ 113 h 165"/>
              <a:gd name="T42" fmla="*/ 122 w 176"/>
              <a:gd name="T43" fmla="*/ 115 h 165"/>
              <a:gd name="T44" fmla="*/ 125 w 176"/>
              <a:gd name="T45" fmla="*/ 123 h 165"/>
              <a:gd name="T46" fmla="*/ 133 w 176"/>
              <a:gd name="T47" fmla="*/ 125 h 165"/>
              <a:gd name="T48" fmla="*/ 137 w 176"/>
              <a:gd name="T49" fmla="*/ 133 h 165"/>
              <a:gd name="T50" fmla="*/ 141 w 176"/>
              <a:gd name="T51" fmla="*/ 150 h 165"/>
              <a:gd name="T52" fmla="*/ 137 w 176"/>
              <a:gd name="T53" fmla="*/ 160 h 165"/>
              <a:gd name="T54" fmla="*/ 138 w 176"/>
              <a:gd name="T55" fmla="*/ 164 h 165"/>
              <a:gd name="T56" fmla="*/ 146 w 176"/>
              <a:gd name="T57" fmla="*/ 160 h 165"/>
              <a:gd name="T58" fmla="*/ 151 w 176"/>
              <a:gd name="T59" fmla="*/ 154 h 165"/>
              <a:gd name="T60" fmla="*/ 156 w 176"/>
              <a:gd name="T61" fmla="*/ 145 h 165"/>
              <a:gd name="T62" fmla="*/ 157 w 176"/>
              <a:gd name="T63" fmla="*/ 140 h 165"/>
              <a:gd name="T64" fmla="*/ 151 w 176"/>
              <a:gd name="T65" fmla="*/ 133 h 165"/>
              <a:gd name="T66" fmla="*/ 151 w 176"/>
              <a:gd name="T67" fmla="*/ 121 h 165"/>
              <a:gd name="T68" fmla="*/ 165 w 176"/>
              <a:gd name="T69" fmla="*/ 121 h 165"/>
              <a:gd name="T70" fmla="*/ 175 w 176"/>
              <a:gd name="T71" fmla="*/ 130 h 165"/>
              <a:gd name="T72" fmla="*/ 174 w 176"/>
              <a:gd name="T73" fmla="*/ 121 h 165"/>
              <a:gd name="T74" fmla="*/ 155 w 176"/>
              <a:gd name="T75" fmla="*/ 108 h 165"/>
              <a:gd name="T76" fmla="*/ 138 w 176"/>
              <a:gd name="T77" fmla="*/ 101 h 165"/>
              <a:gd name="T78" fmla="*/ 138 w 176"/>
              <a:gd name="T79" fmla="*/ 96 h 165"/>
              <a:gd name="T80" fmla="*/ 135 w 176"/>
              <a:gd name="T81" fmla="*/ 92 h 165"/>
              <a:gd name="T82" fmla="*/ 126 w 176"/>
              <a:gd name="T83" fmla="*/ 92 h 165"/>
              <a:gd name="T84" fmla="*/ 118 w 176"/>
              <a:gd name="T85" fmla="*/ 89 h 165"/>
              <a:gd name="T86" fmla="*/ 110 w 176"/>
              <a:gd name="T87" fmla="*/ 80 h 165"/>
              <a:gd name="T88" fmla="*/ 102 w 176"/>
              <a:gd name="T89" fmla="*/ 65 h 165"/>
              <a:gd name="T90" fmla="*/ 96 w 176"/>
              <a:gd name="T91" fmla="*/ 61 h 165"/>
              <a:gd name="T92" fmla="*/ 83 w 176"/>
              <a:gd name="T93" fmla="*/ 52 h 165"/>
              <a:gd name="T94" fmla="*/ 81 w 176"/>
              <a:gd name="T95" fmla="*/ 40 h 165"/>
              <a:gd name="T96" fmla="*/ 80 w 176"/>
              <a:gd name="T97" fmla="*/ 35 h 165"/>
              <a:gd name="T98" fmla="*/ 83 w 176"/>
              <a:gd name="T99" fmla="*/ 29 h 165"/>
              <a:gd name="T100" fmla="*/ 95 w 176"/>
              <a:gd name="T101" fmla="*/ 25 h 165"/>
              <a:gd name="T102" fmla="*/ 99 w 176"/>
              <a:gd name="T103" fmla="*/ 28 h 165"/>
              <a:gd name="T104" fmla="*/ 103 w 176"/>
              <a:gd name="T105" fmla="*/ 27 h 165"/>
              <a:gd name="T106" fmla="*/ 101 w 176"/>
              <a:gd name="T107" fmla="*/ 23 h 165"/>
              <a:gd name="T108" fmla="*/ 96 w 176"/>
              <a:gd name="T109" fmla="*/ 19 h 165"/>
              <a:gd name="T110" fmla="*/ 95 w 176"/>
              <a:gd name="T111" fmla="*/ 15 h 165"/>
              <a:gd name="T112" fmla="*/ 95 w 176"/>
              <a:gd name="T113" fmla="*/ 11 h 165"/>
              <a:gd name="T114" fmla="*/ 81 w 176"/>
              <a:gd name="T115" fmla="*/ 7 h 165"/>
              <a:gd name="T116" fmla="*/ 75 w 176"/>
              <a:gd name="T117" fmla="*/ 1 h 165"/>
              <a:gd name="T118" fmla="*/ 70 w 176"/>
              <a:gd name="T119" fmla="*/ 2 h 165"/>
              <a:gd name="T120" fmla="*/ 54 w 176"/>
              <a:gd name="T121" fmla="*/ 5 h 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76" h="165">
                <a:moveTo>
                  <a:pt x="51" y="4"/>
                </a:moveTo>
                <a:lnTo>
                  <a:pt x="51" y="7"/>
                </a:lnTo>
                <a:lnTo>
                  <a:pt x="51" y="8"/>
                </a:lnTo>
                <a:lnTo>
                  <a:pt x="50" y="9"/>
                </a:lnTo>
                <a:lnTo>
                  <a:pt x="47" y="9"/>
                </a:lnTo>
                <a:lnTo>
                  <a:pt x="46" y="10"/>
                </a:lnTo>
                <a:lnTo>
                  <a:pt x="47" y="12"/>
                </a:lnTo>
                <a:lnTo>
                  <a:pt x="47" y="13"/>
                </a:lnTo>
                <a:lnTo>
                  <a:pt x="47" y="14"/>
                </a:lnTo>
                <a:lnTo>
                  <a:pt x="42" y="13"/>
                </a:lnTo>
                <a:lnTo>
                  <a:pt x="39" y="13"/>
                </a:lnTo>
                <a:lnTo>
                  <a:pt x="37" y="12"/>
                </a:lnTo>
                <a:lnTo>
                  <a:pt x="35" y="11"/>
                </a:lnTo>
                <a:lnTo>
                  <a:pt x="35" y="13"/>
                </a:lnTo>
                <a:lnTo>
                  <a:pt x="32" y="18"/>
                </a:lnTo>
                <a:lnTo>
                  <a:pt x="32" y="20"/>
                </a:lnTo>
                <a:lnTo>
                  <a:pt x="31" y="21"/>
                </a:lnTo>
                <a:lnTo>
                  <a:pt x="30" y="20"/>
                </a:lnTo>
                <a:lnTo>
                  <a:pt x="27" y="19"/>
                </a:lnTo>
                <a:lnTo>
                  <a:pt x="25" y="17"/>
                </a:lnTo>
                <a:lnTo>
                  <a:pt x="23" y="12"/>
                </a:lnTo>
                <a:lnTo>
                  <a:pt x="21" y="13"/>
                </a:lnTo>
                <a:lnTo>
                  <a:pt x="19" y="15"/>
                </a:lnTo>
                <a:lnTo>
                  <a:pt x="19" y="18"/>
                </a:lnTo>
                <a:lnTo>
                  <a:pt x="18" y="19"/>
                </a:lnTo>
                <a:lnTo>
                  <a:pt x="15" y="20"/>
                </a:lnTo>
                <a:lnTo>
                  <a:pt x="12" y="20"/>
                </a:lnTo>
                <a:lnTo>
                  <a:pt x="5" y="22"/>
                </a:lnTo>
                <a:lnTo>
                  <a:pt x="3" y="22"/>
                </a:lnTo>
                <a:lnTo>
                  <a:pt x="1" y="22"/>
                </a:lnTo>
                <a:lnTo>
                  <a:pt x="1" y="23"/>
                </a:lnTo>
                <a:lnTo>
                  <a:pt x="1" y="24"/>
                </a:lnTo>
                <a:lnTo>
                  <a:pt x="4" y="30"/>
                </a:lnTo>
                <a:lnTo>
                  <a:pt x="4" y="32"/>
                </a:lnTo>
                <a:lnTo>
                  <a:pt x="2" y="34"/>
                </a:lnTo>
                <a:lnTo>
                  <a:pt x="1" y="35"/>
                </a:lnTo>
                <a:lnTo>
                  <a:pt x="0" y="38"/>
                </a:lnTo>
                <a:lnTo>
                  <a:pt x="0" y="39"/>
                </a:lnTo>
                <a:lnTo>
                  <a:pt x="1" y="40"/>
                </a:lnTo>
                <a:lnTo>
                  <a:pt x="3" y="40"/>
                </a:lnTo>
                <a:lnTo>
                  <a:pt x="3" y="42"/>
                </a:lnTo>
                <a:lnTo>
                  <a:pt x="3" y="44"/>
                </a:lnTo>
                <a:lnTo>
                  <a:pt x="3" y="47"/>
                </a:lnTo>
                <a:lnTo>
                  <a:pt x="4" y="50"/>
                </a:lnTo>
                <a:lnTo>
                  <a:pt x="5" y="51"/>
                </a:lnTo>
                <a:lnTo>
                  <a:pt x="12" y="52"/>
                </a:lnTo>
                <a:lnTo>
                  <a:pt x="13" y="54"/>
                </a:lnTo>
                <a:lnTo>
                  <a:pt x="13" y="57"/>
                </a:lnTo>
                <a:lnTo>
                  <a:pt x="13" y="58"/>
                </a:lnTo>
                <a:lnTo>
                  <a:pt x="13" y="59"/>
                </a:lnTo>
                <a:lnTo>
                  <a:pt x="15" y="59"/>
                </a:lnTo>
                <a:lnTo>
                  <a:pt x="18" y="59"/>
                </a:lnTo>
                <a:lnTo>
                  <a:pt x="22" y="57"/>
                </a:lnTo>
                <a:lnTo>
                  <a:pt x="22" y="55"/>
                </a:lnTo>
                <a:lnTo>
                  <a:pt x="24" y="52"/>
                </a:lnTo>
                <a:lnTo>
                  <a:pt x="25" y="51"/>
                </a:lnTo>
                <a:lnTo>
                  <a:pt x="26" y="50"/>
                </a:lnTo>
                <a:lnTo>
                  <a:pt x="31" y="48"/>
                </a:lnTo>
                <a:lnTo>
                  <a:pt x="33" y="48"/>
                </a:lnTo>
                <a:lnTo>
                  <a:pt x="35" y="49"/>
                </a:lnTo>
                <a:lnTo>
                  <a:pt x="46" y="54"/>
                </a:lnTo>
                <a:lnTo>
                  <a:pt x="51" y="55"/>
                </a:lnTo>
                <a:lnTo>
                  <a:pt x="52" y="57"/>
                </a:lnTo>
                <a:lnTo>
                  <a:pt x="52" y="60"/>
                </a:lnTo>
                <a:lnTo>
                  <a:pt x="56" y="68"/>
                </a:lnTo>
                <a:lnTo>
                  <a:pt x="57" y="71"/>
                </a:lnTo>
                <a:lnTo>
                  <a:pt x="57" y="72"/>
                </a:lnTo>
                <a:lnTo>
                  <a:pt x="63" y="78"/>
                </a:lnTo>
                <a:lnTo>
                  <a:pt x="65" y="80"/>
                </a:lnTo>
                <a:lnTo>
                  <a:pt x="66" y="84"/>
                </a:lnTo>
                <a:lnTo>
                  <a:pt x="69" y="83"/>
                </a:lnTo>
                <a:lnTo>
                  <a:pt x="71" y="83"/>
                </a:lnTo>
                <a:lnTo>
                  <a:pt x="73" y="85"/>
                </a:lnTo>
                <a:lnTo>
                  <a:pt x="77" y="90"/>
                </a:lnTo>
                <a:lnTo>
                  <a:pt x="80" y="90"/>
                </a:lnTo>
                <a:lnTo>
                  <a:pt x="85" y="96"/>
                </a:lnTo>
                <a:lnTo>
                  <a:pt x="89" y="100"/>
                </a:lnTo>
                <a:lnTo>
                  <a:pt x="95" y="104"/>
                </a:lnTo>
                <a:lnTo>
                  <a:pt x="96" y="104"/>
                </a:lnTo>
                <a:lnTo>
                  <a:pt x="104" y="104"/>
                </a:lnTo>
                <a:lnTo>
                  <a:pt x="105" y="104"/>
                </a:lnTo>
                <a:lnTo>
                  <a:pt x="110" y="109"/>
                </a:lnTo>
                <a:lnTo>
                  <a:pt x="111" y="111"/>
                </a:lnTo>
                <a:lnTo>
                  <a:pt x="115" y="113"/>
                </a:lnTo>
                <a:lnTo>
                  <a:pt x="116" y="114"/>
                </a:lnTo>
                <a:lnTo>
                  <a:pt x="115" y="115"/>
                </a:lnTo>
                <a:lnTo>
                  <a:pt x="121" y="115"/>
                </a:lnTo>
                <a:lnTo>
                  <a:pt x="122" y="115"/>
                </a:lnTo>
                <a:lnTo>
                  <a:pt x="123" y="116"/>
                </a:lnTo>
                <a:lnTo>
                  <a:pt x="124" y="120"/>
                </a:lnTo>
                <a:lnTo>
                  <a:pt x="124" y="121"/>
                </a:lnTo>
                <a:lnTo>
                  <a:pt x="125" y="123"/>
                </a:lnTo>
                <a:lnTo>
                  <a:pt x="128" y="124"/>
                </a:lnTo>
                <a:lnTo>
                  <a:pt x="131" y="125"/>
                </a:lnTo>
                <a:lnTo>
                  <a:pt x="132" y="128"/>
                </a:lnTo>
                <a:lnTo>
                  <a:pt x="133" y="125"/>
                </a:lnTo>
                <a:lnTo>
                  <a:pt x="134" y="125"/>
                </a:lnTo>
                <a:lnTo>
                  <a:pt x="136" y="128"/>
                </a:lnTo>
                <a:lnTo>
                  <a:pt x="136" y="130"/>
                </a:lnTo>
                <a:lnTo>
                  <a:pt x="137" y="133"/>
                </a:lnTo>
                <a:lnTo>
                  <a:pt x="141" y="138"/>
                </a:lnTo>
                <a:lnTo>
                  <a:pt x="143" y="143"/>
                </a:lnTo>
                <a:lnTo>
                  <a:pt x="145" y="149"/>
                </a:lnTo>
                <a:lnTo>
                  <a:pt x="141" y="150"/>
                </a:lnTo>
                <a:lnTo>
                  <a:pt x="140" y="151"/>
                </a:lnTo>
                <a:lnTo>
                  <a:pt x="141" y="154"/>
                </a:lnTo>
                <a:lnTo>
                  <a:pt x="138" y="156"/>
                </a:lnTo>
                <a:lnTo>
                  <a:pt x="137" y="160"/>
                </a:lnTo>
                <a:lnTo>
                  <a:pt x="138" y="163"/>
                </a:lnTo>
                <a:lnTo>
                  <a:pt x="138" y="164"/>
                </a:lnTo>
                <a:lnTo>
                  <a:pt x="140" y="164"/>
                </a:lnTo>
                <a:lnTo>
                  <a:pt x="138" y="164"/>
                </a:lnTo>
                <a:lnTo>
                  <a:pt x="141" y="165"/>
                </a:lnTo>
                <a:lnTo>
                  <a:pt x="143" y="164"/>
                </a:lnTo>
                <a:lnTo>
                  <a:pt x="144" y="164"/>
                </a:lnTo>
                <a:lnTo>
                  <a:pt x="146" y="160"/>
                </a:lnTo>
                <a:lnTo>
                  <a:pt x="146" y="159"/>
                </a:lnTo>
                <a:lnTo>
                  <a:pt x="148" y="156"/>
                </a:lnTo>
                <a:lnTo>
                  <a:pt x="150" y="156"/>
                </a:lnTo>
                <a:lnTo>
                  <a:pt x="151" y="154"/>
                </a:lnTo>
                <a:lnTo>
                  <a:pt x="151" y="149"/>
                </a:lnTo>
                <a:lnTo>
                  <a:pt x="151" y="147"/>
                </a:lnTo>
                <a:lnTo>
                  <a:pt x="153" y="147"/>
                </a:lnTo>
                <a:lnTo>
                  <a:pt x="156" y="145"/>
                </a:lnTo>
                <a:lnTo>
                  <a:pt x="157" y="145"/>
                </a:lnTo>
                <a:lnTo>
                  <a:pt x="157" y="144"/>
                </a:lnTo>
                <a:lnTo>
                  <a:pt x="157" y="141"/>
                </a:lnTo>
                <a:lnTo>
                  <a:pt x="157" y="140"/>
                </a:lnTo>
                <a:lnTo>
                  <a:pt x="156" y="138"/>
                </a:lnTo>
                <a:lnTo>
                  <a:pt x="155" y="136"/>
                </a:lnTo>
                <a:lnTo>
                  <a:pt x="153" y="134"/>
                </a:lnTo>
                <a:lnTo>
                  <a:pt x="151" y="133"/>
                </a:lnTo>
                <a:lnTo>
                  <a:pt x="148" y="132"/>
                </a:lnTo>
                <a:lnTo>
                  <a:pt x="148" y="129"/>
                </a:lnTo>
                <a:lnTo>
                  <a:pt x="150" y="124"/>
                </a:lnTo>
                <a:lnTo>
                  <a:pt x="151" y="121"/>
                </a:lnTo>
                <a:lnTo>
                  <a:pt x="154" y="118"/>
                </a:lnTo>
                <a:lnTo>
                  <a:pt x="157" y="118"/>
                </a:lnTo>
                <a:lnTo>
                  <a:pt x="162" y="121"/>
                </a:lnTo>
                <a:lnTo>
                  <a:pt x="165" y="121"/>
                </a:lnTo>
                <a:lnTo>
                  <a:pt x="168" y="123"/>
                </a:lnTo>
                <a:lnTo>
                  <a:pt x="170" y="125"/>
                </a:lnTo>
                <a:lnTo>
                  <a:pt x="172" y="128"/>
                </a:lnTo>
                <a:lnTo>
                  <a:pt x="175" y="130"/>
                </a:lnTo>
                <a:lnTo>
                  <a:pt x="175" y="129"/>
                </a:lnTo>
                <a:lnTo>
                  <a:pt x="176" y="125"/>
                </a:lnTo>
                <a:lnTo>
                  <a:pt x="175" y="123"/>
                </a:lnTo>
                <a:lnTo>
                  <a:pt x="174" y="121"/>
                </a:lnTo>
                <a:lnTo>
                  <a:pt x="171" y="119"/>
                </a:lnTo>
                <a:lnTo>
                  <a:pt x="167" y="114"/>
                </a:lnTo>
                <a:lnTo>
                  <a:pt x="157" y="110"/>
                </a:lnTo>
                <a:lnTo>
                  <a:pt x="155" y="108"/>
                </a:lnTo>
                <a:lnTo>
                  <a:pt x="152" y="106"/>
                </a:lnTo>
                <a:lnTo>
                  <a:pt x="143" y="103"/>
                </a:lnTo>
                <a:lnTo>
                  <a:pt x="141" y="101"/>
                </a:lnTo>
                <a:lnTo>
                  <a:pt x="138" y="101"/>
                </a:lnTo>
                <a:lnTo>
                  <a:pt x="137" y="101"/>
                </a:lnTo>
                <a:lnTo>
                  <a:pt x="136" y="100"/>
                </a:lnTo>
                <a:lnTo>
                  <a:pt x="136" y="99"/>
                </a:lnTo>
                <a:lnTo>
                  <a:pt x="138" y="96"/>
                </a:lnTo>
                <a:lnTo>
                  <a:pt x="140" y="95"/>
                </a:lnTo>
                <a:lnTo>
                  <a:pt x="140" y="93"/>
                </a:lnTo>
                <a:lnTo>
                  <a:pt x="138" y="91"/>
                </a:lnTo>
                <a:lnTo>
                  <a:pt x="135" y="92"/>
                </a:lnTo>
                <a:lnTo>
                  <a:pt x="134" y="92"/>
                </a:lnTo>
                <a:lnTo>
                  <a:pt x="136" y="92"/>
                </a:lnTo>
                <a:lnTo>
                  <a:pt x="134" y="92"/>
                </a:lnTo>
                <a:lnTo>
                  <a:pt x="126" y="92"/>
                </a:lnTo>
                <a:lnTo>
                  <a:pt x="126" y="94"/>
                </a:lnTo>
                <a:lnTo>
                  <a:pt x="123" y="91"/>
                </a:lnTo>
                <a:lnTo>
                  <a:pt x="120" y="89"/>
                </a:lnTo>
                <a:lnTo>
                  <a:pt x="118" y="89"/>
                </a:lnTo>
                <a:lnTo>
                  <a:pt x="117" y="88"/>
                </a:lnTo>
                <a:lnTo>
                  <a:pt x="116" y="88"/>
                </a:lnTo>
                <a:lnTo>
                  <a:pt x="111" y="82"/>
                </a:lnTo>
                <a:lnTo>
                  <a:pt x="110" y="80"/>
                </a:lnTo>
                <a:lnTo>
                  <a:pt x="107" y="77"/>
                </a:lnTo>
                <a:lnTo>
                  <a:pt x="105" y="72"/>
                </a:lnTo>
                <a:lnTo>
                  <a:pt x="104" y="71"/>
                </a:lnTo>
                <a:lnTo>
                  <a:pt x="102" y="65"/>
                </a:lnTo>
                <a:lnTo>
                  <a:pt x="100" y="62"/>
                </a:lnTo>
                <a:lnTo>
                  <a:pt x="99" y="61"/>
                </a:lnTo>
                <a:lnTo>
                  <a:pt x="97" y="61"/>
                </a:lnTo>
                <a:lnTo>
                  <a:pt x="96" y="61"/>
                </a:lnTo>
                <a:lnTo>
                  <a:pt x="93" y="59"/>
                </a:lnTo>
                <a:lnTo>
                  <a:pt x="91" y="57"/>
                </a:lnTo>
                <a:lnTo>
                  <a:pt x="85" y="54"/>
                </a:lnTo>
                <a:lnTo>
                  <a:pt x="83" y="52"/>
                </a:lnTo>
                <a:lnTo>
                  <a:pt x="82" y="51"/>
                </a:lnTo>
                <a:lnTo>
                  <a:pt x="81" y="49"/>
                </a:lnTo>
                <a:lnTo>
                  <a:pt x="81" y="44"/>
                </a:lnTo>
                <a:lnTo>
                  <a:pt x="81" y="40"/>
                </a:lnTo>
                <a:lnTo>
                  <a:pt x="82" y="39"/>
                </a:lnTo>
                <a:lnTo>
                  <a:pt x="83" y="38"/>
                </a:lnTo>
                <a:lnTo>
                  <a:pt x="82" y="35"/>
                </a:lnTo>
                <a:lnTo>
                  <a:pt x="80" y="35"/>
                </a:lnTo>
                <a:lnTo>
                  <a:pt x="79" y="32"/>
                </a:lnTo>
                <a:lnTo>
                  <a:pt x="80" y="30"/>
                </a:lnTo>
                <a:lnTo>
                  <a:pt x="82" y="29"/>
                </a:lnTo>
                <a:lnTo>
                  <a:pt x="83" y="29"/>
                </a:lnTo>
                <a:lnTo>
                  <a:pt x="83" y="29"/>
                </a:lnTo>
                <a:lnTo>
                  <a:pt x="84" y="29"/>
                </a:lnTo>
                <a:lnTo>
                  <a:pt x="93" y="24"/>
                </a:lnTo>
                <a:lnTo>
                  <a:pt x="95" y="25"/>
                </a:lnTo>
                <a:lnTo>
                  <a:pt x="97" y="24"/>
                </a:lnTo>
                <a:lnTo>
                  <a:pt x="100" y="24"/>
                </a:lnTo>
                <a:lnTo>
                  <a:pt x="100" y="25"/>
                </a:lnTo>
                <a:lnTo>
                  <a:pt x="99" y="28"/>
                </a:lnTo>
                <a:lnTo>
                  <a:pt x="99" y="28"/>
                </a:lnTo>
                <a:lnTo>
                  <a:pt x="101" y="28"/>
                </a:lnTo>
                <a:lnTo>
                  <a:pt x="102" y="28"/>
                </a:lnTo>
                <a:lnTo>
                  <a:pt x="103" y="27"/>
                </a:lnTo>
                <a:lnTo>
                  <a:pt x="103" y="25"/>
                </a:lnTo>
                <a:lnTo>
                  <a:pt x="102" y="25"/>
                </a:lnTo>
                <a:lnTo>
                  <a:pt x="101" y="24"/>
                </a:lnTo>
                <a:lnTo>
                  <a:pt x="101" y="23"/>
                </a:lnTo>
                <a:lnTo>
                  <a:pt x="99" y="23"/>
                </a:lnTo>
                <a:lnTo>
                  <a:pt x="97" y="22"/>
                </a:lnTo>
                <a:lnTo>
                  <a:pt x="97" y="20"/>
                </a:lnTo>
                <a:lnTo>
                  <a:pt x="96" y="19"/>
                </a:lnTo>
                <a:lnTo>
                  <a:pt x="96" y="18"/>
                </a:lnTo>
                <a:lnTo>
                  <a:pt x="97" y="15"/>
                </a:lnTo>
                <a:lnTo>
                  <a:pt x="95" y="15"/>
                </a:lnTo>
                <a:lnTo>
                  <a:pt x="95" y="15"/>
                </a:lnTo>
                <a:lnTo>
                  <a:pt x="95" y="14"/>
                </a:lnTo>
                <a:lnTo>
                  <a:pt x="95" y="13"/>
                </a:lnTo>
                <a:lnTo>
                  <a:pt x="97" y="11"/>
                </a:lnTo>
                <a:lnTo>
                  <a:pt x="95" y="11"/>
                </a:lnTo>
                <a:lnTo>
                  <a:pt x="92" y="10"/>
                </a:lnTo>
                <a:lnTo>
                  <a:pt x="84" y="9"/>
                </a:lnTo>
                <a:lnTo>
                  <a:pt x="82" y="7"/>
                </a:lnTo>
                <a:lnTo>
                  <a:pt x="81" y="7"/>
                </a:lnTo>
                <a:lnTo>
                  <a:pt x="77" y="5"/>
                </a:lnTo>
                <a:lnTo>
                  <a:pt x="76" y="3"/>
                </a:lnTo>
                <a:lnTo>
                  <a:pt x="75" y="2"/>
                </a:lnTo>
                <a:lnTo>
                  <a:pt x="75" y="1"/>
                </a:lnTo>
                <a:lnTo>
                  <a:pt x="75" y="0"/>
                </a:lnTo>
                <a:lnTo>
                  <a:pt x="73" y="1"/>
                </a:lnTo>
                <a:lnTo>
                  <a:pt x="72" y="1"/>
                </a:lnTo>
                <a:lnTo>
                  <a:pt x="70" y="2"/>
                </a:lnTo>
                <a:lnTo>
                  <a:pt x="64" y="2"/>
                </a:lnTo>
                <a:lnTo>
                  <a:pt x="60" y="4"/>
                </a:lnTo>
                <a:lnTo>
                  <a:pt x="55" y="5"/>
                </a:lnTo>
                <a:lnTo>
                  <a:pt x="54" y="5"/>
                </a:lnTo>
                <a:lnTo>
                  <a:pt x="51" y="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09" name="Freeform 208"/>
          <p:cNvSpPr>
            <a:spLocks/>
          </p:cNvSpPr>
          <p:nvPr/>
        </p:nvSpPr>
        <p:spPr bwMode="auto">
          <a:xfrm>
            <a:off x="4708525" y="2271678"/>
            <a:ext cx="90487" cy="80963"/>
          </a:xfrm>
          <a:custGeom>
            <a:avLst/>
            <a:gdLst>
              <a:gd name="T0" fmla="*/ 42 w 57"/>
              <a:gd name="T1" fmla="*/ 49 h 51"/>
              <a:gd name="T2" fmla="*/ 36 w 57"/>
              <a:gd name="T3" fmla="*/ 46 h 51"/>
              <a:gd name="T4" fmla="*/ 33 w 57"/>
              <a:gd name="T5" fmla="*/ 42 h 51"/>
              <a:gd name="T6" fmla="*/ 28 w 57"/>
              <a:gd name="T7" fmla="*/ 42 h 51"/>
              <a:gd name="T8" fmla="*/ 23 w 57"/>
              <a:gd name="T9" fmla="*/ 32 h 51"/>
              <a:gd name="T10" fmla="*/ 15 w 57"/>
              <a:gd name="T11" fmla="*/ 27 h 51"/>
              <a:gd name="T12" fmla="*/ 10 w 57"/>
              <a:gd name="T13" fmla="*/ 22 h 51"/>
              <a:gd name="T14" fmla="*/ 6 w 57"/>
              <a:gd name="T15" fmla="*/ 17 h 51"/>
              <a:gd name="T16" fmla="*/ 6 w 57"/>
              <a:gd name="T17" fmla="*/ 13 h 51"/>
              <a:gd name="T18" fmla="*/ 2 w 57"/>
              <a:gd name="T19" fmla="*/ 9 h 51"/>
              <a:gd name="T20" fmla="*/ 1 w 57"/>
              <a:gd name="T21" fmla="*/ 7 h 51"/>
              <a:gd name="T22" fmla="*/ 1 w 57"/>
              <a:gd name="T23" fmla="*/ 0 h 51"/>
              <a:gd name="T24" fmla="*/ 7 w 57"/>
              <a:gd name="T25" fmla="*/ 4 h 51"/>
              <a:gd name="T26" fmla="*/ 15 w 57"/>
              <a:gd name="T27" fmla="*/ 1 h 51"/>
              <a:gd name="T28" fmla="*/ 20 w 57"/>
              <a:gd name="T29" fmla="*/ 2 h 51"/>
              <a:gd name="T30" fmla="*/ 23 w 57"/>
              <a:gd name="T31" fmla="*/ 2 h 51"/>
              <a:gd name="T32" fmla="*/ 27 w 57"/>
              <a:gd name="T33" fmla="*/ 2 h 51"/>
              <a:gd name="T34" fmla="*/ 32 w 57"/>
              <a:gd name="T35" fmla="*/ 2 h 51"/>
              <a:gd name="T36" fmla="*/ 35 w 57"/>
              <a:gd name="T37" fmla="*/ 3 h 51"/>
              <a:gd name="T38" fmla="*/ 40 w 57"/>
              <a:gd name="T39" fmla="*/ 4 h 51"/>
              <a:gd name="T40" fmla="*/ 42 w 57"/>
              <a:gd name="T41" fmla="*/ 3 h 51"/>
              <a:gd name="T42" fmla="*/ 44 w 57"/>
              <a:gd name="T43" fmla="*/ 7 h 51"/>
              <a:gd name="T44" fmla="*/ 48 w 57"/>
              <a:gd name="T45" fmla="*/ 7 h 51"/>
              <a:gd name="T46" fmla="*/ 52 w 57"/>
              <a:gd name="T47" fmla="*/ 8 h 51"/>
              <a:gd name="T48" fmla="*/ 50 w 57"/>
              <a:gd name="T49" fmla="*/ 13 h 51"/>
              <a:gd name="T50" fmla="*/ 50 w 57"/>
              <a:gd name="T51" fmla="*/ 14 h 51"/>
              <a:gd name="T52" fmla="*/ 51 w 57"/>
              <a:gd name="T53" fmla="*/ 18 h 51"/>
              <a:gd name="T54" fmla="*/ 53 w 57"/>
              <a:gd name="T55" fmla="*/ 19 h 51"/>
              <a:gd name="T56" fmla="*/ 55 w 57"/>
              <a:gd name="T57" fmla="*/ 20 h 51"/>
              <a:gd name="T58" fmla="*/ 56 w 57"/>
              <a:gd name="T59" fmla="*/ 22 h 51"/>
              <a:gd name="T60" fmla="*/ 56 w 57"/>
              <a:gd name="T61" fmla="*/ 23 h 51"/>
              <a:gd name="T62" fmla="*/ 52 w 57"/>
              <a:gd name="T63" fmla="*/ 23 h 51"/>
              <a:gd name="T64" fmla="*/ 54 w 57"/>
              <a:gd name="T65" fmla="*/ 26 h 51"/>
              <a:gd name="T66" fmla="*/ 56 w 57"/>
              <a:gd name="T67" fmla="*/ 30 h 51"/>
              <a:gd name="T68" fmla="*/ 55 w 57"/>
              <a:gd name="T69" fmla="*/ 30 h 51"/>
              <a:gd name="T70" fmla="*/ 53 w 57"/>
              <a:gd name="T71" fmla="*/ 31 h 51"/>
              <a:gd name="T72" fmla="*/ 51 w 57"/>
              <a:gd name="T73" fmla="*/ 32 h 51"/>
              <a:gd name="T74" fmla="*/ 48 w 57"/>
              <a:gd name="T75" fmla="*/ 32 h 51"/>
              <a:gd name="T76" fmla="*/ 50 w 57"/>
              <a:gd name="T77" fmla="*/ 34 h 51"/>
              <a:gd name="T78" fmla="*/ 51 w 57"/>
              <a:gd name="T79" fmla="*/ 37 h 51"/>
              <a:gd name="T80" fmla="*/ 48 w 57"/>
              <a:gd name="T81" fmla="*/ 36 h 51"/>
              <a:gd name="T82" fmla="*/ 45 w 57"/>
              <a:gd name="T83" fmla="*/ 37 h 51"/>
              <a:gd name="T84" fmla="*/ 45 w 57"/>
              <a:gd name="T85" fmla="*/ 40 h 51"/>
              <a:gd name="T86" fmla="*/ 42 w 57"/>
              <a:gd name="T87" fmla="*/ 41 h 51"/>
              <a:gd name="T88" fmla="*/ 42 w 57"/>
              <a:gd name="T89" fmla="*/ 44 h 51"/>
              <a:gd name="T90" fmla="*/ 44 w 57"/>
              <a:gd name="T91" fmla="*/ 48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7" h="51">
                <a:moveTo>
                  <a:pt x="43" y="51"/>
                </a:moveTo>
                <a:lnTo>
                  <a:pt x="43" y="49"/>
                </a:lnTo>
                <a:lnTo>
                  <a:pt x="42" y="49"/>
                </a:lnTo>
                <a:lnTo>
                  <a:pt x="42" y="48"/>
                </a:lnTo>
                <a:lnTo>
                  <a:pt x="40" y="48"/>
                </a:lnTo>
                <a:lnTo>
                  <a:pt x="36" y="46"/>
                </a:lnTo>
                <a:lnTo>
                  <a:pt x="35" y="46"/>
                </a:lnTo>
                <a:lnTo>
                  <a:pt x="33" y="43"/>
                </a:lnTo>
                <a:lnTo>
                  <a:pt x="33" y="42"/>
                </a:lnTo>
                <a:lnTo>
                  <a:pt x="31" y="42"/>
                </a:lnTo>
                <a:lnTo>
                  <a:pt x="28" y="43"/>
                </a:lnTo>
                <a:lnTo>
                  <a:pt x="28" y="42"/>
                </a:lnTo>
                <a:lnTo>
                  <a:pt x="31" y="41"/>
                </a:lnTo>
                <a:lnTo>
                  <a:pt x="24" y="36"/>
                </a:lnTo>
                <a:lnTo>
                  <a:pt x="23" y="32"/>
                </a:lnTo>
                <a:lnTo>
                  <a:pt x="22" y="32"/>
                </a:lnTo>
                <a:lnTo>
                  <a:pt x="21" y="31"/>
                </a:lnTo>
                <a:lnTo>
                  <a:pt x="15" y="27"/>
                </a:lnTo>
                <a:lnTo>
                  <a:pt x="15" y="26"/>
                </a:lnTo>
                <a:lnTo>
                  <a:pt x="12" y="22"/>
                </a:lnTo>
                <a:lnTo>
                  <a:pt x="10" y="22"/>
                </a:lnTo>
                <a:lnTo>
                  <a:pt x="7" y="19"/>
                </a:lnTo>
                <a:lnTo>
                  <a:pt x="6" y="19"/>
                </a:lnTo>
                <a:lnTo>
                  <a:pt x="6" y="17"/>
                </a:lnTo>
                <a:lnTo>
                  <a:pt x="7" y="17"/>
                </a:lnTo>
                <a:lnTo>
                  <a:pt x="6" y="16"/>
                </a:lnTo>
                <a:lnTo>
                  <a:pt x="6" y="13"/>
                </a:lnTo>
                <a:lnTo>
                  <a:pt x="4" y="12"/>
                </a:lnTo>
                <a:lnTo>
                  <a:pt x="3" y="10"/>
                </a:lnTo>
                <a:lnTo>
                  <a:pt x="2" y="9"/>
                </a:lnTo>
                <a:lnTo>
                  <a:pt x="0" y="8"/>
                </a:lnTo>
                <a:lnTo>
                  <a:pt x="0" y="8"/>
                </a:lnTo>
                <a:lnTo>
                  <a:pt x="1" y="7"/>
                </a:lnTo>
                <a:lnTo>
                  <a:pt x="1" y="6"/>
                </a:lnTo>
                <a:lnTo>
                  <a:pt x="0" y="1"/>
                </a:lnTo>
                <a:lnTo>
                  <a:pt x="1" y="0"/>
                </a:lnTo>
                <a:lnTo>
                  <a:pt x="4" y="0"/>
                </a:lnTo>
                <a:lnTo>
                  <a:pt x="4" y="1"/>
                </a:lnTo>
                <a:lnTo>
                  <a:pt x="7" y="4"/>
                </a:lnTo>
                <a:lnTo>
                  <a:pt x="8" y="4"/>
                </a:lnTo>
                <a:lnTo>
                  <a:pt x="11" y="0"/>
                </a:lnTo>
                <a:lnTo>
                  <a:pt x="15" y="1"/>
                </a:lnTo>
                <a:lnTo>
                  <a:pt x="16" y="0"/>
                </a:lnTo>
                <a:lnTo>
                  <a:pt x="16" y="0"/>
                </a:lnTo>
                <a:lnTo>
                  <a:pt x="20" y="2"/>
                </a:lnTo>
                <a:lnTo>
                  <a:pt x="21" y="2"/>
                </a:lnTo>
                <a:lnTo>
                  <a:pt x="22" y="1"/>
                </a:lnTo>
                <a:lnTo>
                  <a:pt x="23" y="2"/>
                </a:lnTo>
                <a:lnTo>
                  <a:pt x="26" y="2"/>
                </a:lnTo>
                <a:lnTo>
                  <a:pt x="27" y="2"/>
                </a:lnTo>
                <a:lnTo>
                  <a:pt x="27" y="2"/>
                </a:lnTo>
                <a:lnTo>
                  <a:pt x="30" y="3"/>
                </a:lnTo>
                <a:lnTo>
                  <a:pt x="31" y="3"/>
                </a:lnTo>
                <a:lnTo>
                  <a:pt x="32" y="2"/>
                </a:lnTo>
                <a:lnTo>
                  <a:pt x="33" y="2"/>
                </a:lnTo>
                <a:lnTo>
                  <a:pt x="34" y="3"/>
                </a:lnTo>
                <a:lnTo>
                  <a:pt x="35" y="3"/>
                </a:lnTo>
                <a:lnTo>
                  <a:pt x="35" y="2"/>
                </a:lnTo>
                <a:lnTo>
                  <a:pt x="38" y="3"/>
                </a:lnTo>
                <a:lnTo>
                  <a:pt x="40" y="4"/>
                </a:lnTo>
                <a:lnTo>
                  <a:pt x="40" y="3"/>
                </a:lnTo>
                <a:lnTo>
                  <a:pt x="40" y="3"/>
                </a:lnTo>
                <a:lnTo>
                  <a:pt x="42" y="3"/>
                </a:lnTo>
                <a:lnTo>
                  <a:pt x="44" y="6"/>
                </a:lnTo>
                <a:lnTo>
                  <a:pt x="43" y="6"/>
                </a:lnTo>
                <a:lnTo>
                  <a:pt x="44" y="7"/>
                </a:lnTo>
                <a:lnTo>
                  <a:pt x="45" y="8"/>
                </a:lnTo>
                <a:lnTo>
                  <a:pt x="47" y="8"/>
                </a:lnTo>
                <a:lnTo>
                  <a:pt x="48" y="7"/>
                </a:lnTo>
                <a:lnTo>
                  <a:pt x="52" y="7"/>
                </a:lnTo>
                <a:lnTo>
                  <a:pt x="53" y="8"/>
                </a:lnTo>
                <a:lnTo>
                  <a:pt x="52" y="8"/>
                </a:lnTo>
                <a:lnTo>
                  <a:pt x="52" y="9"/>
                </a:lnTo>
                <a:lnTo>
                  <a:pt x="51" y="11"/>
                </a:lnTo>
                <a:lnTo>
                  <a:pt x="50" y="13"/>
                </a:lnTo>
                <a:lnTo>
                  <a:pt x="50" y="13"/>
                </a:lnTo>
                <a:lnTo>
                  <a:pt x="50" y="14"/>
                </a:lnTo>
                <a:lnTo>
                  <a:pt x="50" y="14"/>
                </a:lnTo>
                <a:lnTo>
                  <a:pt x="50" y="16"/>
                </a:lnTo>
                <a:lnTo>
                  <a:pt x="50" y="18"/>
                </a:lnTo>
                <a:lnTo>
                  <a:pt x="51" y="18"/>
                </a:lnTo>
                <a:lnTo>
                  <a:pt x="52" y="18"/>
                </a:lnTo>
                <a:lnTo>
                  <a:pt x="53" y="18"/>
                </a:lnTo>
                <a:lnTo>
                  <a:pt x="53" y="19"/>
                </a:lnTo>
                <a:lnTo>
                  <a:pt x="53" y="19"/>
                </a:lnTo>
                <a:lnTo>
                  <a:pt x="54" y="20"/>
                </a:lnTo>
                <a:lnTo>
                  <a:pt x="55" y="20"/>
                </a:lnTo>
                <a:lnTo>
                  <a:pt x="55" y="20"/>
                </a:lnTo>
                <a:lnTo>
                  <a:pt x="55" y="21"/>
                </a:lnTo>
                <a:lnTo>
                  <a:pt x="56" y="22"/>
                </a:lnTo>
                <a:lnTo>
                  <a:pt x="57" y="22"/>
                </a:lnTo>
                <a:lnTo>
                  <a:pt x="57" y="22"/>
                </a:lnTo>
                <a:lnTo>
                  <a:pt x="56" y="23"/>
                </a:lnTo>
                <a:lnTo>
                  <a:pt x="54" y="23"/>
                </a:lnTo>
                <a:lnTo>
                  <a:pt x="53" y="23"/>
                </a:lnTo>
                <a:lnTo>
                  <a:pt x="52" y="23"/>
                </a:lnTo>
                <a:lnTo>
                  <a:pt x="52" y="23"/>
                </a:lnTo>
                <a:lnTo>
                  <a:pt x="53" y="23"/>
                </a:lnTo>
                <a:lnTo>
                  <a:pt x="54" y="26"/>
                </a:lnTo>
                <a:lnTo>
                  <a:pt x="56" y="28"/>
                </a:lnTo>
                <a:lnTo>
                  <a:pt x="56" y="28"/>
                </a:lnTo>
                <a:lnTo>
                  <a:pt x="56" y="30"/>
                </a:lnTo>
                <a:lnTo>
                  <a:pt x="56" y="30"/>
                </a:lnTo>
                <a:lnTo>
                  <a:pt x="55" y="30"/>
                </a:lnTo>
                <a:lnTo>
                  <a:pt x="55" y="30"/>
                </a:lnTo>
                <a:lnTo>
                  <a:pt x="54" y="30"/>
                </a:lnTo>
                <a:lnTo>
                  <a:pt x="54" y="31"/>
                </a:lnTo>
                <a:lnTo>
                  <a:pt x="53" y="31"/>
                </a:lnTo>
                <a:lnTo>
                  <a:pt x="52" y="31"/>
                </a:lnTo>
                <a:lnTo>
                  <a:pt x="51" y="32"/>
                </a:lnTo>
                <a:lnTo>
                  <a:pt x="51" y="32"/>
                </a:lnTo>
                <a:lnTo>
                  <a:pt x="50" y="31"/>
                </a:lnTo>
                <a:lnTo>
                  <a:pt x="50" y="31"/>
                </a:lnTo>
                <a:lnTo>
                  <a:pt x="48" y="32"/>
                </a:lnTo>
                <a:lnTo>
                  <a:pt x="48" y="32"/>
                </a:lnTo>
                <a:lnTo>
                  <a:pt x="50" y="33"/>
                </a:lnTo>
                <a:lnTo>
                  <a:pt x="50" y="34"/>
                </a:lnTo>
                <a:lnTo>
                  <a:pt x="51" y="34"/>
                </a:lnTo>
                <a:lnTo>
                  <a:pt x="51" y="37"/>
                </a:lnTo>
                <a:lnTo>
                  <a:pt x="51" y="37"/>
                </a:lnTo>
                <a:lnTo>
                  <a:pt x="50" y="37"/>
                </a:lnTo>
                <a:lnTo>
                  <a:pt x="50" y="37"/>
                </a:lnTo>
                <a:lnTo>
                  <a:pt x="48" y="36"/>
                </a:lnTo>
                <a:lnTo>
                  <a:pt x="48" y="34"/>
                </a:lnTo>
                <a:lnTo>
                  <a:pt x="47" y="34"/>
                </a:lnTo>
                <a:lnTo>
                  <a:pt x="45" y="37"/>
                </a:lnTo>
                <a:lnTo>
                  <a:pt x="45" y="38"/>
                </a:lnTo>
                <a:lnTo>
                  <a:pt x="44" y="38"/>
                </a:lnTo>
                <a:lnTo>
                  <a:pt x="45" y="40"/>
                </a:lnTo>
                <a:lnTo>
                  <a:pt x="44" y="41"/>
                </a:lnTo>
                <a:lnTo>
                  <a:pt x="43" y="41"/>
                </a:lnTo>
                <a:lnTo>
                  <a:pt x="42" y="41"/>
                </a:lnTo>
                <a:lnTo>
                  <a:pt x="42" y="43"/>
                </a:lnTo>
                <a:lnTo>
                  <a:pt x="42" y="43"/>
                </a:lnTo>
                <a:lnTo>
                  <a:pt x="42" y="44"/>
                </a:lnTo>
                <a:lnTo>
                  <a:pt x="43" y="46"/>
                </a:lnTo>
                <a:lnTo>
                  <a:pt x="44" y="47"/>
                </a:lnTo>
                <a:lnTo>
                  <a:pt x="44" y="48"/>
                </a:lnTo>
                <a:lnTo>
                  <a:pt x="43" y="49"/>
                </a:lnTo>
                <a:lnTo>
                  <a:pt x="43" y="5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10" name="Freeform 209"/>
          <p:cNvSpPr>
            <a:spLocks/>
          </p:cNvSpPr>
          <p:nvPr/>
        </p:nvSpPr>
        <p:spPr bwMode="auto">
          <a:xfrm>
            <a:off x="4708525" y="2271678"/>
            <a:ext cx="90487" cy="80963"/>
          </a:xfrm>
          <a:custGeom>
            <a:avLst/>
            <a:gdLst>
              <a:gd name="T0" fmla="*/ 42 w 57"/>
              <a:gd name="T1" fmla="*/ 49 h 51"/>
              <a:gd name="T2" fmla="*/ 36 w 57"/>
              <a:gd name="T3" fmla="*/ 46 h 51"/>
              <a:gd name="T4" fmla="*/ 33 w 57"/>
              <a:gd name="T5" fmla="*/ 42 h 51"/>
              <a:gd name="T6" fmla="*/ 28 w 57"/>
              <a:gd name="T7" fmla="*/ 42 h 51"/>
              <a:gd name="T8" fmla="*/ 23 w 57"/>
              <a:gd name="T9" fmla="*/ 32 h 51"/>
              <a:gd name="T10" fmla="*/ 15 w 57"/>
              <a:gd name="T11" fmla="*/ 27 h 51"/>
              <a:gd name="T12" fmla="*/ 10 w 57"/>
              <a:gd name="T13" fmla="*/ 22 h 51"/>
              <a:gd name="T14" fmla="*/ 6 w 57"/>
              <a:gd name="T15" fmla="*/ 17 h 51"/>
              <a:gd name="T16" fmla="*/ 6 w 57"/>
              <a:gd name="T17" fmla="*/ 13 h 51"/>
              <a:gd name="T18" fmla="*/ 2 w 57"/>
              <a:gd name="T19" fmla="*/ 9 h 51"/>
              <a:gd name="T20" fmla="*/ 1 w 57"/>
              <a:gd name="T21" fmla="*/ 7 h 51"/>
              <a:gd name="T22" fmla="*/ 1 w 57"/>
              <a:gd name="T23" fmla="*/ 0 h 51"/>
              <a:gd name="T24" fmla="*/ 7 w 57"/>
              <a:gd name="T25" fmla="*/ 4 h 51"/>
              <a:gd name="T26" fmla="*/ 15 w 57"/>
              <a:gd name="T27" fmla="*/ 1 h 51"/>
              <a:gd name="T28" fmla="*/ 20 w 57"/>
              <a:gd name="T29" fmla="*/ 2 h 51"/>
              <a:gd name="T30" fmla="*/ 23 w 57"/>
              <a:gd name="T31" fmla="*/ 2 h 51"/>
              <a:gd name="T32" fmla="*/ 27 w 57"/>
              <a:gd name="T33" fmla="*/ 2 h 51"/>
              <a:gd name="T34" fmla="*/ 32 w 57"/>
              <a:gd name="T35" fmla="*/ 2 h 51"/>
              <a:gd name="T36" fmla="*/ 35 w 57"/>
              <a:gd name="T37" fmla="*/ 3 h 51"/>
              <a:gd name="T38" fmla="*/ 40 w 57"/>
              <a:gd name="T39" fmla="*/ 4 h 51"/>
              <a:gd name="T40" fmla="*/ 42 w 57"/>
              <a:gd name="T41" fmla="*/ 3 h 51"/>
              <a:gd name="T42" fmla="*/ 44 w 57"/>
              <a:gd name="T43" fmla="*/ 7 h 51"/>
              <a:gd name="T44" fmla="*/ 48 w 57"/>
              <a:gd name="T45" fmla="*/ 7 h 51"/>
              <a:gd name="T46" fmla="*/ 52 w 57"/>
              <a:gd name="T47" fmla="*/ 8 h 51"/>
              <a:gd name="T48" fmla="*/ 50 w 57"/>
              <a:gd name="T49" fmla="*/ 13 h 51"/>
              <a:gd name="T50" fmla="*/ 50 w 57"/>
              <a:gd name="T51" fmla="*/ 14 h 51"/>
              <a:gd name="T52" fmla="*/ 51 w 57"/>
              <a:gd name="T53" fmla="*/ 18 h 51"/>
              <a:gd name="T54" fmla="*/ 53 w 57"/>
              <a:gd name="T55" fmla="*/ 19 h 51"/>
              <a:gd name="T56" fmla="*/ 55 w 57"/>
              <a:gd name="T57" fmla="*/ 20 h 51"/>
              <a:gd name="T58" fmla="*/ 56 w 57"/>
              <a:gd name="T59" fmla="*/ 22 h 51"/>
              <a:gd name="T60" fmla="*/ 56 w 57"/>
              <a:gd name="T61" fmla="*/ 23 h 51"/>
              <a:gd name="T62" fmla="*/ 52 w 57"/>
              <a:gd name="T63" fmla="*/ 23 h 51"/>
              <a:gd name="T64" fmla="*/ 54 w 57"/>
              <a:gd name="T65" fmla="*/ 26 h 51"/>
              <a:gd name="T66" fmla="*/ 56 w 57"/>
              <a:gd name="T67" fmla="*/ 30 h 51"/>
              <a:gd name="T68" fmla="*/ 55 w 57"/>
              <a:gd name="T69" fmla="*/ 30 h 51"/>
              <a:gd name="T70" fmla="*/ 53 w 57"/>
              <a:gd name="T71" fmla="*/ 31 h 51"/>
              <a:gd name="T72" fmla="*/ 51 w 57"/>
              <a:gd name="T73" fmla="*/ 32 h 51"/>
              <a:gd name="T74" fmla="*/ 48 w 57"/>
              <a:gd name="T75" fmla="*/ 32 h 51"/>
              <a:gd name="T76" fmla="*/ 50 w 57"/>
              <a:gd name="T77" fmla="*/ 34 h 51"/>
              <a:gd name="T78" fmla="*/ 51 w 57"/>
              <a:gd name="T79" fmla="*/ 37 h 51"/>
              <a:gd name="T80" fmla="*/ 48 w 57"/>
              <a:gd name="T81" fmla="*/ 36 h 51"/>
              <a:gd name="T82" fmla="*/ 45 w 57"/>
              <a:gd name="T83" fmla="*/ 37 h 51"/>
              <a:gd name="T84" fmla="*/ 45 w 57"/>
              <a:gd name="T85" fmla="*/ 40 h 51"/>
              <a:gd name="T86" fmla="*/ 42 w 57"/>
              <a:gd name="T87" fmla="*/ 41 h 51"/>
              <a:gd name="T88" fmla="*/ 42 w 57"/>
              <a:gd name="T89" fmla="*/ 44 h 51"/>
              <a:gd name="T90" fmla="*/ 44 w 57"/>
              <a:gd name="T91" fmla="*/ 48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7" h="51">
                <a:moveTo>
                  <a:pt x="43" y="51"/>
                </a:moveTo>
                <a:lnTo>
                  <a:pt x="43" y="49"/>
                </a:lnTo>
                <a:lnTo>
                  <a:pt x="42" y="49"/>
                </a:lnTo>
                <a:lnTo>
                  <a:pt x="42" y="48"/>
                </a:lnTo>
                <a:lnTo>
                  <a:pt x="40" y="48"/>
                </a:lnTo>
                <a:lnTo>
                  <a:pt x="36" y="46"/>
                </a:lnTo>
                <a:lnTo>
                  <a:pt x="35" y="46"/>
                </a:lnTo>
                <a:lnTo>
                  <a:pt x="33" y="43"/>
                </a:lnTo>
                <a:lnTo>
                  <a:pt x="33" y="42"/>
                </a:lnTo>
                <a:lnTo>
                  <a:pt x="31" y="42"/>
                </a:lnTo>
                <a:lnTo>
                  <a:pt x="28" y="43"/>
                </a:lnTo>
                <a:lnTo>
                  <a:pt x="28" y="42"/>
                </a:lnTo>
                <a:lnTo>
                  <a:pt x="31" y="41"/>
                </a:lnTo>
                <a:lnTo>
                  <a:pt x="24" y="36"/>
                </a:lnTo>
                <a:lnTo>
                  <a:pt x="23" y="32"/>
                </a:lnTo>
                <a:lnTo>
                  <a:pt x="22" y="32"/>
                </a:lnTo>
                <a:lnTo>
                  <a:pt x="21" y="31"/>
                </a:lnTo>
                <a:lnTo>
                  <a:pt x="15" y="27"/>
                </a:lnTo>
                <a:lnTo>
                  <a:pt x="15" y="26"/>
                </a:lnTo>
                <a:lnTo>
                  <a:pt x="12" y="22"/>
                </a:lnTo>
                <a:lnTo>
                  <a:pt x="10" y="22"/>
                </a:lnTo>
                <a:lnTo>
                  <a:pt x="7" y="19"/>
                </a:lnTo>
                <a:lnTo>
                  <a:pt x="6" y="19"/>
                </a:lnTo>
                <a:lnTo>
                  <a:pt x="6" y="17"/>
                </a:lnTo>
                <a:lnTo>
                  <a:pt x="7" y="17"/>
                </a:lnTo>
                <a:lnTo>
                  <a:pt x="6" y="16"/>
                </a:lnTo>
                <a:lnTo>
                  <a:pt x="6" y="13"/>
                </a:lnTo>
                <a:lnTo>
                  <a:pt x="4" y="12"/>
                </a:lnTo>
                <a:lnTo>
                  <a:pt x="3" y="10"/>
                </a:lnTo>
                <a:lnTo>
                  <a:pt x="2" y="9"/>
                </a:lnTo>
                <a:lnTo>
                  <a:pt x="0" y="8"/>
                </a:lnTo>
                <a:lnTo>
                  <a:pt x="0" y="8"/>
                </a:lnTo>
                <a:lnTo>
                  <a:pt x="1" y="7"/>
                </a:lnTo>
                <a:lnTo>
                  <a:pt x="1" y="6"/>
                </a:lnTo>
                <a:lnTo>
                  <a:pt x="0" y="1"/>
                </a:lnTo>
                <a:lnTo>
                  <a:pt x="1" y="0"/>
                </a:lnTo>
                <a:lnTo>
                  <a:pt x="4" y="0"/>
                </a:lnTo>
                <a:lnTo>
                  <a:pt x="4" y="1"/>
                </a:lnTo>
                <a:lnTo>
                  <a:pt x="7" y="4"/>
                </a:lnTo>
                <a:lnTo>
                  <a:pt x="8" y="4"/>
                </a:lnTo>
                <a:lnTo>
                  <a:pt x="11" y="0"/>
                </a:lnTo>
                <a:lnTo>
                  <a:pt x="15" y="1"/>
                </a:lnTo>
                <a:lnTo>
                  <a:pt x="16" y="0"/>
                </a:lnTo>
                <a:lnTo>
                  <a:pt x="16" y="0"/>
                </a:lnTo>
                <a:lnTo>
                  <a:pt x="20" y="2"/>
                </a:lnTo>
                <a:lnTo>
                  <a:pt x="21" y="2"/>
                </a:lnTo>
                <a:lnTo>
                  <a:pt x="22" y="1"/>
                </a:lnTo>
                <a:lnTo>
                  <a:pt x="23" y="2"/>
                </a:lnTo>
                <a:lnTo>
                  <a:pt x="26" y="2"/>
                </a:lnTo>
                <a:lnTo>
                  <a:pt x="27" y="2"/>
                </a:lnTo>
                <a:lnTo>
                  <a:pt x="27" y="2"/>
                </a:lnTo>
                <a:lnTo>
                  <a:pt x="30" y="3"/>
                </a:lnTo>
                <a:lnTo>
                  <a:pt x="31" y="3"/>
                </a:lnTo>
                <a:lnTo>
                  <a:pt x="32" y="2"/>
                </a:lnTo>
                <a:lnTo>
                  <a:pt x="33" y="2"/>
                </a:lnTo>
                <a:lnTo>
                  <a:pt x="34" y="3"/>
                </a:lnTo>
                <a:lnTo>
                  <a:pt x="35" y="3"/>
                </a:lnTo>
                <a:lnTo>
                  <a:pt x="35" y="2"/>
                </a:lnTo>
                <a:lnTo>
                  <a:pt x="38" y="3"/>
                </a:lnTo>
                <a:lnTo>
                  <a:pt x="40" y="4"/>
                </a:lnTo>
                <a:lnTo>
                  <a:pt x="40" y="3"/>
                </a:lnTo>
                <a:lnTo>
                  <a:pt x="40" y="3"/>
                </a:lnTo>
                <a:lnTo>
                  <a:pt x="42" y="3"/>
                </a:lnTo>
                <a:lnTo>
                  <a:pt x="44" y="6"/>
                </a:lnTo>
                <a:lnTo>
                  <a:pt x="43" y="6"/>
                </a:lnTo>
                <a:lnTo>
                  <a:pt x="44" y="7"/>
                </a:lnTo>
                <a:lnTo>
                  <a:pt x="45" y="8"/>
                </a:lnTo>
                <a:lnTo>
                  <a:pt x="47" y="8"/>
                </a:lnTo>
                <a:lnTo>
                  <a:pt x="48" y="7"/>
                </a:lnTo>
                <a:lnTo>
                  <a:pt x="52" y="7"/>
                </a:lnTo>
                <a:lnTo>
                  <a:pt x="53" y="8"/>
                </a:lnTo>
                <a:lnTo>
                  <a:pt x="52" y="8"/>
                </a:lnTo>
                <a:lnTo>
                  <a:pt x="52" y="9"/>
                </a:lnTo>
                <a:lnTo>
                  <a:pt x="51" y="11"/>
                </a:lnTo>
                <a:lnTo>
                  <a:pt x="50" y="13"/>
                </a:lnTo>
                <a:lnTo>
                  <a:pt x="50" y="13"/>
                </a:lnTo>
                <a:lnTo>
                  <a:pt x="50" y="14"/>
                </a:lnTo>
                <a:lnTo>
                  <a:pt x="50" y="14"/>
                </a:lnTo>
                <a:lnTo>
                  <a:pt x="50" y="16"/>
                </a:lnTo>
                <a:lnTo>
                  <a:pt x="50" y="18"/>
                </a:lnTo>
                <a:lnTo>
                  <a:pt x="51" y="18"/>
                </a:lnTo>
                <a:lnTo>
                  <a:pt x="52" y="18"/>
                </a:lnTo>
                <a:lnTo>
                  <a:pt x="53" y="18"/>
                </a:lnTo>
                <a:lnTo>
                  <a:pt x="53" y="19"/>
                </a:lnTo>
                <a:lnTo>
                  <a:pt x="53" y="19"/>
                </a:lnTo>
                <a:lnTo>
                  <a:pt x="54" y="20"/>
                </a:lnTo>
                <a:lnTo>
                  <a:pt x="55" y="20"/>
                </a:lnTo>
                <a:lnTo>
                  <a:pt x="55" y="20"/>
                </a:lnTo>
                <a:lnTo>
                  <a:pt x="55" y="21"/>
                </a:lnTo>
                <a:lnTo>
                  <a:pt x="56" y="22"/>
                </a:lnTo>
                <a:lnTo>
                  <a:pt x="57" y="22"/>
                </a:lnTo>
                <a:lnTo>
                  <a:pt x="57" y="22"/>
                </a:lnTo>
                <a:lnTo>
                  <a:pt x="56" y="23"/>
                </a:lnTo>
                <a:lnTo>
                  <a:pt x="54" y="23"/>
                </a:lnTo>
                <a:lnTo>
                  <a:pt x="53" y="23"/>
                </a:lnTo>
                <a:lnTo>
                  <a:pt x="52" y="23"/>
                </a:lnTo>
                <a:lnTo>
                  <a:pt x="52" y="23"/>
                </a:lnTo>
                <a:lnTo>
                  <a:pt x="53" y="23"/>
                </a:lnTo>
                <a:lnTo>
                  <a:pt x="54" y="26"/>
                </a:lnTo>
                <a:lnTo>
                  <a:pt x="56" y="28"/>
                </a:lnTo>
                <a:lnTo>
                  <a:pt x="56" y="28"/>
                </a:lnTo>
                <a:lnTo>
                  <a:pt x="56" y="30"/>
                </a:lnTo>
                <a:lnTo>
                  <a:pt x="56" y="30"/>
                </a:lnTo>
                <a:lnTo>
                  <a:pt x="55" y="30"/>
                </a:lnTo>
                <a:lnTo>
                  <a:pt x="55" y="30"/>
                </a:lnTo>
                <a:lnTo>
                  <a:pt x="54" y="30"/>
                </a:lnTo>
                <a:lnTo>
                  <a:pt x="54" y="31"/>
                </a:lnTo>
                <a:lnTo>
                  <a:pt x="53" y="31"/>
                </a:lnTo>
                <a:lnTo>
                  <a:pt x="52" y="31"/>
                </a:lnTo>
                <a:lnTo>
                  <a:pt x="51" y="32"/>
                </a:lnTo>
                <a:lnTo>
                  <a:pt x="51" y="32"/>
                </a:lnTo>
                <a:lnTo>
                  <a:pt x="50" y="31"/>
                </a:lnTo>
                <a:lnTo>
                  <a:pt x="50" y="31"/>
                </a:lnTo>
                <a:lnTo>
                  <a:pt x="48" y="32"/>
                </a:lnTo>
                <a:lnTo>
                  <a:pt x="48" y="32"/>
                </a:lnTo>
                <a:lnTo>
                  <a:pt x="50" y="33"/>
                </a:lnTo>
                <a:lnTo>
                  <a:pt x="50" y="34"/>
                </a:lnTo>
                <a:lnTo>
                  <a:pt x="51" y="34"/>
                </a:lnTo>
                <a:lnTo>
                  <a:pt x="51" y="37"/>
                </a:lnTo>
                <a:lnTo>
                  <a:pt x="51" y="37"/>
                </a:lnTo>
                <a:lnTo>
                  <a:pt x="50" y="37"/>
                </a:lnTo>
                <a:lnTo>
                  <a:pt x="50" y="37"/>
                </a:lnTo>
                <a:lnTo>
                  <a:pt x="48" y="36"/>
                </a:lnTo>
                <a:lnTo>
                  <a:pt x="48" y="34"/>
                </a:lnTo>
                <a:lnTo>
                  <a:pt x="47" y="34"/>
                </a:lnTo>
                <a:lnTo>
                  <a:pt x="45" y="37"/>
                </a:lnTo>
                <a:lnTo>
                  <a:pt x="45" y="38"/>
                </a:lnTo>
                <a:lnTo>
                  <a:pt x="44" y="38"/>
                </a:lnTo>
                <a:lnTo>
                  <a:pt x="45" y="40"/>
                </a:lnTo>
                <a:lnTo>
                  <a:pt x="44" y="41"/>
                </a:lnTo>
                <a:lnTo>
                  <a:pt x="43" y="41"/>
                </a:lnTo>
                <a:lnTo>
                  <a:pt x="42" y="41"/>
                </a:lnTo>
                <a:lnTo>
                  <a:pt x="42" y="43"/>
                </a:lnTo>
                <a:lnTo>
                  <a:pt x="42" y="43"/>
                </a:lnTo>
                <a:lnTo>
                  <a:pt x="42" y="44"/>
                </a:lnTo>
                <a:lnTo>
                  <a:pt x="43" y="46"/>
                </a:lnTo>
                <a:lnTo>
                  <a:pt x="44" y="47"/>
                </a:lnTo>
                <a:lnTo>
                  <a:pt x="44" y="48"/>
                </a:lnTo>
                <a:lnTo>
                  <a:pt x="43" y="49"/>
                </a:lnTo>
                <a:lnTo>
                  <a:pt x="43" y="5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11" name="Freeform 210"/>
          <p:cNvSpPr>
            <a:spLocks/>
          </p:cNvSpPr>
          <p:nvPr/>
        </p:nvSpPr>
        <p:spPr bwMode="auto">
          <a:xfrm>
            <a:off x="4822825" y="2373278"/>
            <a:ext cx="144462" cy="119063"/>
          </a:xfrm>
          <a:custGeom>
            <a:avLst/>
            <a:gdLst>
              <a:gd name="T0" fmla="*/ 83 w 91"/>
              <a:gd name="T1" fmla="*/ 17 h 75"/>
              <a:gd name="T2" fmla="*/ 67 w 91"/>
              <a:gd name="T3" fmla="*/ 16 h 75"/>
              <a:gd name="T4" fmla="*/ 64 w 91"/>
              <a:gd name="T5" fmla="*/ 16 h 75"/>
              <a:gd name="T6" fmla="*/ 59 w 91"/>
              <a:gd name="T7" fmla="*/ 18 h 75"/>
              <a:gd name="T8" fmla="*/ 51 w 91"/>
              <a:gd name="T9" fmla="*/ 21 h 75"/>
              <a:gd name="T10" fmla="*/ 57 w 91"/>
              <a:gd name="T11" fmla="*/ 25 h 75"/>
              <a:gd name="T12" fmla="*/ 61 w 91"/>
              <a:gd name="T13" fmla="*/ 29 h 75"/>
              <a:gd name="T14" fmla="*/ 53 w 91"/>
              <a:gd name="T15" fmla="*/ 26 h 75"/>
              <a:gd name="T16" fmla="*/ 55 w 91"/>
              <a:gd name="T17" fmla="*/ 30 h 75"/>
              <a:gd name="T18" fmla="*/ 54 w 91"/>
              <a:gd name="T19" fmla="*/ 31 h 75"/>
              <a:gd name="T20" fmla="*/ 50 w 91"/>
              <a:gd name="T21" fmla="*/ 28 h 75"/>
              <a:gd name="T22" fmla="*/ 49 w 91"/>
              <a:gd name="T23" fmla="*/ 30 h 75"/>
              <a:gd name="T24" fmla="*/ 50 w 91"/>
              <a:gd name="T25" fmla="*/ 34 h 75"/>
              <a:gd name="T26" fmla="*/ 45 w 91"/>
              <a:gd name="T27" fmla="*/ 28 h 75"/>
              <a:gd name="T28" fmla="*/ 39 w 91"/>
              <a:gd name="T29" fmla="*/ 23 h 75"/>
              <a:gd name="T30" fmla="*/ 35 w 91"/>
              <a:gd name="T31" fmla="*/ 23 h 75"/>
              <a:gd name="T32" fmla="*/ 35 w 91"/>
              <a:gd name="T33" fmla="*/ 29 h 75"/>
              <a:gd name="T34" fmla="*/ 39 w 91"/>
              <a:gd name="T35" fmla="*/ 35 h 75"/>
              <a:gd name="T36" fmla="*/ 45 w 91"/>
              <a:gd name="T37" fmla="*/ 43 h 75"/>
              <a:gd name="T38" fmla="*/ 47 w 91"/>
              <a:gd name="T39" fmla="*/ 48 h 75"/>
              <a:gd name="T40" fmla="*/ 45 w 91"/>
              <a:gd name="T41" fmla="*/ 48 h 75"/>
              <a:gd name="T42" fmla="*/ 44 w 91"/>
              <a:gd name="T43" fmla="*/ 45 h 75"/>
              <a:gd name="T44" fmla="*/ 41 w 91"/>
              <a:gd name="T45" fmla="*/ 47 h 75"/>
              <a:gd name="T46" fmla="*/ 42 w 91"/>
              <a:gd name="T47" fmla="*/ 51 h 75"/>
              <a:gd name="T48" fmla="*/ 40 w 91"/>
              <a:gd name="T49" fmla="*/ 51 h 75"/>
              <a:gd name="T50" fmla="*/ 37 w 91"/>
              <a:gd name="T51" fmla="*/ 54 h 75"/>
              <a:gd name="T52" fmla="*/ 44 w 91"/>
              <a:gd name="T53" fmla="*/ 56 h 75"/>
              <a:gd name="T54" fmla="*/ 49 w 91"/>
              <a:gd name="T55" fmla="*/ 57 h 75"/>
              <a:gd name="T56" fmla="*/ 52 w 91"/>
              <a:gd name="T57" fmla="*/ 59 h 75"/>
              <a:gd name="T58" fmla="*/ 56 w 91"/>
              <a:gd name="T59" fmla="*/ 64 h 75"/>
              <a:gd name="T60" fmla="*/ 60 w 91"/>
              <a:gd name="T61" fmla="*/ 65 h 75"/>
              <a:gd name="T62" fmla="*/ 57 w 91"/>
              <a:gd name="T63" fmla="*/ 72 h 75"/>
              <a:gd name="T64" fmla="*/ 51 w 91"/>
              <a:gd name="T65" fmla="*/ 69 h 75"/>
              <a:gd name="T66" fmla="*/ 44 w 91"/>
              <a:gd name="T67" fmla="*/ 68 h 75"/>
              <a:gd name="T68" fmla="*/ 46 w 91"/>
              <a:gd name="T69" fmla="*/ 66 h 75"/>
              <a:gd name="T70" fmla="*/ 40 w 91"/>
              <a:gd name="T71" fmla="*/ 61 h 75"/>
              <a:gd name="T72" fmla="*/ 35 w 91"/>
              <a:gd name="T73" fmla="*/ 61 h 75"/>
              <a:gd name="T74" fmla="*/ 29 w 91"/>
              <a:gd name="T75" fmla="*/ 61 h 75"/>
              <a:gd name="T76" fmla="*/ 20 w 91"/>
              <a:gd name="T77" fmla="*/ 61 h 75"/>
              <a:gd name="T78" fmla="*/ 19 w 91"/>
              <a:gd name="T79" fmla="*/ 61 h 75"/>
              <a:gd name="T80" fmla="*/ 15 w 91"/>
              <a:gd name="T81" fmla="*/ 60 h 75"/>
              <a:gd name="T82" fmla="*/ 10 w 91"/>
              <a:gd name="T83" fmla="*/ 52 h 75"/>
              <a:gd name="T84" fmla="*/ 15 w 91"/>
              <a:gd name="T85" fmla="*/ 52 h 75"/>
              <a:gd name="T86" fmla="*/ 11 w 91"/>
              <a:gd name="T87" fmla="*/ 48 h 75"/>
              <a:gd name="T88" fmla="*/ 5 w 91"/>
              <a:gd name="T89" fmla="*/ 45 h 75"/>
              <a:gd name="T90" fmla="*/ 1 w 91"/>
              <a:gd name="T91" fmla="*/ 38 h 75"/>
              <a:gd name="T92" fmla="*/ 0 w 91"/>
              <a:gd name="T93" fmla="*/ 38 h 75"/>
              <a:gd name="T94" fmla="*/ 3 w 91"/>
              <a:gd name="T95" fmla="*/ 36 h 75"/>
              <a:gd name="T96" fmla="*/ 4 w 91"/>
              <a:gd name="T97" fmla="*/ 31 h 75"/>
              <a:gd name="T98" fmla="*/ 9 w 91"/>
              <a:gd name="T99" fmla="*/ 26 h 75"/>
              <a:gd name="T100" fmla="*/ 12 w 91"/>
              <a:gd name="T101" fmla="*/ 19 h 75"/>
              <a:gd name="T102" fmla="*/ 21 w 91"/>
              <a:gd name="T103" fmla="*/ 15 h 75"/>
              <a:gd name="T104" fmla="*/ 27 w 91"/>
              <a:gd name="T105" fmla="*/ 11 h 75"/>
              <a:gd name="T106" fmla="*/ 36 w 91"/>
              <a:gd name="T107" fmla="*/ 8 h 75"/>
              <a:gd name="T108" fmla="*/ 42 w 91"/>
              <a:gd name="T109" fmla="*/ 7 h 75"/>
              <a:gd name="T110" fmla="*/ 52 w 91"/>
              <a:gd name="T111" fmla="*/ 6 h 75"/>
              <a:gd name="T112" fmla="*/ 63 w 91"/>
              <a:gd name="T113" fmla="*/ 4 h 75"/>
              <a:gd name="T114" fmla="*/ 76 w 91"/>
              <a:gd name="T115" fmla="*/ 9 h 75"/>
              <a:gd name="T116" fmla="*/ 85 w 91"/>
              <a:gd name="T117" fmla="*/ 5 h 75"/>
              <a:gd name="T118" fmla="*/ 87 w 91"/>
              <a:gd name="T119" fmla="*/ 0 h 75"/>
              <a:gd name="T120" fmla="*/ 91 w 91"/>
              <a:gd name="T121" fmla="*/ 4 h 75"/>
              <a:gd name="T122" fmla="*/ 88 w 91"/>
              <a:gd name="T123" fmla="*/ 8 h 75"/>
              <a:gd name="T124" fmla="*/ 87 w 91"/>
              <a:gd name="T125" fmla="*/ 16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" h="75">
                <a:moveTo>
                  <a:pt x="85" y="19"/>
                </a:moveTo>
                <a:lnTo>
                  <a:pt x="83" y="17"/>
                </a:lnTo>
                <a:lnTo>
                  <a:pt x="70" y="15"/>
                </a:lnTo>
                <a:lnTo>
                  <a:pt x="67" y="16"/>
                </a:lnTo>
                <a:lnTo>
                  <a:pt x="66" y="16"/>
                </a:lnTo>
                <a:lnTo>
                  <a:pt x="64" y="16"/>
                </a:lnTo>
                <a:lnTo>
                  <a:pt x="61" y="15"/>
                </a:lnTo>
                <a:lnTo>
                  <a:pt x="59" y="18"/>
                </a:lnTo>
                <a:lnTo>
                  <a:pt x="54" y="19"/>
                </a:lnTo>
                <a:lnTo>
                  <a:pt x="51" y="21"/>
                </a:lnTo>
                <a:lnTo>
                  <a:pt x="53" y="24"/>
                </a:lnTo>
                <a:lnTo>
                  <a:pt x="57" y="25"/>
                </a:lnTo>
                <a:lnTo>
                  <a:pt x="60" y="27"/>
                </a:lnTo>
                <a:lnTo>
                  <a:pt x="61" y="29"/>
                </a:lnTo>
                <a:lnTo>
                  <a:pt x="57" y="27"/>
                </a:lnTo>
                <a:lnTo>
                  <a:pt x="53" y="26"/>
                </a:lnTo>
                <a:lnTo>
                  <a:pt x="52" y="28"/>
                </a:lnTo>
                <a:lnTo>
                  <a:pt x="55" y="30"/>
                </a:lnTo>
                <a:lnTo>
                  <a:pt x="56" y="33"/>
                </a:lnTo>
                <a:lnTo>
                  <a:pt x="54" y="31"/>
                </a:lnTo>
                <a:lnTo>
                  <a:pt x="52" y="28"/>
                </a:lnTo>
                <a:lnTo>
                  <a:pt x="50" y="28"/>
                </a:lnTo>
                <a:lnTo>
                  <a:pt x="47" y="28"/>
                </a:lnTo>
                <a:lnTo>
                  <a:pt x="49" y="30"/>
                </a:lnTo>
                <a:lnTo>
                  <a:pt x="52" y="33"/>
                </a:lnTo>
                <a:lnTo>
                  <a:pt x="50" y="34"/>
                </a:lnTo>
                <a:lnTo>
                  <a:pt x="47" y="31"/>
                </a:lnTo>
                <a:lnTo>
                  <a:pt x="45" y="28"/>
                </a:lnTo>
                <a:lnTo>
                  <a:pt x="39" y="24"/>
                </a:lnTo>
                <a:lnTo>
                  <a:pt x="39" y="23"/>
                </a:lnTo>
                <a:lnTo>
                  <a:pt x="40" y="21"/>
                </a:lnTo>
                <a:lnTo>
                  <a:pt x="35" y="23"/>
                </a:lnTo>
                <a:lnTo>
                  <a:pt x="35" y="26"/>
                </a:lnTo>
                <a:lnTo>
                  <a:pt x="35" y="29"/>
                </a:lnTo>
                <a:lnTo>
                  <a:pt x="36" y="33"/>
                </a:lnTo>
                <a:lnTo>
                  <a:pt x="39" y="35"/>
                </a:lnTo>
                <a:lnTo>
                  <a:pt x="40" y="38"/>
                </a:lnTo>
                <a:lnTo>
                  <a:pt x="45" y="43"/>
                </a:lnTo>
                <a:lnTo>
                  <a:pt x="46" y="46"/>
                </a:lnTo>
                <a:lnTo>
                  <a:pt x="47" y="48"/>
                </a:lnTo>
                <a:lnTo>
                  <a:pt x="46" y="48"/>
                </a:lnTo>
                <a:lnTo>
                  <a:pt x="45" y="48"/>
                </a:lnTo>
                <a:lnTo>
                  <a:pt x="45" y="46"/>
                </a:lnTo>
                <a:lnTo>
                  <a:pt x="44" y="45"/>
                </a:lnTo>
                <a:lnTo>
                  <a:pt x="42" y="45"/>
                </a:lnTo>
                <a:lnTo>
                  <a:pt x="41" y="47"/>
                </a:lnTo>
                <a:lnTo>
                  <a:pt x="43" y="50"/>
                </a:lnTo>
                <a:lnTo>
                  <a:pt x="42" y="51"/>
                </a:lnTo>
                <a:lnTo>
                  <a:pt x="41" y="51"/>
                </a:lnTo>
                <a:lnTo>
                  <a:pt x="40" y="51"/>
                </a:lnTo>
                <a:lnTo>
                  <a:pt x="36" y="51"/>
                </a:lnTo>
                <a:lnTo>
                  <a:pt x="37" y="54"/>
                </a:lnTo>
                <a:lnTo>
                  <a:pt x="41" y="55"/>
                </a:lnTo>
                <a:lnTo>
                  <a:pt x="44" y="56"/>
                </a:lnTo>
                <a:lnTo>
                  <a:pt x="45" y="57"/>
                </a:lnTo>
                <a:lnTo>
                  <a:pt x="49" y="57"/>
                </a:lnTo>
                <a:lnTo>
                  <a:pt x="50" y="59"/>
                </a:lnTo>
                <a:lnTo>
                  <a:pt x="52" y="59"/>
                </a:lnTo>
                <a:lnTo>
                  <a:pt x="54" y="61"/>
                </a:lnTo>
                <a:lnTo>
                  <a:pt x="56" y="64"/>
                </a:lnTo>
                <a:lnTo>
                  <a:pt x="57" y="64"/>
                </a:lnTo>
                <a:lnTo>
                  <a:pt x="60" y="65"/>
                </a:lnTo>
                <a:lnTo>
                  <a:pt x="61" y="75"/>
                </a:lnTo>
                <a:lnTo>
                  <a:pt x="57" y="72"/>
                </a:lnTo>
                <a:lnTo>
                  <a:pt x="54" y="69"/>
                </a:lnTo>
                <a:lnTo>
                  <a:pt x="51" y="69"/>
                </a:lnTo>
                <a:lnTo>
                  <a:pt x="46" y="69"/>
                </a:lnTo>
                <a:lnTo>
                  <a:pt x="44" y="68"/>
                </a:lnTo>
                <a:lnTo>
                  <a:pt x="46" y="67"/>
                </a:lnTo>
                <a:lnTo>
                  <a:pt x="46" y="66"/>
                </a:lnTo>
                <a:lnTo>
                  <a:pt x="44" y="65"/>
                </a:lnTo>
                <a:lnTo>
                  <a:pt x="40" y="61"/>
                </a:lnTo>
                <a:lnTo>
                  <a:pt x="39" y="62"/>
                </a:lnTo>
                <a:lnTo>
                  <a:pt x="35" y="61"/>
                </a:lnTo>
                <a:lnTo>
                  <a:pt x="32" y="62"/>
                </a:lnTo>
                <a:lnTo>
                  <a:pt x="29" y="61"/>
                </a:lnTo>
                <a:lnTo>
                  <a:pt x="24" y="62"/>
                </a:lnTo>
                <a:lnTo>
                  <a:pt x="20" y="61"/>
                </a:lnTo>
                <a:lnTo>
                  <a:pt x="19" y="61"/>
                </a:lnTo>
                <a:lnTo>
                  <a:pt x="19" y="61"/>
                </a:lnTo>
                <a:lnTo>
                  <a:pt x="17" y="62"/>
                </a:lnTo>
                <a:lnTo>
                  <a:pt x="15" y="60"/>
                </a:lnTo>
                <a:lnTo>
                  <a:pt x="14" y="57"/>
                </a:lnTo>
                <a:lnTo>
                  <a:pt x="10" y="52"/>
                </a:lnTo>
                <a:lnTo>
                  <a:pt x="13" y="52"/>
                </a:lnTo>
                <a:lnTo>
                  <a:pt x="15" y="52"/>
                </a:lnTo>
                <a:lnTo>
                  <a:pt x="14" y="50"/>
                </a:lnTo>
                <a:lnTo>
                  <a:pt x="11" y="48"/>
                </a:lnTo>
                <a:lnTo>
                  <a:pt x="10" y="51"/>
                </a:lnTo>
                <a:lnTo>
                  <a:pt x="5" y="45"/>
                </a:lnTo>
                <a:lnTo>
                  <a:pt x="2" y="43"/>
                </a:lnTo>
                <a:lnTo>
                  <a:pt x="1" y="38"/>
                </a:lnTo>
                <a:lnTo>
                  <a:pt x="1" y="38"/>
                </a:lnTo>
                <a:lnTo>
                  <a:pt x="0" y="38"/>
                </a:lnTo>
                <a:lnTo>
                  <a:pt x="1" y="38"/>
                </a:lnTo>
                <a:lnTo>
                  <a:pt x="3" y="36"/>
                </a:lnTo>
                <a:lnTo>
                  <a:pt x="4" y="35"/>
                </a:lnTo>
                <a:lnTo>
                  <a:pt x="4" y="31"/>
                </a:lnTo>
                <a:lnTo>
                  <a:pt x="6" y="30"/>
                </a:lnTo>
                <a:lnTo>
                  <a:pt x="9" y="26"/>
                </a:lnTo>
                <a:lnTo>
                  <a:pt x="12" y="23"/>
                </a:lnTo>
                <a:lnTo>
                  <a:pt x="12" y="19"/>
                </a:lnTo>
                <a:lnTo>
                  <a:pt x="11" y="17"/>
                </a:lnTo>
                <a:lnTo>
                  <a:pt x="21" y="15"/>
                </a:lnTo>
                <a:lnTo>
                  <a:pt x="23" y="13"/>
                </a:lnTo>
                <a:lnTo>
                  <a:pt x="27" y="11"/>
                </a:lnTo>
                <a:lnTo>
                  <a:pt x="33" y="11"/>
                </a:lnTo>
                <a:lnTo>
                  <a:pt x="36" y="8"/>
                </a:lnTo>
                <a:lnTo>
                  <a:pt x="39" y="7"/>
                </a:lnTo>
                <a:lnTo>
                  <a:pt x="42" y="7"/>
                </a:lnTo>
                <a:lnTo>
                  <a:pt x="46" y="6"/>
                </a:lnTo>
                <a:lnTo>
                  <a:pt x="52" y="6"/>
                </a:lnTo>
                <a:lnTo>
                  <a:pt x="61" y="4"/>
                </a:lnTo>
                <a:lnTo>
                  <a:pt x="63" y="4"/>
                </a:lnTo>
                <a:lnTo>
                  <a:pt x="66" y="6"/>
                </a:lnTo>
                <a:lnTo>
                  <a:pt x="76" y="9"/>
                </a:lnTo>
                <a:lnTo>
                  <a:pt x="81" y="8"/>
                </a:lnTo>
                <a:lnTo>
                  <a:pt x="85" y="5"/>
                </a:lnTo>
                <a:lnTo>
                  <a:pt x="84" y="0"/>
                </a:lnTo>
                <a:lnTo>
                  <a:pt x="87" y="0"/>
                </a:lnTo>
                <a:lnTo>
                  <a:pt x="88" y="1"/>
                </a:lnTo>
                <a:lnTo>
                  <a:pt x="91" y="4"/>
                </a:lnTo>
                <a:lnTo>
                  <a:pt x="91" y="6"/>
                </a:lnTo>
                <a:lnTo>
                  <a:pt x="88" y="8"/>
                </a:lnTo>
                <a:lnTo>
                  <a:pt x="88" y="11"/>
                </a:lnTo>
                <a:lnTo>
                  <a:pt x="87" y="16"/>
                </a:lnTo>
                <a:lnTo>
                  <a:pt x="85" y="19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12" name="Freeform 211"/>
          <p:cNvSpPr>
            <a:spLocks/>
          </p:cNvSpPr>
          <p:nvPr/>
        </p:nvSpPr>
        <p:spPr bwMode="auto">
          <a:xfrm>
            <a:off x="4822825" y="2373278"/>
            <a:ext cx="144462" cy="119063"/>
          </a:xfrm>
          <a:custGeom>
            <a:avLst/>
            <a:gdLst>
              <a:gd name="T0" fmla="*/ 83 w 91"/>
              <a:gd name="T1" fmla="*/ 17 h 75"/>
              <a:gd name="T2" fmla="*/ 67 w 91"/>
              <a:gd name="T3" fmla="*/ 16 h 75"/>
              <a:gd name="T4" fmla="*/ 64 w 91"/>
              <a:gd name="T5" fmla="*/ 16 h 75"/>
              <a:gd name="T6" fmla="*/ 59 w 91"/>
              <a:gd name="T7" fmla="*/ 18 h 75"/>
              <a:gd name="T8" fmla="*/ 51 w 91"/>
              <a:gd name="T9" fmla="*/ 21 h 75"/>
              <a:gd name="T10" fmla="*/ 57 w 91"/>
              <a:gd name="T11" fmla="*/ 25 h 75"/>
              <a:gd name="T12" fmla="*/ 61 w 91"/>
              <a:gd name="T13" fmla="*/ 29 h 75"/>
              <a:gd name="T14" fmla="*/ 53 w 91"/>
              <a:gd name="T15" fmla="*/ 26 h 75"/>
              <a:gd name="T16" fmla="*/ 55 w 91"/>
              <a:gd name="T17" fmla="*/ 30 h 75"/>
              <a:gd name="T18" fmla="*/ 54 w 91"/>
              <a:gd name="T19" fmla="*/ 31 h 75"/>
              <a:gd name="T20" fmla="*/ 50 w 91"/>
              <a:gd name="T21" fmla="*/ 28 h 75"/>
              <a:gd name="T22" fmla="*/ 49 w 91"/>
              <a:gd name="T23" fmla="*/ 30 h 75"/>
              <a:gd name="T24" fmla="*/ 50 w 91"/>
              <a:gd name="T25" fmla="*/ 34 h 75"/>
              <a:gd name="T26" fmla="*/ 45 w 91"/>
              <a:gd name="T27" fmla="*/ 28 h 75"/>
              <a:gd name="T28" fmla="*/ 39 w 91"/>
              <a:gd name="T29" fmla="*/ 23 h 75"/>
              <a:gd name="T30" fmla="*/ 35 w 91"/>
              <a:gd name="T31" fmla="*/ 23 h 75"/>
              <a:gd name="T32" fmla="*/ 35 w 91"/>
              <a:gd name="T33" fmla="*/ 29 h 75"/>
              <a:gd name="T34" fmla="*/ 39 w 91"/>
              <a:gd name="T35" fmla="*/ 35 h 75"/>
              <a:gd name="T36" fmla="*/ 45 w 91"/>
              <a:gd name="T37" fmla="*/ 43 h 75"/>
              <a:gd name="T38" fmla="*/ 47 w 91"/>
              <a:gd name="T39" fmla="*/ 48 h 75"/>
              <a:gd name="T40" fmla="*/ 45 w 91"/>
              <a:gd name="T41" fmla="*/ 48 h 75"/>
              <a:gd name="T42" fmla="*/ 44 w 91"/>
              <a:gd name="T43" fmla="*/ 45 h 75"/>
              <a:gd name="T44" fmla="*/ 41 w 91"/>
              <a:gd name="T45" fmla="*/ 47 h 75"/>
              <a:gd name="T46" fmla="*/ 42 w 91"/>
              <a:gd name="T47" fmla="*/ 51 h 75"/>
              <a:gd name="T48" fmla="*/ 40 w 91"/>
              <a:gd name="T49" fmla="*/ 51 h 75"/>
              <a:gd name="T50" fmla="*/ 37 w 91"/>
              <a:gd name="T51" fmla="*/ 54 h 75"/>
              <a:gd name="T52" fmla="*/ 44 w 91"/>
              <a:gd name="T53" fmla="*/ 56 h 75"/>
              <a:gd name="T54" fmla="*/ 49 w 91"/>
              <a:gd name="T55" fmla="*/ 57 h 75"/>
              <a:gd name="T56" fmla="*/ 52 w 91"/>
              <a:gd name="T57" fmla="*/ 59 h 75"/>
              <a:gd name="T58" fmla="*/ 56 w 91"/>
              <a:gd name="T59" fmla="*/ 64 h 75"/>
              <a:gd name="T60" fmla="*/ 60 w 91"/>
              <a:gd name="T61" fmla="*/ 65 h 75"/>
              <a:gd name="T62" fmla="*/ 57 w 91"/>
              <a:gd name="T63" fmla="*/ 72 h 75"/>
              <a:gd name="T64" fmla="*/ 51 w 91"/>
              <a:gd name="T65" fmla="*/ 69 h 75"/>
              <a:gd name="T66" fmla="*/ 44 w 91"/>
              <a:gd name="T67" fmla="*/ 68 h 75"/>
              <a:gd name="T68" fmla="*/ 46 w 91"/>
              <a:gd name="T69" fmla="*/ 66 h 75"/>
              <a:gd name="T70" fmla="*/ 40 w 91"/>
              <a:gd name="T71" fmla="*/ 61 h 75"/>
              <a:gd name="T72" fmla="*/ 35 w 91"/>
              <a:gd name="T73" fmla="*/ 61 h 75"/>
              <a:gd name="T74" fmla="*/ 29 w 91"/>
              <a:gd name="T75" fmla="*/ 61 h 75"/>
              <a:gd name="T76" fmla="*/ 20 w 91"/>
              <a:gd name="T77" fmla="*/ 61 h 75"/>
              <a:gd name="T78" fmla="*/ 19 w 91"/>
              <a:gd name="T79" fmla="*/ 61 h 75"/>
              <a:gd name="T80" fmla="*/ 15 w 91"/>
              <a:gd name="T81" fmla="*/ 60 h 75"/>
              <a:gd name="T82" fmla="*/ 10 w 91"/>
              <a:gd name="T83" fmla="*/ 52 h 75"/>
              <a:gd name="T84" fmla="*/ 15 w 91"/>
              <a:gd name="T85" fmla="*/ 52 h 75"/>
              <a:gd name="T86" fmla="*/ 11 w 91"/>
              <a:gd name="T87" fmla="*/ 48 h 75"/>
              <a:gd name="T88" fmla="*/ 5 w 91"/>
              <a:gd name="T89" fmla="*/ 45 h 75"/>
              <a:gd name="T90" fmla="*/ 1 w 91"/>
              <a:gd name="T91" fmla="*/ 38 h 75"/>
              <a:gd name="T92" fmla="*/ 0 w 91"/>
              <a:gd name="T93" fmla="*/ 38 h 75"/>
              <a:gd name="T94" fmla="*/ 3 w 91"/>
              <a:gd name="T95" fmla="*/ 36 h 75"/>
              <a:gd name="T96" fmla="*/ 4 w 91"/>
              <a:gd name="T97" fmla="*/ 31 h 75"/>
              <a:gd name="T98" fmla="*/ 9 w 91"/>
              <a:gd name="T99" fmla="*/ 26 h 75"/>
              <a:gd name="T100" fmla="*/ 12 w 91"/>
              <a:gd name="T101" fmla="*/ 19 h 75"/>
              <a:gd name="T102" fmla="*/ 21 w 91"/>
              <a:gd name="T103" fmla="*/ 15 h 75"/>
              <a:gd name="T104" fmla="*/ 27 w 91"/>
              <a:gd name="T105" fmla="*/ 11 h 75"/>
              <a:gd name="T106" fmla="*/ 36 w 91"/>
              <a:gd name="T107" fmla="*/ 8 h 75"/>
              <a:gd name="T108" fmla="*/ 42 w 91"/>
              <a:gd name="T109" fmla="*/ 7 h 75"/>
              <a:gd name="T110" fmla="*/ 52 w 91"/>
              <a:gd name="T111" fmla="*/ 6 h 75"/>
              <a:gd name="T112" fmla="*/ 63 w 91"/>
              <a:gd name="T113" fmla="*/ 4 h 75"/>
              <a:gd name="T114" fmla="*/ 76 w 91"/>
              <a:gd name="T115" fmla="*/ 9 h 75"/>
              <a:gd name="T116" fmla="*/ 85 w 91"/>
              <a:gd name="T117" fmla="*/ 5 h 75"/>
              <a:gd name="T118" fmla="*/ 87 w 91"/>
              <a:gd name="T119" fmla="*/ 0 h 75"/>
              <a:gd name="T120" fmla="*/ 91 w 91"/>
              <a:gd name="T121" fmla="*/ 4 h 75"/>
              <a:gd name="T122" fmla="*/ 88 w 91"/>
              <a:gd name="T123" fmla="*/ 8 h 75"/>
              <a:gd name="T124" fmla="*/ 87 w 91"/>
              <a:gd name="T125" fmla="*/ 16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" h="75">
                <a:moveTo>
                  <a:pt x="85" y="19"/>
                </a:moveTo>
                <a:lnTo>
                  <a:pt x="83" y="17"/>
                </a:lnTo>
                <a:lnTo>
                  <a:pt x="70" y="15"/>
                </a:lnTo>
                <a:lnTo>
                  <a:pt x="67" y="16"/>
                </a:lnTo>
                <a:lnTo>
                  <a:pt x="66" y="16"/>
                </a:lnTo>
                <a:lnTo>
                  <a:pt x="64" y="16"/>
                </a:lnTo>
                <a:lnTo>
                  <a:pt x="61" y="15"/>
                </a:lnTo>
                <a:lnTo>
                  <a:pt x="59" y="18"/>
                </a:lnTo>
                <a:lnTo>
                  <a:pt x="54" y="19"/>
                </a:lnTo>
                <a:lnTo>
                  <a:pt x="51" y="21"/>
                </a:lnTo>
                <a:lnTo>
                  <a:pt x="53" y="24"/>
                </a:lnTo>
                <a:lnTo>
                  <a:pt x="57" y="25"/>
                </a:lnTo>
                <a:lnTo>
                  <a:pt x="60" y="27"/>
                </a:lnTo>
                <a:lnTo>
                  <a:pt x="61" y="29"/>
                </a:lnTo>
                <a:lnTo>
                  <a:pt x="57" y="27"/>
                </a:lnTo>
                <a:lnTo>
                  <a:pt x="53" y="26"/>
                </a:lnTo>
                <a:lnTo>
                  <a:pt x="52" y="28"/>
                </a:lnTo>
                <a:lnTo>
                  <a:pt x="55" y="30"/>
                </a:lnTo>
                <a:lnTo>
                  <a:pt x="56" y="33"/>
                </a:lnTo>
                <a:lnTo>
                  <a:pt x="54" y="31"/>
                </a:lnTo>
                <a:lnTo>
                  <a:pt x="52" y="28"/>
                </a:lnTo>
                <a:lnTo>
                  <a:pt x="50" y="28"/>
                </a:lnTo>
                <a:lnTo>
                  <a:pt x="47" y="28"/>
                </a:lnTo>
                <a:lnTo>
                  <a:pt x="49" y="30"/>
                </a:lnTo>
                <a:lnTo>
                  <a:pt x="52" y="33"/>
                </a:lnTo>
                <a:lnTo>
                  <a:pt x="50" y="34"/>
                </a:lnTo>
                <a:lnTo>
                  <a:pt x="47" y="31"/>
                </a:lnTo>
                <a:lnTo>
                  <a:pt x="45" y="28"/>
                </a:lnTo>
                <a:lnTo>
                  <a:pt x="39" y="24"/>
                </a:lnTo>
                <a:lnTo>
                  <a:pt x="39" y="23"/>
                </a:lnTo>
                <a:lnTo>
                  <a:pt x="40" y="21"/>
                </a:lnTo>
                <a:lnTo>
                  <a:pt x="35" y="23"/>
                </a:lnTo>
                <a:lnTo>
                  <a:pt x="35" y="26"/>
                </a:lnTo>
                <a:lnTo>
                  <a:pt x="35" y="29"/>
                </a:lnTo>
                <a:lnTo>
                  <a:pt x="36" y="33"/>
                </a:lnTo>
                <a:lnTo>
                  <a:pt x="39" y="35"/>
                </a:lnTo>
                <a:lnTo>
                  <a:pt x="40" y="38"/>
                </a:lnTo>
                <a:lnTo>
                  <a:pt x="45" y="43"/>
                </a:lnTo>
                <a:lnTo>
                  <a:pt x="46" y="46"/>
                </a:lnTo>
                <a:lnTo>
                  <a:pt x="47" y="48"/>
                </a:lnTo>
                <a:lnTo>
                  <a:pt x="46" y="48"/>
                </a:lnTo>
                <a:lnTo>
                  <a:pt x="45" y="48"/>
                </a:lnTo>
                <a:lnTo>
                  <a:pt x="45" y="46"/>
                </a:lnTo>
                <a:lnTo>
                  <a:pt x="44" y="45"/>
                </a:lnTo>
                <a:lnTo>
                  <a:pt x="42" y="45"/>
                </a:lnTo>
                <a:lnTo>
                  <a:pt x="41" y="47"/>
                </a:lnTo>
                <a:lnTo>
                  <a:pt x="43" y="50"/>
                </a:lnTo>
                <a:lnTo>
                  <a:pt x="42" y="51"/>
                </a:lnTo>
                <a:lnTo>
                  <a:pt x="41" y="51"/>
                </a:lnTo>
                <a:lnTo>
                  <a:pt x="40" y="51"/>
                </a:lnTo>
                <a:lnTo>
                  <a:pt x="36" y="51"/>
                </a:lnTo>
                <a:lnTo>
                  <a:pt x="37" y="54"/>
                </a:lnTo>
                <a:lnTo>
                  <a:pt x="41" y="55"/>
                </a:lnTo>
                <a:lnTo>
                  <a:pt x="44" y="56"/>
                </a:lnTo>
                <a:lnTo>
                  <a:pt x="45" y="57"/>
                </a:lnTo>
                <a:lnTo>
                  <a:pt x="49" y="57"/>
                </a:lnTo>
                <a:lnTo>
                  <a:pt x="50" y="59"/>
                </a:lnTo>
                <a:lnTo>
                  <a:pt x="52" y="59"/>
                </a:lnTo>
                <a:lnTo>
                  <a:pt x="54" y="61"/>
                </a:lnTo>
                <a:lnTo>
                  <a:pt x="56" y="64"/>
                </a:lnTo>
                <a:lnTo>
                  <a:pt x="57" y="64"/>
                </a:lnTo>
                <a:lnTo>
                  <a:pt x="60" y="65"/>
                </a:lnTo>
                <a:lnTo>
                  <a:pt x="61" y="75"/>
                </a:lnTo>
                <a:lnTo>
                  <a:pt x="57" y="72"/>
                </a:lnTo>
                <a:lnTo>
                  <a:pt x="54" y="69"/>
                </a:lnTo>
                <a:lnTo>
                  <a:pt x="51" y="69"/>
                </a:lnTo>
                <a:lnTo>
                  <a:pt x="46" y="69"/>
                </a:lnTo>
                <a:lnTo>
                  <a:pt x="44" y="68"/>
                </a:lnTo>
                <a:lnTo>
                  <a:pt x="46" y="67"/>
                </a:lnTo>
                <a:lnTo>
                  <a:pt x="46" y="66"/>
                </a:lnTo>
                <a:lnTo>
                  <a:pt x="44" y="65"/>
                </a:lnTo>
                <a:lnTo>
                  <a:pt x="40" y="61"/>
                </a:lnTo>
                <a:lnTo>
                  <a:pt x="39" y="62"/>
                </a:lnTo>
                <a:lnTo>
                  <a:pt x="35" y="61"/>
                </a:lnTo>
                <a:lnTo>
                  <a:pt x="32" y="62"/>
                </a:lnTo>
                <a:lnTo>
                  <a:pt x="29" y="61"/>
                </a:lnTo>
                <a:lnTo>
                  <a:pt x="24" y="62"/>
                </a:lnTo>
                <a:lnTo>
                  <a:pt x="20" y="61"/>
                </a:lnTo>
                <a:lnTo>
                  <a:pt x="19" y="61"/>
                </a:lnTo>
                <a:lnTo>
                  <a:pt x="19" y="61"/>
                </a:lnTo>
                <a:lnTo>
                  <a:pt x="17" y="62"/>
                </a:lnTo>
                <a:lnTo>
                  <a:pt x="15" y="60"/>
                </a:lnTo>
                <a:lnTo>
                  <a:pt x="14" y="57"/>
                </a:lnTo>
                <a:lnTo>
                  <a:pt x="10" y="52"/>
                </a:lnTo>
                <a:lnTo>
                  <a:pt x="13" y="52"/>
                </a:lnTo>
                <a:lnTo>
                  <a:pt x="15" y="52"/>
                </a:lnTo>
                <a:lnTo>
                  <a:pt x="14" y="50"/>
                </a:lnTo>
                <a:lnTo>
                  <a:pt x="11" y="48"/>
                </a:lnTo>
                <a:lnTo>
                  <a:pt x="10" y="51"/>
                </a:lnTo>
                <a:lnTo>
                  <a:pt x="5" y="45"/>
                </a:lnTo>
                <a:lnTo>
                  <a:pt x="2" y="43"/>
                </a:lnTo>
                <a:lnTo>
                  <a:pt x="1" y="38"/>
                </a:lnTo>
                <a:lnTo>
                  <a:pt x="1" y="38"/>
                </a:lnTo>
                <a:lnTo>
                  <a:pt x="0" y="38"/>
                </a:lnTo>
                <a:lnTo>
                  <a:pt x="1" y="38"/>
                </a:lnTo>
                <a:lnTo>
                  <a:pt x="3" y="36"/>
                </a:lnTo>
                <a:lnTo>
                  <a:pt x="4" y="35"/>
                </a:lnTo>
                <a:lnTo>
                  <a:pt x="4" y="31"/>
                </a:lnTo>
                <a:lnTo>
                  <a:pt x="6" y="30"/>
                </a:lnTo>
                <a:lnTo>
                  <a:pt x="9" y="26"/>
                </a:lnTo>
                <a:lnTo>
                  <a:pt x="12" y="23"/>
                </a:lnTo>
                <a:lnTo>
                  <a:pt x="12" y="19"/>
                </a:lnTo>
                <a:lnTo>
                  <a:pt x="11" y="17"/>
                </a:lnTo>
                <a:lnTo>
                  <a:pt x="21" y="15"/>
                </a:lnTo>
                <a:lnTo>
                  <a:pt x="23" y="13"/>
                </a:lnTo>
                <a:lnTo>
                  <a:pt x="27" y="11"/>
                </a:lnTo>
                <a:lnTo>
                  <a:pt x="33" y="11"/>
                </a:lnTo>
                <a:lnTo>
                  <a:pt x="36" y="8"/>
                </a:lnTo>
                <a:lnTo>
                  <a:pt x="39" y="7"/>
                </a:lnTo>
                <a:lnTo>
                  <a:pt x="42" y="7"/>
                </a:lnTo>
                <a:lnTo>
                  <a:pt x="46" y="6"/>
                </a:lnTo>
                <a:lnTo>
                  <a:pt x="52" y="6"/>
                </a:lnTo>
                <a:lnTo>
                  <a:pt x="61" y="4"/>
                </a:lnTo>
                <a:lnTo>
                  <a:pt x="63" y="4"/>
                </a:lnTo>
                <a:lnTo>
                  <a:pt x="66" y="6"/>
                </a:lnTo>
                <a:lnTo>
                  <a:pt x="76" y="9"/>
                </a:lnTo>
                <a:lnTo>
                  <a:pt x="81" y="8"/>
                </a:lnTo>
                <a:lnTo>
                  <a:pt x="85" y="5"/>
                </a:lnTo>
                <a:lnTo>
                  <a:pt x="84" y="0"/>
                </a:lnTo>
                <a:lnTo>
                  <a:pt x="87" y="0"/>
                </a:lnTo>
                <a:lnTo>
                  <a:pt x="88" y="1"/>
                </a:lnTo>
                <a:lnTo>
                  <a:pt x="91" y="4"/>
                </a:lnTo>
                <a:lnTo>
                  <a:pt x="91" y="6"/>
                </a:lnTo>
                <a:lnTo>
                  <a:pt x="88" y="8"/>
                </a:lnTo>
                <a:lnTo>
                  <a:pt x="88" y="11"/>
                </a:lnTo>
                <a:lnTo>
                  <a:pt x="87" y="16"/>
                </a:lnTo>
                <a:lnTo>
                  <a:pt x="85" y="19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13" name="Freeform 212"/>
          <p:cNvSpPr>
            <a:spLocks/>
          </p:cNvSpPr>
          <p:nvPr/>
        </p:nvSpPr>
        <p:spPr bwMode="auto">
          <a:xfrm>
            <a:off x="5195888" y="2574891"/>
            <a:ext cx="36512" cy="50800"/>
          </a:xfrm>
          <a:custGeom>
            <a:avLst/>
            <a:gdLst>
              <a:gd name="T0" fmla="*/ 10 w 23"/>
              <a:gd name="T1" fmla="*/ 26 h 32"/>
              <a:gd name="T2" fmla="*/ 12 w 23"/>
              <a:gd name="T3" fmla="*/ 25 h 32"/>
              <a:gd name="T4" fmla="*/ 14 w 23"/>
              <a:gd name="T5" fmla="*/ 22 h 32"/>
              <a:gd name="T6" fmla="*/ 14 w 23"/>
              <a:gd name="T7" fmla="*/ 21 h 32"/>
              <a:gd name="T8" fmla="*/ 13 w 23"/>
              <a:gd name="T9" fmla="*/ 20 h 32"/>
              <a:gd name="T10" fmla="*/ 14 w 23"/>
              <a:gd name="T11" fmla="*/ 18 h 32"/>
              <a:gd name="T12" fmla="*/ 19 w 23"/>
              <a:gd name="T13" fmla="*/ 17 h 32"/>
              <a:gd name="T14" fmla="*/ 20 w 23"/>
              <a:gd name="T15" fmla="*/ 17 h 32"/>
              <a:gd name="T16" fmla="*/ 20 w 23"/>
              <a:gd name="T17" fmla="*/ 15 h 32"/>
              <a:gd name="T18" fmla="*/ 19 w 23"/>
              <a:gd name="T19" fmla="*/ 14 h 32"/>
              <a:gd name="T20" fmla="*/ 19 w 23"/>
              <a:gd name="T21" fmla="*/ 13 h 32"/>
              <a:gd name="T22" fmla="*/ 22 w 23"/>
              <a:gd name="T23" fmla="*/ 11 h 32"/>
              <a:gd name="T24" fmla="*/ 22 w 23"/>
              <a:gd name="T25" fmla="*/ 10 h 32"/>
              <a:gd name="T26" fmla="*/ 22 w 23"/>
              <a:gd name="T27" fmla="*/ 9 h 32"/>
              <a:gd name="T28" fmla="*/ 21 w 23"/>
              <a:gd name="T29" fmla="*/ 7 h 32"/>
              <a:gd name="T30" fmla="*/ 20 w 23"/>
              <a:gd name="T31" fmla="*/ 5 h 32"/>
              <a:gd name="T32" fmla="*/ 18 w 23"/>
              <a:gd name="T33" fmla="*/ 3 h 32"/>
              <a:gd name="T34" fmla="*/ 19 w 23"/>
              <a:gd name="T35" fmla="*/ 2 h 32"/>
              <a:gd name="T36" fmla="*/ 20 w 23"/>
              <a:gd name="T37" fmla="*/ 2 h 32"/>
              <a:gd name="T38" fmla="*/ 19 w 23"/>
              <a:gd name="T39" fmla="*/ 1 h 32"/>
              <a:gd name="T40" fmla="*/ 18 w 23"/>
              <a:gd name="T41" fmla="*/ 0 h 32"/>
              <a:gd name="T42" fmla="*/ 17 w 23"/>
              <a:gd name="T43" fmla="*/ 1 h 32"/>
              <a:gd name="T44" fmla="*/ 12 w 23"/>
              <a:gd name="T45" fmla="*/ 3 h 32"/>
              <a:gd name="T46" fmla="*/ 8 w 23"/>
              <a:gd name="T47" fmla="*/ 8 h 32"/>
              <a:gd name="T48" fmla="*/ 5 w 23"/>
              <a:gd name="T49" fmla="*/ 14 h 32"/>
              <a:gd name="T50" fmla="*/ 4 w 23"/>
              <a:gd name="T51" fmla="*/ 15 h 32"/>
              <a:gd name="T52" fmla="*/ 3 w 23"/>
              <a:gd name="T53" fmla="*/ 20 h 32"/>
              <a:gd name="T54" fmla="*/ 2 w 23"/>
              <a:gd name="T55" fmla="*/ 23 h 32"/>
              <a:gd name="T56" fmla="*/ 0 w 23"/>
              <a:gd name="T57" fmla="*/ 29 h 32"/>
              <a:gd name="T58" fmla="*/ 0 w 23"/>
              <a:gd name="T59" fmla="*/ 31 h 32"/>
              <a:gd name="T60" fmla="*/ 4 w 23"/>
              <a:gd name="T61" fmla="*/ 32 h 32"/>
              <a:gd name="T62" fmla="*/ 5 w 23"/>
              <a:gd name="T63" fmla="*/ 31 h 32"/>
              <a:gd name="T64" fmla="*/ 7 w 23"/>
              <a:gd name="T65" fmla="*/ 28 h 32"/>
              <a:gd name="T66" fmla="*/ 8 w 23"/>
              <a:gd name="T67" fmla="*/ 28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" h="32">
                <a:moveTo>
                  <a:pt x="8" y="28"/>
                </a:moveTo>
                <a:lnTo>
                  <a:pt x="10" y="26"/>
                </a:lnTo>
                <a:lnTo>
                  <a:pt x="11" y="25"/>
                </a:lnTo>
                <a:lnTo>
                  <a:pt x="12" y="25"/>
                </a:lnTo>
                <a:lnTo>
                  <a:pt x="13" y="24"/>
                </a:lnTo>
                <a:lnTo>
                  <a:pt x="14" y="22"/>
                </a:lnTo>
                <a:lnTo>
                  <a:pt x="14" y="22"/>
                </a:lnTo>
                <a:lnTo>
                  <a:pt x="14" y="21"/>
                </a:lnTo>
                <a:lnTo>
                  <a:pt x="13" y="21"/>
                </a:lnTo>
                <a:lnTo>
                  <a:pt x="13" y="20"/>
                </a:lnTo>
                <a:lnTo>
                  <a:pt x="13" y="19"/>
                </a:lnTo>
                <a:lnTo>
                  <a:pt x="14" y="18"/>
                </a:lnTo>
                <a:lnTo>
                  <a:pt x="14" y="17"/>
                </a:lnTo>
                <a:lnTo>
                  <a:pt x="19" y="17"/>
                </a:lnTo>
                <a:lnTo>
                  <a:pt x="20" y="17"/>
                </a:lnTo>
                <a:lnTo>
                  <a:pt x="20" y="17"/>
                </a:lnTo>
                <a:lnTo>
                  <a:pt x="20" y="17"/>
                </a:lnTo>
                <a:lnTo>
                  <a:pt x="20" y="15"/>
                </a:lnTo>
                <a:lnTo>
                  <a:pt x="18" y="15"/>
                </a:lnTo>
                <a:lnTo>
                  <a:pt x="19" y="14"/>
                </a:lnTo>
                <a:lnTo>
                  <a:pt x="19" y="14"/>
                </a:lnTo>
                <a:lnTo>
                  <a:pt x="19" y="13"/>
                </a:lnTo>
                <a:lnTo>
                  <a:pt x="20" y="12"/>
                </a:lnTo>
                <a:lnTo>
                  <a:pt x="22" y="11"/>
                </a:lnTo>
                <a:lnTo>
                  <a:pt x="22" y="11"/>
                </a:lnTo>
                <a:lnTo>
                  <a:pt x="22" y="10"/>
                </a:lnTo>
                <a:lnTo>
                  <a:pt x="23" y="10"/>
                </a:lnTo>
                <a:lnTo>
                  <a:pt x="22" y="9"/>
                </a:lnTo>
                <a:lnTo>
                  <a:pt x="22" y="8"/>
                </a:lnTo>
                <a:lnTo>
                  <a:pt x="21" y="7"/>
                </a:lnTo>
                <a:lnTo>
                  <a:pt x="22" y="5"/>
                </a:lnTo>
                <a:lnTo>
                  <a:pt x="20" y="5"/>
                </a:lnTo>
                <a:lnTo>
                  <a:pt x="20" y="3"/>
                </a:lnTo>
                <a:lnTo>
                  <a:pt x="18" y="3"/>
                </a:lnTo>
                <a:lnTo>
                  <a:pt x="18" y="3"/>
                </a:lnTo>
                <a:lnTo>
                  <a:pt x="19" y="2"/>
                </a:lnTo>
                <a:lnTo>
                  <a:pt x="19" y="2"/>
                </a:lnTo>
                <a:lnTo>
                  <a:pt x="20" y="2"/>
                </a:lnTo>
                <a:lnTo>
                  <a:pt x="20" y="1"/>
                </a:lnTo>
                <a:lnTo>
                  <a:pt x="19" y="1"/>
                </a:lnTo>
                <a:lnTo>
                  <a:pt x="18" y="1"/>
                </a:lnTo>
                <a:lnTo>
                  <a:pt x="18" y="0"/>
                </a:lnTo>
                <a:lnTo>
                  <a:pt x="17" y="0"/>
                </a:lnTo>
                <a:lnTo>
                  <a:pt x="17" y="1"/>
                </a:lnTo>
                <a:lnTo>
                  <a:pt x="11" y="1"/>
                </a:lnTo>
                <a:lnTo>
                  <a:pt x="12" y="3"/>
                </a:lnTo>
                <a:lnTo>
                  <a:pt x="10" y="5"/>
                </a:lnTo>
                <a:lnTo>
                  <a:pt x="8" y="8"/>
                </a:lnTo>
                <a:lnTo>
                  <a:pt x="7" y="14"/>
                </a:lnTo>
                <a:lnTo>
                  <a:pt x="5" y="14"/>
                </a:lnTo>
                <a:lnTo>
                  <a:pt x="5" y="15"/>
                </a:lnTo>
                <a:lnTo>
                  <a:pt x="4" y="15"/>
                </a:lnTo>
                <a:lnTo>
                  <a:pt x="4" y="17"/>
                </a:lnTo>
                <a:lnTo>
                  <a:pt x="3" y="20"/>
                </a:lnTo>
                <a:lnTo>
                  <a:pt x="3" y="21"/>
                </a:lnTo>
                <a:lnTo>
                  <a:pt x="2" y="23"/>
                </a:lnTo>
                <a:lnTo>
                  <a:pt x="1" y="26"/>
                </a:lnTo>
                <a:lnTo>
                  <a:pt x="0" y="29"/>
                </a:lnTo>
                <a:lnTo>
                  <a:pt x="0" y="30"/>
                </a:lnTo>
                <a:lnTo>
                  <a:pt x="0" y="31"/>
                </a:lnTo>
                <a:lnTo>
                  <a:pt x="3" y="31"/>
                </a:lnTo>
                <a:lnTo>
                  <a:pt x="4" y="32"/>
                </a:lnTo>
                <a:lnTo>
                  <a:pt x="4" y="32"/>
                </a:lnTo>
                <a:lnTo>
                  <a:pt x="5" y="31"/>
                </a:lnTo>
                <a:lnTo>
                  <a:pt x="7" y="31"/>
                </a:lnTo>
                <a:lnTo>
                  <a:pt x="7" y="28"/>
                </a:lnTo>
                <a:lnTo>
                  <a:pt x="8" y="26"/>
                </a:lnTo>
                <a:lnTo>
                  <a:pt x="8" y="28"/>
                </a:lnTo>
                <a:lnTo>
                  <a:pt x="8" y="28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14" name="Freeform 213"/>
          <p:cNvSpPr>
            <a:spLocks/>
          </p:cNvSpPr>
          <p:nvPr/>
        </p:nvSpPr>
        <p:spPr bwMode="auto">
          <a:xfrm>
            <a:off x="5195888" y="2574891"/>
            <a:ext cx="36512" cy="50800"/>
          </a:xfrm>
          <a:custGeom>
            <a:avLst/>
            <a:gdLst>
              <a:gd name="T0" fmla="*/ 10 w 23"/>
              <a:gd name="T1" fmla="*/ 26 h 32"/>
              <a:gd name="T2" fmla="*/ 12 w 23"/>
              <a:gd name="T3" fmla="*/ 25 h 32"/>
              <a:gd name="T4" fmla="*/ 14 w 23"/>
              <a:gd name="T5" fmla="*/ 22 h 32"/>
              <a:gd name="T6" fmla="*/ 14 w 23"/>
              <a:gd name="T7" fmla="*/ 21 h 32"/>
              <a:gd name="T8" fmla="*/ 13 w 23"/>
              <a:gd name="T9" fmla="*/ 20 h 32"/>
              <a:gd name="T10" fmla="*/ 14 w 23"/>
              <a:gd name="T11" fmla="*/ 18 h 32"/>
              <a:gd name="T12" fmla="*/ 19 w 23"/>
              <a:gd name="T13" fmla="*/ 17 h 32"/>
              <a:gd name="T14" fmla="*/ 20 w 23"/>
              <a:gd name="T15" fmla="*/ 17 h 32"/>
              <a:gd name="T16" fmla="*/ 20 w 23"/>
              <a:gd name="T17" fmla="*/ 15 h 32"/>
              <a:gd name="T18" fmla="*/ 19 w 23"/>
              <a:gd name="T19" fmla="*/ 14 h 32"/>
              <a:gd name="T20" fmla="*/ 19 w 23"/>
              <a:gd name="T21" fmla="*/ 13 h 32"/>
              <a:gd name="T22" fmla="*/ 22 w 23"/>
              <a:gd name="T23" fmla="*/ 11 h 32"/>
              <a:gd name="T24" fmla="*/ 22 w 23"/>
              <a:gd name="T25" fmla="*/ 10 h 32"/>
              <a:gd name="T26" fmla="*/ 22 w 23"/>
              <a:gd name="T27" fmla="*/ 9 h 32"/>
              <a:gd name="T28" fmla="*/ 21 w 23"/>
              <a:gd name="T29" fmla="*/ 7 h 32"/>
              <a:gd name="T30" fmla="*/ 20 w 23"/>
              <a:gd name="T31" fmla="*/ 5 h 32"/>
              <a:gd name="T32" fmla="*/ 18 w 23"/>
              <a:gd name="T33" fmla="*/ 3 h 32"/>
              <a:gd name="T34" fmla="*/ 19 w 23"/>
              <a:gd name="T35" fmla="*/ 2 h 32"/>
              <a:gd name="T36" fmla="*/ 20 w 23"/>
              <a:gd name="T37" fmla="*/ 2 h 32"/>
              <a:gd name="T38" fmla="*/ 19 w 23"/>
              <a:gd name="T39" fmla="*/ 1 h 32"/>
              <a:gd name="T40" fmla="*/ 18 w 23"/>
              <a:gd name="T41" fmla="*/ 0 h 32"/>
              <a:gd name="T42" fmla="*/ 17 w 23"/>
              <a:gd name="T43" fmla="*/ 1 h 32"/>
              <a:gd name="T44" fmla="*/ 12 w 23"/>
              <a:gd name="T45" fmla="*/ 3 h 32"/>
              <a:gd name="T46" fmla="*/ 8 w 23"/>
              <a:gd name="T47" fmla="*/ 8 h 32"/>
              <a:gd name="T48" fmla="*/ 5 w 23"/>
              <a:gd name="T49" fmla="*/ 14 h 32"/>
              <a:gd name="T50" fmla="*/ 4 w 23"/>
              <a:gd name="T51" fmla="*/ 15 h 32"/>
              <a:gd name="T52" fmla="*/ 3 w 23"/>
              <a:gd name="T53" fmla="*/ 20 h 32"/>
              <a:gd name="T54" fmla="*/ 2 w 23"/>
              <a:gd name="T55" fmla="*/ 23 h 32"/>
              <a:gd name="T56" fmla="*/ 0 w 23"/>
              <a:gd name="T57" fmla="*/ 29 h 32"/>
              <a:gd name="T58" fmla="*/ 0 w 23"/>
              <a:gd name="T59" fmla="*/ 31 h 32"/>
              <a:gd name="T60" fmla="*/ 4 w 23"/>
              <a:gd name="T61" fmla="*/ 32 h 32"/>
              <a:gd name="T62" fmla="*/ 5 w 23"/>
              <a:gd name="T63" fmla="*/ 31 h 32"/>
              <a:gd name="T64" fmla="*/ 7 w 23"/>
              <a:gd name="T65" fmla="*/ 28 h 32"/>
              <a:gd name="T66" fmla="*/ 8 w 23"/>
              <a:gd name="T67" fmla="*/ 28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" h="32">
                <a:moveTo>
                  <a:pt x="8" y="28"/>
                </a:moveTo>
                <a:lnTo>
                  <a:pt x="10" y="26"/>
                </a:lnTo>
                <a:lnTo>
                  <a:pt x="11" y="25"/>
                </a:lnTo>
                <a:lnTo>
                  <a:pt x="12" y="25"/>
                </a:lnTo>
                <a:lnTo>
                  <a:pt x="13" y="24"/>
                </a:lnTo>
                <a:lnTo>
                  <a:pt x="14" y="22"/>
                </a:lnTo>
                <a:lnTo>
                  <a:pt x="14" y="22"/>
                </a:lnTo>
                <a:lnTo>
                  <a:pt x="14" y="21"/>
                </a:lnTo>
                <a:lnTo>
                  <a:pt x="13" y="21"/>
                </a:lnTo>
                <a:lnTo>
                  <a:pt x="13" y="20"/>
                </a:lnTo>
                <a:lnTo>
                  <a:pt x="13" y="19"/>
                </a:lnTo>
                <a:lnTo>
                  <a:pt x="14" y="18"/>
                </a:lnTo>
                <a:lnTo>
                  <a:pt x="14" y="17"/>
                </a:lnTo>
                <a:lnTo>
                  <a:pt x="19" y="17"/>
                </a:lnTo>
                <a:lnTo>
                  <a:pt x="20" y="17"/>
                </a:lnTo>
                <a:lnTo>
                  <a:pt x="20" y="17"/>
                </a:lnTo>
                <a:lnTo>
                  <a:pt x="20" y="17"/>
                </a:lnTo>
                <a:lnTo>
                  <a:pt x="20" y="15"/>
                </a:lnTo>
                <a:lnTo>
                  <a:pt x="18" y="15"/>
                </a:lnTo>
                <a:lnTo>
                  <a:pt x="19" y="14"/>
                </a:lnTo>
                <a:lnTo>
                  <a:pt x="19" y="14"/>
                </a:lnTo>
                <a:lnTo>
                  <a:pt x="19" y="13"/>
                </a:lnTo>
                <a:lnTo>
                  <a:pt x="20" y="12"/>
                </a:lnTo>
                <a:lnTo>
                  <a:pt x="22" y="11"/>
                </a:lnTo>
                <a:lnTo>
                  <a:pt x="22" y="11"/>
                </a:lnTo>
                <a:lnTo>
                  <a:pt x="22" y="10"/>
                </a:lnTo>
                <a:lnTo>
                  <a:pt x="23" y="10"/>
                </a:lnTo>
                <a:lnTo>
                  <a:pt x="22" y="9"/>
                </a:lnTo>
                <a:lnTo>
                  <a:pt x="22" y="8"/>
                </a:lnTo>
                <a:lnTo>
                  <a:pt x="21" y="7"/>
                </a:lnTo>
                <a:lnTo>
                  <a:pt x="22" y="5"/>
                </a:lnTo>
                <a:lnTo>
                  <a:pt x="20" y="5"/>
                </a:lnTo>
                <a:lnTo>
                  <a:pt x="20" y="3"/>
                </a:lnTo>
                <a:lnTo>
                  <a:pt x="18" y="3"/>
                </a:lnTo>
                <a:lnTo>
                  <a:pt x="18" y="3"/>
                </a:lnTo>
                <a:lnTo>
                  <a:pt x="19" y="2"/>
                </a:lnTo>
                <a:lnTo>
                  <a:pt x="19" y="2"/>
                </a:lnTo>
                <a:lnTo>
                  <a:pt x="20" y="2"/>
                </a:lnTo>
                <a:lnTo>
                  <a:pt x="20" y="1"/>
                </a:lnTo>
                <a:lnTo>
                  <a:pt x="19" y="1"/>
                </a:lnTo>
                <a:lnTo>
                  <a:pt x="18" y="1"/>
                </a:lnTo>
                <a:lnTo>
                  <a:pt x="18" y="0"/>
                </a:lnTo>
                <a:lnTo>
                  <a:pt x="17" y="0"/>
                </a:lnTo>
                <a:lnTo>
                  <a:pt x="17" y="1"/>
                </a:lnTo>
                <a:lnTo>
                  <a:pt x="11" y="1"/>
                </a:lnTo>
                <a:lnTo>
                  <a:pt x="12" y="3"/>
                </a:lnTo>
                <a:lnTo>
                  <a:pt x="10" y="5"/>
                </a:lnTo>
                <a:lnTo>
                  <a:pt x="8" y="8"/>
                </a:lnTo>
                <a:lnTo>
                  <a:pt x="7" y="14"/>
                </a:lnTo>
                <a:lnTo>
                  <a:pt x="5" y="14"/>
                </a:lnTo>
                <a:lnTo>
                  <a:pt x="5" y="15"/>
                </a:lnTo>
                <a:lnTo>
                  <a:pt x="4" y="15"/>
                </a:lnTo>
                <a:lnTo>
                  <a:pt x="4" y="17"/>
                </a:lnTo>
                <a:lnTo>
                  <a:pt x="3" y="20"/>
                </a:lnTo>
                <a:lnTo>
                  <a:pt x="3" y="21"/>
                </a:lnTo>
                <a:lnTo>
                  <a:pt x="2" y="23"/>
                </a:lnTo>
                <a:lnTo>
                  <a:pt x="1" y="26"/>
                </a:lnTo>
                <a:lnTo>
                  <a:pt x="0" y="29"/>
                </a:lnTo>
                <a:lnTo>
                  <a:pt x="0" y="30"/>
                </a:lnTo>
                <a:lnTo>
                  <a:pt x="0" y="31"/>
                </a:lnTo>
                <a:lnTo>
                  <a:pt x="3" y="31"/>
                </a:lnTo>
                <a:lnTo>
                  <a:pt x="4" y="32"/>
                </a:lnTo>
                <a:lnTo>
                  <a:pt x="4" y="32"/>
                </a:lnTo>
                <a:lnTo>
                  <a:pt x="5" y="31"/>
                </a:lnTo>
                <a:lnTo>
                  <a:pt x="7" y="31"/>
                </a:lnTo>
                <a:lnTo>
                  <a:pt x="7" y="28"/>
                </a:lnTo>
                <a:lnTo>
                  <a:pt x="8" y="26"/>
                </a:lnTo>
                <a:lnTo>
                  <a:pt x="8" y="28"/>
                </a:lnTo>
                <a:lnTo>
                  <a:pt x="8" y="28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15" name="Freeform 214"/>
          <p:cNvSpPr>
            <a:spLocks/>
          </p:cNvSpPr>
          <p:nvPr/>
        </p:nvSpPr>
        <p:spPr bwMode="auto">
          <a:xfrm>
            <a:off x="5732463" y="2819366"/>
            <a:ext cx="9525" cy="17463"/>
          </a:xfrm>
          <a:custGeom>
            <a:avLst/>
            <a:gdLst>
              <a:gd name="T0" fmla="*/ 0 w 6"/>
              <a:gd name="T1" fmla="*/ 5 h 11"/>
              <a:gd name="T2" fmla="*/ 1 w 6"/>
              <a:gd name="T3" fmla="*/ 6 h 11"/>
              <a:gd name="T4" fmla="*/ 3 w 6"/>
              <a:gd name="T5" fmla="*/ 7 h 11"/>
              <a:gd name="T6" fmla="*/ 1 w 6"/>
              <a:gd name="T7" fmla="*/ 8 h 11"/>
              <a:gd name="T8" fmla="*/ 3 w 6"/>
              <a:gd name="T9" fmla="*/ 9 h 11"/>
              <a:gd name="T10" fmla="*/ 3 w 6"/>
              <a:gd name="T11" fmla="*/ 10 h 11"/>
              <a:gd name="T12" fmla="*/ 3 w 6"/>
              <a:gd name="T13" fmla="*/ 11 h 11"/>
              <a:gd name="T14" fmla="*/ 5 w 6"/>
              <a:gd name="T15" fmla="*/ 11 h 11"/>
              <a:gd name="T16" fmla="*/ 5 w 6"/>
              <a:gd name="T17" fmla="*/ 10 h 11"/>
              <a:gd name="T18" fmla="*/ 6 w 6"/>
              <a:gd name="T19" fmla="*/ 8 h 11"/>
              <a:gd name="T20" fmla="*/ 6 w 6"/>
              <a:gd name="T21" fmla="*/ 5 h 11"/>
              <a:gd name="T22" fmla="*/ 6 w 6"/>
              <a:gd name="T23" fmla="*/ 5 h 11"/>
              <a:gd name="T24" fmla="*/ 5 w 6"/>
              <a:gd name="T25" fmla="*/ 3 h 11"/>
              <a:gd name="T26" fmla="*/ 6 w 6"/>
              <a:gd name="T27" fmla="*/ 2 h 11"/>
              <a:gd name="T28" fmla="*/ 6 w 6"/>
              <a:gd name="T29" fmla="*/ 1 h 11"/>
              <a:gd name="T30" fmla="*/ 5 w 6"/>
              <a:gd name="T31" fmla="*/ 0 h 11"/>
              <a:gd name="T32" fmla="*/ 4 w 6"/>
              <a:gd name="T33" fmla="*/ 1 h 11"/>
              <a:gd name="T34" fmla="*/ 3 w 6"/>
              <a:gd name="T35" fmla="*/ 1 h 11"/>
              <a:gd name="T36" fmla="*/ 0 w 6"/>
              <a:gd name="T37" fmla="*/ 5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" h="11">
                <a:moveTo>
                  <a:pt x="0" y="5"/>
                </a:moveTo>
                <a:lnTo>
                  <a:pt x="1" y="6"/>
                </a:lnTo>
                <a:lnTo>
                  <a:pt x="3" y="7"/>
                </a:lnTo>
                <a:lnTo>
                  <a:pt x="1" y="8"/>
                </a:lnTo>
                <a:lnTo>
                  <a:pt x="3" y="9"/>
                </a:lnTo>
                <a:lnTo>
                  <a:pt x="3" y="10"/>
                </a:lnTo>
                <a:lnTo>
                  <a:pt x="3" y="11"/>
                </a:lnTo>
                <a:lnTo>
                  <a:pt x="5" y="11"/>
                </a:lnTo>
                <a:lnTo>
                  <a:pt x="5" y="10"/>
                </a:lnTo>
                <a:lnTo>
                  <a:pt x="6" y="8"/>
                </a:lnTo>
                <a:lnTo>
                  <a:pt x="6" y="5"/>
                </a:lnTo>
                <a:lnTo>
                  <a:pt x="6" y="5"/>
                </a:lnTo>
                <a:lnTo>
                  <a:pt x="5" y="3"/>
                </a:lnTo>
                <a:lnTo>
                  <a:pt x="6" y="2"/>
                </a:lnTo>
                <a:lnTo>
                  <a:pt x="6" y="1"/>
                </a:lnTo>
                <a:lnTo>
                  <a:pt x="5" y="0"/>
                </a:lnTo>
                <a:lnTo>
                  <a:pt x="4" y="1"/>
                </a:lnTo>
                <a:lnTo>
                  <a:pt x="3" y="1"/>
                </a:lnTo>
                <a:lnTo>
                  <a:pt x="0" y="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16" name="Freeform 215"/>
          <p:cNvSpPr>
            <a:spLocks/>
          </p:cNvSpPr>
          <p:nvPr/>
        </p:nvSpPr>
        <p:spPr bwMode="auto">
          <a:xfrm>
            <a:off x="5732463" y="2819366"/>
            <a:ext cx="9525" cy="17463"/>
          </a:xfrm>
          <a:custGeom>
            <a:avLst/>
            <a:gdLst>
              <a:gd name="T0" fmla="*/ 0 w 6"/>
              <a:gd name="T1" fmla="*/ 5 h 11"/>
              <a:gd name="T2" fmla="*/ 1 w 6"/>
              <a:gd name="T3" fmla="*/ 6 h 11"/>
              <a:gd name="T4" fmla="*/ 3 w 6"/>
              <a:gd name="T5" fmla="*/ 7 h 11"/>
              <a:gd name="T6" fmla="*/ 1 w 6"/>
              <a:gd name="T7" fmla="*/ 8 h 11"/>
              <a:gd name="T8" fmla="*/ 3 w 6"/>
              <a:gd name="T9" fmla="*/ 9 h 11"/>
              <a:gd name="T10" fmla="*/ 3 w 6"/>
              <a:gd name="T11" fmla="*/ 10 h 11"/>
              <a:gd name="T12" fmla="*/ 3 w 6"/>
              <a:gd name="T13" fmla="*/ 11 h 11"/>
              <a:gd name="T14" fmla="*/ 5 w 6"/>
              <a:gd name="T15" fmla="*/ 11 h 11"/>
              <a:gd name="T16" fmla="*/ 5 w 6"/>
              <a:gd name="T17" fmla="*/ 10 h 11"/>
              <a:gd name="T18" fmla="*/ 6 w 6"/>
              <a:gd name="T19" fmla="*/ 8 h 11"/>
              <a:gd name="T20" fmla="*/ 6 w 6"/>
              <a:gd name="T21" fmla="*/ 5 h 11"/>
              <a:gd name="T22" fmla="*/ 6 w 6"/>
              <a:gd name="T23" fmla="*/ 5 h 11"/>
              <a:gd name="T24" fmla="*/ 5 w 6"/>
              <a:gd name="T25" fmla="*/ 3 h 11"/>
              <a:gd name="T26" fmla="*/ 6 w 6"/>
              <a:gd name="T27" fmla="*/ 2 h 11"/>
              <a:gd name="T28" fmla="*/ 6 w 6"/>
              <a:gd name="T29" fmla="*/ 1 h 11"/>
              <a:gd name="T30" fmla="*/ 5 w 6"/>
              <a:gd name="T31" fmla="*/ 0 h 11"/>
              <a:gd name="T32" fmla="*/ 4 w 6"/>
              <a:gd name="T33" fmla="*/ 1 h 11"/>
              <a:gd name="T34" fmla="*/ 3 w 6"/>
              <a:gd name="T35" fmla="*/ 1 h 11"/>
              <a:gd name="T36" fmla="*/ 0 w 6"/>
              <a:gd name="T37" fmla="*/ 5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" h="11">
                <a:moveTo>
                  <a:pt x="0" y="5"/>
                </a:moveTo>
                <a:lnTo>
                  <a:pt x="1" y="6"/>
                </a:lnTo>
                <a:lnTo>
                  <a:pt x="3" y="7"/>
                </a:lnTo>
                <a:lnTo>
                  <a:pt x="1" y="8"/>
                </a:lnTo>
                <a:lnTo>
                  <a:pt x="3" y="9"/>
                </a:lnTo>
                <a:lnTo>
                  <a:pt x="3" y="10"/>
                </a:lnTo>
                <a:lnTo>
                  <a:pt x="3" y="11"/>
                </a:lnTo>
                <a:lnTo>
                  <a:pt x="5" y="11"/>
                </a:lnTo>
                <a:lnTo>
                  <a:pt x="5" y="10"/>
                </a:lnTo>
                <a:lnTo>
                  <a:pt x="6" y="8"/>
                </a:lnTo>
                <a:lnTo>
                  <a:pt x="6" y="5"/>
                </a:lnTo>
                <a:lnTo>
                  <a:pt x="6" y="5"/>
                </a:lnTo>
                <a:lnTo>
                  <a:pt x="5" y="3"/>
                </a:lnTo>
                <a:lnTo>
                  <a:pt x="6" y="2"/>
                </a:lnTo>
                <a:lnTo>
                  <a:pt x="6" y="1"/>
                </a:lnTo>
                <a:lnTo>
                  <a:pt x="5" y="0"/>
                </a:lnTo>
                <a:lnTo>
                  <a:pt x="4" y="1"/>
                </a:lnTo>
                <a:lnTo>
                  <a:pt x="3" y="1"/>
                </a:lnTo>
                <a:lnTo>
                  <a:pt x="0" y="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17" name="Freeform 216"/>
          <p:cNvSpPr>
            <a:spLocks/>
          </p:cNvSpPr>
          <p:nvPr/>
        </p:nvSpPr>
        <p:spPr bwMode="auto">
          <a:xfrm>
            <a:off x="5651500" y="2860641"/>
            <a:ext cx="185737" cy="239713"/>
          </a:xfrm>
          <a:custGeom>
            <a:avLst/>
            <a:gdLst>
              <a:gd name="T0" fmla="*/ 49 w 117"/>
              <a:gd name="T1" fmla="*/ 0 h 151"/>
              <a:gd name="T2" fmla="*/ 46 w 117"/>
              <a:gd name="T3" fmla="*/ 17 h 151"/>
              <a:gd name="T4" fmla="*/ 54 w 117"/>
              <a:gd name="T5" fmla="*/ 52 h 151"/>
              <a:gd name="T6" fmla="*/ 0 w 117"/>
              <a:gd name="T7" fmla="*/ 106 h 151"/>
              <a:gd name="T8" fmla="*/ 27 w 117"/>
              <a:gd name="T9" fmla="*/ 147 h 151"/>
              <a:gd name="T10" fmla="*/ 34 w 117"/>
              <a:gd name="T11" fmla="*/ 145 h 151"/>
              <a:gd name="T12" fmla="*/ 42 w 117"/>
              <a:gd name="T13" fmla="*/ 143 h 151"/>
              <a:gd name="T14" fmla="*/ 47 w 117"/>
              <a:gd name="T15" fmla="*/ 144 h 151"/>
              <a:gd name="T16" fmla="*/ 50 w 117"/>
              <a:gd name="T17" fmla="*/ 143 h 151"/>
              <a:gd name="T18" fmla="*/ 54 w 117"/>
              <a:gd name="T19" fmla="*/ 138 h 151"/>
              <a:gd name="T20" fmla="*/ 54 w 117"/>
              <a:gd name="T21" fmla="*/ 135 h 151"/>
              <a:gd name="T22" fmla="*/ 56 w 117"/>
              <a:gd name="T23" fmla="*/ 132 h 151"/>
              <a:gd name="T24" fmla="*/ 66 w 117"/>
              <a:gd name="T25" fmla="*/ 126 h 151"/>
              <a:gd name="T26" fmla="*/ 71 w 117"/>
              <a:gd name="T27" fmla="*/ 125 h 151"/>
              <a:gd name="T28" fmla="*/ 75 w 117"/>
              <a:gd name="T29" fmla="*/ 118 h 151"/>
              <a:gd name="T30" fmla="*/ 76 w 117"/>
              <a:gd name="T31" fmla="*/ 112 h 151"/>
              <a:gd name="T32" fmla="*/ 80 w 117"/>
              <a:gd name="T33" fmla="*/ 108 h 151"/>
              <a:gd name="T34" fmla="*/ 84 w 117"/>
              <a:gd name="T35" fmla="*/ 107 h 151"/>
              <a:gd name="T36" fmla="*/ 89 w 117"/>
              <a:gd name="T37" fmla="*/ 107 h 151"/>
              <a:gd name="T38" fmla="*/ 91 w 117"/>
              <a:gd name="T39" fmla="*/ 104 h 151"/>
              <a:gd name="T40" fmla="*/ 90 w 117"/>
              <a:gd name="T41" fmla="*/ 101 h 151"/>
              <a:gd name="T42" fmla="*/ 89 w 117"/>
              <a:gd name="T43" fmla="*/ 94 h 151"/>
              <a:gd name="T44" fmla="*/ 89 w 117"/>
              <a:gd name="T45" fmla="*/ 87 h 151"/>
              <a:gd name="T46" fmla="*/ 94 w 117"/>
              <a:gd name="T47" fmla="*/ 78 h 151"/>
              <a:gd name="T48" fmla="*/ 96 w 117"/>
              <a:gd name="T49" fmla="*/ 78 h 151"/>
              <a:gd name="T50" fmla="*/ 98 w 117"/>
              <a:gd name="T51" fmla="*/ 81 h 151"/>
              <a:gd name="T52" fmla="*/ 100 w 117"/>
              <a:gd name="T53" fmla="*/ 81 h 151"/>
              <a:gd name="T54" fmla="*/ 104 w 117"/>
              <a:gd name="T55" fmla="*/ 73 h 151"/>
              <a:gd name="T56" fmla="*/ 107 w 117"/>
              <a:gd name="T57" fmla="*/ 66 h 151"/>
              <a:gd name="T58" fmla="*/ 115 w 117"/>
              <a:gd name="T59" fmla="*/ 54 h 151"/>
              <a:gd name="T60" fmla="*/ 116 w 117"/>
              <a:gd name="T61" fmla="*/ 49 h 151"/>
              <a:gd name="T62" fmla="*/ 117 w 117"/>
              <a:gd name="T63" fmla="*/ 44 h 151"/>
              <a:gd name="T64" fmla="*/ 115 w 117"/>
              <a:gd name="T65" fmla="*/ 42 h 151"/>
              <a:gd name="T66" fmla="*/ 110 w 117"/>
              <a:gd name="T67" fmla="*/ 40 h 151"/>
              <a:gd name="T68" fmla="*/ 106 w 117"/>
              <a:gd name="T69" fmla="*/ 34 h 151"/>
              <a:gd name="T70" fmla="*/ 104 w 117"/>
              <a:gd name="T71" fmla="*/ 32 h 151"/>
              <a:gd name="T72" fmla="*/ 101 w 117"/>
              <a:gd name="T73" fmla="*/ 29 h 151"/>
              <a:gd name="T74" fmla="*/ 98 w 117"/>
              <a:gd name="T75" fmla="*/ 24 h 151"/>
              <a:gd name="T76" fmla="*/ 92 w 117"/>
              <a:gd name="T77" fmla="*/ 22 h 151"/>
              <a:gd name="T78" fmla="*/ 82 w 117"/>
              <a:gd name="T79" fmla="*/ 20 h 151"/>
              <a:gd name="T80" fmla="*/ 74 w 117"/>
              <a:gd name="T81" fmla="*/ 16 h 151"/>
              <a:gd name="T82" fmla="*/ 68 w 117"/>
              <a:gd name="T83" fmla="*/ 12 h 151"/>
              <a:gd name="T84" fmla="*/ 64 w 117"/>
              <a:gd name="T85" fmla="*/ 7 h 151"/>
              <a:gd name="T86" fmla="*/ 60 w 117"/>
              <a:gd name="T87" fmla="*/ 4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17" h="151">
                <a:moveTo>
                  <a:pt x="58" y="0"/>
                </a:moveTo>
                <a:lnTo>
                  <a:pt x="49" y="0"/>
                </a:lnTo>
                <a:lnTo>
                  <a:pt x="55" y="14"/>
                </a:lnTo>
                <a:lnTo>
                  <a:pt x="46" y="17"/>
                </a:lnTo>
                <a:lnTo>
                  <a:pt x="45" y="40"/>
                </a:lnTo>
                <a:lnTo>
                  <a:pt x="54" y="52"/>
                </a:lnTo>
                <a:lnTo>
                  <a:pt x="46" y="88"/>
                </a:lnTo>
                <a:lnTo>
                  <a:pt x="0" y="106"/>
                </a:lnTo>
                <a:lnTo>
                  <a:pt x="20" y="151"/>
                </a:lnTo>
                <a:lnTo>
                  <a:pt x="27" y="147"/>
                </a:lnTo>
                <a:lnTo>
                  <a:pt x="30" y="147"/>
                </a:lnTo>
                <a:lnTo>
                  <a:pt x="34" y="145"/>
                </a:lnTo>
                <a:lnTo>
                  <a:pt x="37" y="143"/>
                </a:lnTo>
                <a:lnTo>
                  <a:pt x="42" y="143"/>
                </a:lnTo>
                <a:lnTo>
                  <a:pt x="47" y="144"/>
                </a:lnTo>
                <a:lnTo>
                  <a:pt x="47" y="144"/>
                </a:lnTo>
                <a:lnTo>
                  <a:pt x="49" y="144"/>
                </a:lnTo>
                <a:lnTo>
                  <a:pt x="50" y="143"/>
                </a:lnTo>
                <a:lnTo>
                  <a:pt x="52" y="142"/>
                </a:lnTo>
                <a:lnTo>
                  <a:pt x="54" y="138"/>
                </a:lnTo>
                <a:lnTo>
                  <a:pt x="55" y="137"/>
                </a:lnTo>
                <a:lnTo>
                  <a:pt x="54" y="135"/>
                </a:lnTo>
                <a:lnTo>
                  <a:pt x="54" y="134"/>
                </a:lnTo>
                <a:lnTo>
                  <a:pt x="56" y="132"/>
                </a:lnTo>
                <a:lnTo>
                  <a:pt x="58" y="128"/>
                </a:lnTo>
                <a:lnTo>
                  <a:pt x="66" y="126"/>
                </a:lnTo>
                <a:lnTo>
                  <a:pt x="69" y="126"/>
                </a:lnTo>
                <a:lnTo>
                  <a:pt x="71" y="125"/>
                </a:lnTo>
                <a:lnTo>
                  <a:pt x="74" y="122"/>
                </a:lnTo>
                <a:lnTo>
                  <a:pt x="75" y="118"/>
                </a:lnTo>
                <a:lnTo>
                  <a:pt x="75" y="115"/>
                </a:lnTo>
                <a:lnTo>
                  <a:pt x="76" y="112"/>
                </a:lnTo>
                <a:lnTo>
                  <a:pt x="78" y="110"/>
                </a:lnTo>
                <a:lnTo>
                  <a:pt x="80" y="108"/>
                </a:lnTo>
                <a:lnTo>
                  <a:pt x="81" y="107"/>
                </a:lnTo>
                <a:lnTo>
                  <a:pt x="84" y="107"/>
                </a:lnTo>
                <a:lnTo>
                  <a:pt x="87" y="107"/>
                </a:lnTo>
                <a:lnTo>
                  <a:pt x="89" y="107"/>
                </a:lnTo>
                <a:lnTo>
                  <a:pt x="91" y="106"/>
                </a:lnTo>
                <a:lnTo>
                  <a:pt x="91" y="104"/>
                </a:lnTo>
                <a:lnTo>
                  <a:pt x="90" y="101"/>
                </a:lnTo>
                <a:lnTo>
                  <a:pt x="90" y="101"/>
                </a:lnTo>
                <a:lnTo>
                  <a:pt x="89" y="96"/>
                </a:lnTo>
                <a:lnTo>
                  <a:pt x="89" y="94"/>
                </a:lnTo>
                <a:lnTo>
                  <a:pt x="89" y="91"/>
                </a:lnTo>
                <a:lnTo>
                  <a:pt x="89" y="87"/>
                </a:lnTo>
                <a:lnTo>
                  <a:pt x="92" y="82"/>
                </a:lnTo>
                <a:lnTo>
                  <a:pt x="94" y="78"/>
                </a:lnTo>
                <a:lnTo>
                  <a:pt x="96" y="77"/>
                </a:lnTo>
                <a:lnTo>
                  <a:pt x="96" y="78"/>
                </a:lnTo>
                <a:lnTo>
                  <a:pt x="97" y="80"/>
                </a:lnTo>
                <a:lnTo>
                  <a:pt x="98" y="81"/>
                </a:lnTo>
                <a:lnTo>
                  <a:pt x="99" y="81"/>
                </a:lnTo>
                <a:lnTo>
                  <a:pt x="100" y="81"/>
                </a:lnTo>
                <a:lnTo>
                  <a:pt x="102" y="75"/>
                </a:lnTo>
                <a:lnTo>
                  <a:pt x="104" y="73"/>
                </a:lnTo>
                <a:lnTo>
                  <a:pt x="105" y="68"/>
                </a:lnTo>
                <a:lnTo>
                  <a:pt x="107" y="66"/>
                </a:lnTo>
                <a:lnTo>
                  <a:pt x="110" y="63"/>
                </a:lnTo>
                <a:lnTo>
                  <a:pt x="115" y="54"/>
                </a:lnTo>
                <a:lnTo>
                  <a:pt x="116" y="51"/>
                </a:lnTo>
                <a:lnTo>
                  <a:pt x="116" y="49"/>
                </a:lnTo>
                <a:lnTo>
                  <a:pt x="117" y="45"/>
                </a:lnTo>
                <a:lnTo>
                  <a:pt x="117" y="44"/>
                </a:lnTo>
                <a:lnTo>
                  <a:pt x="116" y="43"/>
                </a:lnTo>
                <a:lnTo>
                  <a:pt x="115" y="42"/>
                </a:lnTo>
                <a:lnTo>
                  <a:pt x="115" y="41"/>
                </a:lnTo>
                <a:lnTo>
                  <a:pt x="110" y="40"/>
                </a:lnTo>
                <a:lnTo>
                  <a:pt x="108" y="37"/>
                </a:lnTo>
                <a:lnTo>
                  <a:pt x="106" y="34"/>
                </a:lnTo>
                <a:lnTo>
                  <a:pt x="105" y="33"/>
                </a:lnTo>
                <a:lnTo>
                  <a:pt x="104" y="32"/>
                </a:lnTo>
                <a:lnTo>
                  <a:pt x="102" y="30"/>
                </a:lnTo>
                <a:lnTo>
                  <a:pt x="101" y="29"/>
                </a:lnTo>
                <a:lnTo>
                  <a:pt x="100" y="26"/>
                </a:lnTo>
                <a:lnTo>
                  <a:pt x="98" y="24"/>
                </a:lnTo>
                <a:lnTo>
                  <a:pt x="95" y="22"/>
                </a:lnTo>
                <a:lnTo>
                  <a:pt x="92" y="22"/>
                </a:lnTo>
                <a:lnTo>
                  <a:pt x="88" y="20"/>
                </a:lnTo>
                <a:lnTo>
                  <a:pt x="82" y="20"/>
                </a:lnTo>
                <a:lnTo>
                  <a:pt x="81" y="19"/>
                </a:lnTo>
                <a:lnTo>
                  <a:pt x="74" y="16"/>
                </a:lnTo>
                <a:lnTo>
                  <a:pt x="70" y="13"/>
                </a:lnTo>
                <a:lnTo>
                  <a:pt x="68" y="12"/>
                </a:lnTo>
                <a:lnTo>
                  <a:pt x="66" y="10"/>
                </a:lnTo>
                <a:lnTo>
                  <a:pt x="64" y="7"/>
                </a:lnTo>
                <a:lnTo>
                  <a:pt x="64" y="6"/>
                </a:lnTo>
                <a:lnTo>
                  <a:pt x="60" y="4"/>
                </a:lnTo>
                <a:lnTo>
                  <a:pt x="58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18" name="Freeform 217"/>
          <p:cNvSpPr>
            <a:spLocks/>
          </p:cNvSpPr>
          <p:nvPr/>
        </p:nvSpPr>
        <p:spPr bwMode="auto">
          <a:xfrm>
            <a:off x="5651500" y="2860641"/>
            <a:ext cx="185737" cy="239713"/>
          </a:xfrm>
          <a:custGeom>
            <a:avLst/>
            <a:gdLst>
              <a:gd name="T0" fmla="*/ 49 w 117"/>
              <a:gd name="T1" fmla="*/ 0 h 151"/>
              <a:gd name="T2" fmla="*/ 46 w 117"/>
              <a:gd name="T3" fmla="*/ 17 h 151"/>
              <a:gd name="T4" fmla="*/ 54 w 117"/>
              <a:gd name="T5" fmla="*/ 52 h 151"/>
              <a:gd name="T6" fmla="*/ 0 w 117"/>
              <a:gd name="T7" fmla="*/ 106 h 151"/>
              <a:gd name="T8" fmla="*/ 27 w 117"/>
              <a:gd name="T9" fmla="*/ 147 h 151"/>
              <a:gd name="T10" fmla="*/ 34 w 117"/>
              <a:gd name="T11" fmla="*/ 145 h 151"/>
              <a:gd name="T12" fmla="*/ 42 w 117"/>
              <a:gd name="T13" fmla="*/ 143 h 151"/>
              <a:gd name="T14" fmla="*/ 47 w 117"/>
              <a:gd name="T15" fmla="*/ 144 h 151"/>
              <a:gd name="T16" fmla="*/ 50 w 117"/>
              <a:gd name="T17" fmla="*/ 143 h 151"/>
              <a:gd name="T18" fmla="*/ 54 w 117"/>
              <a:gd name="T19" fmla="*/ 138 h 151"/>
              <a:gd name="T20" fmla="*/ 54 w 117"/>
              <a:gd name="T21" fmla="*/ 135 h 151"/>
              <a:gd name="T22" fmla="*/ 56 w 117"/>
              <a:gd name="T23" fmla="*/ 132 h 151"/>
              <a:gd name="T24" fmla="*/ 66 w 117"/>
              <a:gd name="T25" fmla="*/ 126 h 151"/>
              <a:gd name="T26" fmla="*/ 71 w 117"/>
              <a:gd name="T27" fmla="*/ 125 h 151"/>
              <a:gd name="T28" fmla="*/ 75 w 117"/>
              <a:gd name="T29" fmla="*/ 118 h 151"/>
              <a:gd name="T30" fmla="*/ 76 w 117"/>
              <a:gd name="T31" fmla="*/ 112 h 151"/>
              <a:gd name="T32" fmla="*/ 80 w 117"/>
              <a:gd name="T33" fmla="*/ 108 h 151"/>
              <a:gd name="T34" fmla="*/ 84 w 117"/>
              <a:gd name="T35" fmla="*/ 107 h 151"/>
              <a:gd name="T36" fmla="*/ 89 w 117"/>
              <a:gd name="T37" fmla="*/ 107 h 151"/>
              <a:gd name="T38" fmla="*/ 91 w 117"/>
              <a:gd name="T39" fmla="*/ 104 h 151"/>
              <a:gd name="T40" fmla="*/ 90 w 117"/>
              <a:gd name="T41" fmla="*/ 101 h 151"/>
              <a:gd name="T42" fmla="*/ 89 w 117"/>
              <a:gd name="T43" fmla="*/ 94 h 151"/>
              <a:gd name="T44" fmla="*/ 89 w 117"/>
              <a:gd name="T45" fmla="*/ 87 h 151"/>
              <a:gd name="T46" fmla="*/ 94 w 117"/>
              <a:gd name="T47" fmla="*/ 78 h 151"/>
              <a:gd name="T48" fmla="*/ 96 w 117"/>
              <a:gd name="T49" fmla="*/ 78 h 151"/>
              <a:gd name="T50" fmla="*/ 98 w 117"/>
              <a:gd name="T51" fmla="*/ 81 h 151"/>
              <a:gd name="T52" fmla="*/ 100 w 117"/>
              <a:gd name="T53" fmla="*/ 81 h 151"/>
              <a:gd name="T54" fmla="*/ 104 w 117"/>
              <a:gd name="T55" fmla="*/ 73 h 151"/>
              <a:gd name="T56" fmla="*/ 107 w 117"/>
              <a:gd name="T57" fmla="*/ 66 h 151"/>
              <a:gd name="T58" fmla="*/ 115 w 117"/>
              <a:gd name="T59" fmla="*/ 54 h 151"/>
              <a:gd name="T60" fmla="*/ 116 w 117"/>
              <a:gd name="T61" fmla="*/ 49 h 151"/>
              <a:gd name="T62" fmla="*/ 117 w 117"/>
              <a:gd name="T63" fmla="*/ 44 h 151"/>
              <a:gd name="T64" fmla="*/ 115 w 117"/>
              <a:gd name="T65" fmla="*/ 42 h 151"/>
              <a:gd name="T66" fmla="*/ 110 w 117"/>
              <a:gd name="T67" fmla="*/ 40 h 151"/>
              <a:gd name="T68" fmla="*/ 106 w 117"/>
              <a:gd name="T69" fmla="*/ 34 h 151"/>
              <a:gd name="T70" fmla="*/ 104 w 117"/>
              <a:gd name="T71" fmla="*/ 32 h 151"/>
              <a:gd name="T72" fmla="*/ 101 w 117"/>
              <a:gd name="T73" fmla="*/ 29 h 151"/>
              <a:gd name="T74" fmla="*/ 98 w 117"/>
              <a:gd name="T75" fmla="*/ 24 h 151"/>
              <a:gd name="T76" fmla="*/ 92 w 117"/>
              <a:gd name="T77" fmla="*/ 22 h 151"/>
              <a:gd name="T78" fmla="*/ 82 w 117"/>
              <a:gd name="T79" fmla="*/ 20 h 151"/>
              <a:gd name="T80" fmla="*/ 74 w 117"/>
              <a:gd name="T81" fmla="*/ 16 h 151"/>
              <a:gd name="T82" fmla="*/ 68 w 117"/>
              <a:gd name="T83" fmla="*/ 12 h 151"/>
              <a:gd name="T84" fmla="*/ 64 w 117"/>
              <a:gd name="T85" fmla="*/ 7 h 151"/>
              <a:gd name="T86" fmla="*/ 60 w 117"/>
              <a:gd name="T87" fmla="*/ 4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17" h="151">
                <a:moveTo>
                  <a:pt x="58" y="0"/>
                </a:moveTo>
                <a:lnTo>
                  <a:pt x="49" y="0"/>
                </a:lnTo>
                <a:lnTo>
                  <a:pt x="55" y="14"/>
                </a:lnTo>
                <a:lnTo>
                  <a:pt x="46" y="17"/>
                </a:lnTo>
                <a:lnTo>
                  <a:pt x="45" y="40"/>
                </a:lnTo>
                <a:lnTo>
                  <a:pt x="54" y="52"/>
                </a:lnTo>
                <a:lnTo>
                  <a:pt x="46" y="88"/>
                </a:lnTo>
                <a:lnTo>
                  <a:pt x="0" y="106"/>
                </a:lnTo>
                <a:lnTo>
                  <a:pt x="20" y="151"/>
                </a:lnTo>
                <a:lnTo>
                  <a:pt x="27" y="147"/>
                </a:lnTo>
                <a:lnTo>
                  <a:pt x="30" y="147"/>
                </a:lnTo>
                <a:lnTo>
                  <a:pt x="34" y="145"/>
                </a:lnTo>
                <a:lnTo>
                  <a:pt x="37" y="143"/>
                </a:lnTo>
                <a:lnTo>
                  <a:pt x="42" y="143"/>
                </a:lnTo>
                <a:lnTo>
                  <a:pt x="47" y="144"/>
                </a:lnTo>
                <a:lnTo>
                  <a:pt x="47" y="144"/>
                </a:lnTo>
                <a:lnTo>
                  <a:pt x="49" y="144"/>
                </a:lnTo>
                <a:lnTo>
                  <a:pt x="50" y="143"/>
                </a:lnTo>
                <a:lnTo>
                  <a:pt x="52" y="142"/>
                </a:lnTo>
                <a:lnTo>
                  <a:pt x="54" y="138"/>
                </a:lnTo>
                <a:lnTo>
                  <a:pt x="55" y="137"/>
                </a:lnTo>
                <a:lnTo>
                  <a:pt x="54" y="135"/>
                </a:lnTo>
                <a:lnTo>
                  <a:pt x="54" y="134"/>
                </a:lnTo>
                <a:lnTo>
                  <a:pt x="56" y="132"/>
                </a:lnTo>
                <a:lnTo>
                  <a:pt x="58" y="128"/>
                </a:lnTo>
                <a:lnTo>
                  <a:pt x="66" y="126"/>
                </a:lnTo>
                <a:lnTo>
                  <a:pt x="69" y="126"/>
                </a:lnTo>
                <a:lnTo>
                  <a:pt x="71" y="125"/>
                </a:lnTo>
                <a:lnTo>
                  <a:pt x="74" y="122"/>
                </a:lnTo>
                <a:lnTo>
                  <a:pt x="75" y="118"/>
                </a:lnTo>
                <a:lnTo>
                  <a:pt x="75" y="115"/>
                </a:lnTo>
                <a:lnTo>
                  <a:pt x="76" y="112"/>
                </a:lnTo>
                <a:lnTo>
                  <a:pt x="78" y="110"/>
                </a:lnTo>
                <a:lnTo>
                  <a:pt x="80" y="108"/>
                </a:lnTo>
                <a:lnTo>
                  <a:pt x="81" y="107"/>
                </a:lnTo>
                <a:lnTo>
                  <a:pt x="84" y="107"/>
                </a:lnTo>
                <a:lnTo>
                  <a:pt x="87" y="107"/>
                </a:lnTo>
                <a:lnTo>
                  <a:pt x="89" y="107"/>
                </a:lnTo>
                <a:lnTo>
                  <a:pt x="91" y="106"/>
                </a:lnTo>
                <a:lnTo>
                  <a:pt x="91" y="104"/>
                </a:lnTo>
                <a:lnTo>
                  <a:pt x="90" y="101"/>
                </a:lnTo>
                <a:lnTo>
                  <a:pt x="90" y="101"/>
                </a:lnTo>
                <a:lnTo>
                  <a:pt x="89" y="96"/>
                </a:lnTo>
                <a:lnTo>
                  <a:pt x="89" y="94"/>
                </a:lnTo>
                <a:lnTo>
                  <a:pt x="89" y="91"/>
                </a:lnTo>
                <a:lnTo>
                  <a:pt x="89" y="87"/>
                </a:lnTo>
                <a:lnTo>
                  <a:pt x="92" y="82"/>
                </a:lnTo>
                <a:lnTo>
                  <a:pt x="94" y="78"/>
                </a:lnTo>
                <a:lnTo>
                  <a:pt x="96" y="77"/>
                </a:lnTo>
                <a:lnTo>
                  <a:pt x="96" y="78"/>
                </a:lnTo>
                <a:lnTo>
                  <a:pt x="97" y="80"/>
                </a:lnTo>
                <a:lnTo>
                  <a:pt x="98" y="81"/>
                </a:lnTo>
                <a:lnTo>
                  <a:pt x="99" y="81"/>
                </a:lnTo>
                <a:lnTo>
                  <a:pt x="100" y="81"/>
                </a:lnTo>
                <a:lnTo>
                  <a:pt x="102" y="75"/>
                </a:lnTo>
                <a:lnTo>
                  <a:pt x="104" y="73"/>
                </a:lnTo>
                <a:lnTo>
                  <a:pt x="105" y="68"/>
                </a:lnTo>
                <a:lnTo>
                  <a:pt x="107" y="66"/>
                </a:lnTo>
                <a:lnTo>
                  <a:pt x="110" y="63"/>
                </a:lnTo>
                <a:lnTo>
                  <a:pt x="115" y="54"/>
                </a:lnTo>
                <a:lnTo>
                  <a:pt x="116" y="51"/>
                </a:lnTo>
                <a:lnTo>
                  <a:pt x="116" y="49"/>
                </a:lnTo>
                <a:lnTo>
                  <a:pt x="117" y="45"/>
                </a:lnTo>
                <a:lnTo>
                  <a:pt x="117" y="44"/>
                </a:lnTo>
                <a:lnTo>
                  <a:pt x="116" y="43"/>
                </a:lnTo>
                <a:lnTo>
                  <a:pt x="115" y="42"/>
                </a:lnTo>
                <a:lnTo>
                  <a:pt x="115" y="41"/>
                </a:lnTo>
                <a:lnTo>
                  <a:pt x="110" y="40"/>
                </a:lnTo>
                <a:lnTo>
                  <a:pt x="108" y="37"/>
                </a:lnTo>
                <a:lnTo>
                  <a:pt x="106" y="34"/>
                </a:lnTo>
                <a:lnTo>
                  <a:pt x="105" y="33"/>
                </a:lnTo>
                <a:lnTo>
                  <a:pt x="104" y="32"/>
                </a:lnTo>
                <a:lnTo>
                  <a:pt x="102" y="30"/>
                </a:lnTo>
                <a:lnTo>
                  <a:pt x="101" y="29"/>
                </a:lnTo>
                <a:lnTo>
                  <a:pt x="100" y="26"/>
                </a:lnTo>
                <a:lnTo>
                  <a:pt x="98" y="24"/>
                </a:lnTo>
                <a:lnTo>
                  <a:pt x="95" y="22"/>
                </a:lnTo>
                <a:lnTo>
                  <a:pt x="92" y="22"/>
                </a:lnTo>
                <a:lnTo>
                  <a:pt x="88" y="20"/>
                </a:lnTo>
                <a:lnTo>
                  <a:pt x="82" y="20"/>
                </a:lnTo>
                <a:lnTo>
                  <a:pt x="81" y="19"/>
                </a:lnTo>
                <a:lnTo>
                  <a:pt x="74" y="16"/>
                </a:lnTo>
                <a:lnTo>
                  <a:pt x="70" y="13"/>
                </a:lnTo>
                <a:lnTo>
                  <a:pt x="68" y="12"/>
                </a:lnTo>
                <a:lnTo>
                  <a:pt x="66" y="10"/>
                </a:lnTo>
                <a:lnTo>
                  <a:pt x="64" y="7"/>
                </a:lnTo>
                <a:lnTo>
                  <a:pt x="64" y="6"/>
                </a:lnTo>
                <a:lnTo>
                  <a:pt x="60" y="4"/>
                </a:lnTo>
                <a:lnTo>
                  <a:pt x="58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19" name="Freeform 218"/>
          <p:cNvSpPr>
            <a:spLocks/>
          </p:cNvSpPr>
          <p:nvPr/>
        </p:nvSpPr>
        <p:spPr bwMode="auto">
          <a:xfrm>
            <a:off x="6038850" y="2539966"/>
            <a:ext cx="704850" cy="804863"/>
          </a:xfrm>
          <a:custGeom>
            <a:avLst/>
            <a:gdLst>
              <a:gd name="T0" fmla="*/ 119 w 444"/>
              <a:gd name="T1" fmla="*/ 399 h 507"/>
              <a:gd name="T2" fmla="*/ 160 w 444"/>
              <a:gd name="T3" fmla="*/ 490 h 507"/>
              <a:gd name="T4" fmla="*/ 196 w 444"/>
              <a:gd name="T5" fmla="*/ 486 h 507"/>
              <a:gd name="T6" fmla="*/ 210 w 444"/>
              <a:gd name="T7" fmla="*/ 431 h 507"/>
              <a:gd name="T8" fmla="*/ 208 w 444"/>
              <a:gd name="T9" fmla="*/ 389 h 507"/>
              <a:gd name="T10" fmla="*/ 227 w 444"/>
              <a:gd name="T11" fmla="*/ 358 h 507"/>
              <a:gd name="T12" fmla="*/ 265 w 444"/>
              <a:gd name="T13" fmla="*/ 320 h 507"/>
              <a:gd name="T14" fmla="*/ 302 w 444"/>
              <a:gd name="T15" fmla="*/ 266 h 507"/>
              <a:gd name="T16" fmla="*/ 322 w 444"/>
              <a:gd name="T17" fmla="*/ 263 h 507"/>
              <a:gd name="T18" fmla="*/ 328 w 444"/>
              <a:gd name="T19" fmla="*/ 248 h 507"/>
              <a:gd name="T20" fmla="*/ 319 w 444"/>
              <a:gd name="T21" fmla="*/ 212 h 507"/>
              <a:gd name="T22" fmla="*/ 317 w 444"/>
              <a:gd name="T23" fmla="*/ 192 h 507"/>
              <a:gd name="T24" fmla="*/ 319 w 444"/>
              <a:gd name="T25" fmla="*/ 174 h 507"/>
              <a:gd name="T26" fmla="*/ 358 w 444"/>
              <a:gd name="T27" fmla="*/ 194 h 507"/>
              <a:gd name="T28" fmla="*/ 363 w 444"/>
              <a:gd name="T29" fmla="*/ 231 h 507"/>
              <a:gd name="T30" fmla="*/ 390 w 444"/>
              <a:gd name="T31" fmla="*/ 256 h 507"/>
              <a:gd name="T32" fmla="*/ 398 w 444"/>
              <a:gd name="T33" fmla="*/ 231 h 507"/>
              <a:gd name="T34" fmla="*/ 419 w 444"/>
              <a:gd name="T35" fmla="*/ 186 h 507"/>
              <a:gd name="T36" fmla="*/ 443 w 444"/>
              <a:gd name="T37" fmla="*/ 148 h 507"/>
              <a:gd name="T38" fmla="*/ 417 w 444"/>
              <a:gd name="T39" fmla="*/ 118 h 507"/>
              <a:gd name="T40" fmla="*/ 379 w 444"/>
              <a:gd name="T41" fmla="*/ 138 h 507"/>
              <a:gd name="T42" fmla="*/ 367 w 444"/>
              <a:gd name="T43" fmla="*/ 162 h 507"/>
              <a:gd name="T44" fmla="*/ 322 w 444"/>
              <a:gd name="T45" fmla="*/ 168 h 507"/>
              <a:gd name="T46" fmla="*/ 312 w 444"/>
              <a:gd name="T47" fmla="*/ 156 h 507"/>
              <a:gd name="T48" fmla="*/ 300 w 444"/>
              <a:gd name="T49" fmla="*/ 153 h 507"/>
              <a:gd name="T50" fmla="*/ 291 w 444"/>
              <a:gd name="T51" fmla="*/ 175 h 507"/>
              <a:gd name="T52" fmla="*/ 239 w 444"/>
              <a:gd name="T53" fmla="*/ 157 h 507"/>
              <a:gd name="T54" fmla="*/ 209 w 444"/>
              <a:gd name="T55" fmla="*/ 150 h 507"/>
              <a:gd name="T56" fmla="*/ 179 w 444"/>
              <a:gd name="T57" fmla="*/ 135 h 507"/>
              <a:gd name="T58" fmla="*/ 175 w 444"/>
              <a:gd name="T59" fmla="*/ 114 h 507"/>
              <a:gd name="T60" fmla="*/ 176 w 444"/>
              <a:gd name="T61" fmla="*/ 102 h 507"/>
              <a:gd name="T62" fmla="*/ 158 w 444"/>
              <a:gd name="T63" fmla="*/ 93 h 507"/>
              <a:gd name="T64" fmla="*/ 144 w 444"/>
              <a:gd name="T65" fmla="*/ 84 h 507"/>
              <a:gd name="T66" fmla="*/ 137 w 444"/>
              <a:gd name="T67" fmla="*/ 62 h 507"/>
              <a:gd name="T68" fmla="*/ 147 w 444"/>
              <a:gd name="T69" fmla="*/ 62 h 507"/>
              <a:gd name="T70" fmla="*/ 138 w 444"/>
              <a:gd name="T71" fmla="*/ 47 h 507"/>
              <a:gd name="T72" fmla="*/ 142 w 444"/>
              <a:gd name="T73" fmla="*/ 34 h 507"/>
              <a:gd name="T74" fmla="*/ 148 w 444"/>
              <a:gd name="T75" fmla="*/ 14 h 507"/>
              <a:gd name="T76" fmla="*/ 139 w 444"/>
              <a:gd name="T77" fmla="*/ 6 h 507"/>
              <a:gd name="T78" fmla="*/ 126 w 444"/>
              <a:gd name="T79" fmla="*/ 2 h 507"/>
              <a:gd name="T80" fmla="*/ 100 w 444"/>
              <a:gd name="T81" fmla="*/ 19 h 507"/>
              <a:gd name="T82" fmla="*/ 85 w 444"/>
              <a:gd name="T83" fmla="*/ 25 h 507"/>
              <a:gd name="T84" fmla="*/ 58 w 444"/>
              <a:gd name="T85" fmla="*/ 22 h 507"/>
              <a:gd name="T86" fmla="*/ 57 w 444"/>
              <a:gd name="T87" fmla="*/ 34 h 507"/>
              <a:gd name="T88" fmla="*/ 61 w 444"/>
              <a:gd name="T89" fmla="*/ 50 h 507"/>
              <a:gd name="T90" fmla="*/ 83 w 444"/>
              <a:gd name="T91" fmla="*/ 64 h 507"/>
              <a:gd name="T92" fmla="*/ 78 w 444"/>
              <a:gd name="T93" fmla="*/ 74 h 507"/>
              <a:gd name="T94" fmla="*/ 84 w 444"/>
              <a:gd name="T95" fmla="*/ 91 h 507"/>
              <a:gd name="T96" fmla="*/ 71 w 444"/>
              <a:gd name="T97" fmla="*/ 108 h 507"/>
              <a:gd name="T98" fmla="*/ 49 w 444"/>
              <a:gd name="T99" fmla="*/ 143 h 507"/>
              <a:gd name="T100" fmla="*/ 27 w 444"/>
              <a:gd name="T101" fmla="*/ 145 h 507"/>
              <a:gd name="T102" fmla="*/ 26 w 444"/>
              <a:gd name="T103" fmla="*/ 172 h 507"/>
              <a:gd name="T104" fmla="*/ 37 w 444"/>
              <a:gd name="T105" fmla="*/ 192 h 507"/>
              <a:gd name="T106" fmla="*/ 47 w 444"/>
              <a:gd name="T107" fmla="*/ 211 h 507"/>
              <a:gd name="T108" fmla="*/ 36 w 444"/>
              <a:gd name="T109" fmla="*/ 211 h 507"/>
              <a:gd name="T110" fmla="*/ 13 w 444"/>
              <a:gd name="T111" fmla="*/ 213 h 507"/>
              <a:gd name="T112" fmla="*/ 2 w 444"/>
              <a:gd name="T113" fmla="*/ 223 h 507"/>
              <a:gd name="T114" fmla="*/ 38 w 444"/>
              <a:gd name="T115" fmla="*/ 235 h 507"/>
              <a:gd name="T116" fmla="*/ 44 w 444"/>
              <a:gd name="T117" fmla="*/ 276 h 507"/>
              <a:gd name="T118" fmla="*/ 69 w 444"/>
              <a:gd name="T119" fmla="*/ 248 h 507"/>
              <a:gd name="T120" fmla="*/ 77 w 444"/>
              <a:gd name="T121" fmla="*/ 269 h 507"/>
              <a:gd name="T122" fmla="*/ 85 w 444"/>
              <a:gd name="T123" fmla="*/ 306 h 507"/>
              <a:gd name="T124" fmla="*/ 93 w 444"/>
              <a:gd name="T125" fmla="*/ 343 h 5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44" h="507">
                <a:moveTo>
                  <a:pt x="104" y="368"/>
                </a:moveTo>
                <a:lnTo>
                  <a:pt x="104" y="368"/>
                </a:lnTo>
                <a:lnTo>
                  <a:pt x="106" y="373"/>
                </a:lnTo>
                <a:lnTo>
                  <a:pt x="106" y="373"/>
                </a:lnTo>
                <a:lnTo>
                  <a:pt x="107" y="373"/>
                </a:lnTo>
                <a:lnTo>
                  <a:pt x="108" y="373"/>
                </a:lnTo>
                <a:lnTo>
                  <a:pt x="108" y="374"/>
                </a:lnTo>
                <a:lnTo>
                  <a:pt x="108" y="376"/>
                </a:lnTo>
                <a:lnTo>
                  <a:pt x="110" y="383"/>
                </a:lnTo>
                <a:lnTo>
                  <a:pt x="112" y="386"/>
                </a:lnTo>
                <a:lnTo>
                  <a:pt x="115" y="387"/>
                </a:lnTo>
                <a:lnTo>
                  <a:pt x="118" y="395"/>
                </a:lnTo>
                <a:lnTo>
                  <a:pt x="119" y="399"/>
                </a:lnTo>
                <a:lnTo>
                  <a:pt x="122" y="403"/>
                </a:lnTo>
                <a:lnTo>
                  <a:pt x="124" y="407"/>
                </a:lnTo>
                <a:lnTo>
                  <a:pt x="127" y="417"/>
                </a:lnTo>
                <a:lnTo>
                  <a:pt x="131" y="429"/>
                </a:lnTo>
                <a:lnTo>
                  <a:pt x="131" y="430"/>
                </a:lnTo>
                <a:lnTo>
                  <a:pt x="134" y="435"/>
                </a:lnTo>
                <a:lnTo>
                  <a:pt x="137" y="438"/>
                </a:lnTo>
                <a:lnTo>
                  <a:pt x="142" y="445"/>
                </a:lnTo>
                <a:lnTo>
                  <a:pt x="145" y="451"/>
                </a:lnTo>
                <a:lnTo>
                  <a:pt x="148" y="460"/>
                </a:lnTo>
                <a:lnTo>
                  <a:pt x="155" y="477"/>
                </a:lnTo>
                <a:lnTo>
                  <a:pt x="158" y="486"/>
                </a:lnTo>
                <a:lnTo>
                  <a:pt x="160" y="490"/>
                </a:lnTo>
                <a:lnTo>
                  <a:pt x="164" y="497"/>
                </a:lnTo>
                <a:lnTo>
                  <a:pt x="168" y="504"/>
                </a:lnTo>
                <a:lnTo>
                  <a:pt x="172" y="507"/>
                </a:lnTo>
                <a:lnTo>
                  <a:pt x="177" y="507"/>
                </a:lnTo>
                <a:lnTo>
                  <a:pt x="179" y="504"/>
                </a:lnTo>
                <a:lnTo>
                  <a:pt x="179" y="504"/>
                </a:lnTo>
                <a:lnTo>
                  <a:pt x="181" y="501"/>
                </a:lnTo>
                <a:lnTo>
                  <a:pt x="184" y="500"/>
                </a:lnTo>
                <a:lnTo>
                  <a:pt x="184" y="498"/>
                </a:lnTo>
                <a:lnTo>
                  <a:pt x="184" y="497"/>
                </a:lnTo>
                <a:lnTo>
                  <a:pt x="185" y="490"/>
                </a:lnTo>
                <a:lnTo>
                  <a:pt x="191" y="486"/>
                </a:lnTo>
                <a:lnTo>
                  <a:pt x="196" y="486"/>
                </a:lnTo>
                <a:lnTo>
                  <a:pt x="196" y="482"/>
                </a:lnTo>
                <a:lnTo>
                  <a:pt x="196" y="479"/>
                </a:lnTo>
                <a:lnTo>
                  <a:pt x="199" y="472"/>
                </a:lnTo>
                <a:lnTo>
                  <a:pt x="200" y="470"/>
                </a:lnTo>
                <a:lnTo>
                  <a:pt x="201" y="467"/>
                </a:lnTo>
                <a:lnTo>
                  <a:pt x="206" y="466"/>
                </a:lnTo>
                <a:lnTo>
                  <a:pt x="207" y="467"/>
                </a:lnTo>
                <a:lnTo>
                  <a:pt x="209" y="467"/>
                </a:lnTo>
                <a:lnTo>
                  <a:pt x="209" y="461"/>
                </a:lnTo>
                <a:lnTo>
                  <a:pt x="208" y="453"/>
                </a:lnTo>
                <a:lnTo>
                  <a:pt x="207" y="443"/>
                </a:lnTo>
                <a:lnTo>
                  <a:pt x="208" y="439"/>
                </a:lnTo>
                <a:lnTo>
                  <a:pt x="210" y="431"/>
                </a:lnTo>
                <a:lnTo>
                  <a:pt x="211" y="426"/>
                </a:lnTo>
                <a:lnTo>
                  <a:pt x="213" y="417"/>
                </a:lnTo>
                <a:lnTo>
                  <a:pt x="213" y="415"/>
                </a:lnTo>
                <a:lnTo>
                  <a:pt x="212" y="410"/>
                </a:lnTo>
                <a:lnTo>
                  <a:pt x="211" y="409"/>
                </a:lnTo>
                <a:lnTo>
                  <a:pt x="210" y="407"/>
                </a:lnTo>
                <a:lnTo>
                  <a:pt x="209" y="406"/>
                </a:lnTo>
                <a:lnTo>
                  <a:pt x="210" y="405"/>
                </a:lnTo>
                <a:lnTo>
                  <a:pt x="211" y="406"/>
                </a:lnTo>
                <a:lnTo>
                  <a:pt x="208" y="396"/>
                </a:lnTo>
                <a:lnTo>
                  <a:pt x="209" y="393"/>
                </a:lnTo>
                <a:lnTo>
                  <a:pt x="208" y="389"/>
                </a:lnTo>
                <a:lnTo>
                  <a:pt x="208" y="389"/>
                </a:lnTo>
                <a:lnTo>
                  <a:pt x="207" y="387"/>
                </a:lnTo>
                <a:lnTo>
                  <a:pt x="206" y="384"/>
                </a:lnTo>
                <a:lnTo>
                  <a:pt x="206" y="376"/>
                </a:lnTo>
                <a:lnTo>
                  <a:pt x="208" y="373"/>
                </a:lnTo>
                <a:lnTo>
                  <a:pt x="209" y="368"/>
                </a:lnTo>
                <a:lnTo>
                  <a:pt x="212" y="367"/>
                </a:lnTo>
                <a:lnTo>
                  <a:pt x="215" y="367"/>
                </a:lnTo>
                <a:lnTo>
                  <a:pt x="218" y="368"/>
                </a:lnTo>
                <a:lnTo>
                  <a:pt x="220" y="367"/>
                </a:lnTo>
                <a:lnTo>
                  <a:pt x="221" y="363"/>
                </a:lnTo>
                <a:lnTo>
                  <a:pt x="222" y="359"/>
                </a:lnTo>
                <a:lnTo>
                  <a:pt x="223" y="359"/>
                </a:lnTo>
                <a:lnTo>
                  <a:pt x="227" y="358"/>
                </a:lnTo>
                <a:lnTo>
                  <a:pt x="230" y="357"/>
                </a:lnTo>
                <a:lnTo>
                  <a:pt x="237" y="354"/>
                </a:lnTo>
                <a:lnTo>
                  <a:pt x="238" y="352"/>
                </a:lnTo>
                <a:lnTo>
                  <a:pt x="238" y="348"/>
                </a:lnTo>
                <a:lnTo>
                  <a:pt x="239" y="345"/>
                </a:lnTo>
                <a:lnTo>
                  <a:pt x="243" y="342"/>
                </a:lnTo>
                <a:lnTo>
                  <a:pt x="249" y="336"/>
                </a:lnTo>
                <a:lnTo>
                  <a:pt x="253" y="332"/>
                </a:lnTo>
                <a:lnTo>
                  <a:pt x="257" y="327"/>
                </a:lnTo>
                <a:lnTo>
                  <a:pt x="261" y="324"/>
                </a:lnTo>
                <a:lnTo>
                  <a:pt x="263" y="322"/>
                </a:lnTo>
                <a:lnTo>
                  <a:pt x="265" y="320"/>
                </a:lnTo>
                <a:lnTo>
                  <a:pt x="265" y="320"/>
                </a:lnTo>
                <a:lnTo>
                  <a:pt x="268" y="317"/>
                </a:lnTo>
                <a:lnTo>
                  <a:pt x="276" y="304"/>
                </a:lnTo>
                <a:lnTo>
                  <a:pt x="279" y="300"/>
                </a:lnTo>
                <a:lnTo>
                  <a:pt x="287" y="295"/>
                </a:lnTo>
                <a:lnTo>
                  <a:pt x="292" y="294"/>
                </a:lnTo>
                <a:lnTo>
                  <a:pt x="294" y="292"/>
                </a:lnTo>
                <a:lnTo>
                  <a:pt x="296" y="292"/>
                </a:lnTo>
                <a:lnTo>
                  <a:pt x="299" y="287"/>
                </a:lnTo>
                <a:lnTo>
                  <a:pt x="301" y="284"/>
                </a:lnTo>
                <a:lnTo>
                  <a:pt x="301" y="282"/>
                </a:lnTo>
                <a:lnTo>
                  <a:pt x="304" y="278"/>
                </a:lnTo>
                <a:lnTo>
                  <a:pt x="301" y="270"/>
                </a:lnTo>
                <a:lnTo>
                  <a:pt x="302" y="266"/>
                </a:lnTo>
                <a:lnTo>
                  <a:pt x="311" y="260"/>
                </a:lnTo>
                <a:lnTo>
                  <a:pt x="313" y="259"/>
                </a:lnTo>
                <a:lnTo>
                  <a:pt x="316" y="258"/>
                </a:lnTo>
                <a:lnTo>
                  <a:pt x="317" y="256"/>
                </a:lnTo>
                <a:lnTo>
                  <a:pt x="317" y="254"/>
                </a:lnTo>
                <a:lnTo>
                  <a:pt x="318" y="252"/>
                </a:lnTo>
                <a:lnTo>
                  <a:pt x="319" y="252"/>
                </a:lnTo>
                <a:lnTo>
                  <a:pt x="319" y="256"/>
                </a:lnTo>
                <a:lnTo>
                  <a:pt x="319" y="259"/>
                </a:lnTo>
                <a:lnTo>
                  <a:pt x="320" y="260"/>
                </a:lnTo>
                <a:lnTo>
                  <a:pt x="320" y="259"/>
                </a:lnTo>
                <a:lnTo>
                  <a:pt x="321" y="260"/>
                </a:lnTo>
                <a:lnTo>
                  <a:pt x="322" y="263"/>
                </a:lnTo>
                <a:lnTo>
                  <a:pt x="324" y="263"/>
                </a:lnTo>
                <a:lnTo>
                  <a:pt x="327" y="260"/>
                </a:lnTo>
                <a:lnTo>
                  <a:pt x="328" y="262"/>
                </a:lnTo>
                <a:lnTo>
                  <a:pt x="328" y="259"/>
                </a:lnTo>
                <a:lnTo>
                  <a:pt x="328" y="257"/>
                </a:lnTo>
                <a:lnTo>
                  <a:pt x="329" y="260"/>
                </a:lnTo>
                <a:lnTo>
                  <a:pt x="330" y="262"/>
                </a:lnTo>
                <a:lnTo>
                  <a:pt x="332" y="260"/>
                </a:lnTo>
                <a:lnTo>
                  <a:pt x="330" y="257"/>
                </a:lnTo>
                <a:lnTo>
                  <a:pt x="330" y="255"/>
                </a:lnTo>
                <a:lnTo>
                  <a:pt x="329" y="254"/>
                </a:lnTo>
                <a:lnTo>
                  <a:pt x="328" y="251"/>
                </a:lnTo>
                <a:lnTo>
                  <a:pt x="328" y="248"/>
                </a:lnTo>
                <a:lnTo>
                  <a:pt x="328" y="245"/>
                </a:lnTo>
                <a:lnTo>
                  <a:pt x="326" y="244"/>
                </a:lnTo>
                <a:lnTo>
                  <a:pt x="324" y="241"/>
                </a:lnTo>
                <a:lnTo>
                  <a:pt x="324" y="237"/>
                </a:lnTo>
                <a:lnTo>
                  <a:pt x="324" y="237"/>
                </a:lnTo>
                <a:lnTo>
                  <a:pt x="324" y="233"/>
                </a:lnTo>
                <a:lnTo>
                  <a:pt x="323" y="232"/>
                </a:lnTo>
                <a:lnTo>
                  <a:pt x="322" y="231"/>
                </a:lnTo>
                <a:lnTo>
                  <a:pt x="321" y="226"/>
                </a:lnTo>
                <a:lnTo>
                  <a:pt x="320" y="224"/>
                </a:lnTo>
                <a:lnTo>
                  <a:pt x="319" y="222"/>
                </a:lnTo>
                <a:lnTo>
                  <a:pt x="319" y="218"/>
                </a:lnTo>
                <a:lnTo>
                  <a:pt x="319" y="212"/>
                </a:lnTo>
                <a:lnTo>
                  <a:pt x="316" y="209"/>
                </a:lnTo>
                <a:lnTo>
                  <a:pt x="313" y="207"/>
                </a:lnTo>
                <a:lnTo>
                  <a:pt x="310" y="206"/>
                </a:lnTo>
                <a:lnTo>
                  <a:pt x="308" y="205"/>
                </a:lnTo>
                <a:lnTo>
                  <a:pt x="308" y="203"/>
                </a:lnTo>
                <a:lnTo>
                  <a:pt x="308" y="202"/>
                </a:lnTo>
                <a:lnTo>
                  <a:pt x="308" y="198"/>
                </a:lnTo>
                <a:lnTo>
                  <a:pt x="310" y="198"/>
                </a:lnTo>
                <a:lnTo>
                  <a:pt x="312" y="197"/>
                </a:lnTo>
                <a:lnTo>
                  <a:pt x="312" y="195"/>
                </a:lnTo>
                <a:lnTo>
                  <a:pt x="318" y="195"/>
                </a:lnTo>
                <a:lnTo>
                  <a:pt x="318" y="193"/>
                </a:lnTo>
                <a:lnTo>
                  <a:pt x="317" y="192"/>
                </a:lnTo>
                <a:lnTo>
                  <a:pt x="317" y="191"/>
                </a:lnTo>
                <a:lnTo>
                  <a:pt x="312" y="191"/>
                </a:lnTo>
                <a:lnTo>
                  <a:pt x="310" y="188"/>
                </a:lnTo>
                <a:lnTo>
                  <a:pt x="308" y="185"/>
                </a:lnTo>
                <a:lnTo>
                  <a:pt x="307" y="184"/>
                </a:lnTo>
                <a:lnTo>
                  <a:pt x="310" y="176"/>
                </a:lnTo>
                <a:lnTo>
                  <a:pt x="310" y="173"/>
                </a:lnTo>
                <a:lnTo>
                  <a:pt x="311" y="172"/>
                </a:lnTo>
                <a:lnTo>
                  <a:pt x="314" y="177"/>
                </a:lnTo>
                <a:lnTo>
                  <a:pt x="317" y="179"/>
                </a:lnTo>
                <a:lnTo>
                  <a:pt x="317" y="177"/>
                </a:lnTo>
                <a:lnTo>
                  <a:pt x="317" y="174"/>
                </a:lnTo>
                <a:lnTo>
                  <a:pt x="319" y="174"/>
                </a:lnTo>
                <a:lnTo>
                  <a:pt x="320" y="178"/>
                </a:lnTo>
                <a:lnTo>
                  <a:pt x="323" y="182"/>
                </a:lnTo>
                <a:lnTo>
                  <a:pt x="324" y="181"/>
                </a:lnTo>
                <a:lnTo>
                  <a:pt x="327" y="182"/>
                </a:lnTo>
                <a:lnTo>
                  <a:pt x="329" y="177"/>
                </a:lnTo>
                <a:lnTo>
                  <a:pt x="329" y="179"/>
                </a:lnTo>
                <a:lnTo>
                  <a:pt x="331" y="185"/>
                </a:lnTo>
                <a:lnTo>
                  <a:pt x="333" y="191"/>
                </a:lnTo>
                <a:lnTo>
                  <a:pt x="337" y="193"/>
                </a:lnTo>
                <a:lnTo>
                  <a:pt x="340" y="195"/>
                </a:lnTo>
                <a:lnTo>
                  <a:pt x="352" y="195"/>
                </a:lnTo>
                <a:lnTo>
                  <a:pt x="353" y="195"/>
                </a:lnTo>
                <a:lnTo>
                  <a:pt x="358" y="194"/>
                </a:lnTo>
                <a:lnTo>
                  <a:pt x="363" y="195"/>
                </a:lnTo>
                <a:lnTo>
                  <a:pt x="371" y="196"/>
                </a:lnTo>
                <a:lnTo>
                  <a:pt x="375" y="198"/>
                </a:lnTo>
                <a:lnTo>
                  <a:pt x="375" y="199"/>
                </a:lnTo>
                <a:lnTo>
                  <a:pt x="372" y="201"/>
                </a:lnTo>
                <a:lnTo>
                  <a:pt x="372" y="205"/>
                </a:lnTo>
                <a:lnTo>
                  <a:pt x="369" y="209"/>
                </a:lnTo>
                <a:lnTo>
                  <a:pt x="367" y="213"/>
                </a:lnTo>
                <a:lnTo>
                  <a:pt x="363" y="214"/>
                </a:lnTo>
                <a:lnTo>
                  <a:pt x="360" y="217"/>
                </a:lnTo>
                <a:lnTo>
                  <a:pt x="360" y="219"/>
                </a:lnTo>
                <a:lnTo>
                  <a:pt x="361" y="224"/>
                </a:lnTo>
                <a:lnTo>
                  <a:pt x="363" y="231"/>
                </a:lnTo>
                <a:lnTo>
                  <a:pt x="367" y="231"/>
                </a:lnTo>
                <a:lnTo>
                  <a:pt x="369" y="234"/>
                </a:lnTo>
                <a:lnTo>
                  <a:pt x="371" y="235"/>
                </a:lnTo>
                <a:lnTo>
                  <a:pt x="372" y="233"/>
                </a:lnTo>
                <a:lnTo>
                  <a:pt x="373" y="226"/>
                </a:lnTo>
                <a:lnTo>
                  <a:pt x="375" y="222"/>
                </a:lnTo>
                <a:lnTo>
                  <a:pt x="377" y="223"/>
                </a:lnTo>
                <a:lnTo>
                  <a:pt x="380" y="226"/>
                </a:lnTo>
                <a:lnTo>
                  <a:pt x="382" y="232"/>
                </a:lnTo>
                <a:lnTo>
                  <a:pt x="383" y="234"/>
                </a:lnTo>
                <a:lnTo>
                  <a:pt x="384" y="237"/>
                </a:lnTo>
                <a:lnTo>
                  <a:pt x="388" y="246"/>
                </a:lnTo>
                <a:lnTo>
                  <a:pt x="390" y="256"/>
                </a:lnTo>
                <a:lnTo>
                  <a:pt x="391" y="255"/>
                </a:lnTo>
                <a:lnTo>
                  <a:pt x="392" y="254"/>
                </a:lnTo>
                <a:lnTo>
                  <a:pt x="394" y="254"/>
                </a:lnTo>
                <a:lnTo>
                  <a:pt x="395" y="254"/>
                </a:lnTo>
                <a:lnTo>
                  <a:pt x="398" y="252"/>
                </a:lnTo>
                <a:lnTo>
                  <a:pt x="397" y="251"/>
                </a:lnTo>
                <a:lnTo>
                  <a:pt x="397" y="251"/>
                </a:lnTo>
                <a:lnTo>
                  <a:pt x="395" y="247"/>
                </a:lnTo>
                <a:lnTo>
                  <a:pt x="394" y="242"/>
                </a:lnTo>
                <a:lnTo>
                  <a:pt x="394" y="238"/>
                </a:lnTo>
                <a:lnTo>
                  <a:pt x="398" y="238"/>
                </a:lnTo>
                <a:lnTo>
                  <a:pt x="398" y="237"/>
                </a:lnTo>
                <a:lnTo>
                  <a:pt x="398" y="231"/>
                </a:lnTo>
                <a:lnTo>
                  <a:pt x="397" y="223"/>
                </a:lnTo>
                <a:lnTo>
                  <a:pt x="398" y="221"/>
                </a:lnTo>
                <a:lnTo>
                  <a:pt x="402" y="219"/>
                </a:lnTo>
                <a:lnTo>
                  <a:pt x="405" y="221"/>
                </a:lnTo>
                <a:lnTo>
                  <a:pt x="408" y="221"/>
                </a:lnTo>
                <a:lnTo>
                  <a:pt x="409" y="218"/>
                </a:lnTo>
                <a:lnTo>
                  <a:pt x="410" y="213"/>
                </a:lnTo>
                <a:lnTo>
                  <a:pt x="413" y="202"/>
                </a:lnTo>
                <a:lnTo>
                  <a:pt x="413" y="198"/>
                </a:lnTo>
                <a:lnTo>
                  <a:pt x="413" y="196"/>
                </a:lnTo>
                <a:lnTo>
                  <a:pt x="413" y="193"/>
                </a:lnTo>
                <a:lnTo>
                  <a:pt x="418" y="189"/>
                </a:lnTo>
                <a:lnTo>
                  <a:pt x="419" y="186"/>
                </a:lnTo>
                <a:lnTo>
                  <a:pt x="417" y="177"/>
                </a:lnTo>
                <a:lnTo>
                  <a:pt x="418" y="173"/>
                </a:lnTo>
                <a:lnTo>
                  <a:pt x="421" y="169"/>
                </a:lnTo>
                <a:lnTo>
                  <a:pt x="424" y="167"/>
                </a:lnTo>
                <a:lnTo>
                  <a:pt x="427" y="165"/>
                </a:lnTo>
                <a:lnTo>
                  <a:pt x="429" y="161"/>
                </a:lnTo>
                <a:lnTo>
                  <a:pt x="433" y="159"/>
                </a:lnTo>
                <a:lnTo>
                  <a:pt x="436" y="158"/>
                </a:lnTo>
                <a:lnTo>
                  <a:pt x="441" y="159"/>
                </a:lnTo>
                <a:lnTo>
                  <a:pt x="442" y="158"/>
                </a:lnTo>
                <a:lnTo>
                  <a:pt x="440" y="154"/>
                </a:lnTo>
                <a:lnTo>
                  <a:pt x="441" y="150"/>
                </a:lnTo>
                <a:lnTo>
                  <a:pt x="443" y="148"/>
                </a:lnTo>
                <a:lnTo>
                  <a:pt x="444" y="146"/>
                </a:lnTo>
                <a:lnTo>
                  <a:pt x="444" y="143"/>
                </a:lnTo>
                <a:lnTo>
                  <a:pt x="442" y="140"/>
                </a:lnTo>
                <a:lnTo>
                  <a:pt x="439" y="138"/>
                </a:lnTo>
                <a:lnTo>
                  <a:pt x="434" y="138"/>
                </a:lnTo>
                <a:lnTo>
                  <a:pt x="432" y="136"/>
                </a:lnTo>
                <a:lnTo>
                  <a:pt x="427" y="136"/>
                </a:lnTo>
                <a:lnTo>
                  <a:pt x="427" y="132"/>
                </a:lnTo>
                <a:lnTo>
                  <a:pt x="425" y="128"/>
                </a:lnTo>
                <a:lnTo>
                  <a:pt x="422" y="127"/>
                </a:lnTo>
                <a:lnTo>
                  <a:pt x="421" y="124"/>
                </a:lnTo>
                <a:lnTo>
                  <a:pt x="421" y="122"/>
                </a:lnTo>
                <a:lnTo>
                  <a:pt x="417" y="118"/>
                </a:lnTo>
                <a:lnTo>
                  <a:pt x="413" y="120"/>
                </a:lnTo>
                <a:lnTo>
                  <a:pt x="410" y="122"/>
                </a:lnTo>
                <a:lnTo>
                  <a:pt x="407" y="123"/>
                </a:lnTo>
                <a:lnTo>
                  <a:pt x="401" y="124"/>
                </a:lnTo>
                <a:lnTo>
                  <a:pt x="399" y="123"/>
                </a:lnTo>
                <a:lnTo>
                  <a:pt x="397" y="122"/>
                </a:lnTo>
                <a:lnTo>
                  <a:pt x="395" y="122"/>
                </a:lnTo>
                <a:lnTo>
                  <a:pt x="392" y="123"/>
                </a:lnTo>
                <a:lnTo>
                  <a:pt x="390" y="125"/>
                </a:lnTo>
                <a:lnTo>
                  <a:pt x="390" y="128"/>
                </a:lnTo>
                <a:lnTo>
                  <a:pt x="385" y="133"/>
                </a:lnTo>
                <a:lnTo>
                  <a:pt x="381" y="134"/>
                </a:lnTo>
                <a:lnTo>
                  <a:pt x="379" y="138"/>
                </a:lnTo>
                <a:lnTo>
                  <a:pt x="377" y="141"/>
                </a:lnTo>
                <a:lnTo>
                  <a:pt x="372" y="143"/>
                </a:lnTo>
                <a:lnTo>
                  <a:pt x="369" y="145"/>
                </a:lnTo>
                <a:lnTo>
                  <a:pt x="362" y="147"/>
                </a:lnTo>
                <a:lnTo>
                  <a:pt x="358" y="148"/>
                </a:lnTo>
                <a:lnTo>
                  <a:pt x="358" y="150"/>
                </a:lnTo>
                <a:lnTo>
                  <a:pt x="358" y="151"/>
                </a:lnTo>
                <a:lnTo>
                  <a:pt x="358" y="152"/>
                </a:lnTo>
                <a:lnTo>
                  <a:pt x="358" y="153"/>
                </a:lnTo>
                <a:lnTo>
                  <a:pt x="358" y="154"/>
                </a:lnTo>
                <a:lnTo>
                  <a:pt x="363" y="155"/>
                </a:lnTo>
                <a:lnTo>
                  <a:pt x="365" y="157"/>
                </a:lnTo>
                <a:lnTo>
                  <a:pt x="367" y="162"/>
                </a:lnTo>
                <a:lnTo>
                  <a:pt x="367" y="163"/>
                </a:lnTo>
                <a:lnTo>
                  <a:pt x="367" y="164"/>
                </a:lnTo>
                <a:lnTo>
                  <a:pt x="364" y="165"/>
                </a:lnTo>
                <a:lnTo>
                  <a:pt x="359" y="166"/>
                </a:lnTo>
                <a:lnTo>
                  <a:pt x="355" y="166"/>
                </a:lnTo>
                <a:lnTo>
                  <a:pt x="350" y="167"/>
                </a:lnTo>
                <a:lnTo>
                  <a:pt x="348" y="167"/>
                </a:lnTo>
                <a:lnTo>
                  <a:pt x="346" y="167"/>
                </a:lnTo>
                <a:lnTo>
                  <a:pt x="342" y="166"/>
                </a:lnTo>
                <a:lnTo>
                  <a:pt x="341" y="166"/>
                </a:lnTo>
                <a:lnTo>
                  <a:pt x="334" y="169"/>
                </a:lnTo>
                <a:lnTo>
                  <a:pt x="329" y="169"/>
                </a:lnTo>
                <a:lnTo>
                  <a:pt x="322" y="168"/>
                </a:lnTo>
                <a:lnTo>
                  <a:pt x="319" y="167"/>
                </a:lnTo>
                <a:lnTo>
                  <a:pt x="318" y="166"/>
                </a:lnTo>
                <a:lnTo>
                  <a:pt x="317" y="166"/>
                </a:lnTo>
                <a:lnTo>
                  <a:pt x="317" y="166"/>
                </a:lnTo>
                <a:lnTo>
                  <a:pt x="316" y="164"/>
                </a:lnTo>
                <a:lnTo>
                  <a:pt x="316" y="163"/>
                </a:lnTo>
                <a:lnTo>
                  <a:pt x="314" y="163"/>
                </a:lnTo>
                <a:lnTo>
                  <a:pt x="313" y="161"/>
                </a:lnTo>
                <a:lnTo>
                  <a:pt x="316" y="158"/>
                </a:lnTo>
                <a:lnTo>
                  <a:pt x="316" y="157"/>
                </a:lnTo>
                <a:lnTo>
                  <a:pt x="314" y="157"/>
                </a:lnTo>
                <a:lnTo>
                  <a:pt x="313" y="157"/>
                </a:lnTo>
                <a:lnTo>
                  <a:pt x="312" y="156"/>
                </a:lnTo>
                <a:lnTo>
                  <a:pt x="312" y="154"/>
                </a:lnTo>
                <a:lnTo>
                  <a:pt x="312" y="151"/>
                </a:lnTo>
                <a:lnTo>
                  <a:pt x="312" y="148"/>
                </a:lnTo>
                <a:lnTo>
                  <a:pt x="311" y="145"/>
                </a:lnTo>
                <a:lnTo>
                  <a:pt x="310" y="145"/>
                </a:lnTo>
                <a:lnTo>
                  <a:pt x="309" y="144"/>
                </a:lnTo>
                <a:lnTo>
                  <a:pt x="308" y="144"/>
                </a:lnTo>
                <a:lnTo>
                  <a:pt x="306" y="146"/>
                </a:lnTo>
                <a:lnTo>
                  <a:pt x="303" y="146"/>
                </a:lnTo>
                <a:lnTo>
                  <a:pt x="301" y="147"/>
                </a:lnTo>
                <a:lnTo>
                  <a:pt x="301" y="147"/>
                </a:lnTo>
                <a:lnTo>
                  <a:pt x="300" y="150"/>
                </a:lnTo>
                <a:lnTo>
                  <a:pt x="300" y="153"/>
                </a:lnTo>
                <a:lnTo>
                  <a:pt x="301" y="157"/>
                </a:lnTo>
                <a:lnTo>
                  <a:pt x="301" y="162"/>
                </a:lnTo>
                <a:lnTo>
                  <a:pt x="300" y="163"/>
                </a:lnTo>
                <a:lnTo>
                  <a:pt x="301" y="164"/>
                </a:lnTo>
                <a:lnTo>
                  <a:pt x="303" y="165"/>
                </a:lnTo>
                <a:lnTo>
                  <a:pt x="306" y="168"/>
                </a:lnTo>
                <a:lnTo>
                  <a:pt x="306" y="171"/>
                </a:lnTo>
                <a:lnTo>
                  <a:pt x="304" y="174"/>
                </a:lnTo>
                <a:lnTo>
                  <a:pt x="304" y="174"/>
                </a:lnTo>
                <a:lnTo>
                  <a:pt x="301" y="174"/>
                </a:lnTo>
                <a:lnTo>
                  <a:pt x="298" y="175"/>
                </a:lnTo>
                <a:lnTo>
                  <a:pt x="293" y="174"/>
                </a:lnTo>
                <a:lnTo>
                  <a:pt x="291" y="175"/>
                </a:lnTo>
                <a:lnTo>
                  <a:pt x="289" y="174"/>
                </a:lnTo>
                <a:lnTo>
                  <a:pt x="286" y="173"/>
                </a:lnTo>
                <a:lnTo>
                  <a:pt x="283" y="173"/>
                </a:lnTo>
                <a:lnTo>
                  <a:pt x="270" y="171"/>
                </a:lnTo>
                <a:lnTo>
                  <a:pt x="268" y="169"/>
                </a:lnTo>
                <a:lnTo>
                  <a:pt x="266" y="168"/>
                </a:lnTo>
                <a:lnTo>
                  <a:pt x="261" y="168"/>
                </a:lnTo>
                <a:lnTo>
                  <a:pt x="256" y="167"/>
                </a:lnTo>
                <a:lnTo>
                  <a:pt x="252" y="165"/>
                </a:lnTo>
                <a:lnTo>
                  <a:pt x="250" y="163"/>
                </a:lnTo>
                <a:lnTo>
                  <a:pt x="247" y="159"/>
                </a:lnTo>
                <a:lnTo>
                  <a:pt x="245" y="158"/>
                </a:lnTo>
                <a:lnTo>
                  <a:pt x="239" y="157"/>
                </a:lnTo>
                <a:lnTo>
                  <a:pt x="238" y="157"/>
                </a:lnTo>
                <a:lnTo>
                  <a:pt x="238" y="158"/>
                </a:lnTo>
                <a:lnTo>
                  <a:pt x="236" y="158"/>
                </a:lnTo>
                <a:lnTo>
                  <a:pt x="232" y="157"/>
                </a:lnTo>
                <a:lnTo>
                  <a:pt x="230" y="156"/>
                </a:lnTo>
                <a:lnTo>
                  <a:pt x="228" y="158"/>
                </a:lnTo>
                <a:lnTo>
                  <a:pt x="226" y="158"/>
                </a:lnTo>
                <a:lnTo>
                  <a:pt x="220" y="156"/>
                </a:lnTo>
                <a:lnTo>
                  <a:pt x="217" y="153"/>
                </a:lnTo>
                <a:lnTo>
                  <a:pt x="216" y="153"/>
                </a:lnTo>
                <a:lnTo>
                  <a:pt x="213" y="152"/>
                </a:lnTo>
                <a:lnTo>
                  <a:pt x="212" y="152"/>
                </a:lnTo>
                <a:lnTo>
                  <a:pt x="209" y="150"/>
                </a:lnTo>
                <a:lnTo>
                  <a:pt x="206" y="148"/>
                </a:lnTo>
                <a:lnTo>
                  <a:pt x="202" y="148"/>
                </a:lnTo>
                <a:lnTo>
                  <a:pt x="200" y="147"/>
                </a:lnTo>
                <a:lnTo>
                  <a:pt x="198" y="145"/>
                </a:lnTo>
                <a:lnTo>
                  <a:pt x="193" y="142"/>
                </a:lnTo>
                <a:lnTo>
                  <a:pt x="191" y="140"/>
                </a:lnTo>
                <a:lnTo>
                  <a:pt x="188" y="138"/>
                </a:lnTo>
                <a:lnTo>
                  <a:pt x="187" y="137"/>
                </a:lnTo>
                <a:lnTo>
                  <a:pt x="182" y="135"/>
                </a:lnTo>
                <a:lnTo>
                  <a:pt x="182" y="135"/>
                </a:lnTo>
                <a:lnTo>
                  <a:pt x="182" y="136"/>
                </a:lnTo>
                <a:lnTo>
                  <a:pt x="181" y="136"/>
                </a:lnTo>
                <a:lnTo>
                  <a:pt x="179" y="135"/>
                </a:lnTo>
                <a:lnTo>
                  <a:pt x="178" y="134"/>
                </a:lnTo>
                <a:lnTo>
                  <a:pt x="177" y="132"/>
                </a:lnTo>
                <a:lnTo>
                  <a:pt x="174" y="132"/>
                </a:lnTo>
                <a:lnTo>
                  <a:pt x="174" y="131"/>
                </a:lnTo>
                <a:lnTo>
                  <a:pt x="172" y="128"/>
                </a:lnTo>
                <a:lnTo>
                  <a:pt x="174" y="126"/>
                </a:lnTo>
                <a:lnTo>
                  <a:pt x="175" y="126"/>
                </a:lnTo>
                <a:lnTo>
                  <a:pt x="175" y="124"/>
                </a:lnTo>
                <a:lnTo>
                  <a:pt x="176" y="123"/>
                </a:lnTo>
                <a:lnTo>
                  <a:pt x="175" y="121"/>
                </a:lnTo>
                <a:lnTo>
                  <a:pt x="175" y="118"/>
                </a:lnTo>
                <a:lnTo>
                  <a:pt x="176" y="116"/>
                </a:lnTo>
                <a:lnTo>
                  <a:pt x="175" y="114"/>
                </a:lnTo>
                <a:lnTo>
                  <a:pt x="175" y="113"/>
                </a:lnTo>
                <a:lnTo>
                  <a:pt x="176" y="112"/>
                </a:lnTo>
                <a:lnTo>
                  <a:pt x="177" y="112"/>
                </a:lnTo>
                <a:lnTo>
                  <a:pt x="177" y="110"/>
                </a:lnTo>
                <a:lnTo>
                  <a:pt x="179" y="108"/>
                </a:lnTo>
                <a:lnTo>
                  <a:pt x="180" y="106"/>
                </a:lnTo>
                <a:lnTo>
                  <a:pt x="180" y="105"/>
                </a:lnTo>
                <a:lnTo>
                  <a:pt x="180" y="105"/>
                </a:lnTo>
                <a:lnTo>
                  <a:pt x="181" y="105"/>
                </a:lnTo>
                <a:lnTo>
                  <a:pt x="182" y="105"/>
                </a:lnTo>
                <a:lnTo>
                  <a:pt x="182" y="104"/>
                </a:lnTo>
                <a:lnTo>
                  <a:pt x="177" y="103"/>
                </a:lnTo>
                <a:lnTo>
                  <a:pt x="176" y="102"/>
                </a:lnTo>
                <a:lnTo>
                  <a:pt x="175" y="101"/>
                </a:lnTo>
                <a:lnTo>
                  <a:pt x="174" y="101"/>
                </a:lnTo>
                <a:lnTo>
                  <a:pt x="169" y="97"/>
                </a:lnTo>
                <a:lnTo>
                  <a:pt x="167" y="97"/>
                </a:lnTo>
                <a:lnTo>
                  <a:pt x="166" y="96"/>
                </a:lnTo>
                <a:lnTo>
                  <a:pt x="165" y="95"/>
                </a:lnTo>
                <a:lnTo>
                  <a:pt x="165" y="94"/>
                </a:lnTo>
                <a:lnTo>
                  <a:pt x="164" y="93"/>
                </a:lnTo>
                <a:lnTo>
                  <a:pt x="162" y="93"/>
                </a:lnTo>
                <a:lnTo>
                  <a:pt x="161" y="92"/>
                </a:lnTo>
                <a:lnTo>
                  <a:pt x="160" y="92"/>
                </a:lnTo>
                <a:lnTo>
                  <a:pt x="158" y="93"/>
                </a:lnTo>
                <a:lnTo>
                  <a:pt x="158" y="93"/>
                </a:lnTo>
                <a:lnTo>
                  <a:pt x="157" y="91"/>
                </a:lnTo>
                <a:lnTo>
                  <a:pt x="156" y="91"/>
                </a:lnTo>
                <a:lnTo>
                  <a:pt x="155" y="90"/>
                </a:lnTo>
                <a:lnTo>
                  <a:pt x="155" y="91"/>
                </a:lnTo>
                <a:lnTo>
                  <a:pt x="151" y="91"/>
                </a:lnTo>
                <a:lnTo>
                  <a:pt x="150" y="91"/>
                </a:lnTo>
                <a:lnTo>
                  <a:pt x="149" y="92"/>
                </a:lnTo>
                <a:lnTo>
                  <a:pt x="148" y="92"/>
                </a:lnTo>
                <a:lnTo>
                  <a:pt x="148" y="91"/>
                </a:lnTo>
                <a:lnTo>
                  <a:pt x="147" y="87"/>
                </a:lnTo>
                <a:lnTo>
                  <a:pt x="146" y="87"/>
                </a:lnTo>
                <a:lnTo>
                  <a:pt x="144" y="85"/>
                </a:lnTo>
                <a:lnTo>
                  <a:pt x="144" y="84"/>
                </a:lnTo>
                <a:lnTo>
                  <a:pt x="142" y="83"/>
                </a:lnTo>
                <a:lnTo>
                  <a:pt x="141" y="82"/>
                </a:lnTo>
                <a:lnTo>
                  <a:pt x="142" y="80"/>
                </a:lnTo>
                <a:lnTo>
                  <a:pt x="141" y="77"/>
                </a:lnTo>
                <a:lnTo>
                  <a:pt x="140" y="77"/>
                </a:lnTo>
                <a:lnTo>
                  <a:pt x="140" y="75"/>
                </a:lnTo>
                <a:lnTo>
                  <a:pt x="140" y="73"/>
                </a:lnTo>
                <a:lnTo>
                  <a:pt x="138" y="71"/>
                </a:lnTo>
                <a:lnTo>
                  <a:pt x="135" y="68"/>
                </a:lnTo>
                <a:lnTo>
                  <a:pt x="135" y="65"/>
                </a:lnTo>
                <a:lnTo>
                  <a:pt x="134" y="63"/>
                </a:lnTo>
                <a:lnTo>
                  <a:pt x="134" y="63"/>
                </a:lnTo>
                <a:lnTo>
                  <a:pt x="137" y="62"/>
                </a:lnTo>
                <a:lnTo>
                  <a:pt x="137" y="61"/>
                </a:lnTo>
                <a:lnTo>
                  <a:pt x="138" y="61"/>
                </a:lnTo>
                <a:lnTo>
                  <a:pt x="138" y="63"/>
                </a:lnTo>
                <a:lnTo>
                  <a:pt x="139" y="64"/>
                </a:lnTo>
                <a:lnTo>
                  <a:pt x="140" y="65"/>
                </a:lnTo>
                <a:lnTo>
                  <a:pt x="142" y="66"/>
                </a:lnTo>
                <a:lnTo>
                  <a:pt x="144" y="66"/>
                </a:lnTo>
                <a:lnTo>
                  <a:pt x="144" y="65"/>
                </a:lnTo>
                <a:lnTo>
                  <a:pt x="145" y="65"/>
                </a:lnTo>
                <a:lnTo>
                  <a:pt x="145" y="64"/>
                </a:lnTo>
                <a:lnTo>
                  <a:pt x="146" y="63"/>
                </a:lnTo>
                <a:lnTo>
                  <a:pt x="146" y="62"/>
                </a:lnTo>
                <a:lnTo>
                  <a:pt x="147" y="62"/>
                </a:lnTo>
                <a:lnTo>
                  <a:pt x="148" y="63"/>
                </a:lnTo>
                <a:lnTo>
                  <a:pt x="148" y="63"/>
                </a:lnTo>
                <a:lnTo>
                  <a:pt x="150" y="60"/>
                </a:lnTo>
                <a:lnTo>
                  <a:pt x="150" y="58"/>
                </a:lnTo>
                <a:lnTo>
                  <a:pt x="149" y="57"/>
                </a:lnTo>
                <a:lnTo>
                  <a:pt x="146" y="55"/>
                </a:lnTo>
                <a:lnTo>
                  <a:pt x="146" y="54"/>
                </a:lnTo>
                <a:lnTo>
                  <a:pt x="146" y="53"/>
                </a:lnTo>
                <a:lnTo>
                  <a:pt x="146" y="52"/>
                </a:lnTo>
                <a:lnTo>
                  <a:pt x="142" y="51"/>
                </a:lnTo>
                <a:lnTo>
                  <a:pt x="141" y="51"/>
                </a:lnTo>
                <a:lnTo>
                  <a:pt x="140" y="50"/>
                </a:lnTo>
                <a:lnTo>
                  <a:pt x="138" y="47"/>
                </a:lnTo>
                <a:lnTo>
                  <a:pt x="137" y="44"/>
                </a:lnTo>
                <a:lnTo>
                  <a:pt x="138" y="43"/>
                </a:lnTo>
                <a:lnTo>
                  <a:pt x="137" y="42"/>
                </a:lnTo>
                <a:lnTo>
                  <a:pt x="137" y="41"/>
                </a:lnTo>
                <a:lnTo>
                  <a:pt x="137" y="41"/>
                </a:lnTo>
                <a:lnTo>
                  <a:pt x="135" y="39"/>
                </a:lnTo>
                <a:lnTo>
                  <a:pt x="135" y="36"/>
                </a:lnTo>
                <a:lnTo>
                  <a:pt x="135" y="36"/>
                </a:lnTo>
                <a:lnTo>
                  <a:pt x="137" y="36"/>
                </a:lnTo>
                <a:lnTo>
                  <a:pt x="138" y="35"/>
                </a:lnTo>
                <a:lnTo>
                  <a:pt x="141" y="36"/>
                </a:lnTo>
                <a:lnTo>
                  <a:pt x="141" y="36"/>
                </a:lnTo>
                <a:lnTo>
                  <a:pt x="142" y="34"/>
                </a:lnTo>
                <a:lnTo>
                  <a:pt x="144" y="32"/>
                </a:lnTo>
                <a:lnTo>
                  <a:pt x="142" y="29"/>
                </a:lnTo>
                <a:lnTo>
                  <a:pt x="146" y="29"/>
                </a:lnTo>
                <a:lnTo>
                  <a:pt x="146" y="29"/>
                </a:lnTo>
                <a:lnTo>
                  <a:pt x="145" y="27"/>
                </a:lnTo>
                <a:lnTo>
                  <a:pt x="145" y="26"/>
                </a:lnTo>
                <a:lnTo>
                  <a:pt x="146" y="26"/>
                </a:lnTo>
                <a:lnTo>
                  <a:pt x="146" y="25"/>
                </a:lnTo>
                <a:lnTo>
                  <a:pt x="146" y="24"/>
                </a:lnTo>
                <a:lnTo>
                  <a:pt x="148" y="23"/>
                </a:lnTo>
                <a:lnTo>
                  <a:pt x="147" y="21"/>
                </a:lnTo>
                <a:lnTo>
                  <a:pt x="148" y="20"/>
                </a:lnTo>
                <a:lnTo>
                  <a:pt x="148" y="14"/>
                </a:lnTo>
                <a:lnTo>
                  <a:pt x="148" y="14"/>
                </a:lnTo>
                <a:lnTo>
                  <a:pt x="148" y="12"/>
                </a:lnTo>
                <a:lnTo>
                  <a:pt x="149" y="10"/>
                </a:lnTo>
                <a:lnTo>
                  <a:pt x="148" y="9"/>
                </a:lnTo>
                <a:lnTo>
                  <a:pt x="148" y="9"/>
                </a:lnTo>
                <a:lnTo>
                  <a:pt x="147" y="9"/>
                </a:lnTo>
                <a:lnTo>
                  <a:pt x="145" y="11"/>
                </a:lnTo>
                <a:lnTo>
                  <a:pt x="145" y="11"/>
                </a:lnTo>
                <a:lnTo>
                  <a:pt x="144" y="10"/>
                </a:lnTo>
                <a:lnTo>
                  <a:pt x="141" y="6"/>
                </a:lnTo>
                <a:lnTo>
                  <a:pt x="140" y="7"/>
                </a:lnTo>
                <a:lnTo>
                  <a:pt x="140" y="7"/>
                </a:lnTo>
                <a:lnTo>
                  <a:pt x="139" y="6"/>
                </a:lnTo>
                <a:lnTo>
                  <a:pt x="138" y="6"/>
                </a:lnTo>
                <a:lnTo>
                  <a:pt x="137" y="5"/>
                </a:lnTo>
                <a:lnTo>
                  <a:pt x="136" y="3"/>
                </a:lnTo>
                <a:lnTo>
                  <a:pt x="135" y="3"/>
                </a:lnTo>
                <a:lnTo>
                  <a:pt x="135" y="2"/>
                </a:lnTo>
                <a:lnTo>
                  <a:pt x="134" y="2"/>
                </a:lnTo>
                <a:lnTo>
                  <a:pt x="132" y="2"/>
                </a:lnTo>
                <a:lnTo>
                  <a:pt x="131" y="1"/>
                </a:lnTo>
                <a:lnTo>
                  <a:pt x="130" y="0"/>
                </a:lnTo>
                <a:lnTo>
                  <a:pt x="130" y="0"/>
                </a:lnTo>
                <a:lnTo>
                  <a:pt x="128" y="1"/>
                </a:lnTo>
                <a:lnTo>
                  <a:pt x="127" y="1"/>
                </a:lnTo>
                <a:lnTo>
                  <a:pt x="126" y="2"/>
                </a:lnTo>
                <a:lnTo>
                  <a:pt x="121" y="2"/>
                </a:lnTo>
                <a:lnTo>
                  <a:pt x="120" y="4"/>
                </a:lnTo>
                <a:lnTo>
                  <a:pt x="117" y="5"/>
                </a:lnTo>
                <a:lnTo>
                  <a:pt x="116" y="6"/>
                </a:lnTo>
                <a:lnTo>
                  <a:pt x="115" y="9"/>
                </a:lnTo>
                <a:lnTo>
                  <a:pt x="114" y="9"/>
                </a:lnTo>
                <a:lnTo>
                  <a:pt x="112" y="10"/>
                </a:lnTo>
                <a:lnTo>
                  <a:pt x="110" y="9"/>
                </a:lnTo>
                <a:lnTo>
                  <a:pt x="109" y="10"/>
                </a:lnTo>
                <a:lnTo>
                  <a:pt x="108" y="10"/>
                </a:lnTo>
                <a:lnTo>
                  <a:pt x="100" y="16"/>
                </a:lnTo>
                <a:lnTo>
                  <a:pt x="99" y="19"/>
                </a:lnTo>
                <a:lnTo>
                  <a:pt x="100" y="19"/>
                </a:lnTo>
                <a:lnTo>
                  <a:pt x="100" y="20"/>
                </a:lnTo>
                <a:lnTo>
                  <a:pt x="100" y="22"/>
                </a:lnTo>
                <a:lnTo>
                  <a:pt x="99" y="23"/>
                </a:lnTo>
                <a:lnTo>
                  <a:pt x="98" y="22"/>
                </a:lnTo>
                <a:lnTo>
                  <a:pt x="97" y="21"/>
                </a:lnTo>
                <a:lnTo>
                  <a:pt x="91" y="22"/>
                </a:lnTo>
                <a:lnTo>
                  <a:pt x="91" y="22"/>
                </a:lnTo>
                <a:lnTo>
                  <a:pt x="90" y="24"/>
                </a:lnTo>
                <a:lnTo>
                  <a:pt x="89" y="24"/>
                </a:lnTo>
                <a:lnTo>
                  <a:pt x="88" y="24"/>
                </a:lnTo>
                <a:lnTo>
                  <a:pt x="86" y="23"/>
                </a:lnTo>
                <a:lnTo>
                  <a:pt x="85" y="24"/>
                </a:lnTo>
                <a:lnTo>
                  <a:pt x="85" y="25"/>
                </a:lnTo>
                <a:lnTo>
                  <a:pt x="84" y="26"/>
                </a:lnTo>
                <a:lnTo>
                  <a:pt x="83" y="26"/>
                </a:lnTo>
                <a:lnTo>
                  <a:pt x="81" y="25"/>
                </a:lnTo>
                <a:lnTo>
                  <a:pt x="80" y="26"/>
                </a:lnTo>
                <a:lnTo>
                  <a:pt x="79" y="25"/>
                </a:lnTo>
                <a:lnTo>
                  <a:pt x="76" y="25"/>
                </a:lnTo>
                <a:lnTo>
                  <a:pt x="75" y="25"/>
                </a:lnTo>
                <a:lnTo>
                  <a:pt x="73" y="25"/>
                </a:lnTo>
                <a:lnTo>
                  <a:pt x="68" y="23"/>
                </a:lnTo>
                <a:lnTo>
                  <a:pt x="65" y="22"/>
                </a:lnTo>
                <a:lnTo>
                  <a:pt x="60" y="20"/>
                </a:lnTo>
                <a:lnTo>
                  <a:pt x="59" y="21"/>
                </a:lnTo>
                <a:lnTo>
                  <a:pt x="58" y="22"/>
                </a:lnTo>
                <a:lnTo>
                  <a:pt x="56" y="22"/>
                </a:lnTo>
                <a:lnTo>
                  <a:pt x="55" y="22"/>
                </a:lnTo>
                <a:lnTo>
                  <a:pt x="55" y="22"/>
                </a:lnTo>
                <a:lnTo>
                  <a:pt x="55" y="24"/>
                </a:lnTo>
                <a:lnTo>
                  <a:pt x="54" y="29"/>
                </a:lnTo>
                <a:lnTo>
                  <a:pt x="54" y="29"/>
                </a:lnTo>
                <a:lnTo>
                  <a:pt x="56" y="29"/>
                </a:lnTo>
                <a:lnTo>
                  <a:pt x="57" y="31"/>
                </a:lnTo>
                <a:lnTo>
                  <a:pt x="57" y="32"/>
                </a:lnTo>
                <a:lnTo>
                  <a:pt x="57" y="32"/>
                </a:lnTo>
                <a:lnTo>
                  <a:pt x="56" y="33"/>
                </a:lnTo>
                <a:lnTo>
                  <a:pt x="56" y="34"/>
                </a:lnTo>
                <a:lnTo>
                  <a:pt x="57" y="34"/>
                </a:lnTo>
                <a:lnTo>
                  <a:pt x="58" y="35"/>
                </a:lnTo>
                <a:lnTo>
                  <a:pt x="61" y="34"/>
                </a:lnTo>
                <a:lnTo>
                  <a:pt x="61" y="35"/>
                </a:lnTo>
                <a:lnTo>
                  <a:pt x="63" y="36"/>
                </a:lnTo>
                <a:lnTo>
                  <a:pt x="63" y="36"/>
                </a:lnTo>
                <a:lnTo>
                  <a:pt x="61" y="37"/>
                </a:lnTo>
                <a:lnTo>
                  <a:pt x="60" y="39"/>
                </a:lnTo>
                <a:lnTo>
                  <a:pt x="60" y="40"/>
                </a:lnTo>
                <a:lnTo>
                  <a:pt x="64" y="43"/>
                </a:lnTo>
                <a:lnTo>
                  <a:pt x="65" y="45"/>
                </a:lnTo>
                <a:lnTo>
                  <a:pt x="65" y="46"/>
                </a:lnTo>
                <a:lnTo>
                  <a:pt x="61" y="48"/>
                </a:lnTo>
                <a:lnTo>
                  <a:pt x="61" y="50"/>
                </a:lnTo>
                <a:lnTo>
                  <a:pt x="64" y="51"/>
                </a:lnTo>
                <a:lnTo>
                  <a:pt x="66" y="53"/>
                </a:lnTo>
                <a:lnTo>
                  <a:pt x="68" y="55"/>
                </a:lnTo>
                <a:lnTo>
                  <a:pt x="69" y="57"/>
                </a:lnTo>
                <a:lnTo>
                  <a:pt x="71" y="57"/>
                </a:lnTo>
                <a:lnTo>
                  <a:pt x="71" y="58"/>
                </a:lnTo>
                <a:lnTo>
                  <a:pt x="74" y="57"/>
                </a:lnTo>
                <a:lnTo>
                  <a:pt x="75" y="58"/>
                </a:lnTo>
                <a:lnTo>
                  <a:pt x="75" y="60"/>
                </a:lnTo>
                <a:lnTo>
                  <a:pt x="75" y="61"/>
                </a:lnTo>
                <a:lnTo>
                  <a:pt x="77" y="63"/>
                </a:lnTo>
                <a:lnTo>
                  <a:pt x="77" y="64"/>
                </a:lnTo>
                <a:lnTo>
                  <a:pt x="83" y="64"/>
                </a:lnTo>
                <a:lnTo>
                  <a:pt x="84" y="65"/>
                </a:lnTo>
                <a:lnTo>
                  <a:pt x="85" y="65"/>
                </a:lnTo>
                <a:lnTo>
                  <a:pt x="87" y="67"/>
                </a:lnTo>
                <a:lnTo>
                  <a:pt x="87" y="68"/>
                </a:lnTo>
                <a:lnTo>
                  <a:pt x="88" y="70"/>
                </a:lnTo>
                <a:lnTo>
                  <a:pt x="87" y="71"/>
                </a:lnTo>
                <a:lnTo>
                  <a:pt x="87" y="72"/>
                </a:lnTo>
                <a:lnTo>
                  <a:pt x="85" y="72"/>
                </a:lnTo>
                <a:lnTo>
                  <a:pt x="84" y="72"/>
                </a:lnTo>
                <a:lnTo>
                  <a:pt x="83" y="72"/>
                </a:lnTo>
                <a:lnTo>
                  <a:pt x="81" y="72"/>
                </a:lnTo>
                <a:lnTo>
                  <a:pt x="80" y="73"/>
                </a:lnTo>
                <a:lnTo>
                  <a:pt x="78" y="74"/>
                </a:lnTo>
                <a:lnTo>
                  <a:pt x="77" y="76"/>
                </a:lnTo>
                <a:lnTo>
                  <a:pt x="78" y="80"/>
                </a:lnTo>
                <a:lnTo>
                  <a:pt x="79" y="81"/>
                </a:lnTo>
                <a:lnTo>
                  <a:pt x="79" y="83"/>
                </a:lnTo>
                <a:lnTo>
                  <a:pt x="80" y="83"/>
                </a:lnTo>
                <a:lnTo>
                  <a:pt x="81" y="83"/>
                </a:lnTo>
                <a:lnTo>
                  <a:pt x="80" y="84"/>
                </a:lnTo>
                <a:lnTo>
                  <a:pt x="79" y="85"/>
                </a:lnTo>
                <a:lnTo>
                  <a:pt x="79" y="87"/>
                </a:lnTo>
                <a:lnTo>
                  <a:pt x="80" y="88"/>
                </a:lnTo>
                <a:lnTo>
                  <a:pt x="80" y="88"/>
                </a:lnTo>
                <a:lnTo>
                  <a:pt x="84" y="88"/>
                </a:lnTo>
                <a:lnTo>
                  <a:pt x="84" y="91"/>
                </a:lnTo>
                <a:lnTo>
                  <a:pt x="84" y="91"/>
                </a:lnTo>
                <a:lnTo>
                  <a:pt x="83" y="91"/>
                </a:lnTo>
                <a:lnTo>
                  <a:pt x="81" y="91"/>
                </a:lnTo>
                <a:lnTo>
                  <a:pt x="80" y="91"/>
                </a:lnTo>
                <a:lnTo>
                  <a:pt x="80" y="92"/>
                </a:lnTo>
                <a:lnTo>
                  <a:pt x="77" y="94"/>
                </a:lnTo>
                <a:lnTo>
                  <a:pt x="75" y="98"/>
                </a:lnTo>
                <a:lnTo>
                  <a:pt x="74" y="98"/>
                </a:lnTo>
                <a:lnTo>
                  <a:pt x="73" y="101"/>
                </a:lnTo>
                <a:lnTo>
                  <a:pt x="71" y="102"/>
                </a:lnTo>
                <a:lnTo>
                  <a:pt x="71" y="104"/>
                </a:lnTo>
                <a:lnTo>
                  <a:pt x="73" y="106"/>
                </a:lnTo>
                <a:lnTo>
                  <a:pt x="71" y="108"/>
                </a:lnTo>
                <a:lnTo>
                  <a:pt x="70" y="110"/>
                </a:lnTo>
                <a:lnTo>
                  <a:pt x="68" y="110"/>
                </a:lnTo>
                <a:lnTo>
                  <a:pt x="66" y="112"/>
                </a:lnTo>
                <a:lnTo>
                  <a:pt x="65" y="114"/>
                </a:lnTo>
                <a:lnTo>
                  <a:pt x="65" y="117"/>
                </a:lnTo>
                <a:lnTo>
                  <a:pt x="64" y="120"/>
                </a:lnTo>
                <a:lnTo>
                  <a:pt x="60" y="126"/>
                </a:lnTo>
                <a:lnTo>
                  <a:pt x="59" y="128"/>
                </a:lnTo>
                <a:lnTo>
                  <a:pt x="56" y="131"/>
                </a:lnTo>
                <a:lnTo>
                  <a:pt x="54" y="133"/>
                </a:lnTo>
                <a:lnTo>
                  <a:pt x="53" y="135"/>
                </a:lnTo>
                <a:lnTo>
                  <a:pt x="51" y="140"/>
                </a:lnTo>
                <a:lnTo>
                  <a:pt x="49" y="143"/>
                </a:lnTo>
                <a:lnTo>
                  <a:pt x="48" y="146"/>
                </a:lnTo>
                <a:lnTo>
                  <a:pt x="47" y="147"/>
                </a:lnTo>
                <a:lnTo>
                  <a:pt x="46" y="147"/>
                </a:lnTo>
                <a:lnTo>
                  <a:pt x="39" y="147"/>
                </a:lnTo>
                <a:lnTo>
                  <a:pt x="38" y="148"/>
                </a:lnTo>
                <a:lnTo>
                  <a:pt x="36" y="150"/>
                </a:lnTo>
                <a:lnTo>
                  <a:pt x="35" y="151"/>
                </a:lnTo>
                <a:lnTo>
                  <a:pt x="34" y="151"/>
                </a:lnTo>
                <a:lnTo>
                  <a:pt x="33" y="151"/>
                </a:lnTo>
                <a:lnTo>
                  <a:pt x="33" y="150"/>
                </a:lnTo>
                <a:lnTo>
                  <a:pt x="29" y="145"/>
                </a:lnTo>
                <a:lnTo>
                  <a:pt x="28" y="145"/>
                </a:lnTo>
                <a:lnTo>
                  <a:pt x="27" y="145"/>
                </a:lnTo>
                <a:lnTo>
                  <a:pt x="25" y="147"/>
                </a:lnTo>
                <a:lnTo>
                  <a:pt x="24" y="150"/>
                </a:lnTo>
                <a:lnTo>
                  <a:pt x="22" y="152"/>
                </a:lnTo>
                <a:lnTo>
                  <a:pt x="18" y="157"/>
                </a:lnTo>
                <a:lnTo>
                  <a:pt x="16" y="159"/>
                </a:lnTo>
                <a:lnTo>
                  <a:pt x="16" y="162"/>
                </a:lnTo>
                <a:lnTo>
                  <a:pt x="16" y="167"/>
                </a:lnTo>
                <a:lnTo>
                  <a:pt x="16" y="168"/>
                </a:lnTo>
                <a:lnTo>
                  <a:pt x="17" y="169"/>
                </a:lnTo>
                <a:lnTo>
                  <a:pt x="19" y="171"/>
                </a:lnTo>
                <a:lnTo>
                  <a:pt x="20" y="171"/>
                </a:lnTo>
                <a:lnTo>
                  <a:pt x="23" y="172"/>
                </a:lnTo>
                <a:lnTo>
                  <a:pt x="26" y="172"/>
                </a:lnTo>
                <a:lnTo>
                  <a:pt x="26" y="172"/>
                </a:lnTo>
                <a:lnTo>
                  <a:pt x="28" y="173"/>
                </a:lnTo>
                <a:lnTo>
                  <a:pt x="28" y="174"/>
                </a:lnTo>
                <a:lnTo>
                  <a:pt x="28" y="175"/>
                </a:lnTo>
                <a:lnTo>
                  <a:pt x="27" y="182"/>
                </a:lnTo>
                <a:lnTo>
                  <a:pt x="27" y="183"/>
                </a:lnTo>
                <a:lnTo>
                  <a:pt x="28" y="184"/>
                </a:lnTo>
                <a:lnTo>
                  <a:pt x="31" y="187"/>
                </a:lnTo>
                <a:lnTo>
                  <a:pt x="33" y="187"/>
                </a:lnTo>
                <a:lnTo>
                  <a:pt x="35" y="187"/>
                </a:lnTo>
                <a:lnTo>
                  <a:pt x="36" y="187"/>
                </a:lnTo>
                <a:lnTo>
                  <a:pt x="37" y="188"/>
                </a:lnTo>
                <a:lnTo>
                  <a:pt x="37" y="192"/>
                </a:lnTo>
                <a:lnTo>
                  <a:pt x="38" y="194"/>
                </a:lnTo>
                <a:lnTo>
                  <a:pt x="39" y="196"/>
                </a:lnTo>
                <a:lnTo>
                  <a:pt x="40" y="198"/>
                </a:lnTo>
                <a:lnTo>
                  <a:pt x="43" y="201"/>
                </a:lnTo>
                <a:lnTo>
                  <a:pt x="44" y="202"/>
                </a:lnTo>
                <a:lnTo>
                  <a:pt x="44" y="203"/>
                </a:lnTo>
                <a:lnTo>
                  <a:pt x="45" y="204"/>
                </a:lnTo>
                <a:lnTo>
                  <a:pt x="46" y="205"/>
                </a:lnTo>
                <a:lnTo>
                  <a:pt x="45" y="205"/>
                </a:lnTo>
                <a:lnTo>
                  <a:pt x="45" y="206"/>
                </a:lnTo>
                <a:lnTo>
                  <a:pt x="45" y="209"/>
                </a:lnTo>
                <a:lnTo>
                  <a:pt x="45" y="211"/>
                </a:lnTo>
                <a:lnTo>
                  <a:pt x="47" y="211"/>
                </a:lnTo>
                <a:lnTo>
                  <a:pt x="47" y="212"/>
                </a:lnTo>
                <a:lnTo>
                  <a:pt x="45" y="212"/>
                </a:lnTo>
                <a:lnTo>
                  <a:pt x="44" y="213"/>
                </a:lnTo>
                <a:lnTo>
                  <a:pt x="44" y="213"/>
                </a:lnTo>
                <a:lnTo>
                  <a:pt x="43" y="214"/>
                </a:lnTo>
                <a:lnTo>
                  <a:pt x="41" y="214"/>
                </a:lnTo>
                <a:lnTo>
                  <a:pt x="40" y="214"/>
                </a:lnTo>
                <a:lnTo>
                  <a:pt x="39" y="213"/>
                </a:lnTo>
                <a:lnTo>
                  <a:pt x="39" y="213"/>
                </a:lnTo>
                <a:lnTo>
                  <a:pt x="39" y="211"/>
                </a:lnTo>
                <a:lnTo>
                  <a:pt x="39" y="211"/>
                </a:lnTo>
                <a:lnTo>
                  <a:pt x="37" y="209"/>
                </a:lnTo>
                <a:lnTo>
                  <a:pt x="36" y="211"/>
                </a:lnTo>
                <a:lnTo>
                  <a:pt x="33" y="212"/>
                </a:lnTo>
                <a:lnTo>
                  <a:pt x="31" y="214"/>
                </a:lnTo>
                <a:lnTo>
                  <a:pt x="31" y="215"/>
                </a:lnTo>
                <a:lnTo>
                  <a:pt x="30" y="215"/>
                </a:lnTo>
                <a:lnTo>
                  <a:pt x="26" y="215"/>
                </a:lnTo>
                <a:lnTo>
                  <a:pt x="24" y="213"/>
                </a:lnTo>
                <a:lnTo>
                  <a:pt x="22" y="213"/>
                </a:lnTo>
                <a:lnTo>
                  <a:pt x="20" y="213"/>
                </a:lnTo>
                <a:lnTo>
                  <a:pt x="17" y="213"/>
                </a:lnTo>
                <a:lnTo>
                  <a:pt x="16" y="213"/>
                </a:lnTo>
                <a:lnTo>
                  <a:pt x="15" y="213"/>
                </a:lnTo>
                <a:lnTo>
                  <a:pt x="14" y="213"/>
                </a:lnTo>
                <a:lnTo>
                  <a:pt x="13" y="213"/>
                </a:lnTo>
                <a:lnTo>
                  <a:pt x="13" y="213"/>
                </a:lnTo>
                <a:lnTo>
                  <a:pt x="12" y="212"/>
                </a:lnTo>
                <a:lnTo>
                  <a:pt x="12" y="212"/>
                </a:lnTo>
                <a:lnTo>
                  <a:pt x="10" y="213"/>
                </a:lnTo>
                <a:lnTo>
                  <a:pt x="12" y="218"/>
                </a:lnTo>
                <a:lnTo>
                  <a:pt x="6" y="218"/>
                </a:lnTo>
                <a:lnTo>
                  <a:pt x="5" y="218"/>
                </a:lnTo>
                <a:lnTo>
                  <a:pt x="4" y="218"/>
                </a:lnTo>
                <a:lnTo>
                  <a:pt x="3" y="219"/>
                </a:lnTo>
                <a:lnTo>
                  <a:pt x="3" y="219"/>
                </a:lnTo>
                <a:lnTo>
                  <a:pt x="3" y="222"/>
                </a:lnTo>
                <a:lnTo>
                  <a:pt x="0" y="222"/>
                </a:lnTo>
                <a:lnTo>
                  <a:pt x="2" y="223"/>
                </a:lnTo>
                <a:lnTo>
                  <a:pt x="2" y="225"/>
                </a:lnTo>
                <a:lnTo>
                  <a:pt x="4" y="226"/>
                </a:lnTo>
                <a:lnTo>
                  <a:pt x="5" y="228"/>
                </a:lnTo>
                <a:lnTo>
                  <a:pt x="10" y="234"/>
                </a:lnTo>
                <a:lnTo>
                  <a:pt x="13" y="237"/>
                </a:lnTo>
                <a:lnTo>
                  <a:pt x="16" y="238"/>
                </a:lnTo>
                <a:lnTo>
                  <a:pt x="22" y="239"/>
                </a:lnTo>
                <a:lnTo>
                  <a:pt x="28" y="238"/>
                </a:lnTo>
                <a:lnTo>
                  <a:pt x="33" y="237"/>
                </a:lnTo>
                <a:lnTo>
                  <a:pt x="35" y="236"/>
                </a:lnTo>
                <a:lnTo>
                  <a:pt x="36" y="234"/>
                </a:lnTo>
                <a:lnTo>
                  <a:pt x="37" y="234"/>
                </a:lnTo>
                <a:lnTo>
                  <a:pt x="38" y="235"/>
                </a:lnTo>
                <a:lnTo>
                  <a:pt x="36" y="242"/>
                </a:lnTo>
                <a:lnTo>
                  <a:pt x="34" y="244"/>
                </a:lnTo>
                <a:lnTo>
                  <a:pt x="31" y="246"/>
                </a:lnTo>
                <a:lnTo>
                  <a:pt x="28" y="247"/>
                </a:lnTo>
                <a:lnTo>
                  <a:pt x="24" y="247"/>
                </a:lnTo>
                <a:lnTo>
                  <a:pt x="20" y="248"/>
                </a:lnTo>
                <a:lnTo>
                  <a:pt x="18" y="246"/>
                </a:lnTo>
                <a:lnTo>
                  <a:pt x="17" y="248"/>
                </a:lnTo>
                <a:lnTo>
                  <a:pt x="18" y="253"/>
                </a:lnTo>
                <a:lnTo>
                  <a:pt x="31" y="265"/>
                </a:lnTo>
                <a:lnTo>
                  <a:pt x="36" y="269"/>
                </a:lnTo>
                <a:lnTo>
                  <a:pt x="43" y="276"/>
                </a:lnTo>
                <a:lnTo>
                  <a:pt x="44" y="276"/>
                </a:lnTo>
                <a:lnTo>
                  <a:pt x="51" y="276"/>
                </a:lnTo>
                <a:lnTo>
                  <a:pt x="55" y="276"/>
                </a:lnTo>
                <a:lnTo>
                  <a:pt x="56" y="275"/>
                </a:lnTo>
                <a:lnTo>
                  <a:pt x="59" y="273"/>
                </a:lnTo>
                <a:lnTo>
                  <a:pt x="60" y="273"/>
                </a:lnTo>
                <a:lnTo>
                  <a:pt x="65" y="269"/>
                </a:lnTo>
                <a:lnTo>
                  <a:pt x="67" y="267"/>
                </a:lnTo>
                <a:lnTo>
                  <a:pt x="68" y="264"/>
                </a:lnTo>
                <a:lnTo>
                  <a:pt x="67" y="255"/>
                </a:lnTo>
                <a:lnTo>
                  <a:pt x="67" y="252"/>
                </a:lnTo>
                <a:lnTo>
                  <a:pt x="67" y="247"/>
                </a:lnTo>
                <a:lnTo>
                  <a:pt x="68" y="248"/>
                </a:lnTo>
                <a:lnTo>
                  <a:pt x="69" y="248"/>
                </a:lnTo>
                <a:lnTo>
                  <a:pt x="78" y="248"/>
                </a:lnTo>
                <a:lnTo>
                  <a:pt x="78" y="249"/>
                </a:lnTo>
                <a:lnTo>
                  <a:pt x="77" y="252"/>
                </a:lnTo>
                <a:lnTo>
                  <a:pt x="74" y="252"/>
                </a:lnTo>
                <a:lnTo>
                  <a:pt x="73" y="255"/>
                </a:lnTo>
                <a:lnTo>
                  <a:pt x="74" y="256"/>
                </a:lnTo>
                <a:lnTo>
                  <a:pt x="74" y="259"/>
                </a:lnTo>
                <a:lnTo>
                  <a:pt x="75" y="260"/>
                </a:lnTo>
                <a:lnTo>
                  <a:pt x="76" y="260"/>
                </a:lnTo>
                <a:lnTo>
                  <a:pt x="75" y="265"/>
                </a:lnTo>
                <a:lnTo>
                  <a:pt x="75" y="268"/>
                </a:lnTo>
                <a:lnTo>
                  <a:pt x="76" y="269"/>
                </a:lnTo>
                <a:lnTo>
                  <a:pt x="77" y="269"/>
                </a:lnTo>
                <a:lnTo>
                  <a:pt x="77" y="270"/>
                </a:lnTo>
                <a:lnTo>
                  <a:pt x="77" y="273"/>
                </a:lnTo>
                <a:lnTo>
                  <a:pt x="80" y="277"/>
                </a:lnTo>
                <a:lnTo>
                  <a:pt x="80" y="282"/>
                </a:lnTo>
                <a:lnTo>
                  <a:pt x="81" y="284"/>
                </a:lnTo>
                <a:lnTo>
                  <a:pt x="80" y="289"/>
                </a:lnTo>
                <a:lnTo>
                  <a:pt x="79" y="293"/>
                </a:lnTo>
                <a:lnTo>
                  <a:pt x="80" y="296"/>
                </a:lnTo>
                <a:lnTo>
                  <a:pt x="81" y="302"/>
                </a:lnTo>
                <a:lnTo>
                  <a:pt x="83" y="303"/>
                </a:lnTo>
                <a:lnTo>
                  <a:pt x="83" y="308"/>
                </a:lnTo>
                <a:lnTo>
                  <a:pt x="84" y="307"/>
                </a:lnTo>
                <a:lnTo>
                  <a:pt x="85" y="306"/>
                </a:lnTo>
                <a:lnTo>
                  <a:pt x="86" y="307"/>
                </a:lnTo>
                <a:lnTo>
                  <a:pt x="86" y="309"/>
                </a:lnTo>
                <a:lnTo>
                  <a:pt x="86" y="310"/>
                </a:lnTo>
                <a:lnTo>
                  <a:pt x="86" y="312"/>
                </a:lnTo>
                <a:lnTo>
                  <a:pt x="85" y="314"/>
                </a:lnTo>
                <a:lnTo>
                  <a:pt x="86" y="319"/>
                </a:lnTo>
                <a:lnTo>
                  <a:pt x="87" y="323"/>
                </a:lnTo>
                <a:lnTo>
                  <a:pt x="87" y="324"/>
                </a:lnTo>
                <a:lnTo>
                  <a:pt x="88" y="329"/>
                </a:lnTo>
                <a:lnTo>
                  <a:pt x="88" y="329"/>
                </a:lnTo>
                <a:lnTo>
                  <a:pt x="91" y="337"/>
                </a:lnTo>
                <a:lnTo>
                  <a:pt x="93" y="339"/>
                </a:lnTo>
                <a:lnTo>
                  <a:pt x="93" y="343"/>
                </a:lnTo>
                <a:lnTo>
                  <a:pt x="94" y="345"/>
                </a:lnTo>
                <a:lnTo>
                  <a:pt x="96" y="354"/>
                </a:lnTo>
                <a:lnTo>
                  <a:pt x="97" y="357"/>
                </a:lnTo>
                <a:lnTo>
                  <a:pt x="98" y="360"/>
                </a:lnTo>
                <a:lnTo>
                  <a:pt x="99" y="361"/>
                </a:lnTo>
                <a:lnTo>
                  <a:pt x="100" y="365"/>
                </a:lnTo>
                <a:lnTo>
                  <a:pt x="104" y="368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20" name="Freeform 219"/>
          <p:cNvSpPr>
            <a:spLocks/>
          </p:cNvSpPr>
          <p:nvPr/>
        </p:nvSpPr>
        <p:spPr bwMode="auto">
          <a:xfrm>
            <a:off x="6038850" y="2539966"/>
            <a:ext cx="704850" cy="804863"/>
          </a:xfrm>
          <a:custGeom>
            <a:avLst/>
            <a:gdLst>
              <a:gd name="T0" fmla="*/ 119 w 444"/>
              <a:gd name="T1" fmla="*/ 399 h 507"/>
              <a:gd name="T2" fmla="*/ 160 w 444"/>
              <a:gd name="T3" fmla="*/ 490 h 507"/>
              <a:gd name="T4" fmla="*/ 196 w 444"/>
              <a:gd name="T5" fmla="*/ 486 h 507"/>
              <a:gd name="T6" fmla="*/ 210 w 444"/>
              <a:gd name="T7" fmla="*/ 431 h 507"/>
              <a:gd name="T8" fmla="*/ 208 w 444"/>
              <a:gd name="T9" fmla="*/ 389 h 507"/>
              <a:gd name="T10" fmla="*/ 227 w 444"/>
              <a:gd name="T11" fmla="*/ 358 h 507"/>
              <a:gd name="T12" fmla="*/ 265 w 444"/>
              <a:gd name="T13" fmla="*/ 320 h 507"/>
              <a:gd name="T14" fmla="*/ 302 w 444"/>
              <a:gd name="T15" fmla="*/ 266 h 507"/>
              <a:gd name="T16" fmla="*/ 322 w 444"/>
              <a:gd name="T17" fmla="*/ 263 h 507"/>
              <a:gd name="T18" fmla="*/ 328 w 444"/>
              <a:gd name="T19" fmla="*/ 248 h 507"/>
              <a:gd name="T20" fmla="*/ 319 w 444"/>
              <a:gd name="T21" fmla="*/ 212 h 507"/>
              <a:gd name="T22" fmla="*/ 317 w 444"/>
              <a:gd name="T23" fmla="*/ 192 h 507"/>
              <a:gd name="T24" fmla="*/ 319 w 444"/>
              <a:gd name="T25" fmla="*/ 174 h 507"/>
              <a:gd name="T26" fmla="*/ 358 w 444"/>
              <a:gd name="T27" fmla="*/ 194 h 507"/>
              <a:gd name="T28" fmla="*/ 363 w 444"/>
              <a:gd name="T29" fmla="*/ 231 h 507"/>
              <a:gd name="T30" fmla="*/ 390 w 444"/>
              <a:gd name="T31" fmla="*/ 256 h 507"/>
              <a:gd name="T32" fmla="*/ 398 w 444"/>
              <a:gd name="T33" fmla="*/ 231 h 507"/>
              <a:gd name="T34" fmla="*/ 419 w 444"/>
              <a:gd name="T35" fmla="*/ 186 h 507"/>
              <a:gd name="T36" fmla="*/ 443 w 444"/>
              <a:gd name="T37" fmla="*/ 148 h 507"/>
              <a:gd name="T38" fmla="*/ 417 w 444"/>
              <a:gd name="T39" fmla="*/ 118 h 507"/>
              <a:gd name="T40" fmla="*/ 379 w 444"/>
              <a:gd name="T41" fmla="*/ 138 h 507"/>
              <a:gd name="T42" fmla="*/ 367 w 444"/>
              <a:gd name="T43" fmla="*/ 162 h 507"/>
              <a:gd name="T44" fmla="*/ 322 w 444"/>
              <a:gd name="T45" fmla="*/ 168 h 507"/>
              <a:gd name="T46" fmla="*/ 312 w 444"/>
              <a:gd name="T47" fmla="*/ 156 h 507"/>
              <a:gd name="T48" fmla="*/ 300 w 444"/>
              <a:gd name="T49" fmla="*/ 153 h 507"/>
              <a:gd name="T50" fmla="*/ 291 w 444"/>
              <a:gd name="T51" fmla="*/ 175 h 507"/>
              <a:gd name="T52" fmla="*/ 239 w 444"/>
              <a:gd name="T53" fmla="*/ 157 h 507"/>
              <a:gd name="T54" fmla="*/ 209 w 444"/>
              <a:gd name="T55" fmla="*/ 150 h 507"/>
              <a:gd name="T56" fmla="*/ 179 w 444"/>
              <a:gd name="T57" fmla="*/ 135 h 507"/>
              <a:gd name="T58" fmla="*/ 175 w 444"/>
              <a:gd name="T59" fmla="*/ 114 h 507"/>
              <a:gd name="T60" fmla="*/ 176 w 444"/>
              <a:gd name="T61" fmla="*/ 102 h 507"/>
              <a:gd name="T62" fmla="*/ 158 w 444"/>
              <a:gd name="T63" fmla="*/ 93 h 507"/>
              <a:gd name="T64" fmla="*/ 144 w 444"/>
              <a:gd name="T65" fmla="*/ 84 h 507"/>
              <a:gd name="T66" fmla="*/ 137 w 444"/>
              <a:gd name="T67" fmla="*/ 62 h 507"/>
              <a:gd name="T68" fmla="*/ 147 w 444"/>
              <a:gd name="T69" fmla="*/ 62 h 507"/>
              <a:gd name="T70" fmla="*/ 138 w 444"/>
              <a:gd name="T71" fmla="*/ 47 h 507"/>
              <a:gd name="T72" fmla="*/ 142 w 444"/>
              <a:gd name="T73" fmla="*/ 34 h 507"/>
              <a:gd name="T74" fmla="*/ 148 w 444"/>
              <a:gd name="T75" fmla="*/ 14 h 507"/>
              <a:gd name="T76" fmla="*/ 139 w 444"/>
              <a:gd name="T77" fmla="*/ 6 h 507"/>
              <a:gd name="T78" fmla="*/ 126 w 444"/>
              <a:gd name="T79" fmla="*/ 2 h 507"/>
              <a:gd name="T80" fmla="*/ 100 w 444"/>
              <a:gd name="T81" fmla="*/ 19 h 507"/>
              <a:gd name="T82" fmla="*/ 85 w 444"/>
              <a:gd name="T83" fmla="*/ 25 h 507"/>
              <a:gd name="T84" fmla="*/ 58 w 444"/>
              <a:gd name="T85" fmla="*/ 22 h 507"/>
              <a:gd name="T86" fmla="*/ 57 w 444"/>
              <a:gd name="T87" fmla="*/ 34 h 507"/>
              <a:gd name="T88" fmla="*/ 61 w 444"/>
              <a:gd name="T89" fmla="*/ 50 h 507"/>
              <a:gd name="T90" fmla="*/ 83 w 444"/>
              <a:gd name="T91" fmla="*/ 64 h 507"/>
              <a:gd name="T92" fmla="*/ 78 w 444"/>
              <a:gd name="T93" fmla="*/ 74 h 507"/>
              <a:gd name="T94" fmla="*/ 84 w 444"/>
              <a:gd name="T95" fmla="*/ 91 h 507"/>
              <a:gd name="T96" fmla="*/ 71 w 444"/>
              <a:gd name="T97" fmla="*/ 108 h 507"/>
              <a:gd name="T98" fmla="*/ 49 w 444"/>
              <a:gd name="T99" fmla="*/ 143 h 507"/>
              <a:gd name="T100" fmla="*/ 27 w 444"/>
              <a:gd name="T101" fmla="*/ 145 h 507"/>
              <a:gd name="T102" fmla="*/ 26 w 444"/>
              <a:gd name="T103" fmla="*/ 172 h 507"/>
              <a:gd name="T104" fmla="*/ 37 w 444"/>
              <a:gd name="T105" fmla="*/ 192 h 507"/>
              <a:gd name="T106" fmla="*/ 47 w 444"/>
              <a:gd name="T107" fmla="*/ 211 h 507"/>
              <a:gd name="T108" fmla="*/ 36 w 444"/>
              <a:gd name="T109" fmla="*/ 211 h 507"/>
              <a:gd name="T110" fmla="*/ 13 w 444"/>
              <a:gd name="T111" fmla="*/ 213 h 507"/>
              <a:gd name="T112" fmla="*/ 2 w 444"/>
              <a:gd name="T113" fmla="*/ 223 h 507"/>
              <a:gd name="T114" fmla="*/ 38 w 444"/>
              <a:gd name="T115" fmla="*/ 235 h 507"/>
              <a:gd name="T116" fmla="*/ 44 w 444"/>
              <a:gd name="T117" fmla="*/ 276 h 507"/>
              <a:gd name="T118" fmla="*/ 69 w 444"/>
              <a:gd name="T119" fmla="*/ 248 h 507"/>
              <a:gd name="T120" fmla="*/ 77 w 444"/>
              <a:gd name="T121" fmla="*/ 269 h 507"/>
              <a:gd name="T122" fmla="*/ 85 w 444"/>
              <a:gd name="T123" fmla="*/ 306 h 507"/>
              <a:gd name="T124" fmla="*/ 93 w 444"/>
              <a:gd name="T125" fmla="*/ 343 h 5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44" h="507">
                <a:moveTo>
                  <a:pt x="104" y="368"/>
                </a:moveTo>
                <a:lnTo>
                  <a:pt x="104" y="368"/>
                </a:lnTo>
                <a:lnTo>
                  <a:pt x="106" y="373"/>
                </a:lnTo>
                <a:lnTo>
                  <a:pt x="106" y="373"/>
                </a:lnTo>
                <a:lnTo>
                  <a:pt x="107" y="373"/>
                </a:lnTo>
                <a:lnTo>
                  <a:pt x="108" y="373"/>
                </a:lnTo>
                <a:lnTo>
                  <a:pt x="108" y="374"/>
                </a:lnTo>
                <a:lnTo>
                  <a:pt x="108" y="376"/>
                </a:lnTo>
                <a:lnTo>
                  <a:pt x="110" y="383"/>
                </a:lnTo>
                <a:lnTo>
                  <a:pt x="112" y="386"/>
                </a:lnTo>
                <a:lnTo>
                  <a:pt x="115" y="387"/>
                </a:lnTo>
                <a:lnTo>
                  <a:pt x="118" y="395"/>
                </a:lnTo>
                <a:lnTo>
                  <a:pt x="119" y="399"/>
                </a:lnTo>
                <a:lnTo>
                  <a:pt x="122" y="403"/>
                </a:lnTo>
                <a:lnTo>
                  <a:pt x="124" y="407"/>
                </a:lnTo>
                <a:lnTo>
                  <a:pt x="127" y="417"/>
                </a:lnTo>
                <a:lnTo>
                  <a:pt x="131" y="429"/>
                </a:lnTo>
                <a:lnTo>
                  <a:pt x="131" y="430"/>
                </a:lnTo>
                <a:lnTo>
                  <a:pt x="134" y="435"/>
                </a:lnTo>
                <a:lnTo>
                  <a:pt x="137" y="438"/>
                </a:lnTo>
                <a:lnTo>
                  <a:pt x="142" y="445"/>
                </a:lnTo>
                <a:lnTo>
                  <a:pt x="145" y="451"/>
                </a:lnTo>
                <a:lnTo>
                  <a:pt x="148" y="460"/>
                </a:lnTo>
                <a:lnTo>
                  <a:pt x="155" y="477"/>
                </a:lnTo>
                <a:lnTo>
                  <a:pt x="158" y="486"/>
                </a:lnTo>
                <a:lnTo>
                  <a:pt x="160" y="490"/>
                </a:lnTo>
                <a:lnTo>
                  <a:pt x="164" y="497"/>
                </a:lnTo>
                <a:lnTo>
                  <a:pt x="168" y="504"/>
                </a:lnTo>
                <a:lnTo>
                  <a:pt x="172" y="507"/>
                </a:lnTo>
                <a:lnTo>
                  <a:pt x="177" y="507"/>
                </a:lnTo>
                <a:lnTo>
                  <a:pt x="179" y="504"/>
                </a:lnTo>
                <a:lnTo>
                  <a:pt x="179" y="504"/>
                </a:lnTo>
                <a:lnTo>
                  <a:pt x="181" y="501"/>
                </a:lnTo>
                <a:lnTo>
                  <a:pt x="184" y="500"/>
                </a:lnTo>
                <a:lnTo>
                  <a:pt x="184" y="498"/>
                </a:lnTo>
                <a:lnTo>
                  <a:pt x="184" y="497"/>
                </a:lnTo>
                <a:lnTo>
                  <a:pt x="185" y="490"/>
                </a:lnTo>
                <a:lnTo>
                  <a:pt x="191" y="486"/>
                </a:lnTo>
                <a:lnTo>
                  <a:pt x="196" y="486"/>
                </a:lnTo>
                <a:lnTo>
                  <a:pt x="196" y="482"/>
                </a:lnTo>
                <a:lnTo>
                  <a:pt x="196" y="479"/>
                </a:lnTo>
                <a:lnTo>
                  <a:pt x="199" y="472"/>
                </a:lnTo>
                <a:lnTo>
                  <a:pt x="200" y="470"/>
                </a:lnTo>
                <a:lnTo>
                  <a:pt x="201" y="467"/>
                </a:lnTo>
                <a:lnTo>
                  <a:pt x="206" y="466"/>
                </a:lnTo>
                <a:lnTo>
                  <a:pt x="207" y="467"/>
                </a:lnTo>
                <a:lnTo>
                  <a:pt x="209" y="467"/>
                </a:lnTo>
                <a:lnTo>
                  <a:pt x="209" y="461"/>
                </a:lnTo>
                <a:lnTo>
                  <a:pt x="208" y="453"/>
                </a:lnTo>
                <a:lnTo>
                  <a:pt x="207" y="443"/>
                </a:lnTo>
                <a:lnTo>
                  <a:pt x="208" y="439"/>
                </a:lnTo>
                <a:lnTo>
                  <a:pt x="210" y="431"/>
                </a:lnTo>
                <a:lnTo>
                  <a:pt x="211" y="426"/>
                </a:lnTo>
                <a:lnTo>
                  <a:pt x="213" y="417"/>
                </a:lnTo>
                <a:lnTo>
                  <a:pt x="213" y="415"/>
                </a:lnTo>
                <a:lnTo>
                  <a:pt x="212" y="410"/>
                </a:lnTo>
                <a:lnTo>
                  <a:pt x="211" y="409"/>
                </a:lnTo>
                <a:lnTo>
                  <a:pt x="210" y="407"/>
                </a:lnTo>
                <a:lnTo>
                  <a:pt x="209" y="406"/>
                </a:lnTo>
                <a:lnTo>
                  <a:pt x="210" y="405"/>
                </a:lnTo>
                <a:lnTo>
                  <a:pt x="211" y="406"/>
                </a:lnTo>
                <a:lnTo>
                  <a:pt x="208" y="396"/>
                </a:lnTo>
                <a:lnTo>
                  <a:pt x="209" y="393"/>
                </a:lnTo>
                <a:lnTo>
                  <a:pt x="208" y="389"/>
                </a:lnTo>
                <a:lnTo>
                  <a:pt x="208" y="389"/>
                </a:lnTo>
                <a:lnTo>
                  <a:pt x="207" y="387"/>
                </a:lnTo>
                <a:lnTo>
                  <a:pt x="206" y="384"/>
                </a:lnTo>
                <a:lnTo>
                  <a:pt x="206" y="376"/>
                </a:lnTo>
                <a:lnTo>
                  <a:pt x="208" y="373"/>
                </a:lnTo>
                <a:lnTo>
                  <a:pt x="209" y="368"/>
                </a:lnTo>
                <a:lnTo>
                  <a:pt x="212" y="367"/>
                </a:lnTo>
                <a:lnTo>
                  <a:pt x="215" y="367"/>
                </a:lnTo>
                <a:lnTo>
                  <a:pt x="218" y="368"/>
                </a:lnTo>
                <a:lnTo>
                  <a:pt x="220" y="367"/>
                </a:lnTo>
                <a:lnTo>
                  <a:pt x="221" y="363"/>
                </a:lnTo>
                <a:lnTo>
                  <a:pt x="222" y="359"/>
                </a:lnTo>
                <a:lnTo>
                  <a:pt x="223" y="359"/>
                </a:lnTo>
                <a:lnTo>
                  <a:pt x="227" y="358"/>
                </a:lnTo>
                <a:lnTo>
                  <a:pt x="230" y="357"/>
                </a:lnTo>
                <a:lnTo>
                  <a:pt x="237" y="354"/>
                </a:lnTo>
                <a:lnTo>
                  <a:pt x="238" y="352"/>
                </a:lnTo>
                <a:lnTo>
                  <a:pt x="238" y="348"/>
                </a:lnTo>
                <a:lnTo>
                  <a:pt x="239" y="345"/>
                </a:lnTo>
                <a:lnTo>
                  <a:pt x="243" y="342"/>
                </a:lnTo>
                <a:lnTo>
                  <a:pt x="249" y="336"/>
                </a:lnTo>
                <a:lnTo>
                  <a:pt x="253" y="332"/>
                </a:lnTo>
                <a:lnTo>
                  <a:pt x="257" y="327"/>
                </a:lnTo>
                <a:lnTo>
                  <a:pt x="261" y="324"/>
                </a:lnTo>
                <a:lnTo>
                  <a:pt x="263" y="322"/>
                </a:lnTo>
                <a:lnTo>
                  <a:pt x="265" y="320"/>
                </a:lnTo>
                <a:lnTo>
                  <a:pt x="265" y="320"/>
                </a:lnTo>
                <a:lnTo>
                  <a:pt x="268" y="317"/>
                </a:lnTo>
                <a:lnTo>
                  <a:pt x="276" y="304"/>
                </a:lnTo>
                <a:lnTo>
                  <a:pt x="279" y="300"/>
                </a:lnTo>
                <a:lnTo>
                  <a:pt x="287" y="295"/>
                </a:lnTo>
                <a:lnTo>
                  <a:pt x="292" y="294"/>
                </a:lnTo>
                <a:lnTo>
                  <a:pt x="294" y="292"/>
                </a:lnTo>
                <a:lnTo>
                  <a:pt x="296" y="292"/>
                </a:lnTo>
                <a:lnTo>
                  <a:pt x="299" y="287"/>
                </a:lnTo>
                <a:lnTo>
                  <a:pt x="301" y="284"/>
                </a:lnTo>
                <a:lnTo>
                  <a:pt x="301" y="282"/>
                </a:lnTo>
                <a:lnTo>
                  <a:pt x="304" y="278"/>
                </a:lnTo>
                <a:lnTo>
                  <a:pt x="301" y="270"/>
                </a:lnTo>
                <a:lnTo>
                  <a:pt x="302" y="266"/>
                </a:lnTo>
                <a:lnTo>
                  <a:pt x="311" y="260"/>
                </a:lnTo>
                <a:lnTo>
                  <a:pt x="313" y="259"/>
                </a:lnTo>
                <a:lnTo>
                  <a:pt x="316" y="258"/>
                </a:lnTo>
                <a:lnTo>
                  <a:pt x="317" y="256"/>
                </a:lnTo>
                <a:lnTo>
                  <a:pt x="317" y="254"/>
                </a:lnTo>
                <a:lnTo>
                  <a:pt x="318" y="252"/>
                </a:lnTo>
                <a:lnTo>
                  <a:pt x="319" y="252"/>
                </a:lnTo>
                <a:lnTo>
                  <a:pt x="319" y="256"/>
                </a:lnTo>
                <a:lnTo>
                  <a:pt x="319" y="259"/>
                </a:lnTo>
                <a:lnTo>
                  <a:pt x="320" y="260"/>
                </a:lnTo>
                <a:lnTo>
                  <a:pt x="320" y="259"/>
                </a:lnTo>
                <a:lnTo>
                  <a:pt x="321" y="260"/>
                </a:lnTo>
                <a:lnTo>
                  <a:pt x="322" y="263"/>
                </a:lnTo>
                <a:lnTo>
                  <a:pt x="324" y="263"/>
                </a:lnTo>
                <a:lnTo>
                  <a:pt x="327" y="260"/>
                </a:lnTo>
                <a:lnTo>
                  <a:pt x="328" y="262"/>
                </a:lnTo>
                <a:lnTo>
                  <a:pt x="328" y="259"/>
                </a:lnTo>
                <a:lnTo>
                  <a:pt x="328" y="257"/>
                </a:lnTo>
                <a:lnTo>
                  <a:pt x="329" y="260"/>
                </a:lnTo>
                <a:lnTo>
                  <a:pt x="330" y="262"/>
                </a:lnTo>
                <a:lnTo>
                  <a:pt x="332" y="260"/>
                </a:lnTo>
                <a:lnTo>
                  <a:pt x="330" y="257"/>
                </a:lnTo>
                <a:lnTo>
                  <a:pt x="330" y="255"/>
                </a:lnTo>
                <a:lnTo>
                  <a:pt x="329" y="254"/>
                </a:lnTo>
                <a:lnTo>
                  <a:pt x="328" y="251"/>
                </a:lnTo>
                <a:lnTo>
                  <a:pt x="328" y="248"/>
                </a:lnTo>
                <a:lnTo>
                  <a:pt x="328" y="245"/>
                </a:lnTo>
                <a:lnTo>
                  <a:pt x="326" y="244"/>
                </a:lnTo>
                <a:lnTo>
                  <a:pt x="324" y="241"/>
                </a:lnTo>
                <a:lnTo>
                  <a:pt x="324" y="237"/>
                </a:lnTo>
                <a:lnTo>
                  <a:pt x="324" y="237"/>
                </a:lnTo>
                <a:lnTo>
                  <a:pt x="324" y="233"/>
                </a:lnTo>
                <a:lnTo>
                  <a:pt x="323" y="232"/>
                </a:lnTo>
                <a:lnTo>
                  <a:pt x="322" y="231"/>
                </a:lnTo>
                <a:lnTo>
                  <a:pt x="321" y="226"/>
                </a:lnTo>
                <a:lnTo>
                  <a:pt x="320" y="224"/>
                </a:lnTo>
                <a:lnTo>
                  <a:pt x="319" y="222"/>
                </a:lnTo>
                <a:lnTo>
                  <a:pt x="319" y="218"/>
                </a:lnTo>
                <a:lnTo>
                  <a:pt x="319" y="212"/>
                </a:lnTo>
                <a:lnTo>
                  <a:pt x="316" y="209"/>
                </a:lnTo>
                <a:lnTo>
                  <a:pt x="313" y="207"/>
                </a:lnTo>
                <a:lnTo>
                  <a:pt x="310" y="206"/>
                </a:lnTo>
                <a:lnTo>
                  <a:pt x="308" y="205"/>
                </a:lnTo>
                <a:lnTo>
                  <a:pt x="308" y="203"/>
                </a:lnTo>
                <a:lnTo>
                  <a:pt x="308" y="202"/>
                </a:lnTo>
                <a:lnTo>
                  <a:pt x="308" y="198"/>
                </a:lnTo>
                <a:lnTo>
                  <a:pt x="310" y="198"/>
                </a:lnTo>
                <a:lnTo>
                  <a:pt x="312" y="197"/>
                </a:lnTo>
                <a:lnTo>
                  <a:pt x="312" y="195"/>
                </a:lnTo>
                <a:lnTo>
                  <a:pt x="318" y="195"/>
                </a:lnTo>
                <a:lnTo>
                  <a:pt x="318" y="193"/>
                </a:lnTo>
                <a:lnTo>
                  <a:pt x="317" y="192"/>
                </a:lnTo>
                <a:lnTo>
                  <a:pt x="317" y="191"/>
                </a:lnTo>
                <a:lnTo>
                  <a:pt x="312" y="191"/>
                </a:lnTo>
                <a:lnTo>
                  <a:pt x="310" y="188"/>
                </a:lnTo>
                <a:lnTo>
                  <a:pt x="308" y="185"/>
                </a:lnTo>
                <a:lnTo>
                  <a:pt x="307" y="184"/>
                </a:lnTo>
                <a:lnTo>
                  <a:pt x="310" y="176"/>
                </a:lnTo>
                <a:lnTo>
                  <a:pt x="310" y="173"/>
                </a:lnTo>
                <a:lnTo>
                  <a:pt x="311" y="172"/>
                </a:lnTo>
                <a:lnTo>
                  <a:pt x="314" y="177"/>
                </a:lnTo>
                <a:lnTo>
                  <a:pt x="317" y="179"/>
                </a:lnTo>
                <a:lnTo>
                  <a:pt x="317" y="177"/>
                </a:lnTo>
                <a:lnTo>
                  <a:pt x="317" y="174"/>
                </a:lnTo>
                <a:lnTo>
                  <a:pt x="319" y="174"/>
                </a:lnTo>
                <a:lnTo>
                  <a:pt x="320" y="178"/>
                </a:lnTo>
                <a:lnTo>
                  <a:pt x="323" y="182"/>
                </a:lnTo>
                <a:lnTo>
                  <a:pt x="324" y="181"/>
                </a:lnTo>
                <a:lnTo>
                  <a:pt x="327" y="182"/>
                </a:lnTo>
                <a:lnTo>
                  <a:pt x="329" y="177"/>
                </a:lnTo>
                <a:lnTo>
                  <a:pt x="329" y="179"/>
                </a:lnTo>
                <a:lnTo>
                  <a:pt x="331" y="185"/>
                </a:lnTo>
                <a:lnTo>
                  <a:pt x="333" y="191"/>
                </a:lnTo>
                <a:lnTo>
                  <a:pt x="337" y="193"/>
                </a:lnTo>
                <a:lnTo>
                  <a:pt x="340" y="195"/>
                </a:lnTo>
                <a:lnTo>
                  <a:pt x="352" y="195"/>
                </a:lnTo>
                <a:lnTo>
                  <a:pt x="353" y="195"/>
                </a:lnTo>
                <a:lnTo>
                  <a:pt x="358" y="194"/>
                </a:lnTo>
                <a:lnTo>
                  <a:pt x="363" y="195"/>
                </a:lnTo>
                <a:lnTo>
                  <a:pt x="371" y="196"/>
                </a:lnTo>
                <a:lnTo>
                  <a:pt x="375" y="198"/>
                </a:lnTo>
                <a:lnTo>
                  <a:pt x="375" y="199"/>
                </a:lnTo>
                <a:lnTo>
                  <a:pt x="372" y="201"/>
                </a:lnTo>
                <a:lnTo>
                  <a:pt x="372" y="205"/>
                </a:lnTo>
                <a:lnTo>
                  <a:pt x="369" y="209"/>
                </a:lnTo>
                <a:lnTo>
                  <a:pt x="367" y="213"/>
                </a:lnTo>
                <a:lnTo>
                  <a:pt x="363" y="214"/>
                </a:lnTo>
                <a:lnTo>
                  <a:pt x="360" y="217"/>
                </a:lnTo>
                <a:lnTo>
                  <a:pt x="360" y="219"/>
                </a:lnTo>
                <a:lnTo>
                  <a:pt x="361" y="224"/>
                </a:lnTo>
                <a:lnTo>
                  <a:pt x="363" y="231"/>
                </a:lnTo>
                <a:lnTo>
                  <a:pt x="367" y="231"/>
                </a:lnTo>
                <a:lnTo>
                  <a:pt x="369" y="234"/>
                </a:lnTo>
                <a:lnTo>
                  <a:pt x="371" y="235"/>
                </a:lnTo>
                <a:lnTo>
                  <a:pt x="372" y="233"/>
                </a:lnTo>
                <a:lnTo>
                  <a:pt x="373" y="226"/>
                </a:lnTo>
                <a:lnTo>
                  <a:pt x="375" y="222"/>
                </a:lnTo>
                <a:lnTo>
                  <a:pt x="377" y="223"/>
                </a:lnTo>
                <a:lnTo>
                  <a:pt x="380" y="226"/>
                </a:lnTo>
                <a:lnTo>
                  <a:pt x="382" y="232"/>
                </a:lnTo>
                <a:lnTo>
                  <a:pt x="383" y="234"/>
                </a:lnTo>
                <a:lnTo>
                  <a:pt x="384" y="237"/>
                </a:lnTo>
                <a:lnTo>
                  <a:pt x="388" y="246"/>
                </a:lnTo>
                <a:lnTo>
                  <a:pt x="390" y="256"/>
                </a:lnTo>
                <a:lnTo>
                  <a:pt x="391" y="255"/>
                </a:lnTo>
                <a:lnTo>
                  <a:pt x="392" y="254"/>
                </a:lnTo>
                <a:lnTo>
                  <a:pt x="394" y="254"/>
                </a:lnTo>
                <a:lnTo>
                  <a:pt x="395" y="254"/>
                </a:lnTo>
                <a:lnTo>
                  <a:pt x="398" y="252"/>
                </a:lnTo>
                <a:lnTo>
                  <a:pt x="397" y="251"/>
                </a:lnTo>
                <a:lnTo>
                  <a:pt x="397" y="251"/>
                </a:lnTo>
                <a:lnTo>
                  <a:pt x="395" y="247"/>
                </a:lnTo>
                <a:lnTo>
                  <a:pt x="394" y="242"/>
                </a:lnTo>
                <a:lnTo>
                  <a:pt x="394" y="238"/>
                </a:lnTo>
                <a:lnTo>
                  <a:pt x="398" y="238"/>
                </a:lnTo>
                <a:lnTo>
                  <a:pt x="398" y="237"/>
                </a:lnTo>
                <a:lnTo>
                  <a:pt x="398" y="231"/>
                </a:lnTo>
                <a:lnTo>
                  <a:pt x="397" y="223"/>
                </a:lnTo>
                <a:lnTo>
                  <a:pt x="398" y="221"/>
                </a:lnTo>
                <a:lnTo>
                  <a:pt x="402" y="219"/>
                </a:lnTo>
                <a:lnTo>
                  <a:pt x="405" y="221"/>
                </a:lnTo>
                <a:lnTo>
                  <a:pt x="408" y="221"/>
                </a:lnTo>
                <a:lnTo>
                  <a:pt x="409" y="218"/>
                </a:lnTo>
                <a:lnTo>
                  <a:pt x="410" y="213"/>
                </a:lnTo>
                <a:lnTo>
                  <a:pt x="413" y="202"/>
                </a:lnTo>
                <a:lnTo>
                  <a:pt x="413" y="198"/>
                </a:lnTo>
                <a:lnTo>
                  <a:pt x="413" y="196"/>
                </a:lnTo>
                <a:lnTo>
                  <a:pt x="413" y="193"/>
                </a:lnTo>
                <a:lnTo>
                  <a:pt x="418" y="189"/>
                </a:lnTo>
                <a:lnTo>
                  <a:pt x="419" y="186"/>
                </a:lnTo>
                <a:lnTo>
                  <a:pt x="417" y="177"/>
                </a:lnTo>
                <a:lnTo>
                  <a:pt x="418" y="173"/>
                </a:lnTo>
                <a:lnTo>
                  <a:pt x="421" y="169"/>
                </a:lnTo>
                <a:lnTo>
                  <a:pt x="424" y="167"/>
                </a:lnTo>
                <a:lnTo>
                  <a:pt x="427" y="165"/>
                </a:lnTo>
                <a:lnTo>
                  <a:pt x="429" y="161"/>
                </a:lnTo>
                <a:lnTo>
                  <a:pt x="433" y="159"/>
                </a:lnTo>
                <a:lnTo>
                  <a:pt x="436" y="158"/>
                </a:lnTo>
                <a:lnTo>
                  <a:pt x="441" y="159"/>
                </a:lnTo>
                <a:lnTo>
                  <a:pt x="442" y="158"/>
                </a:lnTo>
                <a:lnTo>
                  <a:pt x="440" y="154"/>
                </a:lnTo>
                <a:lnTo>
                  <a:pt x="441" y="150"/>
                </a:lnTo>
                <a:lnTo>
                  <a:pt x="443" y="148"/>
                </a:lnTo>
                <a:lnTo>
                  <a:pt x="444" y="146"/>
                </a:lnTo>
                <a:lnTo>
                  <a:pt x="444" y="143"/>
                </a:lnTo>
                <a:lnTo>
                  <a:pt x="442" y="140"/>
                </a:lnTo>
                <a:lnTo>
                  <a:pt x="439" y="138"/>
                </a:lnTo>
                <a:lnTo>
                  <a:pt x="434" y="138"/>
                </a:lnTo>
                <a:lnTo>
                  <a:pt x="432" y="136"/>
                </a:lnTo>
                <a:lnTo>
                  <a:pt x="427" y="136"/>
                </a:lnTo>
                <a:lnTo>
                  <a:pt x="427" y="132"/>
                </a:lnTo>
                <a:lnTo>
                  <a:pt x="425" y="128"/>
                </a:lnTo>
                <a:lnTo>
                  <a:pt x="422" y="127"/>
                </a:lnTo>
                <a:lnTo>
                  <a:pt x="421" y="124"/>
                </a:lnTo>
                <a:lnTo>
                  <a:pt x="421" y="122"/>
                </a:lnTo>
                <a:lnTo>
                  <a:pt x="417" y="118"/>
                </a:lnTo>
                <a:lnTo>
                  <a:pt x="413" y="120"/>
                </a:lnTo>
                <a:lnTo>
                  <a:pt x="410" y="122"/>
                </a:lnTo>
                <a:lnTo>
                  <a:pt x="407" y="123"/>
                </a:lnTo>
                <a:lnTo>
                  <a:pt x="401" y="124"/>
                </a:lnTo>
                <a:lnTo>
                  <a:pt x="399" y="123"/>
                </a:lnTo>
                <a:lnTo>
                  <a:pt x="397" y="122"/>
                </a:lnTo>
                <a:lnTo>
                  <a:pt x="395" y="122"/>
                </a:lnTo>
                <a:lnTo>
                  <a:pt x="392" y="123"/>
                </a:lnTo>
                <a:lnTo>
                  <a:pt x="390" y="125"/>
                </a:lnTo>
                <a:lnTo>
                  <a:pt x="390" y="128"/>
                </a:lnTo>
                <a:lnTo>
                  <a:pt x="385" y="133"/>
                </a:lnTo>
                <a:lnTo>
                  <a:pt x="381" y="134"/>
                </a:lnTo>
                <a:lnTo>
                  <a:pt x="379" y="138"/>
                </a:lnTo>
                <a:lnTo>
                  <a:pt x="377" y="141"/>
                </a:lnTo>
                <a:lnTo>
                  <a:pt x="372" y="143"/>
                </a:lnTo>
                <a:lnTo>
                  <a:pt x="369" y="145"/>
                </a:lnTo>
                <a:lnTo>
                  <a:pt x="362" y="147"/>
                </a:lnTo>
                <a:lnTo>
                  <a:pt x="358" y="148"/>
                </a:lnTo>
                <a:lnTo>
                  <a:pt x="358" y="150"/>
                </a:lnTo>
                <a:lnTo>
                  <a:pt x="358" y="151"/>
                </a:lnTo>
                <a:lnTo>
                  <a:pt x="358" y="152"/>
                </a:lnTo>
                <a:lnTo>
                  <a:pt x="358" y="153"/>
                </a:lnTo>
                <a:lnTo>
                  <a:pt x="358" y="154"/>
                </a:lnTo>
                <a:lnTo>
                  <a:pt x="363" y="155"/>
                </a:lnTo>
                <a:lnTo>
                  <a:pt x="365" y="157"/>
                </a:lnTo>
                <a:lnTo>
                  <a:pt x="367" y="162"/>
                </a:lnTo>
                <a:lnTo>
                  <a:pt x="367" y="163"/>
                </a:lnTo>
                <a:lnTo>
                  <a:pt x="367" y="164"/>
                </a:lnTo>
                <a:lnTo>
                  <a:pt x="364" y="165"/>
                </a:lnTo>
                <a:lnTo>
                  <a:pt x="359" y="166"/>
                </a:lnTo>
                <a:lnTo>
                  <a:pt x="355" y="166"/>
                </a:lnTo>
                <a:lnTo>
                  <a:pt x="350" y="167"/>
                </a:lnTo>
                <a:lnTo>
                  <a:pt x="348" y="167"/>
                </a:lnTo>
                <a:lnTo>
                  <a:pt x="346" y="167"/>
                </a:lnTo>
                <a:lnTo>
                  <a:pt x="342" y="166"/>
                </a:lnTo>
                <a:lnTo>
                  <a:pt x="341" y="166"/>
                </a:lnTo>
                <a:lnTo>
                  <a:pt x="334" y="169"/>
                </a:lnTo>
                <a:lnTo>
                  <a:pt x="329" y="169"/>
                </a:lnTo>
                <a:lnTo>
                  <a:pt x="322" y="168"/>
                </a:lnTo>
                <a:lnTo>
                  <a:pt x="319" y="167"/>
                </a:lnTo>
                <a:lnTo>
                  <a:pt x="318" y="166"/>
                </a:lnTo>
                <a:lnTo>
                  <a:pt x="317" y="166"/>
                </a:lnTo>
                <a:lnTo>
                  <a:pt x="317" y="166"/>
                </a:lnTo>
                <a:lnTo>
                  <a:pt x="316" y="164"/>
                </a:lnTo>
                <a:lnTo>
                  <a:pt x="316" y="163"/>
                </a:lnTo>
                <a:lnTo>
                  <a:pt x="314" y="163"/>
                </a:lnTo>
                <a:lnTo>
                  <a:pt x="313" y="161"/>
                </a:lnTo>
                <a:lnTo>
                  <a:pt x="316" y="158"/>
                </a:lnTo>
                <a:lnTo>
                  <a:pt x="316" y="157"/>
                </a:lnTo>
                <a:lnTo>
                  <a:pt x="314" y="157"/>
                </a:lnTo>
                <a:lnTo>
                  <a:pt x="313" y="157"/>
                </a:lnTo>
                <a:lnTo>
                  <a:pt x="312" y="156"/>
                </a:lnTo>
                <a:lnTo>
                  <a:pt x="312" y="154"/>
                </a:lnTo>
                <a:lnTo>
                  <a:pt x="312" y="151"/>
                </a:lnTo>
                <a:lnTo>
                  <a:pt x="312" y="148"/>
                </a:lnTo>
                <a:lnTo>
                  <a:pt x="311" y="145"/>
                </a:lnTo>
                <a:lnTo>
                  <a:pt x="310" y="145"/>
                </a:lnTo>
                <a:lnTo>
                  <a:pt x="309" y="144"/>
                </a:lnTo>
                <a:lnTo>
                  <a:pt x="308" y="144"/>
                </a:lnTo>
                <a:lnTo>
                  <a:pt x="306" y="146"/>
                </a:lnTo>
                <a:lnTo>
                  <a:pt x="303" y="146"/>
                </a:lnTo>
                <a:lnTo>
                  <a:pt x="301" y="147"/>
                </a:lnTo>
                <a:lnTo>
                  <a:pt x="301" y="147"/>
                </a:lnTo>
                <a:lnTo>
                  <a:pt x="300" y="150"/>
                </a:lnTo>
                <a:lnTo>
                  <a:pt x="300" y="153"/>
                </a:lnTo>
                <a:lnTo>
                  <a:pt x="301" y="157"/>
                </a:lnTo>
                <a:lnTo>
                  <a:pt x="301" y="162"/>
                </a:lnTo>
                <a:lnTo>
                  <a:pt x="300" y="163"/>
                </a:lnTo>
                <a:lnTo>
                  <a:pt x="301" y="164"/>
                </a:lnTo>
                <a:lnTo>
                  <a:pt x="303" y="165"/>
                </a:lnTo>
                <a:lnTo>
                  <a:pt x="306" y="168"/>
                </a:lnTo>
                <a:lnTo>
                  <a:pt x="306" y="171"/>
                </a:lnTo>
                <a:lnTo>
                  <a:pt x="304" y="174"/>
                </a:lnTo>
                <a:lnTo>
                  <a:pt x="304" y="174"/>
                </a:lnTo>
                <a:lnTo>
                  <a:pt x="301" y="174"/>
                </a:lnTo>
                <a:lnTo>
                  <a:pt x="298" y="175"/>
                </a:lnTo>
                <a:lnTo>
                  <a:pt x="293" y="174"/>
                </a:lnTo>
                <a:lnTo>
                  <a:pt x="291" y="175"/>
                </a:lnTo>
                <a:lnTo>
                  <a:pt x="289" y="174"/>
                </a:lnTo>
                <a:lnTo>
                  <a:pt x="286" y="173"/>
                </a:lnTo>
                <a:lnTo>
                  <a:pt x="283" y="173"/>
                </a:lnTo>
                <a:lnTo>
                  <a:pt x="270" y="171"/>
                </a:lnTo>
                <a:lnTo>
                  <a:pt x="268" y="169"/>
                </a:lnTo>
                <a:lnTo>
                  <a:pt x="266" y="168"/>
                </a:lnTo>
                <a:lnTo>
                  <a:pt x="261" y="168"/>
                </a:lnTo>
                <a:lnTo>
                  <a:pt x="256" y="167"/>
                </a:lnTo>
                <a:lnTo>
                  <a:pt x="252" y="165"/>
                </a:lnTo>
                <a:lnTo>
                  <a:pt x="250" y="163"/>
                </a:lnTo>
                <a:lnTo>
                  <a:pt x="247" y="159"/>
                </a:lnTo>
                <a:lnTo>
                  <a:pt x="245" y="158"/>
                </a:lnTo>
                <a:lnTo>
                  <a:pt x="239" y="157"/>
                </a:lnTo>
                <a:lnTo>
                  <a:pt x="238" y="157"/>
                </a:lnTo>
                <a:lnTo>
                  <a:pt x="238" y="158"/>
                </a:lnTo>
                <a:lnTo>
                  <a:pt x="236" y="158"/>
                </a:lnTo>
                <a:lnTo>
                  <a:pt x="232" y="157"/>
                </a:lnTo>
                <a:lnTo>
                  <a:pt x="230" y="156"/>
                </a:lnTo>
                <a:lnTo>
                  <a:pt x="228" y="158"/>
                </a:lnTo>
                <a:lnTo>
                  <a:pt x="226" y="158"/>
                </a:lnTo>
                <a:lnTo>
                  <a:pt x="220" y="156"/>
                </a:lnTo>
                <a:lnTo>
                  <a:pt x="217" y="153"/>
                </a:lnTo>
                <a:lnTo>
                  <a:pt x="216" y="153"/>
                </a:lnTo>
                <a:lnTo>
                  <a:pt x="213" y="152"/>
                </a:lnTo>
                <a:lnTo>
                  <a:pt x="212" y="152"/>
                </a:lnTo>
                <a:lnTo>
                  <a:pt x="209" y="150"/>
                </a:lnTo>
                <a:lnTo>
                  <a:pt x="206" y="148"/>
                </a:lnTo>
                <a:lnTo>
                  <a:pt x="202" y="148"/>
                </a:lnTo>
                <a:lnTo>
                  <a:pt x="200" y="147"/>
                </a:lnTo>
                <a:lnTo>
                  <a:pt x="198" y="145"/>
                </a:lnTo>
                <a:lnTo>
                  <a:pt x="193" y="142"/>
                </a:lnTo>
                <a:lnTo>
                  <a:pt x="191" y="140"/>
                </a:lnTo>
                <a:lnTo>
                  <a:pt x="188" y="138"/>
                </a:lnTo>
                <a:lnTo>
                  <a:pt x="187" y="137"/>
                </a:lnTo>
                <a:lnTo>
                  <a:pt x="182" y="135"/>
                </a:lnTo>
                <a:lnTo>
                  <a:pt x="182" y="135"/>
                </a:lnTo>
                <a:lnTo>
                  <a:pt x="182" y="136"/>
                </a:lnTo>
                <a:lnTo>
                  <a:pt x="181" y="136"/>
                </a:lnTo>
                <a:lnTo>
                  <a:pt x="179" y="135"/>
                </a:lnTo>
                <a:lnTo>
                  <a:pt x="178" y="134"/>
                </a:lnTo>
                <a:lnTo>
                  <a:pt x="177" y="132"/>
                </a:lnTo>
                <a:lnTo>
                  <a:pt x="174" y="132"/>
                </a:lnTo>
                <a:lnTo>
                  <a:pt x="174" y="131"/>
                </a:lnTo>
                <a:lnTo>
                  <a:pt x="172" y="128"/>
                </a:lnTo>
                <a:lnTo>
                  <a:pt x="174" y="126"/>
                </a:lnTo>
                <a:lnTo>
                  <a:pt x="175" y="126"/>
                </a:lnTo>
                <a:lnTo>
                  <a:pt x="175" y="124"/>
                </a:lnTo>
                <a:lnTo>
                  <a:pt x="176" y="123"/>
                </a:lnTo>
                <a:lnTo>
                  <a:pt x="175" y="121"/>
                </a:lnTo>
                <a:lnTo>
                  <a:pt x="175" y="118"/>
                </a:lnTo>
                <a:lnTo>
                  <a:pt x="176" y="116"/>
                </a:lnTo>
                <a:lnTo>
                  <a:pt x="175" y="114"/>
                </a:lnTo>
                <a:lnTo>
                  <a:pt x="175" y="113"/>
                </a:lnTo>
                <a:lnTo>
                  <a:pt x="176" y="112"/>
                </a:lnTo>
                <a:lnTo>
                  <a:pt x="177" y="112"/>
                </a:lnTo>
                <a:lnTo>
                  <a:pt x="177" y="110"/>
                </a:lnTo>
                <a:lnTo>
                  <a:pt x="179" y="108"/>
                </a:lnTo>
                <a:lnTo>
                  <a:pt x="180" y="106"/>
                </a:lnTo>
                <a:lnTo>
                  <a:pt x="180" y="105"/>
                </a:lnTo>
                <a:lnTo>
                  <a:pt x="180" y="105"/>
                </a:lnTo>
                <a:lnTo>
                  <a:pt x="181" y="105"/>
                </a:lnTo>
                <a:lnTo>
                  <a:pt x="182" y="105"/>
                </a:lnTo>
                <a:lnTo>
                  <a:pt x="182" y="104"/>
                </a:lnTo>
                <a:lnTo>
                  <a:pt x="177" y="103"/>
                </a:lnTo>
                <a:lnTo>
                  <a:pt x="176" y="102"/>
                </a:lnTo>
                <a:lnTo>
                  <a:pt x="175" y="101"/>
                </a:lnTo>
                <a:lnTo>
                  <a:pt x="174" y="101"/>
                </a:lnTo>
                <a:lnTo>
                  <a:pt x="169" y="97"/>
                </a:lnTo>
                <a:lnTo>
                  <a:pt x="167" y="97"/>
                </a:lnTo>
                <a:lnTo>
                  <a:pt x="166" y="96"/>
                </a:lnTo>
                <a:lnTo>
                  <a:pt x="165" y="95"/>
                </a:lnTo>
                <a:lnTo>
                  <a:pt x="165" y="94"/>
                </a:lnTo>
                <a:lnTo>
                  <a:pt x="164" y="93"/>
                </a:lnTo>
                <a:lnTo>
                  <a:pt x="162" y="93"/>
                </a:lnTo>
                <a:lnTo>
                  <a:pt x="161" y="92"/>
                </a:lnTo>
                <a:lnTo>
                  <a:pt x="160" y="92"/>
                </a:lnTo>
                <a:lnTo>
                  <a:pt x="158" y="93"/>
                </a:lnTo>
                <a:lnTo>
                  <a:pt x="158" y="93"/>
                </a:lnTo>
                <a:lnTo>
                  <a:pt x="157" y="91"/>
                </a:lnTo>
                <a:lnTo>
                  <a:pt x="156" y="91"/>
                </a:lnTo>
                <a:lnTo>
                  <a:pt x="155" y="90"/>
                </a:lnTo>
                <a:lnTo>
                  <a:pt x="155" y="91"/>
                </a:lnTo>
                <a:lnTo>
                  <a:pt x="151" y="91"/>
                </a:lnTo>
                <a:lnTo>
                  <a:pt x="150" y="91"/>
                </a:lnTo>
                <a:lnTo>
                  <a:pt x="149" y="92"/>
                </a:lnTo>
                <a:lnTo>
                  <a:pt x="148" y="92"/>
                </a:lnTo>
                <a:lnTo>
                  <a:pt x="148" y="91"/>
                </a:lnTo>
                <a:lnTo>
                  <a:pt x="147" y="87"/>
                </a:lnTo>
                <a:lnTo>
                  <a:pt x="146" y="87"/>
                </a:lnTo>
                <a:lnTo>
                  <a:pt x="144" y="85"/>
                </a:lnTo>
                <a:lnTo>
                  <a:pt x="144" y="84"/>
                </a:lnTo>
                <a:lnTo>
                  <a:pt x="142" y="83"/>
                </a:lnTo>
                <a:lnTo>
                  <a:pt x="141" y="82"/>
                </a:lnTo>
                <a:lnTo>
                  <a:pt x="142" y="80"/>
                </a:lnTo>
                <a:lnTo>
                  <a:pt x="141" y="77"/>
                </a:lnTo>
                <a:lnTo>
                  <a:pt x="140" y="77"/>
                </a:lnTo>
                <a:lnTo>
                  <a:pt x="140" y="75"/>
                </a:lnTo>
                <a:lnTo>
                  <a:pt x="140" y="73"/>
                </a:lnTo>
                <a:lnTo>
                  <a:pt x="138" y="71"/>
                </a:lnTo>
                <a:lnTo>
                  <a:pt x="135" y="68"/>
                </a:lnTo>
                <a:lnTo>
                  <a:pt x="135" y="65"/>
                </a:lnTo>
                <a:lnTo>
                  <a:pt x="134" y="63"/>
                </a:lnTo>
                <a:lnTo>
                  <a:pt x="134" y="63"/>
                </a:lnTo>
                <a:lnTo>
                  <a:pt x="137" y="62"/>
                </a:lnTo>
                <a:lnTo>
                  <a:pt x="137" y="61"/>
                </a:lnTo>
                <a:lnTo>
                  <a:pt x="138" y="61"/>
                </a:lnTo>
                <a:lnTo>
                  <a:pt x="138" y="63"/>
                </a:lnTo>
                <a:lnTo>
                  <a:pt x="139" y="64"/>
                </a:lnTo>
                <a:lnTo>
                  <a:pt x="140" y="65"/>
                </a:lnTo>
                <a:lnTo>
                  <a:pt x="142" y="66"/>
                </a:lnTo>
                <a:lnTo>
                  <a:pt x="144" y="66"/>
                </a:lnTo>
                <a:lnTo>
                  <a:pt x="144" y="65"/>
                </a:lnTo>
                <a:lnTo>
                  <a:pt x="145" y="65"/>
                </a:lnTo>
                <a:lnTo>
                  <a:pt x="145" y="64"/>
                </a:lnTo>
                <a:lnTo>
                  <a:pt x="146" y="63"/>
                </a:lnTo>
                <a:lnTo>
                  <a:pt x="146" y="62"/>
                </a:lnTo>
                <a:lnTo>
                  <a:pt x="147" y="62"/>
                </a:lnTo>
                <a:lnTo>
                  <a:pt x="148" y="63"/>
                </a:lnTo>
                <a:lnTo>
                  <a:pt x="148" y="63"/>
                </a:lnTo>
                <a:lnTo>
                  <a:pt x="150" y="60"/>
                </a:lnTo>
                <a:lnTo>
                  <a:pt x="150" y="58"/>
                </a:lnTo>
                <a:lnTo>
                  <a:pt x="149" y="57"/>
                </a:lnTo>
                <a:lnTo>
                  <a:pt x="146" y="55"/>
                </a:lnTo>
                <a:lnTo>
                  <a:pt x="146" y="54"/>
                </a:lnTo>
                <a:lnTo>
                  <a:pt x="146" y="53"/>
                </a:lnTo>
                <a:lnTo>
                  <a:pt x="146" y="52"/>
                </a:lnTo>
                <a:lnTo>
                  <a:pt x="142" y="51"/>
                </a:lnTo>
                <a:lnTo>
                  <a:pt x="141" y="51"/>
                </a:lnTo>
                <a:lnTo>
                  <a:pt x="140" y="50"/>
                </a:lnTo>
                <a:lnTo>
                  <a:pt x="138" y="47"/>
                </a:lnTo>
                <a:lnTo>
                  <a:pt x="137" y="44"/>
                </a:lnTo>
                <a:lnTo>
                  <a:pt x="138" y="43"/>
                </a:lnTo>
                <a:lnTo>
                  <a:pt x="137" y="42"/>
                </a:lnTo>
                <a:lnTo>
                  <a:pt x="137" y="41"/>
                </a:lnTo>
                <a:lnTo>
                  <a:pt x="137" y="41"/>
                </a:lnTo>
                <a:lnTo>
                  <a:pt x="135" y="39"/>
                </a:lnTo>
                <a:lnTo>
                  <a:pt x="135" y="36"/>
                </a:lnTo>
                <a:lnTo>
                  <a:pt x="135" y="36"/>
                </a:lnTo>
                <a:lnTo>
                  <a:pt x="137" y="36"/>
                </a:lnTo>
                <a:lnTo>
                  <a:pt x="138" y="35"/>
                </a:lnTo>
                <a:lnTo>
                  <a:pt x="141" y="36"/>
                </a:lnTo>
                <a:lnTo>
                  <a:pt x="141" y="36"/>
                </a:lnTo>
                <a:lnTo>
                  <a:pt x="142" y="34"/>
                </a:lnTo>
                <a:lnTo>
                  <a:pt x="144" y="32"/>
                </a:lnTo>
                <a:lnTo>
                  <a:pt x="142" y="29"/>
                </a:lnTo>
                <a:lnTo>
                  <a:pt x="146" y="29"/>
                </a:lnTo>
                <a:lnTo>
                  <a:pt x="146" y="29"/>
                </a:lnTo>
                <a:lnTo>
                  <a:pt x="145" y="27"/>
                </a:lnTo>
                <a:lnTo>
                  <a:pt x="145" y="26"/>
                </a:lnTo>
                <a:lnTo>
                  <a:pt x="146" y="26"/>
                </a:lnTo>
                <a:lnTo>
                  <a:pt x="146" y="25"/>
                </a:lnTo>
                <a:lnTo>
                  <a:pt x="146" y="24"/>
                </a:lnTo>
                <a:lnTo>
                  <a:pt x="148" y="23"/>
                </a:lnTo>
                <a:lnTo>
                  <a:pt x="147" y="21"/>
                </a:lnTo>
                <a:lnTo>
                  <a:pt x="148" y="20"/>
                </a:lnTo>
                <a:lnTo>
                  <a:pt x="148" y="14"/>
                </a:lnTo>
                <a:lnTo>
                  <a:pt x="148" y="14"/>
                </a:lnTo>
                <a:lnTo>
                  <a:pt x="148" y="12"/>
                </a:lnTo>
                <a:lnTo>
                  <a:pt x="149" y="10"/>
                </a:lnTo>
                <a:lnTo>
                  <a:pt x="148" y="9"/>
                </a:lnTo>
                <a:lnTo>
                  <a:pt x="148" y="9"/>
                </a:lnTo>
                <a:lnTo>
                  <a:pt x="147" y="9"/>
                </a:lnTo>
                <a:lnTo>
                  <a:pt x="145" y="11"/>
                </a:lnTo>
                <a:lnTo>
                  <a:pt x="145" y="11"/>
                </a:lnTo>
                <a:lnTo>
                  <a:pt x="144" y="10"/>
                </a:lnTo>
                <a:lnTo>
                  <a:pt x="141" y="6"/>
                </a:lnTo>
                <a:lnTo>
                  <a:pt x="140" y="7"/>
                </a:lnTo>
                <a:lnTo>
                  <a:pt x="140" y="7"/>
                </a:lnTo>
                <a:lnTo>
                  <a:pt x="139" y="6"/>
                </a:lnTo>
                <a:lnTo>
                  <a:pt x="138" y="6"/>
                </a:lnTo>
                <a:lnTo>
                  <a:pt x="137" y="5"/>
                </a:lnTo>
                <a:lnTo>
                  <a:pt x="136" y="3"/>
                </a:lnTo>
                <a:lnTo>
                  <a:pt x="135" y="3"/>
                </a:lnTo>
                <a:lnTo>
                  <a:pt x="135" y="2"/>
                </a:lnTo>
                <a:lnTo>
                  <a:pt x="134" y="2"/>
                </a:lnTo>
                <a:lnTo>
                  <a:pt x="132" y="2"/>
                </a:lnTo>
                <a:lnTo>
                  <a:pt x="131" y="1"/>
                </a:lnTo>
                <a:lnTo>
                  <a:pt x="130" y="0"/>
                </a:lnTo>
                <a:lnTo>
                  <a:pt x="130" y="0"/>
                </a:lnTo>
                <a:lnTo>
                  <a:pt x="128" y="1"/>
                </a:lnTo>
                <a:lnTo>
                  <a:pt x="127" y="1"/>
                </a:lnTo>
                <a:lnTo>
                  <a:pt x="126" y="2"/>
                </a:lnTo>
                <a:lnTo>
                  <a:pt x="121" y="2"/>
                </a:lnTo>
                <a:lnTo>
                  <a:pt x="120" y="4"/>
                </a:lnTo>
                <a:lnTo>
                  <a:pt x="117" y="5"/>
                </a:lnTo>
                <a:lnTo>
                  <a:pt x="116" y="6"/>
                </a:lnTo>
                <a:lnTo>
                  <a:pt x="115" y="9"/>
                </a:lnTo>
                <a:lnTo>
                  <a:pt x="114" y="9"/>
                </a:lnTo>
                <a:lnTo>
                  <a:pt x="112" y="10"/>
                </a:lnTo>
                <a:lnTo>
                  <a:pt x="110" y="9"/>
                </a:lnTo>
                <a:lnTo>
                  <a:pt x="109" y="10"/>
                </a:lnTo>
                <a:lnTo>
                  <a:pt x="108" y="10"/>
                </a:lnTo>
                <a:lnTo>
                  <a:pt x="100" y="16"/>
                </a:lnTo>
                <a:lnTo>
                  <a:pt x="99" y="19"/>
                </a:lnTo>
                <a:lnTo>
                  <a:pt x="100" y="19"/>
                </a:lnTo>
                <a:lnTo>
                  <a:pt x="100" y="20"/>
                </a:lnTo>
                <a:lnTo>
                  <a:pt x="100" y="22"/>
                </a:lnTo>
                <a:lnTo>
                  <a:pt x="99" y="23"/>
                </a:lnTo>
                <a:lnTo>
                  <a:pt x="98" y="22"/>
                </a:lnTo>
                <a:lnTo>
                  <a:pt x="97" y="21"/>
                </a:lnTo>
                <a:lnTo>
                  <a:pt x="91" y="22"/>
                </a:lnTo>
                <a:lnTo>
                  <a:pt x="91" y="22"/>
                </a:lnTo>
                <a:lnTo>
                  <a:pt x="90" y="24"/>
                </a:lnTo>
                <a:lnTo>
                  <a:pt x="89" y="24"/>
                </a:lnTo>
                <a:lnTo>
                  <a:pt x="88" y="24"/>
                </a:lnTo>
                <a:lnTo>
                  <a:pt x="86" y="23"/>
                </a:lnTo>
                <a:lnTo>
                  <a:pt x="85" y="24"/>
                </a:lnTo>
                <a:lnTo>
                  <a:pt x="85" y="25"/>
                </a:lnTo>
                <a:lnTo>
                  <a:pt x="84" y="26"/>
                </a:lnTo>
                <a:lnTo>
                  <a:pt x="83" y="26"/>
                </a:lnTo>
                <a:lnTo>
                  <a:pt x="81" y="25"/>
                </a:lnTo>
                <a:lnTo>
                  <a:pt x="80" y="26"/>
                </a:lnTo>
                <a:lnTo>
                  <a:pt x="79" y="25"/>
                </a:lnTo>
                <a:lnTo>
                  <a:pt x="76" y="25"/>
                </a:lnTo>
                <a:lnTo>
                  <a:pt x="75" y="25"/>
                </a:lnTo>
                <a:lnTo>
                  <a:pt x="73" y="25"/>
                </a:lnTo>
                <a:lnTo>
                  <a:pt x="68" y="23"/>
                </a:lnTo>
                <a:lnTo>
                  <a:pt x="65" y="22"/>
                </a:lnTo>
                <a:lnTo>
                  <a:pt x="60" y="20"/>
                </a:lnTo>
                <a:lnTo>
                  <a:pt x="59" y="21"/>
                </a:lnTo>
                <a:lnTo>
                  <a:pt x="58" y="22"/>
                </a:lnTo>
                <a:lnTo>
                  <a:pt x="56" y="22"/>
                </a:lnTo>
                <a:lnTo>
                  <a:pt x="55" y="22"/>
                </a:lnTo>
                <a:lnTo>
                  <a:pt x="55" y="22"/>
                </a:lnTo>
                <a:lnTo>
                  <a:pt x="55" y="24"/>
                </a:lnTo>
                <a:lnTo>
                  <a:pt x="54" y="29"/>
                </a:lnTo>
                <a:lnTo>
                  <a:pt x="54" y="29"/>
                </a:lnTo>
                <a:lnTo>
                  <a:pt x="56" y="29"/>
                </a:lnTo>
                <a:lnTo>
                  <a:pt x="57" y="31"/>
                </a:lnTo>
                <a:lnTo>
                  <a:pt x="57" y="32"/>
                </a:lnTo>
                <a:lnTo>
                  <a:pt x="57" y="32"/>
                </a:lnTo>
                <a:lnTo>
                  <a:pt x="56" y="33"/>
                </a:lnTo>
                <a:lnTo>
                  <a:pt x="56" y="34"/>
                </a:lnTo>
                <a:lnTo>
                  <a:pt x="57" y="34"/>
                </a:lnTo>
                <a:lnTo>
                  <a:pt x="58" y="35"/>
                </a:lnTo>
                <a:lnTo>
                  <a:pt x="61" y="34"/>
                </a:lnTo>
                <a:lnTo>
                  <a:pt x="61" y="35"/>
                </a:lnTo>
                <a:lnTo>
                  <a:pt x="63" y="36"/>
                </a:lnTo>
                <a:lnTo>
                  <a:pt x="63" y="36"/>
                </a:lnTo>
                <a:lnTo>
                  <a:pt x="61" y="37"/>
                </a:lnTo>
                <a:lnTo>
                  <a:pt x="60" y="39"/>
                </a:lnTo>
                <a:lnTo>
                  <a:pt x="60" y="40"/>
                </a:lnTo>
                <a:lnTo>
                  <a:pt x="64" y="43"/>
                </a:lnTo>
                <a:lnTo>
                  <a:pt x="65" y="45"/>
                </a:lnTo>
                <a:lnTo>
                  <a:pt x="65" y="46"/>
                </a:lnTo>
                <a:lnTo>
                  <a:pt x="61" y="48"/>
                </a:lnTo>
                <a:lnTo>
                  <a:pt x="61" y="50"/>
                </a:lnTo>
                <a:lnTo>
                  <a:pt x="64" y="51"/>
                </a:lnTo>
                <a:lnTo>
                  <a:pt x="66" y="53"/>
                </a:lnTo>
                <a:lnTo>
                  <a:pt x="68" y="55"/>
                </a:lnTo>
                <a:lnTo>
                  <a:pt x="69" y="57"/>
                </a:lnTo>
                <a:lnTo>
                  <a:pt x="71" y="57"/>
                </a:lnTo>
                <a:lnTo>
                  <a:pt x="71" y="58"/>
                </a:lnTo>
                <a:lnTo>
                  <a:pt x="74" y="57"/>
                </a:lnTo>
                <a:lnTo>
                  <a:pt x="75" y="58"/>
                </a:lnTo>
                <a:lnTo>
                  <a:pt x="75" y="60"/>
                </a:lnTo>
                <a:lnTo>
                  <a:pt x="75" y="61"/>
                </a:lnTo>
                <a:lnTo>
                  <a:pt x="77" y="63"/>
                </a:lnTo>
                <a:lnTo>
                  <a:pt x="77" y="64"/>
                </a:lnTo>
                <a:lnTo>
                  <a:pt x="83" y="64"/>
                </a:lnTo>
                <a:lnTo>
                  <a:pt x="84" y="65"/>
                </a:lnTo>
                <a:lnTo>
                  <a:pt x="85" y="65"/>
                </a:lnTo>
                <a:lnTo>
                  <a:pt x="87" y="67"/>
                </a:lnTo>
                <a:lnTo>
                  <a:pt x="87" y="68"/>
                </a:lnTo>
                <a:lnTo>
                  <a:pt x="88" y="70"/>
                </a:lnTo>
                <a:lnTo>
                  <a:pt x="87" y="71"/>
                </a:lnTo>
                <a:lnTo>
                  <a:pt x="87" y="72"/>
                </a:lnTo>
                <a:lnTo>
                  <a:pt x="85" y="72"/>
                </a:lnTo>
                <a:lnTo>
                  <a:pt x="84" y="72"/>
                </a:lnTo>
                <a:lnTo>
                  <a:pt x="83" y="72"/>
                </a:lnTo>
                <a:lnTo>
                  <a:pt x="81" y="72"/>
                </a:lnTo>
                <a:lnTo>
                  <a:pt x="80" y="73"/>
                </a:lnTo>
                <a:lnTo>
                  <a:pt x="78" y="74"/>
                </a:lnTo>
                <a:lnTo>
                  <a:pt x="77" y="76"/>
                </a:lnTo>
                <a:lnTo>
                  <a:pt x="78" y="80"/>
                </a:lnTo>
                <a:lnTo>
                  <a:pt x="79" y="81"/>
                </a:lnTo>
                <a:lnTo>
                  <a:pt x="79" y="83"/>
                </a:lnTo>
                <a:lnTo>
                  <a:pt x="80" y="83"/>
                </a:lnTo>
                <a:lnTo>
                  <a:pt x="81" y="83"/>
                </a:lnTo>
                <a:lnTo>
                  <a:pt x="80" y="84"/>
                </a:lnTo>
                <a:lnTo>
                  <a:pt x="79" y="85"/>
                </a:lnTo>
                <a:lnTo>
                  <a:pt x="79" y="87"/>
                </a:lnTo>
                <a:lnTo>
                  <a:pt x="80" y="88"/>
                </a:lnTo>
                <a:lnTo>
                  <a:pt x="80" y="88"/>
                </a:lnTo>
                <a:lnTo>
                  <a:pt x="84" y="88"/>
                </a:lnTo>
                <a:lnTo>
                  <a:pt x="84" y="91"/>
                </a:lnTo>
                <a:lnTo>
                  <a:pt x="84" y="91"/>
                </a:lnTo>
                <a:lnTo>
                  <a:pt x="83" y="91"/>
                </a:lnTo>
                <a:lnTo>
                  <a:pt x="81" y="91"/>
                </a:lnTo>
                <a:lnTo>
                  <a:pt x="80" y="91"/>
                </a:lnTo>
                <a:lnTo>
                  <a:pt x="80" y="92"/>
                </a:lnTo>
                <a:lnTo>
                  <a:pt x="77" y="94"/>
                </a:lnTo>
                <a:lnTo>
                  <a:pt x="75" y="98"/>
                </a:lnTo>
                <a:lnTo>
                  <a:pt x="74" y="98"/>
                </a:lnTo>
                <a:lnTo>
                  <a:pt x="73" y="101"/>
                </a:lnTo>
                <a:lnTo>
                  <a:pt x="71" y="102"/>
                </a:lnTo>
                <a:lnTo>
                  <a:pt x="71" y="104"/>
                </a:lnTo>
                <a:lnTo>
                  <a:pt x="73" y="106"/>
                </a:lnTo>
                <a:lnTo>
                  <a:pt x="71" y="108"/>
                </a:lnTo>
                <a:lnTo>
                  <a:pt x="70" y="110"/>
                </a:lnTo>
                <a:lnTo>
                  <a:pt x="68" y="110"/>
                </a:lnTo>
                <a:lnTo>
                  <a:pt x="66" y="112"/>
                </a:lnTo>
                <a:lnTo>
                  <a:pt x="65" y="114"/>
                </a:lnTo>
                <a:lnTo>
                  <a:pt x="65" y="117"/>
                </a:lnTo>
                <a:lnTo>
                  <a:pt x="64" y="120"/>
                </a:lnTo>
                <a:lnTo>
                  <a:pt x="60" y="126"/>
                </a:lnTo>
                <a:lnTo>
                  <a:pt x="59" y="128"/>
                </a:lnTo>
                <a:lnTo>
                  <a:pt x="56" y="131"/>
                </a:lnTo>
                <a:lnTo>
                  <a:pt x="54" y="133"/>
                </a:lnTo>
                <a:lnTo>
                  <a:pt x="53" y="135"/>
                </a:lnTo>
                <a:lnTo>
                  <a:pt x="51" y="140"/>
                </a:lnTo>
                <a:lnTo>
                  <a:pt x="49" y="143"/>
                </a:lnTo>
                <a:lnTo>
                  <a:pt x="48" y="146"/>
                </a:lnTo>
                <a:lnTo>
                  <a:pt x="47" y="147"/>
                </a:lnTo>
                <a:lnTo>
                  <a:pt x="46" y="147"/>
                </a:lnTo>
                <a:lnTo>
                  <a:pt x="39" y="147"/>
                </a:lnTo>
                <a:lnTo>
                  <a:pt x="38" y="148"/>
                </a:lnTo>
                <a:lnTo>
                  <a:pt x="36" y="150"/>
                </a:lnTo>
                <a:lnTo>
                  <a:pt x="35" y="151"/>
                </a:lnTo>
                <a:lnTo>
                  <a:pt x="34" y="151"/>
                </a:lnTo>
                <a:lnTo>
                  <a:pt x="33" y="151"/>
                </a:lnTo>
                <a:lnTo>
                  <a:pt x="33" y="150"/>
                </a:lnTo>
                <a:lnTo>
                  <a:pt x="29" y="145"/>
                </a:lnTo>
                <a:lnTo>
                  <a:pt x="28" y="145"/>
                </a:lnTo>
                <a:lnTo>
                  <a:pt x="27" y="145"/>
                </a:lnTo>
                <a:lnTo>
                  <a:pt x="25" y="147"/>
                </a:lnTo>
                <a:lnTo>
                  <a:pt x="24" y="150"/>
                </a:lnTo>
                <a:lnTo>
                  <a:pt x="22" y="152"/>
                </a:lnTo>
                <a:lnTo>
                  <a:pt x="18" y="157"/>
                </a:lnTo>
                <a:lnTo>
                  <a:pt x="16" y="159"/>
                </a:lnTo>
                <a:lnTo>
                  <a:pt x="16" y="162"/>
                </a:lnTo>
                <a:lnTo>
                  <a:pt x="16" y="167"/>
                </a:lnTo>
                <a:lnTo>
                  <a:pt x="16" y="168"/>
                </a:lnTo>
                <a:lnTo>
                  <a:pt x="17" y="169"/>
                </a:lnTo>
                <a:lnTo>
                  <a:pt x="19" y="171"/>
                </a:lnTo>
                <a:lnTo>
                  <a:pt x="20" y="171"/>
                </a:lnTo>
                <a:lnTo>
                  <a:pt x="23" y="172"/>
                </a:lnTo>
                <a:lnTo>
                  <a:pt x="26" y="172"/>
                </a:lnTo>
                <a:lnTo>
                  <a:pt x="26" y="172"/>
                </a:lnTo>
                <a:lnTo>
                  <a:pt x="28" y="173"/>
                </a:lnTo>
                <a:lnTo>
                  <a:pt x="28" y="174"/>
                </a:lnTo>
                <a:lnTo>
                  <a:pt x="28" y="175"/>
                </a:lnTo>
                <a:lnTo>
                  <a:pt x="27" y="182"/>
                </a:lnTo>
                <a:lnTo>
                  <a:pt x="27" y="183"/>
                </a:lnTo>
                <a:lnTo>
                  <a:pt x="28" y="184"/>
                </a:lnTo>
                <a:lnTo>
                  <a:pt x="31" y="187"/>
                </a:lnTo>
                <a:lnTo>
                  <a:pt x="33" y="187"/>
                </a:lnTo>
                <a:lnTo>
                  <a:pt x="35" y="187"/>
                </a:lnTo>
                <a:lnTo>
                  <a:pt x="36" y="187"/>
                </a:lnTo>
                <a:lnTo>
                  <a:pt x="37" y="188"/>
                </a:lnTo>
                <a:lnTo>
                  <a:pt x="37" y="192"/>
                </a:lnTo>
                <a:lnTo>
                  <a:pt x="38" y="194"/>
                </a:lnTo>
                <a:lnTo>
                  <a:pt x="39" y="196"/>
                </a:lnTo>
                <a:lnTo>
                  <a:pt x="40" y="198"/>
                </a:lnTo>
                <a:lnTo>
                  <a:pt x="43" y="201"/>
                </a:lnTo>
                <a:lnTo>
                  <a:pt x="44" y="202"/>
                </a:lnTo>
                <a:lnTo>
                  <a:pt x="44" y="203"/>
                </a:lnTo>
                <a:lnTo>
                  <a:pt x="45" y="204"/>
                </a:lnTo>
                <a:lnTo>
                  <a:pt x="46" y="205"/>
                </a:lnTo>
                <a:lnTo>
                  <a:pt x="45" y="205"/>
                </a:lnTo>
                <a:lnTo>
                  <a:pt x="45" y="206"/>
                </a:lnTo>
                <a:lnTo>
                  <a:pt x="45" y="209"/>
                </a:lnTo>
                <a:lnTo>
                  <a:pt x="45" y="211"/>
                </a:lnTo>
                <a:lnTo>
                  <a:pt x="47" y="211"/>
                </a:lnTo>
                <a:lnTo>
                  <a:pt x="47" y="212"/>
                </a:lnTo>
                <a:lnTo>
                  <a:pt x="45" y="212"/>
                </a:lnTo>
                <a:lnTo>
                  <a:pt x="44" y="213"/>
                </a:lnTo>
                <a:lnTo>
                  <a:pt x="44" y="213"/>
                </a:lnTo>
                <a:lnTo>
                  <a:pt x="43" y="214"/>
                </a:lnTo>
                <a:lnTo>
                  <a:pt x="41" y="214"/>
                </a:lnTo>
                <a:lnTo>
                  <a:pt x="40" y="214"/>
                </a:lnTo>
                <a:lnTo>
                  <a:pt x="39" y="213"/>
                </a:lnTo>
                <a:lnTo>
                  <a:pt x="39" y="213"/>
                </a:lnTo>
                <a:lnTo>
                  <a:pt x="39" y="211"/>
                </a:lnTo>
                <a:lnTo>
                  <a:pt x="39" y="211"/>
                </a:lnTo>
                <a:lnTo>
                  <a:pt x="37" y="209"/>
                </a:lnTo>
                <a:lnTo>
                  <a:pt x="36" y="211"/>
                </a:lnTo>
                <a:lnTo>
                  <a:pt x="33" y="212"/>
                </a:lnTo>
                <a:lnTo>
                  <a:pt x="31" y="214"/>
                </a:lnTo>
                <a:lnTo>
                  <a:pt x="31" y="215"/>
                </a:lnTo>
                <a:lnTo>
                  <a:pt x="30" y="215"/>
                </a:lnTo>
                <a:lnTo>
                  <a:pt x="26" y="215"/>
                </a:lnTo>
                <a:lnTo>
                  <a:pt x="24" y="213"/>
                </a:lnTo>
                <a:lnTo>
                  <a:pt x="22" y="213"/>
                </a:lnTo>
                <a:lnTo>
                  <a:pt x="20" y="213"/>
                </a:lnTo>
                <a:lnTo>
                  <a:pt x="17" y="213"/>
                </a:lnTo>
                <a:lnTo>
                  <a:pt x="16" y="213"/>
                </a:lnTo>
                <a:lnTo>
                  <a:pt x="15" y="213"/>
                </a:lnTo>
                <a:lnTo>
                  <a:pt x="14" y="213"/>
                </a:lnTo>
                <a:lnTo>
                  <a:pt x="13" y="213"/>
                </a:lnTo>
                <a:lnTo>
                  <a:pt x="13" y="213"/>
                </a:lnTo>
                <a:lnTo>
                  <a:pt x="12" y="212"/>
                </a:lnTo>
                <a:lnTo>
                  <a:pt x="12" y="212"/>
                </a:lnTo>
                <a:lnTo>
                  <a:pt x="10" y="213"/>
                </a:lnTo>
                <a:lnTo>
                  <a:pt x="12" y="218"/>
                </a:lnTo>
                <a:lnTo>
                  <a:pt x="6" y="218"/>
                </a:lnTo>
                <a:lnTo>
                  <a:pt x="5" y="218"/>
                </a:lnTo>
                <a:lnTo>
                  <a:pt x="4" y="218"/>
                </a:lnTo>
                <a:lnTo>
                  <a:pt x="3" y="219"/>
                </a:lnTo>
                <a:lnTo>
                  <a:pt x="3" y="219"/>
                </a:lnTo>
                <a:lnTo>
                  <a:pt x="3" y="222"/>
                </a:lnTo>
                <a:lnTo>
                  <a:pt x="0" y="222"/>
                </a:lnTo>
                <a:lnTo>
                  <a:pt x="2" y="223"/>
                </a:lnTo>
                <a:lnTo>
                  <a:pt x="2" y="225"/>
                </a:lnTo>
                <a:lnTo>
                  <a:pt x="4" y="226"/>
                </a:lnTo>
                <a:lnTo>
                  <a:pt x="5" y="228"/>
                </a:lnTo>
                <a:lnTo>
                  <a:pt x="10" y="234"/>
                </a:lnTo>
                <a:lnTo>
                  <a:pt x="13" y="237"/>
                </a:lnTo>
                <a:lnTo>
                  <a:pt x="16" y="238"/>
                </a:lnTo>
                <a:lnTo>
                  <a:pt x="22" y="239"/>
                </a:lnTo>
                <a:lnTo>
                  <a:pt x="28" y="238"/>
                </a:lnTo>
                <a:lnTo>
                  <a:pt x="33" y="237"/>
                </a:lnTo>
                <a:lnTo>
                  <a:pt x="35" y="236"/>
                </a:lnTo>
                <a:lnTo>
                  <a:pt x="36" y="234"/>
                </a:lnTo>
                <a:lnTo>
                  <a:pt x="37" y="234"/>
                </a:lnTo>
                <a:lnTo>
                  <a:pt x="38" y="235"/>
                </a:lnTo>
                <a:lnTo>
                  <a:pt x="36" y="242"/>
                </a:lnTo>
                <a:lnTo>
                  <a:pt x="34" y="244"/>
                </a:lnTo>
                <a:lnTo>
                  <a:pt x="31" y="246"/>
                </a:lnTo>
                <a:lnTo>
                  <a:pt x="28" y="247"/>
                </a:lnTo>
                <a:lnTo>
                  <a:pt x="24" y="247"/>
                </a:lnTo>
                <a:lnTo>
                  <a:pt x="20" y="248"/>
                </a:lnTo>
                <a:lnTo>
                  <a:pt x="18" y="246"/>
                </a:lnTo>
                <a:lnTo>
                  <a:pt x="17" y="248"/>
                </a:lnTo>
                <a:lnTo>
                  <a:pt x="18" y="253"/>
                </a:lnTo>
                <a:lnTo>
                  <a:pt x="31" y="265"/>
                </a:lnTo>
                <a:lnTo>
                  <a:pt x="36" y="269"/>
                </a:lnTo>
                <a:lnTo>
                  <a:pt x="43" y="276"/>
                </a:lnTo>
                <a:lnTo>
                  <a:pt x="44" y="276"/>
                </a:lnTo>
                <a:lnTo>
                  <a:pt x="51" y="276"/>
                </a:lnTo>
                <a:lnTo>
                  <a:pt x="55" y="276"/>
                </a:lnTo>
                <a:lnTo>
                  <a:pt x="56" y="275"/>
                </a:lnTo>
                <a:lnTo>
                  <a:pt x="59" y="273"/>
                </a:lnTo>
                <a:lnTo>
                  <a:pt x="60" y="273"/>
                </a:lnTo>
                <a:lnTo>
                  <a:pt x="65" y="269"/>
                </a:lnTo>
                <a:lnTo>
                  <a:pt x="67" y="267"/>
                </a:lnTo>
                <a:lnTo>
                  <a:pt x="68" y="264"/>
                </a:lnTo>
                <a:lnTo>
                  <a:pt x="67" y="255"/>
                </a:lnTo>
                <a:lnTo>
                  <a:pt x="67" y="252"/>
                </a:lnTo>
                <a:lnTo>
                  <a:pt x="67" y="247"/>
                </a:lnTo>
                <a:lnTo>
                  <a:pt x="68" y="248"/>
                </a:lnTo>
                <a:lnTo>
                  <a:pt x="69" y="248"/>
                </a:lnTo>
                <a:lnTo>
                  <a:pt x="78" y="248"/>
                </a:lnTo>
                <a:lnTo>
                  <a:pt x="78" y="249"/>
                </a:lnTo>
                <a:lnTo>
                  <a:pt x="77" y="252"/>
                </a:lnTo>
                <a:lnTo>
                  <a:pt x="74" y="252"/>
                </a:lnTo>
                <a:lnTo>
                  <a:pt x="73" y="255"/>
                </a:lnTo>
                <a:lnTo>
                  <a:pt x="74" y="256"/>
                </a:lnTo>
                <a:lnTo>
                  <a:pt x="74" y="259"/>
                </a:lnTo>
                <a:lnTo>
                  <a:pt x="75" y="260"/>
                </a:lnTo>
                <a:lnTo>
                  <a:pt x="76" y="260"/>
                </a:lnTo>
                <a:lnTo>
                  <a:pt x="75" y="265"/>
                </a:lnTo>
                <a:lnTo>
                  <a:pt x="75" y="268"/>
                </a:lnTo>
                <a:lnTo>
                  <a:pt x="76" y="269"/>
                </a:lnTo>
                <a:lnTo>
                  <a:pt x="77" y="269"/>
                </a:lnTo>
                <a:lnTo>
                  <a:pt x="77" y="270"/>
                </a:lnTo>
                <a:lnTo>
                  <a:pt x="77" y="273"/>
                </a:lnTo>
                <a:lnTo>
                  <a:pt x="80" y="277"/>
                </a:lnTo>
                <a:lnTo>
                  <a:pt x="80" y="282"/>
                </a:lnTo>
                <a:lnTo>
                  <a:pt x="81" y="284"/>
                </a:lnTo>
                <a:lnTo>
                  <a:pt x="80" y="289"/>
                </a:lnTo>
                <a:lnTo>
                  <a:pt x="79" y="293"/>
                </a:lnTo>
                <a:lnTo>
                  <a:pt x="80" y="296"/>
                </a:lnTo>
                <a:lnTo>
                  <a:pt x="81" y="302"/>
                </a:lnTo>
                <a:lnTo>
                  <a:pt x="83" y="303"/>
                </a:lnTo>
                <a:lnTo>
                  <a:pt x="83" y="308"/>
                </a:lnTo>
                <a:lnTo>
                  <a:pt x="84" y="307"/>
                </a:lnTo>
                <a:lnTo>
                  <a:pt x="85" y="306"/>
                </a:lnTo>
                <a:lnTo>
                  <a:pt x="86" y="307"/>
                </a:lnTo>
                <a:lnTo>
                  <a:pt x="86" y="309"/>
                </a:lnTo>
                <a:lnTo>
                  <a:pt x="86" y="310"/>
                </a:lnTo>
                <a:lnTo>
                  <a:pt x="86" y="312"/>
                </a:lnTo>
                <a:lnTo>
                  <a:pt x="85" y="314"/>
                </a:lnTo>
                <a:lnTo>
                  <a:pt x="86" y="319"/>
                </a:lnTo>
                <a:lnTo>
                  <a:pt x="87" y="323"/>
                </a:lnTo>
                <a:lnTo>
                  <a:pt x="87" y="324"/>
                </a:lnTo>
                <a:lnTo>
                  <a:pt x="88" y="329"/>
                </a:lnTo>
                <a:lnTo>
                  <a:pt x="88" y="329"/>
                </a:lnTo>
                <a:lnTo>
                  <a:pt x="91" y="337"/>
                </a:lnTo>
                <a:lnTo>
                  <a:pt x="93" y="339"/>
                </a:lnTo>
                <a:lnTo>
                  <a:pt x="93" y="343"/>
                </a:lnTo>
                <a:lnTo>
                  <a:pt x="94" y="345"/>
                </a:lnTo>
                <a:lnTo>
                  <a:pt x="96" y="354"/>
                </a:lnTo>
                <a:lnTo>
                  <a:pt x="97" y="357"/>
                </a:lnTo>
                <a:lnTo>
                  <a:pt x="98" y="360"/>
                </a:lnTo>
                <a:lnTo>
                  <a:pt x="99" y="361"/>
                </a:lnTo>
                <a:lnTo>
                  <a:pt x="100" y="365"/>
                </a:lnTo>
                <a:lnTo>
                  <a:pt x="104" y="368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21" name="Freeform 220"/>
          <p:cNvSpPr>
            <a:spLocks/>
          </p:cNvSpPr>
          <p:nvPr/>
        </p:nvSpPr>
        <p:spPr bwMode="auto">
          <a:xfrm>
            <a:off x="6891338" y="2909853"/>
            <a:ext cx="222250" cy="420688"/>
          </a:xfrm>
          <a:custGeom>
            <a:avLst/>
            <a:gdLst>
              <a:gd name="T0" fmla="*/ 98 w 140"/>
              <a:gd name="T1" fmla="*/ 241 h 265"/>
              <a:gd name="T2" fmla="*/ 103 w 140"/>
              <a:gd name="T3" fmla="*/ 238 h 265"/>
              <a:gd name="T4" fmla="*/ 107 w 140"/>
              <a:gd name="T5" fmla="*/ 231 h 265"/>
              <a:gd name="T6" fmla="*/ 123 w 140"/>
              <a:gd name="T7" fmla="*/ 226 h 265"/>
              <a:gd name="T8" fmla="*/ 137 w 140"/>
              <a:gd name="T9" fmla="*/ 215 h 265"/>
              <a:gd name="T10" fmla="*/ 139 w 140"/>
              <a:gd name="T11" fmla="*/ 206 h 265"/>
              <a:gd name="T12" fmla="*/ 139 w 140"/>
              <a:gd name="T13" fmla="*/ 203 h 265"/>
              <a:gd name="T14" fmla="*/ 138 w 140"/>
              <a:gd name="T15" fmla="*/ 192 h 265"/>
              <a:gd name="T16" fmla="*/ 139 w 140"/>
              <a:gd name="T17" fmla="*/ 187 h 265"/>
              <a:gd name="T18" fmla="*/ 137 w 140"/>
              <a:gd name="T19" fmla="*/ 175 h 265"/>
              <a:gd name="T20" fmla="*/ 133 w 140"/>
              <a:gd name="T21" fmla="*/ 160 h 265"/>
              <a:gd name="T22" fmla="*/ 115 w 140"/>
              <a:gd name="T23" fmla="*/ 127 h 265"/>
              <a:gd name="T24" fmla="*/ 111 w 140"/>
              <a:gd name="T25" fmla="*/ 125 h 265"/>
              <a:gd name="T26" fmla="*/ 98 w 140"/>
              <a:gd name="T27" fmla="*/ 116 h 265"/>
              <a:gd name="T28" fmla="*/ 89 w 140"/>
              <a:gd name="T29" fmla="*/ 107 h 265"/>
              <a:gd name="T30" fmla="*/ 79 w 140"/>
              <a:gd name="T31" fmla="*/ 92 h 265"/>
              <a:gd name="T32" fmla="*/ 66 w 140"/>
              <a:gd name="T33" fmla="*/ 75 h 265"/>
              <a:gd name="T34" fmla="*/ 76 w 140"/>
              <a:gd name="T35" fmla="*/ 52 h 265"/>
              <a:gd name="T36" fmla="*/ 79 w 140"/>
              <a:gd name="T37" fmla="*/ 42 h 265"/>
              <a:gd name="T38" fmla="*/ 91 w 140"/>
              <a:gd name="T39" fmla="*/ 32 h 265"/>
              <a:gd name="T40" fmla="*/ 93 w 140"/>
              <a:gd name="T41" fmla="*/ 30 h 265"/>
              <a:gd name="T42" fmla="*/ 76 w 140"/>
              <a:gd name="T43" fmla="*/ 23 h 265"/>
              <a:gd name="T44" fmla="*/ 69 w 140"/>
              <a:gd name="T45" fmla="*/ 8 h 265"/>
              <a:gd name="T46" fmla="*/ 52 w 140"/>
              <a:gd name="T47" fmla="*/ 1 h 265"/>
              <a:gd name="T48" fmla="*/ 40 w 140"/>
              <a:gd name="T49" fmla="*/ 5 h 265"/>
              <a:gd name="T50" fmla="*/ 30 w 140"/>
              <a:gd name="T51" fmla="*/ 10 h 265"/>
              <a:gd name="T52" fmla="*/ 20 w 140"/>
              <a:gd name="T53" fmla="*/ 9 h 265"/>
              <a:gd name="T54" fmla="*/ 10 w 140"/>
              <a:gd name="T55" fmla="*/ 10 h 265"/>
              <a:gd name="T56" fmla="*/ 4 w 140"/>
              <a:gd name="T57" fmla="*/ 11 h 265"/>
              <a:gd name="T58" fmla="*/ 5 w 140"/>
              <a:gd name="T59" fmla="*/ 18 h 265"/>
              <a:gd name="T60" fmla="*/ 16 w 140"/>
              <a:gd name="T61" fmla="*/ 34 h 265"/>
              <a:gd name="T62" fmla="*/ 33 w 140"/>
              <a:gd name="T63" fmla="*/ 41 h 265"/>
              <a:gd name="T64" fmla="*/ 44 w 140"/>
              <a:gd name="T65" fmla="*/ 50 h 265"/>
              <a:gd name="T66" fmla="*/ 50 w 140"/>
              <a:gd name="T67" fmla="*/ 59 h 265"/>
              <a:gd name="T68" fmla="*/ 39 w 140"/>
              <a:gd name="T69" fmla="*/ 63 h 265"/>
              <a:gd name="T70" fmla="*/ 40 w 140"/>
              <a:gd name="T71" fmla="*/ 71 h 265"/>
              <a:gd name="T72" fmla="*/ 60 w 140"/>
              <a:gd name="T73" fmla="*/ 86 h 265"/>
              <a:gd name="T74" fmla="*/ 77 w 140"/>
              <a:gd name="T75" fmla="*/ 103 h 265"/>
              <a:gd name="T76" fmla="*/ 85 w 140"/>
              <a:gd name="T77" fmla="*/ 115 h 265"/>
              <a:gd name="T78" fmla="*/ 95 w 140"/>
              <a:gd name="T79" fmla="*/ 123 h 265"/>
              <a:gd name="T80" fmla="*/ 105 w 140"/>
              <a:gd name="T81" fmla="*/ 143 h 265"/>
              <a:gd name="T82" fmla="*/ 110 w 140"/>
              <a:gd name="T83" fmla="*/ 175 h 265"/>
              <a:gd name="T84" fmla="*/ 108 w 140"/>
              <a:gd name="T85" fmla="*/ 197 h 265"/>
              <a:gd name="T86" fmla="*/ 96 w 140"/>
              <a:gd name="T87" fmla="*/ 204 h 265"/>
              <a:gd name="T88" fmla="*/ 87 w 140"/>
              <a:gd name="T89" fmla="*/ 214 h 265"/>
              <a:gd name="T90" fmla="*/ 85 w 140"/>
              <a:gd name="T91" fmla="*/ 221 h 265"/>
              <a:gd name="T92" fmla="*/ 75 w 140"/>
              <a:gd name="T93" fmla="*/ 224 h 265"/>
              <a:gd name="T94" fmla="*/ 68 w 140"/>
              <a:gd name="T95" fmla="*/ 231 h 265"/>
              <a:gd name="T96" fmla="*/ 76 w 140"/>
              <a:gd name="T97" fmla="*/ 238 h 265"/>
              <a:gd name="T98" fmla="*/ 74 w 140"/>
              <a:gd name="T99" fmla="*/ 254 h 265"/>
              <a:gd name="T100" fmla="*/ 76 w 140"/>
              <a:gd name="T101" fmla="*/ 265 h 265"/>
              <a:gd name="T102" fmla="*/ 87 w 140"/>
              <a:gd name="T103" fmla="*/ 254 h 265"/>
              <a:gd name="T104" fmla="*/ 97 w 140"/>
              <a:gd name="T105" fmla="*/ 246 h 2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40" h="265">
                <a:moveTo>
                  <a:pt x="97" y="246"/>
                </a:moveTo>
                <a:lnTo>
                  <a:pt x="99" y="247"/>
                </a:lnTo>
                <a:lnTo>
                  <a:pt x="100" y="244"/>
                </a:lnTo>
                <a:lnTo>
                  <a:pt x="98" y="241"/>
                </a:lnTo>
                <a:lnTo>
                  <a:pt x="99" y="239"/>
                </a:lnTo>
                <a:lnTo>
                  <a:pt x="101" y="239"/>
                </a:lnTo>
                <a:lnTo>
                  <a:pt x="101" y="237"/>
                </a:lnTo>
                <a:lnTo>
                  <a:pt x="103" y="238"/>
                </a:lnTo>
                <a:lnTo>
                  <a:pt x="101" y="235"/>
                </a:lnTo>
                <a:lnTo>
                  <a:pt x="103" y="234"/>
                </a:lnTo>
                <a:lnTo>
                  <a:pt x="104" y="232"/>
                </a:lnTo>
                <a:lnTo>
                  <a:pt x="107" y="231"/>
                </a:lnTo>
                <a:lnTo>
                  <a:pt x="109" y="232"/>
                </a:lnTo>
                <a:lnTo>
                  <a:pt x="111" y="232"/>
                </a:lnTo>
                <a:lnTo>
                  <a:pt x="118" y="227"/>
                </a:lnTo>
                <a:lnTo>
                  <a:pt x="123" y="226"/>
                </a:lnTo>
                <a:lnTo>
                  <a:pt x="124" y="222"/>
                </a:lnTo>
                <a:lnTo>
                  <a:pt x="133" y="217"/>
                </a:lnTo>
                <a:lnTo>
                  <a:pt x="135" y="215"/>
                </a:lnTo>
                <a:lnTo>
                  <a:pt x="137" y="215"/>
                </a:lnTo>
                <a:lnTo>
                  <a:pt x="137" y="213"/>
                </a:lnTo>
                <a:lnTo>
                  <a:pt x="138" y="211"/>
                </a:lnTo>
                <a:lnTo>
                  <a:pt x="139" y="208"/>
                </a:lnTo>
                <a:lnTo>
                  <a:pt x="139" y="206"/>
                </a:lnTo>
                <a:lnTo>
                  <a:pt x="138" y="205"/>
                </a:lnTo>
                <a:lnTo>
                  <a:pt x="138" y="204"/>
                </a:lnTo>
                <a:lnTo>
                  <a:pt x="139" y="204"/>
                </a:lnTo>
                <a:lnTo>
                  <a:pt x="139" y="203"/>
                </a:lnTo>
                <a:lnTo>
                  <a:pt x="137" y="195"/>
                </a:lnTo>
                <a:lnTo>
                  <a:pt x="137" y="194"/>
                </a:lnTo>
                <a:lnTo>
                  <a:pt x="138" y="195"/>
                </a:lnTo>
                <a:lnTo>
                  <a:pt x="138" y="192"/>
                </a:lnTo>
                <a:lnTo>
                  <a:pt x="139" y="190"/>
                </a:lnTo>
                <a:lnTo>
                  <a:pt x="140" y="191"/>
                </a:lnTo>
                <a:lnTo>
                  <a:pt x="140" y="192"/>
                </a:lnTo>
                <a:lnTo>
                  <a:pt x="139" y="187"/>
                </a:lnTo>
                <a:lnTo>
                  <a:pt x="139" y="185"/>
                </a:lnTo>
                <a:lnTo>
                  <a:pt x="138" y="184"/>
                </a:lnTo>
                <a:lnTo>
                  <a:pt x="137" y="178"/>
                </a:lnTo>
                <a:lnTo>
                  <a:pt x="137" y="175"/>
                </a:lnTo>
                <a:lnTo>
                  <a:pt x="136" y="173"/>
                </a:lnTo>
                <a:lnTo>
                  <a:pt x="136" y="170"/>
                </a:lnTo>
                <a:lnTo>
                  <a:pt x="135" y="168"/>
                </a:lnTo>
                <a:lnTo>
                  <a:pt x="133" y="160"/>
                </a:lnTo>
                <a:lnTo>
                  <a:pt x="126" y="143"/>
                </a:lnTo>
                <a:lnTo>
                  <a:pt x="118" y="135"/>
                </a:lnTo>
                <a:lnTo>
                  <a:pt x="116" y="132"/>
                </a:lnTo>
                <a:lnTo>
                  <a:pt x="115" y="127"/>
                </a:lnTo>
                <a:lnTo>
                  <a:pt x="115" y="128"/>
                </a:lnTo>
                <a:lnTo>
                  <a:pt x="114" y="130"/>
                </a:lnTo>
                <a:lnTo>
                  <a:pt x="113" y="127"/>
                </a:lnTo>
                <a:lnTo>
                  <a:pt x="111" y="125"/>
                </a:lnTo>
                <a:lnTo>
                  <a:pt x="106" y="124"/>
                </a:lnTo>
                <a:lnTo>
                  <a:pt x="104" y="121"/>
                </a:lnTo>
                <a:lnTo>
                  <a:pt x="100" y="117"/>
                </a:lnTo>
                <a:lnTo>
                  <a:pt x="98" y="116"/>
                </a:lnTo>
                <a:lnTo>
                  <a:pt x="95" y="113"/>
                </a:lnTo>
                <a:lnTo>
                  <a:pt x="94" y="112"/>
                </a:lnTo>
                <a:lnTo>
                  <a:pt x="93" y="109"/>
                </a:lnTo>
                <a:lnTo>
                  <a:pt x="89" y="107"/>
                </a:lnTo>
                <a:lnTo>
                  <a:pt x="86" y="103"/>
                </a:lnTo>
                <a:lnTo>
                  <a:pt x="83" y="101"/>
                </a:lnTo>
                <a:lnTo>
                  <a:pt x="81" y="96"/>
                </a:lnTo>
                <a:lnTo>
                  <a:pt x="79" y="92"/>
                </a:lnTo>
                <a:lnTo>
                  <a:pt x="76" y="90"/>
                </a:lnTo>
                <a:lnTo>
                  <a:pt x="69" y="83"/>
                </a:lnTo>
                <a:lnTo>
                  <a:pt x="67" y="80"/>
                </a:lnTo>
                <a:lnTo>
                  <a:pt x="66" y="75"/>
                </a:lnTo>
                <a:lnTo>
                  <a:pt x="67" y="72"/>
                </a:lnTo>
                <a:lnTo>
                  <a:pt x="67" y="69"/>
                </a:lnTo>
                <a:lnTo>
                  <a:pt x="69" y="60"/>
                </a:lnTo>
                <a:lnTo>
                  <a:pt x="76" y="52"/>
                </a:lnTo>
                <a:lnTo>
                  <a:pt x="76" y="51"/>
                </a:lnTo>
                <a:lnTo>
                  <a:pt x="77" y="46"/>
                </a:lnTo>
                <a:lnTo>
                  <a:pt x="78" y="44"/>
                </a:lnTo>
                <a:lnTo>
                  <a:pt x="79" y="42"/>
                </a:lnTo>
                <a:lnTo>
                  <a:pt x="85" y="40"/>
                </a:lnTo>
                <a:lnTo>
                  <a:pt x="87" y="37"/>
                </a:lnTo>
                <a:lnTo>
                  <a:pt x="87" y="35"/>
                </a:lnTo>
                <a:lnTo>
                  <a:pt x="91" y="32"/>
                </a:lnTo>
                <a:lnTo>
                  <a:pt x="95" y="33"/>
                </a:lnTo>
                <a:lnTo>
                  <a:pt x="95" y="32"/>
                </a:lnTo>
                <a:lnTo>
                  <a:pt x="95" y="31"/>
                </a:lnTo>
                <a:lnTo>
                  <a:pt x="93" y="30"/>
                </a:lnTo>
                <a:lnTo>
                  <a:pt x="88" y="30"/>
                </a:lnTo>
                <a:lnTo>
                  <a:pt x="85" y="29"/>
                </a:lnTo>
                <a:lnTo>
                  <a:pt x="83" y="27"/>
                </a:lnTo>
                <a:lnTo>
                  <a:pt x="76" y="23"/>
                </a:lnTo>
                <a:lnTo>
                  <a:pt x="73" y="20"/>
                </a:lnTo>
                <a:lnTo>
                  <a:pt x="70" y="15"/>
                </a:lnTo>
                <a:lnTo>
                  <a:pt x="71" y="10"/>
                </a:lnTo>
                <a:lnTo>
                  <a:pt x="69" y="8"/>
                </a:lnTo>
                <a:lnTo>
                  <a:pt x="64" y="6"/>
                </a:lnTo>
                <a:lnTo>
                  <a:pt x="60" y="5"/>
                </a:lnTo>
                <a:lnTo>
                  <a:pt x="56" y="4"/>
                </a:lnTo>
                <a:lnTo>
                  <a:pt x="52" y="1"/>
                </a:lnTo>
                <a:lnTo>
                  <a:pt x="47" y="0"/>
                </a:lnTo>
                <a:lnTo>
                  <a:pt x="45" y="0"/>
                </a:lnTo>
                <a:lnTo>
                  <a:pt x="43" y="3"/>
                </a:lnTo>
                <a:lnTo>
                  <a:pt x="40" y="5"/>
                </a:lnTo>
                <a:lnTo>
                  <a:pt x="36" y="8"/>
                </a:lnTo>
                <a:lnTo>
                  <a:pt x="35" y="8"/>
                </a:lnTo>
                <a:lnTo>
                  <a:pt x="32" y="8"/>
                </a:lnTo>
                <a:lnTo>
                  <a:pt x="30" y="10"/>
                </a:lnTo>
                <a:lnTo>
                  <a:pt x="27" y="11"/>
                </a:lnTo>
                <a:lnTo>
                  <a:pt x="26" y="9"/>
                </a:lnTo>
                <a:lnTo>
                  <a:pt x="23" y="10"/>
                </a:lnTo>
                <a:lnTo>
                  <a:pt x="20" y="9"/>
                </a:lnTo>
                <a:lnTo>
                  <a:pt x="18" y="9"/>
                </a:lnTo>
                <a:lnTo>
                  <a:pt x="15" y="12"/>
                </a:lnTo>
                <a:lnTo>
                  <a:pt x="13" y="12"/>
                </a:lnTo>
                <a:lnTo>
                  <a:pt x="10" y="10"/>
                </a:lnTo>
                <a:lnTo>
                  <a:pt x="7" y="9"/>
                </a:lnTo>
                <a:lnTo>
                  <a:pt x="6" y="8"/>
                </a:lnTo>
                <a:lnTo>
                  <a:pt x="5" y="9"/>
                </a:lnTo>
                <a:lnTo>
                  <a:pt x="4" y="11"/>
                </a:lnTo>
                <a:lnTo>
                  <a:pt x="3" y="13"/>
                </a:lnTo>
                <a:lnTo>
                  <a:pt x="3" y="14"/>
                </a:lnTo>
                <a:lnTo>
                  <a:pt x="0" y="13"/>
                </a:lnTo>
                <a:lnTo>
                  <a:pt x="5" y="18"/>
                </a:lnTo>
                <a:lnTo>
                  <a:pt x="10" y="24"/>
                </a:lnTo>
                <a:lnTo>
                  <a:pt x="14" y="26"/>
                </a:lnTo>
                <a:lnTo>
                  <a:pt x="16" y="30"/>
                </a:lnTo>
                <a:lnTo>
                  <a:pt x="16" y="34"/>
                </a:lnTo>
                <a:lnTo>
                  <a:pt x="17" y="36"/>
                </a:lnTo>
                <a:lnTo>
                  <a:pt x="22" y="41"/>
                </a:lnTo>
                <a:lnTo>
                  <a:pt x="27" y="42"/>
                </a:lnTo>
                <a:lnTo>
                  <a:pt x="33" y="41"/>
                </a:lnTo>
                <a:lnTo>
                  <a:pt x="37" y="41"/>
                </a:lnTo>
                <a:lnTo>
                  <a:pt x="42" y="44"/>
                </a:lnTo>
                <a:lnTo>
                  <a:pt x="43" y="47"/>
                </a:lnTo>
                <a:lnTo>
                  <a:pt x="44" y="50"/>
                </a:lnTo>
                <a:lnTo>
                  <a:pt x="46" y="51"/>
                </a:lnTo>
                <a:lnTo>
                  <a:pt x="48" y="54"/>
                </a:lnTo>
                <a:lnTo>
                  <a:pt x="49" y="56"/>
                </a:lnTo>
                <a:lnTo>
                  <a:pt x="50" y="59"/>
                </a:lnTo>
                <a:lnTo>
                  <a:pt x="46" y="63"/>
                </a:lnTo>
                <a:lnTo>
                  <a:pt x="45" y="64"/>
                </a:lnTo>
                <a:lnTo>
                  <a:pt x="42" y="63"/>
                </a:lnTo>
                <a:lnTo>
                  <a:pt x="39" y="63"/>
                </a:lnTo>
                <a:lnTo>
                  <a:pt x="38" y="65"/>
                </a:lnTo>
                <a:lnTo>
                  <a:pt x="38" y="69"/>
                </a:lnTo>
                <a:lnTo>
                  <a:pt x="39" y="70"/>
                </a:lnTo>
                <a:lnTo>
                  <a:pt x="40" y="71"/>
                </a:lnTo>
                <a:lnTo>
                  <a:pt x="44" y="73"/>
                </a:lnTo>
                <a:lnTo>
                  <a:pt x="49" y="76"/>
                </a:lnTo>
                <a:lnTo>
                  <a:pt x="58" y="82"/>
                </a:lnTo>
                <a:lnTo>
                  <a:pt x="60" y="86"/>
                </a:lnTo>
                <a:lnTo>
                  <a:pt x="67" y="93"/>
                </a:lnTo>
                <a:lnTo>
                  <a:pt x="69" y="96"/>
                </a:lnTo>
                <a:lnTo>
                  <a:pt x="75" y="102"/>
                </a:lnTo>
                <a:lnTo>
                  <a:pt x="77" y="103"/>
                </a:lnTo>
                <a:lnTo>
                  <a:pt x="81" y="106"/>
                </a:lnTo>
                <a:lnTo>
                  <a:pt x="84" y="111"/>
                </a:lnTo>
                <a:lnTo>
                  <a:pt x="86" y="115"/>
                </a:lnTo>
                <a:lnTo>
                  <a:pt x="85" y="115"/>
                </a:lnTo>
                <a:lnTo>
                  <a:pt x="86" y="116"/>
                </a:lnTo>
                <a:lnTo>
                  <a:pt x="87" y="120"/>
                </a:lnTo>
                <a:lnTo>
                  <a:pt x="90" y="120"/>
                </a:lnTo>
                <a:lnTo>
                  <a:pt x="95" y="123"/>
                </a:lnTo>
                <a:lnTo>
                  <a:pt x="97" y="126"/>
                </a:lnTo>
                <a:lnTo>
                  <a:pt x="99" y="132"/>
                </a:lnTo>
                <a:lnTo>
                  <a:pt x="104" y="141"/>
                </a:lnTo>
                <a:lnTo>
                  <a:pt x="105" y="143"/>
                </a:lnTo>
                <a:lnTo>
                  <a:pt x="106" y="154"/>
                </a:lnTo>
                <a:lnTo>
                  <a:pt x="107" y="165"/>
                </a:lnTo>
                <a:lnTo>
                  <a:pt x="108" y="171"/>
                </a:lnTo>
                <a:lnTo>
                  <a:pt x="110" y="175"/>
                </a:lnTo>
                <a:lnTo>
                  <a:pt x="113" y="192"/>
                </a:lnTo>
                <a:lnTo>
                  <a:pt x="111" y="195"/>
                </a:lnTo>
                <a:lnTo>
                  <a:pt x="110" y="198"/>
                </a:lnTo>
                <a:lnTo>
                  <a:pt x="108" y="197"/>
                </a:lnTo>
                <a:lnTo>
                  <a:pt x="105" y="201"/>
                </a:lnTo>
                <a:lnTo>
                  <a:pt x="104" y="202"/>
                </a:lnTo>
                <a:lnTo>
                  <a:pt x="100" y="202"/>
                </a:lnTo>
                <a:lnTo>
                  <a:pt x="96" y="204"/>
                </a:lnTo>
                <a:lnTo>
                  <a:pt x="96" y="207"/>
                </a:lnTo>
                <a:lnTo>
                  <a:pt x="90" y="208"/>
                </a:lnTo>
                <a:lnTo>
                  <a:pt x="88" y="208"/>
                </a:lnTo>
                <a:lnTo>
                  <a:pt x="87" y="214"/>
                </a:lnTo>
                <a:lnTo>
                  <a:pt x="88" y="216"/>
                </a:lnTo>
                <a:lnTo>
                  <a:pt x="88" y="220"/>
                </a:lnTo>
                <a:lnTo>
                  <a:pt x="87" y="220"/>
                </a:lnTo>
                <a:lnTo>
                  <a:pt x="85" y="221"/>
                </a:lnTo>
                <a:lnTo>
                  <a:pt x="81" y="223"/>
                </a:lnTo>
                <a:lnTo>
                  <a:pt x="78" y="224"/>
                </a:lnTo>
                <a:lnTo>
                  <a:pt x="76" y="224"/>
                </a:lnTo>
                <a:lnTo>
                  <a:pt x="75" y="224"/>
                </a:lnTo>
                <a:lnTo>
                  <a:pt x="74" y="226"/>
                </a:lnTo>
                <a:lnTo>
                  <a:pt x="73" y="228"/>
                </a:lnTo>
                <a:lnTo>
                  <a:pt x="71" y="230"/>
                </a:lnTo>
                <a:lnTo>
                  <a:pt x="68" y="231"/>
                </a:lnTo>
                <a:lnTo>
                  <a:pt x="67" y="231"/>
                </a:lnTo>
                <a:lnTo>
                  <a:pt x="69" y="235"/>
                </a:lnTo>
                <a:lnTo>
                  <a:pt x="75" y="237"/>
                </a:lnTo>
                <a:lnTo>
                  <a:pt x="76" y="238"/>
                </a:lnTo>
                <a:lnTo>
                  <a:pt x="76" y="242"/>
                </a:lnTo>
                <a:lnTo>
                  <a:pt x="74" y="245"/>
                </a:lnTo>
                <a:lnTo>
                  <a:pt x="74" y="251"/>
                </a:lnTo>
                <a:lnTo>
                  <a:pt x="74" y="254"/>
                </a:lnTo>
                <a:lnTo>
                  <a:pt x="75" y="258"/>
                </a:lnTo>
                <a:lnTo>
                  <a:pt x="77" y="262"/>
                </a:lnTo>
                <a:lnTo>
                  <a:pt x="75" y="264"/>
                </a:lnTo>
                <a:lnTo>
                  <a:pt x="76" y="265"/>
                </a:lnTo>
                <a:lnTo>
                  <a:pt x="78" y="265"/>
                </a:lnTo>
                <a:lnTo>
                  <a:pt x="83" y="262"/>
                </a:lnTo>
                <a:lnTo>
                  <a:pt x="85" y="257"/>
                </a:lnTo>
                <a:lnTo>
                  <a:pt x="87" y="254"/>
                </a:lnTo>
                <a:lnTo>
                  <a:pt x="94" y="251"/>
                </a:lnTo>
                <a:lnTo>
                  <a:pt x="95" y="249"/>
                </a:lnTo>
                <a:lnTo>
                  <a:pt x="94" y="247"/>
                </a:lnTo>
                <a:lnTo>
                  <a:pt x="97" y="246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22" name="Freeform 221"/>
          <p:cNvSpPr>
            <a:spLocks/>
          </p:cNvSpPr>
          <p:nvPr/>
        </p:nvSpPr>
        <p:spPr bwMode="auto">
          <a:xfrm>
            <a:off x="6891338" y="2909853"/>
            <a:ext cx="222250" cy="420688"/>
          </a:xfrm>
          <a:custGeom>
            <a:avLst/>
            <a:gdLst>
              <a:gd name="T0" fmla="*/ 98 w 140"/>
              <a:gd name="T1" fmla="*/ 241 h 265"/>
              <a:gd name="T2" fmla="*/ 103 w 140"/>
              <a:gd name="T3" fmla="*/ 238 h 265"/>
              <a:gd name="T4" fmla="*/ 107 w 140"/>
              <a:gd name="T5" fmla="*/ 231 h 265"/>
              <a:gd name="T6" fmla="*/ 123 w 140"/>
              <a:gd name="T7" fmla="*/ 226 h 265"/>
              <a:gd name="T8" fmla="*/ 137 w 140"/>
              <a:gd name="T9" fmla="*/ 215 h 265"/>
              <a:gd name="T10" fmla="*/ 139 w 140"/>
              <a:gd name="T11" fmla="*/ 206 h 265"/>
              <a:gd name="T12" fmla="*/ 139 w 140"/>
              <a:gd name="T13" fmla="*/ 203 h 265"/>
              <a:gd name="T14" fmla="*/ 138 w 140"/>
              <a:gd name="T15" fmla="*/ 192 h 265"/>
              <a:gd name="T16" fmla="*/ 139 w 140"/>
              <a:gd name="T17" fmla="*/ 187 h 265"/>
              <a:gd name="T18" fmla="*/ 137 w 140"/>
              <a:gd name="T19" fmla="*/ 175 h 265"/>
              <a:gd name="T20" fmla="*/ 133 w 140"/>
              <a:gd name="T21" fmla="*/ 160 h 265"/>
              <a:gd name="T22" fmla="*/ 115 w 140"/>
              <a:gd name="T23" fmla="*/ 127 h 265"/>
              <a:gd name="T24" fmla="*/ 111 w 140"/>
              <a:gd name="T25" fmla="*/ 125 h 265"/>
              <a:gd name="T26" fmla="*/ 98 w 140"/>
              <a:gd name="T27" fmla="*/ 116 h 265"/>
              <a:gd name="T28" fmla="*/ 89 w 140"/>
              <a:gd name="T29" fmla="*/ 107 h 265"/>
              <a:gd name="T30" fmla="*/ 79 w 140"/>
              <a:gd name="T31" fmla="*/ 92 h 265"/>
              <a:gd name="T32" fmla="*/ 66 w 140"/>
              <a:gd name="T33" fmla="*/ 75 h 265"/>
              <a:gd name="T34" fmla="*/ 76 w 140"/>
              <a:gd name="T35" fmla="*/ 52 h 265"/>
              <a:gd name="T36" fmla="*/ 79 w 140"/>
              <a:gd name="T37" fmla="*/ 42 h 265"/>
              <a:gd name="T38" fmla="*/ 91 w 140"/>
              <a:gd name="T39" fmla="*/ 32 h 265"/>
              <a:gd name="T40" fmla="*/ 93 w 140"/>
              <a:gd name="T41" fmla="*/ 30 h 265"/>
              <a:gd name="T42" fmla="*/ 76 w 140"/>
              <a:gd name="T43" fmla="*/ 23 h 265"/>
              <a:gd name="T44" fmla="*/ 69 w 140"/>
              <a:gd name="T45" fmla="*/ 8 h 265"/>
              <a:gd name="T46" fmla="*/ 52 w 140"/>
              <a:gd name="T47" fmla="*/ 1 h 265"/>
              <a:gd name="T48" fmla="*/ 40 w 140"/>
              <a:gd name="T49" fmla="*/ 5 h 265"/>
              <a:gd name="T50" fmla="*/ 30 w 140"/>
              <a:gd name="T51" fmla="*/ 10 h 265"/>
              <a:gd name="T52" fmla="*/ 20 w 140"/>
              <a:gd name="T53" fmla="*/ 9 h 265"/>
              <a:gd name="T54" fmla="*/ 10 w 140"/>
              <a:gd name="T55" fmla="*/ 10 h 265"/>
              <a:gd name="T56" fmla="*/ 4 w 140"/>
              <a:gd name="T57" fmla="*/ 11 h 265"/>
              <a:gd name="T58" fmla="*/ 5 w 140"/>
              <a:gd name="T59" fmla="*/ 18 h 265"/>
              <a:gd name="T60" fmla="*/ 16 w 140"/>
              <a:gd name="T61" fmla="*/ 34 h 265"/>
              <a:gd name="T62" fmla="*/ 33 w 140"/>
              <a:gd name="T63" fmla="*/ 41 h 265"/>
              <a:gd name="T64" fmla="*/ 44 w 140"/>
              <a:gd name="T65" fmla="*/ 50 h 265"/>
              <a:gd name="T66" fmla="*/ 50 w 140"/>
              <a:gd name="T67" fmla="*/ 59 h 265"/>
              <a:gd name="T68" fmla="*/ 39 w 140"/>
              <a:gd name="T69" fmla="*/ 63 h 265"/>
              <a:gd name="T70" fmla="*/ 40 w 140"/>
              <a:gd name="T71" fmla="*/ 71 h 265"/>
              <a:gd name="T72" fmla="*/ 60 w 140"/>
              <a:gd name="T73" fmla="*/ 86 h 265"/>
              <a:gd name="T74" fmla="*/ 77 w 140"/>
              <a:gd name="T75" fmla="*/ 103 h 265"/>
              <a:gd name="T76" fmla="*/ 85 w 140"/>
              <a:gd name="T77" fmla="*/ 115 h 265"/>
              <a:gd name="T78" fmla="*/ 95 w 140"/>
              <a:gd name="T79" fmla="*/ 123 h 265"/>
              <a:gd name="T80" fmla="*/ 105 w 140"/>
              <a:gd name="T81" fmla="*/ 143 h 265"/>
              <a:gd name="T82" fmla="*/ 110 w 140"/>
              <a:gd name="T83" fmla="*/ 175 h 265"/>
              <a:gd name="T84" fmla="*/ 108 w 140"/>
              <a:gd name="T85" fmla="*/ 197 h 265"/>
              <a:gd name="T86" fmla="*/ 96 w 140"/>
              <a:gd name="T87" fmla="*/ 204 h 265"/>
              <a:gd name="T88" fmla="*/ 87 w 140"/>
              <a:gd name="T89" fmla="*/ 214 h 265"/>
              <a:gd name="T90" fmla="*/ 85 w 140"/>
              <a:gd name="T91" fmla="*/ 221 h 265"/>
              <a:gd name="T92" fmla="*/ 75 w 140"/>
              <a:gd name="T93" fmla="*/ 224 h 265"/>
              <a:gd name="T94" fmla="*/ 68 w 140"/>
              <a:gd name="T95" fmla="*/ 231 h 265"/>
              <a:gd name="T96" fmla="*/ 76 w 140"/>
              <a:gd name="T97" fmla="*/ 238 h 265"/>
              <a:gd name="T98" fmla="*/ 74 w 140"/>
              <a:gd name="T99" fmla="*/ 254 h 265"/>
              <a:gd name="T100" fmla="*/ 76 w 140"/>
              <a:gd name="T101" fmla="*/ 265 h 265"/>
              <a:gd name="T102" fmla="*/ 87 w 140"/>
              <a:gd name="T103" fmla="*/ 254 h 265"/>
              <a:gd name="T104" fmla="*/ 97 w 140"/>
              <a:gd name="T105" fmla="*/ 246 h 2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40" h="265">
                <a:moveTo>
                  <a:pt x="97" y="246"/>
                </a:moveTo>
                <a:lnTo>
                  <a:pt x="99" y="247"/>
                </a:lnTo>
                <a:lnTo>
                  <a:pt x="100" y="244"/>
                </a:lnTo>
                <a:lnTo>
                  <a:pt x="98" y="241"/>
                </a:lnTo>
                <a:lnTo>
                  <a:pt x="99" y="239"/>
                </a:lnTo>
                <a:lnTo>
                  <a:pt x="101" y="239"/>
                </a:lnTo>
                <a:lnTo>
                  <a:pt x="101" y="237"/>
                </a:lnTo>
                <a:lnTo>
                  <a:pt x="103" y="238"/>
                </a:lnTo>
                <a:lnTo>
                  <a:pt x="101" y="235"/>
                </a:lnTo>
                <a:lnTo>
                  <a:pt x="103" y="234"/>
                </a:lnTo>
                <a:lnTo>
                  <a:pt x="104" y="232"/>
                </a:lnTo>
                <a:lnTo>
                  <a:pt x="107" y="231"/>
                </a:lnTo>
                <a:lnTo>
                  <a:pt x="109" y="232"/>
                </a:lnTo>
                <a:lnTo>
                  <a:pt x="111" y="232"/>
                </a:lnTo>
                <a:lnTo>
                  <a:pt x="118" y="227"/>
                </a:lnTo>
                <a:lnTo>
                  <a:pt x="123" y="226"/>
                </a:lnTo>
                <a:lnTo>
                  <a:pt x="124" y="222"/>
                </a:lnTo>
                <a:lnTo>
                  <a:pt x="133" y="217"/>
                </a:lnTo>
                <a:lnTo>
                  <a:pt x="135" y="215"/>
                </a:lnTo>
                <a:lnTo>
                  <a:pt x="137" y="215"/>
                </a:lnTo>
                <a:lnTo>
                  <a:pt x="137" y="213"/>
                </a:lnTo>
                <a:lnTo>
                  <a:pt x="138" y="211"/>
                </a:lnTo>
                <a:lnTo>
                  <a:pt x="139" y="208"/>
                </a:lnTo>
                <a:lnTo>
                  <a:pt x="139" y="206"/>
                </a:lnTo>
                <a:lnTo>
                  <a:pt x="138" y="205"/>
                </a:lnTo>
                <a:lnTo>
                  <a:pt x="138" y="204"/>
                </a:lnTo>
                <a:lnTo>
                  <a:pt x="139" y="204"/>
                </a:lnTo>
                <a:lnTo>
                  <a:pt x="139" y="203"/>
                </a:lnTo>
                <a:lnTo>
                  <a:pt x="137" y="195"/>
                </a:lnTo>
                <a:lnTo>
                  <a:pt x="137" y="194"/>
                </a:lnTo>
                <a:lnTo>
                  <a:pt x="138" y="195"/>
                </a:lnTo>
                <a:lnTo>
                  <a:pt x="138" y="192"/>
                </a:lnTo>
                <a:lnTo>
                  <a:pt x="139" y="190"/>
                </a:lnTo>
                <a:lnTo>
                  <a:pt x="140" y="191"/>
                </a:lnTo>
                <a:lnTo>
                  <a:pt x="140" y="192"/>
                </a:lnTo>
                <a:lnTo>
                  <a:pt x="139" y="187"/>
                </a:lnTo>
                <a:lnTo>
                  <a:pt x="139" y="185"/>
                </a:lnTo>
                <a:lnTo>
                  <a:pt x="138" y="184"/>
                </a:lnTo>
                <a:lnTo>
                  <a:pt x="137" y="178"/>
                </a:lnTo>
                <a:lnTo>
                  <a:pt x="137" y="175"/>
                </a:lnTo>
                <a:lnTo>
                  <a:pt x="136" y="173"/>
                </a:lnTo>
                <a:lnTo>
                  <a:pt x="136" y="170"/>
                </a:lnTo>
                <a:lnTo>
                  <a:pt x="135" y="168"/>
                </a:lnTo>
                <a:lnTo>
                  <a:pt x="133" y="160"/>
                </a:lnTo>
                <a:lnTo>
                  <a:pt x="126" y="143"/>
                </a:lnTo>
                <a:lnTo>
                  <a:pt x="118" y="135"/>
                </a:lnTo>
                <a:lnTo>
                  <a:pt x="116" y="132"/>
                </a:lnTo>
                <a:lnTo>
                  <a:pt x="115" y="127"/>
                </a:lnTo>
                <a:lnTo>
                  <a:pt x="115" y="128"/>
                </a:lnTo>
                <a:lnTo>
                  <a:pt x="114" y="130"/>
                </a:lnTo>
                <a:lnTo>
                  <a:pt x="113" y="127"/>
                </a:lnTo>
                <a:lnTo>
                  <a:pt x="111" y="125"/>
                </a:lnTo>
                <a:lnTo>
                  <a:pt x="106" y="124"/>
                </a:lnTo>
                <a:lnTo>
                  <a:pt x="104" y="121"/>
                </a:lnTo>
                <a:lnTo>
                  <a:pt x="100" y="117"/>
                </a:lnTo>
                <a:lnTo>
                  <a:pt x="98" y="116"/>
                </a:lnTo>
                <a:lnTo>
                  <a:pt x="95" y="113"/>
                </a:lnTo>
                <a:lnTo>
                  <a:pt x="94" y="112"/>
                </a:lnTo>
                <a:lnTo>
                  <a:pt x="93" y="109"/>
                </a:lnTo>
                <a:lnTo>
                  <a:pt x="89" y="107"/>
                </a:lnTo>
                <a:lnTo>
                  <a:pt x="86" y="103"/>
                </a:lnTo>
                <a:lnTo>
                  <a:pt x="83" y="101"/>
                </a:lnTo>
                <a:lnTo>
                  <a:pt x="81" y="96"/>
                </a:lnTo>
                <a:lnTo>
                  <a:pt x="79" y="92"/>
                </a:lnTo>
                <a:lnTo>
                  <a:pt x="76" y="90"/>
                </a:lnTo>
                <a:lnTo>
                  <a:pt x="69" y="83"/>
                </a:lnTo>
                <a:lnTo>
                  <a:pt x="67" y="80"/>
                </a:lnTo>
                <a:lnTo>
                  <a:pt x="66" y="75"/>
                </a:lnTo>
                <a:lnTo>
                  <a:pt x="67" y="72"/>
                </a:lnTo>
                <a:lnTo>
                  <a:pt x="67" y="69"/>
                </a:lnTo>
                <a:lnTo>
                  <a:pt x="69" y="60"/>
                </a:lnTo>
                <a:lnTo>
                  <a:pt x="76" y="52"/>
                </a:lnTo>
                <a:lnTo>
                  <a:pt x="76" y="51"/>
                </a:lnTo>
                <a:lnTo>
                  <a:pt x="77" y="46"/>
                </a:lnTo>
                <a:lnTo>
                  <a:pt x="78" y="44"/>
                </a:lnTo>
                <a:lnTo>
                  <a:pt x="79" y="42"/>
                </a:lnTo>
                <a:lnTo>
                  <a:pt x="85" y="40"/>
                </a:lnTo>
                <a:lnTo>
                  <a:pt x="87" y="37"/>
                </a:lnTo>
                <a:lnTo>
                  <a:pt x="87" y="35"/>
                </a:lnTo>
                <a:lnTo>
                  <a:pt x="91" y="32"/>
                </a:lnTo>
                <a:lnTo>
                  <a:pt x="95" y="33"/>
                </a:lnTo>
                <a:lnTo>
                  <a:pt x="95" y="32"/>
                </a:lnTo>
                <a:lnTo>
                  <a:pt x="95" y="31"/>
                </a:lnTo>
                <a:lnTo>
                  <a:pt x="93" y="30"/>
                </a:lnTo>
                <a:lnTo>
                  <a:pt x="88" y="30"/>
                </a:lnTo>
                <a:lnTo>
                  <a:pt x="85" y="29"/>
                </a:lnTo>
                <a:lnTo>
                  <a:pt x="83" y="27"/>
                </a:lnTo>
                <a:lnTo>
                  <a:pt x="76" y="23"/>
                </a:lnTo>
                <a:lnTo>
                  <a:pt x="73" y="20"/>
                </a:lnTo>
                <a:lnTo>
                  <a:pt x="70" y="15"/>
                </a:lnTo>
                <a:lnTo>
                  <a:pt x="71" y="10"/>
                </a:lnTo>
                <a:lnTo>
                  <a:pt x="69" y="8"/>
                </a:lnTo>
                <a:lnTo>
                  <a:pt x="64" y="6"/>
                </a:lnTo>
                <a:lnTo>
                  <a:pt x="60" y="5"/>
                </a:lnTo>
                <a:lnTo>
                  <a:pt x="56" y="4"/>
                </a:lnTo>
                <a:lnTo>
                  <a:pt x="52" y="1"/>
                </a:lnTo>
                <a:lnTo>
                  <a:pt x="47" y="0"/>
                </a:lnTo>
                <a:lnTo>
                  <a:pt x="45" y="0"/>
                </a:lnTo>
                <a:lnTo>
                  <a:pt x="43" y="3"/>
                </a:lnTo>
                <a:lnTo>
                  <a:pt x="40" y="5"/>
                </a:lnTo>
                <a:lnTo>
                  <a:pt x="36" y="8"/>
                </a:lnTo>
                <a:lnTo>
                  <a:pt x="35" y="8"/>
                </a:lnTo>
                <a:lnTo>
                  <a:pt x="32" y="8"/>
                </a:lnTo>
                <a:lnTo>
                  <a:pt x="30" y="10"/>
                </a:lnTo>
                <a:lnTo>
                  <a:pt x="27" y="11"/>
                </a:lnTo>
                <a:lnTo>
                  <a:pt x="26" y="9"/>
                </a:lnTo>
                <a:lnTo>
                  <a:pt x="23" y="10"/>
                </a:lnTo>
                <a:lnTo>
                  <a:pt x="20" y="9"/>
                </a:lnTo>
                <a:lnTo>
                  <a:pt x="18" y="9"/>
                </a:lnTo>
                <a:lnTo>
                  <a:pt x="15" y="12"/>
                </a:lnTo>
                <a:lnTo>
                  <a:pt x="13" y="12"/>
                </a:lnTo>
                <a:lnTo>
                  <a:pt x="10" y="10"/>
                </a:lnTo>
                <a:lnTo>
                  <a:pt x="7" y="9"/>
                </a:lnTo>
                <a:lnTo>
                  <a:pt x="6" y="8"/>
                </a:lnTo>
                <a:lnTo>
                  <a:pt x="5" y="9"/>
                </a:lnTo>
                <a:lnTo>
                  <a:pt x="4" y="11"/>
                </a:lnTo>
                <a:lnTo>
                  <a:pt x="3" y="13"/>
                </a:lnTo>
                <a:lnTo>
                  <a:pt x="3" y="14"/>
                </a:lnTo>
                <a:lnTo>
                  <a:pt x="0" y="13"/>
                </a:lnTo>
                <a:lnTo>
                  <a:pt x="5" y="18"/>
                </a:lnTo>
                <a:lnTo>
                  <a:pt x="10" y="24"/>
                </a:lnTo>
                <a:lnTo>
                  <a:pt x="14" y="26"/>
                </a:lnTo>
                <a:lnTo>
                  <a:pt x="16" y="30"/>
                </a:lnTo>
                <a:lnTo>
                  <a:pt x="16" y="34"/>
                </a:lnTo>
                <a:lnTo>
                  <a:pt x="17" y="36"/>
                </a:lnTo>
                <a:lnTo>
                  <a:pt x="22" y="41"/>
                </a:lnTo>
                <a:lnTo>
                  <a:pt x="27" y="42"/>
                </a:lnTo>
                <a:lnTo>
                  <a:pt x="33" y="41"/>
                </a:lnTo>
                <a:lnTo>
                  <a:pt x="37" y="41"/>
                </a:lnTo>
                <a:lnTo>
                  <a:pt x="42" y="44"/>
                </a:lnTo>
                <a:lnTo>
                  <a:pt x="43" y="47"/>
                </a:lnTo>
                <a:lnTo>
                  <a:pt x="44" y="50"/>
                </a:lnTo>
                <a:lnTo>
                  <a:pt x="46" y="51"/>
                </a:lnTo>
                <a:lnTo>
                  <a:pt x="48" y="54"/>
                </a:lnTo>
                <a:lnTo>
                  <a:pt x="49" y="56"/>
                </a:lnTo>
                <a:lnTo>
                  <a:pt x="50" y="59"/>
                </a:lnTo>
                <a:lnTo>
                  <a:pt x="46" y="63"/>
                </a:lnTo>
                <a:lnTo>
                  <a:pt x="45" y="64"/>
                </a:lnTo>
                <a:lnTo>
                  <a:pt x="42" y="63"/>
                </a:lnTo>
                <a:lnTo>
                  <a:pt x="39" y="63"/>
                </a:lnTo>
                <a:lnTo>
                  <a:pt x="38" y="65"/>
                </a:lnTo>
                <a:lnTo>
                  <a:pt x="38" y="69"/>
                </a:lnTo>
                <a:lnTo>
                  <a:pt x="39" y="70"/>
                </a:lnTo>
                <a:lnTo>
                  <a:pt x="40" y="71"/>
                </a:lnTo>
                <a:lnTo>
                  <a:pt x="44" y="73"/>
                </a:lnTo>
                <a:lnTo>
                  <a:pt x="49" y="76"/>
                </a:lnTo>
                <a:lnTo>
                  <a:pt x="58" y="82"/>
                </a:lnTo>
                <a:lnTo>
                  <a:pt x="60" y="86"/>
                </a:lnTo>
                <a:lnTo>
                  <a:pt x="67" y="93"/>
                </a:lnTo>
                <a:lnTo>
                  <a:pt x="69" y="96"/>
                </a:lnTo>
                <a:lnTo>
                  <a:pt x="75" y="102"/>
                </a:lnTo>
                <a:lnTo>
                  <a:pt x="77" y="103"/>
                </a:lnTo>
                <a:lnTo>
                  <a:pt x="81" y="106"/>
                </a:lnTo>
                <a:lnTo>
                  <a:pt x="84" y="111"/>
                </a:lnTo>
                <a:lnTo>
                  <a:pt x="86" y="115"/>
                </a:lnTo>
                <a:lnTo>
                  <a:pt x="85" y="115"/>
                </a:lnTo>
                <a:lnTo>
                  <a:pt x="86" y="116"/>
                </a:lnTo>
                <a:lnTo>
                  <a:pt x="87" y="120"/>
                </a:lnTo>
                <a:lnTo>
                  <a:pt x="90" y="120"/>
                </a:lnTo>
                <a:lnTo>
                  <a:pt x="95" y="123"/>
                </a:lnTo>
                <a:lnTo>
                  <a:pt x="97" y="126"/>
                </a:lnTo>
                <a:lnTo>
                  <a:pt x="99" y="132"/>
                </a:lnTo>
                <a:lnTo>
                  <a:pt x="104" y="141"/>
                </a:lnTo>
                <a:lnTo>
                  <a:pt x="105" y="143"/>
                </a:lnTo>
                <a:lnTo>
                  <a:pt x="106" y="154"/>
                </a:lnTo>
                <a:lnTo>
                  <a:pt x="107" y="165"/>
                </a:lnTo>
                <a:lnTo>
                  <a:pt x="108" y="171"/>
                </a:lnTo>
                <a:lnTo>
                  <a:pt x="110" y="175"/>
                </a:lnTo>
                <a:lnTo>
                  <a:pt x="113" y="192"/>
                </a:lnTo>
                <a:lnTo>
                  <a:pt x="111" y="195"/>
                </a:lnTo>
                <a:lnTo>
                  <a:pt x="110" y="198"/>
                </a:lnTo>
                <a:lnTo>
                  <a:pt x="108" y="197"/>
                </a:lnTo>
                <a:lnTo>
                  <a:pt x="105" y="201"/>
                </a:lnTo>
                <a:lnTo>
                  <a:pt x="104" y="202"/>
                </a:lnTo>
                <a:lnTo>
                  <a:pt x="100" y="202"/>
                </a:lnTo>
                <a:lnTo>
                  <a:pt x="96" y="204"/>
                </a:lnTo>
                <a:lnTo>
                  <a:pt x="96" y="207"/>
                </a:lnTo>
                <a:lnTo>
                  <a:pt x="90" y="208"/>
                </a:lnTo>
                <a:lnTo>
                  <a:pt x="88" y="208"/>
                </a:lnTo>
                <a:lnTo>
                  <a:pt x="87" y="214"/>
                </a:lnTo>
                <a:lnTo>
                  <a:pt x="88" y="216"/>
                </a:lnTo>
                <a:lnTo>
                  <a:pt x="88" y="220"/>
                </a:lnTo>
                <a:lnTo>
                  <a:pt x="87" y="220"/>
                </a:lnTo>
                <a:lnTo>
                  <a:pt x="85" y="221"/>
                </a:lnTo>
                <a:lnTo>
                  <a:pt x="81" y="223"/>
                </a:lnTo>
                <a:lnTo>
                  <a:pt x="78" y="224"/>
                </a:lnTo>
                <a:lnTo>
                  <a:pt x="76" y="224"/>
                </a:lnTo>
                <a:lnTo>
                  <a:pt x="75" y="224"/>
                </a:lnTo>
                <a:lnTo>
                  <a:pt x="74" y="226"/>
                </a:lnTo>
                <a:lnTo>
                  <a:pt x="73" y="228"/>
                </a:lnTo>
                <a:lnTo>
                  <a:pt x="71" y="230"/>
                </a:lnTo>
                <a:lnTo>
                  <a:pt x="68" y="231"/>
                </a:lnTo>
                <a:lnTo>
                  <a:pt x="67" y="231"/>
                </a:lnTo>
                <a:lnTo>
                  <a:pt x="69" y="235"/>
                </a:lnTo>
                <a:lnTo>
                  <a:pt x="75" y="237"/>
                </a:lnTo>
                <a:lnTo>
                  <a:pt x="76" y="238"/>
                </a:lnTo>
                <a:lnTo>
                  <a:pt x="76" y="242"/>
                </a:lnTo>
                <a:lnTo>
                  <a:pt x="74" y="245"/>
                </a:lnTo>
                <a:lnTo>
                  <a:pt x="74" y="251"/>
                </a:lnTo>
                <a:lnTo>
                  <a:pt x="74" y="254"/>
                </a:lnTo>
                <a:lnTo>
                  <a:pt x="75" y="258"/>
                </a:lnTo>
                <a:lnTo>
                  <a:pt x="77" y="262"/>
                </a:lnTo>
                <a:lnTo>
                  <a:pt x="75" y="264"/>
                </a:lnTo>
                <a:lnTo>
                  <a:pt x="76" y="265"/>
                </a:lnTo>
                <a:lnTo>
                  <a:pt x="78" y="265"/>
                </a:lnTo>
                <a:lnTo>
                  <a:pt x="83" y="262"/>
                </a:lnTo>
                <a:lnTo>
                  <a:pt x="85" y="257"/>
                </a:lnTo>
                <a:lnTo>
                  <a:pt x="87" y="254"/>
                </a:lnTo>
                <a:lnTo>
                  <a:pt x="94" y="251"/>
                </a:lnTo>
                <a:lnTo>
                  <a:pt x="95" y="249"/>
                </a:lnTo>
                <a:lnTo>
                  <a:pt x="94" y="247"/>
                </a:lnTo>
                <a:lnTo>
                  <a:pt x="97" y="246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23" name="Freeform 222"/>
          <p:cNvSpPr>
            <a:spLocks/>
          </p:cNvSpPr>
          <p:nvPr/>
        </p:nvSpPr>
        <p:spPr bwMode="auto">
          <a:xfrm>
            <a:off x="7350125" y="2466941"/>
            <a:ext cx="100012" cy="122238"/>
          </a:xfrm>
          <a:custGeom>
            <a:avLst/>
            <a:gdLst>
              <a:gd name="T0" fmla="*/ 24 w 63"/>
              <a:gd name="T1" fmla="*/ 1 h 77"/>
              <a:gd name="T2" fmla="*/ 37 w 63"/>
              <a:gd name="T3" fmla="*/ 12 h 77"/>
              <a:gd name="T4" fmla="*/ 44 w 63"/>
              <a:gd name="T5" fmla="*/ 19 h 77"/>
              <a:gd name="T6" fmla="*/ 52 w 63"/>
              <a:gd name="T7" fmla="*/ 30 h 77"/>
              <a:gd name="T8" fmla="*/ 60 w 63"/>
              <a:gd name="T9" fmla="*/ 46 h 77"/>
              <a:gd name="T10" fmla="*/ 63 w 63"/>
              <a:gd name="T11" fmla="*/ 53 h 77"/>
              <a:gd name="T12" fmla="*/ 61 w 63"/>
              <a:gd name="T13" fmla="*/ 60 h 77"/>
              <a:gd name="T14" fmla="*/ 55 w 63"/>
              <a:gd name="T15" fmla="*/ 62 h 77"/>
              <a:gd name="T16" fmla="*/ 53 w 63"/>
              <a:gd name="T17" fmla="*/ 62 h 77"/>
              <a:gd name="T18" fmla="*/ 52 w 63"/>
              <a:gd name="T19" fmla="*/ 68 h 77"/>
              <a:gd name="T20" fmla="*/ 49 w 63"/>
              <a:gd name="T21" fmla="*/ 66 h 77"/>
              <a:gd name="T22" fmla="*/ 44 w 63"/>
              <a:gd name="T23" fmla="*/ 65 h 77"/>
              <a:gd name="T24" fmla="*/ 43 w 63"/>
              <a:gd name="T25" fmla="*/ 68 h 77"/>
              <a:gd name="T26" fmla="*/ 42 w 63"/>
              <a:gd name="T27" fmla="*/ 70 h 77"/>
              <a:gd name="T28" fmla="*/ 39 w 63"/>
              <a:gd name="T29" fmla="*/ 67 h 77"/>
              <a:gd name="T30" fmla="*/ 40 w 63"/>
              <a:gd name="T31" fmla="*/ 73 h 77"/>
              <a:gd name="T32" fmla="*/ 37 w 63"/>
              <a:gd name="T33" fmla="*/ 72 h 77"/>
              <a:gd name="T34" fmla="*/ 38 w 63"/>
              <a:gd name="T35" fmla="*/ 69 h 77"/>
              <a:gd name="T36" fmla="*/ 34 w 63"/>
              <a:gd name="T37" fmla="*/ 71 h 77"/>
              <a:gd name="T38" fmla="*/ 32 w 63"/>
              <a:gd name="T39" fmla="*/ 73 h 77"/>
              <a:gd name="T40" fmla="*/ 30 w 63"/>
              <a:gd name="T41" fmla="*/ 73 h 77"/>
              <a:gd name="T42" fmla="*/ 28 w 63"/>
              <a:gd name="T43" fmla="*/ 73 h 77"/>
              <a:gd name="T44" fmla="*/ 25 w 63"/>
              <a:gd name="T45" fmla="*/ 77 h 77"/>
              <a:gd name="T46" fmla="*/ 24 w 63"/>
              <a:gd name="T47" fmla="*/ 73 h 77"/>
              <a:gd name="T48" fmla="*/ 27 w 63"/>
              <a:gd name="T49" fmla="*/ 71 h 77"/>
              <a:gd name="T50" fmla="*/ 25 w 63"/>
              <a:gd name="T51" fmla="*/ 68 h 77"/>
              <a:gd name="T52" fmla="*/ 23 w 63"/>
              <a:gd name="T53" fmla="*/ 69 h 77"/>
              <a:gd name="T54" fmla="*/ 21 w 63"/>
              <a:gd name="T55" fmla="*/ 62 h 77"/>
              <a:gd name="T56" fmla="*/ 20 w 63"/>
              <a:gd name="T57" fmla="*/ 57 h 77"/>
              <a:gd name="T58" fmla="*/ 19 w 63"/>
              <a:gd name="T59" fmla="*/ 53 h 77"/>
              <a:gd name="T60" fmla="*/ 21 w 63"/>
              <a:gd name="T61" fmla="*/ 49 h 77"/>
              <a:gd name="T62" fmla="*/ 18 w 63"/>
              <a:gd name="T63" fmla="*/ 46 h 77"/>
              <a:gd name="T64" fmla="*/ 13 w 63"/>
              <a:gd name="T65" fmla="*/ 41 h 77"/>
              <a:gd name="T66" fmla="*/ 10 w 63"/>
              <a:gd name="T67" fmla="*/ 35 h 77"/>
              <a:gd name="T68" fmla="*/ 10 w 63"/>
              <a:gd name="T69" fmla="*/ 37 h 77"/>
              <a:gd name="T70" fmla="*/ 6 w 63"/>
              <a:gd name="T71" fmla="*/ 35 h 77"/>
              <a:gd name="T72" fmla="*/ 3 w 63"/>
              <a:gd name="T73" fmla="*/ 32 h 77"/>
              <a:gd name="T74" fmla="*/ 7 w 63"/>
              <a:gd name="T75" fmla="*/ 30 h 77"/>
              <a:gd name="T76" fmla="*/ 13 w 63"/>
              <a:gd name="T77" fmla="*/ 31 h 77"/>
              <a:gd name="T78" fmla="*/ 12 w 63"/>
              <a:gd name="T79" fmla="*/ 29 h 77"/>
              <a:gd name="T80" fmla="*/ 9 w 63"/>
              <a:gd name="T81" fmla="*/ 25 h 77"/>
              <a:gd name="T82" fmla="*/ 9 w 63"/>
              <a:gd name="T83" fmla="*/ 22 h 77"/>
              <a:gd name="T84" fmla="*/ 7 w 63"/>
              <a:gd name="T85" fmla="*/ 21 h 77"/>
              <a:gd name="T86" fmla="*/ 4 w 63"/>
              <a:gd name="T87" fmla="*/ 19 h 77"/>
              <a:gd name="T88" fmla="*/ 2 w 63"/>
              <a:gd name="T89" fmla="*/ 17 h 77"/>
              <a:gd name="T90" fmla="*/ 0 w 63"/>
              <a:gd name="T91" fmla="*/ 15 h 77"/>
              <a:gd name="T92" fmla="*/ 3 w 63"/>
              <a:gd name="T93" fmla="*/ 12 h 77"/>
              <a:gd name="T94" fmla="*/ 11 w 63"/>
              <a:gd name="T95" fmla="*/ 6 h 77"/>
              <a:gd name="T96" fmla="*/ 20 w 63"/>
              <a:gd name="T97" fmla="*/ 5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3" h="77">
                <a:moveTo>
                  <a:pt x="22" y="0"/>
                </a:moveTo>
                <a:lnTo>
                  <a:pt x="24" y="1"/>
                </a:lnTo>
                <a:lnTo>
                  <a:pt x="32" y="10"/>
                </a:lnTo>
                <a:lnTo>
                  <a:pt x="37" y="12"/>
                </a:lnTo>
                <a:lnTo>
                  <a:pt x="41" y="16"/>
                </a:lnTo>
                <a:lnTo>
                  <a:pt x="44" y="19"/>
                </a:lnTo>
                <a:lnTo>
                  <a:pt x="49" y="25"/>
                </a:lnTo>
                <a:lnTo>
                  <a:pt x="52" y="30"/>
                </a:lnTo>
                <a:lnTo>
                  <a:pt x="57" y="40"/>
                </a:lnTo>
                <a:lnTo>
                  <a:pt x="60" y="46"/>
                </a:lnTo>
                <a:lnTo>
                  <a:pt x="62" y="46"/>
                </a:lnTo>
                <a:lnTo>
                  <a:pt x="63" y="53"/>
                </a:lnTo>
                <a:lnTo>
                  <a:pt x="63" y="58"/>
                </a:lnTo>
                <a:lnTo>
                  <a:pt x="61" y="60"/>
                </a:lnTo>
                <a:lnTo>
                  <a:pt x="59" y="61"/>
                </a:lnTo>
                <a:lnTo>
                  <a:pt x="55" y="62"/>
                </a:lnTo>
                <a:lnTo>
                  <a:pt x="53" y="61"/>
                </a:lnTo>
                <a:lnTo>
                  <a:pt x="53" y="62"/>
                </a:lnTo>
                <a:lnTo>
                  <a:pt x="53" y="65"/>
                </a:lnTo>
                <a:lnTo>
                  <a:pt x="52" y="68"/>
                </a:lnTo>
                <a:lnTo>
                  <a:pt x="50" y="66"/>
                </a:lnTo>
                <a:lnTo>
                  <a:pt x="49" y="66"/>
                </a:lnTo>
                <a:lnTo>
                  <a:pt x="45" y="65"/>
                </a:lnTo>
                <a:lnTo>
                  <a:pt x="44" y="65"/>
                </a:lnTo>
                <a:lnTo>
                  <a:pt x="41" y="66"/>
                </a:lnTo>
                <a:lnTo>
                  <a:pt x="43" y="68"/>
                </a:lnTo>
                <a:lnTo>
                  <a:pt x="43" y="69"/>
                </a:lnTo>
                <a:lnTo>
                  <a:pt x="42" y="70"/>
                </a:lnTo>
                <a:lnTo>
                  <a:pt x="40" y="68"/>
                </a:lnTo>
                <a:lnTo>
                  <a:pt x="39" y="67"/>
                </a:lnTo>
                <a:lnTo>
                  <a:pt x="41" y="72"/>
                </a:lnTo>
                <a:lnTo>
                  <a:pt x="40" y="73"/>
                </a:lnTo>
                <a:lnTo>
                  <a:pt x="38" y="73"/>
                </a:lnTo>
                <a:lnTo>
                  <a:pt x="37" y="72"/>
                </a:lnTo>
                <a:lnTo>
                  <a:pt x="38" y="70"/>
                </a:lnTo>
                <a:lnTo>
                  <a:pt x="38" y="69"/>
                </a:lnTo>
                <a:lnTo>
                  <a:pt x="37" y="69"/>
                </a:lnTo>
                <a:lnTo>
                  <a:pt x="34" y="71"/>
                </a:lnTo>
                <a:lnTo>
                  <a:pt x="33" y="73"/>
                </a:lnTo>
                <a:lnTo>
                  <a:pt x="32" y="73"/>
                </a:lnTo>
                <a:lnTo>
                  <a:pt x="31" y="72"/>
                </a:lnTo>
                <a:lnTo>
                  <a:pt x="30" y="73"/>
                </a:lnTo>
                <a:lnTo>
                  <a:pt x="29" y="76"/>
                </a:lnTo>
                <a:lnTo>
                  <a:pt x="28" y="73"/>
                </a:lnTo>
                <a:lnTo>
                  <a:pt x="25" y="75"/>
                </a:lnTo>
                <a:lnTo>
                  <a:pt x="25" y="77"/>
                </a:lnTo>
                <a:lnTo>
                  <a:pt x="23" y="76"/>
                </a:lnTo>
                <a:lnTo>
                  <a:pt x="24" y="73"/>
                </a:lnTo>
                <a:lnTo>
                  <a:pt x="23" y="70"/>
                </a:lnTo>
                <a:lnTo>
                  <a:pt x="27" y="71"/>
                </a:lnTo>
                <a:lnTo>
                  <a:pt x="25" y="70"/>
                </a:lnTo>
                <a:lnTo>
                  <a:pt x="25" y="68"/>
                </a:lnTo>
                <a:lnTo>
                  <a:pt x="23" y="67"/>
                </a:lnTo>
                <a:lnTo>
                  <a:pt x="23" y="69"/>
                </a:lnTo>
                <a:lnTo>
                  <a:pt x="21" y="66"/>
                </a:lnTo>
                <a:lnTo>
                  <a:pt x="21" y="62"/>
                </a:lnTo>
                <a:lnTo>
                  <a:pt x="20" y="60"/>
                </a:lnTo>
                <a:lnTo>
                  <a:pt x="20" y="57"/>
                </a:lnTo>
                <a:lnTo>
                  <a:pt x="20" y="55"/>
                </a:lnTo>
                <a:lnTo>
                  <a:pt x="19" y="53"/>
                </a:lnTo>
                <a:lnTo>
                  <a:pt x="21" y="51"/>
                </a:lnTo>
                <a:lnTo>
                  <a:pt x="21" y="49"/>
                </a:lnTo>
                <a:lnTo>
                  <a:pt x="19" y="48"/>
                </a:lnTo>
                <a:lnTo>
                  <a:pt x="18" y="46"/>
                </a:lnTo>
                <a:lnTo>
                  <a:pt x="15" y="45"/>
                </a:lnTo>
                <a:lnTo>
                  <a:pt x="13" y="41"/>
                </a:lnTo>
                <a:lnTo>
                  <a:pt x="11" y="38"/>
                </a:lnTo>
                <a:lnTo>
                  <a:pt x="10" y="35"/>
                </a:lnTo>
                <a:lnTo>
                  <a:pt x="8" y="33"/>
                </a:lnTo>
                <a:lnTo>
                  <a:pt x="10" y="37"/>
                </a:lnTo>
                <a:lnTo>
                  <a:pt x="9" y="38"/>
                </a:lnTo>
                <a:lnTo>
                  <a:pt x="6" y="35"/>
                </a:lnTo>
                <a:lnTo>
                  <a:pt x="4" y="35"/>
                </a:lnTo>
                <a:lnTo>
                  <a:pt x="3" y="32"/>
                </a:lnTo>
                <a:lnTo>
                  <a:pt x="4" y="30"/>
                </a:lnTo>
                <a:lnTo>
                  <a:pt x="7" y="30"/>
                </a:lnTo>
                <a:lnTo>
                  <a:pt x="10" y="29"/>
                </a:lnTo>
                <a:lnTo>
                  <a:pt x="13" y="31"/>
                </a:lnTo>
                <a:lnTo>
                  <a:pt x="14" y="31"/>
                </a:lnTo>
                <a:lnTo>
                  <a:pt x="12" y="29"/>
                </a:lnTo>
                <a:lnTo>
                  <a:pt x="11" y="27"/>
                </a:lnTo>
                <a:lnTo>
                  <a:pt x="9" y="25"/>
                </a:lnTo>
                <a:lnTo>
                  <a:pt x="9" y="23"/>
                </a:lnTo>
                <a:lnTo>
                  <a:pt x="9" y="22"/>
                </a:lnTo>
                <a:lnTo>
                  <a:pt x="8" y="21"/>
                </a:lnTo>
                <a:lnTo>
                  <a:pt x="7" y="21"/>
                </a:lnTo>
                <a:lnTo>
                  <a:pt x="4" y="20"/>
                </a:lnTo>
                <a:lnTo>
                  <a:pt x="4" y="19"/>
                </a:lnTo>
                <a:lnTo>
                  <a:pt x="4" y="19"/>
                </a:lnTo>
                <a:lnTo>
                  <a:pt x="2" y="17"/>
                </a:lnTo>
                <a:lnTo>
                  <a:pt x="1" y="16"/>
                </a:lnTo>
                <a:lnTo>
                  <a:pt x="0" y="15"/>
                </a:lnTo>
                <a:lnTo>
                  <a:pt x="1" y="15"/>
                </a:lnTo>
                <a:lnTo>
                  <a:pt x="3" y="12"/>
                </a:lnTo>
                <a:lnTo>
                  <a:pt x="7" y="7"/>
                </a:lnTo>
                <a:lnTo>
                  <a:pt x="11" y="6"/>
                </a:lnTo>
                <a:lnTo>
                  <a:pt x="17" y="6"/>
                </a:lnTo>
                <a:lnTo>
                  <a:pt x="20" y="5"/>
                </a:lnTo>
                <a:lnTo>
                  <a:pt x="22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24" name="Freeform 223"/>
          <p:cNvSpPr>
            <a:spLocks/>
          </p:cNvSpPr>
          <p:nvPr/>
        </p:nvSpPr>
        <p:spPr bwMode="auto">
          <a:xfrm>
            <a:off x="7350125" y="2466941"/>
            <a:ext cx="100012" cy="122238"/>
          </a:xfrm>
          <a:custGeom>
            <a:avLst/>
            <a:gdLst>
              <a:gd name="T0" fmla="*/ 24 w 63"/>
              <a:gd name="T1" fmla="*/ 1 h 77"/>
              <a:gd name="T2" fmla="*/ 37 w 63"/>
              <a:gd name="T3" fmla="*/ 12 h 77"/>
              <a:gd name="T4" fmla="*/ 44 w 63"/>
              <a:gd name="T5" fmla="*/ 19 h 77"/>
              <a:gd name="T6" fmla="*/ 52 w 63"/>
              <a:gd name="T7" fmla="*/ 30 h 77"/>
              <a:gd name="T8" fmla="*/ 60 w 63"/>
              <a:gd name="T9" fmla="*/ 46 h 77"/>
              <a:gd name="T10" fmla="*/ 63 w 63"/>
              <a:gd name="T11" fmla="*/ 53 h 77"/>
              <a:gd name="T12" fmla="*/ 61 w 63"/>
              <a:gd name="T13" fmla="*/ 60 h 77"/>
              <a:gd name="T14" fmla="*/ 55 w 63"/>
              <a:gd name="T15" fmla="*/ 62 h 77"/>
              <a:gd name="T16" fmla="*/ 53 w 63"/>
              <a:gd name="T17" fmla="*/ 62 h 77"/>
              <a:gd name="T18" fmla="*/ 52 w 63"/>
              <a:gd name="T19" fmla="*/ 68 h 77"/>
              <a:gd name="T20" fmla="*/ 49 w 63"/>
              <a:gd name="T21" fmla="*/ 66 h 77"/>
              <a:gd name="T22" fmla="*/ 44 w 63"/>
              <a:gd name="T23" fmla="*/ 65 h 77"/>
              <a:gd name="T24" fmla="*/ 43 w 63"/>
              <a:gd name="T25" fmla="*/ 68 h 77"/>
              <a:gd name="T26" fmla="*/ 42 w 63"/>
              <a:gd name="T27" fmla="*/ 70 h 77"/>
              <a:gd name="T28" fmla="*/ 39 w 63"/>
              <a:gd name="T29" fmla="*/ 67 h 77"/>
              <a:gd name="T30" fmla="*/ 40 w 63"/>
              <a:gd name="T31" fmla="*/ 73 h 77"/>
              <a:gd name="T32" fmla="*/ 37 w 63"/>
              <a:gd name="T33" fmla="*/ 72 h 77"/>
              <a:gd name="T34" fmla="*/ 38 w 63"/>
              <a:gd name="T35" fmla="*/ 69 h 77"/>
              <a:gd name="T36" fmla="*/ 34 w 63"/>
              <a:gd name="T37" fmla="*/ 71 h 77"/>
              <a:gd name="T38" fmla="*/ 32 w 63"/>
              <a:gd name="T39" fmla="*/ 73 h 77"/>
              <a:gd name="T40" fmla="*/ 30 w 63"/>
              <a:gd name="T41" fmla="*/ 73 h 77"/>
              <a:gd name="T42" fmla="*/ 28 w 63"/>
              <a:gd name="T43" fmla="*/ 73 h 77"/>
              <a:gd name="T44" fmla="*/ 25 w 63"/>
              <a:gd name="T45" fmla="*/ 77 h 77"/>
              <a:gd name="T46" fmla="*/ 24 w 63"/>
              <a:gd name="T47" fmla="*/ 73 h 77"/>
              <a:gd name="T48" fmla="*/ 27 w 63"/>
              <a:gd name="T49" fmla="*/ 71 h 77"/>
              <a:gd name="T50" fmla="*/ 25 w 63"/>
              <a:gd name="T51" fmla="*/ 68 h 77"/>
              <a:gd name="T52" fmla="*/ 23 w 63"/>
              <a:gd name="T53" fmla="*/ 69 h 77"/>
              <a:gd name="T54" fmla="*/ 21 w 63"/>
              <a:gd name="T55" fmla="*/ 62 h 77"/>
              <a:gd name="T56" fmla="*/ 20 w 63"/>
              <a:gd name="T57" fmla="*/ 57 h 77"/>
              <a:gd name="T58" fmla="*/ 19 w 63"/>
              <a:gd name="T59" fmla="*/ 53 h 77"/>
              <a:gd name="T60" fmla="*/ 21 w 63"/>
              <a:gd name="T61" fmla="*/ 49 h 77"/>
              <a:gd name="T62" fmla="*/ 18 w 63"/>
              <a:gd name="T63" fmla="*/ 46 h 77"/>
              <a:gd name="T64" fmla="*/ 13 w 63"/>
              <a:gd name="T65" fmla="*/ 41 h 77"/>
              <a:gd name="T66" fmla="*/ 10 w 63"/>
              <a:gd name="T67" fmla="*/ 35 h 77"/>
              <a:gd name="T68" fmla="*/ 10 w 63"/>
              <a:gd name="T69" fmla="*/ 37 h 77"/>
              <a:gd name="T70" fmla="*/ 6 w 63"/>
              <a:gd name="T71" fmla="*/ 35 h 77"/>
              <a:gd name="T72" fmla="*/ 3 w 63"/>
              <a:gd name="T73" fmla="*/ 32 h 77"/>
              <a:gd name="T74" fmla="*/ 7 w 63"/>
              <a:gd name="T75" fmla="*/ 30 h 77"/>
              <a:gd name="T76" fmla="*/ 13 w 63"/>
              <a:gd name="T77" fmla="*/ 31 h 77"/>
              <a:gd name="T78" fmla="*/ 12 w 63"/>
              <a:gd name="T79" fmla="*/ 29 h 77"/>
              <a:gd name="T80" fmla="*/ 9 w 63"/>
              <a:gd name="T81" fmla="*/ 25 h 77"/>
              <a:gd name="T82" fmla="*/ 9 w 63"/>
              <a:gd name="T83" fmla="*/ 22 h 77"/>
              <a:gd name="T84" fmla="*/ 7 w 63"/>
              <a:gd name="T85" fmla="*/ 21 h 77"/>
              <a:gd name="T86" fmla="*/ 4 w 63"/>
              <a:gd name="T87" fmla="*/ 19 h 77"/>
              <a:gd name="T88" fmla="*/ 2 w 63"/>
              <a:gd name="T89" fmla="*/ 17 h 77"/>
              <a:gd name="T90" fmla="*/ 0 w 63"/>
              <a:gd name="T91" fmla="*/ 15 h 77"/>
              <a:gd name="T92" fmla="*/ 3 w 63"/>
              <a:gd name="T93" fmla="*/ 12 h 77"/>
              <a:gd name="T94" fmla="*/ 11 w 63"/>
              <a:gd name="T95" fmla="*/ 6 h 77"/>
              <a:gd name="T96" fmla="*/ 20 w 63"/>
              <a:gd name="T97" fmla="*/ 5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3" h="77">
                <a:moveTo>
                  <a:pt x="22" y="0"/>
                </a:moveTo>
                <a:lnTo>
                  <a:pt x="24" y="1"/>
                </a:lnTo>
                <a:lnTo>
                  <a:pt x="32" y="10"/>
                </a:lnTo>
                <a:lnTo>
                  <a:pt x="37" y="12"/>
                </a:lnTo>
                <a:lnTo>
                  <a:pt x="41" y="16"/>
                </a:lnTo>
                <a:lnTo>
                  <a:pt x="44" y="19"/>
                </a:lnTo>
                <a:lnTo>
                  <a:pt x="49" y="25"/>
                </a:lnTo>
                <a:lnTo>
                  <a:pt x="52" y="30"/>
                </a:lnTo>
                <a:lnTo>
                  <a:pt x="57" y="40"/>
                </a:lnTo>
                <a:lnTo>
                  <a:pt x="60" y="46"/>
                </a:lnTo>
                <a:lnTo>
                  <a:pt x="62" y="46"/>
                </a:lnTo>
                <a:lnTo>
                  <a:pt x="63" y="53"/>
                </a:lnTo>
                <a:lnTo>
                  <a:pt x="63" y="58"/>
                </a:lnTo>
                <a:lnTo>
                  <a:pt x="61" y="60"/>
                </a:lnTo>
                <a:lnTo>
                  <a:pt x="59" y="61"/>
                </a:lnTo>
                <a:lnTo>
                  <a:pt x="55" y="62"/>
                </a:lnTo>
                <a:lnTo>
                  <a:pt x="53" y="61"/>
                </a:lnTo>
                <a:lnTo>
                  <a:pt x="53" y="62"/>
                </a:lnTo>
                <a:lnTo>
                  <a:pt x="53" y="65"/>
                </a:lnTo>
                <a:lnTo>
                  <a:pt x="52" y="68"/>
                </a:lnTo>
                <a:lnTo>
                  <a:pt x="50" y="66"/>
                </a:lnTo>
                <a:lnTo>
                  <a:pt x="49" y="66"/>
                </a:lnTo>
                <a:lnTo>
                  <a:pt x="45" y="65"/>
                </a:lnTo>
                <a:lnTo>
                  <a:pt x="44" y="65"/>
                </a:lnTo>
                <a:lnTo>
                  <a:pt x="41" y="66"/>
                </a:lnTo>
                <a:lnTo>
                  <a:pt x="43" y="68"/>
                </a:lnTo>
                <a:lnTo>
                  <a:pt x="43" y="69"/>
                </a:lnTo>
                <a:lnTo>
                  <a:pt x="42" y="70"/>
                </a:lnTo>
                <a:lnTo>
                  <a:pt x="40" y="68"/>
                </a:lnTo>
                <a:lnTo>
                  <a:pt x="39" y="67"/>
                </a:lnTo>
                <a:lnTo>
                  <a:pt x="41" y="72"/>
                </a:lnTo>
                <a:lnTo>
                  <a:pt x="40" y="73"/>
                </a:lnTo>
                <a:lnTo>
                  <a:pt x="38" y="73"/>
                </a:lnTo>
                <a:lnTo>
                  <a:pt x="37" y="72"/>
                </a:lnTo>
                <a:lnTo>
                  <a:pt x="38" y="70"/>
                </a:lnTo>
                <a:lnTo>
                  <a:pt x="38" y="69"/>
                </a:lnTo>
                <a:lnTo>
                  <a:pt x="37" y="69"/>
                </a:lnTo>
                <a:lnTo>
                  <a:pt x="34" y="71"/>
                </a:lnTo>
                <a:lnTo>
                  <a:pt x="33" y="73"/>
                </a:lnTo>
                <a:lnTo>
                  <a:pt x="32" y="73"/>
                </a:lnTo>
                <a:lnTo>
                  <a:pt x="31" y="72"/>
                </a:lnTo>
                <a:lnTo>
                  <a:pt x="30" y="73"/>
                </a:lnTo>
                <a:lnTo>
                  <a:pt x="29" y="76"/>
                </a:lnTo>
                <a:lnTo>
                  <a:pt x="28" y="73"/>
                </a:lnTo>
                <a:lnTo>
                  <a:pt x="25" y="75"/>
                </a:lnTo>
                <a:lnTo>
                  <a:pt x="25" y="77"/>
                </a:lnTo>
                <a:lnTo>
                  <a:pt x="23" y="76"/>
                </a:lnTo>
                <a:lnTo>
                  <a:pt x="24" y="73"/>
                </a:lnTo>
                <a:lnTo>
                  <a:pt x="23" y="70"/>
                </a:lnTo>
                <a:lnTo>
                  <a:pt x="27" y="71"/>
                </a:lnTo>
                <a:lnTo>
                  <a:pt x="25" y="70"/>
                </a:lnTo>
                <a:lnTo>
                  <a:pt x="25" y="68"/>
                </a:lnTo>
                <a:lnTo>
                  <a:pt x="23" y="67"/>
                </a:lnTo>
                <a:lnTo>
                  <a:pt x="23" y="69"/>
                </a:lnTo>
                <a:lnTo>
                  <a:pt x="21" y="66"/>
                </a:lnTo>
                <a:lnTo>
                  <a:pt x="21" y="62"/>
                </a:lnTo>
                <a:lnTo>
                  <a:pt x="20" y="60"/>
                </a:lnTo>
                <a:lnTo>
                  <a:pt x="20" y="57"/>
                </a:lnTo>
                <a:lnTo>
                  <a:pt x="20" y="55"/>
                </a:lnTo>
                <a:lnTo>
                  <a:pt x="19" y="53"/>
                </a:lnTo>
                <a:lnTo>
                  <a:pt x="21" y="51"/>
                </a:lnTo>
                <a:lnTo>
                  <a:pt x="21" y="49"/>
                </a:lnTo>
                <a:lnTo>
                  <a:pt x="19" y="48"/>
                </a:lnTo>
                <a:lnTo>
                  <a:pt x="18" y="46"/>
                </a:lnTo>
                <a:lnTo>
                  <a:pt x="15" y="45"/>
                </a:lnTo>
                <a:lnTo>
                  <a:pt x="13" y="41"/>
                </a:lnTo>
                <a:lnTo>
                  <a:pt x="11" y="38"/>
                </a:lnTo>
                <a:lnTo>
                  <a:pt x="10" y="35"/>
                </a:lnTo>
                <a:lnTo>
                  <a:pt x="8" y="33"/>
                </a:lnTo>
                <a:lnTo>
                  <a:pt x="10" y="37"/>
                </a:lnTo>
                <a:lnTo>
                  <a:pt x="9" y="38"/>
                </a:lnTo>
                <a:lnTo>
                  <a:pt x="6" y="35"/>
                </a:lnTo>
                <a:lnTo>
                  <a:pt x="4" y="35"/>
                </a:lnTo>
                <a:lnTo>
                  <a:pt x="3" y="32"/>
                </a:lnTo>
                <a:lnTo>
                  <a:pt x="4" y="30"/>
                </a:lnTo>
                <a:lnTo>
                  <a:pt x="7" y="30"/>
                </a:lnTo>
                <a:lnTo>
                  <a:pt x="10" y="29"/>
                </a:lnTo>
                <a:lnTo>
                  <a:pt x="13" y="31"/>
                </a:lnTo>
                <a:lnTo>
                  <a:pt x="14" y="31"/>
                </a:lnTo>
                <a:lnTo>
                  <a:pt x="12" y="29"/>
                </a:lnTo>
                <a:lnTo>
                  <a:pt x="11" y="27"/>
                </a:lnTo>
                <a:lnTo>
                  <a:pt x="9" y="25"/>
                </a:lnTo>
                <a:lnTo>
                  <a:pt x="9" y="23"/>
                </a:lnTo>
                <a:lnTo>
                  <a:pt x="9" y="22"/>
                </a:lnTo>
                <a:lnTo>
                  <a:pt x="8" y="21"/>
                </a:lnTo>
                <a:lnTo>
                  <a:pt x="7" y="21"/>
                </a:lnTo>
                <a:lnTo>
                  <a:pt x="4" y="20"/>
                </a:lnTo>
                <a:lnTo>
                  <a:pt x="4" y="19"/>
                </a:lnTo>
                <a:lnTo>
                  <a:pt x="4" y="19"/>
                </a:lnTo>
                <a:lnTo>
                  <a:pt x="2" y="17"/>
                </a:lnTo>
                <a:lnTo>
                  <a:pt x="1" y="16"/>
                </a:lnTo>
                <a:lnTo>
                  <a:pt x="0" y="15"/>
                </a:lnTo>
                <a:lnTo>
                  <a:pt x="1" y="15"/>
                </a:lnTo>
                <a:lnTo>
                  <a:pt x="3" y="12"/>
                </a:lnTo>
                <a:lnTo>
                  <a:pt x="7" y="7"/>
                </a:lnTo>
                <a:lnTo>
                  <a:pt x="11" y="6"/>
                </a:lnTo>
                <a:lnTo>
                  <a:pt x="17" y="6"/>
                </a:lnTo>
                <a:lnTo>
                  <a:pt x="20" y="5"/>
                </a:lnTo>
                <a:lnTo>
                  <a:pt x="22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25" name="Freeform 224"/>
          <p:cNvSpPr>
            <a:spLocks/>
          </p:cNvSpPr>
          <p:nvPr/>
        </p:nvSpPr>
        <p:spPr bwMode="auto">
          <a:xfrm>
            <a:off x="7138988" y="3378166"/>
            <a:ext cx="242887" cy="173038"/>
          </a:xfrm>
          <a:custGeom>
            <a:avLst/>
            <a:gdLst>
              <a:gd name="T0" fmla="*/ 72 w 153"/>
              <a:gd name="T1" fmla="*/ 44 h 109"/>
              <a:gd name="T2" fmla="*/ 77 w 153"/>
              <a:gd name="T3" fmla="*/ 51 h 109"/>
              <a:gd name="T4" fmla="*/ 81 w 153"/>
              <a:gd name="T5" fmla="*/ 52 h 109"/>
              <a:gd name="T6" fmla="*/ 83 w 153"/>
              <a:gd name="T7" fmla="*/ 40 h 109"/>
              <a:gd name="T8" fmla="*/ 86 w 153"/>
              <a:gd name="T9" fmla="*/ 40 h 109"/>
              <a:gd name="T10" fmla="*/ 90 w 153"/>
              <a:gd name="T11" fmla="*/ 45 h 109"/>
              <a:gd name="T12" fmla="*/ 92 w 153"/>
              <a:gd name="T13" fmla="*/ 42 h 109"/>
              <a:gd name="T14" fmla="*/ 89 w 153"/>
              <a:gd name="T15" fmla="*/ 37 h 109"/>
              <a:gd name="T16" fmla="*/ 94 w 153"/>
              <a:gd name="T17" fmla="*/ 32 h 109"/>
              <a:gd name="T18" fmla="*/ 93 w 153"/>
              <a:gd name="T19" fmla="*/ 27 h 109"/>
              <a:gd name="T20" fmla="*/ 101 w 153"/>
              <a:gd name="T21" fmla="*/ 21 h 109"/>
              <a:gd name="T22" fmla="*/ 109 w 153"/>
              <a:gd name="T23" fmla="*/ 6 h 109"/>
              <a:gd name="T24" fmla="*/ 111 w 153"/>
              <a:gd name="T25" fmla="*/ 0 h 109"/>
              <a:gd name="T26" fmla="*/ 112 w 153"/>
              <a:gd name="T27" fmla="*/ 4 h 109"/>
              <a:gd name="T28" fmla="*/ 115 w 153"/>
              <a:gd name="T29" fmla="*/ 2 h 109"/>
              <a:gd name="T30" fmla="*/ 119 w 153"/>
              <a:gd name="T31" fmla="*/ 1 h 109"/>
              <a:gd name="T32" fmla="*/ 123 w 153"/>
              <a:gd name="T33" fmla="*/ 6 h 109"/>
              <a:gd name="T34" fmla="*/ 126 w 153"/>
              <a:gd name="T35" fmla="*/ 14 h 109"/>
              <a:gd name="T36" fmla="*/ 129 w 153"/>
              <a:gd name="T37" fmla="*/ 18 h 109"/>
              <a:gd name="T38" fmla="*/ 133 w 153"/>
              <a:gd name="T39" fmla="*/ 18 h 109"/>
              <a:gd name="T40" fmla="*/ 133 w 153"/>
              <a:gd name="T41" fmla="*/ 22 h 109"/>
              <a:gd name="T42" fmla="*/ 136 w 153"/>
              <a:gd name="T43" fmla="*/ 21 h 109"/>
              <a:gd name="T44" fmla="*/ 144 w 153"/>
              <a:gd name="T45" fmla="*/ 27 h 109"/>
              <a:gd name="T46" fmla="*/ 153 w 153"/>
              <a:gd name="T47" fmla="*/ 31 h 109"/>
              <a:gd name="T48" fmla="*/ 147 w 153"/>
              <a:gd name="T49" fmla="*/ 36 h 109"/>
              <a:gd name="T50" fmla="*/ 140 w 153"/>
              <a:gd name="T51" fmla="*/ 36 h 109"/>
              <a:gd name="T52" fmla="*/ 137 w 153"/>
              <a:gd name="T53" fmla="*/ 41 h 109"/>
              <a:gd name="T54" fmla="*/ 143 w 153"/>
              <a:gd name="T55" fmla="*/ 44 h 109"/>
              <a:gd name="T56" fmla="*/ 134 w 153"/>
              <a:gd name="T57" fmla="*/ 49 h 109"/>
              <a:gd name="T58" fmla="*/ 130 w 153"/>
              <a:gd name="T59" fmla="*/ 47 h 109"/>
              <a:gd name="T60" fmla="*/ 127 w 153"/>
              <a:gd name="T61" fmla="*/ 50 h 109"/>
              <a:gd name="T62" fmla="*/ 120 w 153"/>
              <a:gd name="T63" fmla="*/ 47 h 109"/>
              <a:gd name="T64" fmla="*/ 97 w 153"/>
              <a:gd name="T65" fmla="*/ 50 h 109"/>
              <a:gd name="T66" fmla="*/ 94 w 153"/>
              <a:gd name="T67" fmla="*/ 67 h 109"/>
              <a:gd name="T68" fmla="*/ 83 w 153"/>
              <a:gd name="T69" fmla="*/ 91 h 109"/>
              <a:gd name="T70" fmla="*/ 77 w 153"/>
              <a:gd name="T71" fmla="*/ 99 h 109"/>
              <a:gd name="T72" fmla="*/ 67 w 153"/>
              <a:gd name="T73" fmla="*/ 102 h 109"/>
              <a:gd name="T74" fmla="*/ 55 w 153"/>
              <a:gd name="T75" fmla="*/ 101 h 109"/>
              <a:gd name="T76" fmla="*/ 52 w 153"/>
              <a:gd name="T77" fmla="*/ 99 h 109"/>
              <a:gd name="T78" fmla="*/ 41 w 153"/>
              <a:gd name="T79" fmla="*/ 101 h 109"/>
              <a:gd name="T80" fmla="*/ 32 w 153"/>
              <a:gd name="T81" fmla="*/ 108 h 109"/>
              <a:gd name="T82" fmla="*/ 23 w 153"/>
              <a:gd name="T83" fmla="*/ 108 h 109"/>
              <a:gd name="T84" fmla="*/ 12 w 153"/>
              <a:gd name="T85" fmla="*/ 108 h 109"/>
              <a:gd name="T86" fmla="*/ 0 w 153"/>
              <a:gd name="T87" fmla="*/ 89 h 109"/>
              <a:gd name="T88" fmla="*/ 2 w 153"/>
              <a:gd name="T89" fmla="*/ 88 h 109"/>
              <a:gd name="T90" fmla="*/ 9 w 153"/>
              <a:gd name="T91" fmla="*/ 93 h 109"/>
              <a:gd name="T92" fmla="*/ 15 w 153"/>
              <a:gd name="T93" fmla="*/ 94 h 109"/>
              <a:gd name="T94" fmla="*/ 25 w 153"/>
              <a:gd name="T95" fmla="*/ 97 h 109"/>
              <a:gd name="T96" fmla="*/ 26 w 153"/>
              <a:gd name="T97" fmla="*/ 89 h 109"/>
              <a:gd name="T98" fmla="*/ 28 w 153"/>
              <a:gd name="T99" fmla="*/ 82 h 109"/>
              <a:gd name="T100" fmla="*/ 30 w 153"/>
              <a:gd name="T101" fmla="*/ 79 h 109"/>
              <a:gd name="T102" fmla="*/ 34 w 153"/>
              <a:gd name="T103" fmla="*/ 73 h 109"/>
              <a:gd name="T104" fmla="*/ 40 w 153"/>
              <a:gd name="T105" fmla="*/ 72 h 109"/>
              <a:gd name="T106" fmla="*/ 46 w 153"/>
              <a:gd name="T107" fmla="*/ 71 h 109"/>
              <a:gd name="T108" fmla="*/ 55 w 153"/>
              <a:gd name="T109" fmla="*/ 67 h 109"/>
              <a:gd name="T110" fmla="*/ 62 w 153"/>
              <a:gd name="T111" fmla="*/ 55 h 109"/>
              <a:gd name="T112" fmla="*/ 69 w 153"/>
              <a:gd name="T113" fmla="*/ 43 h 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3" h="109">
                <a:moveTo>
                  <a:pt x="70" y="42"/>
                </a:moveTo>
                <a:lnTo>
                  <a:pt x="71" y="43"/>
                </a:lnTo>
                <a:lnTo>
                  <a:pt x="72" y="44"/>
                </a:lnTo>
                <a:lnTo>
                  <a:pt x="74" y="48"/>
                </a:lnTo>
                <a:lnTo>
                  <a:pt x="75" y="49"/>
                </a:lnTo>
                <a:lnTo>
                  <a:pt x="77" y="51"/>
                </a:lnTo>
                <a:lnTo>
                  <a:pt x="79" y="52"/>
                </a:lnTo>
                <a:lnTo>
                  <a:pt x="80" y="52"/>
                </a:lnTo>
                <a:lnTo>
                  <a:pt x="81" y="52"/>
                </a:lnTo>
                <a:lnTo>
                  <a:pt x="82" y="49"/>
                </a:lnTo>
                <a:lnTo>
                  <a:pt x="82" y="41"/>
                </a:lnTo>
                <a:lnTo>
                  <a:pt x="83" y="40"/>
                </a:lnTo>
                <a:lnTo>
                  <a:pt x="84" y="39"/>
                </a:lnTo>
                <a:lnTo>
                  <a:pt x="85" y="39"/>
                </a:lnTo>
                <a:lnTo>
                  <a:pt x="86" y="40"/>
                </a:lnTo>
                <a:lnTo>
                  <a:pt x="87" y="42"/>
                </a:lnTo>
                <a:lnTo>
                  <a:pt x="89" y="44"/>
                </a:lnTo>
                <a:lnTo>
                  <a:pt x="90" y="45"/>
                </a:lnTo>
                <a:lnTo>
                  <a:pt x="92" y="45"/>
                </a:lnTo>
                <a:lnTo>
                  <a:pt x="92" y="44"/>
                </a:lnTo>
                <a:lnTo>
                  <a:pt x="92" y="42"/>
                </a:lnTo>
                <a:lnTo>
                  <a:pt x="92" y="40"/>
                </a:lnTo>
                <a:lnTo>
                  <a:pt x="91" y="38"/>
                </a:lnTo>
                <a:lnTo>
                  <a:pt x="89" y="37"/>
                </a:lnTo>
                <a:lnTo>
                  <a:pt x="91" y="36"/>
                </a:lnTo>
                <a:lnTo>
                  <a:pt x="92" y="34"/>
                </a:lnTo>
                <a:lnTo>
                  <a:pt x="94" y="32"/>
                </a:lnTo>
                <a:lnTo>
                  <a:pt x="92" y="31"/>
                </a:lnTo>
                <a:lnTo>
                  <a:pt x="91" y="29"/>
                </a:lnTo>
                <a:lnTo>
                  <a:pt x="93" y="27"/>
                </a:lnTo>
                <a:lnTo>
                  <a:pt x="94" y="26"/>
                </a:lnTo>
                <a:lnTo>
                  <a:pt x="96" y="26"/>
                </a:lnTo>
                <a:lnTo>
                  <a:pt x="101" y="21"/>
                </a:lnTo>
                <a:lnTo>
                  <a:pt x="102" y="17"/>
                </a:lnTo>
                <a:lnTo>
                  <a:pt x="102" y="16"/>
                </a:lnTo>
                <a:lnTo>
                  <a:pt x="109" y="6"/>
                </a:lnTo>
                <a:lnTo>
                  <a:pt x="110" y="3"/>
                </a:lnTo>
                <a:lnTo>
                  <a:pt x="110" y="2"/>
                </a:lnTo>
                <a:lnTo>
                  <a:pt x="111" y="0"/>
                </a:lnTo>
                <a:lnTo>
                  <a:pt x="112" y="0"/>
                </a:lnTo>
                <a:lnTo>
                  <a:pt x="112" y="1"/>
                </a:lnTo>
                <a:lnTo>
                  <a:pt x="112" y="4"/>
                </a:lnTo>
                <a:lnTo>
                  <a:pt x="112" y="6"/>
                </a:lnTo>
                <a:lnTo>
                  <a:pt x="112" y="7"/>
                </a:lnTo>
                <a:lnTo>
                  <a:pt x="115" y="2"/>
                </a:lnTo>
                <a:lnTo>
                  <a:pt x="115" y="0"/>
                </a:lnTo>
                <a:lnTo>
                  <a:pt x="117" y="0"/>
                </a:lnTo>
                <a:lnTo>
                  <a:pt x="119" y="1"/>
                </a:lnTo>
                <a:lnTo>
                  <a:pt x="120" y="6"/>
                </a:lnTo>
                <a:lnTo>
                  <a:pt x="122" y="7"/>
                </a:lnTo>
                <a:lnTo>
                  <a:pt x="123" y="6"/>
                </a:lnTo>
                <a:lnTo>
                  <a:pt x="126" y="9"/>
                </a:lnTo>
                <a:lnTo>
                  <a:pt x="127" y="12"/>
                </a:lnTo>
                <a:lnTo>
                  <a:pt x="126" y="14"/>
                </a:lnTo>
                <a:lnTo>
                  <a:pt x="126" y="19"/>
                </a:lnTo>
                <a:lnTo>
                  <a:pt x="127" y="19"/>
                </a:lnTo>
                <a:lnTo>
                  <a:pt x="129" y="18"/>
                </a:lnTo>
                <a:lnTo>
                  <a:pt x="130" y="19"/>
                </a:lnTo>
                <a:lnTo>
                  <a:pt x="131" y="18"/>
                </a:lnTo>
                <a:lnTo>
                  <a:pt x="133" y="18"/>
                </a:lnTo>
                <a:lnTo>
                  <a:pt x="134" y="19"/>
                </a:lnTo>
                <a:lnTo>
                  <a:pt x="134" y="21"/>
                </a:lnTo>
                <a:lnTo>
                  <a:pt x="133" y="22"/>
                </a:lnTo>
                <a:lnTo>
                  <a:pt x="133" y="23"/>
                </a:lnTo>
                <a:lnTo>
                  <a:pt x="134" y="23"/>
                </a:lnTo>
                <a:lnTo>
                  <a:pt x="136" y="21"/>
                </a:lnTo>
                <a:lnTo>
                  <a:pt x="137" y="21"/>
                </a:lnTo>
                <a:lnTo>
                  <a:pt x="140" y="22"/>
                </a:lnTo>
                <a:lnTo>
                  <a:pt x="144" y="27"/>
                </a:lnTo>
                <a:lnTo>
                  <a:pt x="151" y="29"/>
                </a:lnTo>
                <a:lnTo>
                  <a:pt x="153" y="30"/>
                </a:lnTo>
                <a:lnTo>
                  <a:pt x="153" y="31"/>
                </a:lnTo>
                <a:lnTo>
                  <a:pt x="153" y="33"/>
                </a:lnTo>
                <a:lnTo>
                  <a:pt x="150" y="34"/>
                </a:lnTo>
                <a:lnTo>
                  <a:pt x="147" y="36"/>
                </a:lnTo>
                <a:lnTo>
                  <a:pt x="145" y="37"/>
                </a:lnTo>
                <a:lnTo>
                  <a:pt x="142" y="38"/>
                </a:lnTo>
                <a:lnTo>
                  <a:pt x="140" y="36"/>
                </a:lnTo>
                <a:lnTo>
                  <a:pt x="137" y="38"/>
                </a:lnTo>
                <a:lnTo>
                  <a:pt x="137" y="40"/>
                </a:lnTo>
                <a:lnTo>
                  <a:pt x="137" y="41"/>
                </a:lnTo>
                <a:lnTo>
                  <a:pt x="140" y="43"/>
                </a:lnTo>
                <a:lnTo>
                  <a:pt x="141" y="43"/>
                </a:lnTo>
                <a:lnTo>
                  <a:pt x="143" y="44"/>
                </a:lnTo>
                <a:lnTo>
                  <a:pt x="143" y="47"/>
                </a:lnTo>
                <a:lnTo>
                  <a:pt x="140" y="47"/>
                </a:lnTo>
                <a:lnTo>
                  <a:pt x="134" y="49"/>
                </a:lnTo>
                <a:lnTo>
                  <a:pt x="133" y="49"/>
                </a:lnTo>
                <a:lnTo>
                  <a:pt x="131" y="49"/>
                </a:lnTo>
                <a:lnTo>
                  <a:pt x="130" y="47"/>
                </a:lnTo>
                <a:lnTo>
                  <a:pt x="129" y="47"/>
                </a:lnTo>
                <a:lnTo>
                  <a:pt x="129" y="49"/>
                </a:lnTo>
                <a:lnTo>
                  <a:pt x="127" y="50"/>
                </a:lnTo>
                <a:lnTo>
                  <a:pt x="126" y="50"/>
                </a:lnTo>
                <a:lnTo>
                  <a:pt x="122" y="49"/>
                </a:lnTo>
                <a:lnTo>
                  <a:pt x="120" y="47"/>
                </a:lnTo>
                <a:lnTo>
                  <a:pt x="104" y="47"/>
                </a:lnTo>
                <a:lnTo>
                  <a:pt x="99" y="47"/>
                </a:lnTo>
                <a:lnTo>
                  <a:pt x="97" y="50"/>
                </a:lnTo>
                <a:lnTo>
                  <a:pt x="95" y="55"/>
                </a:lnTo>
                <a:lnTo>
                  <a:pt x="95" y="62"/>
                </a:lnTo>
                <a:lnTo>
                  <a:pt x="94" y="67"/>
                </a:lnTo>
                <a:lnTo>
                  <a:pt x="86" y="77"/>
                </a:lnTo>
                <a:lnTo>
                  <a:pt x="85" y="85"/>
                </a:lnTo>
                <a:lnTo>
                  <a:pt x="83" y="91"/>
                </a:lnTo>
                <a:lnTo>
                  <a:pt x="81" y="94"/>
                </a:lnTo>
                <a:lnTo>
                  <a:pt x="80" y="98"/>
                </a:lnTo>
                <a:lnTo>
                  <a:pt x="77" y="99"/>
                </a:lnTo>
                <a:lnTo>
                  <a:pt x="74" y="100"/>
                </a:lnTo>
                <a:lnTo>
                  <a:pt x="71" y="101"/>
                </a:lnTo>
                <a:lnTo>
                  <a:pt x="67" y="102"/>
                </a:lnTo>
                <a:lnTo>
                  <a:pt x="64" y="103"/>
                </a:lnTo>
                <a:lnTo>
                  <a:pt x="62" y="103"/>
                </a:lnTo>
                <a:lnTo>
                  <a:pt x="55" y="101"/>
                </a:lnTo>
                <a:lnTo>
                  <a:pt x="54" y="101"/>
                </a:lnTo>
                <a:lnTo>
                  <a:pt x="54" y="99"/>
                </a:lnTo>
                <a:lnTo>
                  <a:pt x="52" y="99"/>
                </a:lnTo>
                <a:lnTo>
                  <a:pt x="44" y="98"/>
                </a:lnTo>
                <a:lnTo>
                  <a:pt x="43" y="99"/>
                </a:lnTo>
                <a:lnTo>
                  <a:pt x="41" y="101"/>
                </a:lnTo>
                <a:lnTo>
                  <a:pt x="36" y="108"/>
                </a:lnTo>
                <a:lnTo>
                  <a:pt x="34" y="109"/>
                </a:lnTo>
                <a:lnTo>
                  <a:pt x="32" y="108"/>
                </a:lnTo>
                <a:lnTo>
                  <a:pt x="29" y="108"/>
                </a:lnTo>
                <a:lnTo>
                  <a:pt x="25" y="109"/>
                </a:lnTo>
                <a:lnTo>
                  <a:pt x="23" y="108"/>
                </a:lnTo>
                <a:lnTo>
                  <a:pt x="20" y="108"/>
                </a:lnTo>
                <a:lnTo>
                  <a:pt x="16" y="109"/>
                </a:lnTo>
                <a:lnTo>
                  <a:pt x="12" y="108"/>
                </a:lnTo>
                <a:lnTo>
                  <a:pt x="9" y="104"/>
                </a:lnTo>
                <a:lnTo>
                  <a:pt x="0" y="91"/>
                </a:lnTo>
                <a:lnTo>
                  <a:pt x="0" y="89"/>
                </a:lnTo>
                <a:lnTo>
                  <a:pt x="1" y="89"/>
                </a:lnTo>
                <a:lnTo>
                  <a:pt x="2" y="88"/>
                </a:lnTo>
                <a:lnTo>
                  <a:pt x="2" y="88"/>
                </a:lnTo>
                <a:lnTo>
                  <a:pt x="3" y="91"/>
                </a:lnTo>
                <a:lnTo>
                  <a:pt x="4" y="92"/>
                </a:lnTo>
                <a:lnTo>
                  <a:pt x="9" y="93"/>
                </a:lnTo>
                <a:lnTo>
                  <a:pt x="10" y="94"/>
                </a:lnTo>
                <a:lnTo>
                  <a:pt x="14" y="93"/>
                </a:lnTo>
                <a:lnTo>
                  <a:pt x="15" y="94"/>
                </a:lnTo>
                <a:lnTo>
                  <a:pt x="18" y="95"/>
                </a:lnTo>
                <a:lnTo>
                  <a:pt x="20" y="97"/>
                </a:lnTo>
                <a:lnTo>
                  <a:pt x="25" y="97"/>
                </a:lnTo>
                <a:lnTo>
                  <a:pt x="25" y="94"/>
                </a:lnTo>
                <a:lnTo>
                  <a:pt x="26" y="92"/>
                </a:lnTo>
                <a:lnTo>
                  <a:pt x="26" y="89"/>
                </a:lnTo>
                <a:lnTo>
                  <a:pt x="28" y="88"/>
                </a:lnTo>
                <a:lnTo>
                  <a:pt x="26" y="84"/>
                </a:lnTo>
                <a:lnTo>
                  <a:pt x="28" y="82"/>
                </a:lnTo>
                <a:lnTo>
                  <a:pt x="30" y="83"/>
                </a:lnTo>
                <a:lnTo>
                  <a:pt x="30" y="84"/>
                </a:lnTo>
                <a:lnTo>
                  <a:pt x="30" y="79"/>
                </a:lnTo>
                <a:lnTo>
                  <a:pt x="31" y="78"/>
                </a:lnTo>
                <a:lnTo>
                  <a:pt x="33" y="74"/>
                </a:lnTo>
                <a:lnTo>
                  <a:pt x="34" y="73"/>
                </a:lnTo>
                <a:lnTo>
                  <a:pt x="39" y="73"/>
                </a:lnTo>
                <a:lnTo>
                  <a:pt x="40" y="72"/>
                </a:lnTo>
                <a:lnTo>
                  <a:pt x="40" y="72"/>
                </a:lnTo>
                <a:lnTo>
                  <a:pt x="41" y="72"/>
                </a:lnTo>
                <a:lnTo>
                  <a:pt x="44" y="72"/>
                </a:lnTo>
                <a:lnTo>
                  <a:pt x="46" y="71"/>
                </a:lnTo>
                <a:lnTo>
                  <a:pt x="51" y="71"/>
                </a:lnTo>
                <a:lnTo>
                  <a:pt x="52" y="70"/>
                </a:lnTo>
                <a:lnTo>
                  <a:pt x="55" y="67"/>
                </a:lnTo>
                <a:lnTo>
                  <a:pt x="59" y="61"/>
                </a:lnTo>
                <a:lnTo>
                  <a:pt x="60" y="59"/>
                </a:lnTo>
                <a:lnTo>
                  <a:pt x="62" y="55"/>
                </a:lnTo>
                <a:lnTo>
                  <a:pt x="66" y="51"/>
                </a:lnTo>
                <a:lnTo>
                  <a:pt x="69" y="47"/>
                </a:lnTo>
                <a:lnTo>
                  <a:pt x="69" y="43"/>
                </a:lnTo>
                <a:lnTo>
                  <a:pt x="70" y="4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26" name="Freeform 225"/>
          <p:cNvSpPr>
            <a:spLocks/>
          </p:cNvSpPr>
          <p:nvPr/>
        </p:nvSpPr>
        <p:spPr bwMode="auto">
          <a:xfrm>
            <a:off x="7138988" y="3378166"/>
            <a:ext cx="242887" cy="173038"/>
          </a:xfrm>
          <a:custGeom>
            <a:avLst/>
            <a:gdLst>
              <a:gd name="T0" fmla="*/ 72 w 153"/>
              <a:gd name="T1" fmla="*/ 44 h 109"/>
              <a:gd name="T2" fmla="*/ 77 w 153"/>
              <a:gd name="T3" fmla="*/ 51 h 109"/>
              <a:gd name="T4" fmla="*/ 81 w 153"/>
              <a:gd name="T5" fmla="*/ 52 h 109"/>
              <a:gd name="T6" fmla="*/ 83 w 153"/>
              <a:gd name="T7" fmla="*/ 40 h 109"/>
              <a:gd name="T8" fmla="*/ 86 w 153"/>
              <a:gd name="T9" fmla="*/ 40 h 109"/>
              <a:gd name="T10" fmla="*/ 90 w 153"/>
              <a:gd name="T11" fmla="*/ 45 h 109"/>
              <a:gd name="T12" fmla="*/ 92 w 153"/>
              <a:gd name="T13" fmla="*/ 42 h 109"/>
              <a:gd name="T14" fmla="*/ 89 w 153"/>
              <a:gd name="T15" fmla="*/ 37 h 109"/>
              <a:gd name="T16" fmla="*/ 94 w 153"/>
              <a:gd name="T17" fmla="*/ 32 h 109"/>
              <a:gd name="T18" fmla="*/ 93 w 153"/>
              <a:gd name="T19" fmla="*/ 27 h 109"/>
              <a:gd name="T20" fmla="*/ 101 w 153"/>
              <a:gd name="T21" fmla="*/ 21 h 109"/>
              <a:gd name="T22" fmla="*/ 109 w 153"/>
              <a:gd name="T23" fmla="*/ 6 h 109"/>
              <a:gd name="T24" fmla="*/ 111 w 153"/>
              <a:gd name="T25" fmla="*/ 0 h 109"/>
              <a:gd name="T26" fmla="*/ 112 w 153"/>
              <a:gd name="T27" fmla="*/ 4 h 109"/>
              <a:gd name="T28" fmla="*/ 115 w 153"/>
              <a:gd name="T29" fmla="*/ 2 h 109"/>
              <a:gd name="T30" fmla="*/ 119 w 153"/>
              <a:gd name="T31" fmla="*/ 1 h 109"/>
              <a:gd name="T32" fmla="*/ 123 w 153"/>
              <a:gd name="T33" fmla="*/ 6 h 109"/>
              <a:gd name="T34" fmla="*/ 126 w 153"/>
              <a:gd name="T35" fmla="*/ 14 h 109"/>
              <a:gd name="T36" fmla="*/ 129 w 153"/>
              <a:gd name="T37" fmla="*/ 18 h 109"/>
              <a:gd name="T38" fmla="*/ 133 w 153"/>
              <a:gd name="T39" fmla="*/ 18 h 109"/>
              <a:gd name="T40" fmla="*/ 133 w 153"/>
              <a:gd name="T41" fmla="*/ 22 h 109"/>
              <a:gd name="T42" fmla="*/ 136 w 153"/>
              <a:gd name="T43" fmla="*/ 21 h 109"/>
              <a:gd name="T44" fmla="*/ 144 w 153"/>
              <a:gd name="T45" fmla="*/ 27 h 109"/>
              <a:gd name="T46" fmla="*/ 153 w 153"/>
              <a:gd name="T47" fmla="*/ 31 h 109"/>
              <a:gd name="T48" fmla="*/ 147 w 153"/>
              <a:gd name="T49" fmla="*/ 36 h 109"/>
              <a:gd name="T50" fmla="*/ 140 w 153"/>
              <a:gd name="T51" fmla="*/ 36 h 109"/>
              <a:gd name="T52" fmla="*/ 137 w 153"/>
              <a:gd name="T53" fmla="*/ 41 h 109"/>
              <a:gd name="T54" fmla="*/ 143 w 153"/>
              <a:gd name="T55" fmla="*/ 44 h 109"/>
              <a:gd name="T56" fmla="*/ 134 w 153"/>
              <a:gd name="T57" fmla="*/ 49 h 109"/>
              <a:gd name="T58" fmla="*/ 130 w 153"/>
              <a:gd name="T59" fmla="*/ 47 h 109"/>
              <a:gd name="T60" fmla="*/ 127 w 153"/>
              <a:gd name="T61" fmla="*/ 50 h 109"/>
              <a:gd name="T62" fmla="*/ 120 w 153"/>
              <a:gd name="T63" fmla="*/ 47 h 109"/>
              <a:gd name="T64" fmla="*/ 97 w 153"/>
              <a:gd name="T65" fmla="*/ 50 h 109"/>
              <a:gd name="T66" fmla="*/ 94 w 153"/>
              <a:gd name="T67" fmla="*/ 67 h 109"/>
              <a:gd name="T68" fmla="*/ 83 w 153"/>
              <a:gd name="T69" fmla="*/ 91 h 109"/>
              <a:gd name="T70" fmla="*/ 77 w 153"/>
              <a:gd name="T71" fmla="*/ 99 h 109"/>
              <a:gd name="T72" fmla="*/ 67 w 153"/>
              <a:gd name="T73" fmla="*/ 102 h 109"/>
              <a:gd name="T74" fmla="*/ 55 w 153"/>
              <a:gd name="T75" fmla="*/ 101 h 109"/>
              <a:gd name="T76" fmla="*/ 52 w 153"/>
              <a:gd name="T77" fmla="*/ 99 h 109"/>
              <a:gd name="T78" fmla="*/ 41 w 153"/>
              <a:gd name="T79" fmla="*/ 101 h 109"/>
              <a:gd name="T80" fmla="*/ 32 w 153"/>
              <a:gd name="T81" fmla="*/ 108 h 109"/>
              <a:gd name="T82" fmla="*/ 23 w 153"/>
              <a:gd name="T83" fmla="*/ 108 h 109"/>
              <a:gd name="T84" fmla="*/ 12 w 153"/>
              <a:gd name="T85" fmla="*/ 108 h 109"/>
              <a:gd name="T86" fmla="*/ 0 w 153"/>
              <a:gd name="T87" fmla="*/ 89 h 109"/>
              <a:gd name="T88" fmla="*/ 2 w 153"/>
              <a:gd name="T89" fmla="*/ 88 h 109"/>
              <a:gd name="T90" fmla="*/ 9 w 153"/>
              <a:gd name="T91" fmla="*/ 93 h 109"/>
              <a:gd name="T92" fmla="*/ 15 w 153"/>
              <a:gd name="T93" fmla="*/ 94 h 109"/>
              <a:gd name="T94" fmla="*/ 25 w 153"/>
              <a:gd name="T95" fmla="*/ 97 h 109"/>
              <a:gd name="T96" fmla="*/ 26 w 153"/>
              <a:gd name="T97" fmla="*/ 89 h 109"/>
              <a:gd name="T98" fmla="*/ 28 w 153"/>
              <a:gd name="T99" fmla="*/ 82 h 109"/>
              <a:gd name="T100" fmla="*/ 30 w 153"/>
              <a:gd name="T101" fmla="*/ 79 h 109"/>
              <a:gd name="T102" fmla="*/ 34 w 153"/>
              <a:gd name="T103" fmla="*/ 73 h 109"/>
              <a:gd name="T104" fmla="*/ 40 w 153"/>
              <a:gd name="T105" fmla="*/ 72 h 109"/>
              <a:gd name="T106" fmla="*/ 46 w 153"/>
              <a:gd name="T107" fmla="*/ 71 h 109"/>
              <a:gd name="T108" fmla="*/ 55 w 153"/>
              <a:gd name="T109" fmla="*/ 67 h 109"/>
              <a:gd name="T110" fmla="*/ 62 w 153"/>
              <a:gd name="T111" fmla="*/ 55 h 109"/>
              <a:gd name="T112" fmla="*/ 69 w 153"/>
              <a:gd name="T113" fmla="*/ 43 h 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3" h="109">
                <a:moveTo>
                  <a:pt x="70" y="42"/>
                </a:moveTo>
                <a:lnTo>
                  <a:pt x="71" y="43"/>
                </a:lnTo>
                <a:lnTo>
                  <a:pt x="72" y="44"/>
                </a:lnTo>
                <a:lnTo>
                  <a:pt x="74" y="48"/>
                </a:lnTo>
                <a:lnTo>
                  <a:pt x="75" y="49"/>
                </a:lnTo>
                <a:lnTo>
                  <a:pt x="77" y="51"/>
                </a:lnTo>
                <a:lnTo>
                  <a:pt x="79" y="52"/>
                </a:lnTo>
                <a:lnTo>
                  <a:pt x="80" y="52"/>
                </a:lnTo>
                <a:lnTo>
                  <a:pt x="81" y="52"/>
                </a:lnTo>
                <a:lnTo>
                  <a:pt x="82" y="49"/>
                </a:lnTo>
                <a:lnTo>
                  <a:pt x="82" y="41"/>
                </a:lnTo>
                <a:lnTo>
                  <a:pt x="83" y="40"/>
                </a:lnTo>
                <a:lnTo>
                  <a:pt x="84" y="39"/>
                </a:lnTo>
                <a:lnTo>
                  <a:pt x="85" y="39"/>
                </a:lnTo>
                <a:lnTo>
                  <a:pt x="86" y="40"/>
                </a:lnTo>
                <a:lnTo>
                  <a:pt x="87" y="42"/>
                </a:lnTo>
                <a:lnTo>
                  <a:pt x="89" y="44"/>
                </a:lnTo>
                <a:lnTo>
                  <a:pt x="90" y="45"/>
                </a:lnTo>
                <a:lnTo>
                  <a:pt x="92" y="45"/>
                </a:lnTo>
                <a:lnTo>
                  <a:pt x="92" y="44"/>
                </a:lnTo>
                <a:lnTo>
                  <a:pt x="92" y="42"/>
                </a:lnTo>
                <a:lnTo>
                  <a:pt x="92" y="40"/>
                </a:lnTo>
                <a:lnTo>
                  <a:pt x="91" y="38"/>
                </a:lnTo>
                <a:lnTo>
                  <a:pt x="89" y="37"/>
                </a:lnTo>
                <a:lnTo>
                  <a:pt x="91" y="36"/>
                </a:lnTo>
                <a:lnTo>
                  <a:pt x="92" y="34"/>
                </a:lnTo>
                <a:lnTo>
                  <a:pt x="94" y="32"/>
                </a:lnTo>
                <a:lnTo>
                  <a:pt x="92" y="31"/>
                </a:lnTo>
                <a:lnTo>
                  <a:pt x="91" y="29"/>
                </a:lnTo>
                <a:lnTo>
                  <a:pt x="93" y="27"/>
                </a:lnTo>
                <a:lnTo>
                  <a:pt x="94" y="26"/>
                </a:lnTo>
                <a:lnTo>
                  <a:pt x="96" y="26"/>
                </a:lnTo>
                <a:lnTo>
                  <a:pt x="101" y="21"/>
                </a:lnTo>
                <a:lnTo>
                  <a:pt x="102" y="17"/>
                </a:lnTo>
                <a:lnTo>
                  <a:pt x="102" y="16"/>
                </a:lnTo>
                <a:lnTo>
                  <a:pt x="109" y="6"/>
                </a:lnTo>
                <a:lnTo>
                  <a:pt x="110" y="3"/>
                </a:lnTo>
                <a:lnTo>
                  <a:pt x="110" y="2"/>
                </a:lnTo>
                <a:lnTo>
                  <a:pt x="111" y="0"/>
                </a:lnTo>
                <a:lnTo>
                  <a:pt x="112" y="0"/>
                </a:lnTo>
                <a:lnTo>
                  <a:pt x="112" y="1"/>
                </a:lnTo>
                <a:lnTo>
                  <a:pt x="112" y="4"/>
                </a:lnTo>
                <a:lnTo>
                  <a:pt x="112" y="6"/>
                </a:lnTo>
                <a:lnTo>
                  <a:pt x="112" y="7"/>
                </a:lnTo>
                <a:lnTo>
                  <a:pt x="115" y="2"/>
                </a:lnTo>
                <a:lnTo>
                  <a:pt x="115" y="0"/>
                </a:lnTo>
                <a:lnTo>
                  <a:pt x="117" y="0"/>
                </a:lnTo>
                <a:lnTo>
                  <a:pt x="119" y="1"/>
                </a:lnTo>
                <a:lnTo>
                  <a:pt x="120" y="6"/>
                </a:lnTo>
                <a:lnTo>
                  <a:pt x="122" y="7"/>
                </a:lnTo>
                <a:lnTo>
                  <a:pt x="123" y="6"/>
                </a:lnTo>
                <a:lnTo>
                  <a:pt x="126" y="9"/>
                </a:lnTo>
                <a:lnTo>
                  <a:pt x="127" y="12"/>
                </a:lnTo>
                <a:lnTo>
                  <a:pt x="126" y="14"/>
                </a:lnTo>
                <a:lnTo>
                  <a:pt x="126" y="19"/>
                </a:lnTo>
                <a:lnTo>
                  <a:pt x="127" y="19"/>
                </a:lnTo>
                <a:lnTo>
                  <a:pt x="129" y="18"/>
                </a:lnTo>
                <a:lnTo>
                  <a:pt x="130" y="19"/>
                </a:lnTo>
                <a:lnTo>
                  <a:pt x="131" y="18"/>
                </a:lnTo>
                <a:lnTo>
                  <a:pt x="133" y="18"/>
                </a:lnTo>
                <a:lnTo>
                  <a:pt x="134" y="19"/>
                </a:lnTo>
                <a:lnTo>
                  <a:pt x="134" y="21"/>
                </a:lnTo>
                <a:lnTo>
                  <a:pt x="133" y="22"/>
                </a:lnTo>
                <a:lnTo>
                  <a:pt x="133" y="23"/>
                </a:lnTo>
                <a:lnTo>
                  <a:pt x="134" y="23"/>
                </a:lnTo>
                <a:lnTo>
                  <a:pt x="136" y="21"/>
                </a:lnTo>
                <a:lnTo>
                  <a:pt x="137" y="21"/>
                </a:lnTo>
                <a:lnTo>
                  <a:pt x="140" y="22"/>
                </a:lnTo>
                <a:lnTo>
                  <a:pt x="144" y="27"/>
                </a:lnTo>
                <a:lnTo>
                  <a:pt x="151" y="29"/>
                </a:lnTo>
                <a:lnTo>
                  <a:pt x="153" y="30"/>
                </a:lnTo>
                <a:lnTo>
                  <a:pt x="153" y="31"/>
                </a:lnTo>
                <a:lnTo>
                  <a:pt x="153" y="33"/>
                </a:lnTo>
                <a:lnTo>
                  <a:pt x="150" y="34"/>
                </a:lnTo>
                <a:lnTo>
                  <a:pt x="147" y="36"/>
                </a:lnTo>
                <a:lnTo>
                  <a:pt x="145" y="37"/>
                </a:lnTo>
                <a:lnTo>
                  <a:pt x="142" y="38"/>
                </a:lnTo>
                <a:lnTo>
                  <a:pt x="140" y="36"/>
                </a:lnTo>
                <a:lnTo>
                  <a:pt x="137" y="38"/>
                </a:lnTo>
                <a:lnTo>
                  <a:pt x="137" y="40"/>
                </a:lnTo>
                <a:lnTo>
                  <a:pt x="137" y="41"/>
                </a:lnTo>
                <a:lnTo>
                  <a:pt x="140" y="43"/>
                </a:lnTo>
                <a:lnTo>
                  <a:pt x="141" y="43"/>
                </a:lnTo>
                <a:lnTo>
                  <a:pt x="143" y="44"/>
                </a:lnTo>
                <a:lnTo>
                  <a:pt x="143" y="47"/>
                </a:lnTo>
                <a:lnTo>
                  <a:pt x="140" y="47"/>
                </a:lnTo>
                <a:lnTo>
                  <a:pt x="134" y="49"/>
                </a:lnTo>
                <a:lnTo>
                  <a:pt x="133" y="49"/>
                </a:lnTo>
                <a:lnTo>
                  <a:pt x="131" y="49"/>
                </a:lnTo>
                <a:lnTo>
                  <a:pt x="130" y="47"/>
                </a:lnTo>
                <a:lnTo>
                  <a:pt x="129" y="47"/>
                </a:lnTo>
                <a:lnTo>
                  <a:pt x="129" y="49"/>
                </a:lnTo>
                <a:lnTo>
                  <a:pt x="127" y="50"/>
                </a:lnTo>
                <a:lnTo>
                  <a:pt x="126" y="50"/>
                </a:lnTo>
                <a:lnTo>
                  <a:pt x="122" y="49"/>
                </a:lnTo>
                <a:lnTo>
                  <a:pt x="120" y="47"/>
                </a:lnTo>
                <a:lnTo>
                  <a:pt x="104" y="47"/>
                </a:lnTo>
                <a:lnTo>
                  <a:pt x="99" y="47"/>
                </a:lnTo>
                <a:lnTo>
                  <a:pt x="97" y="50"/>
                </a:lnTo>
                <a:lnTo>
                  <a:pt x="95" y="55"/>
                </a:lnTo>
                <a:lnTo>
                  <a:pt x="95" y="62"/>
                </a:lnTo>
                <a:lnTo>
                  <a:pt x="94" y="67"/>
                </a:lnTo>
                <a:lnTo>
                  <a:pt x="86" y="77"/>
                </a:lnTo>
                <a:lnTo>
                  <a:pt x="85" y="85"/>
                </a:lnTo>
                <a:lnTo>
                  <a:pt x="83" y="91"/>
                </a:lnTo>
                <a:lnTo>
                  <a:pt x="81" y="94"/>
                </a:lnTo>
                <a:lnTo>
                  <a:pt x="80" y="98"/>
                </a:lnTo>
                <a:lnTo>
                  <a:pt x="77" y="99"/>
                </a:lnTo>
                <a:lnTo>
                  <a:pt x="74" y="100"/>
                </a:lnTo>
                <a:lnTo>
                  <a:pt x="71" y="101"/>
                </a:lnTo>
                <a:lnTo>
                  <a:pt x="67" y="102"/>
                </a:lnTo>
                <a:lnTo>
                  <a:pt x="64" y="103"/>
                </a:lnTo>
                <a:lnTo>
                  <a:pt x="62" y="103"/>
                </a:lnTo>
                <a:lnTo>
                  <a:pt x="55" y="101"/>
                </a:lnTo>
                <a:lnTo>
                  <a:pt x="54" y="101"/>
                </a:lnTo>
                <a:lnTo>
                  <a:pt x="54" y="99"/>
                </a:lnTo>
                <a:lnTo>
                  <a:pt x="52" y="99"/>
                </a:lnTo>
                <a:lnTo>
                  <a:pt x="44" y="98"/>
                </a:lnTo>
                <a:lnTo>
                  <a:pt x="43" y="99"/>
                </a:lnTo>
                <a:lnTo>
                  <a:pt x="41" y="101"/>
                </a:lnTo>
                <a:lnTo>
                  <a:pt x="36" y="108"/>
                </a:lnTo>
                <a:lnTo>
                  <a:pt x="34" y="109"/>
                </a:lnTo>
                <a:lnTo>
                  <a:pt x="32" y="108"/>
                </a:lnTo>
                <a:lnTo>
                  <a:pt x="29" y="108"/>
                </a:lnTo>
                <a:lnTo>
                  <a:pt x="25" y="109"/>
                </a:lnTo>
                <a:lnTo>
                  <a:pt x="23" y="108"/>
                </a:lnTo>
                <a:lnTo>
                  <a:pt x="20" y="108"/>
                </a:lnTo>
                <a:lnTo>
                  <a:pt x="16" y="109"/>
                </a:lnTo>
                <a:lnTo>
                  <a:pt x="12" y="108"/>
                </a:lnTo>
                <a:lnTo>
                  <a:pt x="9" y="104"/>
                </a:lnTo>
                <a:lnTo>
                  <a:pt x="0" y="91"/>
                </a:lnTo>
                <a:lnTo>
                  <a:pt x="0" y="89"/>
                </a:lnTo>
                <a:lnTo>
                  <a:pt x="1" y="89"/>
                </a:lnTo>
                <a:lnTo>
                  <a:pt x="2" y="88"/>
                </a:lnTo>
                <a:lnTo>
                  <a:pt x="2" y="88"/>
                </a:lnTo>
                <a:lnTo>
                  <a:pt x="3" y="91"/>
                </a:lnTo>
                <a:lnTo>
                  <a:pt x="4" y="92"/>
                </a:lnTo>
                <a:lnTo>
                  <a:pt x="9" y="93"/>
                </a:lnTo>
                <a:lnTo>
                  <a:pt x="10" y="94"/>
                </a:lnTo>
                <a:lnTo>
                  <a:pt x="14" y="93"/>
                </a:lnTo>
                <a:lnTo>
                  <a:pt x="15" y="94"/>
                </a:lnTo>
                <a:lnTo>
                  <a:pt x="18" y="95"/>
                </a:lnTo>
                <a:lnTo>
                  <a:pt x="20" y="97"/>
                </a:lnTo>
                <a:lnTo>
                  <a:pt x="25" y="97"/>
                </a:lnTo>
                <a:lnTo>
                  <a:pt x="25" y="94"/>
                </a:lnTo>
                <a:lnTo>
                  <a:pt x="26" y="92"/>
                </a:lnTo>
                <a:lnTo>
                  <a:pt x="26" y="89"/>
                </a:lnTo>
                <a:lnTo>
                  <a:pt x="28" y="88"/>
                </a:lnTo>
                <a:lnTo>
                  <a:pt x="26" y="84"/>
                </a:lnTo>
                <a:lnTo>
                  <a:pt x="28" y="82"/>
                </a:lnTo>
                <a:lnTo>
                  <a:pt x="30" y="83"/>
                </a:lnTo>
                <a:lnTo>
                  <a:pt x="30" y="84"/>
                </a:lnTo>
                <a:lnTo>
                  <a:pt x="30" y="79"/>
                </a:lnTo>
                <a:lnTo>
                  <a:pt x="31" y="78"/>
                </a:lnTo>
                <a:lnTo>
                  <a:pt x="33" y="74"/>
                </a:lnTo>
                <a:lnTo>
                  <a:pt x="34" y="73"/>
                </a:lnTo>
                <a:lnTo>
                  <a:pt x="39" y="73"/>
                </a:lnTo>
                <a:lnTo>
                  <a:pt x="40" y="72"/>
                </a:lnTo>
                <a:lnTo>
                  <a:pt x="40" y="72"/>
                </a:lnTo>
                <a:lnTo>
                  <a:pt x="41" y="72"/>
                </a:lnTo>
                <a:lnTo>
                  <a:pt x="44" y="72"/>
                </a:lnTo>
                <a:lnTo>
                  <a:pt x="46" y="71"/>
                </a:lnTo>
                <a:lnTo>
                  <a:pt x="51" y="71"/>
                </a:lnTo>
                <a:lnTo>
                  <a:pt x="52" y="70"/>
                </a:lnTo>
                <a:lnTo>
                  <a:pt x="55" y="67"/>
                </a:lnTo>
                <a:lnTo>
                  <a:pt x="59" y="61"/>
                </a:lnTo>
                <a:lnTo>
                  <a:pt x="60" y="59"/>
                </a:lnTo>
                <a:lnTo>
                  <a:pt x="62" y="55"/>
                </a:lnTo>
                <a:lnTo>
                  <a:pt x="66" y="51"/>
                </a:lnTo>
                <a:lnTo>
                  <a:pt x="69" y="47"/>
                </a:lnTo>
                <a:lnTo>
                  <a:pt x="69" y="43"/>
                </a:lnTo>
                <a:lnTo>
                  <a:pt x="70" y="4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27" name="Freeform 226"/>
          <p:cNvSpPr>
            <a:spLocks/>
          </p:cNvSpPr>
          <p:nvPr/>
        </p:nvSpPr>
        <p:spPr bwMode="auto">
          <a:xfrm>
            <a:off x="3924300" y="3176553"/>
            <a:ext cx="77787" cy="25400"/>
          </a:xfrm>
          <a:custGeom>
            <a:avLst/>
            <a:gdLst>
              <a:gd name="T0" fmla="*/ 1 w 49"/>
              <a:gd name="T1" fmla="*/ 15 h 16"/>
              <a:gd name="T2" fmla="*/ 2 w 49"/>
              <a:gd name="T3" fmla="*/ 13 h 16"/>
              <a:gd name="T4" fmla="*/ 13 w 49"/>
              <a:gd name="T5" fmla="*/ 12 h 16"/>
              <a:gd name="T6" fmla="*/ 16 w 49"/>
              <a:gd name="T7" fmla="*/ 12 h 16"/>
              <a:gd name="T8" fmla="*/ 16 w 49"/>
              <a:gd name="T9" fmla="*/ 12 h 16"/>
              <a:gd name="T10" fmla="*/ 18 w 49"/>
              <a:gd name="T11" fmla="*/ 9 h 16"/>
              <a:gd name="T12" fmla="*/ 19 w 49"/>
              <a:gd name="T13" fmla="*/ 9 h 16"/>
              <a:gd name="T14" fmla="*/ 20 w 49"/>
              <a:gd name="T15" fmla="*/ 9 h 16"/>
              <a:gd name="T16" fmla="*/ 23 w 49"/>
              <a:gd name="T17" fmla="*/ 9 h 16"/>
              <a:gd name="T18" fmla="*/ 25 w 49"/>
              <a:gd name="T19" fmla="*/ 8 h 16"/>
              <a:gd name="T20" fmla="*/ 26 w 49"/>
              <a:gd name="T21" fmla="*/ 6 h 16"/>
              <a:gd name="T22" fmla="*/ 28 w 49"/>
              <a:gd name="T23" fmla="*/ 6 h 16"/>
              <a:gd name="T24" fmla="*/ 30 w 49"/>
              <a:gd name="T25" fmla="*/ 6 h 16"/>
              <a:gd name="T26" fmla="*/ 31 w 49"/>
              <a:gd name="T27" fmla="*/ 7 h 16"/>
              <a:gd name="T28" fmla="*/ 33 w 49"/>
              <a:gd name="T29" fmla="*/ 8 h 16"/>
              <a:gd name="T30" fmla="*/ 35 w 49"/>
              <a:gd name="T31" fmla="*/ 10 h 16"/>
              <a:gd name="T32" fmla="*/ 38 w 49"/>
              <a:gd name="T33" fmla="*/ 10 h 16"/>
              <a:gd name="T34" fmla="*/ 40 w 49"/>
              <a:gd name="T35" fmla="*/ 12 h 16"/>
              <a:gd name="T36" fmla="*/ 42 w 49"/>
              <a:gd name="T37" fmla="*/ 12 h 16"/>
              <a:gd name="T38" fmla="*/ 42 w 49"/>
              <a:gd name="T39" fmla="*/ 12 h 16"/>
              <a:gd name="T40" fmla="*/ 44 w 49"/>
              <a:gd name="T41" fmla="*/ 10 h 16"/>
              <a:gd name="T42" fmla="*/ 48 w 49"/>
              <a:gd name="T43" fmla="*/ 9 h 16"/>
              <a:gd name="T44" fmla="*/ 49 w 49"/>
              <a:gd name="T45" fmla="*/ 8 h 16"/>
              <a:gd name="T46" fmla="*/ 49 w 49"/>
              <a:gd name="T47" fmla="*/ 7 h 16"/>
              <a:gd name="T48" fmla="*/ 49 w 49"/>
              <a:gd name="T49" fmla="*/ 6 h 16"/>
              <a:gd name="T50" fmla="*/ 49 w 49"/>
              <a:gd name="T51" fmla="*/ 6 h 16"/>
              <a:gd name="T52" fmla="*/ 48 w 49"/>
              <a:gd name="T53" fmla="*/ 6 h 16"/>
              <a:gd name="T54" fmla="*/ 46 w 49"/>
              <a:gd name="T55" fmla="*/ 5 h 16"/>
              <a:gd name="T56" fmla="*/ 45 w 49"/>
              <a:gd name="T57" fmla="*/ 5 h 16"/>
              <a:gd name="T58" fmla="*/ 44 w 49"/>
              <a:gd name="T59" fmla="*/ 6 h 16"/>
              <a:gd name="T60" fmla="*/ 41 w 49"/>
              <a:gd name="T61" fmla="*/ 7 h 16"/>
              <a:gd name="T62" fmla="*/ 40 w 49"/>
              <a:gd name="T63" fmla="*/ 7 h 16"/>
              <a:gd name="T64" fmla="*/ 38 w 49"/>
              <a:gd name="T65" fmla="*/ 6 h 16"/>
              <a:gd name="T66" fmla="*/ 36 w 49"/>
              <a:gd name="T67" fmla="*/ 5 h 16"/>
              <a:gd name="T68" fmla="*/ 36 w 49"/>
              <a:gd name="T69" fmla="*/ 4 h 16"/>
              <a:gd name="T70" fmla="*/ 33 w 49"/>
              <a:gd name="T71" fmla="*/ 4 h 16"/>
              <a:gd name="T72" fmla="*/ 31 w 49"/>
              <a:gd name="T73" fmla="*/ 2 h 16"/>
              <a:gd name="T74" fmla="*/ 30 w 49"/>
              <a:gd name="T75" fmla="*/ 2 h 16"/>
              <a:gd name="T76" fmla="*/ 29 w 49"/>
              <a:gd name="T77" fmla="*/ 0 h 16"/>
              <a:gd name="T78" fmla="*/ 26 w 49"/>
              <a:gd name="T79" fmla="*/ 0 h 16"/>
              <a:gd name="T80" fmla="*/ 25 w 49"/>
              <a:gd name="T81" fmla="*/ 2 h 16"/>
              <a:gd name="T82" fmla="*/ 24 w 49"/>
              <a:gd name="T83" fmla="*/ 2 h 16"/>
              <a:gd name="T84" fmla="*/ 22 w 49"/>
              <a:gd name="T85" fmla="*/ 3 h 16"/>
              <a:gd name="T86" fmla="*/ 21 w 49"/>
              <a:gd name="T87" fmla="*/ 5 h 16"/>
              <a:gd name="T88" fmla="*/ 4 w 49"/>
              <a:gd name="T89" fmla="*/ 5 h 16"/>
              <a:gd name="T90" fmla="*/ 4 w 49"/>
              <a:gd name="T91" fmla="*/ 5 h 16"/>
              <a:gd name="T92" fmla="*/ 4 w 49"/>
              <a:gd name="T93" fmla="*/ 6 h 16"/>
              <a:gd name="T94" fmla="*/ 4 w 49"/>
              <a:gd name="T95" fmla="*/ 7 h 16"/>
              <a:gd name="T96" fmla="*/ 2 w 49"/>
              <a:gd name="T97" fmla="*/ 7 h 16"/>
              <a:gd name="T98" fmla="*/ 2 w 49"/>
              <a:gd name="T99" fmla="*/ 7 h 16"/>
              <a:gd name="T100" fmla="*/ 1 w 49"/>
              <a:gd name="T101" fmla="*/ 9 h 16"/>
              <a:gd name="T102" fmla="*/ 0 w 49"/>
              <a:gd name="T103" fmla="*/ 9 h 16"/>
              <a:gd name="T104" fmla="*/ 0 w 49"/>
              <a:gd name="T105" fmla="*/ 12 h 16"/>
              <a:gd name="T106" fmla="*/ 0 w 49"/>
              <a:gd name="T107" fmla="*/ 15 h 16"/>
              <a:gd name="T108" fmla="*/ 1 w 49"/>
              <a:gd name="T109" fmla="*/ 16 h 16"/>
              <a:gd name="T110" fmla="*/ 1 w 49"/>
              <a:gd name="T111" fmla="*/ 1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9" h="16">
                <a:moveTo>
                  <a:pt x="1" y="15"/>
                </a:moveTo>
                <a:lnTo>
                  <a:pt x="2" y="13"/>
                </a:lnTo>
                <a:lnTo>
                  <a:pt x="13" y="12"/>
                </a:lnTo>
                <a:lnTo>
                  <a:pt x="16" y="12"/>
                </a:lnTo>
                <a:lnTo>
                  <a:pt x="16" y="12"/>
                </a:lnTo>
                <a:lnTo>
                  <a:pt x="18" y="9"/>
                </a:lnTo>
                <a:lnTo>
                  <a:pt x="19" y="9"/>
                </a:lnTo>
                <a:lnTo>
                  <a:pt x="20" y="9"/>
                </a:lnTo>
                <a:lnTo>
                  <a:pt x="23" y="9"/>
                </a:lnTo>
                <a:lnTo>
                  <a:pt x="25" y="8"/>
                </a:lnTo>
                <a:lnTo>
                  <a:pt x="26" y="6"/>
                </a:lnTo>
                <a:lnTo>
                  <a:pt x="28" y="6"/>
                </a:lnTo>
                <a:lnTo>
                  <a:pt x="30" y="6"/>
                </a:lnTo>
                <a:lnTo>
                  <a:pt x="31" y="7"/>
                </a:lnTo>
                <a:lnTo>
                  <a:pt x="33" y="8"/>
                </a:lnTo>
                <a:lnTo>
                  <a:pt x="35" y="10"/>
                </a:lnTo>
                <a:lnTo>
                  <a:pt x="38" y="10"/>
                </a:lnTo>
                <a:lnTo>
                  <a:pt x="40" y="12"/>
                </a:lnTo>
                <a:lnTo>
                  <a:pt x="42" y="12"/>
                </a:lnTo>
                <a:lnTo>
                  <a:pt x="42" y="12"/>
                </a:lnTo>
                <a:lnTo>
                  <a:pt x="44" y="10"/>
                </a:lnTo>
                <a:lnTo>
                  <a:pt x="48" y="9"/>
                </a:lnTo>
                <a:lnTo>
                  <a:pt x="49" y="8"/>
                </a:lnTo>
                <a:lnTo>
                  <a:pt x="49" y="7"/>
                </a:lnTo>
                <a:lnTo>
                  <a:pt x="49" y="6"/>
                </a:lnTo>
                <a:lnTo>
                  <a:pt x="49" y="6"/>
                </a:lnTo>
                <a:lnTo>
                  <a:pt x="48" y="6"/>
                </a:lnTo>
                <a:lnTo>
                  <a:pt x="46" y="5"/>
                </a:lnTo>
                <a:lnTo>
                  <a:pt x="45" y="5"/>
                </a:lnTo>
                <a:lnTo>
                  <a:pt x="44" y="6"/>
                </a:lnTo>
                <a:lnTo>
                  <a:pt x="41" y="7"/>
                </a:lnTo>
                <a:lnTo>
                  <a:pt x="40" y="7"/>
                </a:lnTo>
                <a:lnTo>
                  <a:pt x="38" y="6"/>
                </a:lnTo>
                <a:lnTo>
                  <a:pt x="36" y="5"/>
                </a:lnTo>
                <a:lnTo>
                  <a:pt x="36" y="4"/>
                </a:lnTo>
                <a:lnTo>
                  <a:pt x="33" y="4"/>
                </a:lnTo>
                <a:lnTo>
                  <a:pt x="31" y="2"/>
                </a:lnTo>
                <a:lnTo>
                  <a:pt x="30" y="2"/>
                </a:lnTo>
                <a:lnTo>
                  <a:pt x="29" y="0"/>
                </a:lnTo>
                <a:lnTo>
                  <a:pt x="26" y="0"/>
                </a:lnTo>
                <a:lnTo>
                  <a:pt x="25" y="2"/>
                </a:lnTo>
                <a:lnTo>
                  <a:pt x="24" y="2"/>
                </a:lnTo>
                <a:lnTo>
                  <a:pt x="22" y="3"/>
                </a:lnTo>
                <a:lnTo>
                  <a:pt x="21" y="5"/>
                </a:lnTo>
                <a:lnTo>
                  <a:pt x="4" y="5"/>
                </a:lnTo>
                <a:lnTo>
                  <a:pt x="4" y="5"/>
                </a:lnTo>
                <a:lnTo>
                  <a:pt x="4" y="6"/>
                </a:lnTo>
                <a:lnTo>
                  <a:pt x="4" y="7"/>
                </a:lnTo>
                <a:lnTo>
                  <a:pt x="2" y="7"/>
                </a:lnTo>
                <a:lnTo>
                  <a:pt x="2" y="7"/>
                </a:lnTo>
                <a:lnTo>
                  <a:pt x="1" y="9"/>
                </a:lnTo>
                <a:lnTo>
                  <a:pt x="0" y="9"/>
                </a:lnTo>
                <a:lnTo>
                  <a:pt x="0" y="12"/>
                </a:lnTo>
                <a:lnTo>
                  <a:pt x="0" y="15"/>
                </a:lnTo>
                <a:lnTo>
                  <a:pt x="1" y="16"/>
                </a:lnTo>
                <a:lnTo>
                  <a:pt x="1" y="1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28" name="Freeform 227"/>
          <p:cNvSpPr>
            <a:spLocks/>
          </p:cNvSpPr>
          <p:nvPr/>
        </p:nvSpPr>
        <p:spPr bwMode="auto">
          <a:xfrm>
            <a:off x="3924300" y="3176553"/>
            <a:ext cx="77787" cy="25400"/>
          </a:xfrm>
          <a:custGeom>
            <a:avLst/>
            <a:gdLst>
              <a:gd name="T0" fmla="*/ 1 w 49"/>
              <a:gd name="T1" fmla="*/ 15 h 16"/>
              <a:gd name="T2" fmla="*/ 2 w 49"/>
              <a:gd name="T3" fmla="*/ 13 h 16"/>
              <a:gd name="T4" fmla="*/ 13 w 49"/>
              <a:gd name="T5" fmla="*/ 12 h 16"/>
              <a:gd name="T6" fmla="*/ 16 w 49"/>
              <a:gd name="T7" fmla="*/ 12 h 16"/>
              <a:gd name="T8" fmla="*/ 16 w 49"/>
              <a:gd name="T9" fmla="*/ 12 h 16"/>
              <a:gd name="T10" fmla="*/ 18 w 49"/>
              <a:gd name="T11" fmla="*/ 9 h 16"/>
              <a:gd name="T12" fmla="*/ 19 w 49"/>
              <a:gd name="T13" fmla="*/ 9 h 16"/>
              <a:gd name="T14" fmla="*/ 20 w 49"/>
              <a:gd name="T15" fmla="*/ 9 h 16"/>
              <a:gd name="T16" fmla="*/ 23 w 49"/>
              <a:gd name="T17" fmla="*/ 9 h 16"/>
              <a:gd name="T18" fmla="*/ 25 w 49"/>
              <a:gd name="T19" fmla="*/ 8 h 16"/>
              <a:gd name="T20" fmla="*/ 26 w 49"/>
              <a:gd name="T21" fmla="*/ 6 h 16"/>
              <a:gd name="T22" fmla="*/ 28 w 49"/>
              <a:gd name="T23" fmla="*/ 6 h 16"/>
              <a:gd name="T24" fmla="*/ 30 w 49"/>
              <a:gd name="T25" fmla="*/ 6 h 16"/>
              <a:gd name="T26" fmla="*/ 31 w 49"/>
              <a:gd name="T27" fmla="*/ 7 h 16"/>
              <a:gd name="T28" fmla="*/ 33 w 49"/>
              <a:gd name="T29" fmla="*/ 8 h 16"/>
              <a:gd name="T30" fmla="*/ 35 w 49"/>
              <a:gd name="T31" fmla="*/ 10 h 16"/>
              <a:gd name="T32" fmla="*/ 38 w 49"/>
              <a:gd name="T33" fmla="*/ 10 h 16"/>
              <a:gd name="T34" fmla="*/ 40 w 49"/>
              <a:gd name="T35" fmla="*/ 12 h 16"/>
              <a:gd name="T36" fmla="*/ 42 w 49"/>
              <a:gd name="T37" fmla="*/ 12 h 16"/>
              <a:gd name="T38" fmla="*/ 42 w 49"/>
              <a:gd name="T39" fmla="*/ 12 h 16"/>
              <a:gd name="T40" fmla="*/ 44 w 49"/>
              <a:gd name="T41" fmla="*/ 10 h 16"/>
              <a:gd name="T42" fmla="*/ 48 w 49"/>
              <a:gd name="T43" fmla="*/ 9 h 16"/>
              <a:gd name="T44" fmla="*/ 49 w 49"/>
              <a:gd name="T45" fmla="*/ 8 h 16"/>
              <a:gd name="T46" fmla="*/ 49 w 49"/>
              <a:gd name="T47" fmla="*/ 7 h 16"/>
              <a:gd name="T48" fmla="*/ 49 w 49"/>
              <a:gd name="T49" fmla="*/ 6 h 16"/>
              <a:gd name="T50" fmla="*/ 49 w 49"/>
              <a:gd name="T51" fmla="*/ 6 h 16"/>
              <a:gd name="T52" fmla="*/ 48 w 49"/>
              <a:gd name="T53" fmla="*/ 6 h 16"/>
              <a:gd name="T54" fmla="*/ 46 w 49"/>
              <a:gd name="T55" fmla="*/ 5 h 16"/>
              <a:gd name="T56" fmla="*/ 45 w 49"/>
              <a:gd name="T57" fmla="*/ 5 h 16"/>
              <a:gd name="T58" fmla="*/ 44 w 49"/>
              <a:gd name="T59" fmla="*/ 6 h 16"/>
              <a:gd name="T60" fmla="*/ 41 w 49"/>
              <a:gd name="T61" fmla="*/ 7 h 16"/>
              <a:gd name="T62" fmla="*/ 40 w 49"/>
              <a:gd name="T63" fmla="*/ 7 h 16"/>
              <a:gd name="T64" fmla="*/ 38 w 49"/>
              <a:gd name="T65" fmla="*/ 6 h 16"/>
              <a:gd name="T66" fmla="*/ 36 w 49"/>
              <a:gd name="T67" fmla="*/ 5 h 16"/>
              <a:gd name="T68" fmla="*/ 36 w 49"/>
              <a:gd name="T69" fmla="*/ 4 h 16"/>
              <a:gd name="T70" fmla="*/ 33 w 49"/>
              <a:gd name="T71" fmla="*/ 4 h 16"/>
              <a:gd name="T72" fmla="*/ 31 w 49"/>
              <a:gd name="T73" fmla="*/ 2 h 16"/>
              <a:gd name="T74" fmla="*/ 30 w 49"/>
              <a:gd name="T75" fmla="*/ 2 h 16"/>
              <a:gd name="T76" fmla="*/ 29 w 49"/>
              <a:gd name="T77" fmla="*/ 0 h 16"/>
              <a:gd name="T78" fmla="*/ 26 w 49"/>
              <a:gd name="T79" fmla="*/ 0 h 16"/>
              <a:gd name="T80" fmla="*/ 25 w 49"/>
              <a:gd name="T81" fmla="*/ 2 h 16"/>
              <a:gd name="T82" fmla="*/ 24 w 49"/>
              <a:gd name="T83" fmla="*/ 2 h 16"/>
              <a:gd name="T84" fmla="*/ 22 w 49"/>
              <a:gd name="T85" fmla="*/ 3 h 16"/>
              <a:gd name="T86" fmla="*/ 21 w 49"/>
              <a:gd name="T87" fmla="*/ 5 h 16"/>
              <a:gd name="T88" fmla="*/ 4 w 49"/>
              <a:gd name="T89" fmla="*/ 5 h 16"/>
              <a:gd name="T90" fmla="*/ 4 w 49"/>
              <a:gd name="T91" fmla="*/ 5 h 16"/>
              <a:gd name="T92" fmla="*/ 4 w 49"/>
              <a:gd name="T93" fmla="*/ 6 h 16"/>
              <a:gd name="T94" fmla="*/ 4 w 49"/>
              <a:gd name="T95" fmla="*/ 7 h 16"/>
              <a:gd name="T96" fmla="*/ 2 w 49"/>
              <a:gd name="T97" fmla="*/ 7 h 16"/>
              <a:gd name="T98" fmla="*/ 2 w 49"/>
              <a:gd name="T99" fmla="*/ 7 h 16"/>
              <a:gd name="T100" fmla="*/ 1 w 49"/>
              <a:gd name="T101" fmla="*/ 9 h 16"/>
              <a:gd name="T102" fmla="*/ 0 w 49"/>
              <a:gd name="T103" fmla="*/ 9 h 16"/>
              <a:gd name="T104" fmla="*/ 0 w 49"/>
              <a:gd name="T105" fmla="*/ 12 h 16"/>
              <a:gd name="T106" fmla="*/ 0 w 49"/>
              <a:gd name="T107" fmla="*/ 15 h 16"/>
              <a:gd name="T108" fmla="*/ 1 w 49"/>
              <a:gd name="T109" fmla="*/ 16 h 16"/>
              <a:gd name="T110" fmla="*/ 1 w 49"/>
              <a:gd name="T111" fmla="*/ 1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9" h="16">
                <a:moveTo>
                  <a:pt x="1" y="15"/>
                </a:moveTo>
                <a:lnTo>
                  <a:pt x="2" y="13"/>
                </a:lnTo>
                <a:lnTo>
                  <a:pt x="13" y="12"/>
                </a:lnTo>
                <a:lnTo>
                  <a:pt x="16" y="12"/>
                </a:lnTo>
                <a:lnTo>
                  <a:pt x="16" y="12"/>
                </a:lnTo>
                <a:lnTo>
                  <a:pt x="18" y="9"/>
                </a:lnTo>
                <a:lnTo>
                  <a:pt x="19" y="9"/>
                </a:lnTo>
                <a:lnTo>
                  <a:pt x="20" y="9"/>
                </a:lnTo>
                <a:lnTo>
                  <a:pt x="23" y="9"/>
                </a:lnTo>
                <a:lnTo>
                  <a:pt x="25" y="8"/>
                </a:lnTo>
                <a:lnTo>
                  <a:pt x="26" y="6"/>
                </a:lnTo>
                <a:lnTo>
                  <a:pt x="28" y="6"/>
                </a:lnTo>
                <a:lnTo>
                  <a:pt x="30" y="6"/>
                </a:lnTo>
                <a:lnTo>
                  <a:pt x="31" y="7"/>
                </a:lnTo>
                <a:lnTo>
                  <a:pt x="33" y="8"/>
                </a:lnTo>
                <a:lnTo>
                  <a:pt x="35" y="10"/>
                </a:lnTo>
                <a:lnTo>
                  <a:pt x="38" y="10"/>
                </a:lnTo>
                <a:lnTo>
                  <a:pt x="40" y="12"/>
                </a:lnTo>
                <a:lnTo>
                  <a:pt x="42" y="12"/>
                </a:lnTo>
                <a:lnTo>
                  <a:pt x="42" y="12"/>
                </a:lnTo>
                <a:lnTo>
                  <a:pt x="44" y="10"/>
                </a:lnTo>
                <a:lnTo>
                  <a:pt x="48" y="9"/>
                </a:lnTo>
                <a:lnTo>
                  <a:pt x="49" y="8"/>
                </a:lnTo>
                <a:lnTo>
                  <a:pt x="49" y="7"/>
                </a:lnTo>
                <a:lnTo>
                  <a:pt x="49" y="6"/>
                </a:lnTo>
                <a:lnTo>
                  <a:pt x="49" y="6"/>
                </a:lnTo>
                <a:lnTo>
                  <a:pt x="48" y="6"/>
                </a:lnTo>
                <a:lnTo>
                  <a:pt x="46" y="5"/>
                </a:lnTo>
                <a:lnTo>
                  <a:pt x="45" y="5"/>
                </a:lnTo>
                <a:lnTo>
                  <a:pt x="44" y="6"/>
                </a:lnTo>
                <a:lnTo>
                  <a:pt x="41" y="7"/>
                </a:lnTo>
                <a:lnTo>
                  <a:pt x="40" y="7"/>
                </a:lnTo>
                <a:lnTo>
                  <a:pt x="38" y="6"/>
                </a:lnTo>
                <a:lnTo>
                  <a:pt x="36" y="5"/>
                </a:lnTo>
                <a:lnTo>
                  <a:pt x="36" y="4"/>
                </a:lnTo>
                <a:lnTo>
                  <a:pt x="33" y="4"/>
                </a:lnTo>
                <a:lnTo>
                  <a:pt x="31" y="2"/>
                </a:lnTo>
                <a:lnTo>
                  <a:pt x="30" y="2"/>
                </a:lnTo>
                <a:lnTo>
                  <a:pt x="29" y="0"/>
                </a:lnTo>
                <a:lnTo>
                  <a:pt x="26" y="0"/>
                </a:lnTo>
                <a:lnTo>
                  <a:pt x="25" y="2"/>
                </a:lnTo>
                <a:lnTo>
                  <a:pt x="24" y="2"/>
                </a:lnTo>
                <a:lnTo>
                  <a:pt x="22" y="3"/>
                </a:lnTo>
                <a:lnTo>
                  <a:pt x="21" y="5"/>
                </a:lnTo>
                <a:lnTo>
                  <a:pt x="4" y="5"/>
                </a:lnTo>
                <a:lnTo>
                  <a:pt x="4" y="5"/>
                </a:lnTo>
                <a:lnTo>
                  <a:pt x="4" y="6"/>
                </a:lnTo>
                <a:lnTo>
                  <a:pt x="4" y="7"/>
                </a:lnTo>
                <a:lnTo>
                  <a:pt x="2" y="7"/>
                </a:lnTo>
                <a:lnTo>
                  <a:pt x="2" y="7"/>
                </a:lnTo>
                <a:lnTo>
                  <a:pt x="1" y="9"/>
                </a:lnTo>
                <a:lnTo>
                  <a:pt x="0" y="9"/>
                </a:lnTo>
                <a:lnTo>
                  <a:pt x="0" y="12"/>
                </a:lnTo>
                <a:lnTo>
                  <a:pt x="0" y="15"/>
                </a:lnTo>
                <a:lnTo>
                  <a:pt x="1" y="16"/>
                </a:lnTo>
                <a:lnTo>
                  <a:pt x="1" y="1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29" name="Freeform 228"/>
          <p:cNvSpPr>
            <a:spLocks/>
          </p:cNvSpPr>
          <p:nvPr/>
        </p:nvSpPr>
        <p:spPr bwMode="auto">
          <a:xfrm>
            <a:off x="3925888" y="3211478"/>
            <a:ext cx="79375" cy="50800"/>
          </a:xfrm>
          <a:custGeom>
            <a:avLst/>
            <a:gdLst>
              <a:gd name="T0" fmla="*/ 49 w 50"/>
              <a:gd name="T1" fmla="*/ 0 h 32"/>
              <a:gd name="T2" fmla="*/ 49 w 50"/>
              <a:gd name="T3" fmla="*/ 2 h 32"/>
              <a:gd name="T4" fmla="*/ 50 w 50"/>
              <a:gd name="T5" fmla="*/ 4 h 32"/>
              <a:gd name="T6" fmla="*/ 50 w 50"/>
              <a:gd name="T7" fmla="*/ 5 h 32"/>
              <a:gd name="T8" fmla="*/ 50 w 50"/>
              <a:gd name="T9" fmla="*/ 7 h 32"/>
              <a:gd name="T10" fmla="*/ 49 w 50"/>
              <a:gd name="T11" fmla="*/ 7 h 32"/>
              <a:gd name="T12" fmla="*/ 47 w 50"/>
              <a:gd name="T13" fmla="*/ 7 h 32"/>
              <a:gd name="T14" fmla="*/ 47 w 50"/>
              <a:gd name="T15" fmla="*/ 7 h 32"/>
              <a:gd name="T16" fmla="*/ 45 w 50"/>
              <a:gd name="T17" fmla="*/ 10 h 32"/>
              <a:gd name="T18" fmla="*/ 48 w 50"/>
              <a:gd name="T19" fmla="*/ 11 h 32"/>
              <a:gd name="T20" fmla="*/ 49 w 50"/>
              <a:gd name="T21" fmla="*/ 12 h 32"/>
              <a:gd name="T22" fmla="*/ 49 w 50"/>
              <a:gd name="T23" fmla="*/ 17 h 32"/>
              <a:gd name="T24" fmla="*/ 47 w 50"/>
              <a:gd name="T25" fmla="*/ 17 h 32"/>
              <a:gd name="T26" fmla="*/ 45 w 50"/>
              <a:gd name="T27" fmla="*/ 18 h 32"/>
              <a:gd name="T28" fmla="*/ 40 w 50"/>
              <a:gd name="T29" fmla="*/ 18 h 32"/>
              <a:gd name="T30" fmla="*/ 34 w 50"/>
              <a:gd name="T31" fmla="*/ 21 h 32"/>
              <a:gd name="T32" fmla="*/ 33 w 50"/>
              <a:gd name="T33" fmla="*/ 23 h 32"/>
              <a:gd name="T34" fmla="*/ 31 w 50"/>
              <a:gd name="T35" fmla="*/ 25 h 32"/>
              <a:gd name="T36" fmla="*/ 31 w 50"/>
              <a:gd name="T37" fmla="*/ 28 h 32"/>
              <a:gd name="T38" fmla="*/ 30 w 50"/>
              <a:gd name="T39" fmla="*/ 30 h 32"/>
              <a:gd name="T40" fmla="*/ 29 w 50"/>
              <a:gd name="T41" fmla="*/ 31 h 32"/>
              <a:gd name="T42" fmla="*/ 27 w 50"/>
              <a:gd name="T43" fmla="*/ 32 h 32"/>
              <a:gd name="T44" fmla="*/ 27 w 50"/>
              <a:gd name="T45" fmla="*/ 31 h 32"/>
              <a:gd name="T46" fmla="*/ 27 w 50"/>
              <a:gd name="T47" fmla="*/ 30 h 32"/>
              <a:gd name="T48" fmla="*/ 24 w 50"/>
              <a:gd name="T49" fmla="*/ 30 h 32"/>
              <a:gd name="T50" fmla="*/ 23 w 50"/>
              <a:gd name="T51" fmla="*/ 30 h 32"/>
              <a:gd name="T52" fmla="*/ 22 w 50"/>
              <a:gd name="T53" fmla="*/ 27 h 32"/>
              <a:gd name="T54" fmla="*/ 21 w 50"/>
              <a:gd name="T55" fmla="*/ 25 h 32"/>
              <a:gd name="T56" fmla="*/ 22 w 50"/>
              <a:gd name="T57" fmla="*/ 22 h 32"/>
              <a:gd name="T58" fmla="*/ 21 w 50"/>
              <a:gd name="T59" fmla="*/ 18 h 32"/>
              <a:gd name="T60" fmla="*/ 23 w 50"/>
              <a:gd name="T61" fmla="*/ 16 h 32"/>
              <a:gd name="T62" fmla="*/ 24 w 50"/>
              <a:gd name="T63" fmla="*/ 16 h 32"/>
              <a:gd name="T64" fmla="*/ 30 w 50"/>
              <a:gd name="T65" fmla="*/ 15 h 32"/>
              <a:gd name="T66" fmla="*/ 30 w 50"/>
              <a:gd name="T67" fmla="*/ 14 h 32"/>
              <a:gd name="T68" fmla="*/ 23 w 50"/>
              <a:gd name="T69" fmla="*/ 15 h 32"/>
              <a:gd name="T70" fmla="*/ 21 w 50"/>
              <a:gd name="T71" fmla="*/ 15 h 32"/>
              <a:gd name="T72" fmla="*/ 17 w 50"/>
              <a:gd name="T73" fmla="*/ 17 h 32"/>
              <a:gd name="T74" fmla="*/ 14 w 50"/>
              <a:gd name="T75" fmla="*/ 18 h 32"/>
              <a:gd name="T76" fmla="*/ 13 w 50"/>
              <a:gd name="T77" fmla="*/ 17 h 32"/>
              <a:gd name="T78" fmla="*/ 13 w 50"/>
              <a:gd name="T79" fmla="*/ 15 h 32"/>
              <a:gd name="T80" fmla="*/ 11 w 50"/>
              <a:gd name="T81" fmla="*/ 15 h 32"/>
              <a:gd name="T82" fmla="*/ 9 w 50"/>
              <a:gd name="T83" fmla="*/ 15 h 32"/>
              <a:gd name="T84" fmla="*/ 8 w 50"/>
              <a:gd name="T85" fmla="*/ 13 h 32"/>
              <a:gd name="T86" fmla="*/ 8 w 50"/>
              <a:gd name="T87" fmla="*/ 11 h 32"/>
              <a:gd name="T88" fmla="*/ 1 w 50"/>
              <a:gd name="T89" fmla="*/ 8 h 32"/>
              <a:gd name="T90" fmla="*/ 0 w 50"/>
              <a:gd name="T91" fmla="*/ 6 h 32"/>
              <a:gd name="T92" fmla="*/ 0 w 50"/>
              <a:gd name="T93" fmla="*/ 5 h 32"/>
              <a:gd name="T94" fmla="*/ 1 w 50"/>
              <a:gd name="T95" fmla="*/ 5 h 32"/>
              <a:gd name="T96" fmla="*/ 2 w 50"/>
              <a:gd name="T97" fmla="*/ 6 h 32"/>
              <a:gd name="T98" fmla="*/ 4 w 50"/>
              <a:gd name="T99" fmla="*/ 6 h 32"/>
              <a:gd name="T100" fmla="*/ 8 w 50"/>
              <a:gd name="T101" fmla="*/ 4 h 32"/>
              <a:gd name="T102" fmla="*/ 9 w 50"/>
              <a:gd name="T103" fmla="*/ 4 h 32"/>
              <a:gd name="T104" fmla="*/ 17 w 50"/>
              <a:gd name="T105" fmla="*/ 4 h 32"/>
              <a:gd name="T106" fmla="*/ 20 w 50"/>
              <a:gd name="T107" fmla="*/ 3 h 32"/>
              <a:gd name="T108" fmla="*/ 23 w 50"/>
              <a:gd name="T109" fmla="*/ 2 h 32"/>
              <a:gd name="T110" fmla="*/ 27 w 50"/>
              <a:gd name="T111" fmla="*/ 0 h 32"/>
              <a:gd name="T112" fmla="*/ 33 w 50"/>
              <a:gd name="T113" fmla="*/ 0 h 32"/>
              <a:gd name="T114" fmla="*/ 34 w 50"/>
              <a:gd name="T115" fmla="*/ 0 h 32"/>
              <a:gd name="T116" fmla="*/ 49 w 50"/>
              <a:gd name="T117" fmla="*/ 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0" h="32">
                <a:moveTo>
                  <a:pt x="49" y="0"/>
                </a:moveTo>
                <a:lnTo>
                  <a:pt x="49" y="2"/>
                </a:lnTo>
                <a:lnTo>
                  <a:pt x="50" y="4"/>
                </a:lnTo>
                <a:lnTo>
                  <a:pt x="50" y="5"/>
                </a:lnTo>
                <a:lnTo>
                  <a:pt x="50" y="7"/>
                </a:lnTo>
                <a:lnTo>
                  <a:pt x="49" y="7"/>
                </a:lnTo>
                <a:lnTo>
                  <a:pt x="47" y="7"/>
                </a:lnTo>
                <a:lnTo>
                  <a:pt x="47" y="7"/>
                </a:lnTo>
                <a:lnTo>
                  <a:pt x="45" y="10"/>
                </a:lnTo>
                <a:lnTo>
                  <a:pt x="48" y="11"/>
                </a:lnTo>
                <a:lnTo>
                  <a:pt x="49" y="12"/>
                </a:lnTo>
                <a:lnTo>
                  <a:pt x="49" y="17"/>
                </a:lnTo>
                <a:lnTo>
                  <a:pt x="47" y="17"/>
                </a:lnTo>
                <a:lnTo>
                  <a:pt x="45" y="18"/>
                </a:lnTo>
                <a:lnTo>
                  <a:pt x="40" y="18"/>
                </a:lnTo>
                <a:lnTo>
                  <a:pt x="34" y="21"/>
                </a:lnTo>
                <a:lnTo>
                  <a:pt x="33" y="23"/>
                </a:lnTo>
                <a:lnTo>
                  <a:pt x="31" y="25"/>
                </a:lnTo>
                <a:lnTo>
                  <a:pt x="31" y="28"/>
                </a:lnTo>
                <a:lnTo>
                  <a:pt x="30" y="30"/>
                </a:lnTo>
                <a:lnTo>
                  <a:pt x="29" y="31"/>
                </a:lnTo>
                <a:lnTo>
                  <a:pt x="27" y="32"/>
                </a:lnTo>
                <a:lnTo>
                  <a:pt x="27" y="31"/>
                </a:lnTo>
                <a:lnTo>
                  <a:pt x="27" y="30"/>
                </a:lnTo>
                <a:lnTo>
                  <a:pt x="24" y="30"/>
                </a:lnTo>
                <a:lnTo>
                  <a:pt x="23" y="30"/>
                </a:lnTo>
                <a:lnTo>
                  <a:pt x="22" y="27"/>
                </a:lnTo>
                <a:lnTo>
                  <a:pt x="21" y="25"/>
                </a:lnTo>
                <a:lnTo>
                  <a:pt x="22" y="22"/>
                </a:lnTo>
                <a:lnTo>
                  <a:pt x="21" y="18"/>
                </a:lnTo>
                <a:lnTo>
                  <a:pt x="23" y="16"/>
                </a:lnTo>
                <a:lnTo>
                  <a:pt x="24" y="16"/>
                </a:lnTo>
                <a:lnTo>
                  <a:pt x="30" y="15"/>
                </a:lnTo>
                <a:lnTo>
                  <a:pt x="30" y="14"/>
                </a:lnTo>
                <a:lnTo>
                  <a:pt x="23" y="15"/>
                </a:lnTo>
                <a:lnTo>
                  <a:pt x="21" y="15"/>
                </a:lnTo>
                <a:lnTo>
                  <a:pt x="17" y="17"/>
                </a:lnTo>
                <a:lnTo>
                  <a:pt x="14" y="18"/>
                </a:lnTo>
                <a:lnTo>
                  <a:pt x="13" y="17"/>
                </a:lnTo>
                <a:lnTo>
                  <a:pt x="13" y="15"/>
                </a:lnTo>
                <a:lnTo>
                  <a:pt x="11" y="15"/>
                </a:lnTo>
                <a:lnTo>
                  <a:pt x="9" y="15"/>
                </a:lnTo>
                <a:lnTo>
                  <a:pt x="8" y="13"/>
                </a:lnTo>
                <a:lnTo>
                  <a:pt x="8" y="11"/>
                </a:lnTo>
                <a:lnTo>
                  <a:pt x="1" y="8"/>
                </a:lnTo>
                <a:lnTo>
                  <a:pt x="0" y="6"/>
                </a:lnTo>
                <a:lnTo>
                  <a:pt x="0" y="5"/>
                </a:lnTo>
                <a:lnTo>
                  <a:pt x="1" y="5"/>
                </a:lnTo>
                <a:lnTo>
                  <a:pt x="2" y="6"/>
                </a:lnTo>
                <a:lnTo>
                  <a:pt x="4" y="6"/>
                </a:lnTo>
                <a:lnTo>
                  <a:pt x="8" y="4"/>
                </a:lnTo>
                <a:lnTo>
                  <a:pt x="9" y="4"/>
                </a:lnTo>
                <a:lnTo>
                  <a:pt x="17" y="4"/>
                </a:lnTo>
                <a:lnTo>
                  <a:pt x="20" y="3"/>
                </a:lnTo>
                <a:lnTo>
                  <a:pt x="23" y="2"/>
                </a:lnTo>
                <a:lnTo>
                  <a:pt x="27" y="0"/>
                </a:lnTo>
                <a:lnTo>
                  <a:pt x="33" y="0"/>
                </a:lnTo>
                <a:lnTo>
                  <a:pt x="34" y="0"/>
                </a:lnTo>
                <a:lnTo>
                  <a:pt x="49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30" name="Freeform 229"/>
          <p:cNvSpPr>
            <a:spLocks/>
          </p:cNvSpPr>
          <p:nvPr/>
        </p:nvSpPr>
        <p:spPr bwMode="auto">
          <a:xfrm>
            <a:off x="3925888" y="3211478"/>
            <a:ext cx="79375" cy="50800"/>
          </a:xfrm>
          <a:custGeom>
            <a:avLst/>
            <a:gdLst>
              <a:gd name="T0" fmla="*/ 49 w 50"/>
              <a:gd name="T1" fmla="*/ 0 h 32"/>
              <a:gd name="T2" fmla="*/ 49 w 50"/>
              <a:gd name="T3" fmla="*/ 2 h 32"/>
              <a:gd name="T4" fmla="*/ 50 w 50"/>
              <a:gd name="T5" fmla="*/ 4 h 32"/>
              <a:gd name="T6" fmla="*/ 50 w 50"/>
              <a:gd name="T7" fmla="*/ 5 h 32"/>
              <a:gd name="T8" fmla="*/ 50 w 50"/>
              <a:gd name="T9" fmla="*/ 7 h 32"/>
              <a:gd name="T10" fmla="*/ 49 w 50"/>
              <a:gd name="T11" fmla="*/ 7 h 32"/>
              <a:gd name="T12" fmla="*/ 47 w 50"/>
              <a:gd name="T13" fmla="*/ 7 h 32"/>
              <a:gd name="T14" fmla="*/ 47 w 50"/>
              <a:gd name="T15" fmla="*/ 7 h 32"/>
              <a:gd name="T16" fmla="*/ 45 w 50"/>
              <a:gd name="T17" fmla="*/ 10 h 32"/>
              <a:gd name="T18" fmla="*/ 48 w 50"/>
              <a:gd name="T19" fmla="*/ 11 h 32"/>
              <a:gd name="T20" fmla="*/ 49 w 50"/>
              <a:gd name="T21" fmla="*/ 12 h 32"/>
              <a:gd name="T22" fmla="*/ 49 w 50"/>
              <a:gd name="T23" fmla="*/ 17 h 32"/>
              <a:gd name="T24" fmla="*/ 47 w 50"/>
              <a:gd name="T25" fmla="*/ 17 h 32"/>
              <a:gd name="T26" fmla="*/ 45 w 50"/>
              <a:gd name="T27" fmla="*/ 18 h 32"/>
              <a:gd name="T28" fmla="*/ 40 w 50"/>
              <a:gd name="T29" fmla="*/ 18 h 32"/>
              <a:gd name="T30" fmla="*/ 34 w 50"/>
              <a:gd name="T31" fmla="*/ 21 h 32"/>
              <a:gd name="T32" fmla="*/ 33 w 50"/>
              <a:gd name="T33" fmla="*/ 23 h 32"/>
              <a:gd name="T34" fmla="*/ 31 w 50"/>
              <a:gd name="T35" fmla="*/ 25 h 32"/>
              <a:gd name="T36" fmla="*/ 31 w 50"/>
              <a:gd name="T37" fmla="*/ 28 h 32"/>
              <a:gd name="T38" fmla="*/ 30 w 50"/>
              <a:gd name="T39" fmla="*/ 30 h 32"/>
              <a:gd name="T40" fmla="*/ 29 w 50"/>
              <a:gd name="T41" fmla="*/ 31 h 32"/>
              <a:gd name="T42" fmla="*/ 27 w 50"/>
              <a:gd name="T43" fmla="*/ 32 h 32"/>
              <a:gd name="T44" fmla="*/ 27 w 50"/>
              <a:gd name="T45" fmla="*/ 31 h 32"/>
              <a:gd name="T46" fmla="*/ 27 w 50"/>
              <a:gd name="T47" fmla="*/ 30 h 32"/>
              <a:gd name="T48" fmla="*/ 24 w 50"/>
              <a:gd name="T49" fmla="*/ 30 h 32"/>
              <a:gd name="T50" fmla="*/ 23 w 50"/>
              <a:gd name="T51" fmla="*/ 30 h 32"/>
              <a:gd name="T52" fmla="*/ 22 w 50"/>
              <a:gd name="T53" fmla="*/ 27 h 32"/>
              <a:gd name="T54" fmla="*/ 21 w 50"/>
              <a:gd name="T55" fmla="*/ 25 h 32"/>
              <a:gd name="T56" fmla="*/ 22 w 50"/>
              <a:gd name="T57" fmla="*/ 22 h 32"/>
              <a:gd name="T58" fmla="*/ 21 w 50"/>
              <a:gd name="T59" fmla="*/ 18 h 32"/>
              <a:gd name="T60" fmla="*/ 23 w 50"/>
              <a:gd name="T61" fmla="*/ 16 h 32"/>
              <a:gd name="T62" fmla="*/ 24 w 50"/>
              <a:gd name="T63" fmla="*/ 16 h 32"/>
              <a:gd name="T64" fmla="*/ 30 w 50"/>
              <a:gd name="T65" fmla="*/ 15 h 32"/>
              <a:gd name="T66" fmla="*/ 30 w 50"/>
              <a:gd name="T67" fmla="*/ 14 h 32"/>
              <a:gd name="T68" fmla="*/ 23 w 50"/>
              <a:gd name="T69" fmla="*/ 15 h 32"/>
              <a:gd name="T70" fmla="*/ 21 w 50"/>
              <a:gd name="T71" fmla="*/ 15 h 32"/>
              <a:gd name="T72" fmla="*/ 17 w 50"/>
              <a:gd name="T73" fmla="*/ 17 h 32"/>
              <a:gd name="T74" fmla="*/ 14 w 50"/>
              <a:gd name="T75" fmla="*/ 18 h 32"/>
              <a:gd name="T76" fmla="*/ 13 w 50"/>
              <a:gd name="T77" fmla="*/ 17 h 32"/>
              <a:gd name="T78" fmla="*/ 13 w 50"/>
              <a:gd name="T79" fmla="*/ 15 h 32"/>
              <a:gd name="T80" fmla="*/ 11 w 50"/>
              <a:gd name="T81" fmla="*/ 15 h 32"/>
              <a:gd name="T82" fmla="*/ 9 w 50"/>
              <a:gd name="T83" fmla="*/ 15 h 32"/>
              <a:gd name="T84" fmla="*/ 8 w 50"/>
              <a:gd name="T85" fmla="*/ 13 h 32"/>
              <a:gd name="T86" fmla="*/ 8 w 50"/>
              <a:gd name="T87" fmla="*/ 11 h 32"/>
              <a:gd name="T88" fmla="*/ 1 w 50"/>
              <a:gd name="T89" fmla="*/ 8 h 32"/>
              <a:gd name="T90" fmla="*/ 0 w 50"/>
              <a:gd name="T91" fmla="*/ 6 h 32"/>
              <a:gd name="T92" fmla="*/ 0 w 50"/>
              <a:gd name="T93" fmla="*/ 5 h 32"/>
              <a:gd name="T94" fmla="*/ 1 w 50"/>
              <a:gd name="T95" fmla="*/ 5 h 32"/>
              <a:gd name="T96" fmla="*/ 2 w 50"/>
              <a:gd name="T97" fmla="*/ 6 h 32"/>
              <a:gd name="T98" fmla="*/ 4 w 50"/>
              <a:gd name="T99" fmla="*/ 6 h 32"/>
              <a:gd name="T100" fmla="*/ 8 w 50"/>
              <a:gd name="T101" fmla="*/ 4 h 32"/>
              <a:gd name="T102" fmla="*/ 9 w 50"/>
              <a:gd name="T103" fmla="*/ 4 h 32"/>
              <a:gd name="T104" fmla="*/ 17 w 50"/>
              <a:gd name="T105" fmla="*/ 4 h 32"/>
              <a:gd name="T106" fmla="*/ 20 w 50"/>
              <a:gd name="T107" fmla="*/ 3 h 32"/>
              <a:gd name="T108" fmla="*/ 23 w 50"/>
              <a:gd name="T109" fmla="*/ 2 h 32"/>
              <a:gd name="T110" fmla="*/ 27 w 50"/>
              <a:gd name="T111" fmla="*/ 0 h 32"/>
              <a:gd name="T112" fmla="*/ 33 w 50"/>
              <a:gd name="T113" fmla="*/ 0 h 32"/>
              <a:gd name="T114" fmla="*/ 34 w 50"/>
              <a:gd name="T115" fmla="*/ 0 h 32"/>
              <a:gd name="T116" fmla="*/ 49 w 50"/>
              <a:gd name="T117" fmla="*/ 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0" h="32">
                <a:moveTo>
                  <a:pt x="49" y="0"/>
                </a:moveTo>
                <a:lnTo>
                  <a:pt x="49" y="2"/>
                </a:lnTo>
                <a:lnTo>
                  <a:pt x="50" y="4"/>
                </a:lnTo>
                <a:lnTo>
                  <a:pt x="50" y="5"/>
                </a:lnTo>
                <a:lnTo>
                  <a:pt x="50" y="7"/>
                </a:lnTo>
                <a:lnTo>
                  <a:pt x="49" y="7"/>
                </a:lnTo>
                <a:lnTo>
                  <a:pt x="47" y="7"/>
                </a:lnTo>
                <a:lnTo>
                  <a:pt x="47" y="7"/>
                </a:lnTo>
                <a:lnTo>
                  <a:pt x="45" y="10"/>
                </a:lnTo>
                <a:lnTo>
                  <a:pt x="48" y="11"/>
                </a:lnTo>
                <a:lnTo>
                  <a:pt x="49" y="12"/>
                </a:lnTo>
                <a:lnTo>
                  <a:pt x="49" y="17"/>
                </a:lnTo>
                <a:lnTo>
                  <a:pt x="47" y="17"/>
                </a:lnTo>
                <a:lnTo>
                  <a:pt x="45" y="18"/>
                </a:lnTo>
                <a:lnTo>
                  <a:pt x="40" y="18"/>
                </a:lnTo>
                <a:lnTo>
                  <a:pt x="34" y="21"/>
                </a:lnTo>
                <a:lnTo>
                  <a:pt x="33" y="23"/>
                </a:lnTo>
                <a:lnTo>
                  <a:pt x="31" y="25"/>
                </a:lnTo>
                <a:lnTo>
                  <a:pt x="31" y="28"/>
                </a:lnTo>
                <a:lnTo>
                  <a:pt x="30" y="30"/>
                </a:lnTo>
                <a:lnTo>
                  <a:pt x="29" y="31"/>
                </a:lnTo>
                <a:lnTo>
                  <a:pt x="27" y="32"/>
                </a:lnTo>
                <a:lnTo>
                  <a:pt x="27" y="31"/>
                </a:lnTo>
                <a:lnTo>
                  <a:pt x="27" y="30"/>
                </a:lnTo>
                <a:lnTo>
                  <a:pt x="24" y="30"/>
                </a:lnTo>
                <a:lnTo>
                  <a:pt x="23" y="30"/>
                </a:lnTo>
                <a:lnTo>
                  <a:pt x="22" y="27"/>
                </a:lnTo>
                <a:lnTo>
                  <a:pt x="21" y="25"/>
                </a:lnTo>
                <a:lnTo>
                  <a:pt x="22" y="22"/>
                </a:lnTo>
                <a:lnTo>
                  <a:pt x="21" y="18"/>
                </a:lnTo>
                <a:lnTo>
                  <a:pt x="23" y="16"/>
                </a:lnTo>
                <a:lnTo>
                  <a:pt x="24" y="16"/>
                </a:lnTo>
                <a:lnTo>
                  <a:pt x="30" y="15"/>
                </a:lnTo>
                <a:lnTo>
                  <a:pt x="30" y="14"/>
                </a:lnTo>
                <a:lnTo>
                  <a:pt x="23" y="15"/>
                </a:lnTo>
                <a:lnTo>
                  <a:pt x="21" y="15"/>
                </a:lnTo>
                <a:lnTo>
                  <a:pt x="17" y="17"/>
                </a:lnTo>
                <a:lnTo>
                  <a:pt x="14" y="18"/>
                </a:lnTo>
                <a:lnTo>
                  <a:pt x="13" y="17"/>
                </a:lnTo>
                <a:lnTo>
                  <a:pt x="13" y="15"/>
                </a:lnTo>
                <a:lnTo>
                  <a:pt x="11" y="15"/>
                </a:lnTo>
                <a:lnTo>
                  <a:pt x="9" y="15"/>
                </a:lnTo>
                <a:lnTo>
                  <a:pt x="8" y="13"/>
                </a:lnTo>
                <a:lnTo>
                  <a:pt x="8" y="11"/>
                </a:lnTo>
                <a:lnTo>
                  <a:pt x="1" y="8"/>
                </a:lnTo>
                <a:lnTo>
                  <a:pt x="0" y="6"/>
                </a:lnTo>
                <a:lnTo>
                  <a:pt x="0" y="5"/>
                </a:lnTo>
                <a:lnTo>
                  <a:pt x="1" y="5"/>
                </a:lnTo>
                <a:lnTo>
                  <a:pt x="2" y="6"/>
                </a:lnTo>
                <a:lnTo>
                  <a:pt x="4" y="6"/>
                </a:lnTo>
                <a:lnTo>
                  <a:pt x="8" y="4"/>
                </a:lnTo>
                <a:lnTo>
                  <a:pt x="9" y="4"/>
                </a:lnTo>
                <a:lnTo>
                  <a:pt x="17" y="4"/>
                </a:lnTo>
                <a:lnTo>
                  <a:pt x="20" y="3"/>
                </a:lnTo>
                <a:lnTo>
                  <a:pt x="23" y="2"/>
                </a:lnTo>
                <a:lnTo>
                  <a:pt x="27" y="0"/>
                </a:lnTo>
                <a:lnTo>
                  <a:pt x="33" y="0"/>
                </a:lnTo>
                <a:lnTo>
                  <a:pt x="34" y="0"/>
                </a:lnTo>
                <a:lnTo>
                  <a:pt x="49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31" name="Freeform 230"/>
          <p:cNvSpPr>
            <a:spLocks/>
          </p:cNvSpPr>
          <p:nvPr/>
        </p:nvSpPr>
        <p:spPr bwMode="auto">
          <a:xfrm>
            <a:off x="4057650" y="3330541"/>
            <a:ext cx="104775" cy="119063"/>
          </a:xfrm>
          <a:custGeom>
            <a:avLst/>
            <a:gdLst>
              <a:gd name="T0" fmla="*/ 1 w 66"/>
              <a:gd name="T1" fmla="*/ 29 h 75"/>
              <a:gd name="T2" fmla="*/ 2 w 66"/>
              <a:gd name="T3" fmla="*/ 26 h 75"/>
              <a:gd name="T4" fmla="*/ 3 w 66"/>
              <a:gd name="T5" fmla="*/ 23 h 75"/>
              <a:gd name="T6" fmla="*/ 6 w 66"/>
              <a:gd name="T7" fmla="*/ 23 h 75"/>
              <a:gd name="T8" fmla="*/ 9 w 66"/>
              <a:gd name="T9" fmla="*/ 19 h 75"/>
              <a:gd name="T10" fmla="*/ 11 w 66"/>
              <a:gd name="T11" fmla="*/ 17 h 75"/>
              <a:gd name="T12" fmla="*/ 13 w 66"/>
              <a:gd name="T13" fmla="*/ 14 h 75"/>
              <a:gd name="T14" fmla="*/ 15 w 66"/>
              <a:gd name="T15" fmla="*/ 9 h 75"/>
              <a:gd name="T16" fmla="*/ 17 w 66"/>
              <a:gd name="T17" fmla="*/ 7 h 75"/>
              <a:gd name="T18" fmla="*/ 20 w 66"/>
              <a:gd name="T19" fmla="*/ 6 h 75"/>
              <a:gd name="T20" fmla="*/ 19 w 66"/>
              <a:gd name="T21" fmla="*/ 3 h 75"/>
              <a:gd name="T22" fmla="*/ 21 w 66"/>
              <a:gd name="T23" fmla="*/ 1 h 75"/>
              <a:gd name="T24" fmla="*/ 23 w 66"/>
              <a:gd name="T25" fmla="*/ 1 h 75"/>
              <a:gd name="T26" fmla="*/ 25 w 66"/>
              <a:gd name="T27" fmla="*/ 2 h 75"/>
              <a:gd name="T28" fmla="*/ 28 w 66"/>
              <a:gd name="T29" fmla="*/ 0 h 75"/>
              <a:gd name="T30" fmla="*/ 29 w 66"/>
              <a:gd name="T31" fmla="*/ 1 h 75"/>
              <a:gd name="T32" fmla="*/ 32 w 66"/>
              <a:gd name="T33" fmla="*/ 4 h 75"/>
              <a:gd name="T34" fmla="*/ 33 w 66"/>
              <a:gd name="T35" fmla="*/ 9 h 75"/>
              <a:gd name="T36" fmla="*/ 35 w 66"/>
              <a:gd name="T37" fmla="*/ 14 h 75"/>
              <a:gd name="T38" fmla="*/ 33 w 66"/>
              <a:gd name="T39" fmla="*/ 20 h 75"/>
              <a:gd name="T40" fmla="*/ 32 w 66"/>
              <a:gd name="T41" fmla="*/ 21 h 75"/>
              <a:gd name="T42" fmla="*/ 33 w 66"/>
              <a:gd name="T43" fmla="*/ 22 h 75"/>
              <a:gd name="T44" fmla="*/ 36 w 66"/>
              <a:gd name="T45" fmla="*/ 21 h 75"/>
              <a:gd name="T46" fmla="*/ 38 w 66"/>
              <a:gd name="T47" fmla="*/ 24 h 75"/>
              <a:gd name="T48" fmla="*/ 40 w 66"/>
              <a:gd name="T49" fmla="*/ 23 h 75"/>
              <a:gd name="T50" fmla="*/ 42 w 66"/>
              <a:gd name="T51" fmla="*/ 22 h 75"/>
              <a:gd name="T52" fmla="*/ 45 w 66"/>
              <a:gd name="T53" fmla="*/ 18 h 75"/>
              <a:gd name="T54" fmla="*/ 47 w 66"/>
              <a:gd name="T55" fmla="*/ 17 h 75"/>
              <a:gd name="T56" fmla="*/ 49 w 66"/>
              <a:gd name="T57" fmla="*/ 20 h 75"/>
              <a:gd name="T58" fmla="*/ 50 w 66"/>
              <a:gd name="T59" fmla="*/ 23 h 75"/>
              <a:gd name="T60" fmla="*/ 50 w 66"/>
              <a:gd name="T61" fmla="*/ 26 h 75"/>
              <a:gd name="T62" fmla="*/ 51 w 66"/>
              <a:gd name="T63" fmla="*/ 32 h 75"/>
              <a:gd name="T64" fmla="*/ 48 w 66"/>
              <a:gd name="T65" fmla="*/ 36 h 75"/>
              <a:gd name="T66" fmla="*/ 47 w 66"/>
              <a:gd name="T67" fmla="*/ 38 h 75"/>
              <a:gd name="T68" fmla="*/ 48 w 66"/>
              <a:gd name="T69" fmla="*/ 38 h 75"/>
              <a:gd name="T70" fmla="*/ 49 w 66"/>
              <a:gd name="T71" fmla="*/ 39 h 75"/>
              <a:gd name="T72" fmla="*/ 51 w 66"/>
              <a:gd name="T73" fmla="*/ 39 h 75"/>
              <a:gd name="T74" fmla="*/ 56 w 66"/>
              <a:gd name="T75" fmla="*/ 41 h 75"/>
              <a:gd name="T76" fmla="*/ 58 w 66"/>
              <a:gd name="T77" fmla="*/ 43 h 75"/>
              <a:gd name="T78" fmla="*/ 59 w 66"/>
              <a:gd name="T79" fmla="*/ 44 h 75"/>
              <a:gd name="T80" fmla="*/ 60 w 66"/>
              <a:gd name="T81" fmla="*/ 48 h 75"/>
              <a:gd name="T82" fmla="*/ 63 w 66"/>
              <a:gd name="T83" fmla="*/ 50 h 75"/>
              <a:gd name="T84" fmla="*/ 64 w 66"/>
              <a:gd name="T85" fmla="*/ 51 h 75"/>
              <a:gd name="T86" fmla="*/ 66 w 66"/>
              <a:gd name="T87" fmla="*/ 54 h 75"/>
              <a:gd name="T88" fmla="*/ 66 w 66"/>
              <a:gd name="T89" fmla="*/ 59 h 75"/>
              <a:gd name="T90" fmla="*/ 64 w 66"/>
              <a:gd name="T91" fmla="*/ 59 h 75"/>
              <a:gd name="T92" fmla="*/ 64 w 66"/>
              <a:gd name="T93" fmla="*/ 62 h 75"/>
              <a:gd name="T94" fmla="*/ 63 w 66"/>
              <a:gd name="T95" fmla="*/ 63 h 75"/>
              <a:gd name="T96" fmla="*/ 63 w 66"/>
              <a:gd name="T97" fmla="*/ 67 h 75"/>
              <a:gd name="T98" fmla="*/ 57 w 66"/>
              <a:gd name="T99" fmla="*/ 74 h 75"/>
              <a:gd name="T100" fmla="*/ 53 w 66"/>
              <a:gd name="T101" fmla="*/ 72 h 75"/>
              <a:gd name="T102" fmla="*/ 49 w 66"/>
              <a:gd name="T103" fmla="*/ 71 h 75"/>
              <a:gd name="T104" fmla="*/ 45 w 66"/>
              <a:gd name="T105" fmla="*/ 69 h 75"/>
              <a:gd name="T106" fmla="*/ 39 w 66"/>
              <a:gd name="T107" fmla="*/ 64 h 75"/>
              <a:gd name="T108" fmla="*/ 30 w 66"/>
              <a:gd name="T109" fmla="*/ 57 h 75"/>
              <a:gd name="T110" fmla="*/ 18 w 66"/>
              <a:gd name="T111" fmla="*/ 44 h 75"/>
              <a:gd name="T112" fmla="*/ 13 w 66"/>
              <a:gd name="T113" fmla="*/ 42 h 75"/>
              <a:gd name="T114" fmla="*/ 8 w 66"/>
              <a:gd name="T115" fmla="*/ 37 h 75"/>
              <a:gd name="T116" fmla="*/ 5 w 66"/>
              <a:gd name="T117" fmla="*/ 34 h 75"/>
              <a:gd name="T118" fmla="*/ 5 w 66"/>
              <a:gd name="T119" fmla="*/ 32 h 75"/>
              <a:gd name="T120" fmla="*/ 0 w 66"/>
              <a:gd name="T121" fmla="*/ 30 h 75"/>
              <a:gd name="T122" fmla="*/ 0 w 66"/>
              <a:gd name="T123" fmla="*/ 29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6" h="75">
                <a:moveTo>
                  <a:pt x="0" y="29"/>
                </a:moveTo>
                <a:lnTo>
                  <a:pt x="1" y="29"/>
                </a:lnTo>
                <a:lnTo>
                  <a:pt x="2" y="28"/>
                </a:lnTo>
                <a:lnTo>
                  <a:pt x="2" y="26"/>
                </a:lnTo>
                <a:lnTo>
                  <a:pt x="3" y="26"/>
                </a:lnTo>
                <a:lnTo>
                  <a:pt x="3" y="23"/>
                </a:lnTo>
                <a:lnTo>
                  <a:pt x="3" y="23"/>
                </a:lnTo>
                <a:lnTo>
                  <a:pt x="6" y="23"/>
                </a:lnTo>
                <a:lnTo>
                  <a:pt x="7" y="22"/>
                </a:lnTo>
                <a:lnTo>
                  <a:pt x="9" y="19"/>
                </a:lnTo>
                <a:lnTo>
                  <a:pt x="10" y="19"/>
                </a:lnTo>
                <a:lnTo>
                  <a:pt x="11" y="17"/>
                </a:lnTo>
                <a:lnTo>
                  <a:pt x="13" y="16"/>
                </a:lnTo>
                <a:lnTo>
                  <a:pt x="13" y="14"/>
                </a:lnTo>
                <a:lnTo>
                  <a:pt x="15" y="14"/>
                </a:lnTo>
                <a:lnTo>
                  <a:pt x="15" y="9"/>
                </a:lnTo>
                <a:lnTo>
                  <a:pt x="16" y="9"/>
                </a:lnTo>
                <a:lnTo>
                  <a:pt x="17" y="7"/>
                </a:lnTo>
                <a:lnTo>
                  <a:pt x="20" y="7"/>
                </a:lnTo>
                <a:lnTo>
                  <a:pt x="20" y="6"/>
                </a:lnTo>
                <a:lnTo>
                  <a:pt x="19" y="4"/>
                </a:lnTo>
                <a:lnTo>
                  <a:pt x="19" y="3"/>
                </a:lnTo>
                <a:lnTo>
                  <a:pt x="20" y="3"/>
                </a:lnTo>
                <a:lnTo>
                  <a:pt x="21" y="1"/>
                </a:lnTo>
                <a:lnTo>
                  <a:pt x="22" y="0"/>
                </a:lnTo>
                <a:lnTo>
                  <a:pt x="23" y="1"/>
                </a:lnTo>
                <a:lnTo>
                  <a:pt x="25" y="2"/>
                </a:lnTo>
                <a:lnTo>
                  <a:pt x="25" y="2"/>
                </a:lnTo>
                <a:lnTo>
                  <a:pt x="26" y="1"/>
                </a:lnTo>
                <a:lnTo>
                  <a:pt x="28" y="0"/>
                </a:lnTo>
                <a:lnTo>
                  <a:pt x="29" y="1"/>
                </a:lnTo>
                <a:lnTo>
                  <a:pt x="29" y="1"/>
                </a:lnTo>
                <a:lnTo>
                  <a:pt x="30" y="2"/>
                </a:lnTo>
                <a:lnTo>
                  <a:pt x="32" y="4"/>
                </a:lnTo>
                <a:lnTo>
                  <a:pt x="32" y="7"/>
                </a:lnTo>
                <a:lnTo>
                  <a:pt x="33" y="9"/>
                </a:lnTo>
                <a:lnTo>
                  <a:pt x="33" y="13"/>
                </a:lnTo>
                <a:lnTo>
                  <a:pt x="35" y="14"/>
                </a:lnTo>
                <a:lnTo>
                  <a:pt x="33" y="19"/>
                </a:lnTo>
                <a:lnTo>
                  <a:pt x="33" y="20"/>
                </a:lnTo>
                <a:lnTo>
                  <a:pt x="32" y="21"/>
                </a:lnTo>
                <a:lnTo>
                  <a:pt x="32" y="21"/>
                </a:lnTo>
                <a:lnTo>
                  <a:pt x="32" y="22"/>
                </a:lnTo>
                <a:lnTo>
                  <a:pt x="33" y="22"/>
                </a:lnTo>
                <a:lnTo>
                  <a:pt x="35" y="21"/>
                </a:lnTo>
                <a:lnTo>
                  <a:pt x="36" y="21"/>
                </a:lnTo>
                <a:lnTo>
                  <a:pt x="37" y="22"/>
                </a:lnTo>
                <a:lnTo>
                  <a:pt x="38" y="24"/>
                </a:lnTo>
                <a:lnTo>
                  <a:pt x="40" y="24"/>
                </a:lnTo>
                <a:lnTo>
                  <a:pt x="40" y="23"/>
                </a:lnTo>
                <a:lnTo>
                  <a:pt x="42" y="23"/>
                </a:lnTo>
                <a:lnTo>
                  <a:pt x="42" y="22"/>
                </a:lnTo>
                <a:lnTo>
                  <a:pt x="45" y="20"/>
                </a:lnTo>
                <a:lnTo>
                  <a:pt x="45" y="18"/>
                </a:lnTo>
                <a:lnTo>
                  <a:pt x="46" y="17"/>
                </a:lnTo>
                <a:lnTo>
                  <a:pt x="47" y="17"/>
                </a:lnTo>
                <a:lnTo>
                  <a:pt x="48" y="19"/>
                </a:lnTo>
                <a:lnTo>
                  <a:pt x="49" y="20"/>
                </a:lnTo>
                <a:lnTo>
                  <a:pt x="49" y="23"/>
                </a:lnTo>
                <a:lnTo>
                  <a:pt x="50" y="23"/>
                </a:lnTo>
                <a:lnTo>
                  <a:pt x="50" y="24"/>
                </a:lnTo>
                <a:lnTo>
                  <a:pt x="50" y="26"/>
                </a:lnTo>
                <a:lnTo>
                  <a:pt x="51" y="27"/>
                </a:lnTo>
                <a:lnTo>
                  <a:pt x="51" y="32"/>
                </a:lnTo>
                <a:lnTo>
                  <a:pt x="50" y="32"/>
                </a:lnTo>
                <a:lnTo>
                  <a:pt x="48" y="36"/>
                </a:lnTo>
                <a:lnTo>
                  <a:pt x="47" y="37"/>
                </a:lnTo>
                <a:lnTo>
                  <a:pt x="47" y="38"/>
                </a:lnTo>
                <a:lnTo>
                  <a:pt x="48" y="38"/>
                </a:lnTo>
                <a:lnTo>
                  <a:pt x="48" y="38"/>
                </a:lnTo>
                <a:lnTo>
                  <a:pt x="49" y="38"/>
                </a:lnTo>
                <a:lnTo>
                  <a:pt x="49" y="39"/>
                </a:lnTo>
                <a:lnTo>
                  <a:pt x="50" y="39"/>
                </a:lnTo>
                <a:lnTo>
                  <a:pt x="51" y="39"/>
                </a:lnTo>
                <a:lnTo>
                  <a:pt x="53" y="41"/>
                </a:lnTo>
                <a:lnTo>
                  <a:pt x="56" y="41"/>
                </a:lnTo>
                <a:lnTo>
                  <a:pt x="57" y="41"/>
                </a:lnTo>
                <a:lnTo>
                  <a:pt x="58" y="43"/>
                </a:lnTo>
                <a:lnTo>
                  <a:pt x="58" y="44"/>
                </a:lnTo>
                <a:lnTo>
                  <a:pt x="59" y="44"/>
                </a:lnTo>
                <a:lnTo>
                  <a:pt x="60" y="47"/>
                </a:lnTo>
                <a:lnTo>
                  <a:pt x="60" y="48"/>
                </a:lnTo>
                <a:lnTo>
                  <a:pt x="61" y="48"/>
                </a:lnTo>
                <a:lnTo>
                  <a:pt x="63" y="50"/>
                </a:lnTo>
                <a:lnTo>
                  <a:pt x="64" y="49"/>
                </a:lnTo>
                <a:lnTo>
                  <a:pt x="64" y="51"/>
                </a:lnTo>
                <a:lnTo>
                  <a:pt x="66" y="52"/>
                </a:lnTo>
                <a:lnTo>
                  <a:pt x="66" y="54"/>
                </a:lnTo>
                <a:lnTo>
                  <a:pt x="66" y="57"/>
                </a:lnTo>
                <a:lnTo>
                  <a:pt x="66" y="59"/>
                </a:lnTo>
                <a:lnTo>
                  <a:pt x="66" y="59"/>
                </a:lnTo>
                <a:lnTo>
                  <a:pt x="64" y="59"/>
                </a:lnTo>
                <a:lnTo>
                  <a:pt x="64" y="60"/>
                </a:lnTo>
                <a:lnTo>
                  <a:pt x="64" y="62"/>
                </a:lnTo>
                <a:lnTo>
                  <a:pt x="63" y="63"/>
                </a:lnTo>
                <a:lnTo>
                  <a:pt x="63" y="63"/>
                </a:lnTo>
                <a:lnTo>
                  <a:pt x="63" y="66"/>
                </a:lnTo>
                <a:lnTo>
                  <a:pt x="63" y="67"/>
                </a:lnTo>
                <a:lnTo>
                  <a:pt x="63" y="75"/>
                </a:lnTo>
                <a:lnTo>
                  <a:pt x="57" y="74"/>
                </a:lnTo>
                <a:lnTo>
                  <a:pt x="55" y="73"/>
                </a:lnTo>
                <a:lnTo>
                  <a:pt x="53" y="72"/>
                </a:lnTo>
                <a:lnTo>
                  <a:pt x="52" y="72"/>
                </a:lnTo>
                <a:lnTo>
                  <a:pt x="49" y="71"/>
                </a:lnTo>
                <a:lnTo>
                  <a:pt x="47" y="70"/>
                </a:lnTo>
                <a:lnTo>
                  <a:pt x="45" y="69"/>
                </a:lnTo>
                <a:lnTo>
                  <a:pt x="41" y="67"/>
                </a:lnTo>
                <a:lnTo>
                  <a:pt x="39" y="64"/>
                </a:lnTo>
                <a:lnTo>
                  <a:pt x="35" y="62"/>
                </a:lnTo>
                <a:lnTo>
                  <a:pt x="30" y="57"/>
                </a:lnTo>
                <a:lnTo>
                  <a:pt x="20" y="47"/>
                </a:lnTo>
                <a:lnTo>
                  <a:pt x="18" y="44"/>
                </a:lnTo>
                <a:lnTo>
                  <a:pt x="17" y="43"/>
                </a:lnTo>
                <a:lnTo>
                  <a:pt x="13" y="42"/>
                </a:lnTo>
                <a:lnTo>
                  <a:pt x="10" y="41"/>
                </a:lnTo>
                <a:lnTo>
                  <a:pt x="8" y="37"/>
                </a:lnTo>
                <a:lnTo>
                  <a:pt x="5" y="34"/>
                </a:lnTo>
                <a:lnTo>
                  <a:pt x="5" y="34"/>
                </a:lnTo>
                <a:lnTo>
                  <a:pt x="5" y="32"/>
                </a:lnTo>
                <a:lnTo>
                  <a:pt x="5" y="32"/>
                </a:lnTo>
                <a:lnTo>
                  <a:pt x="1" y="31"/>
                </a:lnTo>
                <a:lnTo>
                  <a:pt x="0" y="30"/>
                </a:lnTo>
                <a:lnTo>
                  <a:pt x="0" y="29"/>
                </a:lnTo>
                <a:lnTo>
                  <a:pt x="0" y="29"/>
                </a:lnTo>
                <a:lnTo>
                  <a:pt x="0" y="29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32" name="Freeform 231"/>
          <p:cNvSpPr>
            <a:spLocks/>
          </p:cNvSpPr>
          <p:nvPr/>
        </p:nvSpPr>
        <p:spPr bwMode="auto">
          <a:xfrm>
            <a:off x="4057650" y="3330541"/>
            <a:ext cx="104775" cy="119063"/>
          </a:xfrm>
          <a:custGeom>
            <a:avLst/>
            <a:gdLst>
              <a:gd name="T0" fmla="*/ 1 w 66"/>
              <a:gd name="T1" fmla="*/ 29 h 75"/>
              <a:gd name="T2" fmla="*/ 2 w 66"/>
              <a:gd name="T3" fmla="*/ 26 h 75"/>
              <a:gd name="T4" fmla="*/ 3 w 66"/>
              <a:gd name="T5" fmla="*/ 23 h 75"/>
              <a:gd name="T6" fmla="*/ 6 w 66"/>
              <a:gd name="T7" fmla="*/ 23 h 75"/>
              <a:gd name="T8" fmla="*/ 9 w 66"/>
              <a:gd name="T9" fmla="*/ 19 h 75"/>
              <a:gd name="T10" fmla="*/ 11 w 66"/>
              <a:gd name="T11" fmla="*/ 17 h 75"/>
              <a:gd name="T12" fmla="*/ 13 w 66"/>
              <a:gd name="T13" fmla="*/ 14 h 75"/>
              <a:gd name="T14" fmla="*/ 15 w 66"/>
              <a:gd name="T15" fmla="*/ 9 h 75"/>
              <a:gd name="T16" fmla="*/ 17 w 66"/>
              <a:gd name="T17" fmla="*/ 7 h 75"/>
              <a:gd name="T18" fmla="*/ 20 w 66"/>
              <a:gd name="T19" fmla="*/ 6 h 75"/>
              <a:gd name="T20" fmla="*/ 19 w 66"/>
              <a:gd name="T21" fmla="*/ 3 h 75"/>
              <a:gd name="T22" fmla="*/ 21 w 66"/>
              <a:gd name="T23" fmla="*/ 1 h 75"/>
              <a:gd name="T24" fmla="*/ 23 w 66"/>
              <a:gd name="T25" fmla="*/ 1 h 75"/>
              <a:gd name="T26" fmla="*/ 25 w 66"/>
              <a:gd name="T27" fmla="*/ 2 h 75"/>
              <a:gd name="T28" fmla="*/ 28 w 66"/>
              <a:gd name="T29" fmla="*/ 0 h 75"/>
              <a:gd name="T30" fmla="*/ 29 w 66"/>
              <a:gd name="T31" fmla="*/ 1 h 75"/>
              <a:gd name="T32" fmla="*/ 32 w 66"/>
              <a:gd name="T33" fmla="*/ 4 h 75"/>
              <a:gd name="T34" fmla="*/ 33 w 66"/>
              <a:gd name="T35" fmla="*/ 9 h 75"/>
              <a:gd name="T36" fmla="*/ 35 w 66"/>
              <a:gd name="T37" fmla="*/ 14 h 75"/>
              <a:gd name="T38" fmla="*/ 33 w 66"/>
              <a:gd name="T39" fmla="*/ 20 h 75"/>
              <a:gd name="T40" fmla="*/ 32 w 66"/>
              <a:gd name="T41" fmla="*/ 21 h 75"/>
              <a:gd name="T42" fmla="*/ 33 w 66"/>
              <a:gd name="T43" fmla="*/ 22 h 75"/>
              <a:gd name="T44" fmla="*/ 36 w 66"/>
              <a:gd name="T45" fmla="*/ 21 h 75"/>
              <a:gd name="T46" fmla="*/ 38 w 66"/>
              <a:gd name="T47" fmla="*/ 24 h 75"/>
              <a:gd name="T48" fmla="*/ 40 w 66"/>
              <a:gd name="T49" fmla="*/ 23 h 75"/>
              <a:gd name="T50" fmla="*/ 42 w 66"/>
              <a:gd name="T51" fmla="*/ 22 h 75"/>
              <a:gd name="T52" fmla="*/ 45 w 66"/>
              <a:gd name="T53" fmla="*/ 18 h 75"/>
              <a:gd name="T54" fmla="*/ 47 w 66"/>
              <a:gd name="T55" fmla="*/ 17 h 75"/>
              <a:gd name="T56" fmla="*/ 49 w 66"/>
              <a:gd name="T57" fmla="*/ 20 h 75"/>
              <a:gd name="T58" fmla="*/ 50 w 66"/>
              <a:gd name="T59" fmla="*/ 23 h 75"/>
              <a:gd name="T60" fmla="*/ 50 w 66"/>
              <a:gd name="T61" fmla="*/ 26 h 75"/>
              <a:gd name="T62" fmla="*/ 51 w 66"/>
              <a:gd name="T63" fmla="*/ 32 h 75"/>
              <a:gd name="T64" fmla="*/ 48 w 66"/>
              <a:gd name="T65" fmla="*/ 36 h 75"/>
              <a:gd name="T66" fmla="*/ 47 w 66"/>
              <a:gd name="T67" fmla="*/ 38 h 75"/>
              <a:gd name="T68" fmla="*/ 48 w 66"/>
              <a:gd name="T69" fmla="*/ 38 h 75"/>
              <a:gd name="T70" fmla="*/ 49 w 66"/>
              <a:gd name="T71" fmla="*/ 39 h 75"/>
              <a:gd name="T72" fmla="*/ 51 w 66"/>
              <a:gd name="T73" fmla="*/ 39 h 75"/>
              <a:gd name="T74" fmla="*/ 56 w 66"/>
              <a:gd name="T75" fmla="*/ 41 h 75"/>
              <a:gd name="T76" fmla="*/ 58 w 66"/>
              <a:gd name="T77" fmla="*/ 43 h 75"/>
              <a:gd name="T78" fmla="*/ 59 w 66"/>
              <a:gd name="T79" fmla="*/ 44 h 75"/>
              <a:gd name="T80" fmla="*/ 60 w 66"/>
              <a:gd name="T81" fmla="*/ 48 h 75"/>
              <a:gd name="T82" fmla="*/ 63 w 66"/>
              <a:gd name="T83" fmla="*/ 50 h 75"/>
              <a:gd name="T84" fmla="*/ 64 w 66"/>
              <a:gd name="T85" fmla="*/ 51 h 75"/>
              <a:gd name="T86" fmla="*/ 66 w 66"/>
              <a:gd name="T87" fmla="*/ 54 h 75"/>
              <a:gd name="T88" fmla="*/ 66 w 66"/>
              <a:gd name="T89" fmla="*/ 59 h 75"/>
              <a:gd name="T90" fmla="*/ 64 w 66"/>
              <a:gd name="T91" fmla="*/ 59 h 75"/>
              <a:gd name="T92" fmla="*/ 64 w 66"/>
              <a:gd name="T93" fmla="*/ 62 h 75"/>
              <a:gd name="T94" fmla="*/ 63 w 66"/>
              <a:gd name="T95" fmla="*/ 63 h 75"/>
              <a:gd name="T96" fmla="*/ 63 w 66"/>
              <a:gd name="T97" fmla="*/ 67 h 75"/>
              <a:gd name="T98" fmla="*/ 57 w 66"/>
              <a:gd name="T99" fmla="*/ 74 h 75"/>
              <a:gd name="T100" fmla="*/ 53 w 66"/>
              <a:gd name="T101" fmla="*/ 72 h 75"/>
              <a:gd name="T102" fmla="*/ 49 w 66"/>
              <a:gd name="T103" fmla="*/ 71 h 75"/>
              <a:gd name="T104" fmla="*/ 45 w 66"/>
              <a:gd name="T105" fmla="*/ 69 h 75"/>
              <a:gd name="T106" fmla="*/ 39 w 66"/>
              <a:gd name="T107" fmla="*/ 64 h 75"/>
              <a:gd name="T108" fmla="*/ 30 w 66"/>
              <a:gd name="T109" fmla="*/ 57 h 75"/>
              <a:gd name="T110" fmla="*/ 18 w 66"/>
              <a:gd name="T111" fmla="*/ 44 h 75"/>
              <a:gd name="T112" fmla="*/ 13 w 66"/>
              <a:gd name="T113" fmla="*/ 42 h 75"/>
              <a:gd name="T114" fmla="*/ 8 w 66"/>
              <a:gd name="T115" fmla="*/ 37 h 75"/>
              <a:gd name="T116" fmla="*/ 5 w 66"/>
              <a:gd name="T117" fmla="*/ 34 h 75"/>
              <a:gd name="T118" fmla="*/ 5 w 66"/>
              <a:gd name="T119" fmla="*/ 32 h 75"/>
              <a:gd name="T120" fmla="*/ 0 w 66"/>
              <a:gd name="T121" fmla="*/ 30 h 75"/>
              <a:gd name="T122" fmla="*/ 0 w 66"/>
              <a:gd name="T123" fmla="*/ 29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6" h="75">
                <a:moveTo>
                  <a:pt x="0" y="29"/>
                </a:moveTo>
                <a:lnTo>
                  <a:pt x="1" y="29"/>
                </a:lnTo>
                <a:lnTo>
                  <a:pt x="2" y="28"/>
                </a:lnTo>
                <a:lnTo>
                  <a:pt x="2" y="26"/>
                </a:lnTo>
                <a:lnTo>
                  <a:pt x="3" y="26"/>
                </a:lnTo>
                <a:lnTo>
                  <a:pt x="3" y="23"/>
                </a:lnTo>
                <a:lnTo>
                  <a:pt x="3" y="23"/>
                </a:lnTo>
                <a:lnTo>
                  <a:pt x="6" y="23"/>
                </a:lnTo>
                <a:lnTo>
                  <a:pt x="7" y="22"/>
                </a:lnTo>
                <a:lnTo>
                  <a:pt x="9" y="19"/>
                </a:lnTo>
                <a:lnTo>
                  <a:pt x="10" y="19"/>
                </a:lnTo>
                <a:lnTo>
                  <a:pt x="11" y="17"/>
                </a:lnTo>
                <a:lnTo>
                  <a:pt x="13" y="16"/>
                </a:lnTo>
                <a:lnTo>
                  <a:pt x="13" y="14"/>
                </a:lnTo>
                <a:lnTo>
                  <a:pt x="15" y="14"/>
                </a:lnTo>
                <a:lnTo>
                  <a:pt x="15" y="9"/>
                </a:lnTo>
                <a:lnTo>
                  <a:pt x="16" y="9"/>
                </a:lnTo>
                <a:lnTo>
                  <a:pt x="17" y="7"/>
                </a:lnTo>
                <a:lnTo>
                  <a:pt x="20" y="7"/>
                </a:lnTo>
                <a:lnTo>
                  <a:pt x="20" y="6"/>
                </a:lnTo>
                <a:lnTo>
                  <a:pt x="19" y="4"/>
                </a:lnTo>
                <a:lnTo>
                  <a:pt x="19" y="3"/>
                </a:lnTo>
                <a:lnTo>
                  <a:pt x="20" y="3"/>
                </a:lnTo>
                <a:lnTo>
                  <a:pt x="21" y="1"/>
                </a:lnTo>
                <a:lnTo>
                  <a:pt x="22" y="0"/>
                </a:lnTo>
                <a:lnTo>
                  <a:pt x="23" y="1"/>
                </a:lnTo>
                <a:lnTo>
                  <a:pt x="25" y="2"/>
                </a:lnTo>
                <a:lnTo>
                  <a:pt x="25" y="2"/>
                </a:lnTo>
                <a:lnTo>
                  <a:pt x="26" y="1"/>
                </a:lnTo>
                <a:lnTo>
                  <a:pt x="28" y="0"/>
                </a:lnTo>
                <a:lnTo>
                  <a:pt x="29" y="1"/>
                </a:lnTo>
                <a:lnTo>
                  <a:pt x="29" y="1"/>
                </a:lnTo>
                <a:lnTo>
                  <a:pt x="30" y="2"/>
                </a:lnTo>
                <a:lnTo>
                  <a:pt x="32" y="4"/>
                </a:lnTo>
                <a:lnTo>
                  <a:pt x="32" y="7"/>
                </a:lnTo>
                <a:lnTo>
                  <a:pt x="33" y="9"/>
                </a:lnTo>
                <a:lnTo>
                  <a:pt x="33" y="13"/>
                </a:lnTo>
                <a:lnTo>
                  <a:pt x="35" y="14"/>
                </a:lnTo>
                <a:lnTo>
                  <a:pt x="33" y="19"/>
                </a:lnTo>
                <a:lnTo>
                  <a:pt x="33" y="20"/>
                </a:lnTo>
                <a:lnTo>
                  <a:pt x="32" y="21"/>
                </a:lnTo>
                <a:lnTo>
                  <a:pt x="32" y="21"/>
                </a:lnTo>
                <a:lnTo>
                  <a:pt x="32" y="22"/>
                </a:lnTo>
                <a:lnTo>
                  <a:pt x="33" y="22"/>
                </a:lnTo>
                <a:lnTo>
                  <a:pt x="35" y="21"/>
                </a:lnTo>
                <a:lnTo>
                  <a:pt x="36" y="21"/>
                </a:lnTo>
                <a:lnTo>
                  <a:pt x="37" y="22"/>
                </a:lnTo>
                <a:lnTo>
                  <a:pt x="38" y="24"/>
                </a:lnTo>
                <a:lnTo>
                  <a:pt x="40" y="24"/>
                </a:lnTo>
                <a:lnTo>
                  <a:pt x="40" y="23"/>
                </a:lnTo>
                <a:lnTo>
                  <a:pt x="42" y="23"/>
                </a:lnTo>
                <a:lnTo>
                  <a:pt x="42" y="22"/>
                </a:lnTo>
                <a:lnTo>
                  <a:pt x="45" y="20"/>
                </a:lnTo>
                <a:lnTo>
                  <a:pt x="45" y="18"/>
                </a:lnTo>
                <a:lnTo>
                  <a:pt x="46" y="17"/>
                </a:lnTo>
                <a:lnTo>
                  <a:pt x="47" y="17"/>
                </a:lnTo>
                <a:lnTo>
                  <a:pt x="48" y="19"/>
                </a:lnTo>
                <a:lnTo>
                  <a:pt x="49" y="20"/>
                </a:lnTo>
                <a:lnTo>
                  <a:pt x="49" y="23"/>
                </a:lnTo>
                <a:lnTo>
                  <a:pt x="50" y="23"/>
                </a:lnTo>
                <a:lnTo>
                  <a:pt x="50" y="24"/>
                </a:lnTo>
                <a:lnTo>
                  <a:pt x="50" y="26"/>
                </a:lnTo>
                <a:lnTo>
                  <a:pt x="51" y="27"/>
                </a:lnTo>
                <a:lnTo>
                  <a:pt x="51" y="32"/>
                </a:lnTo>
                <a:lnTo>
                  <a:pt x="50" y="32"/>
                </a:lnTo>
                <a:lnTo>
                  <a:pt x="48" y="36"/>
                </a:lnTo>
                <a:lnTo>
                  <a:pt x="47" y="37"/>
                </a:lnTo>
                <a:lnTo>
                  <a:pt x="47" y="38"/>
                </a:lnTo>
                <a:lnTo>
                  <a:pt x="48" y="38"/>
                </a:lnTo>
                <a:lnTo>
                  <a:pt x="48" y="38"/>
                </a:lnTo>
                <a:lnTo>
                  <a:pt x="49" y="38"/>
                </a:lnTo>
                <a:lnTo>
                  <a:pt x="49" y="39"/>
                </a:lnTo>
                <a:lnTo>
                  <a:pt x="50" y="39"/>
                </a:lnTo>
                <a:lnTo>
                  <a:pt x="51" y="39"/>
                </a:lnTo>
                <a:lnTo>
                  <a:pt x="53" y="41"/>
                </a:lnTo>
                <a:lnTo>
                  <a:pt x="56" y="41"/>
                </a:lnTo>
                <a:lnTo>
                  <a:pt x="57" y="41"/>
                </a:lnTo>
                <a:lnTo>
                  <a:pt x="58" y="43"/>
                </a:lnTo>
                <a:lnTo>
                  <a:pt x="58" y="44"/>
                </a:lnTo>
                <a:lnTo>
                  <a:pt x="59" y="44"/>
                </a:lnTo>
                <a:lnTo>
                  <a:pt x="60" y="47"/>
                </a:lnTo>
                <a:lnTo>
                  <a:pt x="60" y="48"/>
                </a:lnTo>
                <a:lnTo>
                  <a:pt x="61" y="48"/>
                </a:lnTo>
                <a:lnTo>
                  <a:pt x="63" y="50"/>
                </a:lnTo>
                <a:lnTo>
                  <a:pt x="64" y="49"/>
                </a:lnTo>
                <a:lnTo>
                  <a:pt x="64" y="51"/>
                </a:lnTo>
                <a:lnTo>
                  <a:pt x="66" y="52"/>
                </a:lnTo>
                <a:lnTo>
                  <a:pt x="66" y="54"/>
                </a:lnTo>
                <a:lnTo>
                  <a:pt x="66" y="57"/>
                </a:lnTo>
                <a:lnTo>
                  <a:pt x="66" y="59"/>
                </a:lnTo>
                <a:lnTo>
                  <a:pt x="66" y="59"/>
                </a:lnTo>
                <a:lnTo>
                  <a:pt x="64" y="59"/>
                </a:lnTo>
                <a:lnTo>
                  <a:pt x="64" y="60"/>
                </a:lnTo>
                <a:lnTo>
                  <a:pt x="64" y="62"/>
                </a:lnTo>
                <a:lnTo>
                  <a:pt x="63" y="63"/>
                </a:lnTo>
                <a:lnTo>
                  <a:pt x="63" y="63"/>
                </a:lnTo>
                <a:lnTo>
                  <a:pt x="63" y="66"/>
                </a:lnTo>
                <a:lnTo>
                  <a:pt x="63" y="67"/>
                </a:lnTo>
                <a:lnTo>
                  <a:pt x="63" y="75"/>
                </a:lnTo>
                <a:lnTo>
                  <a:pt x="57" y="74"/>
                </a:lnTo>
                <a:lnTo>
                  <a:pt x="55" y="73"/>
                </a:lnTo>
                <a:lnTo>
                  <a:pt x="53" y="72"/>
                </a:lnTo>
                <a:lnTo>
                  <a:pt x="52" y="72"/>
                </a:lnTo>
                <a:lnTo>
                  <a:pt x="49" y="71"/>
                </a:lnTo>
                <a:lnTo>
                  <a:pt x="47" y="70"/>
                </a:lnTo>
                <a:lnTo>
                  <a:pt x="45" y="69"/>
                </a:lnTo>
                <a:lnTo>
                  <a:pt x="41" y="67"/>
                </a:lnTo>
                <a:lnTo>
                  <a:pt x="39" y="64"/>
                </a:lnTo>
                <a:lnTo>
                  <a:pt x="35" y="62"/>
                </a:lnTo>
                <a:lnTo>
                  <a:pt x="30" y="57"/>
                </a:lnTo>
                <a:lnTo>
                  <a:pt x="20" y="47"/>
                </a:lnTo>
                <a:lnTo>
                  <a:pt x="18" y="44"/>
                </a:lnTo>
                <a:lnTo>
                  <a:pt x="17" y="43"/>
                </a:lnTo>
                <a:lnTo>
                  <a:pt x="13" y="42"/>
                </a:lnTo>
                <a:lnTo>
                  <a:pt x="10" y="41"/>
                </a:lnTo>
                <a:lnTo>
                  <a:pt x="8" y="37"/>
                </a:lnTo>
                <a:lnTo>
                  <a:pt x="5" y="34"/>
                </a:lnTo>
                <a:lnTo>
                  <a:pt x="5" y="34"/>
                </a:lnTo>
                <a:lnTo>
                  <a:pt x="5" y="32"/>
                </a:lnTo>
                <a:lnTo>
                  <a:pt x="5" y="32"/>
                </a:lnTo>
                <a:lnTo>
                  <a:pt x="1" y="31"/>
                </a:lnTo>
                <a:lnTo>
                  <a:pt x="0" y="30"/>
                </a:lnTo>
                <a:lnTo>
                  <a:pt x="0" y="29"/>
                </a:lnTo>
                <a:lnTo>
                  <a:pt x="0" y="29"/>
                </a:lnTo>
                <a:lnTo>
                  <a:pt x="0" y="29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33" name="Freeform 232"/>
          <p:cNvSpPr>
            <a:spLocks/>
          </p:cNvSpPr>
          <p:nvPr/>
        </p:nvSpPr>
        <p:spPr bwMode="auto">
          <a:xfrm>
            <a:off x="4268788" y="3255928"/>
            <a:ext cx="112712" cy="187325"/>
          </a:xfrm>
          <a:custGeom>
            <a:avLst/>
            <a:gdLst>
              <a:gd name="T0" fmla="*/ 70 w 71"/>
              <a:gd name="T1" fmla="*/ 93 h 118"/>
              <a:gd name="T2" fmla="*/ 62 w 71"/>
              <a:gd name="T3" fmla="*/ 84 h 118"/>
              <a:gd name="T4" fmla="*/ 61 w 71"/>
              <a:gd name="T5" fmla="*/ 77 h 118"/>
              <a:gd name="T6" fmla="*/ 61 w 71"/>
              <a:gd name="T7" fmla="*/ 63 h 118"/>
              <a:gd name="T8" fmla="*/ 60 w 71"/>
              <a:gd name="T9" fmla="*/ 38 h 118"/>
              <a:gd name="T10" fmla="*/ 58 w 71"/>
              <a:gd name="T11" fmla="*/ 31 h 118"/>
              <a:gd name="T12" fmla="*/ 57 w 71"/>
              <a:gd name="T13" fmla="*/ 23 h 118"/>
              <a:gd name="T14" fmla="*/ 55 w 71"/>
              <a:gd name="T15" fmla="*/ 16 h 118"/>
              <a:gd name="T16" fmla="*/ 51 w 71"/>
              <a:gd name="T17" fmla="*/ 12 h 118"/>
              <a:gd name="T18" fmla="*/ 49 w 71"/>
              <a:gd name="T19" fmla="*/ 7 h 118"/>
              <a:gd name="T20" fmla="*/ 50 w 71"/>
              <a:gd name="T21" fmla="*/ 4 h 118"/>
              <a:gd name="T22" fmla="*/ 50 w 71"/>
              <a:gd name="T23" fmla="*/ 2 h 118"/>
              <a:gd name="T24" fmla="*/ 48 w 71"/>
              <a:gd name="T25" fmla="*/ 2 h 118"/>
              <a:gd name="T26" fmla="*/ 42 w 71"/>
              <a:gd name="T27" fmla="*/ 2 h 118"/>
              <a:gd name="T28" fmla="*/ 38 w 71"/>
              <a:gd name="T29" fmla="*/ 4 h 118"/>
              <a:gd name="T30" fmla="*/ 25 w 71"/>
              <a:gd name="T31" fmla="*/ 3 h 118"/>
              <a:gd name="T32" fmla="*/ 14 w 71"/>
              <a:gd name="T33" fmla="*/ 2 h 118"/>
              <a:gd name="T34" fmla="*/ 6 w 71"/>
              <a:gd name="T35" fmla="*/ 3 h 118"/>
              <a:gd name="T36" fmla="*/ 5 w 71"/>
              <a:gd name="T37" fmla="*/ 8 h 118"/>
              <a:gd name="T38" fmla="*/ 6 w 71"/>
              <a:gd name="T39" fmla="*/ 12 h 118"/>
              <a:gd name="T40" fmla="*/ 7 w 71"/>
              <a:gd name="T41" fmla="*/ 15 h 118"/>
              <a:gd name="T42" fmla="*/ 8 w 71"/>
              <a:gd name="T43" fmla="*/ 21 h 118"/>
              <a:gd name="T44" fmla="*/ 8 w 71"/>
              <a:gd name="T45" fmla="*/ 27 h 118"/>
              <a:gd name="T46" fmla="*/ 9 w 71"/>
              <a:gd name="T47" fmla="*/ 31 h 118"/>
              <a:gd name="T48" fmla="*/ 9 w 71"/>
              <a:gd name="T49" fmla="*/ 34 h 118"/>
              <a:gd name="T50" fmla="*/ 7 w 71"/>
              <a:gd name="T51" fmla="*/ 37 h 118"/>
              <a:gd name="T52" fmla="*/ 9 w 71"/>
              <a:gd name="T53" fmla="*/ 38 h 118"/>
              <a:gd name="T54" fmla="*/ 12 w 71"/>
              <a:gd name="T55" fmla="*/ 53 h 118"/>
              <a:gd name="T56" fmla="*/ 10 w 71"/>
              <a:gd name="T57" fmla="*/ 55 h 118"/>
              <a:gd name="T58" fmla="*/ 9 w 71"/>
              <a:gd name="T59" fmla="*/ 57 h 118"/>
              <a:gd name="T60" fmla="*/ 7 w 71"/>
              <a:gd name="T61" fmla="*/ 60 h 118"/>
              <a:gd name="T62" fmla="*/ 5 w 71"/>
              <a:gd name="T63" fmla="*/ 67 h 118"/>
              <a:gd name="T64" fmla="*/ 4 w 71"/>
              <a:gd name="T65" fmla="*/ 73 h 118"/>
              <a:gd name="T66" fmla="*/ 0 w 71"/>
              <a:gd name="T67" fmla="*/ 77 h 118"/>
              <a:gd name="T68" fmla="*/ 0 w 71"/>
              <a:gd name="T69" fmla="*/ 86 h 118"/>
              <a:gd name="T70" fmla="*/ 4 w 71"/>
              <a:gd name="T71" fmla="*/ 97 h 118"/>
              <a:gd name="T72" fmla="*/ 7 w 71"/>
              <a:gd name="T73" fmla="*/ 99 h 118"/>
              <a:gd name="T74" fmla="*/ 8 w 71"/>
              <a:gd name="T75" fmla="*/ 104 h 118"/>
              <a:gd name="T76" fmla="*/ 6 w 71"/>
              <a:gd name="T77" fmla="*/ 109 h 118"/>
              <a:gd name="T78" fmla="*/ 4 w 71"/>
              <a:gd name="T79" fmla="*/ 108 h 118"/>
              <a:gd name="T80" fmla="*/ 1 w 71"/>
              <a:gd name="T81" fmla="*/ 110 h 118"/>
              <a:gd name="T82" fmla="*/ 19 w 71"/>
              <a:gd name="T83" fmla="*/ 118 h 118"/>
              <a:gd name="T84" fmla="*/ 28 w 71"/>
              <a:gd name="T85" fmla="*/ 113 h 118"/>
              <a:gd name="T86" fmla="*/ 40 w 71"/>
              <a:gd name="T87" fmla="*/ 108 h 118"/>
              <a:gd name="T88" fmla="*/ 54 w 71"/>
              <a:gd name="T89" fmla="*/ 100 h 118"/>
              <a:gd name="T90" fmla="*/ 57 w 71"/>
              <a:gd name="T91" fmla="*/ 99 h 118"/>
              <a:gd name="T92" fmla="*/ 65 w 71"/>
              <a:gd name="T93" fmla="*/ 99 h 118"/>
              <a:gd name="T94" fmla="*/ 70 w 71"/>
              <a:gd name="T95" fmla="*/ 94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1" h="118">
                <a:moveTo>
                  <a:pt x="71" y="93"/>
                </a:moveTo>
                <a:lnTo>
                  <a:pt x="70" y="93"/>
                </a:lnTo>
                <a:lnTo>
                  <a:pt x="65" y="87"/>
                </a:lnTo>
                <a:lnTo>
                  <a:pt x="62" y="84"/>
                </a:lnTo>
                <a:lnTo>
                  <a:pt x="61" y="79"/>
                </a:lnTo>
                <a:lnTo>
                  <a:pt x="61" y="77"/>
                </a:lnTo>
                <a:lnTo>
                  <a:pt x="60" y="69"/>
                </a:lnTo>
                <a:lnTo>
                  <a:pt x="61" y="63"/>
                </a:lnTo>
                <a:lnTo>
                  <a:pt x="60" y="48"/>
                </a:lnTo>
                <a:lnTo>
                  <a:pt x="60" y="38"/>
                </a:lnTo>
                <a:lnTo>
                  <a:pt x="59" y="34"/>
                </a:lnTo>
                <a:lnTo>
                  <a:pt x="58" y="31"/>
                </a:lnTo>
                <a:lnTo>
                  <a:pt x="57" y="29"/>
                </a:lnTo>
                <a:lnTo>
                  <a:pt x="57" y="23"/>
                </a:lnTo>
                <a:lnTo>
                  <a:pt x="56" y="18"/>
                </a:lnTo>
                <a:lnTo>
                  <a:pt x="55" y="16"/>
                </a:lnTo>
                <a:lnTo>
                  <a:pt x="52" y="14"/>
                </a:lnTo>
                <a:lnTo>
                  <a:pt x="51" y="12"/>
                </a:lnTo>
                <a:lnTo>
                  <a:pt x="49" y="9"/>
                </a:lnTo>
                <a:lnTo>
                  <a:pt x="49" y="7"/>
                </a:lnTo>
                <a:lnTo>
                  <a:pt x="50" y="5"/>
                </a:lnTo>
                <a:lnTo>
                  <a:pt x="50" y="4"/>
                </a:lnTo>
                <a:lnTo>
                  <a:pt x="50" y="3"/>
                </a:lnTo>
                <a:lnTo>
                  <a:pt x="50" y="2"/>
                </a:lnTo>
                <a:lnTo>
                  <a:pt x="48" y="2"/>
                </a:lnTo>
                <a:lnTo>
                  <a:pt x="48" y="2"/>
                </a:lnTo>
                <a:lnTo>
                  <a:pt x="48" y="0"/>
                </a:lnTo>
                <a:lnTo>
                  <a:pt x="42" y="2"/>
                </a:lnTo>
                <a:lnTo>
                  <a:pt x="39" y="4"/>
                </a:lnTo>
                <a:lnTo>
                  <a:pt x="38" y="4"/>
                </a:lnTo>
                <a:lnTo>
                  <a:pt x="32" y="4"/>
                </a:lnTo>
                <a:lnTo>
                  <a:pt x="25" y="3"/>
                </a:lnTo>
                <a:lnTo>
                  <a:pt x="17" y="3"/>
                </a:lnTo>
                <a:lnTo>
                  <a:pt x="14" y="2"/>
                </a:lnTo>
                <a:lnTo>
                  <a:pt x="10" y="2"/>
                </a:lnTo>
                <a:lnTo>
                  <a:pt x="6" y="3"/>
                </a:lnTo>
                <a:lnTo>
                  <a:pt x="5" y="6"/>
                </a:lnTo>
                <a:lnTo>
                  <a:pt x="5" y="8"/>
                </a:lnTo>
                <a:lnTo>
                  <a:pt x="5" y="10"/>
                </a:lnTo>
                <a:lnTo>
                  <a:pt x="6" y="12"/>
                </a:lnTo>
                <a:lnTo>
                  <a:pt x="6" y="14"/>
                </a:lnTo>
                <a:lnTo>
                  <a:pt x="7" y="15"/>
                </a:lnTo>
                <a:lnTo>
                  <a:pt x="7" y="19"/>
                </a:lnTo>
                <a:lnTo>
                  <a:pt x="8" y="21"/>
                </a:lnTo>
                <a:lnTo>
                  <a:pt x="7" y="26"/>
                </a:lnTo>
                <a:lnTo>
                  <a:pt x="8" y="27"/>
                </a:lnTo>
                <a:lnTo>
                  <a:pt x="8" y="29"/>
                </a:lnTo>
                <a:lnTo>
                  <a:pt x="9" y="31"/>
                </a:lnTo>
                <a:lnTo>
                  <a:pt x="8" y="33"/>
                </a:lnTo>
                <a:lnTo>
                  <a:pt x="9" y="34"/>
                </a:lnTo>
                <a:lnTo>
                  <a:pt x="8" y="36"/>
                </a:lnTo>
                <a:lnTo>
                  <a:pt x="7" y="37"/>
                </a:lnTo>
                <a:lnTo>
                  <a:pt x="8" y="37"/>
                </a:lnTo>
                <a:lnTo>
                  <a:pt x="9" y="38"/>
                </a:lnTo>
                <a:lnTo>
                  <a:pt x="11" y="47"/>
                </a:lnTo>
                <a:lnTo>
                  <a:pt x="12" y="53"/>
                </a:lnTo>
                <a:lnTo>
                  <a:pt x="10" y="53"/>
                </a:lnTo>
                <a:lnTo>
                  <a:pt x="10" y="55"/>
                </a:lnTo>
                <a:lnTo>
                  <a:pt x="9" y="55"/>
                </a:lnTo>
                <a:lnTo>
                  <a:pt x="9" y="57"/>
                </a:lnTo>
                <a:lnTo>
                  <a:pt x="8" y="57"/>
                </a:lnTo>
                <a:lnTo>
                  <a:pt x="7" y="60"/>
                </a:lnTo>
                <a:lnTo>
                  <a:pt x="5" y="65"/>
                </a:lnTo>
                <a:lnTo>
                  <a:pt x="5" y="67"/>
                </a:lnTo>
                <a:lnTo>
                  <a:pt x="5" y="70"/>
                </a:lnTo>
                <a:lnTo>
                  <a:pt x="4" y="73"/>
                </a:lnTo>
                <a:lnTo>
                  <a:pt x="1" y="75"/>
                </a:lnTo>
                <a:lnTo>
                  <a:pt x="0" y="77"/>
                </a:lnTo>
                <a:lnTo>
                  <a:pt x="0" y="83"/>
                </a:lnTo>
                <a:lnTo>
                  <a:pt x="0" y="86"/>
                </a:lnTo>
                <a:lnTo>
                  <a:pt x="3" y="93"/>
                </a:lnTo>
                <a:lnTo>
                  <a:pt x="4" y="97"/>
                </a:lnTo>
                <a:lnTo>
                  <a:pt x="5" y="99"/>
                </a:lnTo>
                <a:lnTo>
                  <a:pt x="7" y="99"/>
                </a:lnTo>
                <a:lnTo>
                  <a:pt x="7" y="100"/>
                </a:lnTo>
                <a:lnTo>
                  <a:pt x="8" y="104"/>
                </a:lnTo>
                <a:lnTo>
                  <a:pt x="8" y="109"/>
                </a:lnTo>
                <a:lnTo>
                  <a:pt x="6" y="109"/>
                </a:lnTo>
                <a:lnTo>
                  <a:pt x="5" y="109"/>
                </a:lnTo>
                <a:lnTo>
                  <a:pt x="4" y="108"/>
                </a:lnTo>
                <a:lnTo>
                  <a:pt x="3" y="109"/>
                </a:lnTo>
                <a:lnTo>
                  <a:pt x="1" y="110"/>
                </a:lnTo>
                <a:lnTo>
                  <a:pt x="12" y="115"/>
                </a:lnTo>
                <a:lnTo>
                  <a:pt x="19" y="118"/>
                </a:lnTo>
                <a:lnTo>
                  <a:pt x="26" y="115"/>
                </a:lnTo>
                <a:lnTo>
                  <a:pt x="28" y="113"/>
                </a:lnTo>
                <a:lnTo>
                  <a:pt x="30" y="111"/>
                </a:lnTo>
                <a:lnTo>
                  <a:pt x="40" y="108"/>
                </a:lnTo>
                <a:lnTo>
                  <a:pt x="49" y="103"/>
                </a:lnTo>
                <a:lnTo>
                  <a:pt x="54" y="100"/>
                </a:lnTo>
                <a:lnTo>
                  <a:pt x="55" y="99"/>
                </a:lnTo>
                <a:lnTo>
                  <a:pt x="57" y="99"/>
                </a:lnTo>
                <a:lnTo>
                  <a:pt x="62" y="98"/>
                </a:lnTo>
                <a:lnTo>
                  <a:pt x="65" y="99"/>
                </a:lnTo>
                <a:lnTo>
                  <a:pt x="67" y="98"/>
                </a:lnTo>
                <a:lnTo>
                  <a:pt x="70" y="94"/>
                </a:lnTo>
                <a:lnTo>
                  <a:pt x="71" y="9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34" name="Freeform 233"/>
          <p:cNvSpPr>
            <a:spLocks/>
          </p:cNvSpPr>
          <p:nvPr/>
        </p:nvSpPr>
        <p:spPr bwMode="auto">
          <a:xfrm>
            <a:off x="4268788" y="3255928"/>
            <a:ext cx="112712" cy="187325"/>
          </a:xfrm>
          <a:custGeom>
            <a:avLst/>
            <a:gdLst>
              <a:gd name="T0" fmla="*/ 70 w 71"/>
              <a:gd name="T1" fmla="*/ 93 h 118"/>
              <a:gd name="T2" fmla="*/ 62 w 71"/>
              <a:gd name="T3" fmla="*/ 84 h 118"/>
              <a:gd name="T4" fmla="*/ 61 w 71"/>
              <a:gd name="T5" fmla="*/ 77 h 118"/>
              <a:gd name="T6" fmla="*/ 61 w 71"/>
              <a:gd name="T7" fmla="*/ 63 h 118"/>
              <a:gd name="T8" fmla="*/ 60 w 71"/>
              <a:gd name="T9" fmla="*/ 38 h 118"/>
              <a:gd name="T10" fmla="*/ 58 w 71"/>
              <a:gd name="T11" fmla="*/ 31 h 118"/>
              <a:gd name="T12" fmla="*/ 57 w 71"/>
              <a:gd name="T13" fmla="*/ 23 h 118"/>
              <a:gd name="T14" fmla="*/ 55 w 71"/>
              <a:gd name="T15" fmla="*/ 16 h 118"/>
              <a:gd name="T16" fmla="*/ 51 w 71"/>
              <a:gd name="T17" fmla="*/ 12 h 118"/>
              <a:gd name="T18" fmla="*/ 49 w 71"/>
              <a:gd name="T19" fmla="*/ 7 h 118"/>
              <a:gd name="T20" fmla="*/ 50 w 71"/>
              <a:gd name="T21" fmla="*/ 4 h 118"/>
              <a:gd name="T22" fmla="*/ 50 w 71"/>
              <a:gd name="T23" fmla="*/ 2 h 118"/>
              <a:gd name="T24" fmla="*/ 48 w 71"/>
              <a:gd name="T25" fmla="*/ 2 h 118"/>
              <a:gd name="T26" fmla="*/ 42 w 71"/>
              <a:gd name="T27" fmla="*/ 2 h 118"/>
              <a:gd name="T28" fmla="*/ 38 w 71"/>
              <a:gd name="T29" fmla="*/ 4 h 118"/>
              <a:gd name="T30" fmla="*/ 25 w 71"/>
              <a:gd name="T31" fmla="*/ 3 h 118"/>
              <a:gd name="T32" fmla="*/ 14 w 71"/>
              <a:gd name="T33" fmla="*/ 2 h 118"/>
              <a:gd name="T34" fmla="*/ 6 w 71"/>
              <a:gd name="T35" fmla="*/ 3 h 118"/>
              <a:gd name="T36" fmla="*/ 5 w 71"/>
              <a:gd name="T37" fmla="*/ 8 h 118"/>
              <a:gd name="T38" fmla="*/ 6 w 71"/>
              <a:gd name="T39" fmla="*/ 12 h 118"/>
              <a:gd name="T40" fmla="*/ 7 w 71"/>
              <a:gd name="T41" fmla="*/ 15 h 118"/>
              <a:gd name="T42" fmla="*/ 8 w 71"/>
              <a:gd name="T43" fmla="*/ 21 h 118"/>
              <a:gd name="T44" fmla="*/ 8 w 71"/>
              <a:gd name="T45" fmla="*/ 27 h 118"/>
              <a:gd name="T46" fmla="*/ 9 w 71"/>
              <a:gd name="T47" fmla="*/ 31 h 118"/>
              <a:gd name="T48" fmla="*/ 9 w 71"/>
              <a:gd name="T49" fmla="*/ 34 h 118"/>
              <a:gd name="T50" fmla="*/ 7 w 71"/>
              <a:gd name="T51" fmla="*/ 37 h 118"/>
              <a:gd name="T52" fmla="*/ 9 w 71"/>
              <a:gd name="T53" fmla="*/ 38 h 118"/>
              <a:gd name="T54" fmla="*/ 12 w 71"/>
              <a:gd name="T55" fmla="*/ 53 h 118"/>
              <a:gd name="T56" fmla="*/ 10 w 71"/>
              <a:gd name="T57" fmla="*/ 55 h 118"/>
              <a:gd name="T58" fmla="*/ 9 w 71"/>
              <a:gd name="T59" fmla="*/ 57 h 118"/>
              <a:gd name="T60" fmla="*/ 7 w 71"/>
              <a:gd name="T61" fmla="*/ 60 h 118"/>
              <a:gd name="T62" fmla="*/ 5 w 71"/>
              <a:gd name="T63" fmla="*/ 67 h 118"/>
              <a:gd name="T64" fmla="*/ 4 w 71"/>
              <a:gd name="T65" fmla="*/ 73 h 118"/>
              <a:gd name="T66" fmla="*/ 0 w 71"/>
              <a:gd name="T67" fmla="*/ 77 h 118"/>
              <a:gd name="T68" fmla="*/ 0 w 71"/>
              <a:gd name="T69" fmla="*/ 86 h 118"/>
              <a:gd name="T70" fmla="*/ 4 w 71"/>
              <a:gd name="T71" fmla="*/ 97 h 118"/>
              <a:gd name="T72" fmla="*/ 7 w 71"/>
              <a:gd name="T73" fmla="*/ 99 h 118"/>
              <a:gd name="T74" fmla="*/ 8 w 71"/>
              <a:gd name="T75" fmla="*/ 104 h 118"/>
              <a:gd name="T76" fmla="*/ 6 w 71"/>
              <a:gd name="T77" fmla="*/ 109 h 118"/>
              <a:gd name="T78" fmla="*/ 4 w 71"/>
              <a:gd name="T79" fmla="*/ 108 h 118"/>
              <a:gd name="T80" fmla="*/ 1 w 71"/>
              <a:gd name="T81" fmla="*/ 110 h 118"/>
              <a:gd name="T82" fmla="*/ 19 w 71"/>
              <a:gd name="T83" fmla="*/ 118 h 118"/>
              <a:gd name="T84" fmla="*/ 28 w 71"/>
              <a:gd name="T85" fmla="*/ 113 h 118"/>
              <a:gd name="T86" fmla="*/ 40 w 71"/>
              <a:gd name="T87" fmla="*/ 108 h 118"/>
              <a:gd name="T88" fmla="*/ 54 w 71"/>
              <a:gd name="T89" fmla="*/ 100 h 118"/>
              <a:gd name="T90" fmla="*/ 57 w 71"/>
              <a:gd name="T91" fmla="*/ 99 h 118"/>
              <a:gd name="T92" fmla="*/ 65 w 71"/>
              <a:gd name="T93" fmla="*/ 99 h 118"/>
              <a:gd name="T94" fmla="*/ 70 w 71"/>
              <a:gd name="T95" fmla="*/ 94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1" h="118">
                <a:moveTo>
                  <a:pt x="71" y="93"/>
                </a:moveTo>
                <a:lnTo>
                  <a:pt x="70" y="93"/>
                </a:lnTo>
                <a:lnTo>
                  <a:pt x="65" y="87"/>
                </a:lnTo>
                <a:lnTo>
                  <a:pt x="62" y="84"/>
                </a:lnTo>
                <a:lnTo>
                  <a:pt x="61" y="79"/>
                </a:lnTo>
                <a:lnTo>
                  <a:pt x="61" y="77"/>
                </a:lnTo>
                <a:lnTo>
                  <a:pt x="60" y="69"/>
                </a:lnTo>
                <a:lnTo>
                  <a:pt x="61" y="63"/>
                </a:lnTo>
                <a:lnTo>
                  <a:pt x="60" y="48"/>
                </a:lnTo>
                <a:lnTo>
                  <a:pt x="60" y="38"/>
                </a:lnTo>
                <a:lnTo>
                  <a:pt x="59" y="34"/>
                </a:lnTo>
                <a:lnTo>
                  <a:pt x="58" y="31"/>
                </a:lnTo>
                <a:lnTo>
                  <a:pt x="57" y="29"/>
                </a:lnTo>
                <a:lnTo>
                  <a:pt x="57" y="23"/>
                </a:lnTo>
                <a:lnTo>
                  <a:pt x="56" y="18"/>
                </a:lnTo>
                <a:lnTo>
                  <a:pt x="55" y="16"/>
                </a:lnTo>
                <a:lnTo>
                  <a:pt x="52" y="14"/>
                </a:lnTo>
                <a:lnTo>
                  <a:pt x="51" y="12"/>
                </a:lnTo>
                <a:lnTo>
                  <a:pt x="49" y="9"/>
                </a:lnTo>
                <a:lnTo>
                  <a:pt x="49" y="7"/>
                </a:lnTo>
                <a:lnTo>
                  <a:pt x="50" y="5"/>
                </a:lnTo>
                <a:lnTo>
                  <a:pt x="50" y="4"/>
                </a:lnTo>
                <a:lnTo>
                  <a:pt x="50" y="3"/>
                </a:lnTo>
                <a:lnTo>
                  <a:pt x="50" y="2"/>
                </a:lnTo>
                <a:lnTo>
                  <a:pt x="48" y="2"/>
                </a:lnTo>
                <a:lnTo>
                  <a:pt x="48" y="2"/>
                </a:lnTo>
                <a:lnTo>
                  <a:pt x="48" y="0"/>
                </a:lnTo>
                <a:lnTo>
                  <a:pt x="42" y="2"/>
                </a:lnTo>
                <a:lnTo>
                  <a:pt x="39" y="4"/>
                </a:lnTo>
                <a:lnTo>
                  <a:pt x="38" y="4"/>
                </a:lnTo>
                <a:lnTo>
                  <a:pt x="32" y="4"/>
                </a:lnTo>
                <a:lnTo>
                  <a:pt x="25" y="3"/>
                </a:lnTo>
                <a:lnTo>
                  <a:pt x="17" y="3"/>
                </a:lnTo>
                <a:lnTo>
                  <a:pt x="14" y="2"/>
                </a:lnTo>
                <a:lnTo>
                  <a:pt x="10" y="2"/>
                </a:lnTo>
                <a:lnTo>
                  <a:pt x="6" y="3"/>
                </a:lnTo>
                <a:lnTo>
                  <a:pt x="5" y="6"/>
                </a:lnTo>
                <a:lnTo>
                  <a:pt x="5" y="8"/>
                </a:lnTo>
                <a:lnTo>
                  <a:pt x="5" y="10"/>
                </a:lnTo>
                <a:lnTo>
                  <a:pt x="6" y="12"/>
                </a:lnTo>
                <a:lnTo>
                  <a:pt x="6" y="14"/>
                </a:lnTo>
                <a:lnTo>
                  <a:pt x="7" y="15"/>
                </a:lnTo>
                <a:lnTo>
                  <a:pt x="7" y="19"/>
                </a:lnTo>
                <a:lnTo>
                  <a:pt x="8" y="21"/>
                </a:lnTo>
                <a:lnTo>
                  <a:pt x="7" y="26"/>
                </a:lnTo>
                <a:lnTo>
                  <a:pt x="8" y="27"/>
                </a:lnTo>
                <a:lnTo>
                  <a:pt x="8" y="29"/>
                </a:lnTo>
                <a:lnTo>
                  <a:pt x="9" y="31"/>
                </a:lnTo>
                <a:lnTo>
                  <a:pt x="8" y="33"/>
                </a:lnTo>
                <a:lnTo>
                  <a:pt x="9" y="34"/>
                </a:lnTo>
                <a:lnTo>
                  <a:pt x="8" y="36"/>
                </a:lnTo>
                <a:lnTo>
                  <a:pt x="7" y="37"/>
                </a:lnTo>
                <a:lnTo>
                  <a:pt x="8" y="37"/>
                </a:lnTo>
                <a:lnTo>
                  <a:pt x="9" y="38"/>
                </a:lnTo>
                <a:lnTo>
                  <a:pt x="11" y="47"/>
                </a:lnTo>
                <a:lnTo>
                  <a:pt x="12" y="53"/>
                </a:lnTo>
                <a:lnTo>
                  <a:pt x="10" y="53"/>
                </a:lnTo>
                <a:lnTo>
                  <a:pt x="10" y="55"/>
                </a:lnTo>
                <a:lnTo>
                  <a:pt x="9" y="55"/>
                </a:lnTo>
                <a:lnTo>
                  <a:pt x="9" y="57"/>
                </a:lnTo>
                <a:lnTo>
                  <a:pt x="8" y="57"/>
                </a:lnTo>
                <a:lnTo>
                  <a:pt x="7" y="60"/>
                </a:lnTo>
                <a:lnTo>
                  <a:pt x="5" y="65"/>
                </a:lnTo>
                <a:lnTo>
                  <a:pt x="5" y="67"/>
                </a:lnTo>
                <a:lnTo>
                  <a:pt x="5" y="70"/>
                </a:lnTo>
                <a:lnTo>
                  <a:pt x="4" y="73"/>
                </a:lnTo>
                <a:lnTo>
                  <a:pt x="1" y="75"/>
                </a:lnTo>
                <a:lnTo>
                  <a:pt x="0" y="77"/>
                </a:lnTo>
                <a:lnTo>
                  <a:pt x="0" y="83"/>
                </a:lnTo>
                <a:lnTo>
                  <a:pt x="0" y="86"/>
                </a:lnTo>
                <a:lnTo>
                  <a:pt x="3" y="93"/>
                </a:lnTo>
                <a:lnTo>
                  <a:pt x="4" y="97"/>
                </a:lnTo>
                <a:lnTo>
                  <a:pt x="5" y="99"/>
                </a:lnTo>
                <a:lnTo>
                  <a:pt x="7" y="99"/>
                </a:lnTo>
                <a:lnTo>
                  <a:pt x="7" y="100"/>
                </a:lnTo>
                <a:lnTo>
                  <a:pt x="8" y="104"/>
                </a:lnTo>
                <a:lnTo>
                  <a:pt x="8" y="109"/>
                </a:lnTo>
                <a:lnTo>
                  <a:pt x="6" y="109"/>
                </a:lnTo>
                <a:lnTo>
                  <a:pt x="5" y="109"/>
                </a:lnTo>
                <a:lnTo>
                  <a:pt x="4" y="108"/>
                </a:lnTo>
                <a:lnTo>
                  <a:pt x="3" y="109"/>
                </a:lnTo>
                <a:lnTo>
                  <a:pt x="1" y="110"/>
                </a:lnTo>
                <a:lnTo>
                  <a:pt x="12" y="115"/>
                </a:lnTo>
                <a:lnTo>
                  <a:pt x="19" y="118"/>
                </a:lnTo>
                <a:lnTo>
                  <a:pt x="26" y="115"/>
                </a:lnTo>
                <a:lnTo>
                  <a:pt x="28" y="113"/>
                </a:lnTo>
                <a:lnTo>
                  <a:pt x="30" y="111"/>
                </a:lnTo>
                <a:lnTo>
                  <a:pt x="40" y="108"/>
                </a:lnTo>
                <a:lnTo>
                  <a:pt x="49" y="103"/>
                </a:lnTo>
                <a:lnTo>
                  <a:pt x="54" y="100"/>
                </a:lnTo>
                <a:lnTo>
                  <a:pt x="55" y="99"/>
                </a:lnTo>
                <a:lnTo>
                  <a:pt x="57" y="99"/>
                </a:lnTo>
                <a:lnTo>
                  <a:pt x="62" y="98"/>
                </a:lnTo>
                <a:lnTo>
                  <a:pt x="65" y="99"/>
                </a:lnTo>
                <a:lnTo>
                  <a:pt x="67" y="98"/>
                </a:lnTo>
                <a:lnTo>
                  <a:pt x="70" y="94"/>
                </a:lnTo>
                <a:lnTo>
                  <a:pt x="71" y="9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35" name="Freeform 234"/>
          <p:cNvSpPr>
            <a:spLocks/>
          </p:cNvSpPr>
          <p:nvPr/>
        </p:nvSpPr>
        <p:spPr bwMode="auto">
          <a:xfrm>
            <a:off x="4416425" y="3179728"/>
            <a:ext cx="296862" cy="276225"/>
          </a:xfrm>
          <a:custGeom>
            <a:avLst/>
            <a:gdLst>
              <a:gd name="T0" fmla="*/ 14 w 187"/>
              <a:gd name="T1" fmla="*/ 27 h 174"/>
              <a:gd name="T2" fmla="*/ 16 w 187"/>
              <a:gd name="T3" fmla="*/ 21 h 174"/>
              <a:gd name="T4" fmla="*/ 23 w 187"/>
              <a:gd name="T5" fmla="*/ 13 h 174"/>
              <a:gd name="T6" fmla="*/ 28 w 187"/>
              <a:gd name="T7" fmla="*/ 2 h 174"/>
              <a:gd name="T8" fmla="*/ 40 w 187"/>
              <a:gd name="T9" fmla="*/ 1 h 174"/>
              <a:gd name="T10" fmla="*/ 58 w 187"/>
              <a:gd name="T11" fmla="*/ 6 h 174"/>
              <a:gd name="T12" fmla="*/ 68 w 187"/>
              <a:gd name="T13" fmla="*/ 15 h 174"/>
              <a:gd name="T14" fmla="*/ 77 w 187"/>
              <a:gd name="T15" fmla="*/ 10 h 174"/>
              <a:gd name="T16" fmla="*/ 89 w 187"/>
              <a:gd name="T17" fmla="*/ 12 h 174"/>
              <a:gd name="T18" fmla="*/ 106 w 187"/>
              <a:gd name="T19" fmla="*/ 18 h 174"/>
              <a:gd name="T20" fmla="*/ 118 w 187"/>
              <a:gd name="T21" fmla="*/ 10 h 174"/>
              <a:gd name="T22" fmla="*/ 134 w 187"/>
              <a:gd name="T23" fmla="*/ 8 h 174"/>
              <a:gd name="T24" fmla="*/ 145 w 187"/>
              <a:gd name="T25" fmla="*/ 7 h 174"/>
              <a:gd name="T26" fmla="*/ 150 w 187"/>
              <a:gd name="T27" fmla="*/ 11 h 174"/>
              <a:gd name="T28" fmla="*/ 158 w 187"/>
              <a:gd name="T29" fmla="*/ 6 h 174"/>
              <a:gd name="T30" fmla="*/ 162 w 187"/>
              <a:gd name="T31" fmla="*/ 4 h 174"/>
              <a:gd name="T32" fmla="*/ 166 w 187"/>
              <a:gd name="T33" fmla="*/ 1 h 174"/>
              <a:gd name="T34" fmla="*/ 169 w 187"/>
              <a:gd name="T35" fmla="*/ 5 h 174"/>
              <a:gd name="T36" fmla="*/ 176 w 187"/>
              <a:gd name="T37" fmla="*/ 14 h 174"/>
              <a:gd name="T38" fmla="*/ 182 w 187"/>
              <a:gd name="T39" fmla="*/ 24 h 174"/>
              <a:gd name="T40" fmla="*/ 186 w 187"/>
              <a:gd name="T41" fmla="*/ 26 h 174"/>
              <a:gd name="T42" fmla="*/ 187 w 187"/>
              <a:gd name="T43" fmla="*/ 38 h 174"/>
              <a:gd name="T44" fmla="*/ 177 w 187"/>
              <a:gd name="T45" fmla="*/ 45 h 174"/>
              <a:gd name="T46" fmla="*/ 171 w 187"/>
              <a:gd name="T47" fmla="*/ 51 h 174"/>
              <a:gd name="T48" fmla="*/ 166 w 187"/>
              <a:gd name="T49" fmla="*/ 67 h 174"/>
              <a:gd name="T50" fmla="*/ 162 w 187"/>
              <a:gd name="T51" fmla="*/ 84 h 174"/>
              <a:gd name="T52" fmla="*/ 160 w 187"/>
              <a:gd name="T53" fmla="*/ 91 h 174"/>
              <a:gd name="T54" fmla="*/ 151 w 187"/>
              <a:gd name="T55" fmla="*/ 102 h 174"/>
              <a:gd name="T56" fmla="*/ 147 w 187"/>
              <a:gd name="T57" fmla="*/ 117 h 174"/>
              <a:gd name="T58" fmla="*/ 140 w 187"/>
              <a:gd name="T59" fmla="*/ 133 h 174"/>
              <a:gd name="T60" fmla="*/ 131 w 187"/>
              <a:gd name="T61" fmla="*/ 131 h 174"/>
              <a:gd name="T62" fmla="*/ 129 w 187"/>
              <a:gd name="T63" fmla="*/ 128 h 174"/>
              <a:gd name="T64" fmla="*/ 115 w 187"/>
              <a:gd name="T65" fmla="*/ 126 h 174"/>
              <a:gd name="T66" fmla="*/ 109 w 187"/>
              <a:gd name="T67" fmla="*/ 132 h 174"/>
              <a:gd name="T68" fmla="*/ 101 w 187"/>
              <a:gd name="T69" fmla="*/ 139 h 174"/>
              <a:gd name="T70" fmla="*/ 97 w 187"/>
              <a:gd name="T71" fmla="*/ 155 h 174"/>
              <a:gd name="T72" fmla="*/ 93 w 187"/>
              <a:gd name="T73" fmla="*/ 163 h 174"/>
              <a:gd name="T74" fmla="*/ 89 w 187"/>
              <a:gd name="T75" fmla="*/ 163 h 174"/>
              <a:gd name="T76" fmla="*/ 81 w 187"/>
              <a:gd name="T77" fmla="*/ 169 h 174"/>
              <a:gd name="T78" fmla="*/ 70 w 187"/>
              <a:gd name="T79" fmla="*/ 168 h 174"/>
              <a:gd name="T80" fmla="*/ 67 w 187"/>
              <a:gd name="T81" fmla="*/ 172 h 174"/>
              <a:gd name="T82" fmla="*/ 64 w 187"/>
              <a:gd name="T83" fmla="*/ 172 h 174"/>
              <a:gd name="T84" fmla="*/ 57 w 187"/>
              <a:gd name="T85" fmla="*/ 174 h 174"/>
              <a:gd name="T86" fmla="*/ 54 w 187"/>
              <a:gd name="T87" fmla="*/ 172 h 174"/>
              <a:gd name="T88" fmla="*/ 45 w 187"/>
              <a:gd name="T89" fmla="*/ 164 h 174"/>
              <a:gd name="T90" fmla="*/ 45 w 187"/>
              <a:gd name="T91" fmla="*/ 153 h 174"/>
              <a:gd name="T92" fmla="*/ 40 w 187"/>
              <a:gd name="T93" fmla="*/ 148 h 174"/>
              <a:gd name="T94" fmla="*/ 38 w 187"/>
              <a:gd name="T95" fmla="*/ 145 h 174"/>
              <a:gd name="T96" fmla="*/ 29 w 187"/>
              <a:gd name="T97" fmla="*/ 136 h 174"/>
              <a:gd name="T98" fmla="*/ 3 w 187"/>
              <a:gd name="T99" fmla="*/ 136 h 174"/>
              <a:gd name="T100" fmla="*/ 2 w 187"/>
              <a:gd name="T101" fmla="*/ 119 h 174"/>
              <a:gd name="T102" fmla="*/ 3 w 187"/>
              <a:gd name="T103" fmla="*/ 96 h 174"/>
              <a:gd name="T104" fmla="*/ 7 w 187"/>
              <a:gd name="T105" fmla="*/ 81 h 174"/>
              <a:gd name="T106" fmla="*/ 15 w 187"/>
              <a:gd name="T107" fmla="*/ 71 h 174"/>
              <a:gd name="T108" fmla="*/ 16 w 187"/>
              <a:gd name="T109" fmla="*/ 67 h 174"/>
              <a:gd name="T110" fmla="*/ 15 w 187"/>
              <a:gd name="T111" fmla="*/ 64 h 174"/>
              <a:gd name="T112" fmla="*/ 17 w 187"/>
              <a:gd name="T113" fmla="*/ 61 h 174"/>
              <a:gd name="T114" fmla="*/ 17 w 187"/>
              <a:gd name="T115" fmla="*/ 50 h 174"/>
              <a:gd name="T116" fmla="*/ 13 w 187"/>
              <a:gd name="T117" fmla="*/ 43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7" h="174">
                <a:moveTo>
                  <a:pt x="15" y="37"/>
                </a:moveTo>
                <a:lnTo>
                  <a:pt x="15" y="35"/>
                </a:lnTo>
                <a:lnTo>
                  <a:pt x="14" y="27"/>
                </a:lnTo>
                <a:lnTo>
                  <a:pt x="15" y="24"/>
                </a:lnTo>
                <a:lnTo>
                  <a:pt x="15" y="23"/>
                </a:lnTo>
                <a:lnTo>
                  <a:pt x="16" y="21"/>
                </a:lnTo>
                <a:lnTo>
                  <a:pt x="18" y="20"/>
                </a:lnTo>
                <a:lnTo>
                  <a:pt x="20" y="18"/>
                </a:lnTo>
                <a:lnTo>
                  <a:pt x="23" y="13"/>
                </a:lnTo>
                <a:lnTo>
                  <a:pt x="23" y="7"/>
                </a:lnTo>
                <a:lnTo>
                  <a:pt x="24" y="6"/>
                </a:lnTo>
                <a:lnTo>
                  <a:pt x="28" y="2"/>
                </a:lnTo>
                <a:lnTo>
                  <a:pt x="34" y="1"/>
                </a:lnTo>
                <a:lnTo>
                  <a:pt x="39" y="1"/>
                </a:lnTo>
                <a:lnTo>
                  <a:pt x="40" y="1"/>
                </a:lnTo>
                <a:lnTo>
                  <a:pt x="43" y="0"/>
                </a:lnTo>
                <a:lnTo>
                  <a:pt x="47" y="0"/>
                </a:lnTo>
                <a:lnTo>
                  <a:pt x="58" y="6"/>
                </a:lnTo>
                <a:lnTo>
                  <a:pt x="65" y="13"/>
                </a:lnTo>
                <a:lnTo>
                  <a:pt x="67" y="14"/>
                </a:lnTo>
                <a:lnTo>
                  <a:pt x="68" y="15"/>
                </a:lnTo>
                <a:lnTo>
                  <a:pt x="70" y="15"/>
                </a:lnTo>
                <a:lnTo>
                  <a:pt x="73" y="12"/>
                </a:lnTo>
                <a:lnTo>
                  <a:pt x="77" y="10"/>
                </a:lnTo>
                <a:lnTo>
                  <a:pt x="80" y="8"/>
                </a:lnTo>
                <a:lnTo>
                  <a:pt x="84" y="8"/>
                </a:lnTo>
                <a:lnTo>
                  <a:pt x="89" y="12"/>
                </a:lnTo>
                <a:lnTo>
                  <a:pt x="96" y="16"/>
                </a:lnTo>
                <a:lnTo>
                  <a:pt x="99" y="17"/>
                </a:lnTo>
                <a:lnTo>
                  <a:pt x="106" y="18"/>
                </a:lnTo>
                <a:lnTo>
                  <a:pt x="109" y="17"/>
                </a:lnTo>
                <a:lnTo>
                  <a:pt x="114" y="14"/>
                </a:lnTo>
                <a:lnTo>
                  <a:pt x="118" y="10"/>
                </a:lnTo>
                <a:lnTo>
                  <a:pt x="121" y="8"/>
                </a:lnTo>
                <a:lnTo>
                  <a:pt x="128" y="8"/>
                </a:lnTo>
                <a:lnTo>
                  <a:pt x="134" y="8"/>
                </a:lnTo>
                <a:lnTo>
                  <a:pt x="137" y="7"/>
                </a:lnTo>
                <a:lnTo>
                  <a:pt x="143" y="7"/>
                </a:lnTo>
                <a:lnTo>
                  <a:pt x="145" y="7"/>
                </a:lnTo>
                <a:lnTo>
                  <a:pt x="147" y="10"/>
                </a:lnTo>
                <a:lnTo>
                  <a:pt x="149" y="10"/>
                </a:lnTo>
                <a:lnTo>
                  <a:pt x="150" y="11"/>
                </a:lnTo>
                <a:lnTo>
                  <a:pt x="154" y="11"/>
                </a:lnTo>
                <a:lnTo>
                  <a:pt x="156" y="10"/>
                </a:lnTo>
                <a:lnTo>
                  <a:pt x="158" y="6"/>
                </a:lnTo>
                <a:lnTo>
                  <a:pt x="158" y="6"/>
                </a:lnTo>
                <a:lnTo>
                  <a:pt x="160" y="5"/>
                </a:lnTo>
                <a:lnTo>
                  <a:pt x="162" y="4"/>
                </a:lnTo>
                <a:lnTo>
                  <a:pt x="165" y="4"/>
                </a:lnTo>
                <a:lnTo>
                  <a:pt x="166" y="1"/>
                </a:lnTo>
                <a:lnTo>
                  <a:pt x="166" y="1"/>
                </a:lnTo>
                <a:lnTo>
                  <a:pt x="167" y="0"/>
                </a:lnTo>
                <a:lnTo>
                  <a:pt x="168" y="3"/>
                </a:lnTo>
                <a:lnTo>
                  <a:pt x="169" y="5"/>
                </a:lnTo>
                <a:lnTo>
                  <a:pt x="171" y="10"/>
                </a:lnTo>
                <a:lnTo>
                  <a:pt x="175" y="11"/>
                </a:lnTo>
                <a:lnTo>
                  <a:pt x="176" y="14"/>
                </a:lnTo>
                <a:lnTo>
                  <a:pt x="179" y="21"/>
                </a:lnTo>
                <a:lnTo>
                  <a:pt x="181" y="23"/>
                </a:lnTo>
                <a:lnTo>
                  <a:pt x="182" y="24"/>
                </a:lnTo>
                <a:lnTo>
                  <a:pt x="185" y="25"/>
                </a:lnTo>
                <a:lnTo>
                  <a:pt x="186" y="26"/>
                </a:lnTo>
                <a:lnTo>
                  <a:pt x="186" y="26"/>
                </a:lnTo>
                <a:lnTo>
                  <a:pt x="187" y="28"/>
                </a:lnTo>
                <a:lnTo>
                  <a:pt x="187" y="34"/>
                </a:lnTo>
                <a:lnTo>
                  <a:pt x="187" y="38"/>
                </a:lnTo>
                <a:lnTo>
                  <a:pt x="181" y="43"/>
                </a:lnTo>
                <a:lnTo>
                  <a:pt x="181" y="44"/>
                </a:lnTo>
                <a:lnTo>
                  <a:pt x="177" y="45"/>
                </a:lnTo>
                <a:lnTo>
                  <a:pt x="176" y="46"/>
                </a:lnTo>
                <a:lnTo>
                  <a:pt x="172" y="50"/>
                </a:lnTo>
                <a:lnTo>
                  <a:pt x="171" y="51"/>
                </a:lnTo>
                <a:lnTo>
                  <a:pt x="170" y="54"/>
                </a:lnTo>
                <a:lnTo>
                  <a:pt x="169" y="62"/>
                </a:lnTo>
                <a:lnTo>
                  <a:pt x="166" y="67"/>
                </a:lnTo>
                <a:lnTo>
                  <a:pt x="165" y="71"/>
                </a:lnTo>
                <a:lnTo>
                  <a:pt x="165" y="74"/>
                </a:lnTo>
                <a:lnTo>
                  <a:pt x="162" y="84"/>
                </a:lnTo>
                <a:lnTo>
                  <a:pt x="162" y="87"/>
                </a:lnTo>
                <a:lnTo>
                  <a:pt x="161" y="89"/>
                </a:lnTo>
                <a:lnTo>
                  <a:pt x="160" y="91"/>
                </a:lnTo>
                <a:lnTo>
                  <a:pt x="156" y="93"/>
                </a:lnTo>
                <a:lnTo>
                  <a:pt x="154" y="97"/>
                </a:lnTo>
                <a:lnTo>
                  <a:pt x="151" y="102"/>
                </a:lnTo>
                <a:lnTo>
                  <a:pt x="150" y="107"/>
                </a:lnTo>
                <a:lnTo>
                  <a:pt x="150" y="109"/>
                </a:lnTo>
                <a:lnTo>
                  <a:pt x="147" y="117"/>
                </a:lnTo>
                <a:lnTo>
                  <a:pt x="141" y="127"/>
                </a:lnTo>
                <a:lnTo>
                  <a:pt x="141" y="131"/>
                </a:lnTo>
                <a:lnTo>
                  <a:pt x="140" y="133"/>
                </a:lnTo>
                <a:lnTo>
                  <a:pt x="138" y="134"/>
                </a:lnTo>
                <a:lnTo>
                  <a:pt x="134" y="133"/>
                </a:lnTo>
                <a:lnTo>
                  <a:pt x="131" y="131"/>
                </a:lnTo>
                <a:lnTo>
                  <a:pt x="130" y="131"/>
                </a:lnTo>
                <a:lnTo>
                  <a:pt x="130" y="129"/>
                </a:lnTo>
                <a:lnTo>
                  <a:pt x="129" y="128"/>
                </a:lnTo>
                <a:lnTo>
                  <a:pt x="126" y="125"/>
                </a:lnTo>
                <a:lnTo>
                  <a:pt x="121" y="125"/>
                </a:lnTo>
                <a:lnTo>
                  <a:pt x="115" y="126"/>
                </a:lnTo>
                <a:lnTo>
                  <a:pt x="110" y="126"/>
                </a:lnTo>
                <a:lnTo>
                  <a:pt x="110" y="126"/>
                </a:lnTo>
                <a:lnTo>
                  <a:pt x="109" y="132"/>
                </a:lnTo>
                <a:lnTo>
                  <a:pt x="106" y="133"/>
                </a:lnTo>
                <a:lnTo>
                  <a:pt x="104" y="136"/>
                </a:lnTo>
                <a:lnTo>
                  <a:pt x="101" y="139"/>
                </a:lnTo>
                <a:lnTo>
                  <a:pt x="99" y="145"/>
                </a:lnTo>
                <a:lnTo>
                  <a:pt x="98" y="149"/>
                </a:lnTo>
                <a:lnTo>
                  <a:pt x="97" y="155"/>
                </a:lnTo>
                <a:lnTo>
                  <a:pt x="96" y="157"/>
                </a:lnTo>
                <a:lnTo>
                  <a:pt x="95" y="161"/>
                </a:lnTo>
                <a:lnTo>
                  <a:pt x="93" y="163"/>
                </a:lnTo>
                <a:lnTo>
                  <a:pt x="93" y="165"/>
                </a:lnTo>
                <a:lnTo>
                  <a:pt x="91" y="163"/>
                </a:lnTo>
                <a:lnTo>
                  <a:pt x="89" y="163"/>
                </a:lnTo>
                <a:lnTo>
                  <a:pt x="88" y="166"/>
                </a:lnTo>
                <a:lnTo>
                  <a:pt x="88" y="169"/>
                </a:lnTo>
                <a:lnTo>
                  <a:pt x="81" y="169"/>
                </a:lnTo>
                <a:lnTo>
                  <a:pt x="78" y="169"/>
                </a:lnTo>
                <a:lnTo>
                  <a:pt x="72" y="166"/>
                </a:lnTo>
                <a:lnTo>
                  <a:pt x="70" y="168"/>
                </a:lnTo>
                <a:lnTo>
                  <a:pt x="69" y="169"/>
                </a:lnTo>
                <a:lnTo>
                  <a:pt x="68" y="170"/>
                </a:lnTo>
                <a:lnTo>
                  <a:pt x="67" y="172"/>
                </a:lnTo>
                <a:lnTo>
                  <a:pt x="66" y="172"/>
                </a:lnTo>
                <a:lnTo>
                  <a:pt x="66" y="173"/>
                </a:lnTo>
                <a:lnTo>
                  <a:pt x="64" y="172"/>
                </a:lnTo>
                <a:lnTo>
                  <a:pt x="63" y="172"/>
                </a:lnTo>
                <a:lnTo>
                  <a:pt x="63" y="172"/>
                </a:lnTo>
                <a:lnTo>
                  <a:pt x="57" y="174"/>
                </a:lnTo>
                <a:lnTo>
                  <a:pt x="56" y="172"/>
                </a:lnTo>
                <a:lnTo>
                  <a:pt x="54" y="172"/>
                </a:lnTo>
                <a:lnTo>
                  <a:pt x="54" y="172"/>
                </a:lnTo>
                <a:lnTo>
                  <a:pt x="50" y="170"/>
                </a:lnTo>
                <a:lnTo>
                  <a:pt x="48" y="168"/>
                </a:lnTo>
                <a:lnTo>
                  <a:pt x="45" y="164"/>
                </a:lnTo>
                <a:lnTo>
                  <a:pt x="44" y="158"/>
                </a:lnTo>
                <a:lnTo>
                  <a:pt x="44" y="154"/>
                </a:lnTo>
                <a:lnTo>
                  <a:pt x="45" y="153"/>
                </a:lnTo>
                <a:lnTo>
                  <a:pt x="44" y="153"/>
                </a:lnTo>
                <a:lnTo>
                  <a:pt x="42" y="152"/>
                </a:lnTo>
                <a:lnTo>
                  <a:pt x="40" y="148"/>
                </a:lnTo>
                <a:lnTo>
                  <a:pt x="39" y="147"/>
                </a:lnTo>
                <a:lnTo>
                  <a:pt x="39" y="145"/>
                </a:lnTo>
                <a:lnTo>
                  <a:pt x="38" y="145"/>
                </a:lnTo>
                <a:lnTo>
                  <a:pt x="37" y="144"/>
                </a:lnTo>
                <a:lnTo>
                  <a:pt x="35" y="141"/>
                </a:lnTo>
                <a:lnTo>
                  <a:pt x="29" y="136"/>
                </a:lnTo>
                <a:lnTo>
                  <a:pt x="26" y="135"/>
                </a:lnTo>
                <a:lnTo>
                  <a:pt x="19" y="135"/>
                </a:lnTo>
                <a:lnTo>
                  <a:pt x="3" y="136"/>
                </a:lnTo>
                <a:lnTo>
                  <a:pt x="2" y="135"/>
                </a:lnTo>
                <a:lnTo>
                  <a:pt x="0" y="123"/>
                </a:lnTo>
                <a:lnTo>
                  <a:pt x="2" y="119"/>
                </a:lnTo>
                <a:lnTo>
                  <a:pt x="3" y="113"/>
                </a:lnTo>
                <a:lnTo>
                  <a:pt x="2" y="103"/>
                </a:lnTo>
                <a:lnTo>
                  <a:pt x="3" y="96"/>
                </a:lnTo>
                <a:lnTo>
                  <a:pt x="4" y="92"/>
                </a:lnTo>
                <a:lnTo>
                  <a:pt x="7" y="85"/>
                </a:lnTo>
                <a:lnTo>
                  <a:pt x="7" y="81"/>
                </a:lnTo>
                <a:lnTo>
                  <a:pt x="8" y="77"/>
                </a:lnTo>
                <a:lnTo>
                  <a:pt x="10" y="74"/>
                </a:lnTo>
                <a:lnTo>
                  <a:pt x="15" y="71"/>
                </a:lnTo>
                <a:lnTo>
                  <a:pt x="15" y="68"/>
                </a:lnTo>
                <a:lnTo>
                  <a:pt x="16" y="67"/>
                </a:lnTo>
                <a:lnTo>
                  <a:pt x="16" y="67"/>
                </a:lnTo>
                <a:lnTo>
                  <a:pt x="16" y="66"/>
                </a:lnTo>
                <a:lnTo>
                  <a:pt x="15" y="65"/>
                </a:lnTo>
                <a:lnTo>
                  <a:pt x="15" y="64"/>
                </a:lnTo>
                <a:lnTo>
                  <a:pt x="15" y="62"/>
                </a:lnTo>
                <a:lnTo>
                  <a:pt x="16" y="61"/>
                </a:lnTo>
                <a:lnTo>
                  <a:pt x="17" y="61"/>
                </a:lnTo>
                <a:lnTo>
                  <a:pt x="18" y="61"/>
                </a:lnTo>
                <a:lnTo>
                  <a:pt x="18" y="54"/>
                </a:lnTo>
                <a:lnTo>
                  <a:pt x="17" y="50"/>
                </a:lnTo>
                <a:lnTo>
                  <a:pt x="16" y="47"/>
                </a:lnTo>
                <a:lnTo>
                  <a:pt x="14" y="45"/>
                </a:lnTo>
                <a:lnTo>
                  <a:pt x="13" y="43"/>
                </a:lnTo>
                <a:lnTo>
                  <a:pt x="14" y="40"/>
                </a:lnTo>
                <a:lnTo>
                  <a:pt x="15" y="37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36" name="Freeform 235"/>
          <p:cNvSpPr>
            <a:spLocks/>
          </p:cNvSpPr>
          <p:nvPr/>
        </p:nvSpPr>
        <p:spPr bwMode="auto">
          <a:xfrm>
            <a:off x="4416425" y="3179728"/>
            <a:ext cx="296862" cy="276225"/>
          </a:xfrm>
          <a:custGeom>
            <a:avLst/>
            <a:gdLst>
              <a:gd name="T0" fmla="*/ 14 w 187"/>
              <a:gd name="T1" fmla="*/ 27 h 174"/>
              <a:gd name="T2" fmla="*/ 16 w 187"/>
              <a:gd name="T3" fmla="*/ 21 h 174"/>
              <a:gd name="T4" fmla="*/ 23 w 187"/>
              <a:gd name="T5" fmla="*/ 13 h 174"/>
              <a:gd name="T6" fmla="*/ 28 w 187"/>
              <a:gd name="T7" fmla="*/ 2 h 174"/>
              <a:gd name="T8" fmla="*/ 40 w 187"/>
              <a:gd name="T9" fmla="*/ 1 h 174"/>
              <a:gd name="T10" fmla="*/ 58 w 187"/>
              <a:gd name="T11" fmla="*/ 6 h 174"/>
              <a:gd name="T12" fmla="*/ 68 w 187"/>
              <a:gd name="T13" fmla="*/ 15 h 174"/>
              <a:gd name="T14" fmla="*/ 77 w 187"/>
              <a:gd name="T15" fmla="*/ 10 h 174"/>
              <a:gd name="T16" fmla="*/ 89 w 187"/>
              <a:gd name="T17" fmla="*/ 12 h 174"/>
              <a:gd name="T18" fmla="*/ 106 w 187"/>
              <a:gd name="T19" fmla="*/ 18 h 174"/>
              <a:gd name="T20" fmla="*/ 118 w 187"/>
              <a:gd name="T21" fmla="*/ 10 h 174"/>
              <a:gd name="T22" fmla="*/ 134 w 187"/>
              <a:gd name="T23" fmla="*/ 8 h 174"/>
              <a:gd name="T24" fmla="*/ 145 w 187"/>
              <a:gd name="T25" fmla="*/ 7 h 174"/>
              <a:gd name="T26" fmla="*/ 150 w 187"/>
              <a:gd name="T27" fmla="*/ 11 h 174"/>
              <a:gd name="T28" fmla="*/ 158 w 187"/>
              <a:gd name="T29" fmla="*/ 6 h 174"/>
              <a:gd name="T30" fmla="*/ 162 w 187"/>
              <a:gd name="T31" fmla="*/ 4 h 174"/>
              <a:gd name="T32" fmla="*/ 166 w 187"/>
              <a:gd name="T33" fmla="*/ 1 h 174"/>
              <a:gd name="T34" fmla="*/ 169 w 187"/>
              <a:gd name="T35" fmla="*/ 5 h 174"/>
              <a:gd name="T36" fmla="*/ 176 w 187"/>
              <a:gd name="T37" fmla="*/ 14 h 174"/>
              <a:gd name="T38" fmla="*/ 182 w 187"/>
              <a:gd name="T39" fmla="*/ 24 h 174"/>
              <a:gd name="T40" fmla="*/ 186 w 187"/>
              <a:gd name="T41" fmla="*/ 26 h 174"/>
              <a:gd name="T42" fmla="*/ 187 w 187"/>
              <a:gd name="T43" fmla="*/ 38 h 174"/>
              <a:gd name="T44" fmla="*/ 177 w 187"/>
              <a:gd name="T45" fmla="*/ 45 h 174"/>
              <a:gd name="T46" fmla="*/ 171 w 187"/>
              <a:gd name="T47" fmla="*/ 51 h 174"/>
              <a:gd name="T48" fmla="*/ 166 w 187"/>
              <a:gd name="T49" fmla="*/ 67 h 174"/>
              <a:gd name="T50" fmla="*/ 162 w 187"/>
              <a:gd name="T51" fmla="*/ 84 h 174"/>
              <a:gd name="T52" fmla="*/ 160 w 187"/>
              <a:gd name="T53" fmla="*/ 91 h 174"/>
              <a:gd name="T54" fmla="*/ 151 w 187"/>
              <a:gd name="T55" fmla="*/ 102 h 174"/>
              <a:gd name="T56" fmla="*/ 147 w 187"/>
              <a:gd name="T57" fmla="*/ 117 h 174"/>
              <a:gd name="T58" fmla="*/ 140 w 187"/>
              <a:gd name="T59" fmla="*/ 133 h 174"/>
              <a:gd name="T60" fmla="*/ 131 w 187"/>
              <a:gd name="T61" fmla="*/ 131 h 174"/>
              <a:gd name="T62" fmla="*/ 129 w 187"/>
              <a:gd name="T63" fmla="*/ 128 h 174"/>
              <a:gd name="T64" fmla="*/ 115 w 187"/>
              <a:gd name="T65" fmla="*/ 126 h 174"/>
              <a:gd name="T66" fmla="*/ 109 w 187"/>
              <a:gd name="T67" fmla="*/ 132 h 174"/>
              <a:gd name="T68" fmla="*/ 101 w 187"/>
              <a:gd name="T69" fmla="*/ 139 h 174"/>
              <a:gd name="T70" fmla="*/ 97 w 187"/>
              <a:gd name="T71" fmla="*/ 155 h 174"/>
              <a:gd name="T72" fmla="*/ 93 w 187"/>
              <a:gd name="T73" fmla="*/ 163 h 174"/>
              <a:gd name="T74" fmla="*/ 89 w 187"/>
              <a:gd name="T75" fmla="*/ 163 h 174"/>
              <a:gd name="T76" fmla="*/ 81 w 187"/>
              <a:gd name="T77" fmla="*/ 169 h 174"/>
              <a:gd name="T78" fmla="*/ 70 w 187"/>
              <a:gd name="T79" fmla="*/ 168 h 174"/>
              <a:gd name="T80" fmla="*/ 67 w 187"/>
              <a:gd name="T81" fmla="*/ 172 h 174"/>
              <a:gd name="T82" fmla="*/ 64 w 187"/>
              <a:gd name="T83" fmla="*/ 172 h 174"/>
              <a:gd name="T84" fmla="*/ 57 w 187"/>
              <a:gd name="T85" fmla="*/ 174 h 174"/>
              <a:gd name="T86" fmla="*/ 54 w 187"/>
              <a:gd name="T87" fmla="*/ 172 h 174"/>
              <a:gd name="T88" fmla="*/ 45 w 187"/>
              <a:gd name="T89" fmla="*/ 164 h 174"/>
              <a:gd name="T90" fmla="*/ 45 w 187"/>
              <a:gd name="T91" fmla="*/ 153 h 174"/>
              <a:gd name="T92" fmla="*/ 40 w 187"/>
              <a:gd name="T93" fmla="*/ 148 h 174"/>
              <a:gd name="T94" fmla="*/ 38 w 187"/>
              <a:gd name="T95" fmla="*/ 145 h 174"/>
              <a:gd name="T96" fmla="*/ 29 w 187"/>
              <a:gd name="T97" fmla="*/ 136 h 174"/>
              <a:gd name="T98" fmla="*/ 3 w 187"/>
              <a:gd name="T99" fmla="*/ 136 h 174"/>
              <a:gd name="T100" fmla="*/ 2 w 187"/>
              <a:gd name="T101" fmla="*/ 119 h 174"/>
              <a:gd name="T102" fmla="*/ 3 w 187"/>
              <a:gd name="T103" fmla="*/ 96 h 174"/>
              <a:gd name="T104" fmla="*/ 7 w 187"/>
              <a:gd name="T105" fmla="*/ 81 h 174"/>
              <a:gd name="T106" fmla="*/ 15 w 187"/>
              <a:gd name="T107" fmla="*/ 71 h 174"/>
              <a:gd name="T108" fmla="*/ 16 w 187"/>
              <a:gd name="T109" fmla="*/ 67 h 174"/>
              <a:gd name="T110" fmla="*/ 15 w 187"/>
              <a:gd name="T111" fmla="*/ 64 h 174"/>
              <a:gd name="T112" fmla="*/ 17 w 187"/>
              <a:gd name="T113" fmla="*/ 61 h 174"/>
              <a:gd name="T114" fmla="*/ 17 w 187"/>
              <a:gd name="T115" fmla="*/ 50 h 174"/>
              <a:gd name="T116" fmla="*/ 13 w 187"/>
              <a:gd name="T117" fmla="*/ 43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7" h="174">
                <a:moveTo>
                  <a:pt x="15" y="37"/>
                </a:moveTo>
                <a:lnTo>
                  <a:pt x="15" y="35"/>
                </a:lnTo>
                <a:lnTo>
                  <a:pt x="14" y="27"/>
                </a:lnTo>
                <a:lnTo>
                  <a:pt x="15" y="24"/>
                </a:lnTo>
                <a:lnTo>
                  <a:pt x="15" y="23"/>
                </a:lnTo>
                <a:lnTo>
                  <a:pt x="16" y="21"/>
                </a:lnTo>
                <a:lnTo>
                  <a:pt x="18" y="20"/>
                </a:lnTo>
                <a:lnTo>
                  <a:pt x="20" y="18"/>
                </a:lnTo>
                <a:lnTo>
                  <a:pt x="23" y="13"/>
                </a:lnTo>
                <a:lnTo>
                  <a:pt x="23" y="7"/>
                </a:lnTo>
                <a:lnTo>
                  <a:pt x="24" y="6"/>
                </a:lnTo>
                <a:lnTo>
                  <a:pt x="28" y="2"/>
                </a:lnTo>
                <a:lnTo>
                  <a:pt x="34" y="1"/>
                </a:lnTo>
                <a:lnTo>
                  <a:pt x="39" y="1"/>
                </a:lnTo>
                <a:lnTo>
                  <a:pt x="40" y="1"/>
                </a:lnTo>
                <a:lnTo>
                  <a:pt x="43" y="0"/>
                </a:lnTo>
                <a:lnTo>
                  <a:pt x="47" y="0"/>
                </a:lnTo>
                <a:lnTo>
                  <a:pt x="58" y="6"/>
                </a:lnTo>
                <a:lnTo>
                  <a:pt x="65" y="13"/>
                </a:lnTo>
                <a:lnTo>
                  <a:pt x="67" y="14"/>
                </a:lnTo>
                <a:lnTo>
                  <a:pt x="68" y="15"/>
                </a:lnTo>
                <a:lnTo>
                  <a:pt x="70" y="15"/>
                </a:lnTo>
                <a:lnTo>
                  <a:pt x="73" y="12"/>
                </a:lnTo>
                <a:lnTo>
                  <a:pt x="77" y="10"/>
                </a:lnTo>
                <a:lnTo>
                  <a:pt x="80" y="8"/>
                </a:lnTo>
                <a:lnTo>
                  <a:pt x="84" y="8"/>
                </a:lnTo>
                <a:lnTo>
                  <a:pt x="89" y="12"/>
                </a:lnTo>
                <a:lnTo>
                  <a:pt x="96" y="16"/>
                </a:lnTo>
                <a:lnTo>
                  <a:pt x="99" y="17"/>
                </a:lnTo>
                <a:lnTo>
                  <a:pt x="106" y="18"/>
                </a:lnTo>
                <a:lnTo>
                  <a:pt x="109" y="17"/>
                </a:lnTo>
                <a:lnTo>
                  <a:pt x="114" y="14"/>
                </a:lnTo>
                <a:lnTo>
                  <a:pt x="118" y="10"/>
                </a:lnTo>
                <a:lnTo>
                  <a:pt x="121" y="8"/>
                </a:lnTo>
                <a:lnTo>
                  <a:pt x="128" y="8"/>
                </a:lnTo>
                <a:lnTo>
                  <a:pt x="134" y="8"/>
                </a:lnTo>
                <a:lnTo>
                  <a:pt x="137" y="7"/>
                </a:lnTo>
                <a:lnTo>
                  <a:pt x="143" y="7"/>
                </a:lnTo>
                <a:lnTo>
                  <a:pt x="145" y="7"/>
                </a:lnTo>
                <a:lnTo>
                  <a:pt x="147" y="10"/>
                </a:lnTo>
                <a:lnTo>
                  <a:pt x="149" y="10"/>
                </a:lnTo>
                <a:lnTo>
                  <a:pt x="150" y="11"/>
                </a:lnTo>
                <a:lnTo>
                  <a:pt x="154" y="11"/>
                </a:lnTo>
                <a:lnTo>
                  <a:pt x="156" y="10"/>
                </a:lnTo>
                <a:lnTo>
                  <a:pt x="158" y="6"/>
                </a:lnTo>
                <a:lnTo>
                  <a:pt x="158" y="6"/>
                </a:lnTo>
                <a:lnTo>
                  <a:pt x="160" y="5"/>
                </a:lnTo>
                <a:lnTo>
                  <a:pt x="162" y="4"/>
                </a:lnTo>
                <a:lnTo>
                  <a:pt x="165" y="4"/>
                </a:lnTo>
                <a:lnTo>
                  <a:pt x="166" y="1"/>
                </a:lnTo>
                <a:lnTo>
                  <a:pt x="166" y="1"/>
                </a:lnTo>
                <a:lnTo>
                  <a:pt x="167" y="0"/>
                </a:lnTo>
                <a:lnTo>
                  <a:pt x="168" y="3"/>
                </a:lnTo>
                <a:lnTo>
                  <a:pt x="169" y="5"/>
                </a:lnTo>
                <a:lnTo>
                  <a:pt x="171" y="10"/>
                </a:lnTo>
                <a:lnTo>
                  <a:pt x="175" y="11"/>
                </a:lnTo>
                <a:lnTo>
                  <a:pt x="176" y="14"/>
                </a:lnTo>
                <a:lnTo>
                  <a:pt x="179" y="21"/>
                </a:lnTo>
                <a:lnTo>
                  <a:pt x="181" y="23"/>
                </a:lnTo>
                <a:lnTo>
                  <a:pt x="182" y="24"/>
                </a:lnTo>
                <a:lnTo>
                  <a:pt x="185" y="25"/>
                </a:lnTo>
                <a:lnTo>
                  <a:pt x="186" y="26"/>
                </a:lnTo>
                <a:lnTo>
                  <a:pt x="186" y="26"/>
                </a:lnTo>
                <a:lnTo>
                  <a:pt x="187" y="28"/>
                </a:lnTo>
                <a:lnTo>
                  <a:pt x="187" y="34"/>
                </a:lnTo>
                <a:lnTo>
                  <a:pt x="187" y="38"/>
                </a:lnTo>
                <a:lnTo>
                  <a:pt x="181" y="43"/>
                </a:lnTo>
                <a:lnTo>
                  <a:pt x="181" y="44"/>
                </a:lnTo>
                <a:lnTo>
                  <a:pt x="177" y="45"/>
                </a:lnTo>
                <a:lnTo>
                  <a:pt x="176" y="46"/>
                </a:lnTo>
                <a:lnTo>
                  <a:pt x="172" y="50"/>
                </a:lnTo>
                <a:lnTo>
                  <a:pt x="171" y="51"/>
                </a:lnTo>
                <a:lnTo>
                  <a:pt x="170" y="54"/>
                </a:lnTo>
                <a:lnTo>
                  <a:pt x="169" y="62"/>
                </a:lnTo>
                <a:lnTo>
                  <a:pt x="166" y="67"/>
                </a:lnTo>
                <a:lnTo>
                  <a:pt x="165" y="71"/>
                </a:lnTo>
                <a:lnTo>
                  <a:pt x="165" y="74"/>
                </a:lnTo>
                <a:lnTo>
                  <a:pt x="162" y="84"/>
                </a:lnTo>
                <a:lnTo>
                  <a:pt x="162" y="87"/>
                </a:lnTo>
                <a:lnTo>
                  <a:pt x="161" y="89"/>
                </a:lnTo>
                <a:lnTo>
                  <a:pt x="160" y="91"/>
                </a:lnTo>
                <a:lnTo>
                  <a:pt x="156" y="93"/>
                </a:lnTo>
                <a:lnTo>
                  <a:pt x="154" y="97"/>
                </a:lnTo>
                <a:lnTo>
                  <a:pt x="151" y="102"/>
                </a:lnTo>
                <a:lnTo>
                  <a:pt x="150" y="107"/>
                </a:lnTo>
                <a:lnTo>
                  <a:pt x="150" y="109"/>
                </a:lnTo>
                <a:lnTo>
                  <a:pt x="147" y="117"/>
                </a:lnTo>
                <a:lnTo>
                  <a:pt x="141" y="127"/>
                </a:lnTo>
                <a:lnTo>
                  <a:pt x="141" y="131"/>
                </a:lnTo>
                <a:lnTo>
                  <a:pt x="140" y="133"/>
                </a:lnTo>
                <a:lnTo>
                  <a:pt x="138" y="134"/>
                </a:lnTo>
                <a:lnTo>
                  <a:pt x="134" y="133"/>
                </a:lnTo>
                <a:lnTo>
                  <a:pt x="131" y="131"/>
                </a:lnTo>
                <a:lnTo>
                  <a:pt x="130" y="131"/>
                </a:lnTo>
                <a:lnTo>
                  <a:pt x="130" y="129"/>
                </a:lnTo>
                <a:lnTo>
                  <a:pt x="129" y="128"/>
                </a:lnTo>
                <a:lnTo>
                  <a:pt x="126" y="125"/>
                </a:lnTo>
                <a:lnTo>
                  <a:pt x="121" y="125"/>
                </a:lnTo>
                <a:lnTo>
                  <a:pt x="115" y="126"/>
                </a:lnTo>
                <a:lnTo>
                  <a:pt x="110" y="126"/>
                </a:lnTo>
                <a:lnTo>
                  <a:pt x="110" y="126"/>
                </a:lnTo>
                <a:lnTo>
                  <a:pt x="109" y="132"/>
                </a:lnTo>
                <a:lnTo>
                  <a:pt x="106" y="133"/>
                </a:lnTo>
                <a:lnTo>
                  <a:pt x="104" y="136"/>
                </a:lnTo>
                <a:lnTo>
                  <a:pt x="101" y="139"/>
                </a:lnTo>
                <a:lnTo>
                  <a:pt x="99" y="145"/>
                </a:lnTo>
                <a:lnTo>
                  <a:pt x="98" y="149"/>
                </a:lnTo>
                <a:lnTo>
                  <a:pt x="97" y="155"/>
                </a:lnTo>
                <a:lnTo>
                  <a:pt x="96" y="157"/>
                </a:lnTo>
                <a:lnTo>
                  <a:pt x="95" y="161"/>
                </a:lnTo>
                <a:lnTo>
                  <a:pt x="93" y="163"/>
                </a:lnTo>
                <a:lnTo>
                  <a:pt x="93" y="165"/>
                </a:lnTo>
                <a:lnTo>
                  <a:pt x="91" y="163"/>
                </a:lnTo>
                <a:lnTo>
                  <a:pt x="89" y="163"/>
                </a:lnTo>
                <a:lnTo>
                  <a:pt x="88" y="166"/>
                </a:lnTo>
                <a:lnTo>
                  <a:pt x="88" y="169"/>
                </a:lnTo>
                <a:lnTo>
                  <a:pt x="81" y="169"/>
                </a:lnTo>
                <a:lnTo>
                  <a:pt x="78" y="169"/>
                </a:lnTo>
                <a:lnTo>
                  <a:pt x="72" y="166"/>
                </a:lnTo>
                <a:lnTo>
                  <a:pt x="70" y="168"/>
                </a:lnTo>
                <a:lnTo>
                  <a:pt x="69" y="169"/>
                </a:lnTo>
                <a:lnTo>
                  <a:pt x="68" y="170"/>
                </a:lnTo>
                <a:lnTo>
                  <a:pt x="67" y="172"/>
                </a:lnTo>
                <a:lnTo>
                  <a:pt x="66" y="172"/>
                </a:lnTo>
                <a:lnTo>
                  <a:pt x="66" y="173"/>
                </a:lnTo>
                <a:lnTo>
                  <a:pt x="64" y="172"/>
                </a:lnTo>
                <a:lnTo>
                  <a:pt x="63" y="172"/>
                </a:lnTo>
                <a:lnTo>
                  <a:pt x="63" y="172"/>
                </a:lnTo>
                <a:lnTo>
                  <a:pt x="57" y="174"/>
                </a:lnTo>
                <a:lnTo>
                  <a:pt x="56" y="172"/>
                </a:lnTo>
                <a:lnTo>
                  <a:pt x="54" y="172"/>
                </a:lnTo>
                <a:lnTo>
                  <a:pt x="54" y="172"/>
                </a:lnTo>
                <a:lnTo>
                  <a:pt x="50" y="170"/>
                </a:lnTo>
                <a:lnTo>
                  <a:pt x="48" y="168"/>
                </a:lnTo>
                <a:lnTo>
                  <a:pt x="45" y="164"/>
                </a:lnTo>
                <a:lnTo>
                  <a:pt x="44" y="158"/>
                </a:lnTo>
                <a:lnTo>
                  <a:pt x="44" y="154"/>
                </a:lnTo>
                <a:lnTo>
                  <a:pt x="45" y="153"/>
                </a:lnTo>
                <a:lnTo>
                  <a:pt x="44" y="153"/>
                </a:lnTo>
                <a:lnTo>
                  <a:pt x="42" y="152"/>
                </a:lnTo>
                <a:lnTo>
                  <a:pt x="40" y="148"/>
                </a:lnTo>
                <a:lnTo>
                  <a:pt x="39" y="147"/>
                </a:lnTo>
                <a:lnTo>
                  <a:pt x="39" y="145"/>
                </a:lnTo>
                <a:lnTo>
                  <a:pt x="38" y="145"/>
                </a:lnTo>
                <a:lnTo>
                  <a:pt x="37" y="144"/>
                </a:lnTo>
                <a:lnTo>
                  <a:pt x="35" y="141"/>
                </a:lnTo>
                <a:lnTo>
                  <a:pt x="29" y="136"/>
                </a:lnTo>
                <a:lnTo>
                  <a:pt x="26" y="135"/>
                </a:lnTo>
                <a:lnTo>
                  <a:pt x="19" y="135"/>
                </a:lnTo>
                <a:lnTo>
                  <a:pt x="3" y="136"/>
                </a:lnTo>
                <a:lnTo>
                  <a:pt x="2" y="135"/>
                </a:lnTo>
                <a:lnTo>
                  <a:pt x="0" y="123"/>
                </a:lnTo>
                <a:lnTo>
                  <a:pt x="2" y="119"/>
                </a:lnTo>
                <a:lnTo>
                  <a:pt x="3" y="113"/>
                </a:lnTo>
                <a:lnTo>
                  <a:pt x="2" y="103"/>
                </a:lnTo>
                <a:lnTo>
                  <a:pt x="3" y="96"/>
                </a:lnTo>
                <a:lnTo>
                  <a:pt x="4" y="92"/>
                </a:lnTo>
                <a:lnTo>
                  <a:pt x="7" y="85"/>
                </a:lnTo>
                <a:lnTo>
                  <a:pt x="7" y="81"/>
                </a:lnTo>
                <a:lnTo>
                  <a:pt x="8" y="77"/>
                </a:lnTo>
                <a:lnTo>
                  <a:pt x="10" y="74"/>
                </a:lnTo>
                <a:lnTo>
                  <a:pt x="15" y="71"/>
                </a:lnTo>
                <a:lnTo>
                  <a:pt x="15" y="68"/>
                </a:lnTo>
                <a:lnTo>
                  <a:pt x="16" y="67"/>
                </a:lnTo>
                <a:lnTo>
                  <a:pt x="16" y="67"/>
                </a:lnTo>
                <a:lnTo>
                  <a:pt x="16" y="66"/>
                </a:lnTo>
                <a:lnTo>
                  <a:pt x="15" y="65"/>
                </a:lnTo>
                <a:lnTo>
                  <a:pt x="15" y="64"/>
                </a:lnTo>
                <a:lnTo>
                  <a:pt x="15" y="62"/>
                </a:lnTo>
                <a:lnTo>
                  <a:pt x="16" y="61"/>
                </a:lnTo>
                <a:lnTo>
                  <a:pt x="17" y="61"/>
                </a:lnTo>
                <a:lnTo>
                  <a:pt x="18" y="61"/>
                </a:lnTo>
                <a:lnTo>
                  <a:pt x="18" y="54"/>
                </a:lnTo>
                <a:lnTo>
                  <a:pt x="17" y="50"/>
                </a:lnTo>
                <a:lnTo>
                  <a:pt x="16" y="47"/>
                </a:lnTo>
                <a:lnTo>
                  <a:pt x="14" y="45"/>
                </a:lnTo>
                <a:lnTo>
                  <a:pt x="13" y="43"/>
                </a:lnTo>
                <a:lnTo>
                  <a:pt x="14" y="40"/>
                </a:lnTo>
                <a:lnTo>
                  <a:pt x="15" y="37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37" name="Freeform 236"/>
          <p:cNvSpPr>
            <a:spLocks/>
          </p:cNvSpPr>
          <p:nvPr/>
        </p:nvSpPr>
        <p:spPr bwMode="auto">
          <a:xfrm>
            <a:off x="4630738" y="3471828"/>
            <a:ext cx="193675" cy="252413"/>
          </a:xfrm>
          <a:custGeom>
            <a:avLst/>
            <a:gdLst>
              <a:gd name="T0" fmla="*/ 120 w 122"/>
              <a:gd name="T1" fmla="*/ 1 h 159"/>
              <a:gd name="T2" fmla="*/ 111 w 122"/>
              <a:gd name="T3" fmla="*/ 4 h 159"/>
              <a:gd name="T4" fmla="*/ 101 w 122"/>
              <a:gd name="T5" fmla="*/ 0 h 159"/>
              <a:gd name="T6" fmla="*/ 87 w 122"/>
              <a:gd name="T7" fmla="*/ 5 h 159"/>
              <a:gd name="T8" fmla="*/ 81 w 122"/>
              <a:gd name="T9" fmla="*/ 15 h 159"/>
              <a:gd name="T10" fmla="*/ 81 w 122"/>
              <a:gd name="T11" fmla="*/ 33 h 159"/>
              <a:gd name="T12" fmla="*/ 79 w 122"/>
              <a:gd name="T13" fmla="*/ 38 h 159"/>
              <a:gd name="T14" fmla="*/ 69 w 122"/>
              <a:gd name="T15" fmla="*/ 32 h 159"/>
              <a:gd name="T16" fmla="*/ 61 w 122"/>
              <a:gd name="T17" fmla="*/ 30 h 159"/>
              <a:gd name="T18" fmla="*/ 35 w 122"/>
              <a:gd name="T19" fmla="*/ 28 h 159"/>
              <a:gd name="T20" fmla="*/ 33 w 122"/>
              <a:gd name="T21" fmla="*/ 39 h 159"/>
              <a:gd name="T22" fmla="*/ 35 w 122"/>
              <a:gd name="T23" fmla="*/ 46 h 159"/>
              <a:gd name="T24" fmla="*/ 49 w 122"/>
              <a:gd name="T25" fmla="*/ 41 h 159"/>
              <a:gd name="T26" fmla="*/ 52 w 122"/>
              <a:gd name="T27" fmla="*/ 52 h 159"/>
              <a:gd name="T28" fmla="*/ 46 w 122"/>
              <a:gd name="T29" fmla="*/ 68 h 159"/>
              <a:gd name="T30" fmla="*/ 51 w 122"/>
              <a:gd name="T31" fmla="*/ 82 h 159"/>
              <a:gd name="T32" fmla="*/ 50 w 122"/>
              <a:gd name="T33" fmla="*/ 91 h 159"/>
              <a:gd name="T34" fmla="*/ 47 w 122"/>
              <a:gd name="T35" fmla="*/ 109 h 159"/>
              <a:gd name="T36" fmla="*/ 37 w 122"/>
              <a:gd name="T37" fmla="*/ 105 h 159"/>
              <a:gd name="T38" fmla="*/ 27 w 122"/>
              <a:gd name="T39" fmla="*/ 103 h 159"/>
              <a:gd name="T40" fmla="*/ 22 w 122"/>
              <a:gd name="T41" fmla="*/ 104 h 159"/>
              <a:gd name="T42" fmla="*/ 13 w 122"/>
              <a:gd name="T43" fmla="*/ 111 h 159"/>
              <a:gd name="T44" fmla="*/ 8 w 122"/>
              <a:gd name="T45" fmla="*/ 116 h 159"/>
              <a:gd name="T46" fmla="*/ 9 w 122"/>
              <a:gd name="T47" fmla="*/ 124 h 159"/>
              <a:gd name="T48" fmla="*/ 9 w 122"/>
              <a:gd name="T49" fmla="*/ 131 h 159"/>
              <a:gd name="T50" fmla="*/ 2 w 122"/>
              <a:gd name="T51" fmla="*/ 132 h 159"/>
              <a:gd name="T52" fmla="*/ 0 w 122"/>
              <a:gd name="T53" fmla="*/ 140 h 159"/>
              <a:gd name="T54" fmla="*/ 5 w 122"/>
              <a:gd name="T55" fmla="*/ 144 h 159"/>
              <a:gd name="T56" fmla="*/ 12 w 122"/>
              <a:gd name="T57" fmla="*/ 152 h 159"/>
              <a:gd name="T58" fmla="*/ 19 w 122"/>
              <a:gd name="T59" fmla="*/ 155 h 159"/>
              <a:gd name="T60" fmla="*/ 23 w 122"/>
              <a:gd name="T61" fmla="*/ 149 h 159"/>
              <a:gd name="T62" fmla="*/ 29 w 122"/>
              <a:gd name="T63" fmla="*/ 149 h 159"/>
              <a:gd name="T64" fmla="*/ 35 w 122"/>
              <a:gd name="T65" fmla="*/ 155 h 159"/>
              <a:gd name="T66" fmla="*/ 41 w 122"/>
              <a:gd name="T67" fmla="*/ 151 h 159"/>
              <a:gd name="T68" fmla="*/ 47 w 122"/>
              <a:gd name="T69" fmla="*/ 147 h 159"/>
              <a:gd name="T70" fmla="*/ 52 w 122"/>
              <a:gd name="T71" fmla="*/ 147 h 159"/>
              <a:gd name="T72" fmla="*/ 55 w 122"/>
              <a:gd name="T73" fmla="*/ 154 h 159"/>
              <a:gd name="T74" fmla="*/ 67 w 122"/>
              <a:gd name="T75" fmla="*/ 145 h 159"/>
              <a:gd name="T76" fmla="*/ 76 w 122"/>
              <a:gd name="T77" fmla="*/ 137 h 159"/>
              <a:gd name="T78" fmla="*/ 82 w 122"/>
              <a:gd name="T79" fmla="*/ 125 h 159"/>
              <a:gd name="T80" fmla="*/ 82 w 122"/>
              <a:gd name="T81" fmla="*/ 112 h 159"/>
              <a:gd name="T82" fmla="*/ 92 w 122"/>
              <a:gd name="T83" fmla="*/ 93 h 159"/>
              <a:gd name="T84" fmla="*/ 102 w 122"/>
              <a:gd name="T85" fmla="*/ 84 h 159"/>
              <a:gd name="T86" fmla="*/ 106 w 122"/>
              <a:gd name="T87" fmla="*/ 79 h 159"/>
              <a:gd name="T88" fmla="*/ 110 w 122"/>
              <a:gd name="T89" fmla="*/ 46 h 159"/>
              <a:gd name="T90" fmla="*/ 114 w 122"/>
              <a:gd name="T91" fmla="*/ 23 h 159"/>
              <a:gd name="T92" fmla="*/ 122 w 122"/>
              <a:gd name="T93" fmla="*/ 5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22" h="159">
                <a:moveTo>
                  <a:pt x="121" y="0"/>
                </a:moveTo>
                <a:lnTo>
                  <a:pt x="120" y="1"/>
                </a:lnTo>
                <a:lnTo>
                  <a:pt x="115" y="3"/>
                </a:lnTo>
                <a:lnTo>
                  <a:pt x="111" y="4"/>
                </a:lnTo>
                <a:lnTo>
                  <a:pt x="105" y="3"/>
                </a:lnTo>
                <a:lnTo>
                  <a:pt x="101" y="0"/>
                </a:lnTo>
                <a:lnTo>
                  <a:pt x="95" y="1"/>
                </a:lnTo>
                <a:lnTo>
                  <a:pt x="87" y="5"/>
                </a:lnTo>
                <a:lnTo>
                  <a:pt x="83" y="11"/>
                </a:lnTo>
                <a:lnTo>
                  <a:pt x="81" y="15"/>
                </a:lnTo>
                <a:lnTo>
                  <a:pt x="80" y="19"/>
                </a:lnTo>
                <a:lnTo>
                  <a:pt x="81" y="33"/>
                </a:lnTo>
                <a:lnTo>
                  <a:pt x="80" y="36"/>
                </a:lnTo>
                <a:lnTo>
                  <a:pt x="79" y="38"/>
                </a:lnTo>
                <a:lnTo>
                  <a:pt x="72" y="31"/>
                </a:lnTo>
                <a:lnTo>
                  <a:pt x="69" y="32"/>
                </a:lnTo>
                <a:lnTo>
                  <a:pt x="64" y="30"/>
                </a:lnTo>
                <a:lnTo>
                  <a:pt x="61" y="30"/>
                </a:lnTo>
                <a:lnTo>
                  <a:pt x="57" y="28"/>
                </a:lnTo>
                <a:lnTo>
                  <a:pt x="35" y="28"/>
                </a:lnTo>
                <a:lnTo>
                  <a:pt x="33" y="32"/>
                </a:lnTo>
                <a:lnTo>
                  <a:pt x="33" y="39"/>
                </a:lnTo>
                <a:lnTo>
                  <a:pt x="33" y="44"/>
                </a:lnTo>
                <a:lnTo>
                  <a:pt x="35" y="46"/>
                </a:lnTo>
                <a:lnTo>
                  <a:pt x="40" y="39"/>
                </a:lnTo>
                <a:lnTo>
                  <a:pt x="49" y="41"/>
                </a:lnTo>
                <a:lnTo>
                  <a:pt x="52" y="44"/>
                </a:lnTo>
                <a:lnTo>
                  <a:pt x="52" y="52"/>
                </a:lnTo>
                <a:lnTo>
                  <a:pt x="46" y="62"/>
                </a:lnTo>
                <a:lnTo>
                  <a:pt x="46" y="68"/>
                </a:lnTo>
                <a:lnTo>
                  <a:pt x="47" y="72"/>
                </a:lnTo>
                <a:lnTo>
                  <a:pt x="51" y="82"/>
                </a:lnTo>
                <a:lnTo>
                  <a:pt x="51" y="86"/>
                </a:lnTo>
                <a:lnTo>
                  <a:pt x="50" y="91"/>
                </a:lnTo>
                <a:lnTo>
                  <a:pt x="49" y="103"/>
                </a:lnTo>
                <a:lnTo>
                  <a:pt x="47" y="109"/>
                </a:lnTo>
                <a:lnTo>
                  <a:pt x="43" y="111"/>
                </a:lnTo>
                <a:lnTo>
                  <a:pt x="37" y="105"/>
                </a:lnTo>
                <a:lnTo>
                  <a:pt x="30" y="106"/>
                </a:lnTo>
                <a:lnTo>
                  <a:pt x="27" y="103"/>
                </a:lnTo>
                <a:lnTo>
                  <a:pt x="25" y="101"/>
                </a:lnTo>
                <a:lnTo>
                  <a:pt x="22" y="104"/>
                </a:lnTo>
                <a:lnTo>
                  <a:pt x="20" y="107"/>
                </a:lnTo>
                <a:lnTo>
                  <a:pt x="13" y="111"/>
                </a:lnTo>
                <a:lnTo>
                  <a:pt x="10" y="113"/>
                </a:lnTo>
                <a:lnTo>
                  <a:pt x="8" y="116"/>
                </a:lnTo>
                <a:lnTo>
                  <a:pt x="8" y="120"/>
                </a:lnTo>
                <a:lnTo>
                  <a:pt x="9" y="124"/>
                </a:lnTo>
                <a:lnTo>
                  <a:pt x="10" y="130"/>
                </a:lnTo>
                <a:lnTo>
                  <a:pt x="9" y="131"/>
                </a:lnTo>
                <a:lnTo>
                  <a:pt x="5" y="131"/>
                </a:lnTo>
                <a:lnTo>
                  <a:pt x="2" y="132"/>
                </a:lnTo>
                <a:lnTo>
                  <a:pt x="1" y="134"/>
                </a:lnTo>
                <a:lnTo>
                  <a:pt x="0" y="140"/>
                </a:lnTo>
                <a:lnTo>
                  <a:pt x="3" y="141"/>
                </a:lnTo>
                <a:lnTo>
                  <a:pt x="5" y="144"/>
                </a:lnTo>
                <a:lnTo>
                  <a:pt x="10" y="149"/>
                </a:lnTo>
                <a:lnTo>
                  <a:pt x="12" y="152"/>
                </a:lnTo>
                <a:lnTo>
                  <a:pt x="14" y="159"/>
                </a:lnTo>
                <a:lnTo>
                  <a:pt x="19" y="155"/>
                </a:lnTo>
                <a:lnTo>
                  <a:pt x="22" y="154"/>
                </a:lnTo>
                <a:lnTo>
                  <a:pt x="23" y="149"/>
                </a:lnTo>
                <a:lnTo>
                  <a:pt x="26" y="147"/>
                </a:lnTo>
                <a:lnTo>
                  <a:pt x="29" y="149"/>
                </a:lnTo>
                <a:lnTo>
                  <a:pt x="31" y="152"/>
                </a:lnTo>
                <a:lnTo>
                  <a:pt x="35" y="155"/>
                </a:lnTo>
                <a:lnTo>
                  <a:pt x="39" y="154"/>
                </a:lnTo>
                <a:lnTo>
                  <a:pt x="41" y="151"/>
                </a:lnTo>
                <a:lnTo>
                  <a:pt x="43" y="149"/>
                </a:lnTo>
                <a:lnTo>
                  <a:pt x="47" y="147"/>
                </a:lnTo>
                <a:lnTo>
                  <a:pt x="51" y="146"/>
                </a:lnTo>
                <a:lnTo>
                  <a:pt x="52" y="147"/>
                </a:lnTo>
                <a:lnTo>
                  <a:pt x="52" y="154"/>
                </a:lnTo>
                <a:lnTo>
                  <a:pt x="55" y="154"/>
                </a:lnTo>
                <a:lnTo>
                  <a:pt x="61" y="152"/>
                </a:lnTo>
                <a:lnTo>
                  <a:pt x="67" y="145"/>
                </a:lnTo>
                <a:lnTo>
                  <a:pt x="72" y="143"/>
                </a:lnTo>
                <a:lnTo>
                  <a:pt x="76" y="137"/>
                </a:lnTo>
                <a:lnTo>
                  <a:pt x="81" y="131"/>
                </a:lnTo>
                <a:lnTo>
                  <a:pt x="82" y="125"/>
                </a:lnTo>
                <a:lnTo>
                  <a:pt x="82" y="119"/>
                </a:lnTo>
                <a:lnTo>
                  <a:pt x="82" y="112"/>
                </a:lnTo>
                <a:lnTo>
                  <a:pt x="84" y="105"/>
                </a:lnTo>
                <a:lnTo>
                  <a:pt x="92" y="93"/>
                </a:lnTo>
                <a:lnTo>
                  <a:pt x="96" y="88"/>
                </a:lnTo>
                <a:lnTo>
                  <a:pt x="102" y="84"/>
                </a:lnTo>
                <a:lnTo>
                  <a:pt x="106" y="80"/>
                </a:lnTo>
                <a:lnTo>
                  <a:pt x="106" y="79"/>
                </a:lnTo>
                <a:lnTo>
                  <a:pt x="108" y="69"/>
                </a:lnTo>
                <a:lnTo>
                  <a:pt x="110" y="46"/>
                </a:lnTo>
                <a:lnTo>
                  <a:pt x="112" y="32"/>
                </a:lnTo>
                <a:lnTo>
                  <a:pt x="114" y="23"/>
                </a:lnTo>
                <a:lnTo>
                  <a:pt x="121" y="12"/>
                </a:lnTo>
                <a:lnTo>
                  <a:pt x="122" y="5"/>
                </a:lnTo>
                <a:lnTo>
                  <a:pt x="12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38" name="Freeform 237"/>
          <p:cNvSpPr>
            <a:spLocks/>
          </p:cNvSpPr>
          <p:nvPr/>
        </p:nvSpPr>
        <p:spPr bwMode="auto">
          <a:xfrm>
            <a:off x="4630738" y="3471828"/>
            <a:ext cx="193675" cy="252413"/>
          </a:xfrm>
          <a:custGeom>
            <a:avLst/>
            <a:gdLst>
              <a:gd name="T0" fmla="*/ 120 w 122"/>
              <a:gd name="T1" fmla="*/ 1 h 159"/>
              <a:gd name="T2" fmla="*/ 111 w 122"/>
              <a:gd name="T3" fmla="*/ 4 h 159"/>
              <a:gd name="T4" fmla="*/ 101 w 122"/>
              <a:gd name="T5" fmla="*/ 0 h 159"/>
              <a:gd name="T6" fmla="*/ 87 w 122"/>
              <a:gd name="T7" fmla="*/ 5 h 159"/>
              <a:gd name="T8" fmla="*/ 81 w 122"/>
              <a:gd name="T9" fmla="*/ 15 h 159"/>
              <a:gd name="T10" fmla="*/ 81 w 122"/>
              <a:gd name="T11" fmla="*/ 33 h 159"/>
              <a:gd name="T12" fmla="*/ 79 w 122"/>
              <a:gd name="T13" fmla="*/ 38 h 159"/>
              <a:gd name="T14" fmla="*/ 69 w 122"/>
              <a:gd name="T15" fmla="*/ 32 h 159"/>
              <a:gd name="T16" fmla="*/ 61 w 122"/>
              <a:gd name="T17" fmla="*/ 30 h 159"/>
              <a:gd name="T18" fmla="*/ 35 w 122"/>
              <a:gd name="T19" fmla="*/ 28 h 159"/>
              <a:gd name="T20" fmla="*/ 33 w 122"/>
              <a:gd name="T21" fmla="*/ 39 h 159"/>
              <a:gd name="T22" fmla="*/ 35 w 122"/>
              <a:gd name="T23" fmla="*/ 46 h 159"/>
              <a:gd name="T24" fmla="*/ 49 w 122"/>
              <a:gd name="T25" fmla="*/ 41 h 159"/>
              <a:gd name="T26" fmla="*/ 52 w 122"/>
              <a:gd name="T27" fmla="*/ 52 h 159"/>
              <a:gd name="T28" fmla="*/ 46 w 122"/>
              <a:gd name="T29" fmla="*/ 68 h 159"/>
              <a:gd name="T30" fmla="*/ 51 w 122"/>
              <a:gd name="T31" fmla="*/ 82 h 159"/>
              <a:gd name="T32" fmla="*/ 50 w 122"/>
              <a:gd name="T33" fmla="*/ 91 h 159"/>
              <a:gd name="T34" fmla="*/ 47 w 122"/>
              <a:gd name="T35" fmla="*/ 109 h 159"/>
              <a:gd name="T36" fmla="*/ 37 w 122"/>
              <a:gd name="T37" fmla="*/ 105 h 159"/>
              <a:gd name="T38" fmla="*/ 27 w 122"/>
              <a:gd name="T39" fmla="*/ 103 h 159"/>
              <a:gd name="T40" fmla="*/ 22 w 122"/>
              <a:gd name="T41" fmla="*/ 104 h 159"/>
              <a:gd name="T42" fmla="*/ 13 w 122"/>
              <a:gd name="T43" fmla="*/ 111 h 159"/>
              <a:gd name="T44" fmla="*/ 8 w 122"/>
              <a:gd name="T45" fmla="*/ 116 h 159"/>
              <a:gd name="T46" fmla="*/ 9 w 122"/>
              <a:gd name="T47" fmla="*/ 124 h 159"/>
              <a:gd name="T48" fmla="*/ 9 w 122"/>
              <a:gd name="T49" fmla="*/ 131 h 159"/>
              <a:gd name="T50" fmla="*/ 2 w 122"/>
              <a:gd name="T51" fmla="*/ 132 h 159"/>
              <a:gd name="T52" fmla="*/ 0 w 122"/>
              <a:gd name="T53" fmla="*/ 140 h 159"/>
              <a:gd name="T54" fmla="*/ 5 w 122"/>
              <a:gd name="T55" fmla="*/ 144 h 159"/>
              <a:gd name="T56" fmla="*/ 12 w 122"/>
              <a:gd name="T57" fmla="*/ 152 h 159"/>
              <a:gd name="T58" fmla="*/ 19 w 122"/>
              <a:gd name="T59" fmla="*/ 155 h 159"/>
              <a:gd name="T60" fmla="*/ 23 w 122"/>
              <a:gd name="T61" fmla="*/ 149 h 159"/>
              <a:gd name="T62" fmla="*/ 29 w 122"/>
              <a:gd name="T63" fmla="*/ 149 h 159"/>
              <a:gd name="T64" fmla="*/ 35 w 122"/>
              <a:gd name="T65" fmla="*/ 155 h 159"/>
              <a:gd name="T66" fmla="*/ 41 w 122"/>
              <a:gd name="T67" fmla="*/ 151 h 159"/>
              <a:gd name="T68" fmla="*/ 47 w 122"/>
              <a:gd name="T69" fmla="*/ 147 h 159"/>
              <a:gd name="T70" fmla="*/ 52 w 122"/>
              <a:gd name="T71" fmla="*/ 147 h 159"/>
              <a:gd name="T72" fmla="*/ 55 w 122"/>
              <a:gd name="T73" fmla="*/ 154 h 159"/>
              <a:gd name="T74" fmla="*/ 67 w 122"/>
              <a:gd name="T75" fmla="*/ 145 h 159"/>
              <a:gd name="T76" fmla="*/ 76 w 122"/>
              <a:gd name="T77" fmla="*/ 137 h 159"/>
              <a:gd name="T78" fmla="*/ 82 w 122"/>
              <a:gd name="T79" fmla="*/ 125 h 159"/>
              <a:gd name="T80" fmla="*/ 82 w 122"/>
              <a:gd name="T81" fmla="*/ 112 h 159"/>
              <a:gd name="T82" fmla="*/ 92 w 122"/>
              <a:gd name="T83" fmla="*/ 93 h 159"/>
              <a:gd name="T84" fmla="*/ 102 w 122"/>
              <a:gd name="T85" fmla="*/ 84 h 159"/>
              <a:gd name="T86" fmla="*/ 106 w 122"/>
              <a:gd name="T87" fmla="*/ 79 h 159"/>
              <a:gd name="T88" fmla="*/ 110 w 122"/>
              <a:gd name="T89" fmla="*/ 46 h 159"/>
              <a:gd name="T90" fmla="*/ 114 w 122"/>
              <a:gd name="T91" fmla="*/ 23 h 159"/>
              <a:gd name="T92" fmla="*/ 122 w 122"/>
              <a:gd name="T93" fmla="*/ 5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22" h="159">
                <a:moveTo>
                  <a:pt x="121" y="0"/>
                </a:moveTo>
                <a:lnTo>
                  <a:pt x="120" y="1"/>
                </a:lnTo>
                <a:lnTo>
                  <a:pt x="115" y="3"/>
                </a:lnTo>
                <a:lnTo>
                  <a:pt x="111" y="4"/>
                </a:lnTo>
                <a:lnTo>
                  <a:pt x="105" y="3"/>
                </a:lnTo>
                <a:lnTo>
                  <a:pt x="101" y="0"/>
                </a:lnTo>
                <a:lnTo>
                  <a:pt x="95" y="1"/>
                </a:lnTo>
                <a:lnTo>
                  <a:pt x="87" y="5"/>
                </a:lnTo>
                <a:lnTo>
                  <a:pt x="83" y="11"/>
                </a:lnTo>
                <a:lnTo>
                  <a:pt x="81" y="15"/>
                </a:lnTo>
                <a:lnTo>
                  <a:pt x="80" y="19"/>
                </a:lnTo>
                <a:lnTo>
                  <a:pt x="81" y="33"/>
                </a:lnTo>
                <a:lnTo>
                  <a:pt x="80" y="36"/>
                </a:lnTo>
                <a:lnTo>
                  <a:pt x="79" y="38"/>
                </a:lnTo>
                <a:lnTo>
                  <a:pt x="72" y="31"/>
                </a:lnTo>
                <a:lnTo>
                  <a:pt x="69" y="32"/>
                </a:lnTo>
                <a:lnTo>
                  <a:pt x="64" y="30"/>
                </a:lnTo>
                <a:lnTo>
                  <a:pt x="61" y="30"/>
                </a:lnTo>
                <a:lnTo>
                  <a:pt x="57" y="28"/>
                </a:lnTo>
                <a:lnTo>
                  <a:pt x="35" y="28"/>
                </a:lnTo>
                <a:lnTo>
                  <a:pt x="33" y="32"/>
                </a:lnTo>
                <a:lnTo>
                  <a:pt x="33" y="39"/>
                </a:lnTo>
                <a:lnTo>
                  <a:pt x="33" y="44"/>
                </a:lnTo>
                <a:lnTo>
                  <a:pt x="35" y="46"/>
                </a:lnTo>
                <a:lnTo>
                  <a:pt x="40" y="39"/>
                </a:lnTo>
                <a:lnTo>
                  <a:pt x="49" y="41"/>
                </a:lnTo>
                <a:lnTo>
                  <a:pt x="52" y="44"/>
                </a:lnTo>
                <a:lnTo>
                  <a:pt x="52" y="52"/>
                </a:lnTo>
                <a:lnTo>
                  <a:pt x="46" y="62"/>
                </a:lnTo>
                <a:lnTo>
                  <a:pt x="46" y="68"/>
                </a:lnTo>
                <a:lnTo>
                  <a:pt x="47" y="72"/>
                </a:lnTo>
                <a:lnTo>
                  <a:pt x="51" y="82"/>
                </a:lnTo>
                <a:lnTo>
                  <a:pt x="51" y="86"/>
                </a:lnTo>
                <a:lnTo>
                  <a:pt x="50" y="91"/>
                </a:lnTo>
                <a:lnTo>
                  <a:pt x="49" y="103"/>
                </a:lnTo>
                <a:lnTo>
                  <a:pt x="47" y="109"/>
                </a:lnTo>
                <a:lnTo>
                  <a:pt x="43" y="111"/>
                </a:lnTo>
                <a:lnTo>
                  <a:pt x="37" y="105"/>
                </a:lnTo>
                <a:lnTo>
                  <a:pt x="30" y="106"/>
                </a:lnTo>
                <a:lnTo>
                  <a:pt x="27" y="103"/>
                </a:lnTo>
                <a:lnTo>
                  <a:pt x="25" y="101"/>
                </a:lnTo>
                <a:lnTo>
                  <a:pt x="22" y="104"/>
                </a:lnTo>
                <a:lnTo>
                  <a:pt x="20" y="107"/>
                </a:lnTo>
                <a:lnTo>
                  <a:pt x="13" y="111"/>
                </a:lnTo>
                <a:lnTo>
                  <a:pt x="10" y="113"/>
                </a:lnTo>
                <a:lnTo>
                  <a:pt x="8" y="116"/>
                </a:lnTo>
                <a:lnTo>
                  <a:pt x="8" y="120"/>
                </a:lnTo>
                <a:lnTo>
                  <a:pt x="9" y="124"/>
                </a:lnTo>
                <a:lnTo>
                  <a:pt x="10" y="130"/>
                </a:lnTo>
                <a:lnTo>
                  <a:pt x="9" y="131"/>
                </a:lnTo>
                <a:lnTo>
                  <a:pt x="5" y="131"/>
                </a:lnTo>
                <a:lnTo>
                  <a:pt x="2" y="132"/>
                </a:lnTo>
                <a:lnTo>
                  <a:pt x="1" y="134"/>
                </a:lnTo>
                <a:lnTo>
                  <a:pt x="0" y="140"/>
                </a:lnTo>
                <a:lnTo>
                  <a:pt x="3" y="141"/>
                </a:lnTo>
                <a:lnTo>
                  <a:pt x="5" y="144"/>
                </a:lnTo>
                <a:lnTo>
                  <a:pt x="10" y="149"/>
                </a:lnTo>
                <a:lnTo>
                  <a:pt x="12" y="152"/>
                </a:lnTo>
                <a:lnTo>
                  <a:pt x="14" y="159"/>
                </a:lnTo>
                <a:lnTo>
                  <a:pt x="19" y="155"/>
                </a:lnTo>
                <a:lnTo>
                  <a:pt x="22" y="154"/>
                </a:lnTo>
                <a:lnTo>
                  <a:pt x="23" y="149"/>
                </a:lnTo>
                <a:lnTo>
                  <a:pt x="26" y="147"/>
                </a:lnTo>
                <a:lnTo>
                  <a:pt x="29" y="149"/>
                </a:lnTo>
                <a:lnTo>
                  <a:pt x="31" y="152"/>
                </a:lnTo>
                <a:lnTo>
                  <a:pt x="35" y="155"/>
                </a:lnTo>
                <a:lnTo>
                  <a:pt x="39" y="154"/>
                </a:lnTo>
                <a:lnTo>
                  <a:pt x="41" y="151"/>
                </a:lnTo>
                <a:lnTo>
                  <a:pt x="43" y="149"/>
                </a:lnTo>
                <a:lnTo>
                  <a:pt x="47" y="147"/>
                </a:lnTo>
                <a:lnTo>
                  <a:pt x="51" y="146"/>
                </a:lnTo>
                <a:lnTo>
                  <a:pt x="52" y="147"/>
                </a:lnTo>
                <a:lnTo>
                  <a:pt x="52" y="154"/>
                </a:lnTo>
                <a:lnTo>
                  <a:pt x="55" y="154"/>
                </a:lnTo>
                <a:lnTo>
                  <a:pt x="61" y="152"/>
                </a:lnTo>
                <a:lnTo>
                  <a:pt x="67" y="145"/>
                </a:lnTo>
                <a:lnTo>
                  <a:pt x="72" y="143"/>
                </a:lnTo>
                <a:lnTo>
                  <a:pt x="76" y="137"/>
                </a:lnTo>
                <a:lnTo>
                  <a:pt x="81" y="131"/>
                </a:lnTo>
                <a:lnTo>
                  <a:pt x="82" y="125"/>
                </a:lnTo>
                <a:lnTo>
                  <a:pt x="82" y="119"/>
                </a:lnTo>
                <a:lnTo>
                  <a:pt x="82" y="112"/>
                </a:lnTo>
                <a:lnTo>
                  <a:pt x="84" y="105"/>
                </a:lnTo>
                <a:lnTo>
                  <a:pt x="92" y="93"/>
                </a:lnTo>
                <a:lnTo>
                  <a:pt x="96" y="88"/>
                </a:lnTo>
                <a:lnTo>
                  <a:pt x="102" y="84"/>
                </a:lnTo>
                <a:lnTo>
                  <a:pt x="106" y="80"/>
                </a:lnTo>
                <a:lnTo>
                  <a:pt x="106" y="79"/>
                </a:lnTo>
                <a:lnTo>
                  <a:pt x="108" y="69"/>
                </a:lnTo>
                <a:lnTo>
                  <a:pt x="110" y="46"/>
                </a:lnTo>
                <a:lnTo>
                  <a:pt x="112" y="32"/>
                </a:lnTo>
                <a:lnTo>
                  <a:pt x="114" y="23"/>
                </a:lnTo>
                <a:lnTo>
                  <a:pt x="121" y="12"/>
                </a:lnTo>
                <a:lnTo>
                  <a:pt x="122" y="5"/>
                </a:lnTo>
                <a:lnTo>
                  <a:pt x="12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39" name="Freeform 238"/>
          <p:cNvSpPr>
            <a:spLocks/>
          </p:cNvSpPr>
          <p:nvPr/>
        </p:nvSpPr>
        <p:spPr bwMode="auto">
          <a:xfrm>
            <a:off x="4586288" y="3513103"/>
            <a:ext cx="49212" cy="38100"/>
          </a:xfrm>
          <a:custGeom>
            <a:avLst/>
            <a:gdLst>
              <a:gd name="T0" fmla="*/ 31 w 31"/>
              <a:gd name="T1" fmla="*/ 0 h 24"/>
              <a:gd name="T2" fmla="*/ 19 w 31"/>
              <a:gd name="T3" fmla="*/ 0 h 24"/>
              <a:gd name="T4" fmla="*/ 7 w 31"/>
              <a:gd name="T5" fmla="*/ 2 h 24"/>
              <a:gd name="T6" fmla="*/ 6 w 31"/>
              <a:gd name="T7" fmla="*/ 2 h 24"/>
              <a:gd name="T8" fmla="*/ 6 w 31"/>
              <a:gd name="T9" fmla="*/ 5 h 24"/>
              <a:gd name="T10" fmla="*/ 3 w 31"/>
              <a:gd name="T11" fmla="*/ 9 h 24"/>
              <a:gd name="T12" fmla="*/ 3 w 31"/>
              <a:gd name="T13" fmla="*/ 13 h 24"/>
              <a:gd name="T14" fmla="*/ 0 w 31"/>
              <a:gd name="T15" fmla="*/ 18 h 24"/>
              <a:gd name="T16" fmla="*/ 4 w 31"/>
              <a:gd name="T17" fmla="*/ 22 h 24"/>
              <a:gd name="T18" fmla="*/ 4 w 31"/>
              <a:gd name="T19" fmla="*/ 23 h 24"/>
              <a:gd name="T20" fmla="*/ 3 w 31"/>
              <a:gd name="T21" fmla="*/ 24 h 24"/>
              <a:gd name="T22" fmla="*/ 3 w 31"/>
              <a:gd name="T23" fmla="*/ 23 h 24"/>
              <a:gd name="T24" fmla="*/ 10 w 31"/>
              <a:gd name="T25" fmla="*/ 22 h 24"/>
              <a:gd name="T26" fmla="*/ 31 w 31"/>
              <a:gd name="T27" fmla="*/ 20 h 24"/>
              <a:gd name="T28" fmla="*/ 31 w 31"/>
              <a:gd name="T29" fmla="*/ 19 h 24"/>
              <a:gd name="T30" fmla="*/ 30 w 31"/>
              <a:gd name="T31" fmla="*/ 14 h 24"/>
              <a:gd name="T32" fmla="*/ 29 w 31"/>
              <a:gd name="T33" fmla="*/ 5 h 24"/>
              <a:gd name="T34" fmla="*/ 31 w 31"/>
              <a:gd name="T35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1" h="24">
                <a:moveTo>
                  <a:pt x="31" y="0"/>
                </a:moveTo>
                <a:lnTo>
                  <a:pt x="19" y="0"/>
                </a:lnTo>
                <a:lnTo>
                  <a:pt x="7" y="2"/>
                </a:lnTo>
                <a:lnTo>
                  <a:pt x="6" y="2"/>
                </a:lnTo>
                <a:lnTo>
                  <a:pt x="6" y="5"/>
                </a:lnTo>
                <a:lnTo>
                  <a:pt x="3" y="9"/>
                </a:lnTo>
                <a:lnTo>
                  <a:pt x="3" y="13"/>
                </a:lnTo>
                <a:lnTo>
                  <a:pt x="0" y="18"/>
                </a:lnTo>
                <a:lnTo>
                  <a:pt x="4" y="22"/>
                </a:lnTo>
                <a:lnTo>
                  <a:pt x="4" y="23"/>
                </a:lnTo>
                <a:lnTo>
                  <a:pt x="3" y="24"/>
                </a:lnTo>
                <a:lnTo>
                  <a:pt x="3" y="23"/>
                </a:lnTo>
                <a:lnTo>
                  <a:pt x="10" y="22"/>
                </a:lnTo>
                <a:lnTo>
                  <a:pt x="31" y="20"/>
                </a:lnTo>
                <a:lnTo>
                  <a:pt x="31" y="19"/>
                </a:lnTo>
                <a:lnTo>
                  <a:pt x="30" y="14"/>
                </a:lnTo>
                <a:lnTo>
                  <a:pt x="29" y="5"/>
                </a:lnTo>
                <a:lnTo>
                  <a:pt x="3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40" name="Freeform 239"/>
          <p:cNvSpPr>
            <a:spLocks/>
          </p:cNvSpPr>
          <p:nvPr/>
        </p:nvSpPr>
        <p:spPr bwMode="auto">
          <a:xfrm>
            <a:off x="4586288" y="3513103"/>
            <a:ext cx="49212" cy="38100"/>
          </a:xfrm>
          <a:custGeom>
            <a:avLst/>
            <a:gdLst>
              <a:gd name="T0" fmla="*/ 31 w 31"/>
              <a:gd name="T1" fmla="*/ 0 h 24"/>
              <a:gd name="T2" fmla="*/ 19 w 31"/>
              <a:gd name="T3" fmla="*/ 0 h 24"/>
              <a:gd name="T4" fmla="*/ 7 w 31"/>
              <a:gd name="T5" fmla="*/ 2 h 24"/>
              <a:gd name="T6" fmla="*/ 6 w 31"/>
              <a:gd name="T7" fmla="*/ 2 h 24"/>
              <a:gd name="T8" fmla="*/ 6 w 31"/>
              <a:gd name="T9" fmla="*/ 5 h 24"/>
              <a:gd name="T10" fmla="*/ 3 w 31"/>
              <a:gd name="T11" fmla="*/ 9 h 24"/>
              <a:gd name="T12" fmla="*/ 3 w 31"/>
              <a:gd name="T13" fmla="*/ 13 h 24"/>
              <a:gd name="T14" fmla="*/ 0 w 31"/>
              <a:gd name="T15" fmla="*/ 18 h 24"/>
              <a:gd name="T16" fmla="*/ 4 w 31"/>
              <a:gd name="T17" fmla="*/ 22 h 24"/>
              <a:gd name="T18" fmla="*/ 4 w 31"/>
              <a:gd name="T19" fmla="*/ 23 h 24"/>
              <a:gd name="T20" fmla="*/ 3 w 31"/>
              <a:gd name="T21" fmla="*/ 24 h 24"/>
              <a:gd name="T22" fmla="*/ 3 w 31"/>
              <a:gd name="T23" fmla="*/ 23 h 24"/>
              <a:gd name="T24" fmla="*/ 10 w 31"/>
              <a:gd name="T25" fmla="*/ 22 h 24"/>
              <a:gd name="T26" fmla="*/ 31 w 31"/>
              <a:gd name="T27" fmla="*/ 20 h 24"/>
              <a:gd name="T28" fmla="*/ 31 w 31"/>
              <a:gd name="T29" fmla="*/ 19 h 24"/>
              <a:gd name="T30" fmla="*/ 30 w 31"/>
              <a:gd name="T31" fmla="*/ 14 h 24"/>
              <a:gd name="T32" fmla="*/ 29 w 31"/>
              <a:gd name="T33" fmla="*/ 5 h 24"/>
              <a:gd name="T34" fmla="*/ 31 w 31"/>
              <a:gd name="T35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1" h="24">
                <a:moveTo>
                  <a:pt x="31" y="0"/>
                </a:moveTo>
                <a:lnTo>
                  <a:pt x="19" y="0"/>
                </a:lnTo>
                <a:lnTo>
                  <a:pt x="7" y="2"/>
                </a:lnTo>
                <a:lnTo>
                  <a:pt x="6" y="2"/>
                </a:lnTo>
                <a:lnTo>
                  <a:pt x="6" y="5"/>
                </a:lnTo>
                <a:lnTo>
                  <a:pt x="3" y="9"/>
                </a:lnTo>
                <a:lnTo>
                  <a:pt x="3" y="13"/>
                </a:lnTo>
                <a:lnTo>
                  <a:pt x="0" y="18"/>
                </a:lnTo>
                <a:lnTo>
                  <a:pt x="4" y="22"/>
                </a:lnTo>
                <a:lnTo>
                  <a:pt x="4" y="23"/>
                </a:lnTo>
                <a:lnTo>
                  <a:pt x="3" y="24"/>
                </a:lnTo>
                <a:lnTo>
                  <a:pt x="3" y="23"/>
                </a:lnTo>
                <a:lnTo>
                  <a:pt x="10" y="22"/>
                </a:lnTo>
                <a:lnTo>
                  <a:pt x="31" y="20"/>
                </a:lnTo>
                <a:lnTo>
                  <a:pt x="31" y="19"/>
                </a:lnTo>
                <a:lnTo>
                  <a:pt x="30" y="14"/>
                </a:lnTo>
                <a:lnTo>
                  <a:pt x="29" y="5"/>
                </a:lnTo>
                <a:lnTo>
                  <a:pt x="3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41" name="Freeform 240"/>
          <p:cNvSpPr>
            <a:spLocks/>
          </p:cNvSpPr>
          <p:nvPr/>
        </p:nvSpPr>
        <p:spPr bwMode="auto">
          <a:xfrm>
            <a:off x="5267325" y="3055903"/>
            <a:ext cx="169862" cy="165100"/>
          </a:xfrm>
          <a:custGeom>
            <a:avLst/>
            <a:gdLst>
              <a:gd name="T0" fmla="*/ 27 w 107"/>
              <a:gd name="T1" fmla="*/ 8 h 104"/>
              <a:gd name="T2" fmla="*/ 16 w 107"/>
              <a:gd name="T3" fmla="*/ 14 h 104"/>
              <a:gd name="T4" fmla="*/ 8 w 107"/>
              <a:gd name="T5" fmla="*/ 19 h 104"/>
              <a:gd name="T6" fmla="*/ 6 w 107"/>
              <a:gd name="T7" fmla="*/ 30 h 104"/>
              <a:gd name="T8" fmla="*/ 2 w 107"/>
              <a:gd name="T9" fmla="*/ 52 h 104"/>
              <a:gd name="T10" fmla="*/ 2 w 107"/>
              <a:gd name="T11" fmla="*/ 70 h 104"/>
              <a:gd name="T12" fmla="*/ 8 w 107"/>
              <a:gd name="T13" fmla="*/ 71 h 104"/>
              <a:gd name="T14" fmla="*/ 10 w 107"/>
              <a:gd name="T15" fmla="*/ 69 h 104"/>
              <a:gd name="T16" fmla="*/ 15 w 107"/>
              <a:gd name="T17" fmla="*/ 69 h 104"/>
              <a:gd name="T18" fmla="*/ 23 w 107"/>
              <a:gd name="T19" fmla="*/ 60 h 104"/>
              <a:gd name="T20" fmla="*/ 28 w 107"/>
              <a:gd name="T21" fmla="*/ 63 h 104"/>
              <a:gd name="T22" fmla="*/ 31 w 107"/>
              <a:gd name="T23" fmla="*/ 68 h 104"/>
              <a:gd name="T24" fmla="*/ 38 w 107"/>
              <a:gd name="T25" fmla="*/ 66 h 104"/>
              <a:gd name="T26" fmla="*/ 41 w 107"/>
              <a:gd name="T27" fmla="*/ 63 h 104"/>
              <a:gd name="T28" fmla="*/ 45 w 107"/>
              <a:gd name="T29" fmla="*/ 68 h 104"/>
              <a:gd name="T30" fmla="*/ 48 w 107"/>
              <a:gd name="T31" fmla="*/ 65 h 104"/>
              <a:gd name="T32" fmla="*/ 54 w 107"/>
              <a:gd name="T33" fmla="*/ 66 h 104"/>
              <a:gd name="T34" fmla="*/ 56 w 107"/>
              <a:gd name="T35" fmla="*/ 66 h 104"/>
              <a:gd name="T36" fmla="*/ 66 w 107"/>
              <a:gd name="T37" fmla="*/ 72 h 104"/>
              <a:gd name="T38" fmla="*/ 75 w 107"/>
              <a:gd name="T39" fmla="*/ 80 h 104"/>
              <a:gd name="T40" fmla="*/ 85 w 107"/>
              <a:gd name="T41" fmla="*/ 90 h 104"/>
              <a:gd name="T42" fmla="*/ 89 w 107"/>
              <a:gd name="T43" fmla="*/ 96 h 104"/>
              <a:gd name="T44" fmla="*/ 95 w 107"/>
              <a:gd name="T45" fmla="*/ 102 h 104"/>
              <a:gd name="T46" fmla="*/ 103 w 107"/>
              <a:gd name="T47" fmla="*/ 100 h 104"/>
              <a:gd name="T48" fmla="*/ 104 w 107"/>
              <a:gd name="T49" fmla="*/ 95 h 104"/>
              <a:gd name="T50" fmla="*/ 100 w 107"/>
              <a:gd name="T51" fmla="*/ 91 h 104"/>
              <a:gd name="T52" fmla="*/ 97 w 107"/>
              <a:gd name="T53" fmla="*/ 90 h 104"/>
              <a:gd name="T54" fmla="*/ 94 w 107"/>
              <a:gd name="T55" fmla="*/ 84 h 104"/>
              <a:gd name="T56" fmla="*/ 90 w 107"/>
              <a:gd name="T57" fmla="*/ 81 h 104"/>
              <a:gd name="T58" fmla="*/ 87 w 107"/>
              <a:gd name="T59" fmla="*/ 78 h 104"/>
              <a:gd name="T60" fmla="*/ 85 w 107"/>
              <a:gd name="T61" fmla="*/ 76 h 104"/>
              <a:gd name="T62" fmla="*/ 77 w 107"/>
              <a:gd name="T63" fmla="*/ 64 h 104"/>
              <a:gd name="T64" fmla="*/ 70 w 107"/>
              <a:gd name="T65" fmla="*/ 62 h 104"/>
              <a:gd name="T66" fmla="*/ 67 w 107"/>
              <a:gd name="T67" fmla="*/ 59 h 104"/>
              <a:gd name="T68" fmla="*/ 63 w 107"/>
              <a:gd name="T69" fmla="*/ 56 h 104"/>
              <a:gd name="T70" fmla="*/ 60 w 107"/>
              <a:gd name="T71" fmla="*/ 58 h 104"/>
              <a:gd name="T72" fmla="*/ 57 w 107"/>
              <a:gd name="T73" fmla="*/ 52 h 104"/>
              <a:gd name="T74" fmla="*/ 56 w 107"/>
              <a:gd name="T75" fmla="*/ 50 h 104"/>
              <a:gd name="T76" fmla="*/ 53 w 107"/>
              <a:gd name="T77" fmla="*/ 50 h 104"/>
              <a:gd name="T78" fmla="*/ 54 w 107"/>
              <a:gd name="T79" fmla="*/ 54 h 104"/>
              <a:gd name="T80" fmla="*/ 51 w 107"/>
              <a:gd name="T81" fmla="*/ 52 h 104"/>
              <a:gd name="T82" fmla="*/ 49 w 107"/>
              <a:gd name="T83" fmla="*/ 46 h 104"/>
              <a:gd name="T84" fmla="*/ 47 w 107"/>
              <a:gd name="T85" fmla="*/ 45 h 104"/>
              <a:gd name="T86" fmla="*/ 46 w 107"/>
              <a:gd name="T87" fmla="*/ 42 h 104"/>
              <a:gd name="T88" fmla="*/ 41 w 107"/>
              <a:gd name="T89" fmla="*/ 33 h 104"/>
              <a:gd name="T90" fmla="*/ 39 w 107"/>
              <a:gd name="T91" fmla="*/ 22 h 104"/>
              <a:gd name="T92" fmla="*/ 37 w 107"/>
              <a:gd name="T93" fmla="*/ 12 h 104"/>
              <a:gd name="T94" fmla="*/ 34 w 107"/>
              <a:gd name="T95" fmla="*/ 5 h 104"/>
              <a:gd name="T96" fmla="*/ 30 w 107"/>
              <a:gd name="T97" fmla="*/ 0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07" h="104">
                <a:moveTo>
                  <a:pt x="29" y="0"/>
                </a:moveTo>
                <a:lnTo>
                  <a:pt x="29" y="3"/>
                </a:lnTo>
                <a:lnTo>
                  <a:pt x="27" y="8"/>
                </a:lnTo>
                <a:lnTo>
                  <a:pt x="24" y="10"/>
                </a:lnTo>
                <a:lnTo>
                  <a:pt x="22" y="11"/>
                </a:lnTo>
                <a:lnTo>
                  <a:pt x="16" y="14"/>
                </a:lnTo>
                <a:lnTo>
                  <a:pt x="14" y="17"/>
                </a:lnTo>
                <a:lnTo>
                  <a:pt x="12" y="18"/>
                </a:lnTo>
                <a:lnTo>
                  <a:pt x="8" y="19"/>
                </a:lnTo>
                <a:lnTo>
                  <a:pt x="7" y="21"/>
                </a:lnTo>
                <a:lnTo>
                  <a:pt x="6" y="28"/>
                </a:lnTo>
                <a:lnTo>
                  <a:pt x="6" y="30"/>
                </a:lnTo>
                <a:lnTo>
                  <a:pt x="6" y="38"/>
                </a:lnTo>
                <a:lnTo>
                  <a:pt x="4" y="48"/>
                </a:lnTo>
                <a:lnTo>
                  <a:pt x="2" y="52"/>
                </a:lnTo>
                <a:lnTo>
                  <a:pt x="0" y="58"/>
                </a:lnTo>
                <a:lnTo>
                  <a:pt x="0" y="64"/>
                </a:lnTo>
                <a:lnTo>
                  <a:pt x="2" y="70"/>
                </a:lnTo>
                <a:lnTo>
                  <a:pt x="3" y="70"/>
                </a:lnTo>
                <a:lnTo>
                  <a:pt x="7" y="70"/>
                </a:lnTo>
                <a:lnTo>
                  <a:pt x="8" y="71"/>
                </a:lnTo>
                <a:lnTo>
                  <a:pt x="9" y="71"/>
                </a:lnTo>
                <a:lnTo>
                  <a:pt x="9" y="70"/>
                </a:lnTo>
                <a:lnTo>
                  <a:pt x="10" y="69"/>
                </a:lnTo>
                <a:lnTo>
                  <a:pt x="12" y="68"/>
                </a:lnTo>
                <a:lnTo>
                  <a:pt x="14" y="68"/>
                </a:lnTo>
                <a:lnTo>
                  <a:pt x="15" y="69"/>
                </a:lnTo>
                <a:lnTo>
                  <a:pt x="15" y="70"/>
                </a:lnTo>
                <a:lnTo>
                  <a:pt x="17" y="73"/>
                </a:lnTo>
                <a:lnTo>
                  <a:pt x="23" y="60"/>
                </a:lnTo>
                <a:lnTo>
                  <a:pt x="24" y="61"/>
                </a:lnTo>
                <a:lnTo>
                  <a:pt x="26" y="63"/>
                </a:lnTo>
                <a:lnTo>
                  <a:pt x="28" y="63"/>
                </a:lnTo>
                <a:lnTo>
                  <a:pt x="28" y="63"/>
                </a:lnTo>
                <a:lnTo>
                  <a:pt x="28" y="64"/>
                </a:lnTo>
                <a:lnTo>
                  <a:pt x="31" y="68"/>
                </a:lnTo>
                <a:lnTo>
                  <a:pt x="34" y="68"/>
                </a:lnTo>
                <a:lnTo>
                  <a:pt x="35" y="68"/>
                </a:lnTo>
                <a:lnTo>
                  <a:pt x="38" y="66"/>
                </a:lnTo>
                <a:lnTo>
                  <a:pt x="40" y="65"/>
                </a:lnTo>
                <a:lnTo>
                  <a:pt x="40" y="63"/>
                </a:lnTo>
                <a:lnTo>
                  <a:pt x="41" y="63"/>
                </a:lnTo>
                <a:lnTo>
                  <a:pt x="43" y="65"/>
                </a:lnTo>
                <a:lnTo>
                  <a:pt x="44" y="68"/>
                </a:lnTo>
                <a:lnTo>
                  <a:pt x="45" y="68"/>
                </a:lnTo>
                <a:lnTo>
                  <a:pt x="45" y="66"/>
                </a:lnTo>
                <a:lnTo>
                  <a:pt x="47" y="66"/>
                </a:lnTo>
                <a:lnTo>
                  <a:pt x="48" y="65"/>
                </a:lnTo>
                <a:lnTo>
                  <a:pt x="49" y="65"/>
                </a:lnTo>
                <a:lnTo>
                  <a:pt x="50" y="66"/>
                </a:lnTo>
                <a:lnTo>
                  <a:pt x="54" y="66"/>
                </a:lnTo>
                <a:lnTo>
                  <a:pt x="55" y="68"/>
                </a:lnTo>
                <a:lnTo>
                  <a:pt x="56" y="68"/>
                </a:lnTo>
                <a:lnTo>
                  <a:pt x="56" y="66"/>
                </a:lnTo>
                <a:lnTo>
                  <a:pt x="59" y="66"/>
                </a:lnTo>
                <a:lnTo>
                  <a:pt x="64" y="70"/>
                </a:lnTo>
                <a:lnTo>
                  <a:pt x="66" y="72"/>
                </a:lnTo>
                <a:lnTo>
                  <a:pt x="68" y="72"/>
                </a:lnTo>
                <a:lnTo>
                  <a:pt x="73" y="76"/>
                </a:lnTo>
                <a:lnTo>
                  <a:pt x="75" y="80"/>
                </a:lnTo>
                <a:lnTo>
                  <a:pt x="76" y="82"/>
                </a:lnTo>
                <a:lnTo>
                  <a:pt x="81" y="86"/>
                </a:lnTo>
                <a:lnTo>
                  <a:pt x="85" y="90"/>
                </a:lnTo>
                <a:lnTo>
                  <a:pt x="87" y="92"/>
                </a:lnTo>
                <a:lnTo>
                  <a:pt x="88" y="94"/>
                </a:lnTo>
                <a:lnTo>
                  <a:pt x="89" y="96"/>
                </a:lnTo>
                <a:lnTo>
                  <a:pt x="91" y="98"/>
                </a:lnTo>
                <a:lnTo>
                  <a:pt x="94" y="100"/>
                </a:lnTo>
                <a:lnTo>
                  <a:pt x="95" y="102"/>
                </a:lnTo>
                <a:lnTo>
                  <a:pt x="97" y="104"/>
                </a:lnTo>
                <a:lnTo>
                  <a:pt x="98" y="102"/>
                </a:lnTo>
                <a:lnTo>
                  <a:pt x="103" y="100"/>
                </a:lnTo>
                <a:lnTo>
                  <a:pt x="107" y="96"/>
                </a:lnTo>
                <a:lnTo>
                  <a:pt x="106" y="94"/>
                </a:lnTo>
                <a:lnTo>
                  <a:pt x="104" y="95"/>
                </a:lnTo>
                <a:lnTo>
                  <a:pt x="103" y="94"/>
                </a:lnTo>
                <a:lnTo>
                  <a:pt x="101" y="93"/>
                </a:lnTo>
                <a:lnTo>
                  <a:pt x="100" y="91"/>
                </a:lnTo>
                <a:lnTo>
                  <a:pt x="100" y="91"/>
                </a:lnTo>
                <a:lnTo>
                  <a:pt x="98" y="90"/>
                </a:lnTo>
                <a:lnTo>
                  <a:pt x="97" y="90"/>
                </a:lnTo>
                <a:lnTo>
                  <a:pt x="96" y="89"/>
                </a:lnTo>
                <a:lnTo>
                  <a:pt x="95" y="85"/>
                </a:lnTo>
                <a:lnTo>
                  <a:pt x="94" y="84"/>
                </a:lnTo>
                <a:lnTo>
                  <a:pt x="94" y="83"/>
                </a:lnTo>
                <a:lnTo>
                  <a:pt x="91" y="82"/>
                </a:lnTo>
                <a:lnTo>
                  <a:pt x="90" y="81"/>
                </a:lnTo>
                <a:lnTo>
                  <a:pt x="89" y="78"/>
                </a:lnTo>
                <a:lnTo>
                  <a:pt x="89" y="78"/>
                </a:lnTo>
                <a:lnTo>
                  <a:pt x="87" y="78"/>
                </a:lnTo>
                <a:lnTo>
                  <a:pt x="86" y="76"/>
                </a:lnTo>
                <a:lnTo>
                  <a:pt x="86" y="76"/>
                </a:lnTo>
                <a:lnTo>
                  <a:pt x="85" y="76"/>
                </a:lnTo>
                <a:lnTo>
                  <a:pt x="85" y="74"/>
                </a:lnTo>
                <a:lnTo>
                  <a:pt x="83" y="72"/>
                </a:lnTo>
                <a:lnTo>
                  <a:pt x="77" y="64"/>
                </a:lnTo>
                <a:lnTo>
                  <a:pt x="75" y="63"/>
                </a:lnTo>
                <a:lnTo>
                  <a:pt x="73" y="63"/>
                </a:lnTo>
                <a:lnTo>
                  <a:pt x="70" y="62"/>
                </a:lnTo>
                <a:lnTo>
                  <a:pt x="69" y="62"/>
                </a:lnTo>
                <a:lnTo>
                  <a:pt x="68" y="61"/>
                </a:lnTo>
                <a:lnTo>
                  <a:pt x="67" y="59"/>
                </a:lnTo>
                <a:lnTo>
                  <a:pt x="66" y="58"/>
                </a:lnTo>
                <a:lnTo>
                  <a:pt x="65" y="56"/>
                </a:lnTo>
                <a:lnTo>
                  <a:pt x="63" y="56"/>
                </a:lnTo>
                <a:lnTo>
                  <a:pt x="63" y="58"/>
                </a:lnTo>
                <a:lnTo>
                  <a:pt x="61" y="59"/>
                </a:lnTo>
                <a:lnTo>
                  <a:pt x="60" y="58"/>
                </a:lnTo>
                <a:lnTo>
                  <a:pt x="58" y="54"/>
                </a:lnTo>
                <a:lnTo>
                  <a:pt x="57" y="53"/>
                </a:lnTo>
                <a:lnTo>
                  <a:pt x="57" y="52"/>
                </a:lnTo>
                <a:lnTo>
                  <a:pt x="57" y="51"/>
                </a:lnTo>
                <a:lnTo>
                  <a:pt x="57" y="50"/>
                </a:lnTo>
                <a:lnTo>
                  <a:pt x="56" y="50"/>
                </a:lnTo>
                <a:lnTo>
                  <a:pt x="55" y="48"/>
                </a:lnTo>
                <a:lnTo>
                  <a:pt x="54" y="49"/>
                </a:lnTo>
                <a:lnTo>
                  <a:pt x="53" y="50"/>
                </a:lnTo>
                <a:lnTo>
                  <a:pt x="53" y="51"/>
                </a:lnTo>
                <a:lnTo>
                  <a:pt x="54" y="52"/>
                </a:lnTo>
                <a:lnTo>
                  <a:pt x="54" y="54"/>
                </a:lnTo>
                <a:lnTo>
                  <a:pt x="54" y="54"/>
                </a:lnTo>
                <a:lnTo>
                  <a:pt x="51" y="53"/>
                </a:lnTo>
                <a:lnTo>
                  <a:pt x="51" y="52"/>
                </a:lnTo>
                <a:lnTo>
                  <a:pt x="51" y="51"/>
                </a:lnTo>
                <a:lnTo>
                  <a:pt x="50" y="50"/>
                </a:lnTo>
                <a:lnTo>
                  <a:pt x="49" y="46"/>
                </a:lnTo>
                <a:lnTo>
                  <a:pt x="49" y="46"/>
                </a:lnTo>
                <a:lnTo>
                  <a:pt x="48" y="46"/>
                </a:lnTo>
                <a:lnTo>
                  <a:pt x="47" y="45"/>
                </a:lnTo>
                <a:lnTo>
                  <a:pt x="47" y="44"/>
                </a:lnTo>
                <a:lnTo>
                  <a:pt x="46" y="43"/>
                </a:lnTo>
                <a:lnTo>
                  <a:pt x="46" y="42"/>
                </a:lnTo>
                <a:lnTo>
                  <a:pt x="45" y="40"/>
                </a:lnTo>
                <a:lnTo>
                  <a:pt x="43" y="39"/>
                </a:lnTo>
                <a:lnTo>
                  <a:pt x="41" y="33"/>
                </a:lnTo>
                <a:lnTo>
                  <a:pt x="41" y="30"/>
                </a:lnTo>
                <a:lnTo>
                  <a:pt x="40" y="28"/>
                </a:lnTo>
                <a:lnTo>
                  <a:pt x="39" y="22"/>
                </a:lnTo>
                <a:lnTo>
                  <a:pt x="38" y="21"/>
                </a:lnTo>
                <a:lnTo>
                  <a:pt x="37" y="17"/>
                </a:lnTo>
                <a:lnTo>
                  <a:pt x="37" y="12"/>
                </a:lnTo>
                <a:lnTo>
                  <a:pt x="36" y="10"/>
                </a:lnTo>
                <a:lnTo>
                  <a:pt x="35" y="7"/>
                </a:lnTo>
                <a:lnTo>
                  <a:pt x="34" y="5"/>
                </a:lnTo>
                <a:lnTo>
                  <a:pt x="33" y="3"/>
                </a:lnTo>
                <a:lnTo>
                  <a:pt x="31" y="1"/>
                </a:lnTo>
                <a:lnTo>
                  <a:pt x="30" y="0"/>
                </a:lnTo>
                <a:lnTo>
                  <a:pt x="29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42" name="Freeform 241"/>
          <p:cNvSpPr>
            <a:spLocks/>
          </p:cNvSpPr>
          <p:nvPr/>
        </p:nvSpPr>
        <p:spPr bwMode="auto">
          <a:xfrm>
            <a:off x="5267325" y="3055903"/>
            <a:ext cx="169862" cy="165100"/>
          </a:xfrm>
          <a:custGeom>
            <a:avLst/>
            <a:gdLst>
              <a:gd name="T0" fmla="*/ 27 w 107"/>
              <a:gd name="T1" fmla="*/ 8 h 104"/>
              <a:gd name="T2" fmla="*/ 16 w 107"/>
              <a:gd name="T3" fmla="*/ 14 h 104"/>
              <a:gd name="T4" fmla="*/ 8 w 107"/>
              <a:gd name="T5" fmla="*/ 19 h 104"/>
              <a:gd name="T6" fmla="*/ 6 w 107"/>
              <a:gd name="T7" fmla="*/ 30 h 104"/>
              <a:gd name="T8" fmla="*/ 2 w 107"/>
              <a:gd name="T9" fmla="*/ 52 h 104"/>
              <a:gd name="T10" fmla="*/ 2 w 107"/>
              <a:gd name="T11" fmla="*/ 70 h 104"/>
              <a:gd name="T12" fmla="*/ 8 w 107"/>
              <a:gd name="T13" fmla="*/ 71 h 104"/>
              <a:gd name="T14" fmla="*/ 10 w 107"/>
              <a:gd name="T15" fmla="*/ 69 h 104"/>
              <a:gd name="T16" fmla="*/ 15 w 107"/>
              <a:gd name="T17" fmla="*/ 69 h 104"/>
              <a:gd name="T18" fmla="*/ 23 w 107"/>
              <a:gd name="T19" fmla="*/ 60 h 104"/>
              <a:gd name="T20" fmla="*/ 28 w 107"/>
              <a:gd name="T21" fmla="*/ 63 h 104"/>
              <a:gd name="T22" fmla="*/ 31 w 107"/>
              <a:gd name="T23" fmla="*/ 68 h 104"/>
              <a:gd name="T24" fmla="*/ 38 w 107"/>
              <a:gd name="T25" fmla="*/ 66 h 104"/>
              <a:gd name="T26" fmla="*/ 41 w 107"/>
              <a:gd name="T27" fmla="*/ 63 h 104"/>
              <a:gd name="T28" fmla="*/ 45 w 107"/>
              <a:gd name="T29" fmla="*/ 68 h 104"/>
              <a:gd name="T30" fmla="*/ 48 w 107"/>
              <a:gd name="T31" fmla="*/ 65 h 104"/>
              <a:gd name="T32" fmla="*/ 54 w 107"/>
              <a:gd name="T33" fmla="*/ 66 h 104"/>
              <a:gd name="T34" fmla="*/ 56 w 107"/>
              <a:gd name="T35" fmla="*/ 66 h 104"/>
              <a:gd name="T36" fmla="*/ 66 w 107"/>
              <a:gd name="T37" fmla="*/ 72 h 104"/>
              <a:gd name="T38" fmla="*/ 75 w 107"/>
              <a:gd name="T39" fmla="*/ 80 h 104"/>
              <a:gd name="T40" fmla="*/ 85 w 107"/>
              <a:gd name="T41" fmla="*/ 90 h 104"/>
              <a:gd name="T42" fmla="*/ 89 w 107"/>
              <a:gd name="T43" fmla="*/ 96 h 104"/>
              <a:gd name="T44" fmla="*/ 95 w 107"/>
              <a:gd name="T45" fmla="*/ 102 h 104"/>
              <a:gd name="T46" fmla="*/ 103 w 107"/>
              <a:gd name="T47" fmla="*/ 100 h 104"/>
              <a:gd name="T48" fmla="*/ 104 w 107"/>
              <a:gd name="T49" fmla="*/ 95 h 104"/>
              <a:gd name="T50" fmla="*/ 100 w 107"/>
              <a:gd name="T51" fmla="*/ 91 h 104"/>
              <a:gd name="T52" fmla="*/ 97 w 107"/>
              <a:gd name="T53" fmla="*/ 90 h 104"/>
              <a:gd name="T54" fmla="*/ 94 w 107"/>
              <a:gd name="T55" fmla="*/ 84 h 104"/>
              <a:gd name="T56" fmla="*/ 90 w 107"/>
              <a:gd name="T57" fmla="*/ 81 h 104"/>
              <a:gd name="T58" fmla="*/ 87 w 107"/>
              <a:gd name="T59" fmla="*/ 78 h 104"/>
              <a:gd name="T60" fmla="*/ 85 w 107"/>
              <a:gd name="T61" fmla="*/ 76 h 104"/>
              <a:gd name="T62" fmla="*/ 77 w 107"/>
              <a:gd name="T63" fmla="*/ 64 h 104"/>
              <a:gd name="T64" fmla="*/ 70 w 107"/>
              <a:gd name="T65" fmla="*/ 62 h 104"/>
              <a:gd name="T66" fmla="*/ 67 w 107"/>
              <a:gd name="T67" fmla="*/ 59 h 104"/>
              <a:gd name="T68" fmla="*/ 63 w 107"/>
              <a:gd name="T69" fmla="*/ 56 h 104"/>
              <a:gd name="T70" fmla="*/ 60 w 107"/>
              <a:gd name="T71" fmla="*/ 58 h 104"/>
              <a:gd name="T72" fmla="*/ 57 w 107"/>
              <a:gd name="T73" fmla="*/ 52 h 104"/>
              <a:gd name="T74" fmla="*/ 56 w 107"/>
              <a:gd name="T75" fmla="*/ 50 h 104"/>
              <a:gd name="T76" fmla="*/ 53 w 107"/>
              <a:gd name="T77" fmla="*/ 50 h 104"/>
              <a:gd name="T78" fmla="*/ 54 w 107"/>
              <a:gd name="T79" fmla="*/ 54 h 104"/>
              <a:gd name="T80" fmla="*/ 51 w 107"/>
              <a:gd name="T81" fmla="*/ 52 h 104"/>
              <a:gd name="T82" fmla="*/ 49 w 107"/>
              <a:gd name="T83" fmla="*/ 46 h 104"/>
              <a:gd name="T84" fmla="*/ 47 w 107"/>
              <a:gd name="T85" fmla="*/ 45 h 104"/>
              <a:gd name="T86" fmla="*/ 46 w 107"/>
              <a:gd name="T87" fmla="*/ 42 h 104"/>
              <a:gd name="T88" fmla="*/ 41 w 107"/>
              <a:gd name="T89" fmla="*/ 33 h 104"/>
              <a:gd name="T90" fmla="*/ 39 w 107"/>
              <a:gd name="T91" fmla="*/ 22 h 104"/>
              <a:gd name="T92" fmla="*/ 37 w 107"/>
              <a:gd name="T93" fmla="*/ 12 h 104"/>
              <a:gd name="T94" fmla="*/ 34 w 107"/>
              <a:gd name="T95" fmla="*/ 5 h 104"/>
              <a:gd name="T96" fmla="*/ 30 w 107"/>
              <a:gd name="T97" fmla="*/ 0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07" h="104">
                <a:moveTo>
                  <a:pt x="29" y="0"/>
                </a:moveTo>
                <a:lnTo>
                  <a:pt x="29" y="3"/>
                </a:lnTo>
                <a:lnTo>
                  <a:pt x="27" y="8"/>
                </a:lnTo>
                <a:lnTo>
                  <a:pt x="24" y="10"/>
                </a:lnTo>
                <a:lnTo>
                  <a:pt x="22" y="11"/>
                </a:lnTo>
                <a:lnTo>
                  <a:pt x="16" y="14"/>
                </a:lnTo>
                <a:lnTo>
                  <a:pt x="14" y="17"/>
                </a:lnTo>
                <a:lnTo>
                  <a:pt x="12" y="18"/>
                </a:lnTo>
                <a:lnTo>
                  <a:pt x="8" y="19"/>
                </a:lnTo>
                <a:lnTo>
                  <a:pt x="7" y="21"/>
                </a:lnTo>
                <a:lnTo>
                  <a:pt x="6" y="28"/>
                </a:lnTo>
                <a:lnTo>
                  <a:pt x="6" y="30"/>
                </a:lnTo>
                <a:lnTo>
                  <a:pt x="6" y="38"/>
                </a:lnTo>
                <a:lnTo>
                  <a:pt x="4" y="48"/>
                </a:lnTo>
                <a:lnTo>
                  <a:pt x="2" y="52"/>
                </a:lnTo>
                <a:lnTo>
                  <a:pt x="0" y="58"/>
                </a:lnTo>
                <a:lnTo>
                  <a:pt x="0" y="64"/>
                </a:lnTo>
                <a:lnTo>
                  <a:pt x="2" y="70"/>
                </a:lnTo>
                <a:lnTo>
                  <a:pt x="3" y="70"/>
                </a:lnTo>
                <a:lnTo>
                  <a:pt x="7" y="70"/>
                </a:lnTo>
                <a:lnTo>
                  <a:pt x="8" y="71"/>
                </a:lnTo>
                <a:lnTo>
                  <a:pt x="9" y="71"/>
                </a:lnTo>
                <a:lnTo>
                  <a:pt x="9" y="70"/>
                </a:lnTo>
                <a:lnTo>
                  <a:pt x="10" y="69"/>
                </a:lnTo>
                <a:lnTo>
                  <a:pt x="12" y="68"/>
                </a:lnTo>
                <a:lnTo>
                  <a:pt x="14" y="68"/>
                </a:lnTo>
                <a:lnTo>
                  <a:pt x="15" y="69"/>
                </a:lnTo>
                <a:lnTo>
                  <a:pt x="15" y="70"/>
                </a:lnTo>
                <a:lnTo>
                  <a:pt x="17" y="73"/>
                </a:lnTo>
                <a:lnTo>
                  <a:pt x="23" y="60"/>
                </a:lnTo>
                <a:lnTo>
                  <a:pt x="24" y="61"/>
                </a:lnTo>
                <a:lnTo>
                  <a:pt x="26" y="63"/>
                </a:lnTo>
                <a:lnTo>
                  <a:pt x="28" y="63"/>
                </a:lnTo>
                <a:lnTo>
                  <a:pt x="28" y="63"/>
                </a:lnTo>
                <a:lnTo>
                  <a:pt x="28" y="64"/>
                </a:lnTo>
                <a:lnTo>
                  <a:pt x="31" y="68"/>
                </a:lnTo>
                <a:lnTo>
                  <a:pt x="34" y="68"/>
                </a:lnTo>
                <a:lnTo>
                  <a:pt x="35" y="68"/>
                </a:lnTo>
                <a:lnTo>
                  <a:pt x="38" y="66"/>
                </a:lnTo>
                <a:lnTo>
                  <a:pt x="40" y="65"/>
                </a:lnTo>
                <a:lnTo>
                  <a:pt x="40" y="63"/>
                </a:lnTo>
                <a:lnTo>
                  <a:pt x="41" y="63"/>
                </a:lnTo>
                <a:lnTo>
                  <a:pt x="43" y="65"/>
                </a:lnTo>
                <a:lnTo>
                  <a:pt x="44" y="68"/>
                </a:lnTo>
                <a:lnTo>
                  <a:pt x="45" y="68"/>
                </a:lnTo>
                <a:lnTo>
                  <a:pt x="45" y="66"/>
                </a:lnTo>
                <a:lnTo>
                  <a:pt x="47" y="66"/>
                </a:lnTo>
                <a:lnTo>
                  <a:pt x="48" y="65"/>
                </a:lnTo>
                <a:lnTo>
                  <a:pt x="49" y="65"/>
                </a:lnTo>
                <a:lnTo>
                  <a:pt x="50" y="66"/>
                </a:lnTo>
                <a:lnTo>
                  <a:pt x="54" y="66"/>
                </a:lnTo>
                <a:lnTo>
                  <a:pt x="55" y="68"/>
                </a:lnTo>
                <a:lnTo>
                  <a:pt x="56" y="68"/>
                </a:lnTo>
                <a:lnTo>
                  <a:pt x="56" y="66"/>
                </a:lnTo>
                <a:lnTo>
                  <a:pt x="59" y="66"/>
                </a:lnTo>
                <a:lnTo>
                  <a:pt x="64" y="70"/>
                </a:lnTo>
                <a:lnTo>
                  <a:pt x="66" y="72"/>
                </a:lnTo>
                <a:lnTo>
                  <a:pt x="68" y="72"/>
                </a:lnTo>
                <a:lnTo>
                  <a:pt x="73" y="76"/>
                </a:lnTo>
                <a:lnTo>
                  <a:pt x="75" y="80"/>
                </a:lnTo>
                <a:lnTo>
                  <a:pt x="76" y="82"/>
                </a:lnTo>
                <a:lnTo>
                  <a:pt x="81" y="86"/>
                </a:lnTo>
                <a:lnTo>
                  <a:pt x="85" y="90"/>
                </a:lnTo>
                <a:lnTo>
                  <a:pt x="87" y="92"/>
                </a:lnTo>
                <a:lnTo>
                  <a:pt x="88" y="94"/>
                </a:lnTo>
                <a:lnTo>
                  <a:pt x="89" y="96"/>
                </a:lnTo>
                <a:lnTo>
                  <a:pt x="91" y="98"/>
                </a:lnTo>
                <a:lnTo>
                  <a:pt x="94" y="100"/>
                </a:lnTo>
                <a:lnTo>
                  <a:pt x="95" y="102"/>
                </a:lnTo>
                <a:lnTo>
                  <a:pt x="97" y="104"/>
                </a:lnTo>
                <a:lnTo>
                  <a:pt x="98" y="102"/>
                </a:lnTo>
                <a:lnTo>
                  <a:pt x="103" y="100"/>
                </a:lnTo>
                <a:lnTo>
                  <a:pt x="107" y="96"/>
                </a:lnTo>
                <a:lnTo>
                  <a:pt x="106" y="94"/>
                </a:lnTo>
                <a:lnTo>
                  <a:pt x="104" y="95"/>
                </a:lnTo>
                <a:lnTo>
                  <a:pt x="103" y="94"/>
                </a:lnTo>
                <a:lnTo>
                  <a:pt x="101" y="93"/>
                </a:lnTo>
                <a:lnTo>
                  <a:pt x="100" y="91"/>
                </a:lnTo>
                <a:lnTo>
                  <a:pt x="100" y="91"/>
                </a:lnTo>
                <a:lnTo>
                  <a:pt x="98" y="90"/>
                </a:lnTo>
                <a:lnTo>
                  <a:pt x="97" y="90"/>
                </a:lnTo>
                <a:lnTo>
                  <a:pt x="96" y="89"/>
                </a:lnTo>
                <a:lnTo>
                  <a:pt x="95" y="85"/>
                </a:lnTo>
                <a:lnTo>
                  <a:pt x="94" y="84"/>
                </a:lnTo>
                <a:lnTo>
                  <a:pt x="94" y="83"/>
                </a:lnTo>
                <a:lnTo>
                  <a:pt x="91" y="82"/>
                </a:lnTo>
                <a:lnTo>
                  <a:pt x="90" y="81"/>
                </a:lnTo>
                <a:lnTo>
                  <a:pt x="89" y="78"/>
                </a:lnTo>
                <a:lnTo>
                  <a:pt x="89" y="78"/>
                </a:lnTo>
                <a:lnTo>
                  <a:pt x="87" y="78"/>
                </a:lnTo>
                <a:lnTo>
                  <a:pt x="86" y="76"/>
                </a:lnTo>
                <a:lnTo>
                  <a:pt x="86" y="76"/>
                </a:lnTo>
                <a:lnTo>
                  <a:pt x="85" y="76"/>
                </a:lnTo>
                <a:lnTo>
                  <a:pt x="85" y="74"/>
                </a:lnTo>
                <a:lnTo>
                  <a:pt x="83" y="72"/>
                </a:lnTo>
                <a:lnTo>
                  <a:pt x="77" y="64"/>
                </a:lnTo>
                <a:lnTo>
                  <a:pt x="75" y="63"/>
                </a:lnTo>
                <a:lnTo>
                  <a:pt x="73" y="63"/>
                </a:lnTo>
                <a:lnTo>
                  <a:pt x="70" y="62"/>
                </a:lnTo>
                <a:lnTo>
                  <a:pt x="69" y="62"/>
                </a:lnTo>
                <a:lnTo>
                  <a:pt x="68" y="61"/>
                </a:lnTo>
                <a:lnTo>
                  <a:pt x="67" y="59"/>
                </a:lnTo>
                <a:lnTo>
                  <a:pt x="66" y="58"/>
                </a:lnTo>
                <a:lnTo>
                  <a:pt x="65" y="56"/>
                </a:lnTo>
                <a:lnTo>
                  <a:pt x="63" y="56"/>
                </a:lnTo>
                <a:lnTo>
                  <a:pt x="63" y="58"/>
                </a:lnTo>
                <a:lnTo>
                  <a:pt x="61" y="59"/>
                </a:lnTo>
                <a:lnTo>
                  <a:pt x="60" y="58"/>
                </a:lnTo>
                <a:lnTo>
                  <a:pt x="58" y="54"/>
                </a:lnTo>
                <a:lnTo>
                  <a:pt x="57" y="53"/>
                </a:lnTo>
                <a:lnTo>
                  <a:pt x="57" y="52"/>
                </a:lnTo>
                <a:lnTo>
                  <a:pt x="57" y="51"/>
                </a:lnTo>
                <a:lnTo>
                  <a:pt x="57" y="50"/>
                </a:lnTo>
                <a:lnTo>
                  <a:pt x="56" y="50"/>
                </a:lnTo>
                <a:lnTo>
                  <a:pt x="55" y="48"/>
                </a:lnTo>
                <a:lnTo>
                  <a:pt x="54" y="49"/>
                </a:lnTo>
                <a:lnTo>
                  <a:pt x="53" y="50"/>
                </a:lnTo>
                <a:lnTo>
                  <a:pt x="53" y="51"/>
                </a:lnTo>
                <a:lnTo>
                  <a:pt x="54" y="52"/>
                </a:lnTo>
                <a:lnTo>
                  <a:pt x="54" y="54"/>
                </a:lnTo>
                <a:lnTo>
                  <a:pt x="54" y="54"/>
                </a:lnTo>
                <a:lnTo>
                  <a:pt x="51" y="53"/>
                </a:lnTo>
                <a:lnTo>
                  <a:pt x="51" y="52"/>
                </a:lnTo>
                <a:lnTo>
                  <a:pt x="51" y="51"/>
                </a:lnTo>
                <a:lnTo>
                  <a:pt x="50" y="50"/>
                </a:lnTo>
                <a:lnTo>
                  <a:pt x="49" y="46"/>
                </a:lnTo>
                <a:lnTo>
                  <a:pt x="49" y="46"/>
                </a:lnTo>
                <a:lnTo>
                  <a:pt x="48" y="46"/>
                </a:lnTo>
                <a:lnTo>
                  <a:pt x="47" y="45"/>
                </a:lnTo>
                <a:lnTo>
                  <a:pt x="47" y="44"/>
                </a:lnTo>
                <a:lnTo>
                  <a:pt x="46" y="43"/>
                </a:lnTo>
                <a:lnTo>
                  <a:pt x="46" y="42"/>
                </a:lnTo>
                <a:lnTo>
                  <a:pt x="45" y="40"/>
                </a:lnTo>
                <a:lnTo>
                  <a:pt x="43" y="39"/>
                </a:lnTo>
                <a:lnTo>
                  <a:pt x="41" y="33"/>
                </a:lnTo>
                <a:lnTo>
                  <a:pt x="41" y="30"/>
                </a:lnTo>
                <a:lnTo>
                  <a:pt x="40" y="28"/>
                </a:lnTo>
                <a:lnTo>
                  <a:pt x="39" y="22"/>
                </a:lnTo>
                <a:lnTo>
                  <a:pt x="38" y="21"/>
                </a:lnTo>
                <a:lnTo>
                  <a:pt x="37" y="17"/>
                </a:lnTo>
                <a:lnTo>
                  <a:pt x="37" y="12"/>
                </a:lnTo>
                <a:lnTo>
                  <a:pt x="36" y="10"/>
                </a:lnTo>
                <a:lnTo>
                  <a:pt x="35" y="7"/>
                </a:lnTo>
                <a:lnTo>
                  <a:pt x="34" y="5"/>
                </a:lnTo>
                <a:lnTo>
                  <a:pt x="33" y="3"/>
                </a:lnTo>
                <a:lnTo>
                  <a:pt x="31" y="1"/>
                </a:lnTo>
                <a:lnTo>
                  <a:pt x="30" y="0"/>
                </a:lnTo>
                <a:lnTo>
                  <a:pt x="29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43" name="Freeform 242"/>
          <p:cNvSpPr>
            <a:spLocks/>
          </p:cNvSpPr>
          <p:nvPr/>
        </p:nvSpPr>
        <p:spPr bwMode="auto">
          <a:xfrm>
            <a:off x="5091113" y="3644866"/>
            <a:ext cx="42862" cy="58738"/>
          </a:xfrm>
          <a:custGeom>
            <a:avLst/>
            <a:gdLst>
              <a:gd name="T0" fmla="*/ 25 w 27"/>
              <a:gd name="T1" fmla="*/ 1 h 37"/>
              <a:gd name="T2" fmla="*/ 24 w 27"/>
              <a:gd name="T3" fmla="*/ 0 h 37"/>
              <a:gd name="T4" fmla="*/ 23 w 27"/>
              <a:gd name="T5" fmla="*/ 0 h 37"/>
              <a:gd name="T6" fmla="*/ 23 w 27"/>
              <a:gd name="T7" fmla="*/ 0 h 37"/>
              <a:gd name="T8" fmla="*/ 22 w 27"/>
              <a:gd name="T9" fmla="*/ 0 h 37"/>
              <a:gd name="T10" fmla="*/ 17 w 27"/>
              <a:gd name="T11" fmla="*/ 1 h 37"/>
              <a:gd name="T12" fmla="*/ 15 w 27"/>
              <a:gd name="T13" fmla="*/ 1 h 37"/>
              <a:gd name="T14" fmla="*/ 14 w 27"/>
              <a:gd name="T15" fmla="*/ 2 h 37"/>
              <a:gd name="T16" fmla="*/ 14 w 27"/>
              <a:gd name="T17" fmla="*/ 3 h 37"/>
              <a:gd name="T18" fmla="*/ 14 w 27"/>
              <a:gd name="T19" fmla="*/ 5 h 37"/>
              <a:gd name="T20" fmla="*/ 13 w 27"/>
              <a:gd name="T21" fmla="*/ 6 h 37"/>
              <a:gd name="T22" fmla="*/ 10 w 27"/>
              <a:gd name="T23" fmla="*/ 6 h 37"/>
              <a:gd name="T24" fmla="*/ 8 w 27"/>
              <a:gd name="T25" fmla="*/ 7 h 37"/>
              <a:gd name="T26" fmla="*/ 7 w 27"/>
              <a:gd name="T27" fmla="*/ 7 h 37"/>
              <a:gd name="T28" fmla="*/ 6 w 27"/>
              <a:gd name="T29" fmla="*/ 7 h 37"/>
              <a:gd name="T30" fmla="*/ 5 w 27"/>
              <a:gd name="T31" fmla="*/ 5 h 37"/>
              <a:gd name="T32" fmla="*/ 4 w 27"/>
              <a:gd name="T33" fmla="*/ 3 h 37"/>
              <a:gd name="T34" fmla="*/ 4 w 27"/>
              <a:gd name="T35" fmla="*/ 3 h 37"/>
              <a:gd name="T36" fmla="*/ 2 w 27"/>
              <a:gd name="T37" fmla="*/ 3 h 37"/>
              <a:gd name="T38" fmla="*/ 0 w 27"/>
              <a:gd name="T39" fmla="*/ 4 h 37"/>
              <a:gd name="T40" fmla="*/ 0 w 27"/>
              <a:gd name="T41" fmla="*/ 6 h 37"/>
              <a:gd name="T42" fmla="*/ 0 w 27"/>
              <a:gd name="T43" fmla="*/ 6 h 37"/>
              <a:gd name="T44" fmla="*/ 2 w 27"/>
              <a:gd name="T45" fmla="*/ 8 h 37"/>
              <a:gd name="T46" fmla="*/ 3 w 27"/>
              <a:gd name="T47" fmla="*/ 11 h 37"/>
              <a:gd name="T48" fmla="*/ 3 w 27"/>
              <a:gd name="T49" fmla="*/ 18 h 37"/>
              <a:gd name="T50" fmla="*/ 4 w 27"/>
              <a:gd name="T51" fmla="*/ 20 h 37"/>
              <a:gd name="T52" fmla="*/ 5 w 27"/>
              <a:gd name="T53" fmla="*/ 23 h 37"/>
              <a:gd name="T54" fmla="*/ 5 w 27"/>
              <a:gd name="T55" fmla="*/ 26 h 37"/>
              <a:gd name="T56" fmla="*/ 5 w 27"/>
              <a:gd name="T57" fmla="*/ 30 h 37"/>
              <a:gd name="T58" fmla="*/ 5 w 27"/>
              <a:gd name="T59" fmla="*/ 33 h 37"/>
              <a:gd name="T60" fmla="*/ 7 w 27"/>
              <a:gd name="T61" fmla="*/ 35 h 37"/>
              <a:gd name="T62" fmla="*/ 8 w 27"/>
              <a:gd name="T63" fmla="*/ 37 h 37"/>
              <a:gd name="T64" fmla="*/ 9 w 27"/>
              <a:gd name="T65" fmla="*/ 37 h 37"/>
              <a:gd name="T66" fmla="*/ 13 w 27"/>
              <a:gd name="T67" fmla="*/ 36 h 37"/>
              <a:gd name="T68" fmla="*/ 17 w 27"/>
              <a:gd name="T69" fmla="*/ 34 h 37"/>
              <a:gd name="T70" fmla="*/ 20 w 27"/>
              <a:gd name="T71" fmla="*/ 28 h 37"/>
              <a:gd name="T72" fmla="*/ 22 w 27"/>
              <a:gd name="T73" fmla="*/ 26 h 37"/>
              <a:gd name="T74" fmla="*/ 23 w 27"/>
              <a:gd name="T75" fmla="*/ 22 h 37"/>
              <a:gd name="T76" fmla="*/ 26 w 27"/>
              <a:gd name="T77" fmla="*/ 17 h 37"/>
              <a:gd name="T78" fmla="*/ 27 w 27"/>
              <a:gd name="T79" fmla="*/ 15 h 37"/>
              <a:gd name="T80" fmla="*/ 27 w 27"/>
              <a:gd name="T81" fmla="*/ 13 h 37"/>
              <a:gd name="T82" fmla="*/ 27 w 27"/>
              <a:gd name="T83" fmla="*/ 11 h 37"/>
              <a:gd name="T84" fmla="*/ 26 w 27"/>
              <a:gd name="T85" fmla="*/ 10 h 37"/>
              <a:gd name="T86" fmla="*/ 24 w 27"/>
              <a:gd name="T87" fmla="*/ 10 h 37"/>
              <a:gd name="T88" fmla="*/ 23 w 27"/>
              <a:gd name="T89" fmla="*/ 7 h 37"/>
              <a:gd name="T90" fmla="*/ 23 w 27"/>
              <a:gd name="T91" fmla="*/ 6 h 37"/>
              <a:gd name="T92" fmla="*/ 23 w 27"/>
              <a:gd name="T93" fmla="*/ 5 h 37"/>
              <a:gd name="T94" fmla="*/ 23 w 27"/>
              <a:gd name="T95" fmla="*/ 3 h 37"/>
              <a:gd name="T96" fmla="*/ 25 w 27"/>
              <a:gd name="T97" fmla="*/ 1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7" h="37">
                <a:moveTo>
                  <a:pt x="25" y="1"/>
                </a:moveTo>
                <a:lnTo>
                  <a:pt x="24" y="0"/>
                </a:lnTo>
                <a:lnTo>
                  <a:pt x="23" y="0"/>
                </a:lnTo>
                <a:lnTo>
                  <a:pt x="23" y="0"/>
                </a:lnTo>
                <a:lnTo>
                  <a:pt x="22" y="0"/>
                </a:lnTo>
                <a:lnTo>
                  <a:pt x="17" y="1"/>
                </a:lnTo>
                <a:lnTo>
                  <a:pt x="15" y="1"/>
                </a:lnTo>
                <a:lnTo>
                  <a:pt x="14" y="2"/>
                </a:lnTo>
                <a:lnTo>
                  <a:pt x="14" y="3"/>
                </a:lnTo>
                <a:lnTo>
                  <a:pt x="14" y="5"/>
                </a:lnTo>
                <a:lnTo>
                  <a:pt x="13" y="6"/>
                </a:lnTo>
                <a:lnTo>
                  <a:pt x="10" y="6"/>
                </a:lnTo>
                <a:lnTo>
                  <a:pt x="8" y="7"/>
                </a:lnTo>
                <a:lnTo>
                  <a:pt x="7" y="7"/>
                </a:lnTo>
                <a:lnTo>
                  <a:pt x="6" y="7"/>
                </a:lnTo>
                <a:lnTo>
                  <a:pt x="5" y="5"/>
                </a:lnTo>
                <a:lnTo>
                  <a:pt x="4" y="3"/>
                </a:lnTo>
                <a:lnTo>
                  <a:pt x="4" y="3"/>
                </a:lnTo>
                <a:lnTo>
                  <a:pt x="2" y="3"/>
                </a:lnTo>
                <a:lnTo>
                  <a:pt x="0" y="4"/>
                </a:lnTo>
                <a:lnTo>
                  <a:pt x="0" y="6"/>
                </a:lnTo>
                <a:lnTo>
                  <a:pt x="0" y="6"/>
                </a:lnTo>
                <a:lnTo>
                  <a:pt x="2" y="8"/>
                </a:lnTo>
                <a:lnTo>
                  <a:pt x="3" y="11"/>
                </a:lnTo>
                <a:lnTo>
                  <a:pt x="3" y="18"/>
                </a:lnTo>
                <a:lnTo>
                  <a:pt x="4" y="20"/>
                </a:lnTo>
                <a:lnTo>
                  <a:pt x="5" y="23"/>
                </a:lnTo>
                <a:lnTo>
                  <a:pt x="5" y="26"/>
                </a:lnTo>
                <a:lnTo>
                  <a:pt x="5" y="30"/>
                </a:lnTo>
                <a:lnTo>
                  <a:pt x="5" y="33"/>
                </a:lnTo>
                <a:lnTo>
                  <a:pt x="7" y="35"/>
                </a:lnTo>
                <a:lnTo>
                  <a:pt x="8" y="37"/>
                </a:lnTo>
                <a:lnTo>
                  <a:pt x="9" y="37"/>
                </a:lnTo>
                <a:lnTo>
                  <a:pt x="13" y="36"/>
                </a:lnTo>
                <a:lnTo>
                  <a:pt x="17" y="34"/>
                </a:lnTo>
                <a:lnTo>
                  <a:pt x="20" y="28"/>
                </a:lnTo>
                <a:lnTo>
                  <a:pt x="22" y="26"/>
                </a:lnTo>
                <a:lnTo>
                  <a:pt x="23" y="22"/>
                </a:lnTo>
                <a:lnTo>
                  <a:pt x="26" y="17"/>
                </a:lnTo>
                <a:lnTo>
                  <a:pt x="27" y="15"/>
                </a:lnTo>
                <a:lnTo>
                  <a:pt x="27" y="13"/>
                </a:lnTo>
                <a:lnTo>
                  <a:pt x="27" y="11"/>
                </a:lnTo>
                <a:lnTo>
                  <a:pt x="26" y="10"/>
                </a:lnTo>
                <a:lnTo>
                  <a:pt x="24" y="10"/>
                </a:lnTo>
                <a:lnTo>
                  <a:pt x="23" y="7"/>
                </a:lnTo>
                <a:lnTo>
                  <a:pt x="23" y="6"/>
                </a:lnTo>
                <a:lnTo>
                  <a:pt x="23" y="5"/>
                </a:lnTo>
                <a:lnTo>
                  <a:pt x="23" y="3"/>
                </a:lnTo>
                <a:lnTo>
                  <a:pt x="25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44" name="Freeform 243"/>
          <p:cNvSpPr>
            <a:spLocks/>
          </p:cNvSpPr>
          <p:nvPr/>
        </p:nvSpPr>
        <p:spPr bwMode="auto">
          <a:xfrm>
            <a:off x="5091113" y="3644866"/>
            <a:ext cx="42862" cy="58738"/>
          </a:xfrm>
          <a:custGeom>
            <a:avLst/>
            <a:gdLst>
              <a:gd name="T0" fmla="*/ 25 w 27"/>
              <a:gd name="T1" fmla="*/ 1 h 37"/>
              <a:gd name="T2" fmla="*/ 24 w 27"/>
              <a:gd name="T3" fmla="*/ 0 h 37"/>
              <a:gd name="T4" fmla="*/ 23 w 27"/>
              <a:gd name="T5" fmla="*/ 0 h 37"/>
              <a:gd name="T6" fmla="*/ 23 w 27"/>
              <a:gd name="T7" fmla="*/ 0 h 37"/>
              <a:gd name="T8" fmla="*/ 22 w 27"/>
              <a:gd name="T9" fmla="*/ 0 h 37"/>
              <a:gd name="T10" fmla="*/ 17 w 27"/>
              <a:gd name="T11" fmla="*/ 1 h 37"/>
              <a:gd name="T12" fmla="*/ 15 w 27"/>
              <a:gd name="T13" fmla="*/ 1 h 37"/>
              <a:gd name="T14" fmla="*/ 14 w 27"/>
              <a:gd name="T15" fmla="*/ 2 h 37"/>
              <a:gd name="T16" fmla="*/ 14 w 27"/>
              <a:gd name="T17" fmla="*/ 3 h 37"/>
              <a:gd name="T18" fmla="*/ 14 w 27"/>
              <a:gd name="T19" fmla="*/ 5 h 37"/>
              <a:gd name="T20" fmla="*/ 13 w 27"/>
              <a:gd name="T21" fmla="*/ 6 h 37"/>
              <a:gd name="T22" fmla="*/ 10 w 27"/>
              <a:gd name="T23" fmla="*/ 6 h 37"/>
              <a:gd name="T24" fmla="*/ 8 w 27"/>
              <a:gd name="T25" fmla="*/ 7 h 37"/>
              <a:gd name="T26" fmla="*/ 7 w 27"/>
              <a:gd name="T27" fmla="*/ 7 h 37"/>
              <a:gd name="T28" fmla="*/ 6 w 27"/>
              <a:gd name="T29" fmla="*/ 7 h 37"/>
              <a:gd name="T30" fmla="*/ 5 w 27"/>
              <a:gd name="T31" fmla="*/ 5 h 37"/>
              <a:gd name="T32" fmla="*/ 4 w 27"/>
              <a:gd name="T33" fmla="*/ 3 h 37"/>
              <a:gd name="T34" fmla="*/ 4 w 27"/>
              <a:gd name="T35" fmla="*/ 3 h 37"/>
              <a:gd name="T36" fmla="*/ 2 w 27"/>
              <a:gd name="T37" fmla="*/ 3 h 37"/>
              <a:gd name="T38" fmla="*/ 0 w 27"/>
              <a:gd name="T39" fmla="*/ 4 h 37"/>
              <a:gd name="T40" fmla="*/ 0 w 27"/>
              <a:gd name="T41" fmla="*/ 6 h 37"/>
              <a:gd name="T42" fmla="*/ 0 w 27"/>
              <a:gd name="T43" fmla="*/ 6 h 37"/>
              <a:gd name="T44" fmla="*/ 2 w 27"/>
              <a:gd name="T45" fmla="*/ 8 h 37"/>
              <a:gd name="T46" fmla="*/ 3 w 27"/>
              <a:gd name="T47" fmla="*/ 11 h 37"/>
              <a:gd name="T48" fmla="*/ 3 w 27"/>
              <a:gd name="T49" fmla="*/ 18 h 37"/>
              <a:gd name="T50" fmla="*/ 4 w 27"/>
              <a:gd name="T51" fmla="*/ 20 h 37"/>
              <a:gd name="T52" fmla="*/ 5 w 27"/>
              <a:gd name="T53" fmla="*/ 23 h 37"/>
              <a:gd name="T54" fmla="*/ 5 w 27"/>
              <a:gd name="T55" fmla="*/ 26 h 37"/>
              <a:gd name="T56" fmla="*/ 5 w 27"/>
              <a:gd name="T57" fmla="*/ 30 h 37"/>
              <a:gd name="T58" fmla="*/ 5 w 27"/>
              <a:gd name="T59" fmla="*/ 33 h 37"/>
              <a:gd name="T60" fmla="*/ 7 w 27"/>
              <a:gd name="T61" fmla="*/ 35 h 37"/>
              <a:gd name="T62" fmla="*/ 8 w 27"/>
              <a:gd name="T63" fmla="*/ 37 h 37"/>
              <a:gd name="T64" fmla="*/ 9 w 27"/>
              <a:gd name="T65" fmla="*/ 37 h 37"/>
              <a:gd name="T66" fmla="*/ 13 w 27"/>
              <a:gd name="T67" fmla="*/ 36 h 37"/>
              <a:gd name="T68" fmla="*/ 17 w 27"/>
              <a:gd name="T69" fmla="*/ 34 h 37"/>
              <a:gd name="T70" fmla="*/ 20 w 27"/>
              <a:gd name="T71" fmla="*/ 28 h 37"/>
              <a:gd name="T72" fmla="*/ 22 w 27"/>
              <a:gd name="T73" fmla="*/ 26 h 37"/>
              <a:gd name="T74" fmla="*/ 23 w 27"/>
              <a:gd name="T75" fmla="*/ 22 h 37"/>
              <a:gd name="T76" fmla="*/ 26 w 27"/>
              <a:gd name="T77" fmla="*/ 17 h 37"/>
              <a:gd name="T78" fmla="*/ 27 w 27"/>
              <a:gd name="T79" fmla="*/ 15 h 37"/>
              <a:gd name="T80" fmla="*/ 27 w 27"/>
              <a:gd name="T81" fmla="*/ 13 h 37"/>
              <a:gd name="T82" fmla="*/ 27 w 27"/>
              <a:gd name="T83" fmla="*/ 11 h 37"/>
              <a:gd name="T84" fmla="*/ 26 w 27"/>
              <a:gd name="T85" fmla="*/ 10 h 37"/>
              <a:gd name="T86" fmla="*/ 24 w 27"/>
              <a:gd name="T87" fmla="*/ 10 h 37"/>
              <a:gd name="T88" fmla="*/ 23 w 27"/>
              <a:gd name="T89" fmla="*/ 7 h 37"/>
              <a:gd name="T90" fmla="*/ 23 w 27"/>
              <a:gd name="T91" fmla="*/ 6 h 37"/>
              <a:gd name="T92" fmla="*/ 23 w 27"/>
              <a:gd name="T93" fmla="*/ 5 h 37"/>
              <a:gd name="T94" fmla="*/ 23 w 27"/>
              <a:gd name="T95" fmla="*/ 3 h 37"/>
              <a:gd name="T96" fmla="*/ 25 w 27"/>
              <a:gd name="T97" fmla="*/ 1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7" h="37">
                <a:moveTo>
                  <a:pt x="25" y="1"/>
                </a:moveTo>
                <a:lnTo>
                  <a:pt x="24" y="0"/>
                </a:lnTo>
                <a:lnTo>
                  <a:pt x="23" y="0"/>
                </a:lnTo>
                <a:lnTo>
                  <a:pt x="23" y="0"/>
                </a:lnTo>
                <a:lnTo>
                  <a:pt x="22" y="0"/>
                </a:lnTo>
                <a:lnTo>
                  <a:pt x="17" y="1"/>
                </a:lnTo>
                <a:lnTo>
                  <a:pt x="15" y="1"/>
                </a:lnTo>
                <a:lnTo>
                  <a:pt x="14" y="2"/>
                </a:lnTo>
                <a:lnTo>
                  <a:pt x="14" y="3"/>
                </a:lnTo>
                <a:lnTo>
                  <a:pt x="14" y="5"/>
                </a:lnTo>
                <a:lnTo>
                  <a:pt x="13" y="6"/>
                </a:lnTo>
                <a:lnTo>
                  <a:pt x="10" y="6"/>
                </a:lnTo>
                <a:lnTo>
                  <a:pt x="8" y="7"/>
                </a:lnTo>
                <a:lnTo>
                  <a:pt x="7" y="7"/>
                </a:lnTo>
                <a:lnTo>
                  <a:pt x="6" y="7"/>
                </a:lnTo>
                <a:lnTo>
                  <a:pt x="5" y="5"/>
                </a:lnTo>
                <a:lnTo>
                  <a:pt x="4" y="3"/>
                </a:lnTo>
                <a:lnTo>
                  <a:pt x="4" y="3"/>
                </a:lnTo>
                <a:lnTo>
                  <a:pt x="2" y="3"/>
                </a:lnTo>
                <a:lnTo>
                  <a:pt x="0" y="4"/>
                </a:lnTo>
                <a:lnTo>
                  <a:pt x="0" y="6"/>
                </a:lnTo>
                <a:lnTo>
                  <a:pt x="0" y="6"/>
                </a:lnTo>
                <a:lnTo>
                  <a:pt x="2" y="8"/>
                </a:lnTo>
                <a:lnTo>
                  <a:pt x="3" y="11"/>
                </a:lnTo>
                <a:lnTo>
                  <a:pt x="3" y="18"/>
                </a:lnTo>
                <a:lnTo>
                  <a:pt x="4" y="20"/>
                </a:lnTo>
                <a:lnTo>
                  <a:pt x="5" y="23"/>
                </a:lnTo>
                <a:lnTo>
                  <a:pt x="5" y="26"/>
                </a:lnTo>
                <a:lnTo>
                  <a:pt x="5" y="30"/>
                </a:lnTo>
                <a:lnTo>
                  <a:pt x="5" y="33"/>
                </a:lnTo>
                <a:lnTo>
                  <a:pt x="7" y="35"/>
                </a:lnTo>
                <a:lnTo>
                  <a:pt x="8" y="37"/>
                </a:lnTo>
                <a:lnTo>
                  <a:pt x="9" y="37"/>
                </a:lnTo>
                <a:lnTo>
                  <a:pt x="13" y="36"/>
                </a:lnTo>
                <a:lnTo>
                  <a:pt x="17" y="34"/>
                </a:lnTo>
                <a:lnTo>
                  <a:pt x="20" y="28"/>
                </a:lnTo>
                <a:lnTo>
                  <a:pt x="22" y="26"/>
                </a:lnTo>
                <a:lnTo>
                  <a:pt x="23" y="22"/>
                </a:lnTo>
                <a:lnTo>
                  <a:pt x="26" y="17"/>
                </a:lnTo>
                <a:lnTo>
                  <a:pt x="27" y="15"/>
                </a:lnTo>
                <a:lnTo>
                  <a:pt x="27" y="13"/>
                </a:lnTo>
                <a:lnTo>
                  <a:pt x="27" y="11"/>
                </a:lnTo>
                <a:lnTo>
                  <a:pt x="26" y="10"/>
                </a:lnTo>
                <a:lnTo>
                  <a:pt x="24" y="10"/>
                </a:lnTo>
                <a:lnTo>
                  <a:pt x="23" y="7"/>
                </a:lnTo>
                <a:lnTo>
                  <a:pt x="23" y="6"/>
                </a:lnTo>
                <a:lnTo>
                  <a:pt x="23" y="5"/>
                </a:lnTo>
                <a:lnTo>
                  <a:pt x="23" y="3"/>
                </a:lnTo>
                <a:lnTo>
                  <a:pt x="25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45" name="Freeform 244"/>
          <p:cNvSpPr>
            <a:spLocks/>
          </p:cNvSpPr>
          <p:nvPr/>
        </p:nvSpPr>
        <p:spPr bwMode="auto">
          <a:xfrm>
            <a:off x="5176838" y="3848066"/>
            <a:ext cx="79375" cy="222250"/>
          </a:xfrm>
          <a:custGeom>
            <a:avLst/>
            <a:gdLst>
              <a:gd name="T0" fmla="*/ 20 w 50"/>
              <a:gd name="T1" fmla="*/ 5 h 140"/>
              <a:gd name="T2" fmla="*/ 14 w 50"/>
              <a:gd name="T3" fmla="*/ 5 h 140"/>
              <a:gd name="T4" fmla="*/ 10 w 50"/>
              <a:gd name="T5" fmla="*/ 3 h 140"/>
              <a:gd name="T6" fmla="*/ 5 w 50"/>
              <a:gd name="T7" fmla="*/ 3 h 140"/>
              <a:gd name="T8" fmla="*/ 10 w 50"/>
              <a:gd name="T9" fmla="*/ 6 h 140"/>
              <a:gd name="T10" fmla="*/ 12 w 50"/>
              <a:gd name="T11" fmla="*/ 14 h 140"/>
              <a:gd name="T12" fmla="*/ 16 w 50"/>
              <a:gd name="T13" fmla="*/ 23 h 140"/>
              <a:gd name="T14" fmla="*/ 14 w 50"/>
              <a:gd name="T15" fmla="*/ 27 h 140"/>
              <a:gd name="T16" fmla="*/ 11 w 50"/>
              <a:gd name="T17" fmla="*/ 31 h 140"/>
              <a:gd name="T18" fmla="*/ 10 w 50"/>
              <a:gd name="T19" fmla="*/ 43 h 140"/>
              <a:gd name="T20" fmla="*/ 10 w 50"/>
              <a:gd name="T21" fmla="*/ 53 h 140"/>
              <a:gd name="T22" fmla="*/ 12 w 50"/>
              <a:gd name="T23" fmla="*/ 57 h 140"/>
              <a:gd name="T24" fmla="*/ 7 w 50"/>
              <a:gd name="T25" fmla="*/ 59 h 140"/>
              <a:gd name="T26" fmla="*/ 4 w 50"/>
              <a:gd name="T27" fmla="*/ 65 h 140"/>
              <a:gd name="T28" fmla="*/ 0 w 50"/>
              <a:gd name="T29" fmla="*/ 77 h 140"/>
              <a:gd name="T30" fmla="*/ 2 w 50"/>
              <a:gd name="T31" fmla="*/ 81 h 140"/>
              <a:gd name="T32" fmla="*/ 6 w 50"/>
              <a:gd name="T33" fmla="*/ 85 h 140"/>
              <a:gd name="T34" fmla="*/ 7 w 50"/>
              <a:gd name="T35" fmla="*/ 87 h 140"/>
              <a:gd name="T36" fmla="*/ 14 w 50"/>
              <a:gd name="T37" fmla="*/ 95 h 140"/>
              <a:gd name="T38" fmla="*/ 26 w 50"/>
              <a:gd name="T39" fmla="*/ 94 h 140"/>
              <a:gd name="T40" fmla="*/ 29 w 50"/>
              <a:gd name="T41" fmla="*/ 101 h 140"/>
              <a:gd name="T42" fmla="*/ 25 w 50"/>
              <a:gd name="T43" fmla="*/ 112 h 140"/>
              <a:gd name="T44" fmla="*/ 23 w 50"/>
              <a:gd name="T45" fmla="*/ 119 h 140"/>
              <a:gd name="T46" fmla="*/ 26 w 50"/>
              <a:gd name="T47" fmla="*/ 127 h 140"/>
              <a:gd name="T48" fmla="*/ 30 w 50"/>
              <a:gd name="T49" fmla="*/ 131 h 140"/>
              <a:gd name="T50" fmla="*/ 34 w 50"/>
              <a:gd name="T51" fmla="*/ 135 h 140"/>
              <a:gd name="T52" fmla="*/ 34 w 50"/>
              <a:gd name="T53" fmla="*/ 140 h 140"/>
              <a:gd name="T54" fmla="*/ 39 w 50"/>
              <a:gd name="T55" fmla="*/ 140 h 140"/>
              <a:gd name="T56" fmla="*/ 37 w 50"/>
              <a:gd name="T57" fmla="*/ 134 h 140"/>
              <a:gd name="T58" fmla="*/ 39 w 50"/>
              <a:gd name="T59" fmla="*/ 128 h 140"/>
              <a:gd name="T60" fmla="*/ 42 w 50"/>
              <a:gd name="T61" fmla="*/ 124 h 140"/>
              <a:gd name="T62" fmla="*/ 46 w 50"/>
              <a:gd name="T63" fmla="*/ 120 h 140"/>
              <a:gd name="T64" fmla="*/ 47 w 50"/>
              <a:gd name="T65" fmla="*/ 106 h 140"/>
              <a:gd name="T66" fmla="*/ 49 w 50"/>
              <a:gd name="T67" fmla="*/ 97 h 140"/>
              <a:gd name="T68" fmla="*/ 42 w 50"/>
              <a:gd name="T69" fmla="*/ 87 h 140"/>
              <a:gd name="T70" fmla="*/ 33 w 50"/>
              <a:gd name="T71" fmla="*/ 76 h 140"/>
              <a:gd name="T72" fmla="*/ 33 w 50"/>
              <a:gd name="T73" fmla="*/ 79 h 140"/>
              <a:gd name="T74" fmla="*/ 36 w 50"/>
              <a:gd name="T75" fmla="*/ 81 h 140"/>
              <a:gd name="T76" fmla="*/ 37 w 50"/>
              <a:gd name="T77" fmla="*/ 92 h 140"/>
              <a:gd name="T78" fmla="*/ 34 w 50"/>
              <a:gd name="T79" fmla="*/ 88 h 140"/>
              <a:gd name="T80" fmla="*/ 33 w 50"/>
              <a:gd name="T81" fmla="*/ 86 h 140"/>
              <a:gd name="T82" fmla="*/ 30 w 50"/>
              <a:gd name="T83" fmla="*/ 89 h 140"/>
              <a:gd name="T84" fmla="*/ 27 w 50"/>
              <a:gd name="T85" fmla="*/ 86 h 140"/>
              <a:gd name="T86" fmla="*/ 29 w 50"/>
              <a:gd name="T87" fmla="*/ 80 h 140"/>
              <a:gd name="T88" fmla="*/ 25 w 50"/>
              <a:gd name="T89" fmla="*/ 76 h 140"/>
              <a:gd name="T90" fmla="*/ 25 w 50"/>
              <a:gd name="T91" fmla="*/ 68 h 140"/>
              <a:gd name="T92" fmla="*/ 20 w 50"/>
              <a:gd name="T93" fmla="*/ 53 h 140"/>
              <a:gd name="T94" fmla="*/ 23 w 50"/>
              <a:gd name="T95" fmla="*/ 46 h 140"/>
              <a:gd name="T96" fmla="*/ 24 w 50"/>
              <a:gd name="T97" fmla="*/ 24 h 140"/>
              <a:gd name="T98" fmla="*/ 24 w 50"/>
              <a:gd name="T99" fmla="*/ 17 h 140"/>
              <a:gd name="T100" fmla="*/ 20 w 50"/>
              <a:gd name="T101" fmla="*/ 10 h 140"/>
              <a:gd name="T102" fmla="*/ 22 w 50"/>
              <a:gd name="T103" fmla="*/ 4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0" h="140">
                <a:moveTo>
                  <a:pt x="21" y="6"/>
                </a:moveTo>
                <a:lnTo>
                  <a:pt x="20" y="5"/>
                </a:lnTo>
                <a:lnTo>
                  <a:pt x="20" y="5"/>
                </a:lnTo>
                <a:lnTo>
                  <a:pt x="19" y="4"/>
                </a:lnTo>
                <a:lnTo>
                  <a:pt x="17" y="4"/>
                </a:lnTo>
                <a:lnTo>
                  <a:pt x="14" y="5"/>
                </a:lnTo>
                <a:lnTo>
                  <a:pt x="13" y="5"/>
                </a:lnTo>
                <a:lnTo>
                  <a:pt x="12" y="3"/>
                </a:lnTo>
                <a:lnTo>
                  <a:pt x="10" y="3"/>
                </a:lnTo>
                <a:lnTo>
                  <a:pt x="6" y="0"/>
                </a:lnTo>
                <a:lnTo>
                  <a:pt x="5" y="1"/>
                </a:lnTo>
                <a:lnTo>
                  <a:pt x="5" y="3"/>
                </a:lnTo>
                <a:lnTo>
                  <a:pt x="6" y="4"/>
                </a:lnTo>
                <a:lnTo>
                  <a:pt x="6" y="6"/>
                </a:lnTo>
                <a:lnTo>
                  <a:pt x="10" y="6"/>
                </a:lnTo>
                <a:lnTo>
                  <a:pt x="11" y="8"/>
                </a:lnTo>
                <a:lnTo>
                  <a:pt x="12" y="10"/>
                </a:lnTo>
                <a:lnTo>
                  <a:pt x="12" y="14"/>
                </a:lnTo>
                <a:lnTo>
                  <a:pt x="14" y="15"/>
                </a:lnTo>
                <a:lnTo>
                  <a:pt x="15" y="21"/>
                </a:lnTo>
                <a:lnTo>
                  <a:pt x="16" y="23"/>
                </a:lnTo>
                <a:lnTo>
                  <a:pt x="16" y="24"/>
                </a:lnTo>
                <a:lnTo>
                  <a:pt x="16" y="25"/>
                </a:lnTo>
                <a:lnTo>
                  <a:pt x="14" y="27"/>
                </a:lnTo>
                <a:lnTo>
                  <a:pt x="13" y="27"/>
                </a:lnTo>
                <a:lnTo>
                  <a:pt x="12" y="28"/>
                </a:lnTo>
                <a:lnTo>
                  <a:pt x="11" y="31"/>
                </a:lnTo>
                <a:lnTo>
                  <a:pt x="12" y="34"/>
                </a:lnTo>
                <a:lnTo>
                  <a:pt x="10" y="39"/>
                </a:lnTo>
                <a:lnTo>
                  <a:pt x="10" y="43"/>
                </a:lnTo>
                <a:lnTo>
                  <a:pt x="10" y="47"/>
                </a:lnTo>
                <a:lnTo>
                  <a:pt x="10" y="51"/>
                </a:lnTo>
                <a:lnTo>
                  <a:pt x="10" y="53"/>
                </a:lnTo>
                <a:lnTo>
                  <a:pt x="11" y="54"/>
                </a:lnTo>
                <a:lnTo>
                  <a:pt x="12" y="55"/>
                </a:lnTo>
                <a:lnTo>
                  <a:pt x="12" y="57"/>
                </a:lnTo>
                <a:lnTo>
                  <a:pt x="12" y="58"/>
                </a:lnTo>
                <a:lnTo>
                  <a:pt x="9" y="58"/>
                </a:lnTo>
                <a:lnTo>
                  <a:pt x="7" y="59"/>
                </a:lnTo>
                <a:lnTo>
                  <a:pt x="5" y="60"/>
                </a:lnTo>
                <a:lnTo>
                  <a:pt x="5" y="60"/>
                </a:lnTo>
                <a:lnTo>
                  <a:pt x="4" y="65"/>
                </a:lnTo>
                <a:lnTo>
                  <a:pt x="4" y="70"/>
                </a:lnTo>
                <a:lnTo>
                  <a:pt x="2" y="75"/>
                </a:lnTo>
                <a:lnTo>
                  <a:pt x="0" y="77"/>
                </a:lnTo>
                <a:lnTo>
                  <a:pt x="0" y="78"/>
                </a:lnTo>
                <a:lnTo>
                  <a:pt x="1" y="81"/>
                </a:lnTo>
                <a:lnTo>
                  <a:pt x="2" y="81"/>
                </a:lnTo>
                <a:lnTo>
                  <a:pt x="3" y="84"/>
                </a:lnTo>
                <a:lnTo>
                  <a:pt x="5" y="84"/>
                </a:lnTo>
                <a:lnTo>
                  <a:pt x="6" y="85"/>
                </a:lnTo>
                <a:lnTo>
                  <a:pt x="6" y="85"/>
                </a:lnTo>
                <a:lnTo>
                  <a:pt x="6" y="86"/>
                </a:lnTo>
                <a:lnTo>
                  <a:pt x="7" y="87"/>
                </a:lnTo>
                <a:lnTo>
                  <a:pt x="10" y="91"/>
                </a:lnTo>
                <a:lnTo>
                  <a:pt x="13" y="95"/>
                </a:lnTo>
                <a:lnTo>
                  <a:pt x="14" y="95"/>
                </a:lnTo>
                <a:lnTo>
                  <a:pt x="16" y="94"/>
                </a:lnTo>
                <a:lnTo>
                  <a:pt x="25" y="92"/>
                </a:lnTo>
                <a:lnTo>
                  <a:pt x="26" y="94"/>
                </a:lnTo>
                <a:lnTo>
                  <a:pt x="27" y="95"/>
                </a:lnTo>
                <a:lnTo>
                  <a:pt x="27" y="99"/>
                </a:lnTo>
                <a:lnTo>
                  <a:pt x="29" y="101"/>
                </a:lnTo>
                <a:lnTo>
                  <a:pt x="29" y="107"/>
                </a:lnTo>
                <a:lnTo>
                  <a:pt x="27" y="109"/>
                </a:lnTo>
                <a:lnTo>
                  <a:pt x="25" y="112"/>
                </a:lnTo>
                <a:lnTo>
                  <a:pt x="25" y="115"/>
                </a:lnTo>
                <a:lnTo>
                  <a:pt x="24" y="116"/>
                </a:lnTo>
                <a:lnTo>
                  <a:pt x="23" y="119"/>
                </a:lnTo>
                <a:lnTo>
                  <a:pt x="24" y="120"/>
                </a:lnTo>
                <a:lnTo>
                  <a:pt x="25" y="126"/>
                </a:lnTo>
                <a:lnTo>
                  <a:pt x="26" y="127"/>
                </a:lnTo>
                <a:lnTo>
                  <a:pt x="26" y="127"/>
                </a:lnTo>
                <a:lnTo>
                  <a:pt x="27" y="129"/>
                </a:lnTo>
                <a:lnTo>
                  <a:pt x="30" y="131"/>
                </a:lnTo>
                <a:lnTo>
                  <a:pt x="31" y="134"/>
                </a:lnTo>
                <a:lnTo>
                  <a:pt x="33" y="135"/>
                </a:lnTo>
                <a:lnTo>
                  <a:pt x="34" y="135"/>
                </a:lnTo>
                <a:lnTo>
                  <a:pt x="35" y="137"/>
                </a:lnTo>
                <a:lnTo>
                  <a:pt x="35" y="138"/>
                </a:lnTo>
                <a:lnTo>
                  <a:pt x="34" y="140"/>
                </a:lnTo>
                <a:lnTo>
                  <a:pt x="34" y="140"/>
                </a:lnTo>
                <a:lnTo>
                  <a:pt x="37" y="140"/>
                </a:lnTo>
                <a:lnTo>
                  <a:pt x="39" y="140"/>
                </a:lnTo>
                <a:lnTo>
                  <a:pt x="37" y="137"/>
                </a:lnTo>
                <a:lnTo>
                  <a:pt x="39" y="135"/>
                </a:lnTo>
                <a:lnTo>
                  <a:pt x="37" y="134"/>
                </a:lnTo>
                <a:lnTo>
                  <a:pt x="37" y="132"/>
                </a:lnTo>
                <a:lnTo>
                  <a:pt x="36" y="130"/>
                </a:lnTo>
                <a:lnTo>
                  <a:pt x="39" y="128"/>
                </a:lnTo>
                <a:lnTo>
                  <a:pt x="37" y="127"/>
                </a:lnTo>
                <a:lnTo>
                  <a:pt x="39" y="126"/>
                </a:lnTo>
                <a:lnTo>
                  <a:pt x="42" y="124"/>
                </a:lnTo>
                <a:lnTo>
                  <a:pt x="44" y="122"/>
                </a:lnTo>
                <a:lnTo>
                  <a:pt x="46" y="121"/>
                </a:lnTo>
                <a:lnTo>
                  <a:pt x="46" y="120"/>
                </a:lnTo>
                <a:lnTo>
                  <a:pt x="47" y="114"/>
                </a:lnTo>
                <a:lnTo>
                  <a:pt x="49" y="110"/>
                </a:lnTo>
                <a:lnTo>
                  <a:pt x="47" y="106"/>
                </a:lnTo>
                <a:lnTo>
                  <a:pt x="49" y="102"/>
                </a:lnTo>
                <a:lnTo>
                  <a:pt x="50" y="100"/>
                </a:lnTo>
                <a:lnTo>
                  <a:pt x="49" y="97"/>
                </a:lnTo>
                <a:lnTo>
                  <a:pt x="47" y="95"/>
                </a:lnTo>
                <a:lnTo>
                  <a:pt x="44" y="90"/>
                </a:lnTo>
                <a:lnTo>
                  <a:pt x="42" y="87"/>
                </a:lnTo>
                <a:lnTo>
                  <a:pt x="39" y="81"/>
                </a:lnTo>
                <a:lnTo>
                  <a:pt x="35" y="79"/>
                </a:lnTo>
                <a:lnTo>
                  <a:pt x="33" y="76"/>
                </a:lnTo>
                <a:lnTo>
                  <a:pt x="33" y="76"/>
                </a:lnTo>
                <a:lnTo>
                  <a:pt x="33" y="78"/>
                </a:lnTo>
                <a:lnTo>
                  <a:pt x="33" y="79"/>
                </a:lnTo>
                <a:lnTo>
                  <a:pt x="34" y="80"/>
                </a:lnTo>
                <a:lnTo>
                  <a:pt x="35" y="81"/>
                </a:lnTo>
                <a:lnTo>
                  <a:pt x="36" y="81"/>
                </a:lnTo>
                <a:lnTo>
                  <a:pt x="39" y="90"/>
                </a:lnTo>
                <a:lnTo>
                  <a:pt x="39" y="91"/>
                </a:lnTo>
                <a:lnTo>
                  <a:pt x="37" y="92"/>
                </a:lnTo>
                <a:lnTo>
                  <a:pt x="37" y="91"/>
                </a:lnTo>
                <a:lnTo>
                  <a:pt x="35" y="89"/>
                </a:lnTo>
                <a:lnTo>
                  <a:pt x="34" y="88"/>
                </a:lnTo>
                <a:lnTo>
                  <a:pt x="33" y="86"/>
                </a:lnTo>
                <a:lnTo>
                  <a:pt x="33" y="86"/>
                </a:lnTo>
                <a:lnTo>
                  <a:pt x="33" y="86"/>
                </a:lnTo>
                <a:lnTo>
                  <a:pt x="32" y="89"/>
                </a:lnTo>
                <a:lnTo>
                  <a:pt x="31" y="89"/>
                </a:lnTo>
                <a:lnTo>
                  <a:pt x="30" y="89"/>
                </a:lnTo>
                <a:lnTo>
                  <a:pt x="29" y="88"/>
                </a:lnTo>
                <a:lnTo>
                  <a:pt x="27" y="87"/>
                </a:lnTo>
                <a:lnTo>
                  <a:pt x="27" y="86"/>
                </a:lnTo>
                <a:lnTo>
                  <a:pt x="27" y="84"/>
                </a:lnTo>
                <a:lnTo>
                  <a:pt x="29" y="81"/>
                </a:lnTo>
                <a:lnTo>
                  <a:pt x="29" y="80"/>
                </a:lnTo>
                <a:lnTo>
                  <a:pt x="29" y="79"/>
                </a:lnTo>
                <a:lnTo>
                  <a:pt x="26" y="77"/>
                </a:lnTo>
                <a:lnTo>
                  <a:pt x="25" y="76"/>
                </a:lnTo>
                <a:lnTo>
                  <a:pt x="25" y="74"/>
                </a:lnTo>
                <a:lnTo>
                  <a:pt x="25" y="69"/>
                </a:lnTo>
                <a:lnTo>
                  <a:pt x="25" y="68"/>
                </a:lnTo>
                <a:lnTo>
                  <a:pt x="23" y="61"/>
                </a:lnTo>
                <a:lnTo>
                  <a:pt x="20" y="54"/>
                </a:lnTo>
                <a:lnTo>
                  <a:pt x="20" y="53"/>
                </a:lnTo>
                <a:lnTo>
                  <a:pt x="21" y="51"/>
                </a:lnTo>
                <a:lnTo>
                  <a:pt x="22" y="48"/>
                </a:lnTo>
                <a:lnTo>
                  <a:pt x="23" y="46"/>
                </a:lnTo>
                <a:lnTo>
                  <a:pt x="25" y="43"/>
                </a:lnTo>
                <a:lnTo>
                  <a:pt x="25" y="31"/>
                </a:lnTo>
                <a:lnTo>
                  <a:pt x="24" y="24"/>
                </a:lnTo>
                <a:lnTo>
                  <a:pt x="25" y="21"/>
                </a:lnTo>
                <a:lnTo>
                  <a:pt x="25" y="19"/>
                </a:lnTo>
                <a:lnTo>
                  <a:pt x="24" y="17"/>
                </a:lnTo>
                <a:lnTo>
                  <a:pt x="23" y="16"/>
                </a:lnTo>
                <a:lnTo>
                  <a:pt x="22" y="16"/>
                </a:lnTo>
                <a:lnTo>
                  <a:pt x="20" y="10"/>
                </a:lnTo>
                <a:lnTo>
                  <a:pt x="20" y="9"/>
                </a:lnTo>
                <a:lnTo>
                  <a:pt x="21" y="6"/>
                </a:lnTo>
                <a:lnTo>
                  <a:pt x="22" y="4"/>
                </a:lnTo>
                <a:lnTo>
                  <a:pt x="21" y="6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46" name="Freeform 245"/>
          <p:cNvSpPr>
            <a:spLocks/>
          </p:cNvSpPr>
          <p:nvPr/>
        </p:nvSpPr>
        <p:spPr bwMode="auto">
          <a:xfrm>
            <a:off x="5176838" y="3848066"/>
            <a:ext cx="79375" cy="222250"/>
          </a:xfrm>
          <a:custGeom>
            <a:avLst/>
            <a:gdLst>
              <a:gd name="T0" fmla="*/ 20 w 50"/>
              <a:gd name="T1" fmla="*/ 5 h 140"/>
              <a:gd name="T2" fmla="*/ 14 w 50"/>
              <a:gd name="T3" fmla="*/ 5 h 140"/>
              <a:gd name="T4" fmla="*/ 10 w 50"/>
              <a:gd name="T5" fmla="*/ 3 h 140"/>
              <a:gd name="T6" fmla="*/ 5 w 50"/>
              <a:gd name="T7" fmla="*/ 3 h 140"/>
              <a:gd name="T8" fmla="*/ 10 w 50"/>
              <a:gd name="T9" fmla="*/ 6 h 140"/>
              <a:gd name="T10" fmla="*/ 12 w 50"/>
              <a:gd name="T11" fmla="*/ 14 h 140"/>
              <a:gd name="T12" fmla="*/ 16 w 50"/>
              <a:gd name="T13" fmla="*/ 23 h 140"/>
              <a:gd name="T14" fmla="*/ 14 w 50"/>
              <a:gd name="T15" fmla="*/ 27 h 140"/>
              <a:gd name="T16" fmla="*/ 11 w 50"/>
              <a:gd name="T17" fmla="*/ 31 h 140"/>
              <a:gd name="T18" fmla="*/ 10 w 50"/>
              <a:gd name="T19" fmla="*/ 43 h 140"/>
              <a:gd name="T20" fmla="*/ 10 w 50"/>
              <a:gd name="T21" fmla="*/ 53 h 140"/>
              <a:gd name="T22" fmla="*/ 12 w 50"/>
              <a:gd name="T23" fmla="*/ 57 h 140"/>
              <a:gd name="T24" fmla="*/ 7 w 50"/>
              <a:gd name="T25" fmla="*/ 59 h 140"/>
              <a:gd name="T26" fmla="*/ 4 w 50"/>
              <a:gd name="T27" fmla="*/ 65 h 140"/>
              <a:gd name="T28" fmla="*/ 0 w 50"/>
              <a:gd name="T29" fmla="*/ 77 h 140"/>
              <a:gd name="T30" fmla="*/ 2 w 50"/>
              <a:gd name="T31" fmla="*/ 81 h 140"/>
              <a:gd name="T32" fmla="*/ 6 w 50"/>
              <a:gd name="T33" fmla="*/ 85 h 140"/>
              <a:gd name="T34" fmla="*/ 7 w 50"/>
              <a:gd name="T35" fmla="*/ 87 h 140"/>
              <a:gd name="T36" fmla="*/ 14 w 50"/>
              <a:gd name="T37" fmla="*/ 95 h 140"/>
              <a:gd name="T38" fmla="*/ 26 w 50"/>
              <a:gd name="T39" fmla="*/ 94 h 140"/>
              <a:gd name="T40" fmla="*/ 29 w 50"/>
              <a:gd name="T41" fmla="*/ 101 h 140"/>
              <a:gd name="T42" fmla="*/ 25 w 50"/>
              <a:gd name="T43" fmla="*/ 112 h 140"/>
              <a:gd name="T44" fmla="*/ 23 w 50"/>
              <a:gd name="T45" fmla="*/ 119 h 140"/>
              <a:gd name="T46" fmla="*/ 26 w 50"/>
              <a:gd name="T47" fmla="*/ 127 h 140"/>
              <a:gd name="T48" fmla="*/ 30 w 50"/>
              <a:gd name="T49" fmla="*/ 131 h 140"/>
              <a:gd name="T50" fmla="*/ 34 w 50"/>
              <a:gd name="T51" fmla="*/ 135 h 140"/>
              <a:gd name="T52" fmla="*/ 34 w 50"/>
              <a:gd name="T53" fmla="*/ 140 h 140"/>
              <a:gd name="T54" fmla="*/ 39 w 50"/>
              <a:gd name="T55" fmla="*/ 140 h 140"/>
              <a:gd name="T56" fmla="*/ 37 w 50"/>
              <a:gd name="T57" fmla="*/ 134 h 140"/>
              <a:gd name="T58" fmla="*/ 39 w 50"/>
              <a:gd name="T59" fmla="*/ 128 h 140"/>
              <a:gd name="T60" fmla="*/ 42 w 50"/>
              <a:gd name="T61" fmla="*/ 124 h 140"/>
              <a:gd name="T62" fmla="*/ 46 w 50"/>
              <a:gd name="T63" fmla="*/ 120 h 140"/>
              <a:gd name="T64" fmla="*/ 47 w 50"/>
              <a:gd name="T65" fmla="*/ 106 h 140"/>
              <a:gd name="T66" fmla="*/ 49 w 50"/>
              <a:gd name="T67" fmla="*/ 97 h 140"/>
              <a:gd name="T68" fmla="*/ 42 w 50"/>
              <a:gd name="T69" fmla="*/ 87 h 140"/>
              <a:gd name="T70" fmla="*/ 33 w 50"/>
              <a:gd name="T71" fmla="*/ 76 h 140"/>
              <a:gd name="T72" fmla="*/ 33 w 50"/>
              <a:gd name="T73" fmla="*/ 79 h 140"/>
              <a:gd name="T74" fmla="*/ 36 w 50"/>
              <a:gd name="T75" fmla="*/ 81 h 140"/>
              <a:gd name="T76" fmla="*/ 37 w 50"/>
              <a:gd name="T77" fmla="*/ 92 h 140"/>
              <a:gd name="T78" fmla="*/ 34 w 50"/>
              <a:gd name="T79" fmla="*/ 88 h 140"/>
              <a:gd name="T80" fmla="*/ 33 w 50"/>
              <a:gd name="T81" fmla="*/ 86 h 140"/>
              <a:gd name="T82" fmla="*/ 30 w 50"/>
              <a:gd name="T83" fmla="*/ 89 h 140"/>
              <a:gd name="T84" fmla="*/ 27 w 50"/>
              <a:gd name="T85" fmla="*/ 86 h 140"/>
              <a:gd name="T86" fmla="*/ 29 w 50"/>
              <a:gd name="T87" fmla="*/ 80 h 140"/>
              <a:gd name="T88" fmla="*/ 25 w 50"/>
              <a:gd name="T89" fmla="*/ 76 h 140"/>
              <a:gd name="T90" fmla="*/ 25 w 50"/>
              <a:gd name="T91" fmla="*/ 68 h 140"/>
              <a:gd name="T92" fmla="*/ 20 w 50"/>
              <a:gd name="T93" fmla="*/ 53 h 140"/>
              <a:gd name="T94" fmla="*/ 23 w 50"/>
              <a:gd name="T95" fmla="*/ 46 h 140"/>
              <a:gd name="T96" fmla="*/ 24 w 50"/>
              <a:gd name="T97" fmla="*/ 24 h 140"/>
              <a:gd name="T98" fmla="*/ 24 w 50"/>
              <a:gd name="T99" fmla="*/ 17 h 140"/>
              <a:gd name="T100" fmla="*/ 20 w 50"/>
              <a:gd name="T101" fmla="*/ 10 h 140"/>
              <a:gd name="T102" fmla="*/ 22 w 50"/>
              <a:gd name="T103" fmla="*/ 4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0" h="140">
                <a:moveTo>
                  <a:pt x="21" y="6"/>
                </a:moveTo>
                <a:lnTo>
                  <a:pt x="20" y="5"/>
                </a:lnTo>
                <a:lnTo>
                  <a:pt x="20" y="5"/>
                </a:lnTo>
                <a:lnTo>
                  <a:pt x="19" y="4"/>
                </a:lnTo>
                <a:lnTo>
                  <a:pt x="17" y="4"/>
                </a:lnTo>
                <a:lnTo>
                  <a:pt x="14" y="5"/>
                </a:lnTo>
                <a:lnTo>
                  <a:pt x="13" y="5"/>
                </a:lnTo>
                <a:lnTo>
                  <a:pt x="12" y="3"/>
                </a:lnTo>
                <a:lnTo>
                  <a:pt x="10" y="3"/>
                </a:lnTo>
                <a:lnTo>
                  <a:pt x="6" y="0"/>
                </a:lnTo>
                <a:lnTo>
                  <a:pt x="5" y="1"/>
                </a:lnTo>
                <a:lnTo>
                  <a:pt x="5" y="3"/>
                </a:lnTo>
                <a:lnTo>
                  <a:pt x="6" y="4"/>
                </a:lnTo>
                <a:lnTo>
                  <a:pt x="6" y="6"/>
                </a:lnTo>
                <a:lnTo>
                  <a:pt x="10" y="6"/>
                </a:lnTo>
                <a:lnTo>
                  <a:pt x="11" y="8"/>
                </a:lnTo>
                <a:lnTo>
                  <a:pt x="12" y="10"/>
                </a:lnTo>
                <a:lnTo>
                  <a:pt x="12" y="14"/>
                </a:lnTo>
                <a:lnTo>
                  <a:pt x="14" y="15"/>
                </a:lnTo>
                <a:lnTo>
                  <a:pt x="15" y="21"/>
                </a:lnTo>
                <a:lnTo>
                  <a:pt x="16" y="23"/>
                </a:lnTo>
                <a:lnTo>
                  <a:pt x="16" y="24"/>
                </a:lnTo>
                <a:lnTo>
                  <a:pt x="16" y="25"/>
                </a:lnTo>
                <a:lnTo>
                  <a:pt x="14" y="27"/>
                </a:lnTo>
                <a:lnTo>
                  <a:pt x="13" y="27"/>
                </a:lnTo>
                <a:lnTo>
                  <a:pt x="12" y="28"/>
                </a:lnTo>
                <a:lnTo>
                  <a:pt x="11" y="31"/>
                </a:lnTo>
                <a:lnTo>
                  <a:pt x="12" y="34"/>
                </a:lnTo>
                <a:lnTo>
                  <a:pt x="10" y="39"/>
                </a:lnTo>
                <a:lnTo>
                  <a:pt x="10" y="43"/>
                </a:lnTo>
                <a:lnTo>
                  <a:pt x="10" y="47"/>
                </a:lnTo>
                <a:lnTo>
                  <a:pt x="10" y="51"/>
                </a:lnTo>
                <a:lnTo>
                  <a:pt x="10" y="53"/>
                </a:lnTo>
                <a:lnTo>
                  <a:pt x="11" y="54"/>
                </a:lnTo>
                <a:lnTo>
                  <a:pt x="12" y="55"/>
                </a:lnTo>
                <a:lnTo>
                  <a:pt x="12" y="57"/>
                </a:lnTo>
                <a:lnTo>
                  <a:pt x="12" y="58"/>
                </a:lnTo>
                <a:lnTo>
                  <a:pt x="9" y="58"/>
                </a:lnTo>
                <a:lnTo>
                  <a:pt x="7" y="59"/>
                </a:lnTo>
                <a:lnTo>
                  <a:pt x="5" y="60"/>
                </a:lnTo>
                <a:lnTo>
                  <a:pt x="5" y="60"/>
                </a:lnTo>
                <a:lnTo>
                  <a:pt x="4" y="65"/>
                </a:lnTo>
                <a:lnTo>
                  <a:pt x="4" y="70"/>
                </a:lnTo>
                <a:lnTo>
                  <a:pt x="2" y="75"/>
                </a:lnTo>
                <a:lnTo>
                  <a:pt x="0" y="77"/>
                </a:lnTo>
                <a:lnTo>
                  <a:pt x="0" y="78"/>
                </a:lnTo>
                <a:lnTo>
                  <a:pt x="1" y="81"/>
                </a:lnTo>
                <a:lnTo>
                  <a:pt x="2" y="81"/>
                </a:lnTo>
                <a:lnTo>
                  <a:pt x="3" y="84"/>
                </a:lnTo>
                <a:lnTo>
                  <a:pt x="5" y="84"/>
                </a:lnTo>
                <a:lnTo>
                  <a:pt x="6" y="85"/>
                </a:lnTo>
                <a:lnTo>
                  <a:pt x="6" y="85"/>
                </a:lnTo>
                <a:lnTo>
                  <a:pt x="6" y="86"/>
                </a:lnTo>
                <a:lnTo>
                  <a:pt x="7" y="87"/>
                </a:lnTo>
                <a:lnTo>
                  <a:pt x="10" y="91"/>
                </a:lnTo>
                <a:lnTo>
                  <a:pt x="13" y="95"/>
                </a:lnTo>
                <a:lnTo>
                  <a:pt x="14" y="95"/>
                </a:lnTo>
                <a:lnTo>
                  <a:pt x="16" y="94"/>
                </a:lnTo>
                <a:lnTo>
                  <a:pt x="25" y="92"/>
                </a:lnTo>
                <a:lnTo>
                  <a:pt x="26" y="94"/>
                </a:lnTo>
                <a:lnTo>
                  <a:pt x="27" y="95"/>
                </a:lnTo>
                <a:lnTo>
                  <a:pt x="27" y="99"/>
                </a:lnTo>
                <a:lnTo>
                  <a:pt x="29" y="101"/>
                </a:lnTo>
                <a:lnTo>
                  <a:pt x="29" y="107"/>
                </a:lnTo>
                <a:lnTo>
                  <a:pt x="27" y="109"/>
                </a:lnTo>
                <a:lnTo>
                  <a:pt x="25" y="112"/>
                </a:lnTo>
                <a:lnTo>
                  <a:pt x="25" y="115"/>
                </a:lnTo>
                <a:lnTo>
                  <a:pt x="24" y="116"/>
                </a:lnTo>
                <a:lnTo>
                  <a:pt x="23" y="119"/>
                </a:lnTo>
                <a:lnTo>
                  <a:pt x="24" y="120"/>
                </a:lnTo>
                <a:lnTo>
                  <a:pt x="25" y="126"/>
                </a:lnTo>
                <a:lnTo>
                  <a:pt x="26" y="127"/>
                </a:lnTo>
                <a:lnTo>
                  <a:pt x="26" y="127"/>
                </a:lnTo>
                <a:lnTo>
                  <a:pt x="27" y="129"/>
                </a:lnTo>
                <a:lnTo>
                  <a:pt x="30" y="131"/>
                </a:lnTo>
                <a:lnTo>
                  <a:pt x="31" y="134"/>
                </a:lnTo>
                <a:lnTo>
                  <a:pt x="33" y="135"/>
                </a:lnTo>
                <a:lnTo>
                  <a:pt x="34" y="135"/>
                </a:lnTo>
                <a:lnTo>
                  <a:pt x="35" y="137"/>
                </a:lnTo>
                <a:lnTo>
                  <a:pt x="35" y="138"/>
                </a:lnTo>
                <a:lnTo>
                  <a:pt x="34" y="140"/>
                </a:lnTo>
                <a:lnTo>
                  <a:pt x="34" y="140"/>
                </a:lnTo>
                <a:lnTo>
                  <a:pt x="37" y="140"/>
                </a:lnTo>
                <a:lnTo>
                  <a:pt x="39" y="140"/>
                </a:lnTo>
                <a:lnTo>
                  <a:pt x="37" y="137"/>
                </a:lnTo>
                <a:lnTo>
                  <a:pt x="39" y="135"/>
                </a:lnTo>
                <a:lnTo>
                  <a:pt x="37" y="134"/>
                </a:lnTo>
                <a:lnTo>
                  <a:pt x="37" y="132"/>
                </a:lnTo>
                <a:lnTo>
                  <a:pt x="36" y="130"/>
                </a:lnTo>
                <a:lnTo>
                  <a:pt x="39" y="128"/>
                </a:lnTo>
                <a:lnTo>
                  <a:pt x="37" y="127"/>
                </a:lnTo>
                <a:lnTo>
                  <a:pt x="39" y="126"/>
                </a:lnTo>
                <a:lnTo>
                  <a:pt x="42" y="124"/>
                </a:lnTo>
                <a:lnTo>
                  <a:pt x="44" y="122"/>
                </a:lnTo>
                <a:lnTo>
                  <a:pt x="46" y="121"/>
                </a:lnTo>
                <a:lnTo>
                  <a:pt x="46" y="120"/>
                </a:lnTo>
                <a:lnTo>
                  <a:pt x="47" y="114"/>
                </a:lnTo>
                <a:lnTo>
                  <a:pt x="49" y="110"/>
                </a:lnTo>
                <a:lnTo>
                  <a:pt x="47" y="106"/>
                </a:lnTo>
                <a:lnTo>
                  <a:pt x="49" y="102"/>
                </a:lnTo>
                <a:lnTo>
                  <a:pt x="50" y="100"/>
                </a:lnTo>
                <a:lnTo>
                  <a:pt x="49" y="97"/>
                </a:lnTo>
                <a:lnTo>
                  <a:pt x="47" y="95"/>
                </a:lnTo>
                <a:lnTo>
                  <a:pt x="44" y="90"/>
                </a:lnTo>
                <a:lnTo>
                  <a:pt x="42" y="87"/>
                </a:lnTo>
                <a:lnTo>
                  <a:pt x="39" y="81"/>
                </a:lnTo>
                <a:lnTo>
                  <a:pt x="35" y="79"/>
                </a:lnTo>
                <a:lnTo>
                  <a:pt x="33" y="76"/>
                </a:lnTo>
                <a:lnTo>
                  <a:pt x="33" y="76"/>
                </a:lnTo>
                <a:lnTo>
                  <a:pt x="33" y="78"/>
                </a:lnTo>
                <a:lnTo>
                  <a:pt x="33" y="79"/>
                </a:lnTo>
                <a:lnTo>
                  <a:pt x="34" y="80"/>
                </a:lnTo>
                <a:lnTo>
                  <a:pt x="35" y="81"/>
                </a:lnTo>
                <a:lnTo>
                  <a:pt x="36" y="81"/>
                </a:lnTo>
                <a:lnTo>
                  <a:pt x="39" y="90"/>
                </a:lnTo>
                <a:lnTo>
                  <a:pt x="39" y="91"/>
                </a:lnTo>
                <a:lnTo>
                  <a:pt x="37" y="92"/>
                </a:lnTo>
                <a:lnTo>
                  <a:pt x="37" y="91"/>
                </a:lnTo>
                <a:lnTo>
                  <a:pt x="35" y="89"/>
                </a:lnTo>
                <a:lnTo>
                  <a:pt x="34" y="88"/>
                </a:lnTo>
                <a:lnTo>
                  <a:pt x="33" y="86"/>
                </a:lnTo>
                <a:lnTo>
                  <a:pt x="33" y="86"/>
                </a:lnTo>
                <a:lnTo>
                  <a:pt x="33" y="86"/>
                </a:lnTo>
                <a:lnTo>
                  <a:pt x="32" y="89"/>
                </a:lnTo>
                <a:lnTo>
                  <a:pt x="31" y="89"/>
                </a:lnTo>
                <a:lnTo>
                  <a:pt x="30" y="89"/>
                </a:lnTo>
                <a:lnTo>
                  <a:pt x="29" y="88"/>
                </a:lnTo>
                <a:lnTo>
                  <a:pt x="27" y="87"/>
                </a:lnTo>
                <a:lnTo>
                  <a:pt x="27" y="86"/>
                </a:lnTo>
                <a:lnTo>
                  <a:pt x="27" y="84"/>
                </a:lnTo>
                <a:lnTo>
                  <a:pt x="29" y="81"/>
                </a:lnTo>
                <a:lnTo>
                  <a:pt x="29" y="80"/>
                </a:lnTo>
                <a:lnTo>
                  <a:pt x="29" y="79"/>
                </a:lnTo>
                <a:lnTo>
                  <a:pt x="26" y="77"/>
                </a:lnTo>
                <a:lnTo>
                  <a:pt x="25" y="76"/>
                </a:lnTo>
                <a:lnTo>
                  <a:pt x="25" y="74"/>
                </a:lnTo>
                <a:lnTo>
                  <a:pt x="25" y="69"/>
                </a:lnTo>
                <a:lnTo>
                  <a:pt x="25" y="68"/>
                </a:lnTo>
                <a:lnTo>
                  <a:pt x="23" y="61"/>
                </a:lnTo>
                <a:lnTo>
                  <a:pt x="20" y="54"/>
                </a:lnTo>
                <a:lnTo>
                  <a:pt x="20" y="53"/>
                </a:lnTo>
                <a:lnTo>
                  <a:pt x="21" y="51"/>
                </a:lnTo>
                <a:lnTo>
                  <a:pt x="22" y="48"/>
                </a:lnTo>
                <a:lnTo>
                  <a:pt x="23" y="46"/>
                </a:lnTo>
                <a:lnTo>
                  <a:pt x="25" y="43"/>
                </a:lnTo>
                <a:lnTo>
                  <a:pt x="25" y="31"/>
                </a:lnTo>
                <a:lnTo>
                  <a:pt x="24" y="24"/>
                </a:lnTo>
                <a:lnTo>
                  <a:pt x="25" y="21"/>
                </a:lnTo>
                <a:lnTo>
                  <a:pt x="25" y="19"/>
                </a:lnTo>
                <a:lnTo>
                  <a:pt x="24" y="17"/>
                </a:lnTo>
                <a:lnTo>
                  <a:pt x="23" y="16"/>
                </a:lnTo>
                <a:lnTo>
                  <a:pt x="22" y="16"/>
                </a:lnTo>
                <a:lnTo>
                  <a:pt x="20" y="10"/>
                </a:lnTo>
                <a:lnTo>
                  <a:pt x="20" y="9"/>
                </a:lnTo>
                <a:lnTo>
                  <a:pt x="21" y="6"/>
                </a:lnTo>
                <a:lnTo>
                  <a:pt x="22" y="4"/>
                </a:lnTo>
                <a:lnTo>
                  <a:pt x="21" y="6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47" name="Freeform 246"/>
          <p:cNvSpPr>
            <a:spLocks/>
          </p:cNvSpPr>
          <p:nvPr/>
        </p:nvSpPr>
        <p:spPr bwMode="auto">
          <a:xfrm>
            <a:off x="5267325" y="2320891"/>
            <a:ext cx="168275" cy="69850"/>
          </a:xfrm>
          <a:custGeom>
            <a:avLst/>
            <a:gdLst>
              <a:gd name="T0" fmla="*/ 31 w 106"/>
              <a:gd name="T1" fmla="*/ 38 h 44"/>
              <a:gd name="T2" fmla="*/ 37 w 106"/>
              <a:gd name="T3" fmla="*/ 37 h 44"/>
              <a:gd name="T4" fmla="*/ 45 w 106"/>
              <a:gd name="T5" fmla="*/ 38 h 44"/>
              <a:gd name="T6" fmla="*/ 47 w 106"/>
              <a:gd name="T7" fmla="*/ 36 h 44"/>
              <a:gd name="T8" fmla="*/ 51 w 106"/>
              <a:gd name="T9" fmla="*/ 38 h 44"/>
              <a:gd name="T10" fmla="*/ 57 w 106"/>
              <a:gd name="T11" fmla="*/ 42 h 44"/>
              <a:gd name="T12" fmla="*/ 65 w 106"/>
              <a:gd name="T13" fmla="*/ 44 h 44"/>
              <a:gd name="T14" fmla="*/ 70 w 106"/>
              <a:gd name="T15" fmla="*/ 42 h 44"/>
              <a:gd name="T16" fmla="*/ 77 w 106"/>
              <a:gd name="T17" fmla="*/ 42 h 44"/>
              <a:gd name="T18" fmla="*/ 81 w 106"/>
              <a:gd name="T19" fmla="*/ 41 h 44"/>
              <a:gd name="T20" fmla="*/ 86 w 106"/>
              <a:gd name="T21" fmla="*/ 38 h 44"/>
              <a:gd name="T22" fmla="*/ 90 w 106"/>
              <a:gd name="T23" fmla="*/ 39 h 44"/>
              <a:gd name="T24" fmla="*/ 97 w 106"/>
              <a:gd name="T25" fmla="*/ 42 h 44"/>
              <a:gd name="T26" fmla="*/ 104 w 106"/>
              <a:gd name="T27" fmla="*/ 43 h 44"/>
              <a:gd name="T28" fmla="*/ 106 w 106"/>
              <a:gd name="T29" fmla="*/ 42 h 44"/>
              <a:gd name="T30" fmla="*/ 101 w 106"/>
              <a:gd name="T31" fmla="*/ 38 h 44"/>
              <a:gd name="T32" fmla="*/ 98 w 106"/>
              <a:gd name="T33" fmla="*/ 34 h 44"/>
              <a:gd name="T34" fmla="*/ 100 w 106"/>
              <a:gd name="T35" fmla="*/ 30 h 44"/>
              <a:gd name="T36" fmla="*/ 99 w 106"/>
              <a:gd name="T37" fmla="*/ 29 h 44"/>
              <a:gd name="T38" fmla="*/ 93 w 106"/>
              <a:gd name="T39" fmla="*/ 27 h 44"/>
              <a:gd name="T40" fmla="*/ 89 w 106"/>
              <a:gd name="T41" fmla="*/ 21 h 44"/>
              <a:gd name="T42" fmla="*/ 86 w 106"/>
              <a:gd name="T43" fmla="*/ 18 h 44"/>
              <a:gd name="T44" fmla="*/ 81 w 106"/>
              <a:gd name="T45" fmla="*/ 18 h 44"/>
              <a:gd name="T46" fmla="*/ 76 w 106"/>
              <a:gd name="T47" fmla="*/ 16 h 44"/>
              <a:gd name="T48" fmla="*/ 71 w 106"/>
              <a:gd name="T49" fmla="*/ 15 h 44"/>
              <a:gd name="T50" fmla="*/ 66 w 106"/>
              <a:gd name="T51" fmla="*/ 16 h 44"/>
              <a:gd name="T52" fmla="*/ 63 w 106"/>
              <a:gd name="T53" fmla="*/ 18 h 44"/>
              <a:gd name="T54" fmla="*/ 59 w 106"/>
              <a:gd name="T55" fmla="*/ 15 h 44"/>
              <a:gd name="T56" fmla="*/ 47 w 106"/>
              <a:gd name="T57" fmla="*/ 8 h 44"/>
              <a:gd name="T58" fmla="*/ 40 w 106"/>
              <a:gd name="T59" fmla="*/ 7 h 44"/>
              <a:gd name="T60" fmla="*/ 29 w 106"/>
              <a:gd name="T61" fmla="*/ 7 h 44"/>
              <a:gd name="T62" fmla="*/ 22 w 106"/>
              <a:gd name="T63" fmla="*/ 3 h 44"/>
              <a:gd name="T64" fmla="*/ 15 w 106"/>
              <a:gd name="T65" fmla="*/ 2 h 44"/>
              <a:gd name="T66" fmla="*/ 8 w 106"/>
              <a:gd name="T67" fmla="*/ 1 h 44"/>
              <a:gd name="T68" fmla="*/ 4 w 106"/>
              <a:gd name="T69" fmla="*/ 0 h 44"/>
              <a:gd name="T70" fmla="*/ 2 w 106"/>
              <a:gd name="T71" fmla="*/ 3 h 44"/>
              <a:gd name="T72" fmla="*/ 7 w 106"/>
              <a:gd name="T73" fmla="*/ 7 h 44"/>
              <a:gd name="T74" fmla="*/ 16 w 106"/>
              <a:gd name="T75" fmla="*/ 9 h 44"/>
              <a:gd name="T76" fmla="*/ 23 w 106"/>
              <a:gd name="T77" fmla="*/ 13 h 44"/>
              <a:gd name="T78" fmla="*/ 27 w 106"/>
              <a:gd name="T79" fmla="*/ 20 h 44"/>
              <a:gd name="T80" fmla="*/ 31 w 106"/>
              <a:gd name="T81" fmla="*/ 28 h 44"/>
              <a:gd name="T82" fmla="*/ 33 w 106"/>
              <a:gd name="T83" fmla="*/ 33 h 44"/>
              <a:gd name="T84" fmla="*/ 30 w 106"/>
              <a:gd name="T85" fmla="*/ 36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06" h="44">
                <a:moveTo>
                  <a:pt x="30" y="36"/>
                </a:moveTo>
                <a:lnTo>
                  <a:pt x="31" y="38"/>
                </a:lnTo>
                <a:lnTo>
                  <a:pt x="35" y="38"/>
                </a:lnTo>
                <a:lnTo>
                  <a:pt x="37" y="37"/>
                </a:lnTo>
                <a:lnTo>
                  <a:pt x="43" y="38"/>
                </a:lnTo>
                <a:lnTo>
                  <a:pt x="45" y="38"/>
                </a:lnTo>
                <a:lnTo>
                  <a:pt x="46" y="36"/>
                </a:lnTo>
                <a:lnTo>
                  <a:pt x="47" y="36"/>
                </a:lnTo>
                <a:lnTo>
                  <a:pt x="49" y="36"/>
                </a:lnTo>
                <a:lnTo>
                  <a:pt x="51" y="38"/>
                </a:lnTo>
                <a:lnTo>
                  <a:pt x="55" y="41"/>
                </a:lnTo>
                <a:lnTo>
                  <a:pt x="57" y="42"/>
                </a:lnTo>
                <a:lnTo>
                  <a:pt x="59" y="44"/>
                </a:lnTo>
                <a:lnTo>
                  <a:pt x="65" y="44"/>
                </a:lnTo>
                <a:lnTo>
                  <a:pt x="66" y="43"/>
                </a:lnTo>
                <a:lnTo>
                  <a:pt x="70" y="42"/>
                </a:lnTo>
                <a:lnTo>
                  <a:pt x="73" y="41"/>
                </a:lnTo>
                <a:lnTo>
                  <a:pt x="77" y="42"/>
                </a:lnTo>
                <a:lnTo>
                  <a:pt x="79" y="42"/>
                </a:lnTo>
                <a:lnTo>
                  <a:pt x="81" y="41"/>
                </a:lnTo>
                <a:lnTo>
                  <a:pt x="83" y="40"/>
                </a:lnTo>
                <a:lnTo>
                  <a:pt x="86" y="38"/>
                </a:lnTo>
                <a:lnTo>
                  <a:pt x="88" y="38"/>
                </a:lnTo>
                <a:lnTo>
                  <a:pt x="90" y="39"/>
                </a:lnTo>
                <a:lnTo>
                  <a:pt x="93" y="40"/>
                </a:lnTo>
                <a:lnTo>
                  <a:pt x="97" y="42"/>
                </a:lnTo>
                <a:lnTo>
                  <a:pt x="99" y="42"/>
                </a:lnTo>
                <a:lnTo>
                  <a:pt x="104" y="43"/>
                </a:lnTo>
                <a:lnTo>
                  <a:pt x="106" y="43"/>
                </a:lnTo>
                <a:lnTo>
                  <a:pt x="106" y="42"/>
                </a:lnTo>
                <a:lnTo>
                  <a:pt x="105" y="40"/>
                </a:lnTo>
                <a:lnTo>
                  <a:pt x="101" y="38"/>
                </a:lnTo>
                <a:lnTo>
                  <a:pt x="100" y="36"/>
                </a:lnTo>
                <a:lnTo>
                  <a:pt x="98" y="34"/>
                </a:lnTo>
                <a:lnTo>
                  <a:pt x="98" y="32"/>
                </a:lnTo>
                <a:lnTo>
                  <a:pt x="100" y="30"/>
                </a:lnTo>
                <a:lnTo>
                  <a:pt x="100" y="30"/>
                </a:lnTo>
                <a:lnTo>
                  <a:pt x="99" y="29"/>
                </a:lnTo>
                <a:lnTo>
                  <a:pt x="97" y="28"/>
                </a:lnTo>
                <a:lnTo>
                  <a:pt x="93" y="27"/>
                </a:lnTo>
                <a:lnTo>
                  <a:pt x="89" y="25"/>
                </a:lnTo>
                <a:lnTo>
                  <a:pt x="89" y="21"/>
                </a:lnTo>
                <a:lnTo>
                  <a:pt x="88" y="19"/>
                </a:lnTo>
                <a:lnTo>
                  <a:pt x="86" y="18"/>
                </a:lnTo>
                <a:lnTo>
                  <a:pt x="84" y="18"/>
                </a:lnTo>
                <a:lnTo>
                  <a:pt x="81" y="18"/>
                </a:lnTo>
                <a:lnTo>
                  <a:pt x="80" y="16"/>
                </a:lnTo>
                <a:lnTo>
                  <a:pt x="76" y="16"/>
                </a:lnTo>
                <a:lnTo>
                  <a:pt x="74" y="16"/>
                </a:lnTo>
                <a:lnTo>
                  <a:pt x="71" y="15"/>
                </a:lnTo>
                <a:lnTo>
                  <a:pt x="69" y="15"/>
                </a:lnTo>
                <a:lnTo>
                  <a:pt x="66" y="16"/>
                </a:lnTo>
                <a:lnTo>
                  <a:pt x="65" y="17"/>
                </a:lnTo>
                <a:lnTo>
                  <a:pt x="63" y="18"/>
                </a:lnTo>
                <a:lnTo>
                  <a:pt x="60" y="17"/>
                </a:lnTo>
                <a:lnTo>
                  <a:pt x="59" y="15"/>
                </a:lnTo>
                <a:lnTo>
                  <a:pt x="48" y="9"/>
                </a:lnTo>
                <a:lnTo>
                  <a:pt x="47" y="8"/>
                </a:lnTo>
                <a:lnTo>
                  <a:pt x="45" y="7"/>
                </a:lnTo>
                <a:lnTo>
                  <a:pt x="40" y="7"/>
                </a:lnTo>
                <a:lnTo>
                  <a:pt x="36" y="6"/>
                </a:lnTo>
                <a:lnTo>
                  <a:pt x="29" y="7"/>
                </a:lnTo>
                <a:lnTo>
                  <a:pt x="27" y="6"/>
                </a:lnTo>
                <a:lnTo>
                  <a:pt x="22" y="3"/>
                </a:lnTo>
                <a:lnTo>
                  <a:pt x="17" y="3"/>
                </a:lnTo>
                <a:lnTo>
                  <a:pt x="15" y="2"/>
                </a:lnTo>
                <a:lnTo>
                  <a:pt x="10" y="0"/>
                </a:lnTo>
                <a:lnTo>
                  <a:pt x="8" y="1"/>
                </a:lnTo>
                <a:lnTo>
                  <a:pt x="6" y="0"/>
                </a:lnTo>
                <a:lnTo>
                  <a:pt x="4" y="0"/>
                </a:lnTo>
                <a:lnTo>
                  <a:pt x="0" y="1"/>
                </a:lnTo>
                <a:lnTo>
                  <a:pt x="2" y="3"/>
                </a:lnTo>
                <a:lnTo>
                  <a:pt x="5" y="5"/>
                </a:lnTo>
                <a:lnTo>
                  <a:pt x="7" y="7"/>
                </a:lnTo>
                <a:lnTo>
                  <a:pt x="9" y="8"/>
                </a:lnTo>
                <a:lnTo>
                  <a:pt x="16" y="9"/>
                </a:lnTo>
                <a:lnTo>
                  <a:pt x="20" y="12"/>
                </a:lnTo>
                <a:lnTo>
                  <a:pt x="23" y="13"/>
                </a:lnTo>
                <a:lnTo>
                  <a:pt x="26" y="17"/>
                </a:lnTo>
                <a:lnTo>
                  <a:pt x="27" y="20"/>
                </a:lnTo>
                <a:lnTo>
                  <a:pt x="29" y="25"/>
                </a:lnTo>
                <a:lnTo>
                  <a:pt x="31" y="28"/>
                </a:lnTo>
                <a:lnTo>
                  <a:pt x="33" y="30"/>
                </a:lnTo>
                <a:lnTo>
                  <a:pt x="33" y="33"/>
                </a:lnTo>
                <a:lnTo>
                  <a:pt x="31" y="36"/>
                </a:lnTo>
                <a:lnTo>
                  <a:pt x="30" y="36"/>
                </a:lnTo>
                <a:lnTo>
                  <a:pt x="30" y="36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48" name="Freeform 247"/>
          <p:cNvSpPr>
            <a:spLocks/>
          </p:cNvSpPr>
          <p:nvPr/>
        </p:nvSpPr>
        <p:spPr bwMode="auto">
          <a:xfrm>
            <a:off x="5267325" y="2320891"/>
            <a:ext cx="168275" cy="69850"/>
          </a:xfrm>
          <a:custGeom>
            <a:avLst/>
            <a:gdLst>
              <a:gd name="T0" fmla="*/ 31 w 106"/>
              <a:gd name="T1" fmla="*/ 38 h 44"/>
              <a:gd name="T2" fmla="*/ 37 w 106"/>
              <a:gd name="T3" fmla="*/ 37 h 44"/>
              <a:gd name="T4" fmla="*/ 45 w 106"/>
              <a:gd name="T5" fmla="*/ 38 h 44"/>
              <a:gd name="T6" fmla="*/ 47 w 106"/>
              <a:gd name="T7" fmla="*/ 36 h 44"/>
              <a:gd name="T8" fmla="*/ 51 w 106"/>
              <a:gd name="T9" fmla="*/ 38 h 44"/>
              <a:gd name="T10" fmla="*/ 57 w 106"/>
              <a:gd name="T11" fmla="*/ 42 h 44"/>
              <a:gd name="T12" fmla="*/ 65 w 106"/>
              <a:gd name="T13" fmla="*/ 44 h 44"/>
              <a:gd name="T14" fmla="*/ 70 w 106"/>
              <a:gd name="T15" fmla="*/ 42 h 44"/>
              <a:gd name="T16" fmla="*/ 77 w 106"/>
              <a:gd name="T17" fmla="*/ 42 h 44"/>
              <a:gd name="T18" fmla="*/ 81 w 106"/>
              <a:gd name="T19" fmla="*/ 41 h 44"/>
              <a:gd name="T20" fmla="*/ 86 w 106"/>
              <a:gd name="T21" fmla="*/ 38 h 44"/>
              <a:gd name="T22" fmla="*/ 90 w 106"/>
              <a:gd name="T23" fmla="*/ 39 h 44"/>
              <a:gd name="T24" fmla="*/ 97 w 106"/>
              <a:gd name="T25" fmla="*/ 42 h 44"/>
              <a:gd name="T26" fmla="*/ 104 w 106"/>
              <a:gd name="T27" fmla="*/ 43 h 44"/>
              <a:gd name="T28" fmla="*/ 106 w 106"/>
              <a:gd name="T29" fmla="*/ 42 h 44"/>
              <a:gd name="T30" fmla="*/ 101 w 106"/>
              <a:gd name="T31" fmla="*/ 38 h 44"/>
              <a:gd name="T32" fmla="*/ 98 w 106"/>
              <a:gd name="T33" fmla="*/ 34 h 44"/>
              <a:gd name="T34" fmla="*/ 100 w 106"/>
              <a:gd name="T35" fmla="*/ 30 h 44"/>
              <a:gd name="T36" fmla="*/ 99 w 106"/>
              <a:gd name="T37" fmla="*/ 29 h 44"/>
              <a:gd name="T38" fmla="*/ 93 w 106"/>
              <a:gd name="T39" fmla="*/ 27 h 44"/>
              <a:gd name="T40" fmla="*/ 89 w 106"/>
              <a:gd name="T41" fmla="*/ 21 h 44"/>
              <a:gd name="T42" fmla="*/ 86 w 106"/>
              <a:gd name="T43" fmla="*/ 18 h 44"/>
              <a:gd name="T44" fmla="*/ 81 w 106"/>
              <a:gd name="T45" fmla="*/ 18 h 44"/>
              <a:gd name="T46" fmla="*/ 76 w 106"/>
              <a:gd name="T47" fmla="*/ 16 h 44"/>
              <a:gd name="T48" fmla="*/ 71 w 106"/>
              <a:gd name="T49" fmla="*/ 15 h 44"/>
              <a:gd name="T50" fmla="*/ 66 w 106"/>
              <a:gd name="T51" fmla="*/ 16 h 44"/>
              <a:gd name="T52" fmla="*/ 63 w 106"/>
              <a:gd name="T53" fmla="*/ 18 h 44"/>
              <a:gd name="T54" fmla="*/ 59 w 106"/>
              <a:gd name="T55" fmla="*/ 15 h 44"/>
              <a:gd name="T56" fmla="*/ 47 w 106"/>
              <a:gd name="T57" fmla="*/ 8 h 44"/>
              <a:gd name="T58" fmla="*/ 40 w 106"/>
              <a:gd name="T59" fmla="*/ 7 h 44"/>
              <a:gd name="T60" fmla="*/ 29 w 106"/>
              <a:gd name="T61" fmla="*/ 7 h 44"/>
              <a:gd name="T62" fmla="*/ 22 w 106"/>
              <a:gd name="T63" fmla="*/ 3 h 44"/>
              <a:gd name="T64" fmla="*/ 15 w 106"/>
              <a:gd name="T65" fmla="*/ 2 h 44"/>
              <a:gd name="T66" fmla="*/ 8 w 106"/>
              <a:gd name="T67" fmla="*/ 1 h 44"/>
              <a:gd name="T68" fmla="*/ 4 w 106"/>
              <a:gd name="T69" fmla="*/ 0 h 44"/>
              <a:gd name="T70" fmla="*/ 2 w 106"/>
              <a:gd name="T71" fmla="*/ 3 h 44"/>
              <a:gd name="T72" fmla="*/ 7 w 106"/>
              <a:gd name="T73" fmla="*/ 7 h 44"/>
              <a:gd name="T74" fmla="*/ 16 w 106"/>
              <a:gd name="T75" fmla="*/ 9 h 44"/>
              <a:gd name="T76" fmla="*/ 23 w 106"/>
              <a:gd name="T77" fmla="*/ 13 h 44"/>
              <a:gd name="T78" fmla="*/ 27 w 106"/>
              <a:gd name="T79" fmla="*/ 20 h 44"/>
              <a:gd name="T80" fmla="*/ 31 w 106"/>
              <a:gd name="T81" fmla="*/ 28 h 44"/>
              <a:gd name="T82" fmla="*/ 33 w 106"/>
              <a:gd name="T83" fmla="*/ 33 h 44"/>
              <a:gd name="T84" fmla="*/ 30 w 106"/>
              <a:gd name="T85" fmla="*/ 36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06" h="44">
                <a:moveTo>
                  <a:pt x="30" y="36"/>
                </a:moveTo>
                <a:lnTo>
                  <a:pt x="31" y="38"/>
                </a:lnTo>
                <a:lnTo>
                  <a:pt x="35" y="38"/>
                </a:lnTo>
                <a:lnTo>
                  <a:pt x="37" y="37"/>
                </a:lnTo>
                <a:lnTo>
                  <a:pt x="43" y="38"/>
                </a:lnTo>
                <a:lnTo>
                  <a:pt x="45" y="38"/>
                </a:lnTo>
                <a:lnTo>
                  <a:pt x="46" y="36"/>
                </a:lnTo>
                <a:lnTo>
                  <a:pt x="47" y="36"/>
                </a:lnTo>
                <a:lnTo>
                  <a:pt x="49" y="36"/>
                </a:lnTo>
                <a:lnTo>
                  <a:pt x="51" y="38"/>
                </a:lnTo>
                <a:lnTo>
                  <a:pt x="55" y="41"/>
                </a:lnTo>
                <a:lnTo>
                  <a:pt x="57" y="42"/>
                </a:lnTo>
                <a:lnTo>
                  <a:pt x="59" y="44"/>
                </a:lnTo>
                <a:lnTo>
                  <a:pt x="65" y="44"/>
                </a:lnTo>
                <a:lnTo>
                  <a:pt x="66" y="43"/>
                </a:lnTo>
                <a:lnTo>
                  <a:pt x="70" y="42"/>
                </a:lnTo>
                <a:lnTo>
                  <a:pt x="73" y="41"/>
                </a:lnTo>
                <a:lnTo>
                  <a:pt x="77" y="42"/>
                </a:lnTo>
                <a:lnTo>
                  <a:pt x="79" y="42"/>
                </a:lnTo>
                <a:lnTo>
                  <a:pt x="81" y="41"/>
                </a:lnTo>
                <a:lnTo>
                  <a:pt x="83" y="40"/>
                </a:lnTo>
                <a:lnTo>
                  <a:pt x="86" y="38"/>
                </a:lnTo>
                <a:lnTo>
                  <a:pt x="88" y="38"/>
                </a:lnTo>
                <a:lnTo>
                  <a:pt x="90" y="39"/>
                </a:lnTo>
                <a:lnTo>
                  <a:pt x="93" y="40"/>
                </a:lnTo>
                <a:lnTo>
                  <a:pt x="97" y="42"/>
                </a:lnTo>
                <a:lnTo>
                  <a:pt x="99" y="42"/>
                </a:lnTo>
                <a:lnTo>
                  <a:pt x="104" y="43"/>
                </a:lnTo>
                <a:lnTo>
                  <a:pt x="106" y="43"/>
                </a:lnTo>
                <a:lnTo>
                  <a:pt x="106" y="42"/>
                </a:lnTo>
                <a:lnTo>
                  <a:pt x="105" y="40"/>
                </a:lnTo>
                <a:lnTo>
                  <a:pt x="101" y="38"/>
                </a:lnTo>
                <a:lnTo>
                  <a:pt x="100" y="36"/>
                </a:lnTo>
                <a:lnTo>
                  <a:pt x="98" y="34"/>
                </a:lnTo>
                <a:lnTo>
                  <a:pt x="98" y="32"/>
                </a:lnTo>
                <a:lnTo>
                  <a:pt x="100" y="30"/>
                </a:lnTo>
                <a:lnTo>
                  <a:pt x="100" y="30"/>
                </a:lnTo>
                <a:lnTo>
                  <a:pt x="99" y="29"/>
                </a:lnTo>
                <a:lnTo>
                  <a:pt x="97" y="28"/>
                </a:lnTo>
                <a:lnTo>
                  <a:pt x="93" y="27"/>
                </a:lnTo>
                <a:lnTo>
                  <a:pt x="89" y="25"/>
                </a:lnTo>
                <a:lnTo>
                  <a:pt x="89" y="21"/>
                </a:lnTo>
                <a:lnTo>
                  <a:pt x="88" y="19"/>
                </a:lnTo>
                <a:lnTo>
                  <a:pt x="86" y="18"/>
                </a:lnTo>
                <a:lnTo>
                  <a:pt x="84" y="18"/>
                </a:lnTo>
                <a:lnTo>
                  <a:pt x="81" y="18"/>
                </a:lnTo>
                <a:lnTo>
                  <a:pt x="80" y="16"/>
                </a:lnTo>
                <a:lnTo>
                  <a:pt x="76" y="16"/>
                </a:lnTo>
                <a:lnTo>
                  <a:pt x="74" y="16"/>
                </a:lnTo>
                <a:lnTo>
                  <a:pt x="71" y="15"/>
                </a:lnTo>
                <a:lnTo>
                  <a:pt x="69" y="15"/>
                </a:lnTo>
                <a:lnTo>
                  <a:pt x="66" y="16"/>
                </a:lnTo>
                <a:lnTo>
                  <a:pt x="65" y="17"/>
                </a:lnTo>
                <a:lnTo>
                  <a:pt x="63" y="18"/>
                </a:lnTo>
                <a:lnTo>
                  <a:pt x="60" y="17"/>
                </a:lnTo>
                <a:lnTo>
                  <a:pt x="59" y="15"/>
                </a:lnTo>
                <a:lnTo>
                  <a:pt x="48" y="9"/>
                </a:lnTo>
                <a:lnTo>
                  <a:pt x="47" y="8"/>
                </a:lnTo>
                <a:lnTo>
                  <a:pt x="45" y="7"/>
                </a:lnTo>
                <a:lnTo>
                  <a:pt x="40" y="7"/>
                </a:lnTo>
                <a:lnTo>
                  <a:pt x="36" y="6"/>
                </a:lnTo>
                <a:lnTo>
                  <a:pt x="29" y="7"/>
                </a:lnTo>
                <a:lnTo>
                  <a:pt x="27" y="6"/>
                </a:lnTo>
                <a:lnTo>
                  <a:pt x="22" y="3"/>
                </a:lnTo>
                <a:lnTo>
                  <a:pt x="17" y="3"/>
                </a:lnTo>
                <a:lnTo>
                  <a:pt x="15" y="2"/>
                </a:lnTo>
                <a:lnTo>
                  <a:pt x="10" y="0"/>
                </a:lnTo>
                <a:lnTo>
                  <a:pt x="8" y="1"/>
                </a:lnTo>
                <a:lnTo>
                  <a:pt x="6" y="0"/>
                </a:lnTo>
                <a:lnTo>
                  <a:pt x="4" y="0"/>
                </a:lnTo>
                <a:lnTo>
                  <a:pt x="0" y="1"/>
                </a:lnTo>
                <a:lnTo>
                  <a:pt x="2" y="3"/>
                </a:lnTo>
                <a:lnTo>
                  <a:pt x="5" y="5"/>
                </a:lnTo>
                <a:lnTo>
                  <a:pt x="7" y="7"/>
                </a:lnTo>
                <a:lnTo>
                  <a:pt x="9" y="8"/>
                </a:lnTo>
                <a:lnTo>
                  <a:pt x="16" y="9"/>
                </a:lnTo>
                <a:lnTo>
                  <a:pt x="20" y="12"/>
                </a:lnTo>
                <a:lnTo>
                  <a:pt x="23" y="13"/>
                </a:lnTo>
                <a:lnTo>
                  <a:pt x="26" y="17"/>
                </a:lnTo>
                <a:lnTo>
                  <a:pt x="27" y="20"/>
                </a:lnTo>
                <a:lnTo>
                  <a:pt x="29" y="25"/>
                </a:lnTo>
                <a:lnTo>
                  <a:pt x="31" y="28"/>
                </a:lnTo>
                <a:lnTo>
                  <a:pt x="33" y="30"/>
                </a:lnTo>
                <a:lnTo>
                  <a:pt x="33" y="33"/>
                </a:lnTo>
                <a:lnTo>
                  <a:pt x="31" y="36"/>
                </a:lnTo>
                <a:lnTo>
                  <a:pt x="30" y="36"/>
                </a:lnTo>
                <a:lnTo>
                  <a:pt x="30" y="36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49" name="Freeform 248"/>
          <p:cNvSpPr>
            <a:spLocks/>
          </p:cNvSpPr>
          <p:nvPr/>
        </p:nvSpPr>
        <p:spPr bwMode="auto">
          <a:xfrm>
            <a:off x="6013450" y="2417728"/>
            <a:ext cx="7937" cy="9525"/>
          </a:xfrm>
          <a:custGeom>
            <a:avLst/>
            <a:gdLst>
              <a:gd name="T0" fmla="*/ 5 w 5"/>
              <a:gd name="T1" fmla="*/ 6 h 6"/>
              <a:gd name="T2" fmla="*/ 4 w 5"/>
              <a:gd name="T3" fmla="*/ 3 h 6"/>
              <a:gd name="T4" fmla="*/ 1 w 5"/>
              <a:gd name="T5" fmla="*/ 0 h 6"/>
              <a:gd name="T6" fmla="*/ 0 w 5"/>
              <a:gd name="T7" fmla="*/ 2 h 6"/>
              <a:gd name="T8" fmla="*/ 1 w 5"/>
              <a:gd name="T9" fmla="*/ 3 h 6"/>
              <a:gd name="T10" fmla="*/ 2 w 5"/>
              <a:gd name="T11" fmla="*/ 6 h 6"/>
              <a:gd name="T12" fmla="*/ 4 w 5"/>
              <a:gd name="T13" fmla="*/ 6 h 6"/>
              <a:gd name="T14" fmla="*/ 5 w 5"/>
              <a:gd name="T15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6">
                <a:moveTo>
                  <a:pt x="5" y="6"/>
                </a:moveTo>
                <a:lnTo>
                  <a:pt x="4" y="3"/>
                </a:lnTo>
                <a:lnTo>
                  <a:pt x="1" y="0"/>
                </a:lnTo>
                <a:lnTo>
                  <a:pt x="0" y="2"/>
                </a:lnTo>
                <a:lnTo>
                  <a:pt x="1" y="3"/>
                </a:lnTo>
                <a:lnTo>
                  <a:pt x="2" y="6"/>
                </a:lnTo>
                <a:lnTo>
                  <a:pt x="4" y="6"/>
                </a:lnTo>
                <a:lnTo>
                  <a:pt x="5" y="6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50" name="Freeform 249"/>
          <p:cNvSpPr>
            <a:spLocks/>
          </p:cNvSpPr>
          <p:nvPr/>
        </p:nvSpPr>
        <p:spPr bwMode="auto">
          <a:xfrm>
            <a:off x="6013450" y="2417728"/>
            <a:ext cx="7937" cy="9525"/>
          </a:xfrm>
          <a:custGeom>
            <a:avLst/>
            <a:gdLst>
              <a:gd name="T0" fmla="*/ 5 w 5"/>
              <a:gd name="T1" fmla="*/ 6 h 6"/>
              <a:gd name="T2" fmla="*/ 4 w 5"/>
              <a:gd name="T3" fmla="*/ 3 h 6"/>
              <a:gd name="T4" fmla="*/ 1 w 5"/>
              <a:gd name="T5" fmla="*/ 0 h 6"/>
              <a:gd name="T6" fmla="*/ 0 w 5"/>
              <a:gd name="T7" fmla="*/ 2 h 6"/>
              <a:gd name="T8" fmla="*/ 1 w 5"/>
              <a:gd name="T9" fmla="*/ 3 h 6"/>
              <a:gd name="T10" fmla="*/ 2 w 5"/>
              <a:gd name="T11" fmla="*/ 6 h 6"/>
              <a:gd name="T12" fmla="*/ 4 w 5"/>
              <a:gd name="T13" fmla="*/ 6 h 6"/>
              <a:gd name="T14" fmla="*/ 5 w 5"/>
              <a:gd name="T15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6">
                <a:moveTo>
                  <a:pt x="5" y="6"/>
                </a:moveTo>
                <a:lnTo>
                  <a:pt x="4" y="3"/>
                </a:lnTo>
                <a:lnTo>
                  <a:pt x="1" y="0"/>
                </a:lnTo>
                <a:lnTo>
                  <a:pt x="0" y="2"/>
                </a:lnTo>
                <a:lnTo>
                  <a:pt x="1" y="3"/>
                </a:lnTo>
                <a:lnTo>
                  <a:pt x="2" y="6"/>
                </a:lnTo>
                <a:lnTo>
                  <a:pt x="4" y="6"/>
                </a:lnTo>
                <a:lnTo>
                  <a:pt x="5" y="6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51" name="Freeform 250"/>
          <p:cNvSpPr>
            <a:spLocks/>
          </p:cNvSpPr>
          <p:nvPr/>
        </p:nvSpPr>
        <p:spPr bwMode="auto">
          <a:xfrm>
            <a:off x="6029325" y="2422491"/>
            <a:ext cx="6350" cy="4763"/>
          </a:xfrm>
          <a:custGeom>
            <a:avLst/>
            <a:gdLst>
              <a:gd name="T0" fmla="*/ 3 w 4"/>
              <a:gd name="T1" fmla="*/ 2 h 3"/>
              <a:gd name="T2" fmla="*/ 2 w 4"/>
              <a:gd name="T3" fmla="*/ 0 h 3"/>
              <a:gd name="T4" fmla="*/ 0 w 4"/>
              <a:gd name="T5" fmla="*/ 2 h 3"/>
              <a:gd name="T6" fmla="*/ 2 w 4"/>
              <a:gd name="T7" fmla="*/ 3 h 3"/>
              <a:gd name="T8" fmla="*/ 4 w 4"/>
              <a:gd name="T9" fmla="*/ 3 h 3"/>
              <a:gd name="T10" fmla="*/ 3 w 4"/>
              <a:gd name="T11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3">
                <a:moveTo>
                  <a:pt x="3" y="2"/>
                </a:moveTo>
                <a:lnTo>
                  <a:pt x="2" y="0"/>
                </a:lnTo>
                <a:lnTo>
                  <a:pt x="0" y="2"/>
                </a:lnTo>
                <a:lnTo>
                  <a:pt x="2" y="3"/>
                </a:lnTo>
                <a:lnTo>
                  <a:pt x="4" y="3"/>
                </a:lnTo>
                <a:lnTo>
                  <a:pt x="3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52" name="Freeform 251"/>
          <p:cNvSpPr>
            <a:spLocks/>
          </p:cNvSpPr>
          <p:nvPr/>
        </p:nvSpPr>
        <p:spPr bwMode="auto">
          <a:xfrm>
            <a:off x="6029325" y="2422491"/>
            <a:ext cx="6350" cy="4763"/>
          </a:xfrm>
          <a:custGeom>
            <a:avLst/>
            <a:gdLst>
              <a:gd name="T0" fmla="*/ 3 w 4"/>
              <a:gd name="T1" fmla="*/ 2 h 3"/>
              <a:gd name="T2" fmla="*/ 2 w 4"/>
              <a:gd name="T3" fmla="*/ 0 h 3"/>
              <a:gd name="T4" fmla="*/ 0 w 4"/>
              <a:gd name="T5" fmla="*/ 2 h 3"/>
              <a:gd name="T6" fmla="*/ 2 w 4"/>
              <a:gd name="T7" fmla="*/ 3 h 3"/>
              <a:gd name="T8" fmla="*/ 4 w 4"/>
              <a:gd name="T9" fmla="*/ 3 h 3"/>
              <a:gd name="T10" fmla="*/ 3 w 4"/>
              <a:gd name="T11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3">
                <a:moveTo>
                  <a:pt x="3" y="2"/>
                </a:moveTo>
                <a:lnTo>
                  <a:pt x="2" y="0"/>
                </a:lnTo>
                <a:lnTo>
                  <a:pt x="0" y="2"/>
                </a:lnTo>
                <a:lnTo>
                  <a:pt x="2" y="3"/>
                </a:lnTo>
                <a:lnTo>
                  <a:pt x="4" y="3"/>
                </a:lnTo>
                <a:lnTo>
                  <a:pt x="3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53" name="Freeform 252"/>
          <p:cNvSpPr>
            <a:spLocks/>
          </p:cNvSpPr>
          <p:nvPr/>
        </p:nvSpPr>
        <p:spPr bwMode="auto">
          <a:xfrm>
            <a:off x="5387975" y="2428841"/>
            <a:ext cx="522287" cy="423863"/>
          </a:xfrm>
          <a:custGeom>
            <a:avLst/>
            <a:gdLst>
              <a:gd name="T0" fmla="*/ 296 w 329"/>
              <a:gd name="T1" fmla="*/ 266 h 267"/>
              <a:gd name="T2" fmla="*/ 272 w 329"/>
              <a:gd name="T3" fmla="*/ 262 h 267"/>
              <a:gd name="T4" fmla="*/ 260 w 329"/>
              <a:gd name="T5" fmla="*/ 259 h 267"/>
              <a:gd name="T6" fmla="*/ 237 w 329"/>
              <a:gd name="T7" fmla="*/ 253 h 267"/>
              <a:gd name="T8" fmla="*/ 222 w 329"/>
              <a:gd name="T9" fmla="*/ 231 h 267"/>
              <a:gd name="T10" fmla="*/ 205 w 329"/>
              <a:gd name="T11" fmla="*/ 238 h 267"/>
              <a:gd name="T12" fmla="*/ 189 w 329"/>
              <a:gd name="T13" fmla="*/ 239 h 267"/>
              <a:gd name="T14" fmla="*/ 176 w 329"/>
              <a:gd name="T15" fmla="*/ 237 h 267"/>
              <a:gd name="T16" fmla="*/ 162 w 329"/>
              <a:gd name="T17" fmla="*/ 226 h 267"/>
              <a:gd name="T18" fmla="*/ 143 w 329"/>
              <a:gd name="T19" fmla="*/ 217 h 267"/>
              <a:gd name="T20" fmla="*/ 126 w 329"/>
              <a:gd name="T21" fmla="*/ 194 h 267"/>
              <a:gd name="T22" fmla="*/ 116 w 329"/>
              <a:gd name="T23" fmla="*/ 180 h 267"/>
              <a:gd name="T24" fmla="*/ 108 w 329"/>
              <a:gd name="T25" fmla="*/ 178 h 267"/>
              <a:gd name="T26" fmla="*/ 101 w 329"/>
              <a:gd name="T27" fmla="*/ 171 h 267"/>
              <a:gd name="T28" fmla="*/ 95 w 329"/>
              <a:gd name="T29" fmla="*/ 173 h 267"/>
              <a:gd name="T30" fmla="*/ 92 w 329"/>
              <a:gd name="T31" fmla="*/ 176 h 267"/>
              <a:gd name="T32" fmla="*/ 76 w 329"/>
              <a:gd name="T33" fmla="*/ 160 h 267"/>
              <a:gd name="T34" fmla="*/ 69 w 329"/>
              <a:gd name="T35" fmla="*/ 135 h 267"/>
              <a:gd name="T36" fmla="*/ 50 w 329"/>
              <a:gd name="T37" fmla="*/ 124 h 267"/>
              <a:gd name="T38" fmla="*/ 40 w 329"/>
              <a:gd name="T39" fmla="*/ 111 h 267"/>
              <a:gd name="T40" fmla="*/ 35 w 329"/>
              <a:gd name="T41" fmla="*/ 103 h 267"/>
              <a:gd name="T42" fmla="*/ 41 w 329"/>
              <a:gd name="T43" fmla="*/ 86 h 267"/>
              <a:gd name="T44" fmla="*/ 40 w 329"/>
              <a:gd name="T45" fmla="*/ 72 h 267"/>
              <a:gd name="T46" fmla="*/ 20 w 329"/>
              <a:gd name="T47" fmla="*/ 54 h 267"/>
              <a:gd name="T48" fmla="*/ 8 w 329"/>
              <a:gd name="T49" fmla="*/ 30 h 267"/>
              <a:gd name="T50" fmla="*/ 0 w 329"/>
              <a:gd name="T51" fmla="*/ 8 h 267"/>
              <a:gd name="T52" fmla="*/ 10 w 329"/>
              <a:gd name="T53" fmla="*/ 3 h 267"/>
              <a:gd name="T54" fmla="*/ 35 w 329"/>
              <a:gd name="T55" fmla="*/ 16 h 267"/>
              <a:gd name="T56" fmla="*/ 45 w 329"/>
              <a:gd name="T57" fmla="*/ 6 h 267"/>
              <a:gd name="T58" fmla="*/ 63 w 329"/>
              <a:gd name="T59" fmla="*/ 14 h 267"/>
              <a:gd name="T60" fmla="*/ 66 w 329"/>
              <a:gd name="T61" fmla="*/ 21 h 267"/>
              <a:gd name="T62" fmla="*/ 75 w 329"/>
              <a:gd name="T63" fmla="*/ 31 h 267"/>
              <a:gd name="T64" fmla="*/ 90 w 329"/>
              <a:gd name="T65" fmla="*/ 44 h 267"/>
              <a:gd name="T66" fmla="*/ 105 w 329"/>
              <a:gd name="T67" fmla="*/ 52 h 267"/>
              <a:gd name="T68" fmla="*/ 144 w 329"/>
              <a:gd name="T69" fmla="*/ 53 h 267"/>
              <a:gd name="T70" fmla="*/ 156 w 329"/>
              <a:gd name="T71" fmla="*/ 53 h 267"/>
              <a:gd name="T72" fmla="*/ 169 w 329"/>
              <a:gd name="T73" fmla="*/ 34 h 267"/>
              <a:gd name="T74" fmla="*/ 185 w 329"/>
              <a:gd name="T75" fmla="*/ 31 h 267"/>
              <a:gd name="T76" fmla="*/ 201 w 329"/>
              <a:gd name="T77" fmla="*/ 30 h 267"/>
              <a:gd name="T78" fmla="*/ 225 w 329"/>
              <a:gd name="T79" fmla="*/ 39 h 267"/>
              <a:gd name="T80" fmla="*/ 240 w 329"/>
              <a:gd name="T81" fmla="*/ 47 h 267"/>
              <a:gd name="T82" fmla="*/ 265 w 329"/>
              <a:gd name="T83" fmla="*/ 60 h 267"/>
              <a:gd name="T84" fmla="*/ 271 w 329"/>
              <a:gd name="T85" fmla="*/ 84 h 267"/>
              <a:gd name="T86" fmla="*/ 264 w 329"/>
              <a:gd name="T87" fmla="*/ 105 h 267"/>
              <a:gd name="T88" fmla="*/ 268 w 329"/>
              <a:gd name="T89" fmla="*/ 125 h 267"/>
              <a:gd name="T90" fmla="*/ 275 w 329"/>
              <a:gd name="T91" fmla="*/ 146 h 267"/>
              <a:gd name="T92" fmla="*/ 292 w 329"/>
              <a:gd name="T93" fmla="*/ 157 h 267"/>
              <a:gd name="T94" fmla="*/ 284 w 329"/>
              <a:gd name="T95" fmla="*/ 183 h 267"/>
              <a:gd name="T96" fmla="*/ 307 w 329"/>
              <a:gd name="T97" fmla="*/ 207 h 267"/>
              <a:gd name="T98" fmla="*/ 321 w 329"/>
              <a:gd name="T99" fmla="*/ 228 h 267"/>
              <a:gd name="T100" fmla="*/ 325 w 329"/>
              <a:gd name="T101" fmla="*/ 239 h 267"/>
              <a:gd name="T102" fmla="*/ 308 w 329"/>
              <a:gd name="T103" fmla="*/ 249 h 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29" h="267">
                <a:moveTo>
                  <a:pt x="307" y="267"/>
                </a:moveTo>
                <a:lnTo>
                  <a:pt x="306" y="266"/>
                </a:lnTo>
                <a:lnTo>
                  <a:pt x="304" y="267"/>
                </a:lnTo>
                <a:lnTo>
                  <a:pt x="301" y="267"/>
                </a:lnTo>
                <a:lnTo>
                  <a:pt x="296" y="266"/>
                </a:lnTo>
                <a:lnTo>
                  <a:pt x="292" y="265"/>
                </a:lnTo>
                <a:lnTo>
                  <a:pt x="289" y="262"/>
                </a:lnTo>
                <a:lnTo>
                  <a:pt x="287" y="264"/>
                </a:lnTo>
                <a:lnTo>
                  <a:pt x="277" y="263"/>
                </a:lnTo>
                <a:lnTo>
                  <a:pt x="272" y="262"/>
                </a:lnTo>
                <a:lnTo>
                  <a:pt x="268" y="261"/>
                </a:lnTo>
                <a:lnTo>
                  <a:pt x="267" y="262"/>
                </a:lnTo>
                <a:lnTo>
                  <a:pt x="267" y="263"/>
                </a:lnTo>
                <a:lnTo>
                  <a:pt x="264" y="261"/>
                </a:lnTo>
                <a:lnTo>
                  <a:pt x="260" y="259"/>
                </a:lnTo>
                <a:lnTo>
                  <a:pt x="254" y="259"/>
                </a:lnTo>
                <a:lnTo>
                  <a:pt x="248" y="258"/>
                </a:lnTo>
                <a:lnTo>
                  <a:pt x="245" y="257"/>
                </a:lnTo>
                <a:lnTo>
                  <a:pt x="241" y="257"/>
                </a:lnTo>
                <a:lnTo>
                  <a:pt x="237" y="253"/>
                </a:lnTo>
                <a:lnTo>
                  <a:pt x="234" y="247"/>
                </a:lnTo>
                <a:lnTo>
                  <a:pt x="232" y="239"/>
                </a:lnTo>
                <a:lnTo>
                  <a:pt x="230" y="235"/>
                </a:lnTo>
                <a:lnTo>
                  <a:pt x="225" y="232"/>
                </a:lnTo>
                <a:lnTo>
                  <a:pt x="222" y="231"/>
                </a:lnTo>
                <a:lnTo>
                  <a:pt x="220" y="231"/>
                </a:lnTo>
                <a:lnTo>
                  <a:pt x="214" y="233"/>
                </a:lnTo>
                <a:lnTo>
                  <a:pt x="210" y="235"/>
                </a:lnTo>
                <a:lnTo>
                  <a:pt x="207" y="237"/>
                </a:lnTo>
                <a:lnTo>
                  <a:pt x="205" y="238"/>
                </a:lnTo>
                <a:lnTo>
                  <a:pt x="203" y="238"/>
                </a:lnTo>
                <a:lnTo>
                  <a:pt x="198" y="242"/>
                </a:lnTo>
                <a:lnTo>
                  <a:pt x="195" y="243"/>
                </a:lnTo>
                <a:lnTo>
                  <a:pt x="191" y="242"/>
                </a:lnTo>
                <a:lnTo>
                  <a:pt x="189" y="239"/>
                </a:lnTo>
                <a:lnTo>
                  <a:pt x="184" y="238"/>
                </a:lnTo>
                <a:lnTo>
                  <a:pt x="181" y="239"/>
                </a:lnTo>
                <a:lnTo>
                  <a:pt x="179" y="239"/>
                </a:lnTo>
                <a:lnTo>
                  <a:pt x="175" y="236"/>
                </a:lnTo>
                <a:lnTo>
                  <a:pt x="176" y="237"/>
                </a:lnTo>
                <a:lnTo>
                  <a:pt x="176" y="235"/>
                </a:lnTo>
                <a:lnTo>
                  <a:pt x="174" y="234"/>
                </a:lnTo>
                <a:lnTo>
                  <a:pt x="165" y="231"/>
                </a:lnTo>
                <a:lnTo>
                  <a:pt x="162" y="227"/>
                </a:lnTo>
                <a:lnTo>
                  <a:pt x="162" y="226"/>
                </a:lnTo>
                <a:lnTo>
                  <a:pt x="159" y="223"/>
                </a:lnTo>
                <a:lnTo>
                  <a:pt x="154" y="221"/>
                </a:lnTo>
                <a:lnTo>
                  <a:pt x="151" y="220"/>
                </a:lnTo>
                <a:lnTo>
                  <a:pt x="146" y="220"/>
                </a:lnTo>
                <a:lnTo>
                  <a:pt x="143" y="217"/>
                </a:lnTo>
                <a:lnTo>
                  <a:pt x="141" y="215"/>
                </a:lnTo>
                <a:lnTo>
                  <a:pt x="137" y="208"/>
                </a:lnTo>
                <a:lnTo>
                  <a:pt x="134" y="203"/>
                </a:lnTo>
                <a:lnTo>
                  <a:pt x="133" y="200"/>
                </a:lnTo>
                <a:lnTo>
                  <a:pt x="126" y="194"/>
                </a:lnTo>
                <a:lnTo>
                  <a:pt x="125" y="190"/>
                </a:lnTo>
                <a:lnTo>
                  <a:pt x="123" y="187"/>
                </a:lnTo>
                <a:lnTo>
                  <a:pt x="121" y="186"/>
                </a:lnTo>
                <a:lnTo>
                  <a:pt x="117" y="182"/>
                </a:lnTo>
                <a:lnTo>
                  <a:pt x="116" y="180"/>
                </a:lnTo>
                <a:lnTo>
                  <a:pt x="115" y="177"/>
                </a:lnTo>
                <a:lnTo>
                  <a:pt x="113" y="176"/>
                </a:lnTo>
                <a:lnTo>
                  <a:pt x="111" y="177"/>
                </a:lnTo>
                <a:lnTo>
                  <a:pt x="109" y="180"/>
                </a:lnTo>
                <a:lnTo>
                  <a:pt x="108" y="178"/>
                </a:lnTo>
                <a:lnTo>
                  <a:pt x="106" y="178"/>
                </a:lnTo>
                <a:lnTo>
                  <a:pt x="105" y="177"/>
                </a:lnTo>
                <a:lnTo>
                  <a:pt x="103" y="175"/>
                </a:lnTo>
                <a:lnTo>
                  <a:pt x="101" y="173"/>
                </a:lnTo>
                <a:lnTo>
                  <a:pt x="101" y="171"/>
                </a:lnTo>
                <a:lnTo>
                  <a:pt x="99" y="170"/>
                </a:lnTo>
                <a:lnTo>
                  <a:pt x="96" y="168"/>
                </a:lnTo>
                <a:lnTo>
                  <a:pt x="95" y="170"/>
                </a:lnTo>
                <a:lnTo>
                  <a:pt x="96" y="172"/>
                </a:lnTo>
                <a:lnTo>
                  <a:pt x="95" y="173"/>
                </a:lnTo>
                <a:lnTo>
                  <a:pt x="96" y="175"/>
                </a:lnTo>
                <a:lnTo>
                  <a:pt x="94" y="175"/>
                </a:lnTo>
                <a:lnTo>
                  <a:pt x="94" y="177"/>
                </a:lnTo>
                <a:lnTo>
                  <a:pt x="93" y="177"/>
                </a:lnTo>
                <a:lnTo>
                  <a:pt x="92" y="176"/>
                </a:lnTo>
                <a:lnTo>
                  <a:pt x="86" y="172"/>
                </a:lnTo>
                <a:lnTo>
                  <a:pt x="84" y="171"/>
                </a:lnTo>
                <a:lnTo>
                  <a:pt x="82" y="167"/>
                </a:lnTo>
                <a:lnTo>
                  <a:pt x="80" y="162"/>
                </a:lnTo>
                <a:lnTo>
                  <a:pt x="76" y="160"/>
                </a:lnTo>
                <a:lnTo>
                  <a:pt x="75" y="154"/>
                </a:lnTo>
                <a:lnTo>
                  <a:pt x="75" y="146"/>
                </a:lnTo>
                <a:lnTo>
                  <a:pt x="73" y="143"/>
                </a:lnTo>
                <a:lnTo>
                  <a:pt x="71" y="140"/>
                </a:lnTo>
                <a:lnTo>
                  <a:pt x="69" y="135"/>
                </a:lnTo>
                <a:lnTo>
                  <a:pt x="65" y="132"/>
                </a:lnTo>
                <a:lnTo>
                  <a:pt x="62" y="131"/>
                </a:lnTo>
                <a:lnTo>
                  <a:pt x="59" y="130"/>
                </a:lnTo>
                <a:lnTo>
                  <a:pt x="54" y="126"/>
                </a:lnTo>
                <a:lnTo>
                  <a:pt x="50" y="124"/>
                </a:lnTo>
                <a:lnTo>
                  <a:pt x="46" y="122"/>
                </a:lnTo>
                <a:lnTo>
                  <a:pt x="45" y="118"/>
                </a:lnTo>
                <a:lnTo>
                  <a:pt x="43" y="115"/>
                </a:lnTo>
                <a:lnTo>
                  <a:pt x="41" y="113"/>
                </a:lnTo>
                <a:lnTo>
                  <a:pt x="40" y="111"/>
                </a:lnTo>
                <a:lnTo>
                  <a:pt x="38" y="112"/>
                </a:lnTo>
                <a:lnTo>
                  <a:pt x="35" y="110"/>
                </a:lnTo>
                <a:lnTo>
                  <a:pt x="34" y="105"/>
                </a:lnTo>
                <a:lnTo>
                  <a:pt x="35" y="105"/>
                </a:lnTo>
                <a:lnTo>
                  <a:pt x="35" y="103"/>
                </a:lnTo>
                <a:lnTo>
                  <a:pt x="35" y="96"/>
                </a:lnTo>
                <a:lnTo>
                  <a:pt x="36" y="94"/>
                </a:lnTo>
                <a:lnTo>
                  <a:pt x="39" y="94"/>
                </a:lnTo>
                <a:lnTo>
                  <a:pt x="39" y="92"/>
                </a:lnTo>
                <a:lnTo>
                  <a:pt x="41" y="86"/>
                </a:lnTo>
                <a:lnTo>
                  <a:pt x="43" y="83"/>
                </a:lnTo>
                <a:lnTo>
                  <a:pt x="41" y="77"/>
                </a:lnTo>
                <a:lnTo>
                  <a:pt x="42" y="74"/>
                </a:lnTo>
                <a:lnTo>
                  <a:pt x="43" y="72"/>
                </a:lnTo>
                <a:lnTo>
                  <a:pt x="40" y="72"/>
                </a:lnTo>
                <a:lnTo>
                  <a:pt x="33" y="71"/>
                </a:lnTo>
                <a:lnTo>
                  <a:pt x="30" y="67"/>
                </a:lnTo>
                <a:lnTo>
                  <a:pt x="27" y="62"/>
                </a:lnTo>
                <a:lnTo>
                  <a:pt x="23" y="60"/>
                </a:lnTo>
                <a:lnTo>
                  <a:pt x="20" y="54"/>
                </a:lnTo>
                <a:lnTo>
                  <a:pt x="17" y="46"/>
                </a:lnTo>
                <a:lnTo>
                  <a:pt x="15" y="42"/>
                </a:lnTo>
                <a:lnTo>
                  <a:pt x="12" y="37"/>
                </a:lnTo>
                <a:lnTo>
                  <a:pt x="8" y="35"/>
                </a:lnTo>
                <a:lnTo>
                  <a:pt x="8" y="30"/>
                </a:lnTo>
                <a:lnTo>
                  <a:pt x="7" y="25"/>
                </a:lnTo>
                <a:lnTo>
                  <a:pt x="5" y="21"/>
                </a:lnTo>
                <a:lnTo>
                  <a:pt x="4" y="14"/>
                </a:lnTo>
                <a:lnTo>
                  <a:pt x="1" y="10"/>
                </a:lnTo>
                <a:lnTo>
                  <a:pt x="0" y="8"/>
                </a:lnTo>
                <a:lnTo>
                  <a:pt x="4" y="5"/>
                </a:lnTo>
                <a:lnTo>
                  <a:pt x="4" y="4"/>
                </a:lnTo>
                <a:lnTo>
                  <a:pt x="5" y="0"/>
                </a:lnTo>
                <a:lnTo>
                  <a:pt x="9" y="2"/>
                </a:lnTo>
                <a:lnTo>
                  <a:pt x="10" y="3"/>
                </a:lnTo>
                <a:lnTo>
                  <a:pt x="21" y="15"/>
                </a:lnTo>
                <a:lnTo>
                  <a:pt x="25" y="16"/>
                </a:lnTo>
                <a:lnTo>
                  <a:pt x="29" y="16"/>
                </a:lnTo>
                <a:lnTo>
                  <a:pt x="31" y="16"/>
                </a:lnTo>
                <a:lnTo>
                  <a:pt x="35" y="16"/>
                </a:lnTo>
                <a:lnTo>
                  <a:pt x="36" y="16"/>
                </a:lnTo>
                <a:lnTo>
                  <a:pt x="40" y="16"/>
                </a:lnTo>
                <a:lnTo>
                  <a:pt x="42" y="13"/>
                </a:lnTo>
                <a:lnTo>
                  <a:pt x="43" y="9"/>
                </a:lnTo>
                <a:lnTo>
                  <a:pt x="45" y="6"/>
                </a:lnTo>
                <a:lnTo>
                  <a:pt x="48" y="4"/>
                </a:lnTo>
                <a:lnTo>
                  <a:pt x="54" y="3"/>
                </a:lnTo>
                <a:lnTo>
                  <a:pt x="60" y="5"/>
                </a:lnTo>
                <a:lnTo>
                  <a:pt x="60" y="9"/>
                </a:lnTo>
                <a:lnTo>
                  <a:pt x="63" y="14"/>
                </a:lnTo>
                <a:lnTo>
                  <a:pt x="60" y="16"/>
                </a:lnTo>
                <a:lnTo>
                  <a:pt x="59" y="17"/>
                </a:lnTo>
                <a:lnTo>
                  <a:pt x="62" y="19"/>
                </a:lnTo>
                <a:lnTo>
                  <a:pt x="63" y="21"/>
                </a:lnTo>
                <a:lnTo>
                  <a:pt x="66" y="21"/>
                </a:lnTo>
                <a:lnTo>
                  <a:pt x="69" y="23"/>
                </a:lnTo>
                <a:lnTo>
                  <a:pt x="70" y="24"/>
                </a:lnTo>
                <a:lnTo>
                  <a:pt x="72" y="24"/>
                </a:lnTo>
                <a:lnTo>
                  <a:pt x="73" y="23"/>
                </a:lnTo>
                <a:lnTo>
                  <a:pt x="75" y="31"/>
                </a:lnTo>
                <a:lnTo>
                  <a:pt x="78" y="36"/>
                </a:lnTo>
                <a:lnTo>
                  <a:pt x="80" y="40"/>
                </a:lnTo>
                <a:lnTo>
                  <a:pt x="83" y="42"/>
                </a:lnTo>
                <a:lnTo>
                  <a:pt x="86" y="43"/>
                </a:lnTo>
                <a:lnTo>
                  <a:pt x="90" y="44"/>
                </a:lnTo>
                <a:lnTo>
                  <a:pt x="93" y="43"/>
                </a:lnTo>
                <a:lnTo>
                  <a:pt x="96" y="43"/>
                </a:lnTo>
                <a:lnTo>
                  <a:pt x="99" y="45"/>
                </a:lnTo>
                <a:lnTo>
                  <a:pt x="101" y="49"/>
                </a:lnTo>
                <a:lnTo>
                  <a:pt x="105" y="52"/>
                </a:lnTo>
                <a:lnTo>
                  <a:pt x="112" y="55"/>
                </a:lnTo>
                <a:lnTo>
                  <a:pt x="122" y="57"/>
                </a:lnTo>
                <a:lnTo>
                  <a:pt x="125" y="59"/>
                </a:lnTo>
                <a:lnTo>
                  <a:pt x="140" y="54"/>
                </a:lnTo>
                <a:lnTo>
                  <a:pt x="144" y="53"/>
                </a:lnTo>
                <a:lnTo>
                  <a:pt x="150" y="52"/>
                </a:lnTo>
                <a:lnTo>
                  <a:pt x="150" y="53"/>
                </a:lnTo>
                <a:lnTo>
                  <a:pt x="145" y="53"/>
                </a:lnTo>
                <a:lnTo>
                  <a:pt x="151" y="54"/>
                </a:lnTo>
                <a:lnTo>
                  <a:pt x="156" y="53"/>
                </a:lnTo>
                <a:lnTo>
                  <a:pt x="155" y="47"/>
                </a:lnTo>
                <a:lnTo>
                  <a:pt x="152" y="42"/>
                </a:lnTo>
                <a:lnTo>
                  <a:pt x="156" y="42"/>
                </a:lnTo>
                <a:lnTo>
                  <a:pt x="161" y="41"/>
                </a:lnTo>
                <a:lnTo>
                  <a:pt x="169" y="34"/>
                </a:lnTo>
                <a:lnTo>
                  <a:pt x="172" y="31"/>
                </a:lnTo>
                <a:lnTo>
                  <a:pt x="176" y="30"/>
                </a:lnTo>
                <a:lnTo>
                  <a:pt x="179" y="30"/>
                </a:lnTo>
                <a:lnTo>
                  <a:pt x="182" y="31"/>
                </a:lnTo>
                <a:lnTo>
                  <a:pt x="185" y="31"/>
                </a:lnTo>
                <a:lnTo>
                  <a:pt x="186" y="29"/>
                </a:lnTo>
                <a:lnTo>
                  <a:pt x="186" y="27"/>
                </a:lnTo>
                <a:lnTo>
                  <a:pt x="191" y="26"/>
                </a:lnTo>
                <a:lnTo>
                  <a:pt x="196" y="26"/>
                </a:lnTo>
                <a:lnTo>
                  <a:pt x="201" y="30"/>
                </a:lnTo>
                <a:lnTo>
                  <a:pt x="204" y="33"/>
                </a:lnTo>
                <a:lnTo>
                  <a:pt x="215" y="36"/>
                </a:lnTo>
                <a:lnTo>
                  <a:pt x="218" y="39"/>
                </a:lnTo>
                <a:lnTo>
                  <a:pt x="222" y="39"/>
                </a:lnTo>
                <a:lnTo>
                  <a:pt x="225" y="39"/>
                </a:lnTo>
                <a:lnTo>
                  <a:pt x="230" y="39"/>
                </a:lnTo>
                <a:lnTo>
                  <a:pt x="232" y="40"/>
                </a:lnTo>
                <a:lnTo>
                  <a:pt x="235" y="43"/>
                </a:lnTo>
                <a:lnTo>
                  <a:pt x="237" y="47"/>
                </a:lnTo>
                <a:lnTo>
                  <a:pt x="240" y="47"/>
                </a:lnTo>
                <a:lnTo>
                  <a:pt x="245" y="51"/>
                </a:lnTo>
                <a:lnTo>
                  <a:pt x="252" y="55"/>
                </a:lnTo>
                <a:lnTo>
                  <a:pt x="257" y="57"/>
                </a:lnTo>
                <a:lnTo>
                  <a:pt x="264" y="57"/>
                </a:lnTo>
                <a:lnTo>
                  <a:pt x="265" y="60"/>
                </a:lnTo>
                <a:lnTo>
                  <a:pt x="267" y="69"/>
                </a:lnTo>
                <a:lnTo>
                  <a:pt x="270" y="72"/>
                </a:lnTo>
                <a:lnTo>
                  <a:pt x="270" y="75"/>
                </a:lnTo>
                <a:lnTo>
                  <a:pt x="270" y="80"/>
                </a:lnTo>
                <a:lnTo>
                  <a:pt x="271" y="84"/>
                </a:lnTo>
                <a:lnTo>
                  <a:pt x="271" y="90"/>
                </a:lnTo>
                <a:lnTo>
                  <a:pt x="268" y="95"/>
                </a:lnTo>
                <a:lnTo>
                  <a:pt x="268" y="100"/>
                </a:lnTo>
                <a:lnTo>
                  <a:pt x="263" y="102"/>
                </a:lnTo>
                <a:lnTo>
                  <a:pt x="264" y="105"/>
                </a:lnTo>
                <a:lnTo>
                  <a:pt x="265" y="111"/>
                </a:lnTo>
                <a:lnTo>
                  <a:pt x="270" y="112"/>
                </a:lnTo>
                <a:lnTo>
                  <a:pt x="270" y="114"/>
                </a:lnTo>
                <a:lnTo>
                  <a:pt x="268" y="120"/>
                </a:lnTo>
                <a:lnTo>
                  <a:pt x="268" y="125"/>
                </a:lnTo>
                <a:lnTo>
                  <a:pt x="271" y="128"/>
                </a:lnTo>
                <a:lnTo>
                  <a:pt x="273" y="133"/>
                </a:lnTo>
                <a:lnTo>
                  <a:pt x="274" y="137"/>
                </a:lnTo>
                <a:lnTo>
                  <a:pt x="275" y="143"/>
                </a:lnTo>
                <a:lnTo>
                  <a:pt x="275" y="146"/>
                </a:lnTo>
                <a:lnTo>
                  <a:pt x="278" y="150"/>
                </a:lnTo>
                <a:lnTo>
                  <a:pt x="283" y="151"/>
                </a:lnTo>
                <a:lnTo>
                  <a:pt x="286" y="151"/>
                </a:lnTo>
                <a:lnTo>
                  <a:pt x="289" y="153"/>
                </a:lnTo>
                <a:lnTo>
                  <a:pt x="292" y="157"/>
                </a:lnTo>
                <a:lnTo>
                  <a:pt x="293" y="162"/>
                </a:lnTo>
                <a:lnTo>
                  <a:pt x="292" y="166"/>
                </a:lnTo>
                <a:lnTo>
                  <a:pt x="286" y="175"/>
                </a:lnTo>
                <a:lnTo>
                  <a:pt x="284" y="182"/>
                </a:lnTo>
                <a:lnTo>
                  <a:pt x="284" y="183"/>
                </a:lnTo>
                <a:lnTo>
                  <a:pt x="286" y="186"/>
                </a:lnTo>
                <a:lnTo>
                  <a:pt x="291" y="190"/>
                </a:lnTo>
                <a:lnTo>
                  <a:pt x="298" y="202"/>
                </a:lnTo>
                <a:lnTo>
                  <a:pt x="303" y="205"/>
                </a:lnTo>
                <a:lnTo>
                  <a:pt x="307" y="207"/>
                </a:lnTo>
                <a:lnTo>
                  <a:pt x="315" y="210"/>
                </a:lnTo>
                <a:lnTo>
                  <a:pt x="317" y="212"/>
                </a:lnTo>
                <a:lnTo>
                  <a:pt x="319" y="220"/>
                </a:lnTo>
                <a:lnTo>
                  <a:pt x="321" y="224"/>
                </a:lnTo>
                <a:lnTo>
                  <a:pt x="321" y="228"/>
                </a:lnTo>
                <a:lnTo>
                  <a:pt x="326" y="229"/>
                </a:lnTo>
                <a:lnTo>
                  <a:pt x="328" y="231"/>
                </a:lnTo>
                <a:lnTo>
                  <a:pt x="329" y="234"/>
                </a:lnTo>
                <a:lnTo>
                  <a:pt x="328" y="235"/>
                </a:lnTo>
                <a:lnTo>
                  <a:pt x="325" y="239"/>
                </a:lnTo>
                <a:lnTo>
                  <a:pt x="322" y="239"/>
                </a:lnTo>
                <a:lnTo>
                  <a:pt x="317" y="242"/>
                </a:lnTo>
                <a:lnTo>
                  <a:pt x="314" y="243"/>
                </a:lnTo>
                <a:lnTo>
                  <a:pt x="311" y="246"/>
                </a:lnTo>
                <a:lnTo>
                  <a:pt x="308" y="249"/>
                </a:lnTo>
                <a:lnTo>
                  <a:pt x="307" y="258"/>
                </a:lnTo>
                <a:lnTo>
                  <a:pt x="306" y="262"/>
                </a:lnTo>
                <a:lnTo>
                  <a:pt x="307" y="267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54" name="Freeform 253"/>
          <p:cNvSpPr>
            <a:spLocks/>
          </p:cNvSpPr>
          <p:nvPr/>
        </p:nvSpPr>
        <p:spPr bwMode="auto">
          <a:xfrm>
            <a:off x="5387975" y="2428841"/>
            <a:ext cx="522287" cy="423863"/>
          </a:xfrm>
          <a:custGeom>
            <a:avLst/>
            <a:gdLst>
              <a:gd name="T0" fmla="*/ 296 w 329"/>
              <a:gd name="T1" fmla="*/ 266 h 267"/>
              <a:gd name="T2" fmla="*/ 272 w 329"/>
              <a:gd name="T3" fmla="*/ 262 h 267"/>
              <a:gd name="T4" fmla="*/ 260 w 329"/>
              <a:gd name="T5" fmla="*/ 259 h 267"/>
              <a:gd name="T6" fmla="*/ 237 w 329"/>
              <a:gd name="T7" fmla="*/ 253 h 267"/>
              <a:gd name="T8" fmla="*/ 222 w 329"/>
              <a:gd name="T9" fmla="*/ 231 h 267"/>
              <a:gd name="T10" fmla="*/ 205 w 329"/>
              <a:gd name="T11" fmla="*/ 238 h 267"/>
              <a:gd name="T12" fmla="*/ 189 w 329"/>
              <a:gd name="T13" fmla="*/ 239 h 267"/>
              <a:gd name="T14" fmla="*/ 176 w 329"/>
              <a:gd name="T15" fmla="*/ 237 h 267"/>
              <a:gd name="T16" fmla="*/ 162 w 329"/>
              <a:gd name="T17" fmla="*/ 226 h 267"/>
              <a:gd name="T18" fmla="*/ 143 w 329"/>
              <a:gd name="T19" fmla="*/ 217 h 267"/>
              <a:gd name="T20" fmla="*/ 126 w 329"/>
              <a:gd name="T21" fmla="*/ 194 h 267"/>
              <a:gd name="T22" fmla="*/ 116 w 329"/>
              <a:gd name="T23" fmla="*/ 180 h 267"/>
              <a:gd name="T24" fmla="*/ 108 w 329"/>
              <a:gd name="T25" fmla="*/ 178 h 267"/>
              <a:gd name="T26" fmla="*/ 101 w 329"/>
              <a:gd name="T27" fmla="*/ 171 h 267"/>
              <a:gd name="T28" fmla="*/ 95 w 329"/>
              <a:gd name="T29" fmla="*/ 173 h 267"/>
              <a:gd name="T30" fmla="*/ 92 w 329"/>
              <a:gd name="T31" fmla="*/ 176 h 267"/>
              <a:gd name="T32" fmla="*/ 76 w 329"/>
              <a:gd name="T33" fmla="*/ 160 h 267"/>
              <a:gd name="T34" fmla="*/ 69 w 329"/>
              <a:gd name="T35" fmla="*/ 135 h 267"/>
              <a:gd name="T36" fmla="*/ 50 w 329"/>
              <a:gd name="T37" fmla="*/ 124 h 267"/>
              <a:gd name="T38" fmla="*/ 40 w 329"/>
              <a:gd name="T39" fmla="*/ 111 h 267"/>
              <a:gd name="T40" fmla="*/ 35 w 329"/>
              <a:gd name="T41" fmla="*/ 103 h 267"/>
              <a:gd name="T42" fmla="*/ 41 w 329"/>
              <a:gd name="T43" fmla="*/ 86 h 267"/>
              <a:gd name="T44" fmla="*/ 40 w 329"/>
              <a:gd name="T45" fmla="*/ 72 h 267"/>
              <a:gd name="T46" fmla="*/ 20 w 329"/>
              <a:gd name="T47" fmla="*/ 54 h 267"/>
              <a:gd name="T48" fmla="*/ 8 w 329"/>
              <a:gd name="T49" fmla="*/ 30 h 267"/>
              <a:gd name="T50" fmla="*/ 0 w 329"/>
              <a:gd name="T51" fmla="*/ 8 h 267"/>
              <a:gd name="T52" fmla="*/ 10 w 329"/>
              <a:gd name="T53" fmla="*/ 3 h 267"/>
              <a:gd name="T54" fmla="*/ 35 w 329"/>
              <a:gd name="T55" fmla="*/ 16 h 267"/>
              <a:gd name="T56" fmla="*/ 45 w 329"/>
              <a:gd name="T57" fmla="*/ 6 h 267"/>
              <a:gd name="T58" fmla="*/ 63 w 329"/>
              <a:gd name="T59" fmla="*/ 14 h 267"/>
              <a:gd name="T60" fmla="*/ 66 w 329"/>
              <a:gd name="T61" fmla="*/ 21 h 267"/>
              <a:gd name="T62" fmla="*/ 75 w 329"/>
              <a:gd name="T63" fmla="*/ 31 h 267"/>
              <a:gd name="T64" fmla="*/ 90 w 329"/>
              <a:gd name="T65" fmla="*/ 44 h 267"/>
              <a:gd name="T66" fmla="*/ 105 w 329"/>
              <a:gd name="T67" fmla="*/ 52 h 267"/>
              <a:gd name="T68" fmla="*/ 144 w 329"/>
              <a:gd name="T69" fmla="*/ 53 h 267"/>
              <a:gd name="T70" fmla="*/ 156 w 329"/>
              <a:gd name="T71" fmla="*/ 53 h 267"/>
              <a:gd name="T72" fmla="*/ 169 w 329"/>
              <a:gd name="T73" fmla="*/ 34 h 267"/>
              <a:gd name="T74" fmla="*/ 185 w 329"/>
              <a:gd name="T75" fmla="*/ 31 h 267"/>
              <a:gd name="T76" fmla="*/ 201 w 329"/>
              <a:gd name="T77" fmla="*/ 30 h 267"/>
              <a:gd name="T78" fmla="*/ 225 w 329"/>
              <a:gd name="T79" fmla="*/ 39 h 267"/>
              <a:gd name="T80" fmla="*/ 240 w 329"/>
              <a:gd name="T81" fmla="*/ 47 h 267"/>
              <a:gd name="T82" fmla="*/ 265 w 329"/>
              <a:gd name="T83" fmla="*/ 60 h 267"/>
              <a:gd name="T84" fmla="*/ 271 w 329"/>
              <a:gd name="T85" fmla="*/ 84 h 267"/>
              <a:gd name="T86" fmla="*/ 264 w 329"/>
              <a:gd name="T87" fmla="*/ 105 h 267"/>
              <a:gd name="T88" fmla="*/ 268 w 329"/>
              <a:gd name="T89" fmla="*/ 125 h 267"/>
              <a:gd name="T90" fmla="*/ 275 w 329"/>
              <a:gd name="T91" fmla="*/ 146 h 267"/>
              <a:gd name="T92" fmla="*/ 292 w 329"/>
              <a:gd name="T93" fmla="*/ 157 h 267"/>
              <a:gd name="T94" fmla="*/ 284 w 329"/>
              <a:gd name="T95" fmla="*/ 183 h 267"/>
              <a:gd name="T96" fmla="*/ 307 w 329"/>
              <a:gd name="T97" fmla="*/ 207 h 267"/>
              <a:gd name="T98" fmla="*/ 321 w 329"/>
              <a:gd name="T99" fmla="*/ 228 h 267"/>
              <a:gd name="T100" fmla="*/ 325 w 329"/>
              <a:gd name="T101" fmla="*/ 239 h 267"/>
              <a:gd name="T102" fmla="*/ 308 w 329"/>
              <a:gd name="T103" fmla="*/ 249 h 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29" h="267">
                <a:moveTo>
                  <a:pt x="307" y="267"/>
                </a:moveTo>
                <a:lnTo>
                  <a:pt x="306" y="266"/>
                </a:lnTo>
                <a:lnTo>
                  <a:pt x="304" y="267"/>
                </a:lnTo>
                <a:lnTo>
                  <a:pt x="301" y="267"/>
                </a:lnTo>
                <a:lnTo>
                  <a:pt x="296" y="266"/>
                </a:lnTo>
                <a:lnTo>
                  <a:pt x="292" y="265"/>
                </a:lnTo>
                <a:lnTo>
                  <a:pt x="289" y="262"/>
                </a:lnTo>
                <a:lnTo>
                  <a:pt x="287" y="264"/>
                </a:lnTo>
                <a:lnTo>
                  <a:pt x="277" y="263"/>
                </a:lnTo>
                <a:lnTo>
                  <a:pt x="272" y="262"/>
                </a:lnTo>
                <a:lnTo>
                  <a:pt x="268" y="261"/>
                </a:lnTo>
                <a:lnTo>
                  <a:pt x="267" y="262"/>
                </a:lnTo>
                <a:lnTo>
                  <a:pt x="267" y="263"/>
                </a:lnTo>
                <a:lnTo>
                  <a:pt x="264" y="261"/>
                </a:lnTo>
                <a:lnTo>
                  <a:pt x="260" y="259"/>
                </a:lnTo>
                <a:lnTo>
                  <a:pt x="254" y="259"/>
                </a:lnTo>
                <a:lnTo>
                  <a:pt x="248" y="258"/>
                </a:lnTo>
                <a:lnTo>
                  <a:pt x="245" y="257"/>
                </a:lnTo>
                <a:lnTo>
                  <a:pt x="241" y="257"/>
                </a:lnTo>
                <a:lnTo>
                  <a:pt x="237" y="253"/>
                </a:lnTo>
                <a:lnTo>
                  <a:pt x="234" y="247"/>
                </a:lnTo>
                <a:lnTo>
                  <a:pt x="232" y="239"/>
                </a:lnTo>
                <a:lnTo>
                  <a:pt x="230" y="235"/>
                </a:lnTo>
                <a:lnTo>
                  <a:pt x="225" y="232"/>
                </a:lnTo>
                <a:lnTo>
                  <a:pt x="222" y="231"/>
                </a:lnTo>
                <a:lnTo>
                  <a:pt x="220" y="231"/>
                </a:lnTo>
                <a:lnTo>
                  <a:pt x="214" y="233"/>
                </a:lnTo>
                <a:lnTo>
                  <a:pt x="210" y="235"/>
                </a:lnTo>
                <a:lnTo>
                  <a:pt x="207" y="237"/>
                </a:lnTo>
                <a:lnTo>
                  <a:pt x="205" y="238"/>
                </a:lnTo>
                <a:lnTo>
                  <a:pt x="203" y="238"/>
                </a:lnTo>
                <a:lnTo>
                  <a:pt x="198" y="242"/>
                </a:lnTo>
                <a:lnTo>
                  <a:pt x="195" y="243"/>
                </a:lnTo>
                <a:lnTo>
                  <a:pt x="191" y="242"/>
                </a:lnTo>
                <a:lnTo>
                  <a:pt x="189" y="239"/>
                </a:lnTo>
                <a:lnTo>
                  <a:pt x="184" y="238"/>
                </a:lnTo>
                <a:lnTo>
                  <a:pt x="181" y="239"/>
                </a:lnTo>
                <a:lnTo>
                  <a:pt x="179" y="239"/>
                </a:lnTo>
                <a:lnTo>
                  <a:pt x="175" y="236"/>
                </a:lnTo>
                <a:lnTo>
                  <a:pt x="176" y="237"/>
                </a:lnTo>
                <a:lnTo>
                  <a:pt x="176" y="235"/>
                </a:lnTo>
                <a:lnTo>
                  <a:pt x="174" y="234"/>
                </a:lnTo>
                <a:lnTo>
                  <a:pt x="165" y="231"/>
                </a:lnTo>
                <a:lnTo>
                  <a:pt x="162" y="227"/>
                </a:lnTo>
                <a:lnTo>
                  <a:pt x="162" y="226"/>
                </a:lnTo>
                <a:lnTo>
                  <a:pt x="159" y="223"/>
                </a:lnTo>
                <a:lnTo>
                  <a:pt x="154" y="221"/>
                </a:lnTo>
                <a:lnTo>
                  <a:pt x="151" y="220"/>
                </a:lnTo>
                <a:lnTo>
                  <a:pt x="146" y="220"/>
                </a:lnTo>
                <a:lnTo>
                  <a:pt x="143" y="217"/>
                </a:lnTo>
                <a:lnTo>
                  <a:pt x="141" y="215"/>
                </a:lnTo>
                <a:lnTo>
                  <a:pt x="137" y="208"/>
                </a:lnTo>
                <a:lnTo>
                  <a:pt x="134" y="203"/>
                </a:lnTo>
                <a:lnTo>
                  <a:pt x="133" y="200"/>
                </a:lnTo>
                <a:lnTo>
                  <a:pt x="126" y="194"/>
                </a:lnTo>
                <a:lnTo>
                  <a:pt x="125" y="190"/>
                </a:lnTo>
                <a:lnTo>
                  <a:pt x="123" y="187"/>
                </a:lnTo>
                <a:lnTo>
                  <a:pt x="121" y="186"/>
                </a:lnTo>
                <a:lnTo>
                  <a:pt x="117" y="182"/>
                </a:lnTo>
                <a:lnTo>
                  <a:pt x="116" y="180"/>
                </a:lnTo>
                <a:lnTo>
                  <a:pt x="115" y="177"/>
                </a:lnTo>
                <a:lnTo>
                  <a:pt x="113" y="176"/>
                </a:lnTo>
                <a:lnTo>
                  <a:pt x="111" y="177"/>
                </a:lnTo>
                <a:lnTo>
                  <a:pt x="109" y="180"/>
                </a:lnTo>
                <a:lnTo>
                  <a:pt x="108" y="178"/>
                </a:lnTo>
                <a:lnTo>
                  <a:pt x="106" y="178"/>
                </a:lnTo>
                <a:lnTo>
                  <a:pt x="105" y="177"/>
                </a:lnTo>
                <a:lnTo>
                  <a:pt x="103" y="175"/>
                </a:lnTo>
                <a:lnTo>
                  <a:pt x="101" y="173"/>
                </a:lnTo>
                <a:lnTo>
                  <a:pt x="101" y="171"/>
                </a:lnTo>
                <a:lnTo>
                  <a:pt x="99" y="170"/>
                </a:lnTo>
                <a:lnTo>
                  <a:pt x="96" y="168"/>
                </a:lnTo>
                <a:lnTo>
                  <a:pt x="95" y="170"/>
                </a:lnTo>
                <a:lnTo>
                  <a:pt x="96" y="172"/>
                </a:lnTo>
                <a:lnTo>
                  <a:pt x="95" y="173"/>
                </a:lnTo>
                <a:lnTo>
                  <a:pt x="96" y="175"/>
                </a:lnTo>
                <a:lnTo>
                  <a:pt x="94" y="175"/>
                </a:lnTo>
                <a:lnTo>
                  <a:pt x="94" y="177"/>
                </a:lnTo>
                <a:lnTo>
                  <a:pt x="93" y="177"/>
                </a:lnTo>
                <a:lnTo>
                  <a:pt x="92" y="176"/>
                </a:lnTo>
                <a:lnTo>
                  <a:pt x="86" y="172"/>
                </a:lnTo>
                <a:lnTo>
                  <a:pt x="84" y="171"/>
                </a:lnTo>
                <a:lnTo>
                  <a:pt x="82" y="167"/>
                </a:lnTo>
                <a:lnTo>
                  <a:pt x="80" y="162"/>
                </a:lnTo>
                <a:lnTo>
                  <a:pt x="76" y="160"/>
                </a:lnTo>
                <a:lnTo>
                  <a:pt x="75" y="154"/>
                </a:lnTo>
                <a:lnTo>
                  <a:pt x="75" y="146"/>
                </a:lnTo>
                <a:lnTo>
                  <a:pt x="73" y="143"/>
                </a:lnTo>
                <a:lnTo>
                  <a:pt x="71" y="140"/>
                </a:lnTo>
                <a:lnTo>
                  <a:pt x="69" y="135"/>
                </a:lnTo>
                <a:lnTo>
                  <a:pt x="65" y="132"/>
                </a:lnTo>
                <a:lnTo>
                  <a:pt x="62" y="131"/>
                </a:lnTo>
                <a:lnTo>
                  <a:pt x="59" y="130"/>
                </a:lnTo>
                <a:lnTo>
                  <a:pt x="54" y="126"/>
                </a:lnTo>
                <a:lnTo>
                  <a:pt x="50" y="124"/>
                </a:lnTo>
                <a:lnTo>
                  <a:pt x="46" y="122"/>
                </a:lnTo>
                <a:lnTo>
                  <a:pt x="45" y="118"/>
                </a:lnTo>
                <a:lnTo>
                  <a:pt x="43" y="115"/>
                </a:lnTo>
                <a:lnTo>
                  <a:pt x="41" y="113"/>
                </a:lnTo>
                <a:lnTo>
                  <a:pt x="40" y="111"/>
                </a:lnTo>
                <a:lnTo>
                  <a:pt x="38" y="112"/>
                </a:lnTo>
                <a:lnTo>
                  <a:pt x="35" y="110"/>
                </a:lnTo>
                <a:lnTo>
                  <a:pt x="34" y="105"/>
                </a:lnTo>
                <a:lnTo>
                  <a:pt x="35" y="105"/>
                </a:lnTo>
                <a:lnTo>
                  <a:pt x="35" y="103"/>
                </a:lnTo>
                <a:lnTo>
                  <a:pt x="35" y="96"/>
                </a:lnTo>
                <a:lnTo>
                  <a:pt x="36" y="94"/>
                </a:lnTo>
                <a:lnTo>
                  <a:pt x="39" y="94"/>
                </a:lnTo>
                <a:lnTo>
                  <a:pt x="39" y="92"/>
                </a:lnTo>
                <a:lnTo>
                  <a:pt x="41" y="86"/>
                </a:lnTo>
                <a:lnTo>
                  <a:pt x="43" y="83"/>
                </a:lnTo>
                <a:lnTo>
                  <a:pt x="41" y="77"/>
                </a:lnTo>
                <a:lnTo>
                  <a:pt x="42" y="74"/>
                </a:lnTo>
                <a:lnTo>
                  <a:pt x="43" y="72"/>
                </a:lnTo>
                <a:lnTo>
                  <a:pt x="40" y="72"/>
                </a:lnTo>
                <a:lnTo>
                  <a:pt x="33" y="71"/>
                </a:lnTo>
                <a:lnTo>
                  <a:pt x="30" y="67"/>
                </a:lnTo>
                <a:lnTo>
                  <a:pt x="27" y="62"/>
                </a:lnTo>
                <a:lnTo>
                  <a:pt x="23" y="60"/>
                </a:lnTo>
                <a:lnTo>
                  <a:pt x="20" y="54"/>
                </a:lnTo>
                <a:lnTo>
                  <a:pt x="17" y="46"/>
                </a:lnTo>
                <a:lnTo>
                  <a:pt x="15" y="42"/>
                </a:lnTo>
                <a:lnTo>
                  <a:pt x="12" y="37"/>
                </a:lnTo>
                <a:lnTo>
                  <a:pt x="8" y="35"/>
                </a:lnTo>
                <a:lnTo>
                  <a:pt x="8" y="30"/>
                </a:lnTo>
                <a:lnTo>
                  <a:pt x="7" y="25"/>
                </a:lnTo>
                <a:lnTo>
                  <a:pt x="5" y="21"/>
                </a:lnTo>
                <a:lnTo>
                  <a:pt x="4" y="14"/>
                </a:lnTo>
                <a:lnTo>
                  <a:pt x="1" y="10"/>
                </a:lnTo>
                <a:lnTo>
                  <a:pt x="0" y="8"/>
                </a:lnTo>
                <a:lnTo>
                  <a:pt x="4" y="5"/>
                </a:lnTo>
                <a:lnTo>
                  <a:pt x="4" y="4"/>
                </a:lnTo>
                <a:lnTo>
                  <a:pt x="5" y="0"/>
                </a:lnTo>
                <a:lnTo>
                  <a:pt x="9" y="2"/>
                </a:lnTo>
                <a:lnTo>
                  <a:pt x="10" y="3"/>
                </a:lnTo>
                <a:lnTo>
                  <a:pt x="21" y="15"/>
                </a:lnTo>
                <a:lnTo>
                  <a:pt x="25" y="16"/>
                </a:lnTo>
                <a:lnTo>
                  <a:pt x="29" y="16"/>
                </a:lnTo>
                <a:lnTo>
                  <a:pt x="31" y="16"/>
                </a:lnTo>
                <a:lnTo>
                  <a:pt x="35" y="16"/>
                </a:lnTo>
                <a:lnTo>
                  <a:pt x="36" y="16"/>
                </a:lnTo>
                <a:lnTo>
                  <a:pt x="40" y="16"/>
                </a:lnTo>
                <a:lnTo>
                  <a:pt x="42" y="13"/>
                </a:lnTo>
                <a:lnTo>
                  <a:pt x="43" y="9"/>
                </a:lnTo>
                <a:lnTo>
                  <a:pt x="45" y="6"/>
                </a:lnTo>
                <a:lnTo>
                  <a:pt x="48" y="4"/>
                </a:lnTo>
                <a:lnTo>
                  <a:pt x="54" y="3"/>
                </a:lnTo>
                <a:lnTo>
                  <a:pt x="60" y="5"/>
                </a:lnTo>
                <a:lnTo>
                  <a:pt x="60" y="9"/>
                </a:lnTo>
                <a:lnTo>
                  <a:pt x="63" y="14"/>
                </a:lnTo>
                <a:lnTo>
                  <a:pt x="60" y="16"/>
                </a:lnTo>
                <a:lnTo>
                  <a:pt x="59" y="17"/>
                </a:lnTo>
                <a:lnTo>
                  <a:pt x="62" y="19"/>
                </a:lnTo>
                <a:lnTo>
                  <a:pt x="63" y="21"/>
                </a:lnTo>
                <a:lnTo>
                  <a:pt x="66" y="21"/>
                </a:lnTo>
                <a:lnTo>
                  <a:pt x="69" y="23"/>
                </a:lnTo>
                <a:lnTo>
                  <a:pt x="70" y="24"/>
                </a:lnTo>
                <a:lnTo>
                  <a:pt x="72" y="24"/>
                </a:lnTo>
                <a:lnTo>
                  <a:pt x="73" y="23"/>
                </a:lnTo>
                <a:lnTo>
                  <a:pt x="75" y="31"/>
                </a:lnTo>
                <a:lnTo>
                  <a:pt x="78" y="36"/>
                </a:lnTo>
                <a:lnTo>
                  <a:pt x="80" y="40"/>
                </a:lnTo>
                <a:lnTo>
                  <a:pt x="83" y="42"/>
                </a:lnTo>
                <a:lnTo>
                  <a:pt x="86" y="43"/>
                </a:lnTo>
                <a:lnTo>
                  <a:pt x="90" y="44"/>
                </a:lnTo>
                <a:lnTo>
                  <a:pt x="93" y="43"/>
                </a:lnTo>
                <a:lnTo>
                  <a:pt x="96" y="43"/>
                </a:lnTo>
                <a:lnTo>
                  <a:pt x="99" y="45"/>
                </a:lnTo>
                <a:lnTo>
                  <a:pt x="101" y="49"/>
                </a:lnTo>
                <a:lnTo>
                  <a:pt x="105" y="52"/>
                </a:lnTo>
                <a:lnTo>
                  <a:pt x="112" y="55"/>
                </a:lnTo>
                <a:lnTo>
                  <a:pt x="122" y="57"/>
                </a:lnTo>
                <a:lnTo>
                  <a:pt x="125" y="59"/>
                </a:lnTo>
                <a:lnTo>
                  <a:pt x="140" y="54"/>
                </a:lnTo>
                <a:lnTo>
                  <a:pt x="144" y="53"/>
                </a:lnTo>
                <a:lnTo>
                  <a:pt x="150" y="52"/>
                </a:lnTo>
                <a:lnTo>
                  <a:pt x="150" y="53"/>
                </a:lnTo>
                <a:lnTo>
                  <a:pt x="145" y="53"/>
                </a:lnTo>
                <a:lnTo>
                  <a:pt x="151" y="54"/>
                </a:lnTo>
                <a:lnTo>
                  <a:pt x="156" y="53"/>
                </a:lnTo>
                <a:lnTo>
                  <a:pt x="155" y="47"/>
                </a:lnTo>
                <a:lnTo>
                  <a:pt x="152" y="42"/>
                </a:lnTo>
                <a:lnTo>
                  <a:pt x="156" y="42"/>
                </a:lnTo>
                <a:lnTo>
                  <a:pt x="161" y="41"/>
                </a:lnTo>
                <a:lnTo>
                  <a:pt x="169" y="34"/>
                </a:lnTo>
                <a:lnTo>
                  <a:pt x="172" y="31"/>
                </a:lnTo>
                <a:lnTo>
                  <a:pt x="176" y="30"/>
                </a:lnTo>
                <a:lnTo>
                  <a:pt x="179" y="30"/>
                </a:lnTo>
                <a:lnTo>
                  <a:pt x="182" y="31"/>
                </a:lnTo>
                <a:lnTo>
                  <a:pt x="185" y="31"/>
                </a:lnTo>
                <a:lnTo>
                  <a:pt x="186" y="29"/>
                </a:lnTo>
                <a:lnTo>
                  <a:pt x="186" y="27"/>
                </a:lnTo>
                <a:lnTo>
                  <a:pt x="191" y="26"/>
                </a:lnTo>
                <a:lnTo>
                  <a:pt x="196" y="26"/>
                </a:lnTo>
                <a:lnTo>
                  <a:pt x="201" y="30"/>
                </a:lnTo>
                <a:lnTo>
                  <a:pt x="204" y="33"/>
                </a:lnTo>
                <a:lnTo>
                  <a:pt x="215" y="36"/>
                </a:lnTo>
                <a:lnTo>
                  <a:pt x="218" y="39"/>
                </a:lnTo>
                <a:lnTo>
                  <a:pt x="222" y="39"/>
                </a:lnTo>
                <a:lnTo>
                  <a:pt x="225" y="39"/>
                </a:lnTo>
                <a:lnTo>
                  <a:pt x="230" y="39"/>
                </a:lnTo>
                <a:lnTo>
                  <a:pt x="232" y="40"/>
                </a:lnTo>
                <a:lnTo>
                  <a:pt x="235" y="43"/>
                </a:lnTo>
                <a:lnTo>
                  <a:pt x="237" y="47"/>
                </a:lnTo>
                <a:lnTo>
                  <a:pt x="240" y="47"/>
                </a:lnTo>
                <a:lnTo>
                  <a:pt x="245" y="51"/>
                </a:lnTo>
                <a:lnTo>
                  <a:pt x="252" y="55"/>
                </a:lnTo>
                <a:lnTo>
                  <a:pt x="257" y="57"/>
                </a:lnTo>
                <a:lnTo>
                  <a:pt x="264" y="57"/>
                </a:lnTo>
                <a:lnTo>
                  <a:pt x="265" y="60"/>
                </a:lnTo>
                <a:lnTo>
                  <a:pt x="267" y="69"/>
                </a:lnTo>
                <a:lnTo>
                  <a:pt x="270" y="72"/>
                </a:lnTo>
                <a:lnTo>
                  <a:pt x="270" y="75"/>
                </a:lnTo>
                <a:lnTo>
                  <a:pt x="270" y="80"/>
                </a:lnTo>
                <a:lnTo>
                  <a:pt x="271" y="84"/>
                </a:lnTo>
                <a:lnTo>
                  <a:pt x="271" y="90"/>
                </a:lnTo>
                <a:lnTo>
                  <a:pt x="268" y="95"/>
                </a:lnTo>
                <a:lnTo>
                  <a:pt x="268" y="100"/>
                </a:lnTo>
                <a:lnTo>
                  <a:pt x="263" y="102"/>
                </a:lnTo>
                <a:lnTo>
                  <a:pt x="264" y="105"/>
                </a:lnTo>
                <a:lnTo>
                  <a:pt x="265" y="111"/>
                </a:lnTo>
                <a:lnTo>
                  <a:pt x="270" y="112"/>
                </a:lnTo>
                <a:lnTo>
                  <a:pt x="270" y="114"/>
                </a:lnTo>
                <a:lnTo>
                  <a:pt x="268" y="120"/>
                </a:lnTo>
                <a:lnTo>
                  <a:pt x="268" y="125"/>
                </a:lnTo>
                <a:lnTo>
                  <a:pt x="271" y="128"/>
                </a:lnTo>
                <a:lnTo>
                  <a:pt x="273" y="133"/>
                </a:lnTo>
                <a:lnTo>
                  <a:pt x="274" y="137"/>
                </a:lnTo>
                <a:lnTo>
                  <a:pt x="275" y="143"/>
                </a:lnTo>
                <a:lnTo>
                  <a:pt x="275" y="146"/>
                </a:lnTo>
                <a:lnTo>
                  <a:pt x="278" y="150"/>
                </a:lnTo>
                <a:lnTo>
                  <a:pt x="283" y="151"/>
                </a:lnTo>
                <a:lnTo>
                  <a:pt x="286" y="151"/>
                </a:lnTo>
                <a:lnTo>
                  <a:pt x="289" y="153"/>
                </a:lnTo>
                <a:lnTo>
                  <a:pt x="292" y="157"/>
                </a:lnTo>
                <a:lnTo>
                  <a:pt x="293" y="162"/>
                </a:lnTo>
                <a:lnTo>
                  <a:pt x="292" y="166"/>
                </a:lnTo>
                <a:lnTo>
                  <a:pt x="286" y="175"/>
                </a:lnTo>
                <a:lnTo>
                  <a:pt x="284" y="182"/>
                </a:lnTo>
                <a:lnTo>
                  <a:pt x="284" y="183"/>
                </a:lnTo>
                <a:lnTo>
                  <a:pt x="286" y="186"/>
                </a:lnTo>
                <a:lnTo>
                  <a:pt x="291" y="190"/>
                </a:lnTo>
                <a:lnTo>
                  <a:pt x="298" y="202"/>
                </a:lnTo>
                <a:lnTo>
                  <a:pt x="303" y="205"/>
                </a:lnTo>
                <a:lnTo>
                  <a:pt x="307" y="207"/>
                </a:lnTo>
                <a:lnTo>
                  <a:pt x="315" y="210"/>
                </a:lnTo>
                <a:lnTo>
                  <a:pt x="317" y="212"/>
                </a:lnTo>
                <a:lnTo>
                  <a:pt x="319" y="220"/>
                </a:lnTo>
                <a:lnTo>
                  <a:pt x="321" y="224"/>
                </a:lnTo>
                <a:lnTo>
                  <a:pt x="321" y="228"/>
                </a:lnTo>
                <a:lnTo>
                  <a:pt x="326" y="229"/>
                </a:lnTo>
                <a:lnTo>
                  <a:pt x="328" y="231"/>
                </a:lnTo>
                <a:lnTo>
                  <a:pt x="329" y="234"/>
                </a:lnTo>
                <a:lnTo>
                  <a:pt x="328" y="235"/>
                </a:lnTo>
                <a:lnTo>
                  <a:pt x="325" y="239"/>
                </a:lnTo>
                <a:lnTo>
                  <a:pt x="322" y="239"/>
                </a:lnTo>
                <a:lnTo>
                  <a:pt x="317" y="242"/>
                </a:lnTo>
                <a:lnTo>
                  <a:pt x="314" y="243"/>
                </a:lnTo>
                <a:lnTo>
                  <a:pt x="311" y="246"/>
                </a:lnTo>
                <a:lnTo>
                  <a:pt x="308" y="249"/>
                </a:lnTo>
                <a:lnTo>
                  <a:pt x="307" y="258"/>
                </a:lnTo>
                <a:lnTo>
                  <a:pt x="306" y="262"/>
                </a:lnTo>
                <a:lnTo>
                  <a:pt x="307" y="267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55" name="Freeform 254"/>
          <p:cNvSpPr>
            <a:spLocks/>
          </p:cNvSpPr>
          <p:nvPr/>
        </p:nvSpPr>
        <p:spPr bwMode="auto">
          <a:xfrm>
            <a:off x="4949825" y="2663791"/>
            <a:ext cx="285750" cy="285750"/>
          </a:xfrm>
          <a:custGeom>
            <a:avLst/>
            <a:gdLst>
              <a:gd name="T0" fmla="*/ 13 w 180"/>
              <a:gd name="T1" fmla="*/ 129 h 180"/>
              <a:gd name="T2" fmla="*/ 10 w 180"/>
              <a:gd name="T3" fmla="*/ 78 h 180"/>
              <a:gd name="T4" fmla="*/ 3 w 180"/>
              <a:gd name="T5" fmla="*/ 43 h 180"/>
              <a:gd name="T6" fmla="*/ 1 w 180"/>
              <a:gd name="T7" fmla="*/ 35 h 180"/>
              <a:gd name="T8" fmla="*/ 1 w 180"/>
              <a:gd name="T9" fmla="*/ 27 h 180"/>
              <a:gd name="T10" fmla="*/ 3 w 180"/>
              <a:gd name="T11" fmla="*/ 23 h 180"/>
              <a:gd name="T12" fmla="*/ 1 w 180"/>
              <a:gd name="T13" fmla="*/ 7 h 180"/>
              <a:gd name="T14" fmla="*/ 3 w 180"/>
              <a:gd name="T15" fmla="*/ 2 h 180"/>
              <a:gd name="T16" fmla="*/ 7 w 180"/>
              <a:gd name="T17" fmla="*/ 3 h 180"/>
              <a:gd name="T18" fmla="*/ 23 w 180"/>
              <a:gd name="T19" fmla="*/ 3 h 180"/>
              <a:gd name="T20" fmla="*/ 42 w 180"/>
              <a:gd name="T21" fmla="*/ 8 h 180"/>
              <a:gd name="T22" fmla="*/ 51 w 180"/>
              <a:gd name="T23" fmla="*/ 12 h 180"/>
              <a:gd name="T24" fmla="*/ 63 w 180"/>
              <a:gd name="T25" fmla="*/ 14 h 180"/>
              <a:gd name="T26" fmla="*/ 74 w 180"/>
              <a:gd name="T27" fmla="*/ 13 h 180"/>
              <a:gd name="T28" fmla="*/ 85 w 180"/>
              <a:gd name="T29" fmla="*/ 5 h 180"/>
              <a:gd name="T30" fmla="*/ 92 w 180"/>
              <a:gd name="T31" fmla="*/ 4 h 180"/>
              <a:gd name="T32" fmla="*/ 88 w 180"/>
              <a:gd name="T33" fmla="*/ 7 h 180"/>
              <a:gd name="T34" fmla="*/ 96 w 180"/>
              <a:gd name="T35" fmla="*/ 5 h 180"/>
              <a:gd name="T36" fmla="*/ 99 w 180"/>
              <a:gd name="T37" fmla="*/ 4 h 180"/>
              <a:gd name="T38" fmla="*/ 109 w 180"/>
              <a:gd name="T39" fmla="*/ 3 h 180"/>
              <a:gd name="T40" fmla="*/ 113 w 180"/>
              <a:gd name="T41" fmla="*/ 5 h 180"/>
              <a:gd name="T42" fmla="*/ 117 w 180"/>
              <a:gd name="T43" fmla="*/ 9 h 180"/>
              <a:gd name="T44" fmla="*/ 124 w 180"/>
              <a:gd name="T45" fmla="*/ 13 h 180"/>
              <a:gd name="T46" fmla="*/ 128 w 180"/>
              <a:gd name="T47" fmla="*/ 10 h 180"/>
              <a:gd name="T48" fmla="*/ 141 w 180"/>
              <a:gd name="T49" fmla="*/ 9 h 180"/>
              <a:gd name="T50" fmla="*/ 145 w 180"/>
              <a:gd name="T51" fmla="*/ 12 h 180"/>
              <a:gd name="T52" fmla="*/ 158 w 180"/>
              <a:gd name="T53" fmla="*/ 43 h 180"/>
              <a:gd name="T54" fmla="*/ 154 w 180"/>
              <a:gd name="T55" fmla="*/ 62 h 180"/>
              <a:gd name="T56" fmla="*/ 154 w 180"/>
              <a:gd name="T57" fmla="*/ 68 h 180"/>
              <a:gd name="T58" fmla="*/ 149 w 180"/>
              <a:gd name="T59" fmla="*/ 70 h 180"/>
              <a:gd name="T60" fmla="*/ 139 w 180"/>
              <a:gd name="T61" fmla="*/ 60 h 180"/>
              <a:gd name="T62" fmla="*/ 135 w 180"/>
              <a:gd name="T63" fmla="*/ 52 h 180"/>
              <a:gd name="T64" fmla="*/ 128 w 180"/>
              <a:gd name="T65" fmla="*/ 43 h 180"/>
              <a:gd name="T66" fmla="*/ 124 w 180"/>
              <a:gd name="T67" fmla="*/ 33 h 180"/>
              <a:gd name="T68" fmla="*/ 123 w 180"/>
              <a:gd name="T69" fmla="*/ 30 h 180"/>
              <a:gd name="T70" fmla="*/ 121 w 180"/>
              <a:gd name="T71" fmla="*/ 35 h 180"/>
              <a:gd name="T72" fmla="*/ 124 w 180"/>
              <a:gd name="T73" fmla="*/ 42 h 180"/>
              <a:gd name="T74" fmla="*/ 125 w 180"/>
              <a:gd name="T75" fmla="*/ 49 h 180"/>
              <a:gd name="T76" fmla="*/ 136 w 180"/>
              <a:gd name="T77" fmla="*/ 66 h 180"/>
              <a:gd name="T78" fmla="*/ 142 w 180"/>
              <a:gd name="T79" fmla="*/ 75 h 180"/>
              <a:gd name="T80" fmla="*/ 148 w 180"/>
              <a:gd name="T81" fmla="*/ 89 h 180"/>
              <a:gd name="T82" fmla="*/ 155 w 180"/>
              <a:gd name="T83" fmla="*/ 101 h 180"/>
              <a:gd name="T84" fmla="*/ 164 w 180"/>
              <a:gd name="T85" fmla="*/ 118 h 180"/>
              <a:gd name="T86" fmla="*/ 170 w 180"/>
              <a:gd name="T87" fmla="*/ 131 h 180"/>
              <a:gd name="T88" fmla="*/ 179 w 180"/>
              <a:gd name="T89" fmla="*/ 139 h 180"/>
              <a:gd name="T90" fmla="*/ 177 w 180"/>
              <a:gd name="T91" fmla="*/ 141 h 180"/>
              <a:gd name="T92" fmla="*/ 177 w 180"/>
              <a:gd name="T93" fmla="*/ 145 h 180"/>
              <a:gd name="T94" fmla="*/ 173 w 180"/>
              <a:gd name="T95" fmla="*/ 163 h 180"/>
              <a:gd name="T96" fmla="*/ 157 w 180"/>
              <a:gd name="T97" fmla="*/ 173 h 180"/>
              <a:gd name="T98" fmla="*/ 143 w 180"/>
              <a:gd name="T99" fmla="*/ 176 h 180"/>
              <a:gd name="T100" fmla="*/ 115 w 180"/>
              <a:gd name="T101" fmla="*/ 173 h 180"/>
              <a:gd name="T102" fmla="*/ 112 w 180"/>
              <a:gd name="T103" fmla="*/ 176 h 180"/>
              <a:gd name="T104" fmla="*/ 74 w 180"/>
              <a:gd name="T105" fmla="*/ 176 h 180"/>
              <a:gd name="T106" fmla="*/ 30 w 180"/>
              <a:gd name="T107" fmla="*/ 176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80" h="180">
                <a:moveTo>
                  <a:pt x="14" y="165"/>
                </a:moveTo>
                <a:lnTo>
                  <a:pt x="13" y="147"/>
                </a:lnTo>
                <a:lnTo>
                  <a:pt x="13" y="129"/>
                </a:lnTo>
                <a:lnTo>
                  <a:pt x="12" y="113"/>
                </a:lnTo>
                <a:lnTo>
                  <a:pt x="11" y="95"/>
                </a:lnTo>
                <a:lnTo>
                  <a:pt x="10" y="78"/>
                </a:lnTo>
                <a:lnTo>
                  <a:pt x="8" y="60"/>
                </a:lnTo>
                <a:lnTo>
                  <a:pt x="7" y="48"/>
                </a:lnTo>
                <a:lnTo>
                  <a:pt x="3" y="43"/>
                </a:lnTo>
                <a:lnTo>
                  <a:pt x="3" y="39"/>
                </a:lnTo>
                <a:lnTo>
                  <a:pt x="3" y="38"/>
                </a:lnTo>
                <a:lnTo>
                  <a:pt x="1" y="35"/>
                </a:lnTo>
                <a:lnTo>
                  <a:pt x="0" y="29"/>
                </a:lnTo>
                <a:lnTo>
                  <a:pt x="0" y="28"/>
                </a:lnTo>
                <a:lnTo>
                  <a:pt x="1" y="27"/>
                </a:lnTo>
                <a:lnTo>
                  <a:pt x="3" y="25"/>
                </a:lnTo>
                <a:lnTo>
                  <a:pt x="3" y="25"/>
                </a:lnTo>
                <a:lnTo>
                  <a:pt x="3" y="23"/>
                </a:lnTo>
                <a:lnTo>
                  <a:pt x="3" y="17"/>
                </a:lnTo>
                <a:lnTo>
                  <a:pt x="2" y="9"/>
                </a:lnTo>
                <a:lnTo>
                  <a:pt x="1" y="7"/>
                </a:lnTo>
                <a:lnTo>
                  <a:pt x="1" y="6"/>
                </a:lnTo>
                <a:lnTo>
                  <a:pt x="2" y="4"/>
                </a:lnTo>
                <a:lnTo>
                  <a:pt x="3" y="2"/>
                </a:lnTo>
                <a:lnTo>
                  <a:pt x="5" y="0"/>
                </a:lnTo>
                <a:lnTo>
                  <a:pt x="6" y="3"/>
                </a:lnTo>
                <a:lnTo>
                  <a:pt x="7" y="3"/>
                </a:lnTo>
                <a:lnTo>
                  <a:pt x="13" y="2"/>
                </a:lnTo>
                <a:lnTo>
                  <a:pt x="16" y="2"/>
                </a:lnTo>
                <a:lnTo>
                  <a:pt x="23" y="3"/>
                </a:lnTo>
                <a:lnTo>
                  <a:pt x="33" y="4"/>
                </a:lnTo>
                <a:lnTo>
                  <a:pt x="38" y="6"/>
                </a:lnTo>
                <a:lnTo>
                  <a:pt x="42" y="8"/>
                </a:lnTo>
                <a:lnTo>
                  <a:pt x="46" y="9"/>
                </a:lnTo>
                <a:lnTo>
                  <a:pt x="48" y="9"/>
                </a:lnTo>
                <a:lnTo>
                  <a:pt x="51" y="12"/>
                </a:lnTo>
                <a:lnTo>
                  <a:pt x="55" y="12"/>
                </a:lnTo>
                <a:lnTo>
                  <a:pt x="58" y="13"/>
                </a:lnTo>
                <a:lnTo>
                  <a:pt x="63" y="14"/>
                </a:lnTo>
                <a:lnTo>
                  <a:pt x="66" y="16"/>
                </a:lnTo>
                <a:lnTo>
                  <a:pt x="71" y="15"/>
                </a:lnTo>
                <a:lnTo>
                  <a:pt x="74" y="13"/>
                </a:lnTo>
                <a:lnTo>
                  <a:pt x="78" y="9"/>
                </a:lnTo>
                <a:lnTo>
                  <a:pt x="83" y="7"/>
                </a:lnTo>
                <a:lnTo>
                  <a:pt x="85" y="5"/>
                </a:lnTo>
                <a:lnTo>
                  <a:pt x="89" y="4"/>
                </a:lnTo>
                <a:lnTo>
                  <a:pt x="92" y="4"/>
                </a:lnTo>
                <a:lnTo>
                  <a:pt x="92" y="4"/>
                </a:lnTo>
                <a:lnTo>
                  <a:pt x="92" y="4"/>
                </a:lnTo>
                <a:lnTo>
                  <a:pt x="88" y="5"/>
                </a:lnTo>
                <a:lnTo>
                  <a:pt x="88" y="7"/>
                </a:lnTo>
                <a:lnTo>
                  <a:pt x="89" y="7"/>
                </a:lnTo>
                <a:lnTo>
                  <a:pt x="94" y="6"/>
                </a:lnTo>
                <a:lnTo>
                  <a:pt x="96" y="5"/>
                </a:lnTo>
                <a:lnTo>
                  <a:pt x="97" y="3"/>
                </a:lnTo>
                <a:lnTo>
                  <a:pt x="98" y="4"/>
                </a:lnTo>
                <a:lnTo>
                  <a:pt x="99" y="4"/>
                </a:lnTo>
                <a:lnTo>
                  <a:pt x="106" y="4"/>
                </a:lnTo>
                <a:lnTo>
                  <a:pt x="107" y="4"/>
                </a:lnTo>
                <a:lnTo>
                  <a:pt x="109" y="3"/>
                </a:lnTo>
                <a:lnTo>
                  <a:pt x="111" y="4"/>
                </a:lnTo>
                <a:lnTo>
                  <a:pt x="112" y="5"/>
                </a:lnTo>
                <a:lnTo>
                  <a:pt x="113" y="5"/>
                </a:lnTo>
                <a:lnTo>
                  <a:pt x="114" y="7"/>
                </a:lnTo>
                <a:lnTo>
                  <a:pt x="115" y="8"/>
                </a:lnTo>
                <a:lnTo>
                  <a:pt x="117" y="9"/>
                </a:lnTo>
                <a:lnTo>
                  <a:pt x="119" y="12"/>
                </a:lnTo>
                <a:lnTo>
                  <a:pt x="121" y="13"/>
                </a:lnTo>
                <a:lnTo>
                  <a:pt x="124" y="13"/>
                </a:lnTo>
                <a:lnTo>
                  <a:pt x="126" y="12"/>
                </a:lnTo>
                <a:lnTo>
                  <a:pt x="127" y="12"/>
                </a:lnTo>
                <a:lnTo>
                  <a:pt x="128" y="10"/>
                </a:lnTo>
                <a:lnTo>
                  <a:pt x="129" y="13"/>
                </a:lnTo>
                <a:lnTo>
                  <a:pt x="136" y="12"/>
                </a:lnTo>
                <a:lnTo>
                  <a:pt x="141" y="9"/>
                </a:lnTo>
                <a:lnTo>
                  <a:pt x="144" y="7"/>
                </a:lnTo>
                <a:lnTo>
                  <a:pt x="145" y="9"/>
                </a:lnTo>
                <a:lnTo>
                  <a:pt x="145" y="12"/>
                </a:lnTo>
                <a:lnTo>
                  <a:pt x="146" y="13"/>
                </a:lnTo>
                <a:lnTo>
                  <a:pt x="153" y="29"/>
                </a:lnTo>
                <a:lnTo>
                  <a:pt x="158" y="43"/>
                </a:lnTo>
                <a:lnTo>
                  <a:pt x="157" y="48"/>
                </a:lnTo>
                <a:lnTo>
                  <a:pt x="156" y="55"/>
                </a:lnTo>
                <a:lnTo>
                  <a:pt x="154" y="62"/>
                </a:lnTo>
                <a:lnTo>
                  <a:pt x="154" y="65"/>
                </a:lnTo>
                <a:lnTo>
                  <a:pt x="155" y="67"/>
                </a:lnTo>
                <a:lnTo>
                  <a:pt x="154" y="68"/>
                </a:lnTo>
                <a:lnTo>
                  <a:pt x="154" y="69"/>
                </a:lnTo>
                <a:lnTo>
                  <a:pt x="152" y="70"/>
                </a:lnTo>
                <a:lnTo>
                  <a:pt x="149" y="70"/>
                </a:lnTo>
                <a:lnTo>
                  <a:pt x="146" y="69"/>
                </a:lnTo>
                <a:lnTo>
                  <a:pt x="143" y="64"/>
                </a:lnTo>
                <a:lnTo>
                  <a:pt x="139" y="60"/>
                </a:lnTo>
                <a:lnTo>
                  <a:pt x="136" y="56"/>
                </a:lnTo>
                <a:lnTo>
                  <a:pt x="135" y="55"/>
                </a:lnTo>
                <a:lnTo>
                  <a:pt x="135" y="52"/>
                </a:lnTo>
                <a:lnTo>
                  <a:pt x="133" y="48"/>
                </a:lnTo>
                <a:lnTo>
                  <a:pt x="129" y="45"/>
                </a:lnTo>
                <a:lnTo>
                  <a:pt x="128" y="43"/>
                </a:lnTo>
                <a:lnTo>
                  <a:pt x="126" y="39"/>
                </a:lnTo>
                <a:lnTo>
                  <a:pt x="125" y="34"/>
                </a:lnTo>
                <a:lnTo>
                  <a:pt x="124" y="33"/>
                </a:lnTo>
                <a:lnTo>
                  <a:pt x="123" y="30"/>
                </a:lnTo>
                <a:lnTo>
                  <a:pt x="123" y="30"/>
                </a:lnTo>
                <a:lnTo>
                  <a:pt x="123" y="30"/>
                </a:lnTo>
                <a:lnTo>
                  <a:pt x="122" y="32"/>
                </a:lnTo>
                <a:lnTo>
                  <a:pt x="122" y="34"/>
                </a:lnTo>
                <a:lnTo>
                  <a:pt x="121" y="35"/>
                </a:lnTo>
                <a:lnTo>
                  <a:pt x="121" y="38"/>
                </a:lnTo>
                <a:lnTo>
                  <a:pt x="121" y="39"/>
                </a:lnTo>
                <a:lnTo>
                  <a:pt x="124" y="42"/>
                </a:lnTo>
                <a:lnTo>
                  <a:pt x="125" y="44"/>
                </a:lnTo>
                <a:lnTo>
                  <a:pt x="125" y="45"/>
                </a:lnTo>
                <a:lnTo>
                  <a:pt x="125" y="49"/>
                </a:lnTo>
                <a:lnTo>
                  <a:pt x="126" y="52"/>
                </a:lnTo>
                <a:lnTo>
                  <a:pt x="132" y="59"/>
                </a:lnTo>
                <a:lnTo>
                  <a:pt x="136" y="66"/>
                </a:lnTo>
                <a:lnTo>
                  <a:pt x="138" y="67"/>
                </a:lnTo>
                <a:lnTo>
                  <a:pt x="141" y="68"/>
                </a:lnTo>
                <a:lnTo>
                  <a:pt x="142" y="75"/>
                </a:lnTo>
                <a:lnTo>
                  <a:pt x="143" y="78"/>
                </a:lnTo>
                <a:lnTo>
                  <a:pt x="146" y="81"/>
                </a:lnTo>
                <a:lnTo>
                  <a:pt x="148" y="89"/>
                </a:lnTo>
                <a:lnTo>
                  <a:pt x="149" y="93"/>
                </a:lnTo>
                <a:lnTo>
                  <a:pt x="150" y="95"/>
                </a:lnTo>
                <a:lnTo>
                  <a:pt x="155" y="101"/>
                </a:lnTo>
                <a:lnTo>
                  <a:pt x="156" y="106"/>
                </a:lnTo>
                <a:lnTo>
                  <a:pt x="159" y="110"/>
                </a:lnTo>
                <a:lnTo>
                  <a:pt x="164" y="118"/>
                </a:lnTo>
                <a:lnTo>
                  <a:pt x="165" y="121"/>
                </a:lnTo>
                <a:lnTo>
                  <a:pt x="167" y="124"/>
                </a:lnTo>
                <a:lnTo>
                  <a:pt x="170" y="131"/>
                </a:lnTo>
                <a:lnTo>
                  <a:pt x="174" y="135"/>
                </a:lnTo>
                <a:lnTo>
                  <a:pt x="178" y="139"/>
                </a:lnTo>
                <a:lnTo>
                  <a:pt x="179" y="139"/>
                </a:lnTo>
                <a:lnTo>
                  <a:pt x="180" y="141"/>
                </a:lnTo>
                <a:lnTo>
                  <a:pt x="180" y="141"/>
                </a:lnTo>
                <a:lnTo>
                  <a:pt x="177" y="141"/>
                </a:lnTo>
                <a:lnTo>
                  <a:pt x="176" y="141"/>
                </a:lnTo>
                <a:lnTo>
                  <a:pt x="176" y="141"/>
                </a:lnTo>
                <a:lnTo>
                  <a:pt x="177" y="145"/>
                </a:lnTo>
                <a:lnTo>
                  <a:pt x="177" y="153"/>
                </a:lnTo>
                <a:lnTo>
                  <a:pt x="179" y="156"/>
                </a:lnTo>
                <a:lnTo>
                  <a:pt x="173" y="163"/>
                </a:lnTo>
                <a:lnTo>
                  <a:pt x="169" y="160"/>
                </a:lnTo>
                <a:lnTo>
                  <a:pt x="166" y="170"/>
                </a:lnTo>
                <a:lnTo>
                  <a:pt x="157" y="173"/>
                </a:lnTo>
                <a:lnTo>
                  <a:pt x="156" y="180"/>
                </a:lnTo>
                <a:lnTo>
                  <a:pt x="148" y="180"/>
                </a:lnTo>
                <a:lnTo>
                  <a:pt x="143" y="176"/>
                </a:lnTo>
                <a:lnTo>
                  <a:pt x="115" y="176"/>
                </a:lnTo>
                <a:lnTo>
                  <a:pt x="116" y="173"/>
                </a:lnTo>
                <a:lnTo>
                  <a:pt x="115" y="173"/>
                </a:lnTo>
                <a:lnTo>
                  <a:pt x="115" y="173"/>
                </a:lnTo>
                <a:lnTo>
                  <a:pt x="114" y="173"/>
                </a:lnTo>
                <a:lnTo>
                  <a:pt x="112" y="176"/>
                </a:lnTo>
                <a:lnTo>
                  <a:pt x="104" y="176"/>
                </a:lnTo>
                <a:lnTo>
                  <a:pt x="89" y="176"/>
                </a:lnTo>
                <a:lnTo>
                  <a:pt x="74" y="176"/>
                </a:lnTo>
                <a:lnTo>
                  <a:pt x="60" y="176"/>
                </a:lnTo>
                <a:lnTo>
                  <a:pt x="44" y="176"/>
                </a:lnTo>
                <a:lnTo>
                  <a:pt x="30" y="176"/>
                </a:lnTo>
                <a:lnTo>
                  <a:pt x="14" y="176"/>
                </a:lnTo>
                <a:lnTo>
                  <a:pt x="14" y="16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56" name="Freeform 255"/>
          <p:cNvSpPr>
            <a:spLocks/>
          </p:cNvSpPr>
          <p:nvPr/>
        </p:nvSpPr>
        <p:spPr bwMode="auto">
          <a:xfrm>
            <a:off x="4949825" y="2663791"/>
            <a:ext cx="285750" cy="285750"/>
          </a:xfrm>
          <a:custGeom>
            <a:avLst/>
            <a:gdLst>
              <a:gd name="T0" fmla="*/ 13 w 180"/>
              <a:gd name="T1" fmla="*/ 129 h 180"/>
              <a:gd name="T2" fmla="*/ 10 w 180"/>
              <a:gd name="T3" fmla="*/ 78 h 180"/>
              <a:gd name="T4" fmla="*/ 3 w 180"/>
              <a:gd name="T5" fmla="*/ 43 h 180"/>
              <a:gd name="T6" fmla="*/ 1 w 180"/>
              <a:gd name="T7" fmla="*/ 35 h 180"/>
              <a:gd name="T8" fmla="*/ 1 w 180"/>
              <a:gd name="T9" fmla="*/ 27 h 180"/>
              <a:gd name="T10" fmla="*/ 3 w 180"/>
              <a:gd name="T11" fmla="*/ 23 h 180"/>
              <a:gd name="T12" fmla="*/ 1 w 180"/>
              <a:gd name="T13" fmla="*/ 7 h 180"/>
              <a:gd name="T14" fmla="*/ 3 w 180"/>
              <a:gd name="T15" fmla="*/ 2 h 180"/>
              <a:gd name="T16" fmla="*/ 7 w 180"/>
              <a:gd name="T17" fmla="*/ 3 h 180"/>
              <a:gd name="T18" fmla="*/ 23 w 180"/>
              <a:gd name="T19" fmla="*/ 3 h 180"/>
              <a:gd name="T20" fmla="*/ 42 w 180"/>
              <a:gd name="T21" fmla="*/ 8 h 180"/>
              <a:gd name="T22" fmla="*/ 51 w 180"/>
              <a:gd name="T23" fmla="*/ 12 h 180"/>
              <a:gd name="T24" fmla="*/ 63 w 180"/>
              <a:gd name="T25" fmla="*/ 14 h 180"/>
              <a:gd name="T26" fmla="*/ 74 w 180"/>
              <a:gd name="T27" fmla="*/ 13 h 180"/>
              <a:gd name="T28" fmla="*/ 85 w 180"/>
              <a:gd name="T29" fmla="*/ 5 h 180"/>
              <a:gd name="T30" fmla="*/ 92 w 180"/>
              <a:gd name="T31" fmla="*/ 4 h 180"/>
              <a:gd name="T32" fmla="*/ 88 w 180"/>
              <a:gd name="T33" fmla="*/ 7 h 180"/>
              <a:gd name="T34" fmla="*/ 96 w 180"/>
              <a:gd name="T35" fmla="*/ 5 h 180"/>
              <a:gd name="T36" fmla="*/ 99 w 180"/>
              <a:gd name="T37" fmla="*/ 4 h 180"/>
              <a:gd name="T38" fmla="*/ 109 w 180"/>
              <a:gd name="T39" fmla="*/ 3 h 180"/>
              <a:gd name="T40" fmla="*/ 113 w 180"/>
              <a:gd name="T41" fmla="*/ 5 h 180"/>
              <a:gd name="T42" fmla="*/ 117 w 180"/>
              <a:gd name="T43" fmla="*/ 9 h 180"/>
              <a:gd name="T44" fmla="*/ 124 w 180"/>
              <a:gd name="T45" fmla="*/ 13 h 180"/>
              <a:gd name="T46" fmla="*/ 128 w 180"/>
              <a:gd name="T47" fmla="*/ 10 h 180"/>
              <a:gd name="T48" fmla="*/ 141 w 180"/>
              <a:gd name="T49" fmla="*/ 9 h 180"/>
              <a:gd name="T50" fmla="*/ 145 w 180"/>
              <a:gd name="T51" fmla="*/ 12 h 180"/>
              <a:gd name="T52" fmla="*/ 158 w 180"/>
              <a:gd name="T53" fmla="*/ 43 h 180"/>
              <a:gd name="T54" fmla="*/ 154 w 180"/>
              <a:gd name="T55" fmla="*/ 62 h 180"/>
              <a:gd name="T56" fmla="*/ 154 w 180"/>
              <a:gd name="T57" fmla="*/ 68 h 180"/>
              <a:gd name="T58" fmla="*/ 149 w 180"/>
              <a:gd name="T59" fmla="*/ 70 h 180"/>
              <a:gd name="T60" fmla="*/ 139 w 180"/>
              <a:gd name="T61" fmla="*/ 60 h 180"/>
              <a:gd name="T62" fmla="*/ 135 w 180"/>
              <a:gd name="T63" fmla="*/ 52 h 180"/>
              <a:gd name="T64" fmla="*/ 128 w 180"/>
              <a:gd name="T65" fmla="*/ 43 h 180"/>
              <a:gd name="T66" fmla="*/ 124 w 180"/>
              <a:gd name="T67" fmla="*/ 33 h 180"/>
              <a:gd name="T68" fmla="*/ 123 w 180"/>
              <a:gd name="T69" fmla="*/ 30 h 180"/>
              <a:gd name="T70" fmla="*/ 121 w 180"/>
              <a:gd name="T71" fmla="*/ 35 h 180"/>
              <a:gd name="T72" fmla="*/ 124 w 180"/>
              <a:gd name="T73" fmla="*/ 42 h 180"/>
              <a:gd name="T74" fmla="*/ 125 w 180"/>
              <a:gd name="T75" fmla="*/ 49 h 180"/>
              <a:gd name="T76" fmla="*/ 136 w 180"/>
              <a:gd name="T77" fmla="*/ 66 h 180"/>
              <a:gd name="T78" fmla="*/ 142 w 180"/>
              <a:gd name="T79" fmla="*/ 75 h 180"/>
              <a:gd name="T80" fmla="*/ 148 w 180"/>
              <a:gd name="T81" fmla="*/ 89 h 180"/>
              <a:gd name="T82" fmla="*/ 155 w 180"/>
              <a:gd name="T83" fmla="*/ 101 h 180"/>
              <a:gd name="T84" fmla="*/ 164 w 180"/>
              <a:gd name="T85" fmla="*/ 118 h 180"/>
              <a:gd name="T86" fmla="*/ 170 w 180"/>
              <a:gd name="T87" fmla="*/ 131 h 180"/>
              <a:gd name="T88" fmla="*/ 179 w 180"/>
              <a:gd name="T89" fmla="*/ 139 h 180"/>
              <a:gd name="T90" fmla="*/ 177 w 180"/>
              <a:gd name="T91" fmla="*/ 141 h 180"/>
              <a:gd name="T92" fmla="*/ 177 w 180"/>
              <a:gd name="T93" fmla="*/ 145 h 180"/>
              <a:gd name="T94" fmla="*/ 173 w 180"/>
              <a:gd name="T95" fmla="*/ 163 h 180"/>
              <a:gd name="T96" fmla="*/ 157 w 180"/>
              <a:gd name="T97" fmla="*/ 173 h 180"/>
              <a:gd name="T98" fmla="*/ 143 w 180"/>
              <a:gd name="T99" fmla="*/ 176 h 180"/>
              <a:gd name="T100" fmla="*/ 115 w 180"/>
              <a:gd name="T101" fmla="*/ 173 h 180"/>
              <a:gd name="T102" fmla="*/ 112 w 180"/>
              <a:gd name="T103" fmla="*/ 176 h 180"/>
              <a:gd name="T104" fmla="*/ 74 w 180"/>
              <a:gd name="T105" fmla="*/ 176 h 180"/>
              <a:gd name="T106" fmla="*/ 30 w 180"/>
              <a:gd name="T107" fmla="*/ 176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80" h="180">
                <a:moveTo>
                  <a:pt x="14" y="165"/>
                </a:moveTo>
                <a:lnTo>
                  <a:pt x="13" y="147"/>
                </a:lnTo>
                <a:lnTo>
                  <a:pt x="13" y="129"/>
                </a:lnTo>
                <a:lnTo>
                  <a:pt x="12" y="113"/>
                </a:lnTo>
                <a:lnTo>
                  <a:pt x="11" y="95"/>
                </a:lnTo>
                <a:lnTo>
                  <a:pt x="10" y="78"/>
                </a:lnTo>
                <a:lnTo>
                  <a:pt x="8" y="60"/>
                </a:lnTo>
                <a:lnTo>
                  <a:pt x="7" y="48"/>
                </a:lnTo>
                <a:lnTo>
                  <a:pt x="3" y="43"/>
                </a:lnTo>
                <a:lnTo>
                  <a:pt x="3" y="39"/>
                </a:lnTo>
                <a:lnTo>
                  <a:pt x="3" y="38"/>
                </a:lnTo>
                <a:lnTo>
                  <a:pt x="1" y="35"/>
                </a:lnTo>
                <a:lnTo>
                  <a:pt x="0" y="29"/>
                </a:lnTo>
                <a:lnTo>
                  <a:pt x="0" y="28"/>
                </a:lnTo>
                <a:lnTo>
                  <a:pt x="1" y="27"/>
                </a:lnTo>
                <a:lnTo>
                  <a:pt x="3" y="25"/>
                </a:lnTo>
                <a:lnTo>
                  <a:pt x="3" y="25"/>
                </a:lnTo>
                <a:lnTo>
                  <a:pt x="3" y="23"/>
                </a:lnTo>
                <a:lnTo>
                  <a:pt x="3" y="17"/>
                </a:lnTo>
                <a:lnTo>
                  <a:pt x="2" y="9"/>
                </a:lnTo>
                <a:lnTo>
                  <a:pt x="1" y="7"/>
                </a:lnTo>
                <a:lnTo>
                  <a:pt x="1" y="6"/>
                </a:lnTo>
                <a:lnTo>
                  <a:pt x="2" y="4"/>
                </a:lnTo>
                <a:lnTo>
                  <a:pt x="3" y="2"/>
                </a:lnTo>
                <a:lnTo>
                  <a:pt x="5" y="0"/>
                </a:lnTo>
                <a:lnTo>
                  <a:pt x="6" y="3"/>
                </a:lnTo>
                <a:lnTo>
                  <a:pt x="7" y="3"/>
                </a:lnTo>
                <a:lnTo>
                  <a:pt x="13" y="2"/>
                </a:lnTo>
                <a:lnTo>
                  <a:pt x="16" y="2"/>
                </a:lnTo>
                <a:lnTo>
                  <a:pt x="23" y="3"/>
                </a:lnTo>
                <a:lnTo>
                  <a:pt x="33" y="4"/>
                </a:lnTo>
                <a:lnTo>
                  <a:pt x="38" y="6"/>
                </a:lnTo>
                <a:lnTo>
                  <a:pt x="42" y="8"/>
                </a:lnTo>
                <a:lnTo>
                  <a:pt x="46" y="9"/>
                </a:lnTo>
                <a:lnTo>
                  <a:pt x="48" y="9"/>
                </a:lnTo>
                <a:lnTo>
                  <a:pt x="51" y="12"/>
                </a:lnTo>
                <a:lnTo>
                  <a:pt x="55" y="12"/>
                </a:lnTo>
                <a:lnTo>
                  <a:pt x="58" y="13"/>
                </a:lnTo>
                <a:lnTo>
                  <a:pt x="63" y="14"/>
                </a:lnTo>
                <a:lnTo>
                  <a:pt x="66" y="16"/>
                </a:lnTo>
                <a:lnTo>
                  <a:pt x="71" y="15"/>
                </a:lnTo>
                <a:lnTo>
                  <a:pt x="74" y="13"/>
                </a:lnTo>
                <a:lnTo>
                  <a:pt x="78" y="9"/>
                </a:lnTo>
                <a:lnTo>
                  <a:pt x="83" y="7"/>
                </a:lnTo>
                <a:lnTo>
                  <a:pt x="85" y="5"/>
                </a:lnTo>
                <a:lnTo>
                  <a:pt x="89" y="4"/>
                </a:lnTo>
                <a:lnTo>
                  <a:pt x="92" y="4"/>
                </a:lnTo>
                <a:lnTo>
                  <a:pt x="92" y="4"/>
                </a:lnTo>
                <a:lnTo>
                  <a:pt x="92" y="4"/>
                </a:lnTo>
                <a:lnTo>
                  <a:pt x="88" y="5"/>
                </a:lnTo>
                <a:lnTo>
                  <a:pt x="88" y="7"/>
                </a:lnTo>
                <a:lnTo>
                  <a:pt x="89" y="7"/>
                </a:lnTo>
                <a:lnTo>
                  <a:pt x="94" y="6"/>
                </a:lnTo>
                <a:lnTo>
                  <a:pt x="96" y="5"/>
                </a:lnTo>
                <a:lnTo>
                  <a:pt x="97" y="3"/>
                </a:lnTo>
                <a:lnTo>
                  <a:pt x="98" y="4"/>
                </a:lnTo>
                <a:lnTo>
                  <a:pt x="99" y="4"/>
                </a:lnTo>
                <a:lnTo>
                  <a:pt x="106" y="4"/>
                </a:lnTo>
                <a:lnTo>
                  <a:pt x="107" y="4"/>
                </a:lnTo>
                <a:lnTo>
                  <a:pt x="109" y="3"/>
                </a:lnTo>
                <a:lnTo>
                  <a:pt x="111" y="4"/>
                </a:lnTo>
                <a:lnTo>
                  <a:pt x="112" y="5"/>
                </a:lnTo>
                <a:lnTo>
                  <a:pt x="113" y="5"/>
                </a:lnTo>
                <a:lnTo>
                  <a:pt x="114" y="7"/>
                </a:lnTo>
                <a:lnTo>
                  <a:pt x="115" y="8"/>
                </a:lnTo>
                <a:lnTo>
                  <a:pt x="117" y="9"/>
                </a:lnTo>
                <a:lnTo>
                  <a:pt x="119" y="12"/>
                </a:lnTo>
                <a:lnTo>
                  <a:pt x="121" y="13"/>
                </a:lnTo>
                <a:lnTo>
                  <a:pt x="124" y="13"/>
                </a:lnTo>
                <a:lnTo>
                  <a:pt x="126" y="12"/>
                </a:lnTo>
                <a:lnTo>
                  <a:pt x="127" y="12"/>
                </a:lnTo>
                <a:lnTo>
                  <a:pt x="128" y="10"/>
                </a:lnTo>
                <a:lnTo>
                  <a:pt x="129" y="13"/>
                </a:lnTo>
                <a:lnTo>
                  <a:pt x="136" y="12"/>
                </a:lnTo>
                <a:lnTo>
                  <a:pt x="141" y="9"/>
                </a:lnTo>
                <a:lnTo>
                  <a:pt x="144" y="7"/>
                </a:lnTo>
                <a:lnTo>
                  <a:pt x="145" y="9"/>
                </a:lnTo>
                <a:lnTo>
                  <a:pt x="145" y="12"/>
                </a:lnTo>
                <a:lnTo>
                  <a:pt x="146" y="13"/>
                </a:lnTo>
                <a:lnTo>
                  <a:pt x="153" y="29"/>
                </a:lnTo>
                <a:lnTo>
                  <a:pt x="158" y="43"/>
                </a:lnTo>
                <a:lnTo>
                  <a:pt x="157" y="48"/>
                </a:lnTo>
                <a:lnTo>
                  <a:pt x="156" y="55"/>
                </a:lnTo>
                <a:lnTo>
                  <a:pt x="154" y="62"/>
                </a:lnTo>
                <a:lnTo>
                  <a:pt x="154" y="65"/>
                </a:lnTo>
                <a:lnTo>
                  <a:pt x="155" y="67"/>
                </a:lnTo>
                <a:lnTo>
                  <a:pt x="154" y="68"/>
                </a:lnTo>
                <a:lnTo>
                  <a:pt x="154" y="69"/>
                </a:lnTo>
                <a:lnTo>
                  <a:pt x="152" y="70"/>
                </a:lnTo>
                <a:lnTo>
                  <a:pt x="149" y="70"/>
                </a:lnTo>
                <a:lnTo>
                  <a:pt x="146" y="69"/>
                </a:lnTo>
                <a:lnTo>
                  <a:pt x="143" y="64"/>
                </a:lnTo>
                <a:lnTo>
                  <a:pt x="139" y="60"/>
                </a:lnTo>
                <a:lnTo>
                  <a:pt x="136" y="56"/>
                </a:lnTo>
                <a:lnTo>
                  <a:pt x="135" y="55"/>
                </a:lnTo>
                <a:lnTo>
                  <a:pt x="135" y="52"/>
                </a:lnTo>
                <a:lnTo>
                  <a:pt x="133" y="48"/>
                </a:lnTo>
                <a:lnTo>
                  <a:pt x="129" y="45"/>
                </a:lnTo>
                <a:lnTo>
                  <a:pt x="128" y="43"/>
                </a:lnTo>
                <a:lnTo>
                  <a:pt x="126" y="39"/>
                </a:lnTo>
                <a:lnTo>
                  <a:pt x="125" y="34"/>
                </a:lnTo>
                <a:lnTo>
                  <a:pt x="124" y="33"/>
                </a:lnTo>
                <a:lnTo>
                  <a:pt x="123" y="30"/>
                </a:lnTo>
                <a:lnTo>
                  <a:pt x="123" y="30"/>
                </a:lnTo>
                <a:lnTo>
                  <a:pt x="123" y="30"/>
                </a:lnTo>
                <a:lnTo>
                  <a:pt x="122" y="32"/>
                </a:lnTo>
                <a:lnTo>
                  <a:pt x="122" y="34"/>
                </a:lnTo>
                <a:lnTo>
                  <a:pt x="121" y="35"/>
                </a:lnTo>
                <a:lnTo>
                  <a:pt x="121" y="38"/>
                </a:lnTo>
                <a:lnTo>
                  <a:pt x="121" y="39"/>
                </a:lnTo>
                <a:lnTo>
                  <a:pt x="124" y="42"/>
                </a:lnTo>
                <a:lnTo>
                  <a:pt x="125" y="44"/>
                </a:lnTo>
                <a:lnTo>
                  <a:pt x="125" y="45"/>
                </a:lnTo>
                <a:lnTo>
                  <a:pt x="125" y="49"/>
                </a:lnTo>
                <a:lnTo>
                  <a:pt x="126" y="52"/>
                </a:lnTo>
                <a:lnTo>
                  <a:pt x="132" y="59"/>
                </a:lnTo>
                <a:lnTo>
                  <a:pt x="136" y="66"/>
                </a:lnTo>
                <a:lnTo>
                  <a:pt x="138" y="67"/>
                </a:lnTo>
                <a:lnTo>
                  <a:pt x="141" y="68"/>
                </a:lnTo>
                <a:lnTo>
                  <a:pt x="142" y="75"/>
                </a:lnTo>
                <a:lnTo>
                  <a:pt x="143" y="78"/>
                </a:lnTo>
                <a:lnTo>
                  <a:pt x="146" y="81"/>
                </a:lnTo>
                <a:lnTo>
                  <a:pt x="148" y="89"/>
                </a:lnTo>
                <a:lnTo>
                  <a:pt x="149" y="93"/>
                </a:lnTo>
                <a:lnTo>
                  <a:pt x="150" y="95"/>
                </a:lnTo>
                <a:lnTo>
                  <a:pt x="155" y="101"/>
                </a:lnTo>
                <a:lnTo>
                  <a:pt x="156" y="106"/>
                </a:lnTo>
                <a:lnTo>
                  <a:pt x="159" y="110"/>
                </a:lnTo>
                <a:lnTo>
                  <a:pt x="164" y="118"/>
                </a:lnTo>
                <a:lnTo>
                  <a:pt x="165" y="121"/>
                </a:lnTo>
                <a:lnTo>
                  <a:pt x="167" y="124"/>
                </a:lnTo>
                <a:lnTo>
                  <a:pt x="170" y="131"/>
                </a:lnTo>
                <a:lnTo>
                  <a:pt x="174" y="135"/>
                </a:lnTo>
                <a:lnTo>
                  <a:pt x="178" y="139"/>
                </a:lnTo>
                <a:lnTo>
                  <a:pt x="179" y="139"/>
                </a:lnTo>
                <a:lnTo>
                  <a:pt x="180" y="141"/>
                </a:lnTo>
                <a:lnTo>
                  <a:pt x="180" y="141"/>
                </a:lnTo>
                <a:lnTo>
                  <a:pt x="177" y="141"/>
                </a:lnTo>
                <a:lnTo>
                  <a:pt x="176" y="141"/>
                </a:lnTo>
                <a:lnTo>
                  <a:pt x="176" y="141"/>
                </a:lnTo>
                <a:lnTo>
                  <a:pt x="177" y="145"/>
                </a:lnTo>
                <a:lnTo>
                  <a:pt x="177" y="153"/>
                </a:lnTo>
                <a:lnTo>
                  <a:pt x="179" y="156"/>
                </a:lnTo>
                <a:lnTo>
                  <a:pt x="173" y="163"/>
                </a:lnTo>
                <a:lnTo>
                  <a:pt x="169" y="160"/>
                </a:lnTo>
                <a:lnTo>
                  <a:pt x="166" y="170"/>
                </a:lnTo>
                <a:lnTo>
                  <a:pt x="157" y="173"/>
                </a:lnTo>
                <a:lnTo>
                  <a:pt x="156" y="180"/>
                </a:lnTo>
                <a:lnTo>
                  <a:pt x="148" y="180"/>
                </a:lnTo>
                <a:lnTo>
                  <a:pt x="143" y="176"/>
                </a:lnTo>
                <a:lnTo>
                  <a:pt x="115" y="176"/>
                </a:lnTo>
                <a:lnTo>
                  <a:pt x="116" y="173"/>
                </a:lnTo>
                <a:lnTo>
                  <a:pt x="115" y="173"/>
                </a:lnTo>
                <a:lnTo>
                  <a:pt x="115" y="173"/>
                </a:lnTo>
                <a:lnTo>
                  <a:pt x="114" y="173"/>
                </a:lnTo>
                <a:lnTo>
                  <a:pt x="112" y="176"/>
                </a:lnTo>
                <a:lnTo>
                  <a:pt x="104" y="176"/>
                </a:lnTo>
                <a:lnTo>
                  <a:pt x="89" y="176"/>
                </a:lnTo>
                <a:lnTo>
                  <a:pt x="74" y="176"/>
                </a:lnTo>
                <a:lnTo>
                  <a:pt x="60" y="176"/>
                </a:lnTo>
                <a:lnTo>
                  <a:pt x="44" y="176"/>
                </a:lnTo>
                <a:lnTo>
                  <a:pt x="30" y="176"/>
                </a:lnTo>
                <a:lnTo>
                  <a:pt x="14" y="176"/>
                </a:lnTo>
                <a:lnTo>
                  <a:pt x="14" y="16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57" name="Freeform 256"/>
          <p:cNvSpPr>
            <a:spLocks/>
          </p:cNvSpPr>
          <p:nvPr/>
        </p:nvSpPr>
        <p:spPr bwMode="auto">
          <a:xfrm>
            <a:off x="4138613" y="2508216"/>
            <a:ext cx="501650" cy="522288"/>
          </a:xfrm>
          <a:custGeom>
            <a:avLst/>
            <a:gdLst>
              <a:gd name="T0" fmla="*/ 0 w 316"/>
              <a:gd name="T1" fmla="*/ 179 h 329"/>
              <a:gd name="T2" fmla="*/ 17 w 316"/>
              <a:gd name="T3" fmla="*/ 140 h 329"/>
              <a:gd name="T4" fmla="*/ 26 w 316"/>
              <a:gd name="T5" fmla="*/ 134 h 329"/>
              <a:gd name="T6" fmla="*/ 32 w 316"/>
              <a:gd name="T7" fmla="*/ 132 h 329"/>
              <a:gd name="T8" fmla="*/ 46 w 316"/>
              <a:gd name="T9" fmla="*/ 130 h 329"/>
              <a:gd name="T10" fmla="*/ 55 w 316"/>
              <a:gd name="T11" fmla="*/ 122 h 329"/>
              <a:gd name="T12" fmla="*/ 72 w 316"/>
              <a:gd name="T13" fmla="*/ 112 h 329"/>
              <a:gd name="T14" fmla="*/ 77 w 316"/>
              <a:gd name="T15" fmla="*/ 106 h 329"/>
              <a:gd name="T16" fmla="*/ 77 w 316"/>
              <a:gd name="T17" fmla="*/ 102 h 329"/>
              <a:gd name="T18" fmla="*/ 75 w 316"/>
              <a:gd name="T19" fmla="*/ 97 h 329"/>
              <a:gd name="T20" fmla="*/ 83 w 316"/>
              <a:gd name="T21" fmla="*/ 96 h 329"/>
              <a:gd name="T22" fmla="*/ 89 w 316"/>
              <a:gd name="T23" fmla="*/ 90 h 329"/>
              <a:gd name="T24" fmla="*/ 97 w 316"/>
              <a:gd name="T25" fmla="*/ 88 h 329"/>
              <a:gd name="T26" fmla="*/ 114 w 316"/>
              <a:gd name="T27" fmla="*/ 88 h 329"/>
              <a:gd name="T28" fmla="*/ 117 w 316"/>
              <a:gd name="T29" fmla="*/ 83 h 329"/>
              <a:gd name="T30" fmla="*/ 111 w 316"/>
              <a:gd name="T31" fmla="*/ 74 h 329"/>
              <a:gd name="T32" fmla="*/ 111 w 316"/>
              <a:gd name="T33" fmla="*/ 65 h 329"/>
              <a:gd name="T34" fmla="*/ 109 w 316"/>
              <a:gd name="T35" fmla="*/ 57 h 329"/>
              <a:gd name="T36" fmla="*/ 108 w 316"/>
              <a:gd name="T37" fmla="*/ 45 h 329"/>
              <a:gd name="T38" fmla="*/ 107 w 316"/>
              <a:gd name="T39" fmla="*/ 43 h 329"/>
              <a:gd name="T40" fmla="*/ 103 w 316"/>
              <a:gd name="T41" fmla="*/ 36 h 329"/>
              <a:gd name="T42" fmla="*/ 118 w 316"/>
              <a:gd name="T43" fmla="*/ 26 h 329"/>
              <a:gd name="T44" fmla="*/ 132 w 316"/>
              <a:gd name="T45" fmla="*/ 23 h 329"/>
              <a:gd name="T46" fmla="*/ 142 w 316"/>
              <a:gd name="T47" fmla="*/ 15 h 329"/>
              <a:gd name="T48" fmla="*/ 173 w 316"/>
              <a:gd name="T49" fmla="*/ 9 h 329"/>
              <a:gd name="T50" fmla="*/ 185 w 316"/>
              <a:gd name="T51" fmla="*/ 5 h 329"/>
              <a:gd name="T52" fmla="*/ 208 w 316"/>
              <a:gd name="T53" fmla="*/ 3 h 329"/>
              <a:gd name="T54" fmla="*/ 223 w 316"/>
              <a:gd name="T55" fmla="*/ 4 h 329"/>
              <a:gd name="T56" fmla="*/ 235 w 316"/>
              <a:gd name="T57" fmla="*/ 2 h 329"/>
              <a:gd name="T58" fmla="*/ 251 w 316"/>
              <a:gd name="T59" fmla="*/ 3 h 329"/>
              <a:gd name="T60" fmla="*/ 263 w 316"/>
              <a:gd name="T61" fmla="*/ 4 h 329"/>
              <a:gd name="T62" fmla="*/ 259 w 316"/>
              <a:gd name="T63" fmla="*/ 11 h 329"/>
              <a:gd name="T64" fmla="*/ 259 w 316"/>
              <a:gd name="T65" fmla="*/ 31 h 329"/>
              <a:gd name="T66" fmla="*/ 252 w 316"/>
              <a:gd name="T67" fmla="*/ 49 h 329"/>
              <a:gd name="T68" fmla="*/ 245 w 316"/>
              <a:gd name="T69" fmla="*/ 56 h 329"/>
              <a:gd name="T70" fmla="*/ 253 w 316"/>
              <a:gd name="T71" fmla="*/ 71 h 329"/>
              <a:gd name="T72" fmla="*/ 270 w 316"/>
              <a:gd name="T73" fmla="*/ 91 h 329"/>
              <a:gd name="T74" fmla="*/ 276 w 316"/>
              <a:gd name="T75" fmla="*/ 123 h 329"/>
              <a:gd name="T76" fmla="*/ 280 w 316"/>
              <a:gd name="T77" fmla="*/ 141 h 329"/>
              <a:gd name="T78" fmla="*/ 283 w 316"/>
              <a:gd name="T79" fmla="*/ 170 h 329"/>
              <a:gd name="T80" fmla="*/ 276 w 316"/>
              <a:gd name="T81" fmla="*/ 197 h 329"/>
              <a:gd name="T82" fmla="*/ 288 w 316"/>
              <a:gd name="T83" fmla="*/ 223 h 329"/>
              <a:gd name="T84" fmla="*/ 314 w 316"/>
              <a:gd name="T85" fmla="*/ 241 h 329"/>
              <a:gd name="T86" fmla="*/ 284 w 316"/>
              <a:gd name="T87" fmla="*/ 272 h 329"/>
              <a:gd name="T88" fmla="*/ 222 w 316"/>
              <a:gd name="T89" fmla="*/ 318 h 329"/>
              <a:gd name="T90" fmla="*/ 193 w 316"/>
              <a:gd name="T91" fmla="*/ 327 h 329"/>
              <a:gd name="T92" fmla="*/ 182 w 316"/>
              <a:gd name="T93" fmla="*/ 326 h 329"/>
              <a:gd name="T94" fmla="*/ 184 w 316"/>
              <a:gd name="T95" fmla="*/ 319 h 329"/>
              <a:gd name="T96" fmla="*/ 183 w 316"/>
              <a:gd name="T97" fmla="*/ 314 h 329"/>
              <a:gd name="T98" fmla="*/ 177 w 316"/>
              <a:gd name="T99" fmla="*/ 309 h 329"/>
              <a:gd name="T100" fmla="*/ 169 w 316"/>
              <a:gd name="T101" fmla="*/ 305 h 329"/>
              <a:gd name="T102" fmla="*/ 159 w 316"/>
              <a:gd name="T103" fmla="*/ 302 h 329"/>
              <a:gd name="T104" fmla="*/ 152 w 316"/>
              <a:gd name="T105" fmla="*/ 296 h 329"/>
              <a:gd name="T106" fmla="*/ 150 w 316"/>
              <a:gd name="T107" fmla="*/ 288 h 3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16" h="329">
                <a:moveTo>
                  <a:pt x="57" y="219"/>
                </a:moveTo>
                <a:lnTo>
                  <a:pt x="57" y="219"/>
                </a:lnTo>
                <a:lnTo>
                  <a:pt x="35" y="204"/>
                </a:lnTo>
                <a:lnTo>
                  <a:pt x="18" y="193"/>
                </a:lnTo>
                <a:lnTo>
                  <a:pt x="0" y="179"/>
                </a:lnTo>
                <a:lnTo>
                  <a:pt x="0" y="170"/>
                </a:lnTo>
                <a:lnTo>
                  <a:pt x="0" y="150"/>
                </a:lnTo>
                <a:lnTo>
                  <a:pt x="8" y="144"/>
                </a:lnTo>
                <a:lnTo>
                  <a:pt x="13" y="140"/>
                </a:lnTo>
                <a:lnTo>
                  <a:pt x="17" y="140"/>
                </a:lnTo>
                <a:lnTo>
                  <a:pt x="19" y="137"/>
                </a:lnTo>
                <a:lnTo>
                  <a:pt x="21" y="137"/>
                </a:lnTo>
                <a:lnTo>
                  <a:pt x="22" y="135"/>
                </a:lnTo>
                <a:lnTo>
                  <a:pt x="23" y="134"/>
                </a:lnTo>
                <a:lnTo>
                  <a:pt x="26" y="134"/>
                </a:lnTo>
                <a:lnTo>
                  <a:pt x="28" y="134"/>
                </a:lnTo>
                <a:lnTo>
                  <a:pt x="29" y="135"/>
                </a:lnTo>
                <a:lnTo>
                  <a:pt x="31" y="135"/>
                </a:lnTo>
                <a:lnTo>
                  <a:pt x="32" y="134"/>
                </a:lnTo>
                <a:lnTo>
                  <a:pt x="32" y="132"/>
                </a:lnTo>
                <a:lnTo>
                  <a:pt x="32" y="131"/>
                </a:lnTo>
                <a:lnTo>
                  <a:pt x="37" y="131"/>
                </a:lnTo>
                <a:lnTo>
                  <a:pt x="39" y="131"/>
                </a:lnTo>
                <a:lnTo>
                  <a:pt x="41" y="131"/>
                </a:lnTo>
                <a:lnTo>
                  <a:pt x="46" y="130"/>
                </a:lnTo>
                <a:lnTo>
                  <a:pt x="50" y="127"/>
                </a:lnTo>
                <a:lnTo>
                  <a:pt x="52" y="126"/>
                </a:lnTo>
                <a:lnTo>
                  <a:pt x="53" y="125"/>
                </a:lnTo>
                <a:lnTo>
                  <a:pt x="55" y="123"/>
                </a:lnTo>
                <a:lnTo>
                  <a:pt x="55" y="122"/>
                </a:lnTo>
                <a:lnTo>
                  <a:pt x="56" y="121"/>
                </a:lnTo>
                <a:lnTo>
                  <a:pt x="59" y="118"/>
                </a:lnTo>
                <a:lnTo>
                  <a:pt x="62" y="116"/>
                </a:lnTo>
                <a:lnTo>
                  <a:pt x="65" y="116"/>
                </a:lnTo>
                <a:lnTo>
                  <a:pt x="72" y="112"/>
                </a:lnTo>
                <a:lnTo>
                  <a:pt x="78" y="111"/>
                </a:lnTo>
                <a:lnTo>
                  <a:pt x="78" y="110"/>
                </a:lnTo>
                <a:lnTo>
                  <a:pt x="78" y="108"/>
                </a:lnTo>
                <a:lnTo>
                  <a:pt x="77" y="107"/>
                </a:lnTo>
                <a:lnTo>
                  <a:pt x="77" y="106"/>
                </a:lnTo>
                <a:lnTo>
                  <a:pt x="76" y="106"/>
                </a:lnTo>
                <a:lnTo>
                  <a:pt x="76" y="107"/>
                </a:lnTo>
                <a:lnTo>
                  <a:pt x="75" y="106"/>
                </a:lnTo>
                <a:lnTo>
                  <a:pt x="76" y="104"/>
                </a:lnTo>
                <a:lnTo>
                  <a:pt x="77" y="102"/>
                </a:lnTo>
                <a:lnTo>
                  <a:pt x="76" y="102"/>
                </a:lnTo>
                <a:lnTo>
                  <a:pt x="75" y="102"/>
                </a:lnTo>
                <a:lnTo>
                  <a:pt x="75" y="101"/>
                </a:lnTo>
                <a:lnTo>
                  <a:pt x="75" y="100"/>
                </a:lnTo>
                <a:lnTo>
                  <a:pt x="75" y="97"/>
                </a:lnTo>
                <a:lnTo>
                  <a:pt x="76" y="96"/>
                </a:lnTo>
                <a:lnTo>
                  <a:pt x="78" y="96"/>
                </a:lnTo>
                <a:lnTo>
                  <a:pt x="79" y="97"/>
                </a:lnTo>
                <a:lnTo>
                  <a:pt x="81" y="97"/>
                </a:lnTo>
                <a:lnTo>
                  <a:pt x="83" y="96"/>
                </a:lnTo>
                <a:lnTo>
                  <a:pt x="88" y="95"/>
                </a:lnTo>
                <a:lnTo>
                  <a:pt x="88" y="94"/>
                </a:lnTo>
                <a:lnTo>
                  <a:pt x="89" y="93"/>
                </a:lnTo>
                <a:lnTo>
                  <a:pt x="88" y="91"/>
                </a:lnTo>
                <a:lnTo>
                  <a:pt x="89" y="90"/>
                </a:lnTo>
                <a:lnTo>
                  <a:pt x="90" y="90"/>
                </a:lnTo>
                <a:lnTo>
                  <a:pt x="91" y="90"/>
                </a:lnTo>
                <a:lnTo>
                  <a:pt x="92" y="90"/>
                </a:lnTo>
                <a:lnTo>
                  <a:pt x="93" y="88"/>
                </a:lnTo>
                <a:lnTo>
                  <a:pt x="97" y="88"/>
                </a:lnTo>
                <a:lnTo>
                  <a:pt x="106" y="88"/>
                </a:lnTo>
                <a:lnTo>
                  <a:pt x="107" y="87"/>
                </a:lnTo>
                <a:lnTo>
                  <a:pt x="109" y="88"/>
                </a:lnTo>
                <a:lnTo>
                  <a:pt x="113" y="88"/>
                </a:lnTo>
                <a:lnTo>
                  <a:pt x="114" y="88"/>
                </a:lnTo>
                <a:lnTo>
                  <a:pt x="116" y="88"/>
                </a:lnTo>
                <a:lnTo>
                  <a:pt x="116" y="88"/>
                </a:lnTo>
                <a:lnTo>
                  <a:pt x="114" y="86"/>
                </a:lnTo>
                <a:lnTo>
                  <a:pt x="116" y="85"/>
                </a:lnTo>
                <a:lnTo>
                  <a:pt x="117" y="83"/>
                </a:lnTo>
                <a:lnTo>
                  <a:pt x="118" y="82"/>
                </a:lnTo>
                <a:lnTo>
                  <a:pt x="118" y="82"/>
                </a:lnTo>
                <a:lnTo>
                  <a:pt x="116" y="81"/>
                </a:lnTo>
                <a:lnTo>
                  <a:pt x="113" y="78"/>
                </a:lnTo>
                <a:lnTo>
                  <a:pt x="111" y="74"/>
                </a:lnTo>
                <a:lnTo>
                  <a:pt x="111" y="72"/>
                </a:lnTo>
                <a:lnTo>
                  <a:pt x="110" y="71"/>
                </a:lnTo>
                <a:lnTo>
                  <a:pt x="110" y="68"/>
                </a:lnTo>
                <a:lnTo>
                  <a:pt x="110" y="66"/>
                </a:lnTo>
                <a:lnTo>
                  <a:pt x="111" y="65"/>
                </a:lnTo>
                <a:lnTo>
                  <a:pt x="111" y="64"/>
                </a:lnTo>
                <a:lnTo>
                  <a:pt x="110" y="63"/>
                </a:lnTo>
                <a:lnTo>
                  <a:pt x="109" y="61"/>
                </a:lnTo>
                <a:lnTo>
                  <a:pt x="109" y="60"/>
                </a:lnTo>
                <a:lnTo>
                  <a:pt x="109" y="57"/>
                </a:lnTo>
                <a:lnTo>
                  <a:pt x="110" y="54"/>
                </a:lnTo>
                <a:lnTo>
                  <a:pt x="109" y="52"/>
                </a:lnTo>
                <a:lnTo>
                  <a:pt x="108" y="50"/>
                </a:lnTo>
                <a:lnTo>
                  <a:pt x="109" y="47"/>
                </a:lnTo>
                <a:lnTo>
                  <a:pt x="108" y="45"/>
                </a:lnTo>
                <a:lnTo>
                  <a:pt x="108" y="44"/>
                </a:lnTo>
                <a:lnTo>
                  <a:pt x="109" y="44"/>
                </a:lnTo>
                <a:lnTo>
                  <a:pt x="109" y="44"/>
                </a:lnTo>
                <a:lnTo>
                  <a:pt x="108" y="43"/>
                </a:lnTo>
                <a:lnTo>
                  <a:pt x="107" y="43"/>
                </a:lnTo>
                <a:lnTo>
                  <a:pt x="106" y="41"/>
                </a:lnTo>
                <a:lnTo>
                  <a:pt x="106" y="41"/>
                </a:lnTo>
                <a:lnTo>
                  <a:pt x="103" y="39"/>
                </a:lnTo>
                <a:lnTo>
                  <a:pt x="103" y="37"/>
                </a:lnTo>
                <a:lnTo>
                  <a:pt x="103" y="36"/>
                </a:lnTo>
                <a:lnTo>
                  <a:pt x="103" y="36"/>
                </a:lnTo>
                <a:lnTo>
                  <a:pt x="106" y="36"/>
                </a:lnTo>
                <a:lnTo>
                  <a:pt x="109" y="35"/>
                </a:lnTo>
                <a:lnTo>
                  <a:pt x="113" y="32"/>
                </a:lnTo>
                <a:lnTo>
                  <a:pt x="118" y="26"/>
                </a:lnTo>
                <a:lnTo>
                  <a:pt x="121" y="24"/>
                </a:lnTo>
                <a:lnTo>
                  <a:pt x="124" y="24"/>
                </a:lnTo>
                <a:lnTo>
                  <a:pt x="126" y="24"/>
                </a:lnTo>
                <a:lnTo>
                  <a:pt x="129" y="22"/>
                </a:lnTo>
                <a:lnTo>
                  <a:pt x="132" y="23"/>
                </a:lnTo>
                <a:lnTo>
                  <a:pt x="134" y="22"/>
                </a:lnTo>
                <a:lnTo>
                  <a:pt x="137" y="19"/>
                </a:lnTo>
                <a:lnTo>
                  <a:pt x="139" y="16"/>
                </a:lnTo>
                <a:lnTo>
                  <a:pt x="140" y="15"/>
                </a:lnTo>
                <a:lnTo>
                  <a:pt x="142" y="15"/>
                </a:lnTo>
                <a:lnTo>
                  <a:pt x="146" y="13"/>
                </a:lnTo>
                <a:lnTo>
                  <a:pt x="152" y="10"/>
                </a:lnTo>
                <a:lnTo>
                  <a:pt x="156" y="10"/>
                </a:lnTo>
                <a:lnTo>
                  <a:pt x="170" y="9"/>
                </a:lnTo>
                <a:lnTo>
                  <a:pt x="173" y="9"/>
                </a:lnTo>
                <a:lnTo>
                  <a:pt x="177" y="6"/>
                </a:lnTo>
                <a:lnTo>
                  <a:pt x="179" y="5"/>
                </a:lnTo>
                <a:lnTo>
                  <a:pt x="181" y="5"/>
                </a:lnTo>
                <a:lnTo>
                  <a:pt x="184" y="5"/>
                </a:lnTo>
                <a:lnTo>
                  <a:pt x="185" y="5"/>
                </a:lnTo>
                <a:lnTo>
                  <a:pt x="188" y="5"/>
                </a:lnTo>
                <a:lnTo>
                  <a:pt x="192" y="3"/>
                </a:lnTo>
                <a:lnTo>
                  <a:pt x="197" y="3"/>
                </a:lnTo>
                <a:lnTo>
                  <a:pt x="201" y="3"/>
                </a:lnTo>
                <a:lnTo>
                  <a:pt x="208" y="3"/>
                </a:lnTo>
                <a:lnTo>
                  <a:pt x="210" y="5"/>
                </a:lnTo>
                <a:lnTo>
                  <a:pt x="213" y="6"/>
                </a:lnTo>
                <a:lnTo>
                  <a:pt x="217" y="6"/>
                </a:lnTo>
                <a:lnTo>
                  <a:pt x="219" y="4"/>
                </a:lnTo>
                <a:lnTo>
                  <a:pt x="223" y="4"/>
                </a:lnTo>
                <a:lnTo>
                  <a:pt x="227" y="3"/>
                </a:lnTo>
                <a:lnTo>
                  <a:pt x="229" y="0"/>
                </a:lnTo>
                <a:lnTo>
                  <a:pt x="232" y="1"/>
                </a:lnTo>
                <a:lnTo>
                  <a:pt x="234" y="2"/>
                </a:lnTo>
                <a:lnTo>
                  <a:pt x="235" y="2"/>
                </a:lnTo>
                <a:lnTo>
                  <a:pt x="238" y="3"/>
                </a:lnTo>
                <a:lnTo>
                  <a:pt x="241" y="2"/>
                </a:lnTo>
                <a:lnTo>
                  <a:pt x="242" y="0"/>
                </a:lnTo>
                <a:lnTo>
                  <a:pt x="248" y="2"/>
                </a:lnTo>
                <a:lnTo>
                  <a:pt x="251" y="3"/>
                </a:lnTo>
                <a:lnTo>
                  <a:pt x="254" y="3"/>
                </a:lnTo>
                <a:lnTo>
                  <a:pt x="255" y="2"/>
                </a:lnTo>
                <a:lnTo>
                  <a:pt x="260" y="3"/>
                </a:lnTo>
                <a:lnTo>
                  <a:pt x="263" y="2"/>
                </a:lnTo>
                <a:lnTo>
                  <a:pt x="263" y="4"/>
                </a:lnTo>
                <a:lnTo>
                  <a:pt x="262" y="4"/>
                </a:lnTo>
                <a:lnTo>
                  <a:pt x="260" y="6"/>
                </a:lnTo>
                <a:lnTo>
                  <a:pt x="258" y="9"/>
                </a:lnTo>
                <a:lnTo>
                  <a:pt x="256" y="10"/>
                </a:lnTo>
                <a:lnTo>
                  <a:pt x="259" y="11"/>
                </a:lnTo>
                <a:lnTo>
                  <a:pt x="259" y="12"/>
                </a:lnTo>
                <a:lnTo>
                  <a:pt x="258" y="20"/>
                </a:lnTo>
                <a:lnTo>
                  <a:pt x="258" y="23"/>
                </a:lnTo>
                <a:lnTo>
                  <a:pt x="259" y="25"/>
                </a:lnTo>
                <a:lnTo>
                  <a:pt x="259" y="31"/>
                </a:lnTo>
                <a:lnTo>
                  <a:pt x="260" y="33"/>
                </a:lnTo>
                <a:lnTo>
                  <a:pt x="260" y="34"/>
                </a:lnTo>
                <a:lnTo>
                  <a:pt x="259" y="42"/>
                </a:lnTo>
                <a:lnTo>
                  <a:pt x="258" y="45"/>
                </a:lnTo>
                <a:lnTo>
                  <a:pt x="252" y="49"/>
                </a:lnTo>
                <a:lnTo>
                  <a:pt x="252" y="52"/>
                </a:lnTo>
                <a:lnTo>
                  <a:pt x="250" y="53"/>
                </a:lnTo>
                <a:lnTo>
                  <a:pt x="248" y="54"/>
                </a:lnTo>
                <a:lnTo>
                  <a:pt x="248" y="55"/>
                </a:lnTo>
                <a:lnTo>
                  <a:pt x="245" y="56"/>
                </a:lnTo>
                <a:lnTo>
                  <a:pt x="244" y="56"/>
                </a:lnTo>
                <a:lnTo>
                  <a:pt x="245" y="59"/>
                </a:lnTo>
                <a:lnTo>
                  <a:pt x="247" y="62"/>
                </a:lnTo>
                <a:lnTo>
                  <a:pt x="249" y="70"/>
                </a:lnTo>
                <a:lnTo>
                  <a:pt x="253" y="71"/>
                </a:lnTo>
                <a:lnTo>
                  <a:pt x="255" y="73"/>
                </a:lnTo>
                <a:lnTo>
                  <a:pt x="258" y="78"/>
                </a:lnTo>
                <a:lnTo>
                  <a:pt x="258" y="84"/>
                </a:lnTo>
                <a:lnTo>
                  <a:pt x="263" y="87"/>
                </a:lnTo>
                <a:lnTo>
                  <a:pt x="270" y="91"/>
                </a:lnTo>
                <a:lnTo>
                  <a:pt x="271" y="91"/>
                </a:lnTo>
                <a:lnTo>
                  <a:pt x="271" y="91"/>
                </a:lnTo>
                <a:lnTo>
                  <a:pt x="274" y="112"/>
                </a:lnTo>
                <a:lnTo>
                  <a:pt x="276" y="122"/>
                </a:lnTo>
                <a:lnTo>
                  <a:pt x="276" y="123"/>
                </a:lnTo>
                <a:lnTo>
                  <a:pt x="276" y="124"/>
                </a:lnTo>
                <a:lnTo>
                  <a:pt x="274" y="126"/>
                </a:lnTo>
                <a:lnTo>
                  <a:pt x="273" y="131"/>
                </a:lnTo>
                <a:lnTo>
                  <a:pt x="276" y="134"/>
                </a:lnTo>
                <a:lnTo>
                  <a:pt x="280" y="141"/>
                </a:lnTo>
                <a:lnTo>
                  <a:pt x="282" y="147"/>
                </a:lnTo>
                <a:lnTo>
                  <a:pt x="283" y="154"/>
                </a:lnTo>
                <a:lnTo>
                  <a:pt x="282" y="163"/>
                </a:lnTo>
                <a:lnTo>
                  <a:pt x="283" y="165"/>
                </a:lnTo>
                <a:lnTo>
                  <a:pt x="283" y="170"/>
                </a:lnTo>
                <a:lnTo>
                  <a:pt x="283" y="176"/>
                </a:lnTo>
                <a:lnTo>
                  <a:pt x="283" y="193"/>
                </a:lnTo>
                <a:lnTo>
                  <a:pt x="280" y="194"/>
                </a:lnTo>
                <a:lnTo>
                  <a:pt x="278" y="195"/>
                </a:lnTo>
                <a:lnTo>
                  <a:pt x="276" y="197"/>
                </a:lnTo>
                <a:lnTo>
                  <a:pt x="279" y="202"/>
                </a:lnTo>
                <a:lnTo>
                  <a:pt x="283" y="208"/>
                </a:lnTo>
                <a:lnTo>
                  <a:pt x="286" y="213"/>
                </a:lnTo>
                <a:lnTo>
                  <a:pt x="288" y="219"/>
                </a:lnTo>
                <a:lnTo>
                  <a:pt x="288" y="223"/>
                </a:lnTo>
                <a:lnTo>
                  <a:pt x="292" y="227"/>
                </a:lnTo>
                <a:lnTo>
                  <a:pt x="298" y="227"/>
                </a:lnTo>
                <a:lnTo>
                  <a:pt x="300" y="227"/>
                </a:lnTo>
                <a:lnTo>
                  <a:pt x="309" y="232"/>
                </a:lnTo>
                <a:lnTo>
                  <a:pt x="314" y="241"/>
                </a:lnTo>
                <a:lnTo>
                  <a:pt x="315" y="245"/>
                </a:lnTo>
                <a:lnTo>
                  <a:pt x="316" y="246"/>
                </a:lnTo>
                <a:lnTo>
                  <a:pt x="309" y="253"/>
                </a:lnTo>
                <a:lnTo>
                  <a:pt x="296" y="262"/>
                </a:lnTo>
                <a:lnTo>
                  <a:pt x="284" y="272"/>
                </a:lnTo>
                <a:lnTo>
                  <a:pt x="272" y="280"/>
                </a:lnTo>
                <a:lnTo>
                  <a:pt x="259" y="290"/>
                </a:lnTo>
                <a:lnTo>
                  <a:pt x="247" y="299"/>
                </a:lnTo>
                <a:lnTo>
                  <a:pt x="234" y="309"/>
                </a:lnTo>
                <a:lnTo>
                  <a:pt x="222" y="318"/>
                </a:lnTo>
                <a:lnTo>
                  <a:pt x="218" y="320"/>
                </a:lnTo>
                <a:lnTo>
                  <a:pt x="200" y="325"/>
                </a:lnTo>
                <a:lnTo>
                  <a:pt x="198" y="325"/>
                </a:lnTo>
                <a:lnTo>
                  <a:pt x="195" y="326"/>
                </a:lnTo>
                <a:lnTo>
                  <a:pt x="193" y="327"/>
                </a:lnTo>
                <a:lnTo>
                  <a:pt x="191" y="327"/>
                </a:lnTo>
                <a:lnTo>
                  <a:pt x="188" y="329"/>
                </a:lnTo>
                <a:lnTo>
                  <a:pt x="187" y="329"/>
                </a:lnTo>
                <a:lnTo>
                  <a:pt x="184" y="328"/>
                </a:lnTo>
                <a:lnTo>
                  <a:pt x="182" y="326"/>
                </a:lnTo>
                <a:lnTo>
                  <a:pt x="182" y="325"/>
                </a:lnTo>
                <a:lnTo>
                  <a:pt x="183" y="323"/>
                </a:lnTo>
                <a:lnTo>
                  <a:pt x="182" y="320"/>
                </a:lnTo>
                <a:lnTo>
                  <a:pt x="183" y="320"/>
                </a:lnTo>
                <a:lnTo>
                  <a:pt x="184" y="319"/>
                </a:lnTo>
                <a:lnTo>
                  <a:pt x="184" y="318"/>
                </a:lnTo>
                <a:lnTo>
                  <a:pt x="183" y="317"/>
                </a:lnTo>
                <a:lnTo>
                  <a:pt x="183" y="316"/>
                </a:lnTo>
                <a:lnTo>
                  <a:pt x="183" y="315"/>
                </a:lnTo>
                <a:lnTo>
                  <a:pt x="183" y="314"/>
                </a:lnTo>
                <a:lnTo>
                  <a:pt x="183" y="314"/>
                </a:lnTo>
                <a:lnTo>
                  <a:pt x="182" y="313"/>
                </a:lnTo>
                <a:lnTo>
                  <a:pt x="181" y="312"/>
                </a:lnTo>
                <a:lnTo>
                  <a:pt x="179" y="310"/>
                </a:lnTo>
                <a:lnTo>
                  <a:pt x="177" y="309"/>
                </a:lnTo>
                <a:lnTo>
                  <a:pt x="175" y="309"/>
                </a:lnTo>
                <a:lnTo>
                  <a:pt x="174" y="308"/>
                </a:lnTo>
                <a:lnTo>
                  <a:pt x="171" y="308"/>
                </a:lnTo>
                <a:lnTo>
                  <a:pt x="170" y="308"/>
                </a:lnTo>
                <a:lnTo>
                  <a:pt x="169" y="305"/>
                </a:lnTo>
                <a:lnTo>
                  <a:pt x="168" y="305"/>
                </a:lnTo>
                <a:lnTo>
                  <a:pt x="166" y="305"/>
                </a:lnTo>
                <a:lnTo>
                  <a:pt x="163" y="305"/>
                </a:lnTo>
                <a:lnTo>
                  <a:pt x="161" y="304"/>
                </a:lnTo>
                <a:lnTo>
                  <a:pt x="159" y="302"/>
                </a:lnTo>
                <a:lnTo>
                  <a:pt x="159" y="300"/>
                </a:lnTo>
                <a:lnTo>
                  <a:pt x="159" y="298"/>
                </a:lnTo>
                <a:lnTo>
                  <a:pt x="158" y="298"/>
                </a:lnTo>
                <a:lnTo>
                  <a:pt x="154" y="296"/>
                </a:lnTo>
                <a:lnTo>
                  <a:pt x="152" y="296"/>
                </a:lnTo>
                <a:lnTo>
                  <a:pt x="151" y="295"/>
                </a:lnTo>
                <a:lnTo>
                  <a:pt x="150" y="294"/>
                </a:lnTo>
                <a:lnTo>
                  <a:pt x="151" y="290"/>
                </a:lnTo>
                <a:lnTo>
                  <a:pt x="150" y="289"/>
                </a:lnTo>
                <a:lnTo>
                  <a:pt x="150" y="288"/>
                </a:lnTo>
                <a:lnTo>
                  <a:pt x="75" y="233"/>
                </a:lnTo>
                <a:lnTo>
                  <a:pt x="57" y="219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58" name="Freeform 257"/>
          <p:cNvSpPr>
            <a:spLocks/>
          </p:cNvSpPr>
          <p:nvPr/>
        </p:nvSpPr>
        <p:spPr bwMode="auto">
          <a:xfrm>
            <a:off x="4138613" y="2508216"/>
            <a:ext cx="501650" cy="522288"/>
          </a:xfrm>
          <a:custGeom>
            <a:avLst/>
            <a:gdLst>
              <a:gd name="T0" fmla="*/ 0 w 316"/>
              <a:gd name="T1" fmla="*/ 179 h 329"/>
              <a:gd name="T2" fmla="*/ 17 w 316"/>
              <a:gd name="T3" fmla="*/ 140 h 329"/>
              <a:gd name="T4" fmla="*/ 26 w 316"/>
              <a:gd name="T5" fmla="*/ 134 h 329"/>
              <a:gd name="T6" fmla="*/ 32 w 316"/>
              <a:gd name="T7" fmla="*/ 132 h 329"/>
              <a:gd name="T8" fmla="*/ 46 w 316"/>
              <a:gd name="T9" fmla="*/ 130 h 329"/>
              <a:gd name="T10" fmla="*/ 55 w 316"/>
              <a:gd name="T11" fmla="*/ 122 h 329"/>
              <a:gd name="T12" fmla="*/ 72 w 316"/>
              <a:gd name="T13" fmla="*/ 112 h 329"/>
              <a:gd name="T14" fmla="*/ 77 w 316"/>
              <a:gd name="T15" fmla="*/ 106 h 329"/>
              <a:gd name="T16" fmla="*/ 77 w 316"/>
              <a:gd name="T17" fmla="*/ 102 h 329"/>
              <a:gd name="T18" fmla="*/ 75 w 316"/>
              <a:gd name="T19" fmla="*/ 97 h 329"/>
              <a:gd name="T20" fmla="*/ 83 w 316"/>
              <a:gd name="T21" fmla="*/ 96 h 329"/>
              <a:gd name="T22" fmla="*/ 89 w 316"/>
              <a:gd name="T23" fmla="*/ 90 h 329"/>
              <a:gd name="T24" fmla="*/ 97 w 316"/>
              <a:gd name="T25" fmla="*/ 88 h 329"/>
              <a:gd name="T26" fmla="*/ 114 w 316"/>
              <a:gd name="T27" fmla="*/ 88 h 329"/>
              <a:gd name="T28" fmla="*/ 117 w 316"/>
              <a:gd name="T29" fmla="*/ 83 h 329"/>
              <a:gd name="T30" fmla="*/ 111 w 316"/>
              <a:gd name="T31" fmla="*/ 74 h 329"/>
              <a:gd name="T32" fmla="*/ 111 w 316"/>
              <a:gd name="T33" fmla="*/ 65 h 329"/>
              <a:gd name="T34" fmla="*/ 109 w 316"/>
              <a:gd name="T35" fmla="*/ 57 h 329"/>
              <a:gd name="T36" fmla="*/ 108 w 316"/>
              <a:gd name="T37" fmla="*/ 45 h 329"/>
              <a:gd name="T38" fmla="*/ 107 w 316"/>
              <a:gd name="T39" fmla="*/ 43 h 329"/>
              <a:gd name="T40" fmla="*/ 103 w 316"/>
              <a:gd name="T41" fmla="*/ 36 h 329"/>
              <a:gd name="T42" fmla="*/ 118 w 316"/>
              <a:gd name="T43" fmla="*/ 26 h 329"/>
              <a:gd name="T44" fmla="*/ 132 w 316"/>
              <a:gd name="T45" fmla="*/ 23 h 329"/>
              <a:gd name="T46" fmla="*/ 142 w 316"/>
              <a:gd name="T47" fmla="*/ 15 h 329"/>
              <a:gd name="T48" fmla="*/ 173 w 316"/>
              <a:gd name="T49" fmla="*/ 9 h 329"/>
              <a:gd name="T50" fmla="*/ 185 w 316"/>
              <a:gd name="T51" fmla="*/ 5 h 329"/>
              <a:gd name="T52" fmla="*/ 208 w 316"/>
              <a:gd name="T53" fmla="*/ 3 h 329"/>
              <a:gd name="T54" fmla="*/ 223 w 316"/>
              <a:gd name="T55" fmla="*/ 4 h 329"/>
              <a:gd name="T56" fmla="*/ 235 w 316"/>
              <a:gd name="T57" fmla="*/ 2 h 329"/>
              <a:gd name="T58" fmla="*/ 251 w 316"/>
              <a:gd name="T59" fmla="*/ 3 h 329"/>
              <a:gd name="T60" fmla="*/ 263 w 316"/>
              <a:gd name="T61" fmla="*/ 4 h 329"/>
              <a:gd name="T62" fmla="*/ 259 w 316"/>
              <a:gd name="T63" fmla="*/ 11 h 329"/>
              <a:gd name="T64" fmla="*/ 259 w 316"/>
              <a:gd name="T65" fmla="*/ 31 h 329"/>
              <a:gd name="T66" fmla="*/ 252 w 316"/>
              <a:gd name="T67" fmla="*/ 49 h 329"/>
              <a:gd name="T68" fmla="*/ 245 w 316"/>
              <a:gd name="T69" fmla="*/ 56 h 329"/>
              <a:gd name="T70" fmla="*/ 253 w 316"/>
              <a:gd name="T71" fmla="*/ 71 h 329"/>
              <a:gd name="T72" fmla="*/ 270 w 316"/>
              <a:gd name="T73" fmla="*/ 91 h 329"/>
              <a:gd name="T74" fmla="*/ 276 w 316"/>
              <a:gd name="T75" fmla="*/ 123 h 329"/>
              <a:gd name="T76" fmla="*/ 280 w 316"/>
              <a:gd name="T77" fmla="*/ 141 h 329"/>
              <a:gd name="T78" fmla="*/ 283 w 316"/>
              <a:gd name="T79" fmla="*/ 170 h 329"/>
              <a:gd name="T80" fmla="*/ 276 w 316"/>
              <a:gd name="T81" fmla="*/ 197 h 329"/>
              <a:gd name="T82" fmla="*/ 288 w 316"/>
              <a:gd name="T83" fmla="*/ 223 h 329"/>
              <a:gd name="T84" fmla="*/ 314 w 316"/>
              <a:gd name="T85" fmla="*/ 241 h 329"/>
              <a:gd name="T86" fmla="*/ 284 w 316"/>
              <a:gd name="T87" fmla="*/ 272 h 329"/>
              <a:gd name="T88" fmla="*/ 222 w 316"/>
              <a:gd name="T89" fmla="*/ 318 h 329"/>
              <a:gd name="T90" fmla="*/ 193 w 316"/>
              <a:gd name="T91" fmla="*/ 327 h 329"/>
              <a:gd name="T92" fmla="*/ 182 w 316"/>
              <a:gd name="T93" fmla="*/ 326 h 329"/>
              <a:gd name="T94" fmla="*/ 184 w 316"/>
              <a:gd name="T95" fmla="*/ 319 h 329"/>
              <a:gd name="T96" fmla="*/ 183 w 316"/>
              <a:gd name="T97" fmla="*/ 314 h 329"/>
              <a:gd name="T98" fmla="*/ 177 w 316"/>
              <a:gd name="T99" fmla="*/ 309 h 329"/>
              <a:gd name="T100" fmla="*/ 169 w 316"/>
              <a:gd name="T101" fmla="*/ 305 h 329"/>
              <a:gd name="T102" fmla="*/ 159 w 316"/>
              <a:gd name="T103" fmla="*/ 302 h 329"/>
              <a:gd name="T104" fmla="*/ 152 w 316"/>
              <a:gd name="T105" fmla="*/ 296 h 329"/>
              <a:gd name="T106" fmla="*/ 150 w 316"/>
              <a:gd name="T107" fmla="*/ 288 h 3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16" h="329">
                <a:moveTo>
                  <a:pt x="57" y="219"/>
                </a:moveTo>
                <a:lnTo>
                  <a:pt x="57" y="219"/>
                </a:lnTo>
                <a:lnTo>
                  <a:pt x="35" y="204"/>
                </a:lnTo>
                <a:lnTo>
                  <a:pt x="18" y="193"/>
                </a:lnTo>
                <a:lnTo>
                  <a:pt x="0" y="179"/>
                </a:lnTo>
                <a:lnTo>
                  <a:pt x="0" y="170"/>
                </a:lnTo>
                <a:lnTo>
                  <a:pt x="0" y="150"/>
                </a:lnTo>
                <a:lnTo>
                  <a:pt x="8" y="144"/>
                </a:lnTo>
                <a:lnTo>
                  <a:pt x="13" y="140"/>
                </a:lnTo>
                <a:lnTo>
                  <a:pt x="17" y="140"/>
                </a:lnTo>
                <a:lnTo>
                  <a:pt x="19" y="137"/>
                </a:lnTo>
                <a:lnTo>
                  <a:pt x="21" y="137"/>
                </a:lnTo>
                <a:lnTo>
                  <a:pt x="22" y="135"/>
                </a:lnTo>
                <a:lnTo>
                  <a:pt x="23" y="134"/>
                </a:lnTo>
                <a:lnTo>
                  <a:pt x="26" y="134"/>
                </a:lnTo>
                <a:lnTo>
                  <a:pt x="28" y="134"/>
                </a:lnTo>
                <a:lnTo>
                  <a:pt x="29" y="135"/>
                </a:lnTo>
                <a:lnTo>
                  <a:pt x="31" y="135"/>
                </a:lnTo>
                <a:lnTo>
                  <a:pt x="32" y="134"/>
                </a:lnTo>
                <a:lnTo>
                  <a:pt x="32" y="132"/>
                </a:lnTo>
                <a:lnTo>
                  <a:pt x="32" y="131"/>
                </a:lnTo>
                <a:lnTo>
                  <a:pt x="37" y="131"/>
                </a:lnTo>
                <a:lnTo>
                  <a:pt x="39" y="131"/>
                </a:lnTo>
                <a:lnTo>
                  <a:pt x="41" y="131"/>
                </a:lnTo>
                <a:lnTo>
                  <a:pt x="46" y="130"/>
                </a:lnTo>
                <a:lnTo>
                  <a:pt x="50" y="127"/>
                </a:lnTo>
                <a:lnTo>
                  <a:pt x="52" y="126"/>
                </a:lnTo>
                <a:lnTo>
                  <a:pt x="53" y="125"/>
                </a:lnTo>
                <a:lnTo>
                  <a:pt x="55" y="123"/>
                </a:lnTo>
                <a:lnTo>
                  <a:pt x="55" y="122"/>
                </a:lnTo>
                <a:lnTo>
                  <a:pt x="56" y="121"/>
                </a:lnTo>
                <a:lnTo>
                  <a:pt x="59" y="118"/>
                </a:lnTo>
                <a:lnTo>
                  <a:pt x="62" y="116"/>
                </a:lnTo>
                <a:lnTo>
                  <a:pt x="65" y="116"/>
                </a:lnTo>
                <a:lnTo>
                  <a:pt x="72" y="112"/>
                </a:lnTo>
                <a:lnTo>
                  <a:pt x="78" y="111"/>
                </a:lnTo>
                <a:lnTo>
                  <a:pt x="78" y="110"/>
                </a:lnTo>
                <a:lnTo>
                  <a:pt x="78" y="108"/>
                </a:lnTo>
                <a:lnTo>
                  <a:pt x="77" y="107"/>
                </a:lnTo>
                <a:lnTo>
                  <a:pt x="77" y="106"/>
                </a:lnTo>
                <a:lnTo>
                  <a:pt x="76" y="106"/>
                </a:lnTo>
                <a:lnTo>
                  <a:pt x="76" y="107"/>
                </a:lnTo>
                <a:lnTo>
                  <a:pt x="75" y="106"/>
                </a:lnTo>
                <a:lnTo>
                  <a:pt x="76" y="104"/>
                </a:lnTo>
                <a:lnTo>
                  <a:pt x="77" y="102"/>
                </a:lnTo>
                <a:lnTo>
                  <a:pt x="76" y="102"/>
                </a:lnTo>
                <a:lnTo>
                  <a:pt x="75" y="102"/>
                </a:lnTo>
                <a:lnTo>
                  <a:pt x="75" y="101"/>
                </a:lnTo>
                <a:lnTo>
                  <a:pt x="75" y="100"/>
                </a:lnTo>
                <a:lnTo>
                  <a:pt x="75" y="97"/>
                </a:lnTo>
                <a:lnTo>
                  <a:pt x="76" y="96"/>
                </a:lnTo>
                <a:lnTo>
                  <a:pt x="78" y="96"/>
                </a:lnTo>
                <a:lnTo>
                  <a:pt x="79" y="97"/>
                </a:lnTo>
                <a:lnTo>
                  <a:pt x="81" y="97"/>
                </a:lnTo>
                <a:lnTo>
                  <a:pt x="83" y="96"/>
                </a:lnTo>
                <a:lnTo>
                  <a:pt x="88" y="95"/>
                </a:lnTo>
                <a:lnTo>
                  <a:pt x="88" y="94"/>
                </a:lnTo>
                <a:lnTo>
                  <a:pt x="89" y="93"/>
                </a:lnTo>
                <a:lnTo>
                  <a:pt x="88" y="91"/>
                </a:lnTo>
                <a:lnTo>
                  <a:pt x="89" y="90"/>
                </a:lnTo>
                <a:lnTo>
                  <a:pt x="90" y="90"/>
                </a:lnTo>
                <a:lnTo>
                  <a:pt x="91" y="90"/>
                </a:lnTo>
                <a:lnTo>
                  <a:pt x="92" y="90"/>
                </a:lnTo>
                <a:lnTo>
                  <a:pt x="93" y="88"/>
                </a:lnTo>
                <a:lnTo>
                  <a:pt x="97" y="88"/>
                </a:lnTo>
                <a:lnTo>
                  <a:pt x="106" y="88"/>
                </a:lnTo>
                <a:lnTo>
                  <a:pt x="107" y="87"/>
                </a:lnTo>
                <a:lnTo>
                  <a:pt x="109" y="88"/>
                </a:lnTo>
                <a:lnTo>
                  <a:pt x="113" y="88"/>
                </a:lnTo>
                <a:lnTo>
                  <a:pt x="114" y="88"/>
                </a:lnTo>
                <a:lnTo>
                  <a:pt x="116" y="88"/>
                </a:lnTo>
                <a:lnTo>
                  <a:pt x="116" y="88"/>
                </a:lnTo>
                <a:lnTo>
                  <a:pt x="114" y="86"/>
                </a:lnTo>
                <a:lnTo>
                  <a:pt x="116" y="85"/>
                </a:lnTo>
                <a:lnTo>
                  <a:pt x="117" y="83"/>
                </a:lnTo>
                <a:lnTo>
                  <a:pt x="118" y="82"/>
                </a:lnTo>
                <a:lnTo>
                  <a:pt x="118" y="82"/>
                </a:lnTo>
                <a:lnTo>
                  <a:pt x="116" y="81"/>
                </a:lnTo>
                <a:lnTo>
                  <a:pt x="113" y="78"/>
                </a:lnTo>
                <a:lnTo>
                  <a:pt x="111" y="74"/>
                </a:lnTo>
                <a:lnTo>
                  <a:pt x="111" y="72"/>
                </a:lnTo>
                <a:lnTo>
                  <a:pt x="110" y="71"/>
                </a:lnTo>
                <a:lnTo>
                  <a:pt x="110" y="68"/>
                </a:lnTo>
                <a:lnTo>
                  <a:pt x="110" y="66"/>
                </a:lnTo>
                <a:lnTo>
                  <a:pt x="111" y="65"/>
                </a:lnTo>
                <a:lnTo>
                  <a:pt x="111" y="64"/>
                </a:lnTo>
                <a:lnTo>
                  <a:pt x="110" y="63"/>
                </a:lnTo>
                <a:lnTo>
                  <a:pt x="109" y="61"/>
                </a:lnTo>
                <a:lnTo>
                  <a:pt x="109" y="60"/>
                </a:lnTo>
                <a:lnTo>
                  <a:pt x="109" y="57"/>
                </a:lnTo>
                <a:lnTo>
                  <a:pt x="110" y="54"/>
                </a:lnTo>
                <a:lnTo>
                  <a:pt x="109" y="52"/>
                </a:lnTo>
                <a:lnTo>
                  <a:pt x="108" y="50"/>
                </a:lnTo>
                <a:lnTo>
                  <a:pt x="109" y="47"/>
                </a:lnTo>
                <a:lnTo>
                  <a:pt x="108" y="45"/>
                </a:lnTo>
                <a:lnTo>
                  <a:pt x="108" y="44"/>
                </a:lnTo>
                <a:lnTo>
                  <a:pt x="109" y="44"/>
                </a:lnTo>
                <a:lnTo>
                  <a:pt x="109" y="44"/>
                </a:lnTo>
                <a:lnTo>
                  <a:pt x="108" y="43"/>
                </a:lnTo>
                <a:lnTo>
                  <a:pt x="107" y="43"/>
                </a:lnTo>
                <a:lnTo>
                  <a:pt x="106" y="41"/>
                </a:lnTo>
                <a:lnTo>
                  <a:pt x="106" y="41"/>
                </a:lnTo>
                <a:lnTo>
                  <a:pt x="103" y="39"/>
                </a:lnTo>
                <a:lnTo>
                  <a:pt x="103" y="37"/>
                </a:lnTo>
                <a:lnTo>
                  <a:pt x="103" y="36"/>
                </a:lnTo>
                <a:lnTo>
                  <a:pt x="103" y="36"/>
                </a:lnTo>
                <a:lnTo>
                  <a:pt x="106" y="36"/>
                </a:lnTo>
                <a:lnTo>
                  <a:pt x="109" y="35"/>
                </a:lnTo>
                <a:lnTo>
                  <a:pt x="113" y="32"/>
                </a:lnTo>
                <a:lnTo>
                  <a:pt x="118" y="26"/>
                </a:lnTo>
                <a:lnTo>
                  <a:pt x="121" y="24"/>
                </a:lnTo>
                <a:lnTo>
                  <a:pt x="124" y="24"/>
                </a:lnTo>
                <a:lnTo>
                  <a:pt x="126" y="24"/>
                </a:lnTo>
                <a:lnTo>
                  <a:pt x="129" y="22"/>
                </a:lnTo>
                <a:lnTo>
                  <a:pt x="132" y="23"/>
                </a:lnTo>
                <a:lnTo>
                  <a:pt x="134" y="22"/>
                </a:lnTo>
                <a:lnTo>
                  <a:pt x="137" y="19"/>
                </a:lnTo>
                <a:lnTo>
                  <a:pt x="139" y="16"/>
                </a:lnTo>
                <a:lnTo>
                  <a:pt x="140" y="15"/>
                </a:lnTo>
                <a:lnTo>
                  <a:pt x="142" y="15"/>
                </a:lnTo>
                <a:lnTo>
                  <a:pt x="146" y="13"/>
                </a:lnTo>
                <a:lnTo>
                  <a:pt x="152" y="10"/>
                </a:lnTo>
                <a:lnTo>
                  <a:pt x="156" y="10"/>
                </a:lnTo>
                <a:lnTo>
                  <a:pt x="170" y="9"/>
                </a:lnTo>
                <a:lnTo>
                  <a:pt x="173" y="9"/>
                </a:lnTo>
                <a:lnTo>
                  <a:pt x="177" y="6"/>
                </a:lnTo>
                <a:lnTo>
                  <a:pt x="179" y="5"/>
                </a:lnTo>
                <a:lnTo>
                  <a:pt x="181" y="5"/>
                </a:lnTo>
                <a:lnTo>
                  <a:pt x="184" y="5"/>
                </a:lnTo>
                <a:lnTo>
                  <a:pt x="185" y="5"/>
                </a:lnTo>
                <a:lnTo>
                  <a:pt x="188" y="5"/>
                </a:lnTo>
                <a:lnTo>
                  <a:pt x="192" y="3"/>
                </a:lnTo>
                <a:lnTo>
                  <a:pt x="197" y="3"/>
                </a:lnTo>
                <a:lnTo>
                  <a:pt x="201" y="3"/>
                </a:lnTo>
                <a:lnTo>
                  <a:pt x="208" y="3"/>
                </a:lnTo>
                <a:lnTo>
                  <a:pt x="210" y="5"/>
                </a:lnTo>
                <a:lnTo>
                  <a:pt x="213" y="6"/>
                </a:lnTo>
                <a:lnTo>
                  <a:pt x="217" y="6"/>
                </a:lnTo>
                <a:lnTo>
                  <a:pt x="219" y="4"/>
                </a:lnTo>
                <a:lnTo>
                  <a:pt x="223" y="4"/>
                </a:lnTo>
                <a:lnTo>
                  <a:pt x="227" y="3"/>
                </a:lnTo>
                <a:lnTo>
                  <a:pt x="229" y="0"/>
                </a:lnTo>
                <a:lnTo>
                  <a:pt x="232" y="1"/>
                </a:lnTo>
                <a:lnTo>
                  <a:pt x="234" y="2"/>
                </a:lnTo>
                <a:lnTo>
                  <a:pt x="235" y="2"/>
                </a:lnTo>
                <a:lnTo>
                  <a:pt x="238" y="3"/>
                </a:lnTo>
                <a:lnTo>
                  <a:pt x="241" y="2"/>
                </a:lnTo>
                <a:lnTo>
                  <a:pt x="242" y="0"/>
                </a:lnTo>
                <a:lnTo>
                  <a:pt x="248" y="2"/>
                </a:lnTo>
                <a:lnTo>
                  <a:pt x="251" y="3"/>
                </a:lnTo>
                <a:lnTo>
                  <a:pt x="254" y="3"/>
                </a:lnTo>
                <a:lnTo>
                  <a:pt x="255" y="2"/>
                </a:lnTo>
                <a:lnTo>
                  <a:pt x="260" y="3"/>
                </a:lnTo>
                <a:lnTo>
                  <a:pt x="263" y="2"/>
                </a:lnTo>
                <a:lnTo>
                  <a:pt x="263" y="4"/>
                </a:lnTo>
                <a:lnTo>
                  <a:pt x="262" y="4"/>
                </a:lnTo>
                <a:lnTo>
                  <a:pt x="260" y="6"/>
                </a:lnTo>
                <a:lnTo>
                  <a:pt x="258" y="9"/>
                </a:lnTo>
                <a:lnTo>
                  <a:pt x="256" y="10"/>
                </a:lnTo>
                <a:lnTo>
                  <a:pt x="259" y="11"/>
                </a:lnTo>
                <a:lnTo>
                  <a:pt x="259" y="12"/>
                </a:lnTo>
                <a:lnTo>
                  <a:pt x="258" y="20"/>
                </a:lnTo>
                <a:lnTo>
                  <a:pt x="258" y="23"/>
                </a:lnTo>
                <a:lnTo>
                  <a:pt x="259" y="25"/>
                </a:lnTo>
                <a:lnTo>
                  <a:pt x="259" y="31"/>
                </a:lnTo>
                <a:lnTo>
                  <a:pt x="260" y="33"/>
                </a:lnTo>
                <a:lnTo>
                  <a:pt x="260" y="34"/>
                </a:lnTo>
                <a:lnTo>
                  <a:pt x="259" y="42"/>
                </a:lnTo>
                <a:lnTo>
                  <a:pt x="258" y="45"/>
                </a:lnTo>
                <a:lnTo>
                  <a:pt x="252" y="49"/>
                </a:lnTo>
                <a:lnTo>
                  <a:pt x="252" y="52"/>
                </a:lnTo>
                <a:lnTo>
                  <a:pt x="250" y="53"/>
                </a:lnTo>
                <a:lnTo>
                  <a:pt x="248" y="54"/>
                </a:lnTo>
                <a:lnTo>
                  <a:pt x="248" y="55"/>
                </a:lnTo>
                <a:lnTo>
                  <a:pt x="245" y="56"/>
                </a:lnTo>
                <a:lnTo>
                  <a:pt x="244" y="56"/>
                </a:lnTo>
                <a:lnTo>
                  <a:pt x="245" y="59"/>
                </a:lnTo>
                <a:lnTo>
                  <a:pt x="247" y="62"/>
                </a:lnTo>
                <a:lnTo>
                  <a:pt x="249" y="70"/>
                </a:lnTo>
                <a:lnTo>
                  <a:pt x="253" y="71"/>
                </a:lnTo>
                <a:lnTo>
                  <a:pt x="255" y="73"/>
                </a:lnTo>
                <a:lnTo>
                  <a:pt x="258" y="78"/>
                </a:lnTo>
                <a:lnTo>
                  <a:pt x="258" y="84"/>
                </a:lnTo>
                <a:lnTo>
                  <a:pt x="263" y="87"/>
                </a:lnTo>
                <a:lnTo>
                  <a:pt x="270" y="91"/>
                </a:lnTo>
                <a:lnTo>
                  <a:pt x="271" y="91"/>
                </a:lnTo>
                <a:lnTo>
                  <a:pt x="271" y="91"/>
                </a:lnTo>
                <a:lnTo>
                  <a:pt x="274" y="112"/>
                </a:lnTo>
                <a:lnTo>
                  <a:pt x="276" y="122"/>
                </a:lnTo>
                <a:lnTo>
                  <a:pt x="276" y="123"/>
                </a:lnTo>
                <a:lnTo>
                  <a:pt x="276" y="124"/>
                </a:lnTo>
                <a:lnTo>
                  <a:pt x="274" y="126"/>
                </a:lnTo>
                <a:lnTo>
                  <a:pt x="273" y="131"/>
                </a:lnTo>
                <a:lnTo>
                  <a:pt x="276" y="134"/>
                </a:lnTo>
                <a:lnTo>
                  <a:pt x="280" y="141"/>
                </a:lnTo>
                <a:lnTo>
                  <a:pt x="282" y="147"/>
                </a:lnTo>
                <a:lnTo>
                  <a:pt x="283" y="154"/>
                </a:lnTo>
                <a:lnTo>
                  <a:pt x="282" y="163"/>
                </a:lnTo>
                <a:lnTo>
                  <a:pt x="283" y="165"/>
                </a:lnTo>
                <a:lnTo>
                  <a:pt x="283" y="170"/>
                </a:lnTo>
                <a:lnTo>
                  <a:pt x="283" y="176"/>
                </a:lnTo>
                <a:lnTo>
                  <a:pt x="283" y="193"/>
                </a:lnTo>
                <a:lnTo>
                  <a:pt x="280" y="194"/>
                </a:lnTo>
                <a:lnTo>
                  <a:pt x="278" y="195"/>
                </a:lnTo>
                <a:lnTo>
                  <a:pt x="276" y="197"/>
                </a:lnTo>
                <a:lnTo>
                  <a:pt x="279" y="202"/>
                </a:lnTo>
                <a:lnTo>
                  <a:pt x="283" y="208"/>
                </a:lnTo>
                <a:lnTo>
                  <a:pt x="286" y="213"/>
                </a:lnTo>
                <a:lnTo>
                  <a:pt x="288" y="219"/>
                </a:lnTo>
                <a:lnTo>
                  <a:pt x="288" y="223"/>
                </a:lnTo>
                <a:lnTo>
                  <a:pt x="292" y="227"/>
                </a:lnTo>
                <a:lnTo>
                  <a:pt x="298" y="227"/>
                </a:lnTo>
                <a:lnTo>
                  <a:pt x="300" y="227"/>
                </a:lnTo>
                <a:lnTo>
                  <a:pt x="309" y="232"/>
                </a:lnTo>
                <a:lnTo>
                  <a:pt x="314" y="241"/>
                </a:lnTo>
                <a:lnTo>
                  <a:pt x="315" y="245"/>
                </a:lnTo>
                <a:lnTo>
                  <a:pt x="316" y="246"/>
                </a:lnTo>
                <a:lnTo>
                  <a:pt x="309" y="253"/>
                </a:lnTo>
                <a:lnTo>
                  <a:pt x="296" y="262"/>
                </a:lnTo>
                <a:lnTo>
                  <a:pt x="284" y="272"/>
                </a:lnTo>
                <a:lnTo>
                  <a:pt x="272" y="280"/>
                </a:lnTo>
                <a:lnTo>
                  <a:pt x="259" y="290"/>
                </a:lnTo>
                <a:lnTo>
                  <a:pt x="247" y="299"/>
                </a:lnTo>
                <a:lnTo>
                  <a:pt x="234" y="309"/>
                </a:lnTo>
                <a:lnTo>
                  <a:pt x="222" y="318"/>
                </a:lnTo>
                <a:lnTo>
                  <a:pt x="218" y="320"/>
                </a:lnTo>
                <a:lnTo>
                  <a:pt x="200" y="325"/>
                </a:lnTo>
                <a:lnTo>
                  <a:pt x="198" y="325"/>
                </a:lnTo>
                <a:lnTo>
                  <a:pt x="195" y="326"/>
                </a:lnTo>
                <a:lnTo>
                  <a:pt x="193" y="327"/>
                </a:lnTo>
                <a:lnTo>
                  <a:pt x="191" y="327"/>
                </a:lnTo>
                <a:lnTo>
                  <a:pt x="188" y="329"/>
                </a:lnTo>
                <a:lnTo>
                  <a:pt x="187" y="329"/>
                </a:lnTo>
                <a:lnTo>
                  <a:pt x="184" y="328"/>
                </a:lnTo>
                <a:lnTo>
                  <a:pt x="182" y="326"/>
                </a:lnTo>
                <a:lnTo>
                  <a:pt x="182" y="325"/>
                </a:lnTo>
                <a:lnTo>
                  <a:pt x="183" y="323"/>
                </a:lnTo>
                <a:lnTo>
                  <a:pt x="182" y="320"/>
                </a:lnTo>
                <a:lnTo>
                  <a:pt x="183" y="320"/>
                </a:lnTo>
                <a:lnTo>
                  <a:pt x="184" y="319"/>
                </a:lnTo>
                <a:lnTo>
                  <a:pt x="184" y="318"/>
                </a:lnTo>
                <a:lnTo>
                  <a:pt x="183" y="317"/>
                </a:lnTo>
                <a:lnTo>
                  <a:pt x="183" y="316"/>
                </a:lnTo>
                <a:lnTo>
                  <a:pt x="183" y="315"/>
                </a:lnTo>
                <a:lnTo>
                  <a:pt x="183" y="314"/>
                </a:lnTo>
                <a:lnTo>
                  <a:pt x="183" y="314"/>
                </a:lnTo>
                <a:lnTo>
                  <a:pt x="182" y="313"/>
                </a:lnTo>
                <a:lnTo>
                  <a:pt x="181" y="312"/>
                </a:lnTo>
                <a:lnTo>
                  <a:pt x="179" y="310"/>
                </a:lnTo>
                <a:lnTo>
                  <a:pt x="177" y="309"/>
                </a:lnTo>
                <a:lnTo>
                  <a:pt x="175" y="309"/>
                </a:lnTo>
                <a:lnTo>
                  <a:pt x="174" y="308"/>
                </a:lnTo>
                <a:lnTo>
                  <a:pt x="171" y="308"/>
                </a:lnTo>
                <a:lnTo>
                  <a:pt x="170" y="308"/>
                </a:lnTo>
                <a:lnTo>
                  <a:pt x="169" y="305"/>
                </a:lnTo>
                <a:lnTo>
                  <a:pt x="168" y="305"/>
                </a:lnTo>
                <a:lnTo>
                  <a:pt x="166" y="305"/>
                </a:lnTo>
                <a:lnTo>
                  <a:pt x="163" y="305"/>
                </a:lnTo>
                <a:lnTo>
                  <a:pt x="161" y="304"/>
                </a:lnTo>
                <a:lnTo>
                  <a:pt x="159" y="302"/>
                </a:lnTo>
                <a:lnTo>
                  <a:pt x="159" y="300"/>
                </a:lnTo>
                <a:lnTo>
                  <a:pt x="159" y="298"/>
                </a:lnTo>
                <a:lnTo>
                  <a:pt x="158" y="298"/>
                </a:lnTo>
                <a:lnTo>
                  <a:pt x="154" y="296"/>
                </a:lnTo>
                <a:lnTo>
                  <a:pt x="152" y="296"/>
                </a:lnTo>
                <a:lnTo>
                  <a:pt x="151" y="295"/>
                </a:lnTo>
                <a:lnTo>
                  <a:pt x="150" y="294"/>
                </a:lnTo>
                <a:lnTo>
                  <a:pt x="151" y="290"/>
                </a:lnTo>
                <a:lnTo>
                  <a:pt x="150" y="289"/>
                </a:lnTo>
                <a:lnTo>
                  <a:pt x="150" y="288"/>
                </a:lnTo>
                <a:lnTo>
                  <a:pt x="75" y="233"/>
                </a:lnTo>
                <a:lnTo>
                  <a:pt x="57" y="219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59" name="Freeform 258"/>
          <p:cNvSpPr>
            <a:spLocks/>
          </p:cNvSpPr>
          <p:nvPr/>
        </p:nvSpPr>
        <p:spPr bwMode="auto">
          <a:xfrm>
            <a:off x="4640263" y="3744878"/>
            <a:ext cx="319087" cy="354013"/>
          </a:xfrm>
          <a:custGeom>
            <a:avLst/>
            <a:gdLst>
              <a:gd name="T0" fmla="*/ 4 w 201"/>
              <a:gd name="T1" fmla="*/ 182 h 223"/>
              <a:gd name="T2" fmla="*/ 9 w 201"/>
              <a:gd name="T3" fmla="*/ 163 h 223"/>
              <a:gd name="T4" fmla="*/ 13 w 201"/>
              <a:gd name="T5" fmla="*/ 147 h 223"/>
              <a:gd name="T6" fmla="*/ 16 w 201"/>
              <a:gd name="T7" fmla="*/ 136 h 223"/>
              <a:gd name="T8" fmla="*/ 27 w 201"/>
              <a:gd name="T9" fmla="*/ 125 h 223"/>
              <a:gd name="T10" fmla="*/ 35 w 201"/>
              <a:gd name="T11" fmla="*/ 109 h 223"/>
              <a:gd name="T12" fmla="*/ 37 w 201"/>
              <a:gd name="T13" fmla="*/ 93 h 223"/>
              <a:gd name="T14" fmla="*/ 29 w 201"/>
              <a:gd name="T15" fmla="*/ 78 h 223"/>
              <a:gd name="T16" fmla="*/ 27 w 201"/>
              <a:gd name="T17" fmla="*/ 58 h 223"/>
              <a:gd name="T18" fmla="*/ 26 w 201"/>
              <a:gd name="T19" fmla="*/ 42 h 223"/>
              <a:gd name="T20" fmla="*/ 17 w 201"/>
              <a:gd name="T21" fmla="*/ 18 h 223"/>
              <a:gd name="T22" fmla="*/ 14 w 201"/>
              <a:gd name="T23" fmla="*/ 9 h 223"/>
              <a:gd name="T24" fmla="*/ 25 w 201"/>
              <a:gd name="T25" fmla="*/ 3 h 223"/>
              <a:gd name="T26" fmla="*/ 40 w 201"/>
              <a:gd name="T27" fmla="*/ 1 h 223"/>
              <a:gd name="T28" fmla="*/ 58 w 201"/>
              <a:gd name="T29" fmla="*/ 1 h 223"/>
              <a:gd name="T30" fmla="*/ 77 w 201"/>
              <a:gd name="T31" fmla="*/ 1 h 223"/>
              <a:gd name="T32" fmla="*/ 83 w 201"/>
              <a:gd name="T33" fmla="*/ 5 h 223"/>
              <a:gd name="T34" fmla="*/ 87 w 201"/>
              <a:gd name="T35" fmla="*/ 22 h 223"/>
              <a:gd name="T36" fmla="*/ 100 w 201"/>
              <a:gd name="T37" fmla="*/ 42 h 223"/>
              <a:gd name="T38" fmla="*/ 119 w 201"/>
              <a:gd name="T39" fmla="*/ 40 h 223"/>
              <a:gd name="T40" fmla="*/ 127 w 201"/>
              <a:gd name="T41" fmla="*/ 31 h 223"/>
              <a:gd name="T42" fmla="*/ 129 w 201"/>
              <a:gd name="T43" fmla="*/ 22 h 223"/>
              <a:gd name="T44" fmla="*/ 149 w 201"/>
              <a:gd name="T45" fmla="*/ 28 h 223"/>
              <a:gd name="T46" fmla="*/ 165 w 201"/>
              <a:gd name="T47" fmla="*/ 42 h 223"/>
              <a:gd name="T48" fmla="*/ 166 w 201"/>
              <a:gd name="T49" fmla="*/ 59 h 223"/>
              <a:gd name="T50" fmla="*/ 168 w 201"/>
              <a:gd name="T51" fmla="*/ 74 h 223"/>
              <a:gd name="T52" fmla="*/ 170 w 201"/>
              <a:gd name="T53" fmla="*/ 91 h 223"/>
              <a:gd name="T54" fmla="*/ 167 w 201"/>
              <a:gd name="T55" fmla="*/ 98 h 223"/>
              <a:gd name="T56" fmla="*/ 172 w 201"/>
              <a:gd name="T57" fmla="*/ 100 h 223"/>
              <a:gd name="T58" fmla="*/ 190 w 201"/>
              <a:gd name="T59" fmla="*/ 94 h 223"/>
              <a:gd name="T60" fmla="*/ 199 w 201"/>
              <a:gd name="T61" fmla="*/ 92 h 223"/>
              <a:gd name="T62" fmla="*/ 200 w 201"/>
              <a:gd name="T63" fmla="*/ 94 h 223"/>
              <a:gd name="T64" fmla="*/ 200 w 201"/>
              <a:gd name="T65" fmla="*/ 102 h 223"/>
              <a:gd name="T66" fmla="*/ 199 w 201"/>
              <a:gd name="T67" fmla="*/ 120 h 223"/>
              <a:gd name="T68" fmla="*/ 199 w 201"/>
              <a:gd name="T69" fmla="*/ 130 h 223"/>
              <a:gd name="T70" fmla="*/ 167 w 201"/>
              <a:gd name="T71" fmla="*/ 149 h 223"/>
              <a:gd name="T72" fmla="*/ 166 w 201"/>
              <a:gd name="T73" fmla="*/ 196 h 223"/>
              <a:gd name="T74" fmla="*/ 174 w 201"/>
              <a:gd name="T75" fmla="*/ 205 h 223"/>
              <a:gd name="T76" fmla="*/ 181 w 201"/>
              <a:gd name="T77" fmla="*/ 213 h 223"/>
              <a:gd name="T78" fmla="*/ 158 w 201"/>
              <a:gd name="T79" fmla="*/ 222 h 223"/>
              <a:gd name="T80" fmla="*/ 147 w 201"/>
              <a:gd name="T81" fmla="*/ 221 h 223"/>
              <a:gd name="T82" fmla="*/ 119 w 201"/>
              <a:gd name="T83" fmla="*/ 219 h 223"/>
              <a:gd name="T84" fmla="*/ 106 w 201"/>
              <a:gd name="T85" fmla="*/ 210 h 223"/>
              <a:gd name="T86" fmla="*/ 58 w 201"/>
              <a:gd name="T87" fmla="*/ 210 h 223"/>
              <a:gd name="T88" fmla="*/ 33 w 201"/>
              <a:gd name="T89" fmla="*/ 206 h 223"/>
              <a:gd name="T90" fmla="*/ 17 w 201"/>
              <a:gd name="T91" fmla="*/ 202 h 223"/>
              <a:gd name="T92" fmla="*/ 7 w 201"/>
              <a:gd name="T93" fmla="*/ 205 h 223"/>
              <a:gd name="T94" fmla="*/ 0 w 201"/>
              <a:gd name="T95" fmla="*/ 201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01" h="223">
                <a:moveTo>
                  <a:pt x="2" y="194"/>
                </a:moveTo>
                <a:lnTo>
                  <a:pt x="2" y="189"/>
                </a:lnTo>
                <a:lnTo>
                  <a:pt x="2" y="184"/>
                </a:lnTo>
                <a:lnTo>
                  <a:pt x="4" y="182"/>
                </a:lnTo>
                <a:lnTo>
                  <a:pt x="6" y="174"/>
                </a:lnTo>
                <a:lnTo>
                  <a:pt x="7" y="171"/>
                </a:lnTo>
                <a:lnTo>
                  <a:pt x="8" y="166"/>
                </a:lnTo>
                <a:lnTo>
                  <a:pt x="9" y="163"/>
                </a:lnTo>
                <a:lnTo>
                  <a:pt x="9" y="160"/>
                </a:lnTo>
                <a:lnTo>
                  <a:pt x="10" y="157"/>
                </a:lnTo>
                <a:lnTo>
                  <a:pt x="10" y="154"/>
                </a:lnTo>
                <a:lnTo>
                  <a:pt x="13" y="147"/>
                </a:lnTo>
                <a:lnTo>
                  <a:pt x="13" y="145"/>
                </a:lnTo>
                <a:lnTo>
                  <a:pt x="14" y="144"/>
                </a:lnTo>
                <a:lnTo>
                  <a:pt x="15" y="142"/>
                </a:lnTo>
                <a:lnTo>
                  <a:pt x="16" y="136"/>
                </a:lnTo>
                <a:lnTo>
                  <a:pt x="19" y="134"/>
                </a:lnTo>
                <a:lnTo>
                  <a:pt x="20" y="132"/>
                </a:lnTo>
                <a:lnTo>
                  <a:pt x="21" y="127"/>
                </a:lnTo>
                <a:lnTo>
                  <a:pt x="27" y="125"/>
                </a:lnTo>
                <a:lnTo>
                  <a:pt x="31" y="120"/>
                </a:lnTo>
                <a:lnTo>
                  <a:pt x="33" y="118"/>
                </a:lnTo>
                <a:lnTo>
                  <a:pt x="34" y="114"/>
                </a:lnTo>
                <a:lnTo>
                  <a:pt x="35" y="109"/>
                </a:lnTo>
                <a:lnTo>
                  <a:pt x="35" y="103"/>
                </a:lnTo>
                <a:lnTo>
                  <a:pt x="36" y="101"/>
                </a:lnTo>
                <a:lnTo>
                  <a:pt x="35" y="95"/>
                </a:lnTo>
                <a:lnTo>
                  <a:pt x="37" y="93"/>
                </a:lnTo>
                <a:lnTo>
                  <a:pt x="36" y="86"/>
                </a:lnTo>
                <a:lnTo>
                  <a:pt x="31" y="83"/>
                </a:lnTo>
                <a:lnTo>
                  <a:pt x="30" y="80"/>
                </a:lnTo>
                <a:lnTo>
                  <a:pt x="29" y="78"/>
                </a:lnTo>
                <a:lnTo>
                  <a:pt x="27" y="72"/>
                </a:lnTo>
                <a:lnTo>
                  <a:pt x="25" y="62"/>
                </a:lnTo>
                <a:lnTo>
                  <a:pt x="25" y="60"/>
                </a:lnTo>
                <a:lnTo>
                  <a:pt x="27" y="58"/>
                </a:lnTo>
                <a:lnTo>
                  <a:pt x="29" y="55"/>
                </a:lnTo>
                <a:lnTo>
                  <a:pt x="29" y="50"/>
                </a:lnTo>
                <a:lnTo>
                  <a:pt x="28" y="45"/>
                </a:lnTo>
                <a:lnTo>
                  <a:pt x="26" y="42"/>
                </a:lnTo>
                <a:lnTo>
                  <a:pt x="23" y="30"/>
                </a:lnTo>
                <a:lnTo>
                  <a:pt x="21" y="25"/>
                </a:lnTo>
                <a:lnTo>
                  <a:pt x="21" y="23"/>
                </a:lnTo>
                <a:lnTo>
                  <a:pt x="17" y="18"/>
                </a:lnTo>
                <a:lnTo>
                  <a:pt x="16" y="14"/>
                </a:lnTo>
                <a:lnTo>
                  <a:pt x="14" y="11"/>
                </a:lnTo>
                <a:lnTo>
                  <a:pt x="14" y="10"/>
                </a:lnTo>
                <a:lnTo>
                  <a:pt x="14" y="9"/>
                </a:lnTo>
                <a:lnTo>
                  <a:pt x="14" y="8"/>
                </a:lnTo>
                <a:lnTo>
                  <a:pt x="16" y="7"/>
                </a:lnTo>
                <a:lnTo>
                  <a:pt x="20" y="5"/>
                </a:lnTo>
                <a:lnTo>
                  <a:pt x="25" y="3"/>
                </a:lnTo>
                <a:lnTo>
                  <a:pt x="29" y="1"/>
                </a:lnTo>
                <a:lnTo>
                  <a:pt x="31" y="1"/>
                </a:lnTo>
                <a:lnTo>
                  <a:pt x="34" y="1"/>
                </a:lnTo>
                <a:lnTo>
                  <a:pt x="40" y="1"/>
                </a:lnTo>
                <a:lnTo>
                  <a:pt x="47" y="0"/>
                </a:lnTo>
                <a:lnTo>
                  <a:pt x="49" y="1"/>
                </a:lnTo>
                <a:lnTo>
                  <a:pt x="55" y="1"/>
                </a:lnTo>
                <a:lnTo>
                  <a:pt x="58" y="1"/>
                </a:lnTo>
                <a:lnTo>
                  <a:pt x="63" y="1"/>
                </a:lnTo>
                <a:lnTo>
                  <a:pt x="71" y="0"/>
                </a:lnTo>
                <a:lnTo>
                  <a:pt x="77" y="0"/>
                </a:lnTo>
                <a:lnTo>
                  <a:pt x="77" y="1"/>
                </a:lnTo>
                <a:lnTo>
                  <a:pt x="78" y="3"/>
                </a:lnTo>
                <a:lnTo>
                  <a:pt x="79" y="3"/>
                </a:lnTo>
                <a:lnTo>
                  <a:pt x="81" y="3"/>
                </a:lnTo>
                <a:lnTo>
                  <a:pt x="83" y="5"/>
                </a:lnTo>
                <a:lnTo>
                  <a:pt x="84" y="12"/>
                </a:lnTo>
                <a:lnTo>
                  <a:pt x="84" y="17"/>
                </a:lnTo>
                <a:lnTo>
                  <a:pt x="85" y="18"/>
                </a:lnTo>
                <a:lnTo>
                  <a:pt x="87" y="22"/>
                </a:lnTo>
                <a:lnTo>
                  <a:pt x="87" y="28"/>
                </a:lnTo>
                <a:lnTo>
                  <a:pt x="91" y="32"/>
                </a:lnTo>
                <a:lnTo>
                  <a:pt x="97" y="41"/>
                </a:lnTo>
                <a:lnTo>
                  <a:pt x="100" y="42"/>
                </a:lnTo>
                <a:lnTo>
                  <a:pt x="105" y="42"/>
                </a:lnTo>
                <a:lnTo>
                  <a:pt x="110" y="40"/>
                </a:lnTo>
                <a:lnTo>
                  <a:pt x="115" y="39"/>
                </a:lnTo>
                <a:lnTo>
                  <a:pt x="119" y="40"/>
                </a:lnTo>
                <a:lnTo>
                  <a:pt x="125" y="40"/>
                </a:lnTo>
                <a:lnTo>
                  <a:pt x="126" y="35"/>
                </a:lnTo>
                <a:lnTo>
                  <a:pt x="126" y="32"/>
                </a:lnTo>
                <a:lnTo>
                  <a:pt x="127" y="31"/>
                </a:lnTo>
                <a:lnTo>
                  <a:pt x="128" y="30"/>
                </a:lnTo>
                <a:lnTo>
                  <a:pt x="128" y="29"/>
                </a:lnTo>
                <a:lnTo>
                  <a:pt x="128" y="24"/>
                </a:lnTo>
                <a:lnTo>
                  <a:pt x="129" y="22"/>
                </a:lnTo>
                <a:lnTo>
                  <a:pt x="141" y="22"/>
                </a:lnTo>
                <a:lnTo>
                  <a:pt x="142" y="20"/>
                </a:lnTo>
                <a:lnTo>
                  <a:pt x="149" y="20"/>
                </a:lnTo>
                <a:lnTo>
                  <a:pt x="149" y="28"/>
                </a:lnTo>
                <a:lnTo>
                  <a:pt x="162" y="28"/>
                </a:lnTo>
                <a:lnTo>
                  <a:pt x="164" y="29"/>
                </a:lnTo>
                <a:lnTo>
                  <a:pt x="165" y="31"/>
                </a:lnTo>
                <a:lnTo>
                  <a:pt x="165" y="42"/>
                </a:lnTo>
                <a:lnTo>
                  <a:pt x="166" y="46"/>
                </a:lnTo>
                <a:lnTo>
                  <a:pt x="166" y="51"/>
                </a:lnTo>
                <a:lnTo>
                  <a:pt x="166" y="56"/>
                </a:lnTo>
                <a:lnTo>
                  <a:pt x="166" y="59"/>
                </a:lnTo>
                <a:lnTo>
                  <a:pt x="165" y="62"/>
                </a:lnTo>
                <a:lnTo>
                  <a:pt x="165" y="66"/>
                </a:lnTo>
                <a:lnTo>
                  <a:pt x="166" y="70"/>
                </a:lnTo>
                <a:lnTo>
                  <a:pt x="168" y="74"/>
                </a:lnTo>
                <a:lnTo>
                  <a:pt x="170" y="81"/>
                </a:lnTo>
                <a:lnTo>
                  <a:pt x="171" y="86"/>
                </a:lnTo>
                <a:lnTo>
                  <a:pt x="171" y="89"/>
                </a:lnTo>
                <a:lnTo>
                  <a:pt x="170" y="91"/>
                </a:lnTo>
                <a:lnTo>
                  <a:pt x="167" y="95"/>
                </a:lnTo>
                <a:lnTo>
                  <a:pt x="167" y="95"/>
                </a:lnTo>
                <a:lnTo>
                  <a:pt x="167" y="96"/>
                </a:lnTo>
                <a:lnTo>
                  <a:pt x="167" y="98"/>
                </a:lnTo>
                <a:lnTo>
                  <a:pt x="169" y="98"/>
                </a:lnTo>
                <a:lnTo>
                  <a:pt x="170" y="100"/>
                </a:lnTo>
                <a:lnTo>
                  <a:pt x="172" y="100"/>
                </a:lnTo>
                <a:lnTo>
                  <a:pt x="172" y="100"/>
                </a:lnTo>
                <a:lnTo>
                  <a:pt x="174" y="98"/>
                </a:lnTo>
                <a:lnTo>
                  <a:pt x="174" y="95"/>
                </a:lnTo>
                <a:lnTo>
                  <a:pt x="176" y="94"/>
                </a:lnTo>
                <a:lnTo>
                  <a:pt x="190" y="94"/>
                </a:lnTo>
                <a:lnTo>
                  <a:pt x="193" y="93"/>
                </a:lnTo>
                <a:lnTo>
                  <a:pt x="196" y="94"/>
                </a:lnTo>
                <a:lnTo>
                  <a:pt x="197" y="94"/>
                </a:lnTo>
                <a:lnTo>
                  <a:pt x="199" y="92"/>
                </a:lnTo>
                <a:lnTo>
                  <a:pt x="200" y="92"/>
                </a:lnTo>
                <a:lnTo>
                  <a:pt x="201" y="93"/>
                </a:lnTo>
                <a:lnTo>
                  <a:pt x="201" y="94"/>
                </a:lnTo>
                <a:lnTo>
                  <a:pt x="200" y="94"/>
                </a:lnTo>
                <a:lnTo>
                  <a:pt x="200" y="95"/>
                </a:lnTo>
                <a:lnTo>
                  <a:pt x="200" y="99"/>
                </a:lnTo>
                <a:lnTo>
                  <a:pt x="200" y="100"/>
                </a:lnTo>
                <a:lnTo>
                  <a:pt x="200" y="102"/>
                </a:lnTo>
                <a:lnTo>
                  <a:pt x="200" y="106"/>
                </a:lnTo>
                <a:lnTo>
                  <a:pt x="199" y="110"/>
                </a:lnTo>
                <a:lnTo>
                  <a:pt x="199" y="115"/>
                </a:lnTo>
                <a:lnTo>
                  <a:pt x="199" y="120"/>
                </a:lnTo>
                <a:lnTo>
                  <a:pt x="198" y="122"/>
                </a:lnTo>
                <a:lnTo>
                  <a:pt x="198" y="127"/>
                </a:lnTo>
                <a:lnTo>
                  <a:pt x="198" y="129"/>
                </a:lnTo>
                <a:lnTo>
                  <a:pt x="199" y="130"/>
                </a:lnTo>
                <a:lnTo>
                  <a:pt x="201" y="131"/>
                </a:lnTo>
                <a:lnTo>
                  <a:pt x="185" y="131"/>
                </a:lnTo>
                <a:lnTo>
                  <a:pt x="167" y="131"/>
                </a:lnTo>
                <a:lnTo>
                  <a:pt x="167" y="149"/>
                </a:lnTo>
                <a:lnTo>
                  <a:pt x="167" y="166"/>
                </a:lnTo>
                <a:lnTo>
                  <a:pt x="166" y="183"/>
                </a:lnTo>
                <a:lnTo>
                  <a:pt x="166" y="195"/>
                </a:lnTo>
                <a:lnTo>
                  <a:pt x="166" y="196"/>
                </a:lnTo>
                <a:lnTo>
                  <a:pt x="168" y="199"/>
                </a:lnTo>
                <a:lnTo>
                  <a:pt x="169" y="201"/>
                </a:lnTo>
                <a:lnTo>
                  <a:pt x="172" y="203"/>
                </a:lnTo>
                <a:lnTo>
                  <a:pt x="174" y="205"/>
                </a:lnTo>
                <a:lnTo>
                  <a:pt x="177" y="207"/>
                </a:lnTo>
                <a:lnTo>
                  <a:pt x="178" y="210"/>
                </a:lnTo>
                <a:lnTo>
                  <a:pt x="180" y="211"/>
                </a:lnTo>
                <a:lnTo>
                  <a:pt x="181" y="213"/>
                </a:lnTo>
                <a:lnTo>
                  <a:pt x="183" y="214"/>
                </a:lnTo>
                <a:lnTo>
                  <a:pt x="183" y="215"/>
                </a:lnTo>
                <a:lnTo>
                  <a:pt x="180" y="216"/>
                </a:lnTo>
                <a:lnTo>
                  <a:pt x="158" y="222"/>
                </a:lnTo>
                <a:lnTo>
                  <a:pt x="156" y="223"/>
                </a:lnTo>
                <a:lnTo>
                  <a:pt x="155" y="222"/>
                </a:lnTo>
                <a:lnTo>
                  <a:pt x="150" y="221"/>
                </a:lnTo>
                <a:lnTo>
                  <a:pt x="147" y="221"/>
                </a:lnTo>
                <a:lnTo>
                  <a:pt x="142" y="220"/>
                </a:lnTo>
                <a:lnTo>
                  <a:pt x="134" y="217"/>
                </a:lnTo>
                <a:lnTo>
                  <a:pt x="126" y="217"/>
                </a:lnTo>
                <a:lnTo>
                  <a:pt x="119" y="219"/>
                </a:lnTo>
                <a:lnTo>
                  <a:pt x="117" y="219"/>
                </a:lnTo>
                <a:lnTo>
                  <a:pt x="112" y="216"/>
                </a:lnTo>
                <a:lnTo>
                  <a:pt x="110" y="213"/>
                </a:lnTo>
                <a:lnTo>
                  <a:pt x="106" y="210"/>
                </a:lnTo>
                <a:lnTo>
                  <a:pt x="100" y="210"/>
                </a:lnTo>
                <a:lnTo>
                  <a:pt x="87" y="210"/>
                </a:lnTo>
                <a:lnTo>
                  <a:pt x="73" y="210"/>
                </a:lnTo>
                <a:lnTo>
                  <a:pt x="58" y="210"/>
                </a:lnTo>
                <a:lnTo>
                  <a:pt x="44" y="210"/>
                </a:lnTo>
                <a:lnTo>
                  <a:pt x="38" y="210"/>
                </a:lnTo>
                <a:lnTo>
                  <a:pt x="36" y="211"/>
                </a:lnTo>
                <a:lnTo>
                  <a:pt x="33" y="206"/>
                </a:lnTo>
                <a:lnTo>
                  <a:pt x="28" y="205"/>
                </a:lnTo>
                <a:lnTo>
                  <a:pt x="27" y="202"/>
                </a:lnTo>
                <a:lnTo>
                  <a:pt x="24" y="202"/>
                </a:lnTo>
                <a:lnTo>
                  <a:pt x="17" y="202"/>
                </a:lnTo>
                <a:lnTo>
                  <a:pt x="15" y="203"/>
                </a:lnTo>
                <a:lnTo>
                  <a:pt x="12" y="206"/>
                </a:lnTo>
                <a:lnTo>
                  <a:pt x="10" y="206"/>
                </a:lnTo>
                <a:lnTo>
                  <a:pt x="7" y="205"/>
                </a:lnTo>
                <a:lnTo>
                  <a:pt x="4" y="207"/>
                </a:lnTo>
                <a:lnTo>
                  <a:pt x="0" y="210"/>
                </a:lnTo>
                <a:lnTo>
                  <a:pt x="0" y="207"/>
                </a:lnTo>
                <a:lnTo>
                  <a:pt x="0" y="201"/>
                </a:lnTo>
                <a:lnTo>
                  <a:pt x="0" y="197"/>
                </a:lnTo>
                <a:lnTo>
                  <a:pt x="2" y="199"/>
                </a:lnTo>
                <a:lnTo>
                  <a:pt x="2" y="19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60" name="Freeform 259"/>
          <p:cNvSpPr>
            <a:spLocks/>
          </p:cNvSpPr>
          <p:nvPr/>
        </p:nvSpPr>
        <p:spPr bwMode="auto">
          <a:xfrm>
            <a:off x="4640263" y="3744878"/>
            <a:ext cx="319087" cy="354013"/>
          </a:xfrm>
          <a:custGeom>
            <a:avLst/>
            <a:gdLst>
              <a:gd name="T0" fmla="*/ 4 w 201"/>
              <a:gd name="T1" fmla="*/ 182 h 223"/>
              <a:gd name="T2" fmla="*/ 9 w 201"/>
              <a:gd name="T3" fmla="*/ 163 h 223"/>
              <a:gd name="T4" fmla="*/ 13 w 201"/>
              <a:gd name="T5" fmla="*/ 147 h 223"/>
              <a:gd name="T6" fmla="*/ 16 w 201"/>
              <a:gd name="T7" fmla="*/ 136 h 223"/>
              <a:gd name="T8" fmla="*/ 27 w 201"/>
              <a:gd name="T9" fmla="*/ 125 h 223"/>
              <a:gd name="T10" fmla="*/ 35 w 201"/>
              <a:gd name="T11" fmla="*/ 109 h 223"/>
              <a:gd name="T12" fmla="*/ 37 w 201"/>
              <a:gd name="T13" fmla="*/ 93 h 223"/>
              <a:gd name="T14" fmla="*/ 29 w 201"/>
              <a:gd name="T15" fmla="*/ 78 h 223"/>
              <a:gd name="T16" fmla="*/ 27 w 201"/>
              <a:gd name="T17" fmla="*/ 58 h 223"/>
              <a:gd name="T18" fmla="*/ 26 w 201"/>
              <a:gd name="T19" fmla="*/ 42 h 223"/>
              <a:gd name="T20" fmla="*/ 17 w 201"/>
              <a:gd name="T21" fmla="*/ 18 h 223"/>
              <a:gd name="T22" fmla="*/ 14 w 201"/>
              <a:gd name="T23" fmla="*/ 9 h 223"/>
              <a:gd name="T24" fmla="*/ 25 w 201"/>
              <a:gd name="T25" fmla="*/ 3 h 223"/>
              <a:gd name="T26" fmla="*/ 40 w 201"/>
              <a:gd name="T27" fmla="*/ 1 h 223"/>
              <a:gd name="T28" fmla="*/ 58 w 201"/>
              <a:gd name="T29" fmla="*/ 1 h 223"/>
              <a:gd name="T30" fmla="*/ 77 w 201"/>
              <a:gd name="T31" fmla="*/ 1 h 223"/>
              <a:gd name="T32" fmla="*/ 83 w 201"/>
              <a:gd name="T33" fmla="*/ 5 h 223"/>
              <a:gd name="T34" fmla="*/ 87 w 201"/>
              <a:gd name="T35" fmla="*/ 22 h 223"/>
              <a:gd name="T36" fmla="*/ 100 w 201"/>
              <a:gd name="T37" fmla="*/ 42 h 223"/>
              <a:gd name="T38" fmla="*/ 119 w 201"/>
              <a:gd name="T39" fmla="*/ 40 h 223"/>
              <a:gd name="T40" fmla="*/ 127 w 201"/>
              <a:gd name="T41" fmla="*/ 31 h 223"/>
              <a:gd name="T42" fmla="*/ 129 w 201"/>
              <a:gd name="T43" fmla="*/ 22 h 223"/>
              <a:gd name="T44" fmla="*/ 149 w 201"/>
              <a:gd name="T45" fmla="*/ 28 h 223"/>
              <a:gd name="T46" fmla="*/ 165 w 201"/>
              <a:gd name="T47" fmla="*/ 42 h 223"/>
              <a:gd name="T48" fmla="*/ 166 w 201"/>
              <a:gd name="T49" fmla="*/ 59 h 223"/>
              <a:gd name="T50" fmla="*/ 168 w 201"/>
              <a:gd name="T51" fmla="*/ 74 h 223"/>
              <a:gd name="T52" fmla="*/ 170 w 201"/>
              <a:gd name="T53" fmla="*/ 91 h 223"/>
              <a:gd name="T54" fmla="*/ 167 w 201"/>
              <a:gd name="T55" fmla="*/ 98 h 223"/>
              <a:gd name="T56" fmla="*/ 172 w 201"/>
              <a:gd name="T57" fmla="*/ 100 h 223"/>
              <a:gd name="T58" fmla="*/ 190 w 201"/>
              <a:gd name="T59" fmla="*/ 94 h 223"/>
              <a:gd name="T60" fmla="*/ 199 w 201"/>
              <a:gd name="T61" fmla="*/ 92 h 223"/>
              <a:gd name="T62" fmla="*/ 200 w 201"/>
              <a:gd name="T63" fmla="*/ 94 h 223"/>
              <a:gd name="T64" fmla="*/ 200 w 201"/>
              <a:gd name="T65" fmla="*/ 102 h 223"/>
              <a:gd name="T66" fmla="*/ 199 w 201"/>
              <a:gd name="T67" fmla="*/ 120 h 223"/>
              <a:gd name="T68" fmla="*/ 199 w 201"/>
              <a:gd name="T69" fmla="*/ 130 h 223"/>
              <a:gd name="T70" fmla="*/ 167 w 201"/>
              <a:gd name="T71" fmla="*/ 149 h 223"/>
              <a:gd name="T72" fmla="*/ 166 w 201"/>
              <a:gd name="T73" fmla="*/ 196 h 223"/>
              <a:gd name="T74" fmla="*/ 174 w 201"/>
              <a:gd name="T75" fmla="*/ 205 h 223"/>
              <a:gd name="T76" fmla="*/ 181 w 201"/>
              <a:gd name="T77" fmla="*/ 213 h 223"/>
              <a:gd name="T78" fmla="*/ 158 w 201"/>
              <a:gd name="T79" fmla="*/ 222 h 223"/>
              <a:gd name="T80" fmla="*/ 147 w 201"/>
              <a:gd name="T81" fmla="*/ 221 h 223"/>
              <a:gd name="T82" fmla="*/ 119 w 201"/>
              <a:gd name="T83" fmla="*/ 219 h 223"/>
              <a:gd name="T84" fmla="*/ 106 w 201"/>
              <a:gd name="T85" fmla="*/ 210 h 223"/>
              <a:gd name="T86" fmla="*/ 58 w 201"/>
              <a:gd name="T87" fmla="*/ 210 h 223"/>
              <a:gd name="T88" fmla="*/ 33 w 201"/>
              <a:gd name="T89" fmla="*/ 206 h 223"/>
              <a:gd name="T90" fmla="*/ 17 w 201"/>
              <a:gd name="T91" fmla="*/ 202 h 223"/>
              <a:gd name="T92" fmla="*/ 7 w 201"/>
              <a:gd name="T93" fmla="*/ 205 h 223"/>
              <a:gd name="T94" fmla="*/ 0 w 201"/>
              <a:gd name="T95" fmla="*/ 201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01" h="223">
                <a:moveTo>
                  <a:pt x="2" y="194"/>
                </a:moveTo>
                <a:lnTo>
                  <a:pt x="2" y="189"/>
                </a:lnTo>
                <a:lnTo>
                  <a:pt x="2" y="184"/>
                </a:lnTo>
                <a:lnTo>
                  <a:pt x="4" y="182"/>
                </a:lnTo>
                <a:lnTo>
                  <a:pt x="6" y="174"/>
                </a:lnTo>
                <a:lnTo>
                  <a:pt x="7" y="171"/>
                </a:lnTo>
                <a:lnTo>
                  <a:pt x="8" y="166"/>
                </a:lnTo>
                <a:lnTo>
                  <a:pt x="9" y="163"/>
                </a:lnTo>
                <a:lnTo>
                  <a:pt x="9" y="160"/>
                </a:lnTo>
                <a:lnTo>
                  <a:pt x="10" y="157"/>
                </a:lnTo>
                <a:lnTo>
                  <a:pt x="10" y="154"/>
                </a:lnTo>
                <a:lnTo>
                  <a:pt x="13" y="147"/>
                </a:lnTo>
                <a:lnTo>
                  <a:pt x="13" y="145"/>
                </a:lnTo>
                <a:lnTo>
                  <a:pt x="14" y="144"/>
                </a:lnTo>
                <a:lnTo>
                  <a:pt x="15" y="142"/>
                </a:lnTo>
                <a:lnTo>
                  <a:pt x="16" y="136"/>
                </a:lnTo>
                <a:lnTo>
                  <a:pt x="19" y="134"/>
                </a:lnTo>
                <a:lnTo>
                  <a:pt x="20" y="132"/>
                </a:lnTo>
                <a:lnTo>
                  <a:pt x="21" y="127"/>
                </a:lnTo>
                <a:lnTo>
                  <a:pt x="27" y="125"/>
                </a:lnTo>
                <a:lnTo>
                  <a:pt x="31" y="120"/>
                </a:lnTo>
                <a:lnTo>
                  <a:pt x="33" y="118"/>
                </a:lnTo>
                <a:lnTo>
                  <a:pt x="34" y="114"/>
                </a:lnTo>
                <a:lnTo>
                  <a:pt x="35" y="109"/>
                </a:lnTo>
                <a:lnTo>
                  <a:pt x="35" y="103"/>
                </a:lnTo>
                <a:lnTo>
                  <a:pt x="36" y="101"/>
                </a:lnTo>
                <a:lnTo>
                  <a:pt x="35" y="95"/>
                </a:lnTo>
                <a:lnTo>
                  <a:pt x="37" y="93"/>
                </a:lnTo>
                <a:lnTo>
                  <a:pt x="36" y="86"/>
                </a:lnTo>
                <a:lnTo>
                  <a:pt x="31" y="83"/>
                </a:lnTo>
                <a:lnTo>
                  <a:pt x="30" y="80"/>
                </a:lnTo>
                <a:lnTo>
                  <a:pt x="29" y="78"/>
                </a:lnTo>
                <a:lnTo>
                  <a:pt x="27" y="72"/>
                </a:lnTo>
                <a:lnTo>
                  <a:pt x="25" y="62"/>
                </a:lnTo>
                <a:lnTo>
                  <a:pt x="25" y="60"/>
                </a:lnTo>
                <a:lnTo>
                  <a:pt x="27" y="58"/>
                </a:lnTo>
                <a:lnTo>
                  <a:pt x="29" y="55"/>
                </a:lnTo>
                <a:lnTo>
                  <a:pt x="29" y="50"/>
                </a:lnTo>
                <a:lnTo>
                  <a:pt x="28" y="45"/>
                </a:lnTo>
                <a:lnTo>
                  <a:pt x="26" y="42"/>
                </a:lnTo>
                <a:lnTo>
                  <a:pt x="23" y="30"/>
                </a:lnTo>
                <a:lnTo>
                  <a:pt x="21" y="25"/>
                </a:lnTo>
                <a:lnTo>
                  <a:pt x="21" y="23"/>
                </a:lnTo>
                <a:lnTo>
                  <a:pt x="17" y="18"/>
                </a:lnTo>
                <a:lnTo>
                  <a:pt x="16" y="14"/>
                </a:lnTo>
                <a:lnTo>
                  <a:pt x="14" y="11"/>
                </a:lnTo>
                <a:lnTo>
                  <a:pt x="14" y="10"/>
                </a:lnTo>
                <a:lnTo>
                  <a:pt x="14" y="9"/>
                </a:lnTo>
                <a:lnTo>
                  <a:pt x="14" y="8"/>
                </a:lnTo>
                <a:lnTo>
                  <a:pt x="16" y="7"/>
                </a:lnTo>
                <a:lnTo>
                  <a:pt x="20" y="5"/>
                </a:lnTo>
                <a:lnTo>
                  <a:pt x="25" y="3"/>
                </a:lnTo>
                <a:lnTo>
                  <a:pt x="29" y="1"/>
                </a:lnTo>
                <a:lnTo>
                  <a:pt x="31" y="1"/>
                </a:lnTo>
                <a:lnTo>
                  <a:pt x="34" y="1"/>
                </a:lnTo>
                <a:lnTo>
                  <a:pt x="40" y="1"/>
                </a:lnTo>
                <a:lnTo>
                  <a:pt x="47" y="0"/>
                </a:lnTo>
                <a:lnTo>
                  <a:pt x="49" y="1"/>
                </a:lnTo>
                <a:lnTo>
                  <a:pt x="55" y="1"/>
                </a:lnTo>
                <a:lnTo>
                  <a:pt x="58" y="1"/>
                </a:lnTo>
                <a:lnTo>
                  <a:pt x="63" y="1"/>
                </a:lnTo>
                <a:lnTo>
                  <a:pt x="71" y="0"/>
                </a:lnTo>
                <a:lnTo>
                  <a:pt x="77" y="0"/>
                </a:lnTo>
                <a:lnTo>
                  <a:pt x="77" y="1"/>
                </a:lnTo>
                <a:lnTo>
                  <a:pt x="78" y="3"/>
                </a:lnTo>
                <a:lnTo>
                  <a:pt x="79" y="3"/>
                </a:lnTo>
                <a:lnTo>
                  <a:pt x="81" y="3"/>
                </a:lnTo>
                <a:lnTo>
                  <a:pt x="83" y="5"/>
                </a:lnTo>
                <a:lnTo>
                  <a:pt x="84" y="12"/>
                </a:lnTo>
                <a:lnTo>
                  <a:pt x="84" y="17"/>
                </a:lnTo>
                <a:lnTo>
                  <a:pt x="85" y="18"/>
                </a:lnTo>
                <a:lnTo>
                  <a:pt x="87" y="22"/>
                </a:lnTo>
                <a:lnTo>
                  <a:pt x="87" y="28"/>
                </a:lnTo>
                <a:lnTo>
                  <a:pt x="91" y="32"/>
                </a:lnTo>
                <a:lnTo>
                  <a:pt x="97" y="41"/>
                </a:lnTo>
                <a:lnTo>
                  <a:pt x="100" y="42"/>
                </a:lnTo>
                <a:lnTo>
                  <a:pt x="105" y="42"/>
                </a:lnTo>
                <a:lnTo>
                  <a:pt x="110" y="40"/>
                </a:lnTo>
                <a:lnTo>
                  <a:pt x="115" y="39"/>
                </a:lnTo>
                <a:lnTo>
                  <a:pt x="119" y="40"/>
                </a:lnTo>
                <a:lnTo>
                  <a:pt x="125" y="40"/>
                </a:lnTo>
                <a:lnTo>
                  <a:pt x="126" y="35"/>
                </a:lnTo>
                <a:lnTo>
                  <a:pt x="126" y="32"/>
                </a:lnTo>
                <a:lnTo>
                  <a:pt x="127" y="31"/>
                </a:lnTo>
                <a:lnTo>
                  <a:pt x="128" y="30"/>
                </a:lnTo>
                <a:lnTo>
                  <a:pt x="128" y="29"/>
                </a:lnTo>
                <a:lnTo>
                  <a:pt x="128" y="24"/>
                </a:lnTo>
                <a:lnTo>
                  <a:pt x="129" y="22"/>
                </a:lnTo>
                <a:lnTo>
                  <a:pt x="141" y="22"/>
                </a:lnTo>
                <a:lnTo>
                  <a:pt x="142" y="20"/>
                </a:lnTo>
                <a:lnTo>
                  <a:pt x="149" y="20"/>
                </a:lnTo>
                <a:lnTo>
                  <a:pt x="149" y="28"/>
                </a:lnTo>
                <a:lnTo>
                  <a:pt x="162" y="28"/>
                </a:lnTo>
                <a:lnTo>
                  <a:pt x="164" y="29"/>
                </a:lnTo>
                <a:lnTo>
                  <a:pt x="165" y="31"/>
                </a:lnTo>
                <a:lnTo>
                  <a:pt x="165" y="42"/>
                </a:lnTo>
                <a:lnTo>
                  <a:pt x="166" y="46"/>
                </a:lnTo>
                <a:lnTo>
                  <a:pt x="166" y="51"/>
                </a:lnTo>
                <a:lnTo>
                  <a:pt x="166" y="56"/>
                </a:lnTo>
                <a:lnTo>
                  <a:pt x="166" y="59"/>
                </a:lnTo>
                <a:lnTo>
                  <a:pt x="165" y="62"/>
                </a:lnTo>
                <a:lnTo>
                  <a:pt x="165" y="66"/>
                </a:lnTo>
                <a:lnTo>
                  <a:pt x="166" y="70"/>
                </a:lnTo>
                <a:lnTo>
                  <a:pt x="168" y="74"/>
                </a:lnTo>
                <a:lnTo>
                  <a:pt x="170" y="81"/>
                </a:lnTo>
                <a:lnTo>
                  <a:pt x="171" y="86"/>
                </a:lnTo>
                <a:lnTo>
                  <a:pt x="171" y="89"/>
                </a:lnTo>
                <a:lnTo>
                  <a:pt x="170" y="91"/>
                </a:lnTo>
                <a:lnTo>
                  <a:pt x="167" y="95"/>
                </a:lnTo>
                <a:lnTo>
                  <a:pt x="167" y="95"/>
                </a:lnTo>
                <a:lnTo>
                  <a:pt x="167" y="96"/>
                </a:lnTo>
                <a:lnTo>
                  <a:pt x="167" y="98"/>
                </a:lnTo>
                <a:lnTo>
                  <a:pt x="169" y="98"/>
                </a:lnTo>
                <a:lnTo>
                  <a:pt x="170" y="100"/>
                </a:lnTo>
                <a:lnTo>
                  <a:pt x="172" y="100"/>
                </a:lnTo>
                <a:lnTo>
                  <a:pt x="172" y="100"/>
                </a:lnTo>
                <a:lnTo>
                  <a:pt x="174" y="98"/>
                </a:lnTo>
                <a:lnTo>
                  <a:pt x="174" y="95"/>
                </a:lnTo>
                <a:lnTo>
                  <a:pt x="176" y="94"/>
                </a:lnTo>
                <a:lnTo>
                  <a:pt x="190" y="94"/>
                </a:lnTo>
                <a:lnTo>
                  <a:pt x="193" y="93"/>
                </a:lnTo>
                <a:lnTo>
                  <a:pt x="196" y="94"/>
                </a:lnTo>
                <a:lnTo>
                  <a:pt x="197" y="94"/>
                </a:lnTo>
                <a:lnTo>
                  <a:pt x="199" y="92"/>
                </a:lnTo>
                <a:lnTo>
                  <a:pt x="200" y="92"/>
                </a:lnTo>
                <a:lnTo>
                  <a:pt x="201" y="93"/>
                </a:lnTo>
                <a:lnTo>
                  <a:pt x="201" y="94"/>
                </a:lnTo>
                <a:lnTo>
                  <a:pt x="200" y="94"/>
                </a:lnTo>
                <a:lnTo>
                  <a:pt x="200" y="95"/>
                </a:lnTo>
                <a:lnTo>
                  <a:pt x="200" y="99"/>
                </a:lnTo>
                <a:lnTo>
                  <a:pt x="200" y="100"/>
                </a:lnTo>
                <a:lnTo>
                  <a:pt x="200" y="102"/>
                </a:lnTo>
                <a:lnTo>
                  <a:pt x="200" y="106"/>
                </a:lnTo>
                <a:lnTo>
                  <a:pt x="199" y="110"/>
                </a:lnTo>
                <a:lnTo>
                  <a:pt x="199" y="115"/>
                </a:lnTo>
                <a:lnTo>
                  <a:pt x="199" y="120"/>
                </a:lnTo>
                <a:lnTo>
                  <a:pt x="198" y="122"/>
                </a:lnTo>
                <a:lnTo>
                  <a:pt x="198" y="127"/>
                </a:lnTo>
                <a:lnTo>
                  <a:pt x="198" y="129"/>
                </a:lnTo>
                <a:lnTo>
                  <a:pt x="199" y="130"/>
                </a:lnTo>
                <a:lnTo>
                  <a:pt x="201" y="131"/>
                </a:lnTo>
                <a:lnTo>
                  <a:pt x="185" y="131"/>
                </a:lnTo>
                <a:lnTo>
                  <a:pt x="167" y="131"/>
                </a:lnTo>
                <a:lnTo>
                  <a:pt x="167" y="149"/>
                </a:lnTo>
                <a:lnTo>
                  <a:pt x="167" y="166"/>
                </a:lnTo>
                <a:lnTo>
                  <a:pt x="166" y="183"/>
                </a:lnTo>
                <a:lnTo>
                  <a:pt x="166" y="195"/>
                </a:lnTo>
                <a:lnTo>
                  <a:pt x="166" y="196"/>
                </a:lnTo>
                <a:lnTo>
                  <a:pt x="168" y="199"/>
                </a:lnTo>
                <a:lnTo>
                  <a:pt x="169" y="201"/>
                </a:lnTo>
                <a:lnTo>
                  <a:pt x="172" y="203"/>
                </a:lnTo>
                <a:lnTo>
                  <a:pt x="174" y="205"/>
                </a:lnTo>
                <a:lnTo>
                  <a:pt x="177" y="207"/>
                </a:lnTo>
                <a:lnTo>
                  <a:pt x="178" y="210"/>
                </a:lnTo>
                <a:lnTo>
                  <a:pt x="180" y="211"/>
                </a:lnTo>
                <a:lnTo>
                  <a:pt x="181" y="213"/>
                </a:lnTo>
                <a:lnTo>
                  <a:pt x="183" y="214"/>
                </a:lnTo>
                <a:lnTo>
                  <a:pt x="183" y="215"/>
                </a:lnTo>
                <a:lnTo>
                  <a:pt x="180" y="216"/>
                </a:lnTo>
                <a:lnTo>
                  <a:pt x="158" y="222"/>
                </a:lnTo>
                <a:lnTo>
                  <a:pt x="156" y="223"/>
                </a:lnTo>
                <a:lnTo>
                  <a:pt x="155" y="222"/>
                </a:lnTo>
                <a:lnTo>
                  <a:pt x="150" y="221"/>
                </a:lnTo>
                <a:lnTo>
                  <a:pt x="147" y="221"/>
                </a:lnTo>
                <a:lnTo>
                  <a:pt x="142" y="220"/>
                </a:lnTo>
                <a:lnTo>
                  <a:pt x="134" y="217"/>
                </a:lnTo>
                <a:lnTo>
                  <a:pt x="126" y="217"/>
                </a:lnTo>
                <a:lnTo>
                  <a:pt x="119" y="219"/>
                </a:lnTo>
                <a:lnTo>
                  <a:pt x="117" y="219"/>
                </a:lnTo>
                <a:lnTo>
                  <a:pt x="112" y="216"/>
                </a:lnTo>
                <a:lnTo>
                  <a:pt x="110" y="213"/>
                </a:lnTo>
                <a:lnTo>
                  <a:pt x="106" y="210"/>
                </a:lnTo>
                <a:lnTo>
                  <a:pt x="100" y="210"/>
                </a:lnTo>
                <a:lnTo>
                  <a:pt x="87" y="210"/>
                </a:lnTo>
                <a:lnTo>
                  <a:pt x="73" y="210"/>
                </a:lnTo>
                <a:lnTo>
                  <a:pt x="58" y="210"/>
                </a:lnTo>
                <a:lnTo>
                  <a:pt x="44" y="210"/>
                </a:lnTo>
                <a:lnTo>
                  <a:pt x="38" y="210"/>
                </a:lnTo>
                <a:lnTo>
                  <a:pt x="36" y="211"/>
                </a:lnTo>
                <a:lnTo>
                  <a:pt x="33" y="206"/>
                </a:lnTo>
                <a:lnTo>
                  <a:pt x="28" y="205"/>
                </a:lnTo>
                <a:lnTo>
                  <a:pt x="27" y="202"/>
                </a:lnTo>
                <a:lnTo>
                  <a:pt x="24" y="202"/>
                </a:lnTo>
                <a:lnTo>
                  <a:pt x="17" y="202"/>
                </a:lnTo>
                <a:lnTo>
                  <a:pt x="15" y="203"/>
                </a:lnTo>
                <a:lnTo>
                  <a:pt x="12" y="206"/>
                </a:lnTo>
                <a:lnTo>
                  <a:pt x="10" y="206"/>
                </a:lnTo>
                <a:lnTo>
                  <a:pt x="7" y="205"/>
                </a:lnTo>
                <a:lnTo>
                  <a:pt x="4" y="207"/>
                </a:lnTo>
                <a:lnTo>
                  <a:pt x="0" y="210"/>
                </a:lnTo>
                <a:lnTo>
                  <a:pt x="0" y="207"/>
                </a:lnTo>
                <a:lnTo>
                  <a:pt x="0" y="201"/>
                </a:lnTo>
                <a:lnTo>
                  <a:pt x="0" y="197"/>
                </a:lnTo>
                <a:lnTo>
                  <a:pt x="2" y="199"/>
                </a:lnTo>
                <a:lnTo>
                  <a:pt x="2" y="19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61" name="Freeform 260"/>
          <p:cNvSpPr>
            <a:spLocks/>
          </p:cNvSpPr>
          <p:nvPr/>
        </p:nvSpPr>
        <p:spPr bwMode="auto">
          <a:xfrm>
            <a:off x="4711700" y="2181191"/>
            <a:ext cx="147637" cy="77788"/>
          </a:xfrm>
          <a:custGeom>
            <a:avLst/>
            <a:gdLst>
              <a:gd name="T0" fmla="*/ 16 w 93"/>
              <a:gd name="T1" fmla="*/ 10 h 49"/>
              <a:gd name="T2" fmla="*/ 31 w 93"/>
              <a:gd name="T3" fmla="*/ 14 h 49"/>
              <a:gd name="T4" fmla="*/ 36 w 93"/>
              <a:gd name="T5" fmla="*/ 9 h 49"/>
              <a:gd name="T6" fmla="*/ 48 w 93"/>
              <a:gd name="T7" fmla="*/ 6 h 49"/>
              <a:gd name="T8" fmla="*/ 55 w 93"/>
              <a:gd name="T9" fmla="*/ 6 h 49"/>
              <a:gd name="T10" fmla="*/ 59 w 93"/>
              <a:gd name="T11" fmla="*/ 3 h 49"/>
              <a:gd name="T12" fmla="*/ 67 w 93"/>
              <a:gd name="T13" fmla="*/ 0 h 49"/>
              <a:gd name="T14" fmla="*/ 74 w 93"/>
              <a:gd name="T15" fmla="*/ 2 h 49"/>
              <a:gd name="T16" fmla="*/ 82 w 93"/>
              <a:gd name="T17" fmla="*/ 3 h 49"/>
              <a:gd name="T18" fmla="*/ 90 w 93"/>
              <a:gd name="T19" fmla="*/ 6 h 49"/>
              <a:gd name="T20" fmla="*/ 93 w 93"/>
              <a:gd name="T21" fmla="*/ 10 h 49"/>
              <a:gd name="T22" fmla="*/ 91 w 93"/>
              <a:gd name="T23" fmla="*/ 14 h 49"/>
              <a:gd name="T24" fmla="*/ 85 w 93"/>
              <a:gd name="T25" fmla="*/ 15 h 49"/>
              <a:gd name="T26" fmla="*/ 83 w 93"/>
              <a:gd name="T27" fmla="*/ 19 h 49"/>
              <a:gd name="T28" fmla="*/ 81 w 93"/>
              <a:gd name="T29" fmla="*/ 24 h 49"/>
              <a:gd name="T30" fmla="*/ 77 w 93"/>
              <a:gd name="T31" fmla="*/ 29 h 49"/>
              <a:gd name="T32" fmla="*/ 74 w 93"/>
              <a:gd name="T33" fmla="*/ 35 h 49"/>
              <a:gd name="T34" fmla="*/ 69 w 93"/>
              <a:gd name="T35" fmla="*/ 40 h 49"/>
              <a:gd name="T36" fmla="*/ 60 w 93"/>
              <a:gd name="T37" fmla="*/ 43 h 49"/>
              <a:gd name="T38" fmla="*/ 55 w 93"/>
              <a:gd name="T39" fmla="*/ 43 h 49"/>
              <a:gd name="T40" fmla="*/ 48 w 93"/>
              <a:gd name="T41" fmla="*/ 45 h 49"/>
              <a:gd name="T42" fmla="*/ 43 w 93"/>
              <a:gd name="T43" fmla="*/ 46 h 49"/>
              <a:gd name="T44" fmla="*/ 35 w 93"/>
              <a:gd name="T45" fmla="*/ 48 h 49"/>
              <a:gd name="T46" fmla="*/ 28 w 93"/>
              <a:gd name="T47" fmla="*/ 49 h 49"/>
              <a:gd name="T48" fmla="*/ 21 w 93"/>
              <a:gd name="T49" fmla="*/ 46 h 49"/>
              <a:gd name="T50" fmla="*/ 14 w 93"/>
              <a:gd name="T51" fmla="*/ 41 h 49"/>
              <a:gd name="T52" fmla="*/ 8 w 93"/>
              <a:gd name="T53" fmla="*/ 37 h 49"/>
              <a:gd name="T54" fmla="*/ 3 w 93"/>
              <a:gd name="T55" fmla="*/ 30 h 49"/>
              <a:gd name="T56" fmla="*/ 0 w 93"/>
              <a:gd name="T57" fmla="*/ 29 h 49"/>
              <a:gd name="T58" fmla="*/ 5 w 93"/>
              <a:gd name="T59" fmla="*/ 27 h 49"/>
              <a:gd name="T60" fmla="*/ 4 w 93"/>
              <a:gd name="T61" fmla="*/ 23 h 49"/>
              <a:gd name="T62" fmla="*/ 4 w 93"/>
              <a:gd name="T63" fmla="*/ 16 h 49"/>
              <a:gd name="T64" fmla="*/ 12 w 93"/>
              <a:gd name="T65" fmla="*/ 15 h 49"/>
              <a:gd name="T66" fmla="*/ 13 w 93"/>
              <a:gd name="T67" fmla="*/ 8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93" h="49">
                <a:moveTo>
                  <a:pt x="13" y="8"/>
                </a:moveTo>
                <a:lnTo>
                  <a:pt x="16" y="10"/>
                </a:lnTo>
                <a:lnTo>
                  <a:pt x="23" y="14"/>
                </a:lnTo>
                <a:lnTo>
                  <a:pt x="31" y="14"/>
                </a:lnTo>
                <a:lnTo>
                  <a:pt x="33" y="14"/>
                </a:lnTo>
                <a:lnTo>
                  <a:pt x="36" y="9"/>
                </a:lnTo>
                <a:lnTo>
                  <a:pt x="44" y="8"/>
                </a:lnTo>
                <a:lnTo>
                  <a:pt x="48" y="6"/>
                </a:lnTo>
                <a:lnTo>
                  <a:pt x="52" y="7"/>
                </a:lnTo>
                <a:lnTo>
                  <a:pt x="55" y="6"/>
                </a:lnTo>
                <a:lnTo>
                  <a:pt x="57" y="5"/>
                </a:lnTo>
                <a:lnTo>
                  <a:pt x="59" y="3"/>
                </a:lnTo>
                <a:lnTo>
                  <a:pt x="63" y="0"/>
                </a:lnTo>
                <a:lnTo>
                  <a:pt x="67" y="0"/>
                </a:lnTo>
                <a:lnTo>
                  <a:pt x="70" y="0"/>
                </a:lnTo>
                <a:lnTo>
                  <a:pt x="74" y="2"/>
                </a:lnTo>
                <a:lnTo>
                  <a:pt x="79" y="4"/>
                </a:lnTo>
                <a:lnTo>
                  <a:pt x="82" y="3"/>
                </a:lnTo>
                <a:lnTo>
                  <a:pt x="86" y="5"/>
                </a:lnTo>
                <a:lnTo>
                  <a:pt x="90" y="6"/>
                </a:lnTo>
                <a:lnTo>
                  <a:pt x="92" y="8"/>
                </a:lnTo>
                <a:lnTo>
                  <a:pt x="93" y="10"/>
                </a:lnTo>
                <a:lnTo>
                  <a:pt x="92" y="12"/>
                </a:lnTo>
                <a:lnTo>
                  <a:pt x="91" y="14"/>
                </a:lnTo>
                <a:lnTo>
                  <a:pt x="89" y="14"/>
                </a:lnTo>
                <a:lnTo>
                  <a:pt x="85" y="15"/>
                </a:lnTo>
                <a:lnTo>
                  <a:pt x="83" y="17"/>
                </a:lnTo>
                <a:lnTo>
                  <a:pt x="83" y="19"/>
                </a:lnTo>
                <a:lnTo>
                  <a:pt x="81" y="21"/>
                </a:lnTo>
                <a:lnTo>
                  <a:pt x="81" y="24"/>
                </a:lnTo>
                <a:lnTo>
                  <a:pt x="79" y="27"/>
                </a:lnTo>
                <a:lnTo>
                  <a:pt x="77" y="29"/>
                </a:lnTo>
                <a:lnTo>
                  <a:pt x="75" y="33"/>
                </a:lnTo>
                <a:lnTo>
                  <a:pt x="74" y="35"/>
                </a:lnTo>
                <a:lnTo>
                  <a:pt x="72" y="39"/>
                </a:lnTo>
                <a:lnTo>
                  <a:pt x="69" y="40"/>
                </a:lnTo>
                <a:lnTo>
                  <a:pt x="60" y="43"/>
                </a:lnTo>
                <a:lnTo>
                  <a:pt x="60" y="43"/>
                </a:lnTo>
                <a:lnTo>
                  <a:pt x="57" y="41"/>
                </a:lnTo>
                <a:lnTo>
                  <a:pt x="55" y="43"/>
                </a:lnTo>
                <a:lnTo>
                  <a:pt x="52" y="43"/>
                </a:lnTo>
                <a:lnTo>
                  <a:pt x="48" y="45"/>
                </a:lnTo>
                <a:lnTo>
                  <a:pt x="44" y="45"/>
                </a:lnTo>
                <a:lnTo>
                  <a:pt x="43" y="46"/>
                </a:lnTo>
                <a:lnTo>
                  <a:pt x="39" y="46"/>
                </a:lnTo>
                <a:lnTo>
                  <a:pt x="35" y="48"/>
                </a:lnTo>
                <a:lnTo>
                  <a:pt x="32" y="49"/>
                </a:lnTo>
                <a:lnTo>
                  <a:pt x="28" y="49"/>
                </a:lnTo>
                <a:lnTo>
                  <a:pt x="24" y="47"/>
                </a:lnTo>
                <a:lnTo>
                  <a:pt x="21" y="46"/>
                </a:lnTo>
                <a:lnTo>
                  <a:pt x="18" y="43"/>
                </a:lnTo>
                <a:lnTo>
                  <a:pt x="14" y="41"/>
                </a:lnTo>
                <a:lnTo>
                  <a:pt x="11" y="38"/>
                </a:lnTo>
                <a:lnTo>
                  <a:pt x="8" y="37"/>
                </a:lnTo>
                <a:lnTo>
                  <a:pt x="5" y="34"/>
                </a:lnTo>
                <a:lnTo>
                  <a:pt x="3" y="30"/>
                </a:lnTo>
                <a:lnTo>
                  <a:pt x="2" y="30"/>
                </a:lnTo>
                <a:lnTo>
                  <a:pt x="0" y="29"/>
                </a:lnTo>
                <a:lnTo>
                  <a:pt x="2" y="27"/>
                </a:lnTo>
                <a:lnTo>
                  <a:pt x="5" y="27"/>
                </a:lnTo>
                <a:lnTo>
                  <a:pt x="4" y="25"/>
                </a:lnTo>
                <a:lnTo>
                  <a:pt x="4" y="23"/>
                </a:lnTo>
                <a:lnTo>
                  <a:pt x="6" y="18"/>
                </a:lnTo>
                <a:lnTo>
                  <a:pt x="4" y="16"/>
                </a:lnTo>
                <a:lnTo>
                  <a:pt x="5" y="15"/>
                </a:lnTo>
                <a:lnTo>
                  <a:pt x="12" y="15"/>
                </a:lnTo>
                <a:lnTo>
                  <a:pt x="13" y="13"/>
                </a:lnTo>
                <a:lnTo>
                  <a:pt x="13" y="8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62" name="Freeform 261"/>
          <p:cNvSpPr>
            <a:spLocks/>
          </p:cNvSpPr>
          <p:nvPr/>
        </p:nvSpPr>
        <p:spPr bwMode="auto">
          <a:xfrm>
            <a:off x="4711700" y="2181191"/>
            <a:ext cx="147637" cy="77788"/>
          </a:xfrm>
          <a:custGeom>
            <a:avLst/>
            <a:gdLst>
              <a:gd name="T0" fmla="*/ 16 w 93"/>
              <a:gd name="T1" fmla="*/ 10 h 49"/>
              <a:gd name="T2" fmla="*/ 31 w 93"/>
              <a:gd name="T3" fmla="*/ 14 h 49"/>
              <a:gd name="T4" fmla="*/ 36 w 93"/>
              <a:gd name="T5" fmla="*/ 9 h 49"/>
              <a:gd name="T6" fmla="*/ 48 w 93"/>
              <a:gd name="T7" fmla="*/ 6 h 49"/>
              <a:gd name="T8" fmla="*/ 55 w 93"/>
              <a:gd name="T9" fmla="*/ 6 h 49"/>
              <a:gd name="T10" fmla="*/ 59 w 93"/>
              <a:gd name="T11" fmla="*/ 3 h 49"/>
              <a:gd name="T12" fmla="*/ 67 w 93"/>
              <a:gd name="T13" fmla="*/ 0 h 49"/>
              <a:gd name="T14" fmla="*/ 74 w 93"/>
              <a:gd name="T15" fmla="*/ 2 h 49"/>
              <a:gd name="T16" fmla="*/ 82 w 93"/>
              <a:gd name="T17" fmla="*/ 3 h 49"/>
              <a:gd name="T18" fmla="*/ 90 w 93"/>
              <a:gd name="T19" fmla="*/ 6 h 49"/>
              <a:gd name="T20" fmla="*/ 93 w 93"/>
              <a:gd name="T21" fmla="*/ 10 h 49"/>
              <a:gd name="T22" fmla="*/ 91 w 93"/>
              <a:gd name="T23" fmla="*/ 14 h 49"/>
              <a:gd name="T24" fmla="*/ 85 w 93"/>
              <a:gd name="T25" fmla="*/ 15 h 49"/>
              <a:gd name="T26" fmla="*/ 83 w 93"/>
              <a:gd name="T27" fmla="*/ 19 h 49"/>
              <a:gd name="T28" fmla="*/ 81 w 93"/>
              <a:gd name="T29" fmla="*/ 24 h 49"/>
              <a:gd name="T30" fmla="*/ 77 w 93"/>
              <a:gd name="T31" fmla="*/ 29 h 49"/>
              <a:gd name="T32" fmla="*/ 74 w 93"/>
              <a:gd name="T33" fmla="*/ 35 h 49"/>
              <a:gd name="T34" fmla="*/ 69 w 93"/>
              <a:gd name="T35" fmla="*/ 40 h 49"/>
              <a:gd name="T36" fmla="*/ 60 w 93"/>
              <a:gd name="T37" fmla="*/ 43 h 49"/>
              <a:gd name="T38" fmla="*/ 55 w 93"/>
              <a:gd name="T39" fmla="*/ 43 h 49"/>
              <a:gd name="T40" fmla="*/ 48 w 93"/>
              <a:gd name="T41" fmla="*/ 45 h 49"/>
              <a:gd name="T42" fmla="*/ 43 w 93"/>
              <a:gd name="T43" fmla="*/ 46 h 49"/>
              <a:gd name="T44" fmla="*/ 35 w 93"/>
              <a:gd name="T45" fmla="*/ 48 h 49"/>
              <a:gd name="T46" fmla="*/ 28 w 93"/>
              <a:gd name="T47" fmla="*/ 49 h 49"/>
              <a:gd name="T48" fmla="*/ 21 w 93"/>
              <a:gd name="T49" fmla="*/ 46 h 49"/>
              <a:gd name="T50" fmla="*/ 14 w 93"/>
              <a:gd name="T51" fmla="*/ 41 h 49"/>
              <a:gd name="T52" fmla="*/ 8 w 93"/>
              <a:gd name="T53" fmla="*/ 37 h 49"/>
              <a:gd name="T54" fmla="*/ 3 w 93"/>
              <a:gd name="T55" fmla="*/ 30 h 49"/>
              <a:gd name="T56" fmla="*/ 0 w 93"/>
              <a:gd name="T57" fmla="*/ 29 h 49"/>
              <a:gd name="T58" fmla="*/ 5 w 93"/>
              <a:gd name="T59" fmla="*/ 27 h 49"/>
              <a:gd name="T60" fmla="*/ 4 w 93"/>
              <a:gd name="T61" fmla="*/ 23 h 49"/>
              <a:gd name="T62" fmla="*/ 4 w 93"/>
              <a:gd name="T63" fmla="*/ 16 h 49"/>
              <a:gd name="T64" fmla="*/ 12 w 93"/>
              <a:gd name="T65" fmla="*/ 15 h 49"/>
              <a:gd name="T66" fmla="*/ 13 w 93"/>
              <a:gd name="T67" fmla="*/ 8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93" h="49">
                <a:moveTo>
                  <a:pt x="13" y="8"/>
                </a:moveTo>
                <a:lnTo>
                  <a:pt x="16" y="10"/>
                </a:lnTo>
                <a:lnTo>
                  <a:pt x="23" y="14"/>
                </a:lnTo>
                <a:lnTo>
                  <a:pt x="31" y="14"/>
                </a:lnTo>
                <a:lnTo>
                  <a:pt x="33" y="14"/>
                </a:lnTo>
                <a:lnTo>
                  <a:pt x="36" y="9"/>
                </a:lnTo>
                <a:lnTo>
                  <a:pt x="44" y="8"/>
                </a:lnTo>
                <a:lnTo>
                  <a:pt x="48" y="6"/>
                </a:lnTo>
                <a:lnTo>
                  <a:pt x="52" y="7"/>
                </a:lnTo>
                <a:lnTo>
                  <a:pt x="55" y="6"/>
                </a:lnTo>
                <a:lnTo>
                  <a:pt x="57" y="5"/>
                </a:lnTo>
                <a:lnTo>
                  <a:pt x="59" y="3"/>
                </a:lnTo>
                <a:lnTo>
                  <a:pt x="63" y="0"/>
                </a:lnTo>
                <a:lnTo>
                  <a:pt x="67" y="0"/>
                </a:lnTo>
                <a:lnTo>
                  <a:pt x="70" y="0"/>
                </a:lnTo>
                <a:lnTo>
                  <a:pt x="74" y="2"/>
                </a:lnTo>
                <a:lnTo>
                  <a:pt x="79" y="4"/>
                </a:lnTo>
                <a:lnTo>
                  <a:pt x="82" y="3"/>
                </a:lnTo>
                <a:lnTo>
                  <a:pt x="86" y="5"/>
                </a:lnTo>
                <a:lnTo>
                  <a:pt x="90" y="6"/>
                </a:lnTo>
                <a:lnTo>
                  <a:pt x="92" y="8"/>
                </a:lnTo>
                <a:lnTo>
                  <a:pt x="93" y="10"/>
                </a:lnTo>
                <a:lnTo>
                  <a:pt x="92" y="12"/>
                </a:lnTo>
                <a:lnTo>
                  <a:pt x="91" y="14"/>
                </a:lnTo>
                <a:lnTo>
                  <a:pt x="89" y="14"/>
                </a:lnTo>
                <a:lnTo>
                  <a:pt x="85" y="15"/>
                </a:lnTo>
                <a:lnTo>
                  <a:pt x="83" y="17"/>
                </a:lnTo>
                <a:lnTo>
                  <a:pt x="83" y="19"/>
                </a:lnTo>
                <a:lnTo>
                  <a:pt x="81" y="21"/>
                </a:lnTo>
                <a:lnTo>
                  <a:pt x="81" y="24"/>
                </a:lnTo>
                <a:lnTo>
                  <a:pt x="79" y="27"/>
                </a:lnTo>
                <a:lnTo>
                  <a:pt x="77" y="29"/>
                </a:lnTo>
                <a:lnTo>
                  <a:pt x="75" y="33"/>
                </a:lnTo>
                <a:lnTo>
                  <a:pt x="74" y="35"/>
                </a:lnTo>
                <a:lnTo>
                  <a:pt x="72" y="39"/>
                </a:lnTo>
                <a:lnTo>
                  <a:pt x="69" y="40"/>
                </a:lnTo>
                <a:lnTo>
                  <a:pt x="60" y="43"/>
                </a:lnTo>
                <a:lnTo>
                  <a:pt x="60" y="43"/>
                </a:lnTo>
                <a:lnTo>
                  <a:pt x="57" y="41"/>
                </a:lnTo>
                <a:lnTo>
                  <a:pt x="55" y="43"/>
                </a:lnTo>
                <a:lnTo>
                  <a:pt x="52" y="43"/>
                </a:lnTo>
                <a:lnTo>
                  <a:pt x="48" y="45"/>
                </a:lnTo>
                <a:lnTo>
                  <a:pt x="44" y="45"/>
                </a:lnTo>
                <a:lnTo>
                  <a:pt x="43" y="46"/>
                </a:lnTo>
                <a:lnTo>
                  <a:pt x="39" y="46"/>
                </a:lnTo>
                <a:lnTo>
                  <a:pt x="35" y="48"/>
                </a:lnTo>
                <a:lnTo>
                  <a:pt x="32" y="49"/>
                </a:lnTo>
                <a:lnTo>
                  <a:pt x="28" y="49"/>
                </a:lnTo>
                <a:lnTo>
                  <a:pt x="24" y="47"/>
                </a:lnTo>
                <a:lnTo>
                  <a:pt x="21" y="46"/>
                </a:lnTo>
                <a:lnTo>
                  <a:pt x="18" y="43"/>
                </a:lnTo>
                <a:lnTo>
                  <a:pt x="14" y="41"/>
                </a:lnTo>
                <a:lnTo>
                  <a:pt x="11" y="38"/>
                </a:lnTo>
                <a:lnTo>
                  <a:pt x="8" y="37"/>
                </a:lnTo>
                <a:lnTo>
                  <a:pt x="5" y="34"/>
                </a:lnTo>
                <a:lnTo>
                  <a:pt x="3" y="30"/>
                </a:lnTo>
                <a:lnTo>
                  <a:pt x="2" y="30"/>
                </a:lnTo>
                <a:lnTo>
                  <a:pt x="0" y="29"/>
                </a:lnTo>
                <a:lnTo>
                  <a:pt x="2" y="27"/>
                </a:lnTo>
                <a:lnTo>
                  <a:pt x="5" y="27"/>
                </a:lnTo>
                <a:lnTo>
                  <a:pt x="4" y="25"/>
                </a:lnTo>
                <a:lnTo>
                  <a:pt x="4" y="23"/>
                </a:lnTo>
                <a:lnTo>
                  <a:pt x="6" y="18"/>
                </a:lnTo>
                <a:lnTo>
                  <a:pt x="4" y="16"/>
                </a:lnTo>
                <a:lnTo>
                  <a:pt x="5" y="15"/>
                </a:lnTo>
                <a:lnTo>
                  <a:pt x="12" y="15"/>
                </a:lnTo>
                <a:lnTo>
                  <a:pt x="13" y="13"/>
                </a:lnTo>
                <a:lnTo>
                  <a:pt x="13" y="8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63" name="Freeform 262"/>
          <p:cNvSpPr>
            <a:spLocks/>
          </p:cNvSpPr>
          <p:nvPr/>
        </p:nvSpPr>
        <p:spPr bwMode="auto">
          <a:xfrm>
            <a:off x="3876675" y="1700178"/>
            <a:ext cx="211137" cy="80963"/>
          </a:xfrm>
          <a:custGeom>
            <a:avLst/>
            <a:gdLst>
              <a:gd name="T0" fmla="*/ 44 w 133"/>
              <a:gd name="T1" fmla="*/ 46 h 51"/>
              <a:gd name="T2" fmla="*/ 28 w 133"/>
              <a:gd name="T3" fmla="*/ 44 h 51"/>
              <a:gd name="T4" fmla="*/ 19 w 133"/>
              <a:gd name="T5" fmla="*/ 41 h 51"/>
              <a:gd name="T6" fmla="*/ 30 w 133"/>
              <a:gd name="T7" fmla="*/ 38 h 51"/>
              <a:gd name="T8" fmla="*/ 29 w 133"/>
              <a:gd name="T9" fmla="*/ 33 h 51"/>
              <a:gd name="T10" fmla="*/ 25 w 133"/>
              <a:gd name="T11" fmla="*/ 31 h 51"/>
              <a:gd name="T12" fmla="*/ 22 w 133"/>
              <a:gd name="T13" fmla="*/ 27 h 51"/>
              <a:gd name="T14" fmla="*/ 11 w 133"/>
              <a:gd name="T15" fmla="*/ 28 h 51"/>
              <a:gd name="T16" fmla="*/ 9 w 133"/>
              <a:gd name="T17" fmla="*/ 27 h 51"/>
              <a:gd name="T18" fmla="*/ 21 w 133"/>
              <a:gd name="T19" fmla="*/ 25 h 51"/>
              <a:gd name="T20" fmla="*/ 31 w 133"/>
              <a:gd name="T21" fmla="*/ 21 h 51"/>
              <a:gd name="T22" fmla="*/ 25 w 133"/>
              <a:gd name="T23" fmla="*/ 20 h 51"/>
              <a:gd name="T24" fmla="*/ 30 w 133"/>
              <a:gd name="T25" fmla="*/ 17 h 51"/>
              <a:gd name="T26" fmla="*/ 26 w 133"/>
              <a:gd name="T27" fmla="*/ 16 h 51"/>
              <a:gd name="T28" fmla="*/ 15 w 133"/>
              <a:gd name="T29" fmla="*/ 17 h 51"/>
              <a:gd name="T30" fmla="*/ 0 w 133"/>
              <a:gd name="T31" fmla="*/ 17 h 51"/>
              <a:gd name="T32" fmla="*/ 10 w 133"/>
              <a:gd name="T33" fmla="*/ 16 h 51"/>
              <a:gd name="T34" fmla="*/ 5 w 133"/>
              <a:gd name="T35" fmla="*/ 11 h 51"/>
              <a:gd name="T36" fmla="*/ 15 w 133"/>
              <a:gd name="T37" fmla="*/ 13 h 51"/>
              <a:gd name="T38" fmla="*/ 13 w 133"/>
              <a:gd name="T39" fmla="*/ 10 h 51"/>
              <a:gd name="T40" fmla="*/ 13 w 133"/>
              <a:gd name="T41" fmla="*/ 9 h 51"/>
              <a:gd name="T42" fmla="*/ 19 w 133"/>
              <a:gd name="T43" fmla="*/ 7 h 51"/>
              <a:gd name="T44" fmla="*/ 23 w 133"/>
              <a:gd name="T45" fmla="*/ 9 h 51"/>
              <a:gd name="T46" fmla="*/ 26 w 133"/>
              <a:gd name="T47" fmla="*/ 8 h 51"/>
              <a:gd name="T48" fmla="*/ 25 w 133"/>
              <a:gd name="T49" fmla="*/ 5 h 51"/>
              <a:gd name="T50" fmla="*/ 23 w 133"/>
              <a:gd name="T51" fmla="*/ 4 h 51"/>
              <a:gd name="T52" fmla="*/ 20 w 133"/>
              <a:gd name="T53" fmla="*/ 2 h 51"/>
              <a:gd name="T54" fmla="*/ 26 w 133"/>
              <a:gd name="T55" fmla="*/ 3 h 51"/>
              <a:gd name="T56" fmla="*/ 36 w 133"/>
              <a:gd name="T57" fmla="*/ 7 h 51"/>
              <a:gd name="T58" fmla="*/ 40 w 133"/>
              <a:gd name="T59" fmla="*/ 13 h 51"/>
              <a:gd name="T60" fmla="*/ 35 w 133"/>
              <a:gd name="T61" fmla="*/ 15 h 51"/>
              <a:gd name="T62" fmla="*/ 38 w 133"/>
              <a:gd name="T63" fmla="*/ 18 h 51"/>
              <a:gd name="T64" fmla="*/ 42 w 133"/>
              <a:gd name="T65" fmla="*/ 18 h 51"/>
              <a:gd name="T66" fmla="*/ 49 w 133"/>
              <a:gd name="T67" fmla="*/ 16 h 51"/>
              <a:gd name="T68" fmla="*/ 52 w 133"/>
              <a:gd name="T69" fmla="*/ 9 h 51"/>
              <a:gd name="T70" fmla="*/ 60 w 133"/>
              <a:gd name="T71" fmla="*/ 11 h 51"/>
              <a:gd name="T72" fmla="*/ 64 w 133"/>
              <a:gd name="T73" fmla="*/ 9 h 51"/>
              <a:gd name="T74" fmla="*/ 72 w 133"/>
              <a:gd name="T75" fmla="*/ 6 h 51"/>
              <a:gd name="T76" fmla="*/ 74 w 133"/>
              <a:gd name="T77" fmla="*/ 9 h 51"/>
              <a:gd name="T78" fmla="*/ 79 w 133"/>
              <a:gd name="T79" fmla="*/ 13 h 51"/>
              <a:gd name="T80" fmla="*/ 79 w 133"/>
              <a:gd name="T81" fmla="*/ 6 h 51"/>
              <a:gd name="T82" fmla="*/ 88 w 133"/>
              <a:gd name="T83" fmla="*/ 8 h 51"/>
              <a:gd name="T84" fmla="*/ 95 w 133"/>
              <a:gd name="T85" fmla="*/ 7 h 51"/>
              <a:gd name="T86" fmla="*/ 99 w 133"/>
              <a:gd name="T87" fmla="*/ 2 h 51"/>
              <a:gd name="T88" fmla="*/ 107 w 133"/>
              <a:gd name="T89" fmla="*/ 3 h 51"/>
              <a:gd name="T90" fmla="*/ 113 w 133"/>
              <a:gd name="T91" fmla="*/ 6 h 51"/>
              <a:gd name="T92" fmla="*/ 122 w 133"/>
              <a:gd name="T93" fmla="*/ 3 h 51"/>
              <a:gd name="T94" fmla="*/ 116 w 133"/>
              <a:gd name="T95" fmla="*/ 9 h 51"/>
              <a:gd name="T96" fmla="*/ 124 w 133"/>
              <a:gd name="T97" fmla="*/ 13 h 51"/>
              <a:gd name="T98" fmla="*/ 129 w 133"/>
              <a:gd name="T99" fmla="*/ 15 h 51"/>
              <a:gd name="T100" fmla="*/ 132 w 133"/>
              <a:gd name="T101" fmla="*/ 21 h 51"/>
              <a:gd name="T102" fmla="*/ 130 w 133"/>
              <a:gd name="T103" fmla="*/ 26 h 51"/>
              <a:gd name="T104" fmla="*/ 120 w 133"/>
              <a:gd name="T105" fmla="*/ 29 h 51"/>
              <a:gd name="T106" fmla="*/ 121 w 133"/>
              <a:gd name="T107" fmla="*/ 33 h 51"/>
              <a:gd name="T108" fmla="*/ 112 w 133"/>
              <a:gd name="T109" fmla="*/ 35 h 51"/>
              <a:gd name="T110" fmla="*/ 104 w 133"/>
              <a:gd name="T111" fmla="*/ 38 h 51"/>
              <a:gd name="T112" fmla="*/ 88 w 133"/>
              <a:gd name="T113" fmla="*/ 43 h 51"/>
              <a:gd name="T114" fmla="*/ 81 w 133"/>
              <a:gd name="T115" fmla="*/ 45 h 51"/>
              <a:gd name="T116" fmla="*/ 62 w 133"/>
              <a:gd name="T117" fmla="*/ 51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33" h="51">
                <a:moveTo>
                  <a:pt x="50" y="48"/>
                </a:moveTo>
                <a:lnTo>
                  <a:pt x="50" y="48"/>
                </a:lnTo>
                <a:lnTo>
                  <a:pt x="48" y="48"/>
                </a:lnTo>
                <a:lnTo>
                  <a:pt x="46" y="47"/>
                </a:lnTo>
                <a:lnTo>
                  <a:pt x="44" y="46"/>
                </a:lnTo>
                <a:lnTo>
                  <a:pt x="40" y="44"/>
                </a:lnTo>
                <a:lnTo>
                  <a:pt x="35" y="43"/>
                </a:lnTo>
                <a:lnTo>
                  <a:pt x="33" y="44"/>
                </a:lnTo>
                <a:lnTo>
                  <a:pt x="29" y="43"/>
                </a:lnTo>
                <a:lnTo>
                  <a:pt x="28" y="44"/>
                </a:lnTo>
                <a:lnTo>
                  <a:pt x="25" y="44"/>
                </a:lnTo>
                <a:lnTo>
                  <a:pt x="21" y="44"/>
                </a:lnTo>
                <a:lnTo>
                  <a:pt x="20" y="44"/>
                </a:lnTo>
                <a:lnTo>
                  <a:pt x="18" y="44"/>
                </a:lnTo>
                <a:lnTo>
                  <a:pt x="19" y="41"/>
                </a:lnTo>
                <a:lnTo>
                  <a:pt x="18" y="40"/>
                </a:lnTo>
                <a:lnTo>
                  <a:pt x="21" y="41"/>
                </a:lnTo>
                <a:lnTo>
                  <a:pt x="22" y="40"/>
                </a:lnTo>
                <a:lnTo>
                  <a:pt x="25" y="39"/>
                </a:lnTo>
                <a:lnTo>
                  <a:pt x="30" y="38"/>
                </a:lnTo>
                <a:lnTo>
                  <a:pt x="30" y="36"/>
                </a:lnTo>
                <a:lnTo>
                  <a:pt x="25" y="36"/>
                </a:lnTo>
                <a:lnTo>
                  <a:pt x="28" y="35"/>
                </a:lnTo>
                <a:lnTo>
                  <a:pt x="29" y="34"/>
                </a:lnTo>
                <a:lnTo>
                  <a:pt x="29" y="33"/>
                </a:lnTo>
                <a:lnTo>
                  <a:pt x="31" y="31"/>
                </a:lnTo>
                <a:lnTo>
                  <a:pt x="29" y="31"/>
                </a:lnTo>
                <a:lnTo>
                  <a:pt x="26" y="34"/>
                </a:lnTo>
                <a:lnTo>
                  <a:pt x="25" y="33"/>
                </a:lnTo>
                <a:lnTo>
                  <a:pt x="25" y="31"/>
                </a:lnTo>
                <a:lnTo>
                  <a:pt x="24" y="31"/>
                </a:lnTo>
                <a:lnTo>
                  <a:pt x="24" y="31"/>
                </a:lnTo>
                <a:lnTo>
                  <a:pt x="24" y="30"/>
                </a:lnTo>
                <a:lnTo>
                  <a:pt x="23" y="28"/>
                </a:lnTo>
                <a:lnTo>
                  <a:pt x="22" y="27"/>
                </a:lnTo>
                <a:lnTo>
                  <a:pt x="19" y="28"/>
                </a:lnTo>
                <a:lnTo>
                  <a:pt x="18" y="28"/>
                </a:lnTo>
                <a:lnTo>
                  <a:pt x="15" y="27"/>
                </a:lnTo>
                <a:lnTo>
                  <a:pt x="13" y="27"/>
                </a:lnTo>
                <a:lnTo>
                  <a:pt x="11" y="28"/>
                </a:lnTo>
                <a:lnTo>
                  <a:pt x="9" y="29"/>
                </a:lnTo>
                <a:lnTo>
                  <a:pt x="5" y="29"/>
                </a:lnTo>
                <a:lnTo>
                  <a:pt x="5" y="28"/>
                </a:lnTo>
                <a:lnTo>
                  <a:pt x="5" y="27"/>
                </a:lnTo>
                <a:lnTo>
                  <a:pt x="9" y="27"/>
                </a:lnTo>
                <a:lnTo>
                  <a:pt x="13" y="26"/>
                </a:lnTo>
                <a:lnTo>
                  <a:pt x="14" y="25"/>
                </a:lnTo>
                <a:lnTo>
                  <a:pt x="18" y="25"/>
                </a:lnTo>
                <a:lnTo>
                  <a:pt x="20" y="24"/>
                </a:lnTo>
                <a:lnTo>
                  <a:pt x="21" y="25"/>
                </a:lnTo>
                <a:lnTo>
                  <a:pt x="23" y="24"/>
                </a:lnTo>
                <a:lnTo>
                  <a:pt x="25" y="25"/>
                </a:lnTo>
                <a:lnTo>
                  <a:pt x="31" y="25"/>
                </a:lnTo>
                <a:lnTo>
                  <a:pt x="33" y="21"/>
                </a:lnTo>
                <a:lnTo>
                  <a:pt x="31" y="21"/>
                </a:lnTo>
                <a:lnTo>
                  <a:pt x="30" y="24"/>
                </a:lnTo>
                <a:lnTo>
                  <a:pt x="28" y="23"/>
                </a:lnTo>
                <a:lnTo>
                  <a:pt x="23" y="23"/>
                </a:lnTo>
                <a:lnTo>
                  <a:pt x="23" y="21"/>
                </a:lnTo>
                <a:lnTo>
                  <a:pt x="25" y="20"/>
                </a:lnTo>
                <a:lnTo>
                  <a:pt x="26" y="20"/>
                </a:lnTo>
                <a:lnTo>
                  <a:pt x="29" y="19"/>
                </a:lnTo>
                <a:lnTo>
                  <a:pt x="32" y="18"/>
                </a:lnTo>
                <a:lnTo>
                  <a:pt x="32" y="17"/>
                </a:lnTo>
                <a:lnTo>
                  <a:pt x="30" y="17"/>
                </a:lnTo>
                <a:lnTo>
                  <a:pt x="29" y="17"/>
                </a:lnTo>
                <a:lnTo>
                  <a:pt x="28" y="17"/>
                </a:lnTo>
                <a:lnTo>
                  <a:pt x="28" y="17"/>
                </a:lnTo>
                <a:lnTo>
                  <a:pt x="26" y="16"/>
                </a:lnTo>
                <a:lnTo>
                  <a:pt x="26" y="16"/>
                </a:lnTo>
                <a:lnTo>
                  <a:pt x="25" y="16"/>
                </a:lnTo>
                <a:lnTo>
                  <a:pt x="25" y="15"/>
                </a:lnTo>
                <a:lnTo>
                  <a:pt x="20" y="15"/>
                </a:lnTo>
                <a:lnTo>
                  <a:pt x="19" y="16"/>
                </a:lnTo>
                <a:lnTo>
                  <a:pt x="15" y="17"/>
                </a:lnTo>
                <a:lnTo>
                  <a:pt x="14" y="17"/>
                </a:lnTo>
                <a:lnTo>
                  <a:pt x="10" y="18"/>
                </a:lnTo>
                <a:lnTo>
                  <a:pt x="9" y="18"/>
                </a:lnTo>
                <a:lnTo>
                  <a:pt x="5" y="17"/>
                </a:lnTo>
                <a:lnTo>
                  <a:pt x="0" y="17"/>
                </a:lnTo>
                <a:lnTo>
                  <a:pt x="1" y="16"/>
                </a:lnTo>
                <a:lnTo>
                  <a:pt x="2" y="15"/>
                </a:lnTo>
                <a:lnTo>
                  <a:pt x="3" y="16"/>
                </a:lnTo>
                <a:lnTo>
                  <a:pt x="8" y="17"/>
                </a:lnTo>
                <a:lnTo>
                  <a:pt x="10" y="16"/>
                </a:lnTo>
                <a:lnTo>
                  <a:pt x="8" y="15"/>
                </a:lnTo>
                <a:lnTo>
                  <a:pt x="8" y="15"/>
                </a:lnTo>
                <a:lnTo>
                  <a:pt x="9" y="14"/>
                </a:lnTo>
                <a:lnTo>
                  <a:pt x="7" y="14"/>
                </a:lnTo>
                <a:lnTo>
                  <a:pt x="5" y="11"/>
                </a:lnTo>
                <a:lnTo>
                  <a:pt x="10" y="14"/>
                </a:lnTo>
                <a:lnTo>
                  <a:pt x="12" y="15"/>
                </a:lnTo>
                <a:lnTo>
                  <a:pt x="16" y="14"/>
                </a:lnTo>
                <a:lnTo>
                  <a:pt x="14" y="14"/>
                </a:lnTo>
                <a:lnTo>
                  <a:pt x="15" y="13"/>
                </a:lnTo>
                <a:lnTo>
                  <a:pt x="16" y="13"/>
                </a:lnTo>
                <a:lnTo>
                  <a:pt x="12" y="13"/>
                </a:lnTo>
                <a:lnTo>
                  <a:pt x="10" y="11"/>
                </a:lnTo>
                <a:lnTo>
                  <a:pt x="10" y="10"/>
                </a:lnTo>
                <a:lnTo>
                  <a:pt x="13" y="10"/>
                </a:lnTo>
                <a:lnTo>
                  <a:pt x="11" y="9"/>
                </a:lnTo>
                <a:lnTo>
                  <a:pt x="10" y="8"/>
                </a:lnTo>
                <a:lnTo>
                  <a:pt x="10" y="8"/>
                </a:lnTo>
                <a:lnTo>
                  <a:pt x="13" y="9"/>
                </a:lnTo>
                <a:lnTo>
                  <a:pt x="13" y="9"/>
                </a:lnTo>
                <a:lnTo>
                  <a:pt x="12" y="7"/>
                </a:lnTo>
                <a:lnTo>
                  <a:pt x="14" y="8"/>
                </a:lnTo>
                <a:lnTo>
                  <a:pt x="13" y="6"/>
                </a:lnTo>
                <a:lnTo>
                  <a:pt x="14" y="6"/>
                </a:lnTo>
                <a:lnTo>
                  <a:pt x="19" y="7"/>
                </a:lnTo>
                <a:lnTo>
                  <a:pt x="19" y="9"/>
                </a:lnTo>
                <a:lnTo>
                  <a:pt x="19" y="9"/>
                </a:lnTo>
                <a:lnTo>
                  <a:pt x="21" y="9"/>
                </a:lnTo>
                <a:lnTo>
                  <a:pt x="22" y="8"/>
                </a:lnTo>
                <a:lnTo>
                  <a:pt x="23" y="9"/>
                </a:lnTo>
                <a:lnTo>
                  <a:pt x="24" y="11"/>
                </a:lnTo>
                <a:lnTo>
                  <a:pt x="25" y="10"/>
                </a:lnTo>
                <a:lnTo>
                  <a:pt x="26" y="11"/>
                </a:lnTo>
                <a:lnTo>
                  <a:pt x="28" y="9"/>
                </a:lnTo>
                <a:lnTo>
                  <a:pt x="26" y="8"/>
                </a:lnTo>
                <a:lnTo>
                  <a:pt x="26" y="7"/>
                </a:lnTo>
                <a:lnTo>
                  <a:pt x="23" y="6"/>
                </a:lnTo>
                <a:lnTo>
                  <a:pt x="22" y="6"/>
                </a:lnTo>
                <a:lnTo>
                  <a:pt x="23" y="5"/>
                </a:lnTo>
                <a:lnTo>
                  <a:pt x="25" y="5"/>
                </a:lnTo>
                <a:lnTo>
                  <a:pt x="26" y="5"/>
                </a:lnTo>
                <a:lnTo>
                  <a:pt x="26" y="5"/>
                </a:lnTo>
                <a:lnTo>
                  <a:pt x="25" y="4"/>
                </a:lnTo>
                <a:lnTo>
                  <a:pt x="24" y="4"/>
                </a:lnTo>
                <a:lnTo>
                  <a:pt x="23" y="4"/>
                </a:lnTo>
                <a:lnTo>
                  <a:pt x="21" y="4"/>
                </a:lnTo>
                <a:lnTo>
                  <a:pt x="19" y="4"/>
                </a:lnTo>
                <a:lnTo>
                  <a:pt x="20" y="4"/>
                </a:lnTo>
                <a:lnTo>
                  <a:pt x="20" y="3"/>
                </a:lnTo>
                <a:lnTo>
                  <a:pt x="20" y="2"/>
                </a:lnTo>
                <a:lnTo>
                  <a:pt x="22" y="2"/>
                </a:lnTo>
                <a:lnTo>
                  <a:pt x="22" y="2"/>
                </a:lnTo>
                <a:lnTo>
                  <a:pt x="24" y="3"/>
                </a:lnTo>
                <a:lnTo>
                  <a:pt x="25" y="2"/>
                </a:lnTo>
                <a:lnTo>
                  <a:pt x="26" y="3"/>
                </a:lnTo>
                <a:lnTo>
                  <a:pt x="28" y="3"/>
                </a:lnTo>
                <a:lnTo>
                  <a:pt x="30" y="5"/>
                </a:lnTo>
                <a:lnTo>
                  <a:pt x="33" y="5"/>
                </a:lnTo>
                <a:lnTo>
                  <a:pt x="34" y="6"/>
                </a:lnTo>
                <a:lnTo>
                  <a:pt x="36" y="7"/>
                </a:lnTo>
                <a:lnTo>
                  <a:pt x="39" y="8"/>
                </a:lnTo>
                <a:lnTo>
                  <a:pt x="40" y="9"/>
                </a:lnTo>
                <a:lnTo>
                  <a:pt x="38" y="9"/>
                </a:lnTo>
                <a:lnTo>
                  <a:pt x="40" y="10"/>
                </a:lnTo>
                <a:lnTo>
                  <a:pt x="40" y="13"/>
                </a:lnTo>
                <a:lnTo>
                  <a:pt x="39" y="13"/>
                </a:lnTo>
                <a:lnTo>
                  <a:pt x="38" y="14"/>
                </a:lnTo>
                <a:lnTo>
                  <a:pt x="38" y="14"/>
                </a:lnTo>
                <a:lnTo>
                  <a:pt x="34" y="13"/>
                </a:lnTo>
                <a:lnTo>
                  <a:pt x="35" y="15"/>
                </a:lnTo>
                <a:lnTo>
                  <a:pt x="38" y="15"/>
                </a:lnTo>
                <a:lnTo>
                  <a:pt x="38" y="16"/>
                </a:lnTo>
                <a:lnTo>
                  <a:pt x="39" y="15"/>
                </a:lnTo>
                <a:lnTo>
                  <a:pt x="39" y="17"/>
                </a:lnTo>
                <a:lnTo>
                  <a:pt x="38" y="18"/>
                </a:lnTo>
                <a:lnTo>
                  <a:pt x="40" y="18"/>
                </a:lnTo>
                <a:lnTo>
                  <a:pt x="40" y="19"/>
                </a:lnTo>
                <a:lnTo>
                  <a:pt x="40" y="21"/>
                </a:lnTo>
                <a:lnTo>
                  <a:pt x="41" y="19"/>
                </a:lnTo>
                <a:lnTo>
                  <a:pt x="42" y="18"/>
                </a:lnTo>
                <a:lnTo>
                  <a:pt x="44" y="18"/>
                </a:lnTo>
                <a:lnTo>
                  <a:pt x="44" y="16"/>
                </a:lnTo>
                <a:lnTo>
                  <a:pt x="46" y="14"/>
                </a:lnTo>
                <a:lnTo>
                  <a:pt x="48" y="15"/>
                </a:lnTo>
                <a:lnTo>
                  <a:pt x="49" y="16"/>
                </a:lnTo>
                <a:lnTo>
                  <a:pt x="49" y="17"/>
                </a:lnTo>
                <a:lnTo>
                  <a:pt x="51" y="16"/>
                </a:lnTo>
                <a:lnTo>
                  <a:pt x="52" y="14"/>
                </a:lnTo>
                <a:lnTo>
                  <a:pt x="52" y="11"/>
                </a:lnTo>
                <a:lnTo>
                  <a:pt x="52" y="9"/>
                </a:lnTo>
                <a:lnTo>
                  <a:pt x="52" y="7"/>
                </a:lnTo>
                <a:lnTo>
                  <a:pt x="53" y="7"/>
                </a:lnTo>
                <a:lnTo>
                  <a:pt x="54" y="7"/>
                </a:lnTo>
                <a:lnTo>
                  <a:pt x="58" y="9"/>
                </a:lnTo>
                <a:lnTo>
                  <a:pt x="60" y="11"/>
                </a:lnTo>
                <a:lnTo>
                  <a:pt x="60" y="13"/>
                </a:lnTo>
                <a:lnTo>
                  <a:pt x="62" y="13"/>
                </a:lnTo>
                <a:lnTo>
                  <a:pt x="63" y="13"/>
                </a:lnTo>
                <a:lnTo>
                  <a:pt x="63" y="10"/>
                </a:lnTo>
                <a:lnTo>
                  <a:pt x="64" y="9"/>
                </a:lnTo>
                <a:lnTo>
                  <a:pt x="63" y="8"/>
                </a:lnTo>
                <a:lnTo>
                  <a:pt x="66" y="8"/>
                </a:lnTo>
                <a:lnTo>
                  <a:pt x="68" y="8"/>
                </a:lnTo>
                <a:lnTo>
                  <a:pt x="69" y="7"/>
                </a:lnTo>
                <a:lnTo>
                  <a:pt x="72" y="6"/>
                </a:lnTo>
                <a:lnTo>
                  <a:pt x="72" y="7"/>
                </a:lnTo>
                <a:lnTo>
                  <a:pt x="72" y="7"/>
                </a:lnTo>
                <a:lnTo>
                  <a:pt x="73" y="8"/>
                </a:lnTo>
                <a:lnTo>
                  <a:pt x="74" y="8"/>
                </a:lnTo>
                <a:lnTo>
                  <a:pt x="74" y="9"/>
                </a:lnTo>
                <a:lnTo>
                  <a:pt x="76" y="10"/>
                </a:lnTo>
                <a:lnTo>
                  <a:pt x="78" y="11"/>
                </a:lnTo>
                <a:lnTo>
                  <a:pt x="78" y="14"/>
                </a:lnTo>
                <a:lnTo>
                  <a:pt x="79" y="15"/>
                </a:lnTo>
                <a:lnTo>
                  <a:pt x="79" y="13"/>
                </a:lnTo>
                <a:lnTo>
                  <a:pt x="80" y="11"/>
                </a:lnTo>
                <a:lnTo>
                  <a:pt x="79" y="10"/>
                </a:lnTo>
                <a:lnTo>
                  <a:pt x="78" y="7"/>
                </a:lnTo>
                <a:lnTo>
                  <a:pt x="78" y="6"/>
                </a:lnTo>
                <a:lnTo>
                  <a:pt x="79" y="6"/>
                </a:lnTo>
                <a:lnTo>
                  <a:pt x="81" y="6"/>
                </a:lnTo>
                <a:lnTo>
                  <a:pt x="83" y="7"/>
                </a:lnTo>
                <a:lnTo>
                  <a:pt x="84" y="9"/>
                </a:lnTo>
                <a:lnTo>
                  <a:pt x="86" y="8"/>
                </a:lnTo>
                <a:lnTo>
                  <a:pt x="88" y="8"/>
                </a:lnTo>
                <a:lnTo>
                  <a:pt x="89" y="7"/>
                </a:lnTo>
                <a:lnTo>
                  <a:pt x="90" y="6"/>
                </a:lnTo>
                <a:lnTo>
                  <a:pt x="92" y="6"/>
                </a:lnTo>
                <a:lnTo>
                  <a:pt x="92" y="7"/>
                </a:lnTo>
                <a:lnTo>
                  <a:pt x="95" y="7"/>
                </a:lnTo>
                <a:lnTo>
                  <a:pt x="97" y="7"/>
                </a:lnTo>
                <a:lnTo>
                  <a:pt x="100" y="6"/>
                </a:lnTo>
                <a:lnTo>
                  <a:pt x="100" y="4"/>
                </a:lnTo>
                <a:lnTo>
                  <a:pt x="100" y="3"/>
                </a:lnTo>
                <a:lnTo>
                  <a:pt x="99" y="2"/>
                </a:lnTo>
                <a:lnTo>
                  <a:pt x="101" y="2"/>
                </a:lnTo>
                <a:lnTo>
                  <a:pt x="103" y="0"/>
                </a:lnTo>
                <a:lnTo>
                  <a:pt x="105" y="0"/>
                </a:lnTo>
                <a:lnTo>
                  <a:pt x="105" y="3"/>
                </a:lnTo>
                <a:lnTo>
                  <a:pt x="107" y="3"/>
                </a:lnTo>
                <a:lnTo>
                  <a:pt x="109" y="4"/>
                </a:lnTo>
                <a:lnTo>
                  <a:pt x="107" y="5"/>
                </a:lnTo>
                <a:lnTo>
                  <a:pt x="111" y="6"/>
                </a:lnTo>
                <a:lnTo>
                  <a:pt x="112" y="6"/>
                </a:lnTo>
                <a:lnTo>
                  <a:pt x="113" y="6"/>
                </a:lnTo>
                <a:lnTo>
                  <a:pt x="113" y="5"/>
                </a:lnTo>
                <a:lnTo>
                  <a:pt x="116" y="5"/>
                </a:lnTo>
                <a:lnTo>
                  <a:pt x="117" y="4"/>
                </a:lnTo>
                <a:lnTo>
                  <a:pt x="119" y="3"/>
                </a:lnTo>
                <a:lnTo>
                  <a:pt x="122" y="3"/>
                </a:lnTo>
                <a:lnTo>
                  <a:pt x="123" y="4"/>
                </a:lnTo>
                <a:lnTo>
                  <a:pt x="120" y="4"/>
                </a:lnTo>
                <a:lnTo>
                  <a:pt x="115" y="7"/>
                </a:lnTo>
                <a:lnTo>
                  <a:pt x="115" y="8"/>
                </a:lnTo>
                <a:lnTo>
                  <a:pt x="116" y="9"/>
                </a:lnTo>
                <a:lnTo>
                  <a:pt x="120" y="8"/>
                </a:lnTo>
                <a:lnTo>
                  <a:pt x="121" y="10"/>
                </a:lnTo>
                <a:lnTo>
                  <a:pt x="119" y="13"/>
                </a:lnTo>
                <a:lnTo>
                  <a:pt x="119" y="14"/>
                </a:lnTo>
                <a:lnTo>
                  <a:pt x="124" y="13"/>
                </a:lnTo>
                <a:lnTo>
                  <a:pt x="124" y="14"/>
                </a:lnTo>
                <a:lnTo>
                  <a:pt x="124" y="15"/>
                </a:lnTo>
                <a:lnTo>
                  <a:pt x="127" y="16"/>
                </a:lnTo>
                <a:lnTo>
                  <a:pt x="129" y="14"/>
                </a:lnTo>
                <a:lnTo>
                  <a:pt x="129" y="15"/>
                </a:lnTo>
                <a:lnTo>
                  <a:pt x="131" y="18"/>
                </a:lnTo>
                <a:lnTo>
                  <a:pt x="131" y="19"/>
                </a:lnTo>
                <a:lnTo>
                  <a:pt x="129" y="20"/>
                </a:lnTo>
                <a:lnTo>
                  <a:pt x="131" y="21"/>
                </a:lnTo>
                <a:lnTo>
                  <a:pt x="132" y="21"/>
                </a:lnTo>
                <a:lnTo>
                  <a:pt x="133" y="21"/>
                </a:lnTo>
                <a:lnTo>
                  <a:pt x="133" y="23"/>
                </a:lnTo>
                <a:lnTo>
                  <a:pt x="132" y="25"/>
                </a:lnTo>
                <a:lnTo>
                  <a:pt x="130" y="25"/>
                </a:lnTo>
                <a:lnTo>
                  <a:pt x="130" y="26"/>
                </a:lnTo>
                <a:lnTo>
                  <a:pt x="129" y="27"/>
                </a:lnTo>
                <a:lnTo>
                  <a:pt x="127" y="28"/>
                </a:lnTo>
                <a:lnTo>
                  <a:pt x="122" y="28"/>
                </a:lnTo>
                <a:lnTo>
                  <a:pt x="122" y="29"/>
                </a:lnTo>
                <a:lnTo>
                  <a:pt x="120" y="29"/>
                </a:lnTo>
                <a:lnTo>
                  <a:pt x="121" y="30"/>
                </a:lnTo>
                <a:lnTo>
                  <a:pt x="120" y="30"/>
                </a:lnTo>
                <a:lnTo>
                  <a:pt x="121" y="30"/>
                </a:lnTo>
                <a:lnTo>
                  <a:pt x="123" y="30"/>
                </a:lnTo>
                <a:lnTo>
                  <a:pt x="121" y="33"/>
                </a:lnTo>
                <a:lnTo>
                  <a:pt x="119" y="35"/>
                </a:lnTo>
                <a:lnTo>
                  <a:pt x="115" y="35"/>
                </a:lnTo>
                <a:lnTo>
                  <a:pt x="114" y="37"/>
                </a:lnTo>
                <a:lnTo>
                  <a:pt x="112" y="36"/>
                </a:lnTo>
                <a:lnTo>
                  <a:pt x="112" y="35"/>
                </a:lnTo>
                <a:lnTo>
                  <a:pt x="111" y="34"/>
                </a:lnTo>
                <a:lnTo>
                  <a:pt x="110" y="34"/>
                </a:lnTo>
                <a:lnTo>
                  <a:pt x="109" y="36"/>
                </a:lnTo>
                <a:lnTo>
                  <a:pt x="105" y="37"/>
                </a:lnTo>
                <a:lnTo>
                  <a:pt x="104" y="38"/>
                </a:lnTo>
                <a:lnTo>
                  <a:pt x="100" y="40"/>
                </a:lnTo>
                <a:lnTo>
                  <a:pt x="96" y="41"/>
                </a:lnTo>
                <a:lnTo>
                  <a:pt x="93" y="43"/>
                </a:lnTo>
                <a:lnTo>
                  <a:pt x="90" y="43"/>
                </a:lnTo>
                <a:lnTo>
                  <a:pt x="88" y="43"/>
                </a:lnTo>
                <a:lnTo>
                  <a:pt x="88" y="43"/>
                </a:lnTo>
                <a:lnTo>
                  <a:pt x="85" y="43"/>
                </a:lnTo>
                <a:lnTo>
                  <a:pt x="85" y="44"/>
                </a:lnTo>
                <a:lnTo>
                  <a:pt x="84" y="45"/>
                </a:lnTo>
                <a:lnTo>
                  <a:pt x="81" y="45"/>
                </a:lnTo>
                <a:lnTo>
                  <a:pt x="74" y="49"/>
                </a:lnTo>
                <a:lnTo>
                  <a:pt x="69" y="50"/>
                </a:lnTo>
                <a:lnTo>
                  <a:pt x="66" y="51"/>
                </a:lnTo>
                <a:lnTo>
                  <a:pt x="63" y="50"/>
                </a:lnTo>
                <a:lnTo>
                  <a:pt x="62" y="51"/>
                </a:lnTo>
                <a:lnTo>
                  <a:pt x="59" y="49"/>
                </a:lnTo>
                <a:lnTo>
                  <a:pt x="56" y="49"/>
                </a:lnTo>
                <a:lnTo>
                  <a:pt x="53" y="48"/>
                </a:lnTo>
                <a:lnTo>
                  <a:pt x="50" y="48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64" name="Freeform 263"/>
          <p:cNvSpPr>
            <a:spLocks/>
          </p:cNvSpPr>
          <p:nvPr/>
        </p:nvSpPr>
        <p:spPr bwMode="auto">
          <a:xfrm>
            <a:off x="3876675" y="1700178"/>
            <a:ext cx="211137" cy="80963"/>
          </a:xfrm>
          <a:custGeom>
            <a:avLst/>
            <a:gdLst>
              <a:gd name="T0" fmla="*/ 44 w 133"/>
              <a:gd name="T1" fmla="*/ 46 h 51"/>
              <a:gd name="T2" fmla="*/ 28 w 133"/>
              <a:gd name="T3" fmla="*/ 44 h 51"/>
              <a:gd name="T4" fmla="*/ 19 w 133"/>
              <a:gd name="T5" fmla="*/ 41 h 51"/>
              <a:gd name="T6" fmla="*/ 30 w 133"/>
              <a:gd name="T7" fmla="*/ 38 h 51"/>
              <a:gd name="T8" fmla="*/ 29 w 133"/>
              <a:gd name="T9" fmla="*/ 33 h 51"/>
              <a:gd name="T10" fmla="*/ 25 w 133"/>
              <a:gd name="T11" fmla="*/ 31 h 51"/>
              <a:gd name="T12" fmla="*/ 22 w 133"/>
              <a:gd name="T13" fmla="*/ 27 h 51"/>
              <a:gd name="T14" fmla="*/ 11 w 133"/>
              <a:gd name="T15" fmla="*/ 28 h 51"/>
              <a:gd name="T16" fmla="*/ 9 w 133"/>
              <a:gd name="T17" fmla="*/ 27 h 51"/>
              <a:gd name="T18" fmla="*/ 21 w 133"/>
              <a:gd name="T19" fmla="*/ 25 h 51"/>
              <a:gd name="T20" fmla="*/ 31 w 133"/>
              <a:gd name="T21" fmla="*/ 21 h 51"/>
              <a:gd name="T22" fmla="*/ 25 w 133"/>
              <a:gd name="T23" fmla="*/ 20 h 51"/>
              <a:gd name="T24" fmla="*/ 30 w 133"/>
              <a:gd name="T25" fmla="*/ 17 h 51"/>
              <a:gd name="T26" fmla="*/ 26 w 133"/>
              <a:gd name="T27" fmla="*/ 16 h 51"/>
              <a:gd name="T28" fmla="*/ 15 w 133"/>
              <a:gd name="T29" fmla="*/ 17 h 51"/>
              <a:gd name="T30" fmla="*/ 0 w 133"/>
              <a:gd name="T31" fmla="*/ 17 h 51"/>
              <a:gd name="T32" fmla="*/ 10 w 133"/>
              <a:gd name="T33" fmla="*/ 16 h 51"/>
              <a:gd name="T34" fmla="*/ 5 w 133"/>
              <a:gd name="T35" fmla="*/ 11 h 51"/>
              <a:gd name="T36" fmla="*/ 15 w 133"/>
              <a:gd name="T37" fmla="*/ 13 h 51"/>
              <a:gd name="T38" fmla="*/ 13 w 133"/>
              <a:gd name="T39" fmla="*/ 10 h 51"/>
              <a:gd name="T40" fmla="*/ 13 w 133"/>
              <a:gd name="T41" fmla="*/ 9 h 51"/>
              <a:gd name="T42" fmla="*/ 19 w 133"/>
              <a:gd name="T43" fmla="*/ 7 h 51"/>
              <a:gd name="T44" fmla="*/ 23 w 133"/>
              <a:gd name="T45" fmla="*/ 9 h 51"/>
              <a:gd name="T46" fmla="*/ 26 w 133"/>
              <a:gd name="T47" fmla="*/ 8 h 51"/>
              <a:gd name="T48" fmla="*/ 25 w 133"/>
              <a:gd name="T49" fmla="*/ 5 h 51"/>
              <a:gd name="T50" fmla="*/ 23 w 133"/>
              <a:gd name="T51" fmla="*/ 4 h 51"/>
              <a:gd name="T52" fmla="*/ 20 w 133"/>
              <a:gd name="T53" fmla="*/ 2 h 51"/>
              <a:gd name="T54" fmla="*/ 26 w 133"/>
              <a:gd name="T55" fmla="*/ 3 h 51"/>
              <a:gd name="T56" fmla="*/ 36 w 133"/>
              <a:gd name="T57" fmla="*/ 7 h 51"/>
              <a:gd name="T58" fmla="*/ 40 w 133"/>
              <a:gd name="T59" fmla="*/ 13 h 51"/>
              <a:gd name="T60" fmla="*/ 35 w 133"/>
              <a:gd name="T61" fmla="*/ 15 h 51"/>
              <a:gd name="T62" fmla="*/ 38 w 133"/>
              <a:gd name="T63" fmla="*/ 18 h 51"/>
              <a:gd name="T64" fmla="*/ 42 w 133"/>
              <a:gd name="T65" fmla="*/ 18 h 51"/>
              <a:gd name="T66" fmla="*/ 49 w 133"/>
              <a:gd name="T67" fmla="*/ 16 h 51"/>
              <a:gd name="T68" fmla="*/ 52 w 133"/>
              <a:gd name="T69" fmla="*/ 9 h 51"/>
              <a:gd name="T70" fmla="*/ 60 w 133"/>
              <a:gd name="T71" fmla="*/ 11 h 51"/>
              <a:gd name="T72" fmla="*/ 64 w 133"/>
              <a:gd name="T73" fmla="*/ 9 h 51"/>
              <a:gd name="T74" fmla="*/ 72 w 133"/>
              <a:gd name="T75" fmla="*/ 6 h 51"/>
              <a:gd name="T76" fmla="*/ 74 w 133"/>
              <a:gd name="T77" fmla="*/ 9 h 51"/>
              <a:gd name="T78" fmla="*/ 79 w 133"/>
              <a:gd name="T79" fmla="*/ 13 h 51"/>
              <a:gd name="T80" fmla="*/ 79 w 133"/>
              <a:gd name="T81" fmla="*/ 6 h 51"/>
              <a:gd name="T82" fmla="*/ 88 w 133"/>
              <a:gd name="T83" fmla="*/ 8 h 51"/>
              <a:gd name="T84" fmla="*/ 95 w 133"/>
              <a:gd name="T85" fmla="*/ 7 h 51"/>
              <a:gd name="T86" fmla="*/ 99 w 133"/>
              <a:gd name="T87" fmla="*/ 2 h 51"/>
              <a:gd name="T88" fmla="*/ 107 w 133"/>
              <a:gd name="T89" fmla="*/ 3 h 51"/>
              <a:gd name="T90" fmla="*/ 113 w 133"/>
              <a:gd name="T91" fmla="*/ 6 h 51"/>
              <a:gd name="T92" fmla="*/ 122 w 133"/>
              <a:gd name="T93" fmla="*/ 3 h 51"/>
              <a:gd name="T94" fmla="*/ 116 w 133"/>
              <a:gd name="T95" fmla="*/ 9 h 51"/>
              <a:gd name="T96" fmla="*/ 124 w 133"/>
              <a:gd name="T97" fmla="*/ 13 h 51"/>
              <a:gd name="T98" fmla="*/ 129 w 133"/>
              <a:gd name="T99" fmla="*/ 15 h 51"/>
              <a:gd name="T100" fmla="*/ 132 w 133"/>
              <a:gd name="T101" fmla="*/ 21 h 51"/>
              <a:gd name="T102" fmla="*/ 130 w 133"/>
              <a:gd name="T103" fmla="*/ 26 h 51"/>
              <a:gd name="T104" fmla="*/ 120 w 133"/>
              <a:gd name="T105" fmla="*/ 29 h 51"/>
              <a:gd name="T106" fmla="*/ 121 w 133"/>
              <a:gd name="T107" fmla="*/ 33 h 51"/>
              <a:gd name="T108" fmla="*/ 112 w 133"/>
              <a:gd name="T109" fmla="*/ 35 h 51"/>
              <a:gd name="T110" fmla="*/ 104 w 133"/>
              <a:gd name="T111" fmla="*/ 38 h 51"/>
              <a:gd name="T112" fmla="*/ 88 w 133"/>
              <a:gd name="T113" fmla="*/ 43 h 51"/>
              <a:gd name="T114" fmla="*/ 81 w 133"/>
              <a:gd name="T115" fmla="*/ 45 h 51"/>
              <a:gd name="T116" fmla="*/ 62 w 133"/>
              <a:gd name="T117" fmla="*/ 51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33" h="51">
                <a:moveTo>
                  <a:pt x="50" y="48"/>
                </a:moveTo>
                <a:lnTo>
                  <a:pt x="50" y="48"/>
                </a:lnTo>
                <a:lnTo>
                  <a:pt x="48" y="48"/>
                </a:lnTo>
                <a:lnTo>
                  <a:pt x="46" y="47"/>
                </a:lnTo>
                <a:lnTo>
                  <a:pt x="44" y="46"/>
                </a:lnTo>
                <a:lnTo>
                  <a:pt x="40" y="44"/>
                </a:lnTo>
                <a:lnTo>
                  <a:pt x="35" y="43"/>
                </a:lnTo>
                <a:lnTo>
                  <a:pt x="33" y="44"/>
                </a:lnTo>
                <a:lnTo>
                  <a:pt x="29" y="43"/>
                </a:lnTo>
                <a:lnTo>
                  <a:pt x="28" y="44"/>
                </a:lnTo>
                <a:lnTo>
                  <a:pt x="25" y="44"/>
                </a:lnTo>
                <a:lnTo>
                  <a:pt x="21" y="44"/>
                </a:lnTo>
                <a:lnTo>
                  <a:pt x="20" y="44"/>
                </a:lnTo>
                <a:lnTo>
                  <a:pt x="18" y="44"/>
                </a:lnTo>
                <a:lnTo>
                  <a:pt x="19" y="41"/>
                </a:lnTo>
                <a:lnTo>
                  <a:pt x="18" y="40"/>
                </a:lnTo>
                <a:lnTo>
                  <a:pt x="21" y="41"/>
                </a:lnTo>
                <a:lnTo>
                  <a:pt x="22" y="40"/>
                </a:lnTo>
                <a:lnTo>
                  <a:pt x="25" y="39"/>
                </a:lnTo>
                <a:lnTo>
                  <a:pt x="30" y="38"/>
                </a:lnTo>
                <a:lnTo>
                  <a:pt x="30" y="36"/>
                </a:lnTo>
                <a:lnTo>
                  <a:pt x="25" y="36"/>
                </a:lnTo>
                <a:lnTo>
                  <a:pt x="28" y="35"/>
                </a:lnTo>
                <a:lnTo>
                  <a:pt x="29" y="34"/>
                </a:lnTo>
                <a:lnTo>
                  <a:pt x="29" y="33"/>
                </a:lnTo>
                <a:lnTo>
                  <a:pt x="31" y="31"/>
                </a:lnTo>
                <a:lnTo>
                  <a:pt x="29" y="31"/>
                </a:lnTo>
                <a:lnTo>
                  <a:pt x="26" y="34"/>
                </a:lnTo>
                <a:lnTo>
                  <a:pt x="25" y="33"/>
                </a:lnTo>
                <a:lnTo>
                  <a:pt x="25" y="31"/>
                </a:lnTo>
                <a:lnTo>
                  <a:pt x="24" y="31"/>
                </a:lnTo>
                <a:lnTo>
                  <a:pt x="24" y="31"/>
                </a:lnTo>
                <a:lnTo>
                  <a:pt x="24" y="30"/>
                </a:lnTo>
                <a:lnTo>
                  <a:pt x="23" y="28"/>
                </a:lnTo>
                <a:lnTo>
                  <a:pt x="22" y="27"/>
                </a:lnTo>
                <a:lnTo>
                  <a:pt x="19" y="28"/>
                </a:lnTo>
                <a:lnTo>
                  <a:pt x="18" y="28"/>
                </a:lnTo>
                <a:lnTo>
                  <a:pt x="15" y="27"/>
                </a:lnTo>
                <a:lnTo>
                  <a:pt x="13" y="27"/>
                </a:lnTo>
                <a:lnTo>
                  <a:pt x="11" y="28"/>
                </a:lnTo>
                <a:lnTo>
                  <a:pt x="9" y="29"/>
                </a:lnTo>
                <a:lnTo>
                  <a:pt x="5" y="29"/>
                </a:lnTo>
                <a:lnTo>
                  <a:pt x="5" y="28"/>
                </a:lnTo>
                <a:lnTo>
                  <a:pt x="5" y="27"/>
                </a:lnTo>
                <a:lnTo>
                  <a:pt x="9" y="27"/>
                </a:lnTo>
                <a:lnTo>
                  <a:pt x="13" y="26"/>
                </a:lnTo>
                <a:lnTo>
                  <a:pt x="14" y="25"/>
                </a:lnTo>
                <a:lnTo>
                  <a:pt x="18" y="25"/>
                </a:lnTo>
                <a:lnTo>
                  <a:pt x="20" y="24"/>
                </a:lnTo>
                <a:lnTo>
                  <a:pt x="21" y="25"/>
                </a:lnTo>
                <a:lnTo>
                  <a:pt x="23" y="24"/>
                </a:lnTo>
                <a:lnTo>
                  <a:pt x="25" y="25"/>
                </a:lnTo>
                <a:lnTo>
                  <a:pt x="31" y="25"/>
                </a:lnTo>
                <a:lnTo>
                  <a:pt x="33" y="21"/>
                </a:lnTo>
                <a:lnTo>
                  <a:pt x="31" y="21"/>
                </a:lnTo>
                <a:lnTo>
                  <a:pt x="30" y="24"/>
                </a:lnTo>
                <a:lnTo>
                  <a:pt x="28" y="23"/>
                </a:lnTo>
                <a:lnTo>
                  <a:pt x="23" y="23"/>
                </a:lnTo>
                <a:lnTo>
                  <a:pt x="23" y="21"/>
                </a:lnTo>
                <a:lnTo>
                  <a:pt x="25" y="20"/>
                </a:lnTo>
                <a:lnTo>
                  <a:pt x="26" y="20"/>
                </a:lnTo>
                <a:lnTo>
                  <a:pt x="29" y="19"/>
                </a:lnTo>
                <a:lnTo>
                  <a:pt x="32" y="18"/>
                </a:lnTo>
                <a:lnTo>
                  <a:pt x="32" y="17"/>
                </a:lnTo>
                <a:lnTo>
                  <a:pt x="30" y="17"/>
                </a:lnTo>
                <a:lnTo>
                  <a:pt x="29" y="17"/>
                </a:lnTo>
                <a:lnTo>
                  <a:pt x="28" y="17"/>
                </a:lnTo>
                <a:lnTo>
                  <a:pt x="28" y="17"/>
                </a:lnTo>
                <a:lnTo>
                  <a:pt x="26" y="16"/>
                </a:lnTo>
                <a:lnTo>
                  <a:pt x="26" y="16"/>
                </a:lnTo>
                <a:lnTo>
                  <a:pt x="25" y="16"/>
                </a:lnTo>
                <a:lnTo>
                  <a:pt x="25" y="15"/>
                </a:lnTo>
                <a:lnTo>
                  <a:pt x="20" y="15"/>
                </a:lnTo>
                <a:lnTo>
                  <a:pt x="19" y="16"/>
                </a:lnTo>
                <a:lnTo>
                  <a:pt x="15" y="17"/>
                </a:lnTo>
                <a:lnTo>
                  <a:pt x="14" y="17"/>
                </a:lnTo>
                <a:lnTo>
                  <a:pt x="10" y="18"/>
                </a:lnTo>
                <a:lnTo>
                  <a:pt x="9" y="18"/>
                </a:lnTo>
                <a:lnTo>
                  <a:pt x="5" y="17"/>
                </a:lnTo>
                <a:lnTo>
                  <a:pt x="0" y="17"/>
                </a:lnTo>
                <a:lnTo>
                  <a:pt x="1" y="16"/>
                </a:lnTo>
                <a:lnTo>
                  <a:pt x="2" y="15"/>
                </a:lnTo>
                <a:lnTo>
                  <a:pt x="3" y="16"/>
                </a:lnTo>
                <a:lnTo>
                  <a:pt x="8" y="17"/>
                </a:lnTo>
                <a:lnTo>
                  <a:pt x="10" y="16"/>
                </a:lnTo>
                <a:lnTo>
                  <a:pt x="8" y="15"/>
                </a:lnTo>
                <a:lnTo>
                  <a:pt x="8" y="15"/>
                </a:lnTo>
                <a:lnTo>
                  <a:pt x="9" y="14"/>
                </a:lnTo>
                <a:lnTo>
                  <a:pt x="7" y="14"/>
                </a:lnTo>
                <a:lnTo>
                  <a:pt x="5" y="11"/>
                </a:lnTo>
                <a:lnTo>
                  <a:pt x="10" y="14"/>
                </a:lnTo>
                <a:lnTo>
                  <a:pt x="12" y="15"/>
                </a:lnTo>
                <a:lnTo>
                  <a:pt x="16" y="14"/>
                </a:lnTo>
                <a:lnTo>
                  <a:pt x="14" y="14"/>
                </a:lnTo>
                <a:lnTo>
                  <a:pt x="15" y="13"/>
                </a:lnTo>
                <a:lnTo>
                  <a:pt x="16" y="13"/>
                </a:lnTo>
                <a:lnTo>
                  <a:pt x="12" y="13"/>
                </a:lnTo>
                <a:lnTo>
                  <a:pt x="10" y="11"/>
                </a:lnTo>
                <a:lnTo>
                  <a:pt x="10" y="10"/>
                </a:lnTo>
                <a:lnTo>
                  <a:pt x="13" y="10"/>
                </a:lnTo>
                <a:lnTo>
                  <a:pt x="11" y="9"/>
                </a:lnTo>
                <a:lnTo>
                  <a:pt x="10" y="8"/>
                </a:lnTo>
                <a:lnTo>
                  <a:pt x="10" y="8"/>
                </a:lnTo>
                <a:lnTo>
                  <a:pt x="13" y="9"/>
                </a:lnTo>
                <a:lnTo>
                  <a:pt x="13" y="9"/>
                </a:lnTo>
                <a:lnTo>
                  <a:pt x="12" y="7"/>
                </a:lnTo>
                <a:lnTo>
                  <a:pt x="14" y="8"/>
                </a:lnTo>
                <a:lnTo>
                  <a:pt x="13" y="6"/>
                </a:lnTo>
                <a:lnTo>
                  <a:pt x="14" y="6"/>
                </a:lnTo>
                <a:lnTo>
                  <a:pt x="19" y="7"/>
                </a:lnTo>
                <a:lnTo>
                  <a:pt x="19" y="9"/>
                </a:lnTo>
                <a:lnTo>
                  <a:pt x="19" y="9"/>
                </a:lnTo>
                <a:lnTo>
                  <a:pt x="21" y="9"/>
                </a:lnTo>
                <a:lnTo>
                  <a:pt x="22" y="8"/>
                </a:lnTo>
                <a:lnTo>
                  <a:pt x="23" y="9"/>
                </a:lnTo>
                <a:lnTo>
                  <a:pt x="24" y="11"/>
                </a:lnTo>
                <a:lnTo>
                  <a:pt x="25" y="10"/>
                </a:lnTo>
                <a:lnTo>
                  <a:pt x="26" y="11"/>
                </a:lnTo>
                <a:lnTo>
                  <a:pt x="28" y="9"/>
                </a:lnTo>
                <a:lnTo>
                  <a:pt x="26" y="8"/>
                </a:lnTo>
                <a:lnTo>
                  <a:pt x="26" y="7"/>
                </a:lnTo>
                <a:lnTo>
                  <a:pt x="23" y="6"/>
                </a:lnTo>
                <a:lnTo>
                  <a:pt x="22" y="6"/>
                </a:lnTo>
                <a:lnTo>
                  <a:pt x="23" y="5"/>
                </a:lnTo>
                <a:lnTo>
                  <a:pt x="25" y="5"/>
                </a:lnTo>
                <a:lnTo>
                  <a:pt x="26" y="5"/>
                </a:lnTo>
                <a:lnTo>
                  <a:pt x="26" y="5"/>
                </a:lnTo>
                <a:lnTo>
                  <a:pt x="25" y="4"/>
                </a:lnTo>
                <a:lnTo>
                  <a:pt x="24" y="4"/>
                </a:lnTo>
                <a:lnTo>
                  <a:pt x="23" y="4"/>
                </a:lnTo>
                <a:lnTo>
                  <a:pt x="21" y="4"/>
                </a:lnTo>
                <a:lnTo>
                  <a:pt x="19" y="4"/>
                </a:lnTo>
                <a:lnTo>
                  <a:pt x="20" y="4"/>
                </a:lnTo>
                <a:lnTo>
                  <a:pt x="20" y="3"/>
                </a:lnTo>
                <a:lnTo>
                  <a:pt x="20" y="2"/>
                </a:lnTo>
                <a:lnTo>
                  <a:pt x="22" y="2"/>
                </a:lnTo>
                <a:lnTo>
                  <a:pt x="22" y="2"/>
                </a:lnTo>
                <a:lnTo>
                  <a:pt x="24" y="3"/>
                </a:lnTo>
                <a:lnTo>
                  <a:pt x="25" y="2"/>
                </a:lnTo>
                <a:lnTo>
                  <a:pt x="26" y="3"/>
                </a:lnTo>
                <a:lnTo>
                  <a:pt x="28" y="3"/>
                </a:lnTo>
                <a:lnTo>
                  <a:pt x="30" y="5"/>
                </a:lnTo>
                <a:lnTo>
                  <a:pt x="33" y="5"/>
                </a:lnTo>
                <a:lnTo>
                  <a:pt x="34" y="6"/>
                </a:lnTo>
                <a:lnTo>
                  <a:pt x="36" y="7"/>
                </a:lnTo>
                <a:lnTo>
                  <a:pt x="39" y="8"/>
                </a:lnTo>
                <a:lnTo>
                  <a:pt x="40" y="9"/>
                </a:lnTo>
                <a:lnTo>
                  <a:pt x="38" y="9"/>
                </a:lnTo>
                <a:lnTo>
                  <a:pt x="40" y="10"/>
                </a:lnTo>
                <a:lnTo>
                  <a:pt x="40" y="13"/>
                </a:lnTo>
                <a:lnTo>
                  <a:pt x="39" y="13"/>
                </a:lnTo>
                <a:lnTo>
                  <a:pt x="38" y="14"/>
                </a:lnTo>
                <a:lnTo>
                  <a:pt x="38" y="14"/>
                </a:lnTo>
                <a:lnTo>
                  <a:pt x="34" y="13"/>
                </a:lnTo>
                <a:lnTo>
                  <a:pt x="35" y="15"/>
                </a:lnTo>
                <a:lnTo>
                  <a:pt x="38" y="15"/>
                </a:lnTo>
                <a:lnTo>
                  <a:pt x="38" y="16"/>
                </a:lnTo>
                <a:lnTo>
                  <a:pt x="39" y="15"/>
                </a:lnTo>
                <a:lnTo>
                  <a:pt x="39" y="17"/>
                </a:lnTo>
                <a:lnTo>
                  <a:pt x="38" y="18"/>
                </a:lnTo>
                <a:lnTo>
                  <a:pt x="40" y="18"/>
                </a:lnTo>
                <a:lnTo>
                  <a:pt x="40" y="19"/>
                </a:lnTo>
                <a:lnTo>
                  <a:pt x="40" y="21"/>
                </a:lnTo>
                <a:lnTo>
                  <a:pt x="41" y="19"/>
                </a:lnTo>
                <a:lnTo>
                  <a:pt x="42" y="18"/>
                </a:lnTo>
                <a:lnTo>
                  <a:pt x="44" y="18"/>
                </a:lnTo>
                <a:lnTo>
                  <a:pt x="44" y="16"/>
                </a:lnTo>
                <a:lnTo>
                  <a:pt x="46" y="14"/>
                </a:lnTo>
                <a:lnTo>
                  <a:pt x="48" y="15"/>
                </a:lnTo>
                <a:lnTo>
                  <a:pt x="49" y="16"/>
                </a:lnTo>
                <a:lnTo>
                  <a:pt x="49" y="17"/>
                </a:lnTo>
                <a:lnTo>
                  <a:pt x="51" y="16"/>
                </a:lnTo>
                <a:lnTo>
                  <a:pt x="52" y="14"/>
                </a:lnTo>
                <a:lnTo>
                  <a:pt x="52" y="11"/>
                </a:lnTo>
                <a:lnTo>
                  <a:pt x="52" y="9"/>
                </a:lnTo>
                <a:lnTo>
                  <a:pt x="52" y="7"/>
                </a:lnTo>
                <a:lnTo>
                  <a:pt x="53" y="7"/>
                </a:lnTo>
                <a:lnTo>
                  <a:pt x="54" y="7"/>
                </a:lnTo>
                <a:lnTo>
                  <a:pt x="58" y="9"/>
                </a:lnTo>
                <a:lnTo>
                  <a:pt x="60" y="11"/>
                </a:lnTo>
                <a:lnTo>
                  <a:pt x="60" y="13"/>
                </a:lnTo>
                <a:lnTo>
                  <a:pt x="62" y="13"/>
                </a:lnTo>
                <a:lnTo>
                  <a:pt x="63" y="13"/>
                </a:lnTo>
                <a:lnTo>
                  <a:pt x="63" y="10"/>
                </a:lnTo>
                <a:lnTo>
                  <a:pt x="64" y="9"/>
                </a:lnTo>
                <a:lnTo>
                  <a:pt x="63" y="8"/>
                </a:lnTo>
                <a:lnTo>
                  <a:pt x="66" y="8"/>
                </a:lnTo>
                <a:lnTo>
                  <a:pt x="68" y="8"/>
                </a:lnTo>
                <a:lnTo>
                  <a:pt x="69" y="7"/>
                </a:lnTo>
                <a:lnTo>
                  <a:pt x="72" y="6"/>
                </a:lnTo>
                <a:lnTo>
                  <a:pt x="72" y="7"/>
                </a:lnTo>
                <a:lnTo>
                  <a:pt x="72" y="7"/>
                </a:lnTo>
                <a:lnTo>
                  <a:pt x="73" y="8"/>
                </a:lnTo>
                <a:lnTo>
                  <a:pt x="74" y="8"/>
                </a:lnTo>
                <a:lnTo>
                  <a:pt x="74" y="9"/>
                </a:lnTo>
                <a:lnTo>
                  <a:pt x="76" y="10"/>
                </a:lnTo>
                <a:lnTo>
                  <a:pt x="78" y="11"/>
                </a:lnTo>
                <a:lnTo>
                  <a:pt x="78" y="14"/>
                </a:lnTo>
                <a:lnTo>
                  <a:pt x="79" y="15"/>
                </a:lnTo>
                <a:lnTo>
                  <a:pt x="79" y="13"/>
                </a:lnTo>
                <a:lnTo>
                  <a:pt x="80" y="11"/>
                </a:lnTo>
                <a:lnTo>
                  <a:pt x="79" y="10"/>
                </a:lnTo>
                <a:lnTo>
                  <a:pt x="78" y="7"/>
                </a:lnTo>
                <a:lnTo>
                  <a:pt x="78" y="6"/>
                </a:lnTo>
                <a:lnTo>
                  <a:pt x="79" y="6"/>
                </a:lnTo>
                <a:lnTo>
                  <a:pt x="81" y="6"/>
                </a:lnTo>
                <a:lnTo>
                  <a:pt x="83" y="7"/>
                </a:lnTo>
                <a:lnTo>
                  <a:pt x="84" y="9"/>
                </a:lnTo>
                <a:lnTo>
                  <a:pt x="86" y="8"/>
                </a:lnTo>
                <a:lnTo>
                  <a:pt x="88" y="8"/>
                </a:lnTo>
                <a:lnTo>
                  <a:pt x="89" y="7"/>
                </a:lnTo>
                <a:lnTo>
                  <a:pt x="90" y="6"/>
                </a:lnTo>
                <a:lnTo>
                  <a:pt x="92" y="6"/>
                </a:lnTo>
                <a:lnTo>
                  <a:pt x="92" y="7"/>
                </a:lnTo>
                <a:lnTo>
                  <a:pt x="95" y="7"/>
                </a:lnTo>
                <a:lnTo>
                  <a:pt x="97" y="7"/>
                </a:lnTo>
                <a:lnTo>
                  <a:pt x="100" y="6"/>
                </a:lnTo>
                <a:lnTo>
                  <a:pt x="100" y="4"/>
                </a:lnTo>
                <a:lnTo>
                  <a:pt x="100" y="3"/>
                </a:lnTo>
                <a:lnTo>
                  <a:pt x="99" y="2"/>
                </a:lnTo>
                <a:lnTo>
                  <a:pt x="101" y="2"/>
                </a:lnTo>
                <a:lnTo>
                  <a:pt x="103" y="0"/>
                </a:lnTo>
                <a:lnTo>
                  <a:pt x="105" y="0"/>
                </a:lnTo>
                <a:lnTo>
                  <a:pt x="105" y="3"/>
                </a:lnTo>
                <a:lnTo>
                  <a:pt x="107" y="3"/>
                </a:lnTo>
                <a:lnTo>
                  <a:pt x="109" y="4"/>
                </a:lnTo>
                <a:lnTo>
                  <a:pt x="107" y="5"/>
                </a:lnTo>
                <a:lnTo>
                  <a:pt x="111" y="6"/>
                </a:lnTo>
                <a:lnTo>
                  <a:pt x="112" y="6"/>
                </a:lnTo>
                <a:lnTo>
                  <a:pt x="113" y="6"/>
                </a:lnTo>
                <a:lnTo>
                  <a:pt x="113" y="5"/>
                </a:lnTo>
                <a:lnTo>
                  <a:pt x="116" y="5"/>
                </a:lnTo>
                <a:lnTo>
                  <a:pt x="117" y="4"/>
                </a:lnTo>
                <a:lnTo>
                  <a:pt x="119" y="3"/>
                </a:lnTo>
                <a:lnTo>
                  <a:pt x="122" y="3"/>
                </a:lnTo>
                <a:lnTo>
                  <a:pt x="123" y="4"/>
                </a:lnTo>
                <a:lnTo>
                  <a:pt x="120" y="4"/>
                </a:lnTo>
                <a:lnTo>
                  <a:pt x="115" y="7"/>
                </a:lnTo>
                <a:lnTo>
                  <a:pt x="115" y="8"/>
                </a:lnTo>
                <a:lnTo>
                  <a:pt x="116" y="9"/>
                </a:lnTo>
                <a:lnTo>
                  <a:pt x="120" y="8"/>
                </a:lnTo>
                <a:lnTo>
                  <a:pt x="121" y="10"/>
                </a:lnTo>
                <a:lnTo>
                  <a:pt x="119" y="13"/>
                </a:lnTo>
                <a:lnTo>
                  <a:pt x="119" y="14"/>
                </a:lnTo>
                <a:lnTo>
                  <a:pt x="124" y="13"/>
                </a:lnTo>
                <a:lnTo>
                  <a:pt x="124" y="14"/>
                </a:lnTo>
                <a:lnTo>
                  <a:pt x="124" y="15"/>
                </a:lnTo>
                <a:lnTo>
                  <a:pt x="127" y="16"/>
                </a:lnTo>
                <a:lnTo>
                  <a:pt x="129" y="14"/>
                </a:lnTo>
                <a:lnTo>
                  <a:pt x="129" y="15"/>
                </a:lnTo>
                <a:lnTo>
                  <a:pt x="131" y="18"/>
                </a:lnTo>
                <a:lnTo>
                  <a:pt x="131" y="19"/>
                </a:lnTo>
                <a:lnTo>
                  <a:pt x="129" y="20"/>
                </a:lnTo>
                <a:lnTo>
                  <a:pt x="131" y="21"/>
                </a:lnTo>
                <a:lnTo>
                  <a:pt x="132" y="21"/>
                </a:lnTo>
                <a:lnTo>
                  <a:pt x="133" y="21"/>
                </a:lnTo>
                <a:lnTo>
                  <a:pt x="133" y="23"/>
                </a:lnTo>
                <a:lnTo>
                  <a:pt x="132" y="25"/>
                </a:lnTo>
                <a:lnTo>
                  <a:pt x="130" y="25"/>
                </a:lnTo>
                <a:lnTo>
                  <a:pt x="130" y="26"/>
                </a:lnTo>
                <a:lnTo>
                  <a:pt x="129" y="27"/>
                </a:lnTo>
                <a:lnTo>
                  <a:pt x="127" y="28"/>
                </a:lnTo>
                <a:lnTo>
                  <a:pt x="122" y="28"/>
                </a:lnTo>
                <a:lnTo>
                  <a:pt x="122" y="29"/>
                </a:lnTo>
                <a:lnTo>
                  <a:pt x="120" y="29"/>
                </a:lnTo>
                <a:lnTo>
                  <a:pt x="121" y="30"/>
                </a:lnTo>
                <a:lnTo>
                  <a:pt x="120" y="30"/>
                </a:lnTo>
                <a:lnTo>
                  <a:pt x="121" y="30"/>
                </a:lnTo>
                <a:lnTo>
                  <a:pt x="123" y="30"/>
                </a:lnTo>
                <a:lnTo>
                  <a:pt x="121" y="33"/>
                </a:lnTo>
                <a:lnTo>
                  <a:pt x="119" y="35"/>
                </a:lnTo>
                <a:lnTo>
                  <a:pt x="115" y="35"/>
                </a:lnTo>
                <a:lnTo>
                  <a:pt x="114" y="37"/>
                </a:lnTo>
                <a:lnTo>
                  <a:pt x="112" y="36"/>
                </a:lnTo>
                <a:lnTo>
                  <a:pt x="112" y="35"/>
                </a:lnTo>
                <a:lnTo>
                  <a:pt x="111" y="34"/>
                </a:lnTo>
                <a:lnTo>
                  <a:pt x="110" y="34"/>
                </a:lnTo>
                <a:lnTo>
                  <a:pt x="109" y="36"/>
                </a:lnTo>
                <a:lnTo>
                  <a:pt x="105" y="37"/>
                </a:lnTo>
                <a:lnTo>
                  <a:pt x="104" y="38"/>
                </a:lnTo>
                <a:lnTo>
                  <a:pt x="100" y="40"/>
                </a:lnTo>
                <a:lnTo>
                  <a:pt x="96" y="41"/>
                </a:lnTo>
                <a:lnTo>
                  <a:pt x="93" y="43"/>
                </a:lnTo>
                <a:lnTo>
                  <a:pt x="90" y="43"/>
                </a:lnTo>
                <a:lnTo>
                  <a:pt x="88" y="43"/>
                </a:lnTo>
                <a:lnTo>
                  <a:pt x="88" y="43"/>
                </a:lnTo>
                <a:lnTo>
                  <a:pt x="85" y="43"/>
                </a:lnTo>
                <a:lnTo>
                  <a:pt x="85" y="44"/>
                </a:lnTo>
                <a:lnTo>
                  <a:pt x="84" y="45"/>
                </a:lnTo>
                <a:lnTo>
                  <a:pt x="81" y="45"/>
                </a:lnTo>
                <a:lnTo>
                  <a:pt x="74" y="49"/>
                </a:lnTo>
                <a:lnTo>
                  <a:pt x="69" y="50"/>
                </a:lnTo>
                <a:lnTo>
                  <a:pt x="66" y="51"/>
                </a:lnTo>
                <a:lnTo>
                  <a:pt x="63" y="50"/>
                </a:lnTo>
                <a:lnTo>
                  <a:pt x="62" y="51"/>
                </a:lnTo>
                <a:lnTo>
                  <a:pt x="59" y="49"/>
                </a:lnTo>
                <a:lnTo>
                  <a:pt x="56" y="49"/>
                </a:lnTo>
                <a:lnTo>
                  <a:pt x="53" y="48"/>
                </a:lnTo>
                <a:lnTo>
                  <a:pt x="50" y="48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65" name="Freeform 264"/>
          <p:cNvSpPr>
            <a:spLocks/>
          </p:cNvSpPr>
          <p:nvPr/>
        </p:nvSpPr>
        <p:spPr bwMode="auto">
          <a:xfrm>
            <a:off x="5935663" y="2393916"/>
            <a:ext cx="195262" cy="125413"/>
          </a:xfrm>
          <a:custGeom>
            <a:avLst/>
            <a:gdLst>
              <a:gd name="T0" fmla="*/ 23 w 123"/>
              <a:gd name="T1" fmla="*/ 73 h 79"/>
              <a:gd name="T2" fmla="*/ 30 w 123"/>
              <a:gd name="T3" fmla="*/ 69 h 79"/>
              <a:gd name="T4" fmla="*/ 33 w 123"/>
              <a:gd name="T5" fmla="*/ 68 h 79"/>
              <a:gd name="T6" fmla="*/ 41 w 123"/>
              <a:gd name="T7" fmla="*/ 69 h 79"/>
              <a:gd name="T8" fmla="*/ 40 w 123"/>
              <a:gd name="T9" fmla="*/ 62 h 79"/>
              <a:gd name="T10" fmla="*/ 48 w 123"/>
              <a:gd name="T11" fmla="*/ 64 h 79"/>
              <a:gd name="T12" fmla="*/ 51 w 123"/>
              <a:gd name="T13" fmla="*/ 61 h 79"/>
              <a:gd name="T14" fmla="*/ 52 w 123"/>
              <a:gd name="T15" fmla="*/ 49 h 79"/>
              <a:gd name="T16" fmla="*/ 55 w 123"/>
              <a:gd name="T17" fmla="*/ 47 h 79"/>
              <a:gd name="T18" fmla="*/ 64 w 123"/>
              <a:gd name="T19" fmla="*/ 52 h 79"/>
              <a:gd name="T20" fmla="*/ 67 w 123"/>
              <a:gd name="T21" fmla="*/ 57 h 79"/>
              <a:gd name="T22" fmla="*/ 70 w 123"/>
              <a:gd name="T23" fmla="*/ 58 h 79"/>
              <a:gd name="T24" fmla="*/ 70 w 123"/>
              <a:gd name="T25" fmla="*/ 64 h 79"/>
              <a:gd name="T26" fmla="*/ 72 w 123"/>
              <a:gd name="T27" fmla="*/ 73 h 79"/>
              <a:gd name="T28" fmla="*/ 79 w 123"/>
              <a:gd name="T29" fmla="*/ 79 h 79"/>
              <a:gd name="T30" fmla="*/ 91 w 123"/>
              <a:gd name="T31" fmla="*/ 73 h 79"/>
              <a:gd name="T32" fmla="*/ 94 w 123"/>
              <a:gd name="T33" fmla="*/ 68 h 79"/>
              <a:gd name="T34" fmla="*/ 100 w 123"/>
              <a:gd name="T35" fmla="*/ 65 h 79"/>
              <a:gd name="T36" fmla="*/ 104 w 123"/>
              <a:gd name="T37" fmla="*/ 66 h 79"/>
              <a:gd name="T38" fmla="*/ 109 w 123"/>
              <a:gd name="T39" fmla="*/ 67 h 79"/>
              <a:gd name="T40" fmla="*/ 115 w 123"/>
              <a:gd name="T41" fmla="*/ 66 h 79"/>
              <a:gd name="T42" fmla="*/ 122 w 123"/>
              <a:gd name="T43" fmla="*/ 68 h 79"/>
              <a:gd name="T44" fmla="*/ 123 w 123"/>
              <a:gd name="T45" fmla="*/ 69 h 79"/>
              <a:gd name="T46" fmla="*/ 112 w 123"/>
              <a:gd name="T47" fmla="*/ 45 h 79"/>
              <a:gd name="T48" fmla="*/ 95 w 123"/>
              <a:gd name="T49" fmla="*/ 41 h 79"/>
              <a:gd name="T50" fmla="*/ 89 w 123"/>
              <a:gd name="T51" fmla="*/ 26 h 79"/>
              <a:gd name="T52" fmla="*/ 80 w 123"/>
              <a:gd name="T53" fmla="*/ 30 h 79"/>
              <a:gd name="T54" fmla="*/ 65 w 123"/>
              <a:gd name="T55" fmla="*/ 32 h 79"/>
              <a:gd name="T56" fmla="*/ 51 w 123"/>
              <a:gd name="T57" fmla="*/ 28 h 79"/>
              <a:gd name="T58" fmla="*/ 42 w 123"/>
              <a:gd name="T59" fmla="*/ 26 h 79"/>
              <a:gd name="T60" fmla="*/ 28 w 123"/>
              <a:gd name="T61" fmla="*/ 26 h 79"/>
              <a:gd name="T62" fmla="*/ 28 w 123"/>
              <a:gd name="T63" fmla="*/ 17 h 79"/>
              <a:gd name="T64" fmla="*/ 39 w 123"/>
              <a:gd name="T65" fmla="*/ 16 h 79"/>
              <a:gd name="T66" fmla="*/ 48 w 123"/>
              <a:gd name="T67" fmla="*/ 15 h 79"/>
              <a:gd name="T68" fmla="*/ 43 w 123"/>
              <a:gd name="T69" fmla="*/ 14 h 79"/>
              <a:gd name="T70" fmla="*/ 42 w 123"/>
              <a:gd name="T71" fmla="*/ 6 h 79"/>
              <a:gd name="T72" fmla="*/ 39 w 123"/>
              <a:gd name="T73" fmla="*/ 0 h 79"/>
              <a:gd name="T74" fmla="*/ 31 w 123"/>
              <a:gd name="T75" fmla="*/ 4 h 79"/>
              <a:gd name="T76" fmla="*/ 22 w 123"/>
              <a:gd name="T77" fmla="*/ 6 h 79"/>
              <a:gd name="T78" fmla="*/ 23 w 123"/>
              <a:gd name="T79" fmla="*/ 13 h 79"/>
              <a:gd name="T80" fmla="*/ 17 w 123"/>
              <a:gd name="T81" fmla="*/ 18 h 79"/>
              <a:gd name="T82" fmla="*/ 10 w 123"/>
              <a:gd name="T83" fmla="*/ 26 h 79"/>
              <a:gd name="T84" fmla="*/ 1 w 123"/>
              <a:gd name="T85" fmla="*/ 26 h 79"/>
              <a:gd name="T86" fmla="*/ 2 w 123"/>
              <a:gd name="T87" fmla="*/ 33 h 79"/>
              <a:gd name="T88" fmla="*/ 10 w 123"/>
              <a:gd name="T89" fmla="*/ 35 h 79"/>
              <a:gd name="T90" fmla="*/ 13 w 123"/>
              <a:gd name="T91" fmla="*/ 43 h 79"/>
              <a:gd name="T92" fmla="*/ 20 w 123"/>
              <a:gd name="T93" fmla="*/ 52 h 79"/>
              <a:gd name="T94" fmla="*/ 17 w 123"/>
              <a:gd name="T95" fmla="*/ 57 h 79"/>
              <a:gd name="T96" fmla="*/ 15 w 123"/>
              <a:gd name="T97" fmla="*/ 67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23" h="79">
                <a:moveTo>
                  <a:pt x="14" y="68"/>
                </a:moveTo>
                <a:lnTo>
                  <a:pt x="17" y="69"/>
                </a:lnTo>
                <a:lnTo>
                  <a:pt x="21" y="74"/>
                </a:lnTo>
                <a:lnTo>
                  <a:pt x="23" y="73"/>
                </a:lnTo>
                <a:lnTo>
                  <a:pt x="24" y="73"/>
                </a:lnTo>
                <a:lnTo>
                  <a:pt x="24" y="72"/>
                </a:lnTo>
                <a:lnTo>
                  <a:pt x="28" y="69"/>
                </a:lnTo>
                <a:lnTo>
                  <a:pt x="30" y="69"/>
                </a:lnTo>
                <a:lnTo>
                  <a:pt x="31" y="69"/>
                </a:lnTo>
                <a:lnTo>
                  <a:pt x="31" y="68"/>
                </a:lnTo>
                <a:lnTo>
                  <a:pt x="32" y="68"/>
                </a:lnTo>
                <a:lnTo>
                  <a:pt x="33" y="68"/>
                </a:lnTo>
                <a:lnTo>
                  <a:pt x="35" y="69"/>
                </a:lnTo>
                <a:lnTo>
                  <a:pt x="40" y="71"/>
                </a:lnTo>
                <a:lnTo>
                  <a:pt x="40" y="71"/>
                </a:lnTo>
                <a:lnTo>
                  <a:pt x="41" y="69"/>
                </a:lnTo>
                <a:lnTo>
                  <a:pt x="40" y="68"/>
                </a:lnTo>
                <a:lnTo>
                  <a:pt x="39" y="67"/>
                </a:lnTo>
                <a:lnTo>
                  <a:pt x="39" y="65"/>
                </a:lnTo>
                <a:lnTo>
                  <a:pt x="40" y="62"/>
                </a:lnTo>
                <a:lnTo>
                  <a:pt x="41" y="62"/>
                </a:lnTo>
                <a:lnTo>
                  <a:pt x="43" y="63"/>
                </a:lnTo>
                <a:lnTo>
                  <a:pt x="45" y="62"/>
                </a:lnTo>
                <a:lnTo>
                  <a:pt x="48" y="64"/>
                </a:lnTo>
                <a:lnTo>
                  <a:pt x="49" y="64"/>
                </a:lnTo>
                <a:lnTo>
                  <a:pt x="50" y="64"/>
                </a:lnTo>
                <a:lnTo>
                  <a:pt x="51" y="62"/>
                </a:lnTo>
                <a:lnTo>
                  <a:pt x="51" y="61"/>
                </a:lnTo>
                <a:lnTo>
                  <a:pt x="49" y="58"/>
                </a:lnTo>
                <a:lnTo>
                  <a:pt x="49" y="57"/>
                </a:lnTo>
                <a:lnTo>
                  <a:pt x="51" y="54"/>
                </a:lnTo>
                <a:lnTo>
                  <a:pt x="52" y="49"/>
                </a:lnTo>
                <a:lnTo>
                  <a:pt x="53" y="49"/>
                </a:lnTo>
                <a:lnTo>
                  <a:pt x="53" y="47"/>
                </a:lnTo>
                <a:lnTo>
                  <a:pt x="54" y="47"/>
                </a:lnTo>
                <a:lnTo>
                  <a:pt x="55" y="47"/>
                </a:lnTo>
                <a:lnTo>
                  <a:pt x="57" y="46"/>
                </a:lnTo>
                <a:lnTo>
                  <a:pt x="60" y="47"/>
                </a:lnTo>
                <a:lnTo>
                  <a:pt x="64" y="51"/>
                </a:lnTo>
                <a:lnTo>
                  <a:pt x="64" y="52"/>
                </a:lnTo>
                <a:lnTo>
                  <a:pt x="64" y="54"/>
                </a:lnTo>
                <a:lnTo>
                  <a:pt x="64" y="55"/>
                </a:lnTo>
                <a:lnTo>
                  <a:pt x="64" y="56"/>
                </a:lnTo>
                <a:lnTo>
                  <a:pt x="67" y="57"/>
                </a:lnTo>
                <a:lnTo>
                  <a:pt x="68" y="56"/>
                </a:lnTo>
                <a:lnTo>
                  <a:pt x="69" y="57"/>
                </a:lnTo>
                <a:lnTo>
                  <a:pt x="69" y="57"/>
                </a:lnTo>
                <a:lnTo>
                  <a:pt x="70" y="58"/>
                </a:lnTo>
                <a:lnTo>
                  <a:pt x="69" y="58"/>
                </a:lnTo>
                <a:lnTo>
                  <a:pt x="69" y="61"/>
                </a:lnTo>
                <a:lnTo>
                  <a:pt x="70" y="63"/>
                </a:lnTo>
                <a:lnTo>
                  <a:pt x="70" y="64"/>
                </a:lnTo>
                <a:lnTo>
                  <a:pt x="70" y="66"/>
                </a:lnTo>
                <a:lnTo>
                  <a:pt x="71" y="68"/>
                </a:lnTo>
                <a:lnTo>
                  <a:pt x="71" y="71"/>
                </a:lnTo>
                <a:lnTo>
                  <a:pt x="72" y="73"/>
                </a:lnTo>
                <a:lnTo>
                  <a:pt x="74" y="76"/>
                </a:lnTo>
                <a:lnTo>
                  <a:pt x="77" y="78"/>
                </a:lnTo>
                <a:lnTo>
                  <a:pt x="77" y="79"/>
                </a:lnTo>
                <a:lnTo>
                  <a:pt x="79" y="79"/>
                </a:lnTo>
                <a:lnTo>
                  <a:pt x="80" y="79"/>
                </a:lnTo>
                <a:lnTo>
                  <a:pt x="82" y="77"/>
                </a:lnTo>
                <a:lnTo>
                  <a:pt x="85" y="74"/>
                </a:lnTo>
                <a:lnTo>
                  <a:pt x="91" y="73"/>
                </a:lnTo>
                <a:lnTo>
                  <a:pt x="91" y="73"/>
                </a:lnTo>
                <a:lnTo>
                  <a:pt x="92" y="71"/>
                </a:lnTo>
                <a:lnTo>
                  <a:pt x="93" y="69"/>
                </a:lnTo>
                <a:lnTo>
                  <a:pt x="94" y="68"/>
                </a:lnTo>
                <a:lnTo>
                  <a:pt x="95" y="68"/>
                </a:lnTo>
                <a:lnTo>
                  <a:pt x="96" y="67"/>
                </a:lnTo>
                <a:lnTo>
                  <a:pt x="99" y="66"/>
                </a:lnTo>
                <a:lnTo>
                  <a:pt x="100" y="65"/>
                </a:lnTo>
                <a:lnTo>
                  <a:pt x="101" y="65"/>
                </a:lnTo>
                <a:lnTo>
                  <a:pt x="102" y="66"/>
                </a:lnTo>
                <a:lnTo>
                  <a:pt x="103" y="66"/>
                </a:lnTo>
                <a:lnTo>
                  <a:pt x="104" y="66"/>
                </a:lnTo>
                <a:lnTo>
                  <a:pt x="105" y="68"/>
                </a:lnTo>
                <a:lnTo>
                  <a:pt x="106" y="69"/>
                </a:lnTo>
                <a:lnTo>
                  <a:pt x="108" y="69"/>
                </a:lnTo>
                <a:lnTo>
                  <a:pt x="109" y="67"/>
                </a:lnTo>
                <a:lnTo>
                  <a:pt x="109" y="68"/>
                </a:lnTo>
                <a:lnTo>
                  <a:pt x="110" y="68"/>
                </a:lnTo>
                <a:lnTo>
                  <a:pt x="112" y="66"/>
                </a:lnTo>
                <a:lnTo>
                  <a:pt x="115" y="66"/>
                </a:lnTo>
                <a:lnTo>
                  <a:pt x="118" y="66"/>
                </a:lnTo>
                <a:lnTo>
                  <a:pt x="119" y="67"/>
                </a:lnTo>
                <a:lnTo>
                  <a:pt x="121" y="67"/>
                </a:lnTo>
                <a:lnTo>
                  <a:pt x="122" y="68"/>
                </a:lnTo>
                <a:lnTo>
                  <a:pt x="122" y="68"/>
                </a:lnTo>
                <a:lnTo>
                  <a:pt x="121" y="68"/>
                </a:lnTo>
                <a:lnTo>
                  <a:pt x="123" y="69"/>
                </a:lnTo>
                <a:lnTo>
                  <a:pt x="123" y="69"/>
                </a:lnTo>
                <a:lnTo>
                  <a:pt x="121" y="59"/>
                </a:lnTo>
                <a:lnTo>
                  <a:pt x="116" y="54"/>
                </a:lnTo>
                <a:lnTo>
                  <a:pt x="115" y="48"/>
                </a:lnTo>
                <a:lnTo>
                  <a:pt x="112" y="45"/>
                </a:lnTo>
                <a:lnTo>
                  <a:pt x="108" y="45"/>
                </a:lnTo>
                <a:lnTo>
                  <a:pt x="102" y="46"/>
                </a:lnTo>
                <a:lnTo>
                  <a:pt x="99" y="45"/>
                </a:lnTo>
                <a:lnTo>
                  <a:pt x="95" y="41"/>
                </a:lnTo>
                <a:lnTo>
                  <a:pt x="94" y="35"/>
                </a:lnTo>
                <a:lnTo>
                  <a:pt x="94" y="26"/>
                </a:lnTo>
                <a:lnTo>
                  <a:pt x="94" y="26"/>
                </a:lnTo>
                <a:lnTo>
                  <a:pt x="89" y="26"/>
                </a:lnTo>
                <a:lnTo>
                  <a:pt x="90" y="30"/>
                </a:lnTo>
                <a:lnTo>
                  <a:pt x="87" y="30"/>
                </a:lnTo>
                <a:lnTo>
                  <a:pt x="84" y="30"/>
                </a:lnTo>
                <a:lnTo>
                  <a:pt x="80" y="30"/>
                </a:lnTo>
                <a:lnTo>
                  <a:pt x="75" y="30"/>
                </a:lnTo>
                <a:lnTo>
                  <a:pt x="72" y="32"/>
                </a:lnTo>
                <a:lnTo>
                  <a:pt x="70" y="31"/>
                </a:lnTo>
                <a:lnTo>
                  <a:pt x="65" y="32"/>
                </a:lnTo>
                <a:lnTo>
                  <a:pt x="63" y="27"/>
                </a:lnTo>
                <a:lnTo>
                  <a:pt x="61" y="27"/>
                </a:lnTo>
                <a:lnTo>
                  <a:pt x="59" y="26"/>
                </a:lnTo>
                <a:lnTo>
                  <a:pt x="51" y="28"/>
                </a:lnTo>
                <a:lnTo>
                  <a:pt x="49" y="28"/>
                </a:lnTo>
                <a:lnTo>
                  <a:pt x="48" y="26"/>
                </a:lnTo>
                <a:lnTo>
                  <a:pt x="45" y="26"/>
                </a:lnTo>
                <a:lnTo>
                  <a:pt x="42" y="26"/>
                </a:lnTo>
                <a:lnTo>
                  <a:pt x="37" y="27"/>
                </a:lnTo>
                <a:lnTo>
                  <a:pt x="32" y="26"/>
                </a:lnTo>
                <a:lnTo>
                  <a:pt x="30" y="26"/>
                </a:lnTo>
                <a:lnTo>
                  <a:pt x="28" y="26"/>
                </a:lnTo>
                <a:lnTo>
                  <a:pt x="27" y="25"/>
                </a:lnTo>
                <a:lnTo>
                  <a:pt x="24" y="21"/>
                </a:lnTo>
                <a:lnTo>
                  <a:pt x="24" y="18"/>
                </a:lnTo>
                <a:lnTo>
                  <a:pt x="28" y="17"/>
                </a:lnTo>
                <a:lnTo>
                  <a:pt x="30" y="16"/>
                </a:lnTo>
                <a:lnTo>
                  <a:pt x="32" y="16"/>
                </a:lnTo>
                <a:lnTo>
                  <a:pt x="37" y="16"/>
                </a:lnTo>
                <a:lnTo>
                  <a:pt x="39" y="16"/>
                </a:lnTo>
                <a:lnTo>
                  <a:pt x="43" y="18"/>
                </a:lnTo>
                <a:lnTo>
                  <a:pt x="44" y="18"/>
                </a:lnTo>
                <a:lnTo>
                  <a:pt x="45" y="16"/>
                </a:lnTo>
                <a:lnTo>
                  <a:pt x="48" y="15"/>
                </a:lnTo>
                <a:lnTo>
                  <a:pt x="48" y="13"/>
                </a:lnTo>
                <a:lnTo>
                  <a:pt x="47" y="13"/>
                </a:lnTo>
                <a:lnTo>
                  <a:pt x="44" y="14"/>
                </a:lnTo>
                <a:lnTo>
                  <a:pt x="43" y="14"/>
                </a:lnTo>
                <a:lnTo>
                  <a:pt x="41" y="13"/>
                </a:lnTo>
                <a:lnTo>
                  <a:pt x="39" y="8"/>
                </a:lnTo>
                <a:lnTo>
                  <a:pt x="40" y="7"/>
                </a:lnTo>
                <a:lnTo>
                  <a:pt x="42" y="6"/>
                </a:lnTo>
                <a:lnTo>
                  <a:pt x="42" y="5"/>
                </a:lnTo>
                <a:lnTo>
                  <a:pt x="41" y="3"/>
                </a:lnTo>
                <a:lnTo>
                  <a:pt x="40" y="2"/>
                </a:lnTo>
                <a:lnTo>
                  <a:pt x="39" y="0"/>
                </a:lnTo>
                <a:lnTo>
                  <a:pt x="37" y="0"/>
                </a:lnTo>
                <a:lnTo>
                  <a:pt x="35" y="1"/>
                </a:lnTo>
                <a:lnTo>
                  <a:pt x="34" y="2"/>
                </a:lnTo>
                <a:lnTo>
                  <a:pt x="31" y="4"/>
                </a:lnTo>
                <a:lnTo>
                  <a:pt x="29" y="6"/>
                </a:lnTo>
                <a:lnTo>
                  <a:pt x="27" y="6"/>
                </a:lnTo>
                <a:lnTo>
                  <a:pt x="24" y="5"/>
                </a:lnTo>
                <a:lnTo>
                  <a:pt x="22" y="6"/>
                </a:lnTo>
                <a:lnTo>
                  <a:pt x="23" y="8"/>
                </a:lnTo>
                <a:lnTo>
                  <a:pt x="21" y="10"/>
                </a:lnTo>
                <a:lnTo>
                  <a:pt x="23" y="11"/>
                </a:lnTo>
                <a:lnTo>
                  <a:pt x="23" y="13"/>
                </a:lnTo>
                <a:lnTo>
                  <a:pt x="23" y="15"/>
                </a:lnTo>
                <a:lnTo>
                  <a:pt x="22" y="16"/>
                </a:lnTo>
                <a:lnTo>
                  <a:pt x="18" y="17"/>
                </a:lnTo>
                <a:lnTo>
                  <a:pt x="17" y="18"/>
                </a:lnTo>
                <a:lnTo>
                  <a:pt x="17" y="20"/>
                </a:lnTo>
                <a:lnTo>
                  <a:pt x="15" y="25"/>
                </a:lnTo>
                <a:lnTo>
                  <a:pt x="13" y="26"/>
                </a:lnTo>
                <a:lnTo>
                  <a:pt x="10" y="26"/>
                </a:lnTo>
                <a:lnTo>
                  <a:pt x="7" y="26"/>
                </a:lnTo>
                <a:lnTo>
                  <a:pt x="6" y="25"/>
                </a:lnTo>
                <a:lnTo>
                  <a:pt x="3" y="25"/>
                </a:lnTo>
                <a:lnTo>
                  <a:pt x="1" y="26"/>
                </a:lnTo>
                <a:lnTo>
                  <a:pt x="0" y="27"/>
                </a:lnTo>
                <a:lnTo>
                  <a:pt x="1" y="30"/>
                </a:lnTo>
                <a:lnTo>
                  <a:pt x="0" y="31"/>
                </a:lnTo>
                <a:lnTo>
                  <a:pt x="2" y="33"/>
                </a:lnTo>
                <a:lnTo>
                  <a:pt x="4" y="34"/>
                </a:lnTo>
                <a:lnTo>
                  <a:pt x="6" y="35"/>
                </a:lnTo>
                <a:lnTo>
                  <a:pt x="8" y="36"/>
                </a:lnTo>
                <a:lnTo>
                  <a:pt x="10" y="35"/>
                </a:lnTo>
                <a:lnTo>
                  <a:pt x="12" y="36"/>
                </a:lnTo>
                <a:lnTo>
                  <a:pt x="13" y="38"/>
                </a:lnTo>
                <a:lnTo>
                  <a:pt x="13" y="41"/>
                </a:lnTo>
                <a:lnTo>
                  <a:pt x="13" y="43"/>
                </a:lnTo>
                <a:lnTo>
                  <a:pt x="15" y="46"/>
                </a:lnTo>
                <a:lnTo>
                  <a:pt x="17" y="48"/>
                </a:lnTo>
                <a:lnTo>
                  <a:pt x="19" y="49"/>
                </a:lnTo>
                <a:lnTo>
                  <a:pt x="20" y="52"/>
                </a:lnTo>
                <a:lnTo>
                  <a:pt x="20" y="53"/>
                </a:lnTo>
                <a:lnTo>
                  <a:pt x="19" y="55"/>
                </a:lnTo>
                <a:lnTo>
                  <a:pt x="18" y="56"/>
                </a:lnTo>
                <a:lnTo>
                  <a:pt x="17" y="57"/>
                </a:lnTo>
                <a:lnTo>
                  <a:pt x="15" y="61"/>
                </a:lnTo>
                <a:lnTo>
                  <a:pt x="14" y="64"/>
                </a:lnTo>
                <a:lnTo>
                  <a:pt x="15" y="66"/>
                </a:lnTo>
                <a:lnTo>
                  <a:pt x="15" y="67"/>
                </a:lnTo>
                <a:lnTo>
                  <a:pt x="14" y="68"/>
                </a:lnTo>
                <a:lnTo>
                  <a:pt x="14" y="68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66" name="Freeform 265"/>
          <p:cNvSpPr>
            <a:spLocks/>
          </p:cNvSpPr>
          <p:nvPr/>
        </p:nvSpPr>
        <p:spPr bwMode="auto">
          <a:xfrm>
            <a:off x="5935663" y="2393916"/>
            <a:ext cx="195262" cy="125413"/>
          </a:xfrm>
          <a:custGeom>
            <a:avLst/>
            <a:gdLst>
              <a:gd name="T0" fmla="*/ 23 w 123"/>
              <a:gd name="T1" fmla="*/ 73 h 79"/>
              <a:gd name="T2" fmla="*/ 30 w 123"/>
              <a:gd name="T3" fmla="*/ 69 h 79"/>
              <a:gd name="T4" fmla="*/ 33 w 123"/>
              <a:gd name="T5" fmla="*/ 68 h 79"/>
              <a:gd name="T6" fmla="*/ 41 w 123"/>
              <a:gd name="T7" fmla="*/ 69 h 79"/>
              <a:gd name="T8" fmla="*/ 40 w 123"/>
              <a:gd name="T9" fmla="*/ 62 h 79"/>
              <a:gd name="T10" fmla="*/ 48 w 123"/>
              <a:gd name="T11" fmla="*/ 64 h 79"/>
              <a:gd name="T12" fmla="*/ 51 w 123"/>
              <a:gd name="T13" fmla="*/ 61 h 79"/>
              <a:gd name="T14" fmla="*/ 52 w 123"/>
              <a:gd name="T15" fmla="*/ 49 h 79"/>
              <a:gd name="T16" fmla="*/ 55 w 123"/>
              <a:gd name="T17" fmla="*/ 47 h 79"/>
              <a:gd name="T18" fmla="*/ 64 w 123"/>
              <a:gd name="T19" fmla="*/ 52 h 79"/>
              <a:gd name="T20" fmla="*/ 67 w 123"/>
              <a:gd name="T21" fmla="*/ 57 h 79"/>
              <a:gd name="T22" fmla="*/ 70 w 123"/>
              <a:gd name="T23" fmla="*/ 58 h 79"/>
              <a:gd name="T24" fmla="*/ 70 w 123"/>
              <a:gd name="T25" fmla="*/ 64 h 79"/>
              <a:gd name="T26" fmla="*/ 72 w 123"/>
              <a:gd name="T27" fmla="*/ 73 h 79"/>
              <a:gd name="T28" fmla="*/ 79 w 123"/>
              <a:gd name="T29" fmla="*/ 79 h 79"/>
              <a:gd name="T30" fmla="*/ 91 w 123"/>
              <a:gd name="T31" fmla="*/ 73 h 79"/>
              <a:gd name="T32" fmla="*/ 94 w 123"/>
              <a:gd name="T33" fmla="*/ 68 h 79"/>
              <a:gd name="T34" fmla="*/ 100 w 123"/>
              <a:gd name="T35" fmla="*/ 65 h 79"/>
              <a:gd name="T36" fmla="*/ 104 w 123"/>
              <a:gd name="T37" fmla="*/ 66 h 79"/>
              <a:gd name="T38" fmla="*/ 109 w 123"/>
              <a:gd name="T39" fmla="*/ 67 h 79"/>
              <a:gd name="T40" fmla="*/ 115 w 123"/>
              <a:gd name="T41" fmla="*/ 66 h 79"/>
              <a:gd name="T42" fmla="*/ 122 w 123"/>
              <a:gd name="T43" fmla="*/ 68 h 79"/>
              <a:gd name="T44" fmla="*/ 123 w 123"/>
              <a:gd name="T45" fmla="*/ 69 h 79"/>
              <a:gd name="T46" fmla="*/ 112 w 123"/>
              <a:gd name="T47" fmla="*/ 45 h 79"/>
              <a:gd name="T48" fmla="*/ 95 w 123"/>
              <a:gd name="T49" fmla="*/ 41 h 79"/>
              <a:gd name="T50" fmla="*/ 89 w 123"/>
              <a:gd name="T51" fmla="*/ 26 h 79"/>
              <a:gd name="T52" fmla="*/ 80 w 123"/>
              <a:gd name="T53" fmla="*/ 30 h 79"/>
              <a:gd name="T54" fmla="*/ 65 w 123"/>
              <a:gd name="T55" fmla="*/ 32 h 79"/>
              <a:gd name="T56" fmla="*/ 51 w 123"/>
              <a:gd name="T57" fmla="*/ 28 h 79"/>
              <a:gd name="T58" fmla="*/ 42 w 123"/>
              <a:gd name="T59" fmla="*/ 26 h 79"/>
              <a:gd name="T60" fmla="*/ 28 w 123"/>
              <a:gd name="T61" fmla="*/ 26 h 79"/>
              <a:gd name="T62" fmla="*/ 28 w 123"/>
              <a:gd name="T63" fmla="*/ 17 h 79"/>
              <a:gd name="T64" fmla="*/ 39 w 123"/>
              <a:gd name="T65" fmla="*/ 16 h 79"/>
              <a:gd name="T66" fmla="*/ 48 w 123"/>
              <a:gd name="T67" fmla="*/ 15 h 79"/>
              <a:gd name="T68" fmla="*/ 43 w 123"/>
              <a:gd name="T69" fmla="*/ 14 h 79"/>
              <a:gd name="T70" fmla="*/ 42 w 123"/>
              <a:gd name="T71" fmla="*/ 6 h 79"/>
              <a:gd name="T72" fmla="*/ 39 w 123"/>
              <a:gd name="T73" fmla="*/ 0 h 79"/>
              <a:gd name="T74" fmla="*/ 31 w 123"/>
              <a:gd name="T75" fmla="*/ 4 h 79"/>
              <a:gd name="T76" fmla="*/ 22 w 123"/>
              <a:gd name="T77" fmla="*/ 6 h 79"/>
              <a:gd name="T78" fmla="*/ 23 w 123"/>
              <a:gd name="T79" fmla="*/ 13 h 79"/>
              <a:gd name="T80" fmla="*/ 17 w 123"/>
              <a:gd name="T81" fmla="*/ 18 h 79"/>
              <a:gd name="T82" fmla="*/ 10 w 123"/>
              <a:gd name="T83" fmla="*/ 26 h 79"/>
              <a:gd name="T84" fmla="*/ 1 w 123"/>
              <a:gd name="T85" fmla="*/ 26 h 79"/>
              <a:gd name="T86" fmla="*/ 2 w 123"/>
              <a:gd name="T87" fmla="*/ 33 h 79"/>
              <a:gd name="T88" fmla="*/ 10 w 123"/>
              <a:gd name="T89" fmla="*/ 35 h 79"/>
              <a:gd name="T90" fmla="*/ 13 w 123"/>
              <a:gd name="T91" fmla="*/ 43 h 79"/>
              <a:gd name="T92" fmla="*/ 20 w 123"/>
              <a:gd name="T93" fmla="*/ 52 h 79"/>
              <a:gd name="T94" fmla="*/ 17 w 123"/>
              <a:gd name="T95" fmla="*/ 57 h 79"/>
              <a:gd name="T96" fmla="*/ 15 w 123"/>
              <a:gd name="T97" fmla="*/ 67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23" h="79">
                <a:moveTo>
                  <a:pt x="14" y="68"/>
                </a:moveTo>
                <a:lnTo>
                  <a:pt x="17" y="69"/>
                </a:lnTo>
                <a:lnTo>
                  <a:pt x="21" y="74"/>
                </a:lnTo>
                <a:lnTo>
                  <a:pt x="23" y="73"/>
                </a:lnTo>
                <a:lnTo>
                  <a:pt x="24" y="73"/>
                </a:lnTo>
                <a:lnTo>
                  <a:pt x="24" y="72"/>
                </a:lnTo>
                <a:lnTo>
                  <a:pt x="28" y="69"/>
                </a:lnTo>
                <a:lnTo>
                  <a:pt x="30" y="69"/>
                </a:lnTo>
                <a:lnTo>
                  <a:pt x="31" y="69"/>
                </a:lnTo>
                <a:lnTo>
                  <a:pt x="31" y="68"/>
                </a:lnTo>
                <a:lnTo>
                  <a:pt x="32" y="68"/>
                </a:lnTo>
                <a:lnTo>
                  <a:pt x="33" y="68"/>
                </a:lnTo>
                <a:lnTo>
                  <a:pt x="35" y="69"/>
                </a:lnTo>
                <a:lnTo>
                  <a:pt x="40" y="71"/>
                </a:lnTo>
                <a:lnTo>
                  <a:pt x="40" y="71"/>
                </a:lnTo>
                <a:lnTo>
                  <a:pt x="41" y="69"/>
                </a:lnTo>
                <a:lnTo>
                  <a:pt x="40" y="68"/>
                </a:lnTo>
                <a:lnTo>
                  <a:pt x="39" y="67"/>
                </a:lnTo>
                <a:lnTo>
                  <a:pt x="39" y="65"/>
                </a:lnTo>
                <a:lnTo>
                  <a:pt x="40" y="62"/>
                </a:lnTo>
                <a:lnTo>
                  <a:pt x="41" y="62"/>
                </a:lnTo>
                <a:lnTo>
                  <a:pt x="43" y="63"/>
                </a:lnTo>
                <a:lnTo>
                  <a:pt x="45" y="62"/>
                </a:lnTo>
                <a:lnTo>
                  <a:pt x="48" y="64"/>
                </a:lnTo>
                <a:lnTo>
                  <a:pt x="49" y="64"/>
                </a:lnTo>
                <a:lnTo>
                  <a:pt x="50" y="64"/>
                </a:lnTo>
                <a:lnTo>
                  <a:pt x="51" y="62"/>
                </a:lnTo>
                <a:lnTo>
                  <a:pt x="51" y="61"/>
                </a:lnTo>
                <a:lnTo>
                  <a:pt x="49" y="58"/>
                </a:lnTo>
                <a:lnTo>
                  <a:pt x="49" y="57"/>
                </a:lnTo>
                <a:lnTo>
                  <a:pt x="51" y="54"/>
                </a:lnTo>
                <a:lnTo>
                  <a:pt x="52" y="49"/>
                </a:lnTo>
                <a:lnTo>
                  <a:pt x="53" y="49"/>
                </a:lnTo>
                <a:lnTo>
                  <a:pt x="53" y="47"/>
                </a:lnTo>
                <a:lnTo>
                  <a:pt x="54" y="47"/>
                </a:lnTo>
                <a:lnTo>
                  <a:pt x="55" y="47"/>
                </a:lnTo>
                <a:lnTo>
                  <a:pt x="57" y="46"/>
                </a:lnTo>
                <a:lnTo>
                  <a:pt x="60" y="47"/>
                </a:lnTo>
                <a:lnTo>
                  <a:pt x="64" y="51"/>
                </a:lnTo>
                <a:lnTo>
                  <a:pt x="64" y="52"/>
                </a:lnTo>
                <a:lnTo>
                  <a:pt x="64" y="54"/>
                </a:lnTo>
                <a:lnTo>
                  <a:pt x="64" y="55"/>
                </a:lnTo>
                <a:lnTo>
                  <a:pt x="64" y="56"/>
                </a:lnTo>
                <a:lnTo>
                  <a:pt x="67" y="57"/>
                </a:lnTo>
                <a:lnTo>
                  <a:pt x="68" y="56"/>
                </a:lnTo>
                <a:lnTo>
                  <a:pt x="69" y="57"/>
                </a:lnTo>
                <a:lnTo>
                  <a:pt x="69" y="57"/>
                </a:lnTo>
                <a:lnTo>
                  <a:pt x="70" y="58"/>
                </a:lnTo>
                <a:lnTo>
                  <a:pt x="69" y="58"/>
                </a:lnTo>
                <a:lnTo>
                  <a:pt x="69" y="61"/>
                </a:lnTo>
                <a:lnTo>
                  <a:pt x="70" y="63"/>
                </a:lnTo>
                <a:lnTo>
                  <a:pt x="70" y="64"/>
                </a:lnTo>
                <a:lnTo>
                  <a:pt x="70" y="66"/>
                </a:lnTo>
                <a:lnTo>
                  <a:pt x="71" y="68"/>
                </a:lnTo>
                <a:lnTo>
                  <a:pt x="71" y="71"/>
                </a:lnTo>
                <a:lnTo>
                  <a:pt x="72" y="73"/>
                </a:lnTo>
                <a:lnTo>
                  <a:pt x="74" y="76"/>
                </a:lnTo>
                <a:lnTo>
                  <a:pt x="77" y="78"/>
                </a:lnTo>
                <a:lnTo>
                  <a:pt x="77" y="79"/>
                </a:lnTo>
                <a:lnTo>
                  <a:pt x="79" y="79"/>
                </a:lnTo>
                <a:lnTo>
                  <a:pt x="80" y="79"/>
                </a:lnTo>
                <a:lnTo>
                  <a:pt x="82" y="77"/>
                </a:lnTo>
                <a:lnTo>
                  <a:pt x="85" y="74"/>
                </a:lnTo>
                <a:lnTo>
                  <a:pt x="91" y="73"/>
                </a:lnTo>
                <a:lnTo>
                  <a:pt x="91" y="73"/>
                </a:lnTo>
                <a:lnTo>
                  <a:pt x="92" y="71"/>
                </a:lnTo>
                <a:lnTo>
                  <a:pt x="93" y="69"/>
                </a:lnTo>
                <a:lnTo>
                  <a:pt x="94" y="68"/>
                </a:lnTo>
                <a:lnTo>
                  <a:pt x="95" y="68"/>
                </a:lnTo>
                <a:lnTo>
                  <a:pt x="96" y="67"/>
                </a:lnTo>
                <a:lnTo>
                  <a:pt x="99" y="66"/>
                </a:lnTo>
                <a:lnTo>
                  <a:pt x="100" y="65"/>
                </a:lnTo>
                <a:lnTo>
                  <a:pt x="101" y="65"/>
                </a:lnTo>
                <a:lnTo>
                  <a:pt x="102" y="66"/>
                </a:lnTo>
                <a:lnTo>
                  <a:pt x="103" y="66"/>
                </a:lnTo>
                <a:lnTo>
                  <a:pt x="104" y="66"/>
                </a:lnTo>
                <a:lnTo>
                  <a:pt x="105" y="68"/>
                </a:lnTo>
                <a:lnTo>
                  <a:pt x="106" y="69"/>
                </a:lnTo>
                <a:lnTo>
                  <a:pt x="108" y="69"/>
                </a:lnTo>
                <a:lnTo>
                  <a:pt x="109" y="67"/>
                </a:lnTo>
                <a:lnTo>
                  <a:pt x="109" y="68"/>
                </a:lnTo>
                <a:lnTo>
                  <a:pt x="110" y="68"/>
                </a:lnTo>
                <a:lnTo>
                  <a:pt x="112" y="66"/>
                </a:lnTo>
                <a:lnTo>
                  <a:pt x="115" y="66"/>
                </a:lnTo>
                <a:lnTo>
                  <a:pt x="118" y="66"/>
                </a:lnTo>
                <a:lnTo>
                  <a:pt x="119" y="67"/>
                </a:lnTo>
                <a:lnTo>
                  <a:pt x="121" y="67"/>
                </a:lnTo>
                <a:lnTo>
                  <a:pt x="122" y="68"/>
                </a:lnTo>
                <a:lnTo>
                  <a:pt x="122" y="68"/>
                </a:lnTo>
                <a:lnTo>
                  <a:pt x="121" y="68"/>
                </a:lnTo>
                <a:lnTo>
                  <a:pt x="123" y="69"/>
                </a:lnTo>
                <a:lnTo>
                  <a:pt x="123" y="69"/>
                </a:lnTo>
                <a:lnTo>
                  <a:pt x="121" y="59"/>
                </a:lnTo>
                <a:lnTo>
                  <a:pt x="116" y="54"/>
                </a:lnTo>
                <a:lnTo>
                  <a:pt x="115" y="48"/>
                </a:lnTo>
                <a:lnTo>
                  <a:pt x="112" y="45"/>
                </a:lnTo>
                <a:lnTo>
                  <a:pt x="108" y="45"/>
                </a:lnTo>
                <a:lnTo>
                  <a:pt x="102" y="46"/>
                </a:lnTo>
                <a:lnTo>
                  <a:pt x="99" y="45"/>
                </a:lnTo>
                <a:lnTo>
                  <a:pt x="95" y="41"/>
                </a:lnTo>
                <a:lnTo>
                  <a:pt x="94" y="35"/>
                </a:lnTo>
                <a:lnTo>
                  <a:pt x="94" y="26"/>
                </a:lnTo>
                <a:lnTo>
                  <a:pt x="94" y="26"/>
                </a:lnTo>
                <a:lnTo>
                  <a:pt x="89" y="26"/>
                </a:lnTo>
                <a:lnTo>
                  <a:pt x="90" y="30"/>
                </a:lnTo>
                <a:lnTo>
                  <a:pt x="87" y="30"/>
                </a:lnTo>
                <a:lnTo>
                  <a:pt x="84" y="30"/>
                </a:lnTo>
                <a:lnTo>
                  <a:pt x="80" y="30"/>
                </a:lnTo>
                <a:lnTo>
                  <a:pt x="75" y="30"/>
                </a:lnTo>
                <a:lnTo>
                  <a:pt x="72" y="32"/>
                </a:lnTo>
                <a:lnTo>
                  <a:pt x="70" y="31"/>
                </a:lnTo>
                <a:lnTo>
                  <a:pt x="65" y="32"/>
                </a:lnTo>
                <a:lnTo>
                  <a:pt x="63" y="27"/>
                </a:lnTo>
                <a:lnTo>
                  <a:pt x="61" y="27"/>
                </a:lnTo>
                <a:lnTo>
                  <a:pt x="59" y="26"/>
                </a:lnTo>
                <a:lnTo>
                  <a:pt x="51" y="28"/>
                </a:lnTo>
                <a:lnTo>
                  <a:pt x="49" y="28"/>
                </a:lnTo>
                <a:lnTo>
                  <a:pt x="48" y="26"/>
                </a:lnTo>
                <a:lnTo>
                  <a:pt x="45" y="26"/>
                </a:lnTo>
                <a:lnTo>
                  <a:pt x="42" y="26"/>
                </a:lnTo>
                <a:lnTo>
                  <a:pt x="37" y="27"/>
                </a:lnTo>
                <a:lnTo>
                  <a:pt x="32" y="26"/>
                </a:lnTo>
                <a:lnTo>
                  <a:pt x="30" y="26"/>
                </a:lnTo>
                <a:lnTo>
                  <a:pt x="28" y="26"/>
                </a:lnTo>
                <a:lnTo>
                  <a:pt x="27" y="25"/>
                </a:lnTo>
                <a:lnTo>
                  <a:pt x="24" y="21"/>
                </a:lnTo>
                <a:lnTo>
                  <a:pt x="24" y="18"/>
                </a:lnTo>
                <a:lnTo>
                  <a:pt x="28" y="17"/>
                </a:lnTo>
                <a:lnTo>
                  <a:pt x="30" y="16"/>
                </a:lnTo>
                <a:lnTo>
                  <a:pt x="32" y="16"/>
                </a:lnTo>
                <a:lnTo>
                  <a:pt x="37" y="16"/>
                </a:lnTo>
                <a:lnTo>
                  <a:pt x="39" y="16"/>
                </a:lnTo>
                <a:lnTo>
                  <a:pt x="43" y="18"/>
                </a:lnTo>
                <a:lnTo>
                  <a:pt x="44" y="18"/>
                </a:lnTo>
                <a:lnTo>
                  <a:pt x="45" y="16"/>
                </a:lnTo>
                <a:lnTo>
                  <a:pt x="48" y="15"/>
                </a:lnTo>
                <a:lnTo>
                  <a:pt x="48" y="13"/>
                </a:lnTo>
                <a:lnTo>
                  <a:pt x="47" y="13"/>
                </a:lnTo>
                <a:lnTo>
                  <a:pt x="44" y="14"/>
                </a:lnTo>
                <a:lnTo>
                  <a:pt x="43" y="14"/>
                </a:lnTo>
                <a:lnTo>
                  <a:pt x="41" y="13"/>
                </a:lnTo>
                <a:lnTo>
                  <a:pt x="39" y="8"/>
                </a:lnTo>
                <a:lnTo>
                  <a:pt x="40" y="7"/>
                </a:lnTo>
                <a:lnTo>
                  <a:pt x="42" y="6"/>
                </a:lnTo>
                <a:lnTo>
                  <a:pt x="42" y="5"/>
                </a:lnTo>
                <a:lnTo>
                  <a:pt x="41" y="3"/>
                </a:lnTo>
                <a:lnTo>
                  <a:pt x="40" y="2"/>
                </a:lnTo>
                <a:lnTo>
                  <a:pt x="39" y="0"/>
                </a:lnTo>
                <a:lnTo>
                  <a:pt x="37" y="0"/>
                </a:lnTo>
                <a:lnTo>
                  <a:pt x="35" y="1"/>
                </a:lnTo>
                <a:lnTo>
                  <a:pt x="34" y="2"/>
                </a:lnTo>
                <a:lnTo>
                  <a:pt x="31" y="4"/>
                </a:lnTo>
                <a:lnTo>
                  <a:pt x="29" y="6"/>
                </a:lnTo>
                <a:lnTo>
                  <a:pt x="27" y="6"/>
                </a:lnTo>
                <a:lnTo>
                  <a:pt x="24" y="5"/>
                </a:lnTo>
                <a:lnTo>
                  <a:pt x="22" y="6"/>
                </a:lnTo>
                <a:lnTo>
                  <a:pt x="23" y="8"/>
                </a:lnTo>
                <a:lnTo>
                  <a:pt x="21" y="10"/>
                </a:lnTo>
                <a:lnTo>
                  <a:pt x="23" y="11"/>
                </a:lnTo>
                <a:lnTo>
                  <a:pt x="23" y="13"/>
                </a:lnTo>
                <a:lnTo>
                  <a:pt x="23" y="15"/>
                </a:lnTo>
                <a:lnTo>
                  <a:pt x="22" y="16"/>
                </a:lnTo>
                <a:lnTo>
                  <a:pt x="18" y="17"/>
                </a:lnTo>
                <a:lnTo>
                  <a:pt x="17" y="18"/>
                </a:lnTo>
                <a:lnTo>
                  <a:pt x="17" y="20"/>
                </a:lnTo>
                <a:lnTo>
                  <a:pt x="15" y="25"/>
                </a:lnTo>
                <a:lnTo>
                  <a:pt x="13" y="26"/>
                </a:lnTo>
                <a:lnTo>
                  <a:pt x="10" y="26"/>
                </a:lnTo>
                <a:lnTo>
                  <a:pt x="7" y="26"/>
                </a:lnTo>
                <a:lnTo>
                  <a:pt x="6" y="25"/>
                </a:lnTo>
                <a:lnTo>
                  <a:pt x="3" y="25"/>
                </a:lnTo>
                <a:lnTo>
                  <a:pt x="1" y="26"/>
                </a:lnTo>
                <a:lnTo>
                  <a:pt x="0" y="27"/>
                </a:lnTo>
                <a:lnTo>
                  <a:pt x="1" y="30"/>
                </a:lnTo>
                <a:lnTo>
                  <a:pt x="0" y="31"/>
                </a:lnTo>
                <a:lnTo>
                  <a:pt x="2" y="33"/>
                </a:lnTo>
                <a:lnTo>
                  <a:pt x="4" y="34"/>
                </a:lnTo>
                <a:lnTo>
                  <a:pt x="6" y="35"/>
                </a:lnTo>
                <a:lnTo>
                  <a:pt x="8" y="36"/>
                </a:lnTo>
                <a:lnTo>
                  <a:pt x="10" y="35"/>
                </a:lnTo>
                <a:lnTo>
                  <a:pt x="12" y="36"/>
                </a:lnTo>
                <a:lnTo>
                  <a:pt x="13" y="38"/>
                </a:lnTo>
                <a:lnTo>
                  <a:pt x="13" y="41"/>
                </a:lnTo>
                <a:lnTo>
                  <a:pt x="13" y="43"/>
                </a:lnTo>
                <a:lnTo>
                  <a:pt x="15" y="46"/>
                </a:lnTo>
                <a:lnTo>
                  <a:pt x="17" y="48"/>
                </a:lnTo>
                <a:lnTo>
                  <a:pt x="19" y="49"/>
                </a:lnTo>
                <a:lnTo>
                  <a:pt x="20" y="52"/>
                </a:lnTo>
                <a:lnTo>
                  <a:pt x="20" y="53"/>
                </a:lnTo>
                <a:lnTo>
                  <a:pt x="19" y="55"/>
                </a:lnTo>
                <a:lnTo>
                  <a:pt x="18" y="56"/>
                </a:lnTo>
                <a:lnTo>
                  <a:pt x="17" y="57"/>
                </a:lnTo>
                <a:lnTo>
                  <a:pt x="15" y="61"/>
                </a:lnTo>
                <a:lnTo>
                  <a:pt x="14" y="64"/>
                </a:lnTo>
                <a:lnTo>
                  <a:pt x="15" y="66"/>
                </a:lnTo>
                <a:lnTo>
                  <a:pt x="15" y="67"/>
                </a:lnTo>
                <a:lnTo>
                  <a:pt x="14" y="68"/>
                </a:lnTo>
                <a:lnTo>
                  <a:pt x="14" y="68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67" name="Freeform 266"/>
          <p:cNvSpPr>
            <a:spLocks/>
          </p:cNvSpPr>
          <p:nvPr/>
        </p:nvSpPr>
        <p:spPr bwMode="auto">
          <a:xfrm>
            <a:off x="6303963" y="2081178"/>
            <a:ext cx="742950" cy="298450"/>
          </a:xfrm>
          <a:custGeom>
            <a:avLst/>
            <a:gdLst>
              <a:gd name="T0" fmla="*/ 7 w 468"/>
              <a:gd name="T1" fmla="*/ 46 h 188"/>
              <a:gd name="T2" fmla="*/ 23 w 468"/>
              <a:gd name="T3" fmla="*/ 36 h 188"/>
              <a:gd name="T4" fmla="*/ 46 w 468"/>
              <a:gd name="T5" fmla="*/ 27 h 188"/>
              <a:gd name="T6" fmla="*/ 66 w 468"/>
              <a:gd name="T7" fmla="*/ 30 h 188"/>
              <a:gd name="T8" fmla="*/ 90 w 468"/>
              <a:gd name="T9" fmla="*/ 38 h 188"/>
              <a:gd name="T10" fmla="*/ 121 w 468"/>
              <a:gd name="T11" fmla="*/ 38 h 188"/>
              <a:gd name="T12" fmla="*/ 129 w 468"/>
              <a:gd name="T13" fmla="*/ 32 h 188"/>
              <a:gd name="T14" fmla="*/ 122 w 468"/>
              <a:gd name="T15" fmla="*/ 20 h 188"/>
              <a:gd name="T16" fmla="*/ 121 w 468"/>
              <a:gd name="T17" fmla="*/ 7 h 188"/>
              <a:gd name="T18" fmla="*/ 134 w 468"/>
              <a:gd name="T19" fmla="*/ 1 h 188"/>
              <a:gd name="T20" fmla="*/ 161 w 468"/>
              <a:gd name="T21" fmla="*/ 9 h 188"/>
              <a:gd name="T22" fmla="*/ 181 w 468"/>
              <a:gd name="T23" fmla="*/ 20 h 188"/>
              <a:gd name="T24" fmla="*/ 198 w 468"/>
              <a:gd name="T25" fmla="*/ 31 h 188"/>
              <a:gd name="T26" fmla="*/ 224 w 468"/>
              <a:gd name="T27" fmla="*/ 27 h 188"/>
              <a:gd name="T28" fmla="*/ 252 w 468"/>
              <a:gd name="T29" fmla="*/ 33 h 188"/>
              <a:gd name="T30" fmla="*/ 273 w 468"/>
              <a:gd name="T31" fmla="*/ 40 h 188"/>
              <a:gd name="T32" fmla="*/ 304 w 468"/>
              <a:gd name="T33" fmla="*/ 50 h 188"/>
              <a:gd name="T34" fmla="*/ 332 w 468"/>
              <a:gd name="T35" fmla="*/ 48 h 188"/>
              <a:gd name="T36" fmla="*/ 355 w 468"/>
              <a:gd name="T37" fmla="*/ 36 h 188"/>
              <a:gd name="T38" fmla="*/ 380 w 468"/>
              <a:gd name="T39" fmla="*/ 40 h 188"/>
              <a:gd name="T40" fmla="*/ 389 w 468"/>
              <a:gd name="T41" fmla="*/ 38 h 188"/>
              <a:gd name="T42" fmla="*/ 387 w 468"/>
              <a:gd name="T43" fmla="*/ 50 h 188"/>
              <a:gd name="T44" fmla="*/ 394 w 468"/>
              <a:gd name="T45" fmla="*/ 63 h 188"/>
              <a:gd name="T46" fmla="*/ 405 w 468"/>
              <a:gd name="T47" fmla="*/ 79 h 188"/>
              <a:gd name="T48" fmla="*/ 431 w 468"/>
              <a:gd name="T49" fmla="*/ 77 h 188"/>
              <a:gd name="T50" fmla="*/ 455 w 468"/>
              <a:gd name="T51" fmla="*/ 83 h 188"/>
              <a:gd name="T52" fmla="*/ 466 w 468"/>
              <a:gd name="T53" fmla="*/ 93 h 188"/>
              <a:gd name="T54" fmla="*/ 456 w 468"/>
              <a:gd name="T55" fmla="*/ 96 h 188"/>
              <a:gd name="T56" fmla="*/ 431 w 468"/>
              <a:gd name="T57" fmla="*/ 98 h 188"/>
              <a:gd name="T58" fmla="*/ 419 w 468"/>
              <a:gd name="T59" fmla="*/ 117 h 188"/>
              <a:gd name="T60" fmla="*/ 408 w 468"/>
              <a:gd name="T61" fmla="*/ 127 h 188"/>
              <a:gd name="T62" fmla="*/ 388 w 468"/>
              <a:gd name="T63" fmla="*/ 127 h 188"/>
              <a:gd name="T64" fmla="*/ 377 w 468"/>
              <a:gd name="T65" fmla="*/ 136 h 188"/>
              <a:gd name="T66" fmla="*/ 380 w 468"/>
              <a:gd name="T67" fmla="*/ 161 h 188"/>
              <a:gd name="T68" fmla="*/ 367 w 468"/>
              <a:gd name="T69" fmla="*/ 172 h 188"/>
              <a:gd name="T70" fmla="*/ 347 w 468"/>
              <a:gd name="T71" fmla="*/ 173 h 188"/>
              <a:gd name="T72" fmla="*/ 325 w 468"/>
              <a:gd name="T73" fmla="*/ 177 h 188"/>
              <a:gd name="T74" fmla="*/ 312 w 468"/>
              <a:gd name="T75" fmla="*/ 183 h 188"/>
              <a:gd name="T76" fmla="*/ 297 w 468"/>
              <a:gd name="T77" fmla="*/ 184 h 188"/>
              <a:gd name="T78" fmla="*/ 275 w 468"/>
              <a:gd name="T79" fmla="*/ 179 h 188"/>
              <a:gd name="T80" fmla="*/ 250 w 468"/>
              <a:gd name="T81" fmla="*/ 169 h 188"/>
              <a:gd name="T82" fmla="*/ 226 w 468"/>
              <a:gd name="T83" fmla="*/ 166 h 188"/>
              <a:gd name="T84" fmla="*/ 173 w 468"/>
              <a:gd name="T85" fmla="*/ 162 h 188"/>
              <a:gd name="T86" fmla="*/ 153 w 468"/>
              <a:gd name="T87" fmla="*/ 146 h 188"/>
              <a:gd name="T88" fmla="*/ 136 w 468"/>
              <a:gd name="T89" fmla="*/ 136 h 188"/>
              <a:gd name="T90" fmla="*/ 109 w 468"/>
              <a:gd name="T91" fmla="*/ 128 h 188"/>
              <a:gd name="T92" fmla="*/ 95 w 468"/>
              <a:gd name="T93" fmla="*/ 127 h 188"/>
              <a:gd name="T94" fmla="*/ 70 w 468"/>
              <a:gd name="T95" fmla="*/ 121 h 188"/>
              <a:gd name="T96" fmla="*/ 64 w 468"/>
              <a:gd name="T97" fmla="*/ 104 h 188"/>
              <a:gd name="T98" fmla="*/ 45 w 468"/>
              <a:gd name="T99" fmla="*/ 80 h 188"/>
              <a:gd name="T100" fmla="*/ 28 w 468"/>
              <a:gd name="T101" fmla="*/ 73 h 188"/>
              <a:gd name="T102" fmla="*/ 8 w 468"/>
              <a:gd name="T103" fmla="*/ 65 h 188"/>
              <a:gd name="T104" fmla="*/ 0 w 468"/>
              <a:gd name="T105" fmla="*/ 56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68" h="188">
                <a:moveTo>
                  <a:pt x="0" y="56"/>
                </a:moveTo>
                <a:lnTo>
                  <a:pt x="1" y="51"/>
                </a:lnTo>
                <a:lnTo>
                  <a:pt x="3" y="48"/>
                </a:lnTo>
                <a:lnTo>
                  <a:pt x="7" y="46"/>
                </a:lnTo>
                <a:lnTo>
                  <a:pt x="11" y="45"/>
                </a:lnTo>
                <a:lnTo>
                  <a:pt x="14" y="42"/>
                </a:lnTo>
                <a:lnTo>
                  <a:pt x="18" y="39"/>
                </a:lnTo>
                <a:lnTo>
                  <a:pt x="23" y="36"/>
                </a:lnTo>
                <a:lnTo>
                  <a:pt x="28" y="31"/>
                </a:lnTo>
                <a:lnTo>
                  <a:pt x="36" y="29"/>
                </a:lnTo>
                <a:lnTo>
                  <a:pt x="41" y="27"/>
                </a:lnTo>
                <a:lnTo>
                  <a:pt x="46" y="27"/>
                </a:lnTo>
                <a:lnTo>
                  <a:pt x="53" y="27"/>
                </a:lnTo>
                <a:lnTo>
                  <a:pt x="58" y="29"/>
                </a:lnTo>
                <a:lnTo>
                  <a:pt x="62" y="31"/>
                </a:lnTo>
                <a:lnTo>
                  <a:pt x="66" y="30"/>
                </a:lnTo>
                <a:lnTo>
                  <a:pt x="72" y="30"/>
                </a:lnTo>
                <a:lnTo>
                  <a:pt x="76" y="30"/>
                </a:lnTo>
                <a:lnTo>
                  <a:pt x="88" y="37"/>
                </a:lnTo>
                <a:lnTo>
                  <a:pt x="90" y="38"/>
                </a:lnTo>
                <a:lnTo>
                  <a:pt x="94" y="38"/>
                </a:lnTo>
                <a:lnTo>
                  <a:pt x="105" y="37"/>
                </a:lnTo>
                <a:lnTo>
                  <a:pt x="110" y="38"/>
                </a:lnTo>
                <a:lnTo>
                  <a:pt x="121" y="38"/>
                </a:lnTo>
                <a:lnTo>
                  <a:pt x="130" y="37"/>
                </a:lnTo>
                <a:lnTo>
                  <a:pt x="132" y="36"/>
                </a:lnTo>
                <a:lnTo>
                  <a:pt x="131" y="35"/>
                </a:lnTo>
                <a:lnTo>
                  <a:pt x="129" y="32"/>
                </a:lnTo>
                <a:lnTo>
                  <a:pt x="127" y="29"/>
                </a:lnTo>
                <a:lnTo>
                  <a:pt x="127" y="26"/>
                </a:lnTo>
                <a:lnTo>
                  <a:pt x="126" y="22"/>
                </a:lnTo>
                <a:lnTo>
                  <a:pt x="122" y="20"/>
                </a:lnTo>
                <a:lnTo>
                  <a:pt x="119" y="16"/>
                </a:lnTo>
                <a:lnTo>
                  <a:pt x="117" y="12"/>
                </a:lnTo>
                <a:lnTo>
                  <a:pt x="120" y="10"/>
                </a:lnTo>
                <a:lnTo>
                  <a:pt x="121" y="7"/>
                </a:lnTo>
                <a:lnTo>
                  <a:pt x="124" y="3"/>
                </a:lnTo>
                <a:lnTo>
                  <a:pt x="125" y="0"/>
                </a:lnTo>
                <a:lnTo>
                  <a:pt x="129" y="0"/>
                </a:lnTo>
                <a:lnTo>
                  <a:pt x="134" y="1"/>
                </a:lnTo>
                <a:lnTo>
                  <a:pt x="139" y="3"/>
                </a:lnTo>
                <a:lnTo>
                  <a:pt x="150" y="6"/>
                </a:lnTo>
                <a:lnTo>
                  <a:pt x="154" y="8"/>
                </a:lnTo>
                <a:lnTo>
                  <a:pt x="161" y="9"/>
                </a:lnTo>
                <a:lnTo>
                  <a:pt x="167" y="10"/>
                </a:lnTo>
                <a:lnTo>
                  <a:pt x="172" y="11"/>
                </a:lnTo>
                <a:lnTo>
                  <a:pt x="176" y="15"/>
                </a:lnTo>
                <a:lnTo>
                  <a:pt x="181" y="20"/>
                </a:lnTo>
                <a:lnTo>
                  <a:pt x="184" y="25"/>
                </a:lnTo>
                <a:lnTo>
                  <a:pt x="185" y="25"/>
                </a:lnTo>
                <a:lnTo>
                  <a:pt x="191" y="28"/>
                </a:lnTo>
                <a:lnTo>
                  <a:pt x="198" y="31"/>
                </a:lnTo>
                <a:lnTo>
                  <a:pt x="207" y="33"/>
                </a:lnTo>
                <a:lnTo>
                  <a:pt x="214" y="32"/>
                </a:lnTo>
                <a:lnTo>
                  <a:pt x="220" y="29"/>
                </a:lnTo>
                <a:lnTo>
                  <a:pt x="224" y="27"/>
                </a:lnTo>
                <a:lnTo>
                  <a:pt x="233" y="28"/>
                </a:lnTo>
                <a:lnTo>
                  <a:pt x="247" y="31"/>
                </a:lnTo>
                <a:lnTo>
                  <a:pt x="251" y="33"/>
                </a:lnTo>
                <a:lnTo>
                  <a:pt x="252" y="33"/>
                </a:lnTo>
                <a:lnTo>
                  <a:pt x="254" y="35"/>
                </a:lnTo>
                <a:lnTo>
                  <a:pt x="261" y="38"/>
                </a:lnTo>
                <a:lnTo>
                  <a:pt x="267" y="39"/>
                </a:lnTo>
                <a:lnTo>
                  <a:pt x="273" y="40"/>
                </a:lnTo>
                <a:lnTo>
                  <a:pt x="279" y="45"/>
                </a:lnTo>
                <a:lnTo>
                  <a:pt x="287" y="48"/>
                </a:lnTo>
                <a:lnTo>
                  <a:pt x="296" y="49"/>
                </a:lnTo>
                <a:lnTo>
                  <a:pt x="304" y="50"/>
                </a:lnTo>
                <a:lnTo>
                  <a:pt x="308" y="51"/>
                </a:lnTo>
                <a:lnTo>
                  <a:pt x="314" y="50"/>
                </a:lnTo>
                <a:lnTo>
                  <a:pt x="321" y="52"/>
                </a:lnTo>
                <a:lnTo>
                  <a:pt x="332" y="48"/>
                </a:lnTo>
                <a:lnTo>
                  <a:pt x="339" y="47"/>
                </a:lnTo>
                <a:lnTo>
                  <a:pt x="346" y="46"/>
                </a:lnTo>
                <a:lnTo>
                  <a:pt x="352" y="39"/>
                </a:lnTo>
                <a:lnTo>
                  <a:pt x="355" y="36"/>
                </a:lnTo>
                <a:lnTo>
                  <a:pt x="360" y="35"/>
                </a:lnTo>
                <a:lnTo>
                  <a:pt x="368" y="37"/>
                </a:lnTo>
                <a:lnTo>
                  <a:pt x="375" y="39"/>
                </a:lnTo>
                <a:lnTo>
                  <a:pt x="380" y="40"/>
                </a:lnTo>
                <a:lnTo>
                  <a:pt x="385" y="39"/>
                </a:lnTo>
                <a:lnTo>
                  <a:pt x="387" y="38"/>
                </a:lnTo>
                <a:lnTo>
                  <a:pt x="389" y="38"/>
                </a:lnTo>
                <a:lnTo>
                  <a:pt x="389" y="38"/>
                </a:lnTo>
                <a:lnTo>
                  <a:pt x="389" y="39"/>
                </a:lnTo>
                <a:lnTo>
                  <a:pt x="388" y="41"/>
                </a:lnTo>
                <a:lnTo>
                  <a:pt x="388" y="47"/>
                </a:lnTo>
                <a:lnTo>
                  <a:pt x="387" y="50"/>
                </a:lnTo>
                <a:lnTo>
                  <a:pt x="387" y="52"/>
                </a:lnTo>
                <a:lnTo>
                  <a:pt x="389" y="56"/>
                </a:lnTo>
                <a:lnTo>
                  <a:pt x="393" y="59"/>
                </a:lnTo>
                <a:lnTo>
                  <a:pt x="394" y="63"/>
                </a:lnTo>
                <a:lnTo>
                  <a:pt x="394" y="67"/>
                </a:lnTo>
                <a:lnTo>
                  <a:pt x="397" y="71"/>
                </a:lnTo>
                <a:lnTo>
                  <a:pt x="400" y="76"/>
                </a:lnTo>
                <a:lnTo>
                  <a:pt x="405" y="79"/>
                </a:lnTo>
                <a:lnTo>
                  <a:pt x="416" y="81"/>
                </a:lnTo>
                <a:lnTo>
                  <a:pt x="423" y="81"/>
                </a:lnTo>
                <a:lnTo>
                  <a:pt x="428" y="79"/>
                </a:lnTo>
                <a:lnTo>
                  <a:pt x="431" y="77"/>
                </a:lnTo>
                <a:lnTo>
                  <a:pt x="436" y="72"/>
                </a:lnTo>
                <a:lnTo>
                  <a:pt x="439" y="75"/>
                </a:lnTo>
                <a:lnTo>
                  <a:pt x="445" y="78"/>
                </a:lnTo>
                <a:lnTo>
                  <a:pt x="455" y="83"/>
                </a:lnTo>
                <a:lnTo>
                  <a:pt x="458" y="87"/>
                </a:lnTo>
                <a:lnTo>
                  <a:pt x="460" y="89"/>
                </a:lnTo>
                <a:lnTo>
                  <a:pt x="461" y="91"/>
                </a:lnTo>
                <a:lnTo>
                  <a:pt x="466" y="93"/>
                </a:lnTo>
                <a:lnTo>
                  <a:pt x="468" y="96"/>
                </a:lnTo>
                <a:lnTo>
                  <a:pt x="466" y="97"/>
                </a:lnTo>
                <a:lnTo>
                  <a:pt x="461" y="97"/>
                </a:lnTo>
                <a:lnTo>
                  <a:pt x="456" y="96"/>
                </a:lnTo>
                <a:lnTo>
                  <a:pt x="449" y="97"/>
                </a:lnTo>
                <a:lnTo>
                  <a:pt x="444" y="98"/>
                </a:lnTo>
                <a:lnTo>
                  <a:pt x="437" y="97"/>
                </a:lnTo>
                <a:lnTo>
                  <a:pt x="431" y="98"/>
                </a:lnTo>
                <a:lnTo>
                  <a:pt x="430" y="101"/>
                </a:lnTo>
                <a:lnTo>
                  <a:pt x="424" y="113"/>
                </a:lnTo>
                <a:lnTo>
                  <a:pt x="420" y="117"/>
                </a:lnTo>
                <a:lnTo>
                  <a:pt x="419" y="117"/>
                </a:lnTo>
                <a:lnTo>
                  <a:pt x="416" y="117"/>
                </a:lnTo>
                <a:lnTo>
                  <a:pt x="413" y="117"/>
                </a:lnTo>
                <a:lnTo>
                  <a:pt x="410" y="122"/>
                </a:lnTo>
                <a:lnTo>
                  <a:pt x="408" y="127"/>
                </a:lnTo>
                <a:lnTo>
                  <a:pt x="404" y="131"/>
                </a:lnTo>
                <a:lnTo>
                  <a:pt x="398" y="131"/>
                </a:lnTo>
                <a:lnTo>
                  <a:pt x="393" y="130"/>
                </a:lnTo>
                <a:lnTo>
                  <a:pt x="388" y="127"/>
                </a:lnTo>
                <a:lnTo>
                  <a:pt x="383" y="126"/>
                </a:lnTo>
                <a:lnTo>
                  <a:pt x="378" y="127"/>
                </a:lnTo>
                <a:lnTo>
                  <a:pt x="378" y="131"/>
                </a:lnTo>
                <a:lnTo>
                  <a:pt x="377" y="136"/>
                </a:lnTo>
                <a:lnTo>
                  <a:pt x="378" y="139"/>
                </a:lnTo>
                <a:lnTo>
                  <a:pt x="387" y="146"/>
                </a:lnTo>
                <a:lnTo>
                  <a:pt x="390" y="149"/>
                </a:lnTo>
                <a:lnTo>
                  <a:pt x="380" y="161"/>
                </a:lnTo>
                <a:lnTo>
                  <a:pt x="380" y="164"/>
                </a:lnTo>
                <a:lnTo>
                  <a:pt x="377" y="168"/>
                </a:lnTo>
                <a:lnTo>
                  <a:pt x="374" y="170"/>
                </a:lnTo>
                <a:lnTo>
                  <a:pt x="367" y="172"/>
                </a:lnTo>
                <a:lnTo>
                  <a:pt x="360" y="173"/>
                </a:lnTo>
                <a:lnTo>
                  <a:pt x="359" y="173"/>
                </a:lnTo>
                <a:lnTo>
                  <a:pt x="350" y="172"/>
                </a:lnTo>
                <a:lnTo>
                  <a:pt x="347" y="173"/>
                </a:lnTo>
                <a:lnTo>
                  <a:pt x="339" y="172"/>
                </a:lnTo>
                <a:lnTo>
                  <a:pt x="336" y="174"/>
                </a:lnTo>
                <a:lnTo>
                  <a:pt x="327" y="177"/>
                </a:lnTo>
                <a:lnTo>
                  <a:pt x="325" y="177"/>
                </a:lnTo>
                <a:lnTo>
                  <a:pt x="324" y="179"/>
                </a:lnTo>
                <a:lnTo>
                  <a:pt x="321" y="180"/>
                </a:lnTo>
                <a:lnTo>
                  <a:pt x="317" y="181"/>
                </a:lnTo>
                <a:lnTo>
                  <a:pt x="312" y="183"/>
                </a:lnTo>
                <a:lnTo>
                  <a:pt x="307" y="187"/>
                </a:lnTo>
                <a:lnTo>
                  <a:pt x="305" y="188"/>
                </a:lnTo>
                <a:lnTo>
                  <a:pt x="302" y="187"/>
                </a:lnTo>
                <a:lnTo>
                  <a:pt x="297" y="184"/>
                </a:lnTo>
                <a:lnTo>
                  <a:pt x="296" y="184"/>
                </a:lnTo>
                <a:lnTo>
                  <a:pt x="288" y="183"/>
                </a:lnTo>
                <a:lnTo>
                  <a:pt x="282" y="182"/>
                </a:lnTo>
                <a:lnTo>
                  <a:pt x="275" y="179"/>
                </a:lnTo>
                <a:lnTo>
                  <a:pt x="265" y="177"/>
                </a:lnTo>
                <a:lnTo>
                  <a:pt x="258" y="174"/>
                </a:lnTo>
                <a:lnTo>
                  <a:pt x="253" y="171"/>
                </a:lnTo>
                <a:lnTo>
                  <a:pt x="250" y="169"/>
                </a:lnTo>
                <a:lnTo>
                  <a:pt x="246" y="168"/>
                </a:lnTo>
                <a:lnTo>
                  <a:pt x="236" y="166"/>
                </a:lnTo>
                <a:lnTo>
                  <a:pt x="231" y="164"/>
                </a:lnTo>
                <a:lnTo>
                  <a:pt x="226" y="166"/>
                </a:lnTo>
                <a:lnTo>
                  <a:pt x="188" y="168"/>
                </a:lnTo>
                <a:lnTo>
                  <a:pt x="183" y="168"/>
                </a:lnTo>
                <a:lnTo>
                  <a:pt x="179" y="166"/>
                </a:lnTo>
                <a:lnTo>
                  <a:pt x="173" y="162"/>
                </a:lnTo>
                <a:lnTo>
                  <a:pt x="167" y="159"/>
                </a:lnTo>
                <a:lnTo>
                  <a:pt x="163" y="156"/>
                </a:lnTo>
                <a:lnTo>
                  <a:pt x="157" y="151"/>
                </a:lnTo>
                <a:lnTo>
                  <a:pt x="153" y="146"/>
                </a:lnTo>
                <a:lnTo>
                  <a:pt x="149" y="142"/>
                </a:lnTo>
                <a:lnTo>
                  <a:pt x="144" y="139"/>
                </a:lnTo>
                <a:lnTo>
                  <a:pt x="141" y="138"/>
                </a:lnTo>
                <a:lnTo>
                  <a:pt x="136" y="136"/>
                </a:lnTo>
                <a:lnTo>
                  <a:pt x="127" y="133"/>
                </a:lnTo>
                <a:lnTo>
                  <a:pt x="122" y="132"/>
                </a:lnTo>
                <a:lnTo>
                  <a:pt x="117" y="130"/>
                </a:lnTo>
                <a:lnTo>
                  <a:pt x="109" y="128"/>
                </a:lnTo>
                <a:lnTo>
                  <a:pt x="104" y="126"/>
                </a:lnTo>
                <a:lnTo>
                  <a:pt x="101" y="126"/>
                </a:lnTo>
                <a:lnTo>
                  <a:pt x="99" y="127"/>
                </a:lnTo>
                <a:lnTo>
                  <a:pt x="95" y="127"/>
                </a:lnTo>
                <a:lnTo>
                  <a:pt x="85" y="124"/>
                </a:lnTo>
                <a:lnTo>
                  <a:pt x="78" y="123"/>
                </a:lnTo>
                <a:lnTo>
                  <a:pt x="72" y="122"/>
                </a:lnTo>
                <a:lnTo>
                  <a:pt x="70" y="121"/>
                </a:lnTo>
                <a:lnTo>
                  <a:pt x="69" y="118"/>
                </a:lnTo>
                <a:lnTo>
                  <a:pt x="69" y="113"/>
                </a:lnTo>
                <a:lnTo>
                  <a:pt x="68" y="109"/>
                </a:lnTo>
                <a:lnTo>
                  <a:pt x="64" y="104"/>
                </a:lnTo>
                <a:lnTo>
                  <a:pt x="61" y="99"/>
                </a:lnTo>
                <a:lnTo>
                  <a:pt x="54" y="89"/>
                </a:lnTo>
                <a:lnTo>
                  <a:pt x="50" y="86"/>
                </a:lnTo>
                <a:lnTo>
                  <a:pt x="45" y="80"/>
                </a:lnTo>
                <a:lnTo>
                  <a:pt x="41" y="77"/>
                </a:lnTo>
                <a:lnTo>
                  <a:pt x="36" y="77"/>
                </a:lnTo>
                <a:lnTo>
                  <a:pt x="32" y="75"/>
                </a:lnTo>
                <a:lnTo>
                  <a:pt x="28" y="73"/>
                </a:lnTo>
                <a:lnTo>
                  <a:pt x="26" y="77"/>
                </a:lnTo>
                <a:lnTo>
                  <a:pt x="22" y="73"/>
                </a:lnTo>
                <a:lnTo>
                  <a:pt x="18" y="69"/>
                </a:lnTo>
                <a:lnTo>
                  <a:pt x="8" y="65"/>
                </a:lnTo>
                <a:lnTo>
                  <a:pt x="2" y="59"/>
                </a:lnTo>
                <a:lnTo>
                  <a:pt x="0" y="57"/>
                </a:lnTo>
                <a:lnTo>
                  <a:pt x="0" y="56"/>
                </a:lnTo>
                <a:lnTo>
                  <a:pt x="0" y="56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68" name="Freeform 267"/>
          <p:cNvSpPr>
            <a:spLocks/>
          </p:cNvSpPr>
          <p:nvPr/>
        </p:nvSpPr>
        <p:spPr bwMode="auto">
          <a:xfrm>
            <a:off x="6303963" y="2081178"/>
            <a:ext cx="742950" cy="298450"/>
          </a:xfrm>
          <a:custGeom>
            <a:avLst/>
            <a:gdLst>
              <a:gd name="T0" fmla="*/ 7 w 468"/>
              <a:gd name="T1" fmla="*/ 46 h 188"/>
              <a:gd name="T2" fmla="*/ 23 w 468"/>
              <a:gd name="T3" fmla="*/ 36 h 188"/>
              <a:gd name="T4" fmla="*/ 46 w 468"/>
              <a:gd name="T5" fmla="*/ 27 h 188"/>
              <a:gd name="T6" fmla="*/ 66 w 468"/>
              <a:gd name="T7" fmla="*/ 30 h 188"/>
              <a:gd name="T8" fmla="*/ 90 w 468"/>
              <a:gd name="T9" fmla="*/ 38 h 188"/>
              <a:gd name="T10" fmla="*/ 121 w 468"/>
              <a:gd name="T11" fmla="*/ 38 h 188"/>
              <a:gd name="T12" fmla="*/ 129 w 468"/>
              <a:gd name="T13" fmla="*/ 32 h 188"/>
              <a:gd name="T14" fmla="*/ 122 w 468"/>
              <a:gd name="T15" fmla="*/ 20 h 188"/>
              <a:gd name="T16" fmla="*/ 121 w 468"/>
              <a:gd name="T17" fmla="*/ 7 h 188"/>
              <a:gd name="T18" fmla="*/ 134 w 468"/>
              <a:gd name="T19" fmla="*/ 1 h 188"/>
              <a:gd name="T20" fmla="*/ 161 w 468"/>
              <a:gd name="T21" fmla="*/ 9 h 188"/>
              <a:gd name="T22" fmla="*/ 181 w 468"/>
              <a:gd name="T23" fmla="*/ 20 h 188"/>
              <a:gd name="T24" fmla="*/ 198 w 468"/>
              <a:gd name="T25" fmla="*/ 31 h 188"/>
              <a:gd name="T26" fmla="*/ 224 w 468"/>
              <a:gd name="T27" fmla="*/ 27 h 188"/>
              <a:gd name="T28" fmla="*/ 252 w 468"/>
              <a:gd name="T29" fmla="*/ 33 h 188"/>
              <a:gd name="T30" fmla="*/ 273 w 468"/>
              <a:gd name="T31" fmla="*/ 40 h 188"/>
              <a:gd name="T32" fmla="*/ 304 w 468"/>
              <a:gd name="T33" fmla="*/ 50 h 188"/>
              <a:gd name="T34" fmla="*/ 332 w 468"/>
              <a:gd name="T35" fmla="*/ 48 h 188"/>
              <a:gd name="T36" fmla="*/ 355 w 468"/>
              <a:gd name="T37" fmla="*/ 36 h 188"/>
              <a:gd name="T38" fmla="*/ 380 w 468"/>
              <a:gd name="T39" fmla="*/ 40 h 188"/>
              <a:gd name="T40" fmla="*/ 389 w 468"/>
              <a:gd name="T41" fmla="*/ 38 h 188"/>
              <a:gd name="T42" fmla="*/ 387 w 468"/>
              <a:gd name="T43" fmla="*/ 50 h 188"/>
              <a:gd name="T44" fmla="*/ 394 w 468"/>
              <a:gd name="T45" fmla="*/ 63 h 188"/>
              <a:gd name="T46" fmla="*/ 405 w 468"/>
              <a:gd name="T47" fmla="*/ 79 h 188"/>
              <a:gd name="T48" fmla="*/ 431 w 468"/>
              <a:gd name="T49" fmla="*/ 77 h 188"/>
              <a:gd name="T50" fmla="*/ 455 w 468"/>
              <a:gd name="T51" fmla="*/ 83 h 188"/>
              <a:gd name="T52" fmla="*/ 466 w 468"/>
              <a:gd name="T53" fmla="*/ 93 h 188"/>
              <a:gd name="T54" fmla="*/ 456 w 468"/>
              <a:gd name="T55" fmla="*/ 96 h 188"/>
              <a:gd name="T56" fmla="*/ 431 w 468"/>
              <a:gd name="T57" fmla="*/ 98 h 188"/>
              <a:gd name="T58" fmla="*/ 419 w 468"/>
              <a:gd name="T59" fmla="*/ 117 h 188"/>
              <a:gd name="T60" fmla="*/ 408 w 468"/>
              <a:gd name="T61" fmla="*/ 127 h 188"/>
              <a:gd name="T62" fmla="*/ 388 w 468"/>
              <a:gd name="T63" fmla="*/ 127 h 188"/>
              <a:gd name="T64" fmla="*/ 377 w 468"/>
              <a:gd name="T65" fmla="*/ 136 h 188"/>
              <a:gd name="T66" fmla="*/ 380 w 468"/>
              <a:gd name="T67" fmla="*/ 161 h 188"/>
              <a:gd name="T68" fmla="*/ 367 w 468"/>
              <a:gd name="T69" fmla="*/ 172 h 188"/>
              <a:gd name="T70" fmla="*/ 347 w 468"/>
              <a:gd name="T71" fmla="*/ 173 h 188"/>
              <a:gd name="T72" fmla="*/ 325 w 468"/>
              <a:gd name="T73" fmla="*/ 177 h 188"/>
              <a:gd name="T74" fmla="*/ 312 w 468"/>
              <a:gd name="T75" fmla="*/ 183 h 188"/>
              <a:gd name="T76" fmla="*/ 297 w 468"/>
              <a:gd name="T77" fmla="*/ 184 h 188"/>
              <a:gd name="T78" fmla="*/ 275 w 468"/>
              <a:gd name="T79" fmla="*/ 179 h 188"/>
              <a:gd name="T80" fmla="*/ 250 w 468"/>
              <a:gd name="T81" fmla="*/ 169 h 188"/>
              <a:gd name="T82" fmla="*/ 226 w 468"/>
              <a:gd name="T83" fmla="*/ 166 h 188"/>
              <a:gd name="T84" fmla="*/ 173 w 468"/>
              <a:gd name="T85" fmla="*/ 162 h 188"/>
              <a:gd name="T86" fmla="*/ 153 w 468"/>
              <a:gd name="T87" fmla="*/ 146 h 188"/>
              <a:gd name="T88" fmla="*/ 136 w 468"/>
              <a:gd name="T89" fmla="*/ 136 h 188"/>
              <a:gd name="T90" fmla="*/ 109 w 468"/>
              <a:gd name="T91" fmla="*/ 128 h 188"/>
              <a:gd name="T92" fmla="*/ 95 w 468"/>
              <a:gd name="T93" fmla="*/ 127 h 188"/>
              <a:gd name="T94" fmla="*/ 70 w 468"/>
              <a:gd name="T95" fmla="*/ 121 h 188"/>
              <a:gd name="T96" fmla="*/ 64 w 468"/>
              <a:gd name="T97" fmla="*/ 104 h 188"/>
              <a:gd name="T98" fmla="*/ 45 w 468"/>
              <a:gd name="T99" fmla="*/ 80 h 188"/>
              <a:gd name="T100" fmla="*/ 28 w 468"/>
              <a:gd name="T101" fmla="*/ 73 h 188"/>
              <a:gd name="T102" fmla="*/ 8 w 468"/>
              <a:gd name="T103" fmla="*/ 65 h 188"/>
              <a:gd name="T104" fmla="*/ 0 w 468"/>
              <a:gd name="T105" fmla="*/ 56 h 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68" h="188">
                <a:moveTo>
                  <a:pt x="0" y="56"/>
                </a:moveTo>
                <a:lnTo>
                  <a:pt x="1" y="51"/>
                </a:lnTo>
                <a:lnTo>
                  <a:pt x="3" y="48"/>
                </a:lnTo>
                <a:lnTo>
                  <a:pt x="7" y="46"/>
                </a:lnTo>
                <a:lnTo>
                  <a:pt x="11" y="45"/>
                </a:lnTo>
                <a:lnTo>
                  <a:pt x="14" y="42"/>
                </a:lnTo>
                <a:lnTo>
                  <a:pt x="18" y="39"/>
                </a:lnTo>
                <a:lnTo>
                  <a:pt x="23" y="36"/>
                </a:lnTo>
                <a:lnTo>
                  <a:pt x="28" y="31"/>
                </a:lnTo>
                <a:lnTo>
                  <a:pt x="36" y="29"/>
                </a:lnTo>
                <a:lnTo>
                  <a:pt x="41" y="27"/>
                </a:lnTo>
                <a:lnTo>
                  <a:pt x="46" y="27"/>
                </a:lnTo>
                <a:lnTo>
                  <a:pt x="53" y="27"/>
                </a:lnTo>
                <a:lnTo>
                  <a:pt x="58" y="29"/>
                </a:lnTo>
                <a:lnTo>
                  <a:pt x="62" y="31"/>
                </a:lnTo>
                <a:lnTo>
                  <a:pt x="66" y="30"/>
                </a:lnTo>
                <a:lnTo>
                  <a:pt x="72" y="30"/>
                </a:lnTo>
                <a:lnTo>
                  <a:pt x="76" y="30"/>
                </a:lnTo>
                <a:lnTo>
                  <a:pt x="88" y="37"/>
                </a:lnTo>
                <a:lnTo>
                  <a:pt x="90" y="38"/>
                </a:lnTo>
                <a:lnTo>
                  <a:pt x="94" y="38"/>
                </a:lnTo>
                <a:lnTo>
                  <a:pt x="105" y="37"/>
                </a:lnTo>
                <a:lnTo>
                  <a:pt x="110" y="38"/>
                </a:lnTo>
                <a:lnTo>
                  <a:pt x="121" y="38"/>
                </a:lnTo>
                <a:lnTo>
                  <a:pt x="130" y="37"/>
                </a:lnTo>
                <a:lnTo>
                  <a:pt x="132" y="36"/>
                </a:lnTo>
                <a:lnTo>
                  <a:pt x="131" y="35"/>
                </a:lnTo>
                <a:lnTo>
                  <a:pt x="129" y="32"/>
                </a:lnTo>
                <a:lnTo>
                  <a:pt x="127" y="29"/>
                </a:lnTo>
                <a:lnTo>
                  <a:pt x="127" y="26"/>
                </a:lnTo>
                <a:lnTo>
                  <a:pt x="126" y="22"/>
                </a:lnTo>
                <a:lnTo>
                  <a:pt x="122" y="20"/>
                </a:lnTo>
                <a:lnTo>
                  <a:pt x="119" y="16"/>
                </a:lnTo>
                <a:lnTo>
                  <a:pt x="117" y="12"/>
                </a:lnTo>
                <a:lnTo>
                  <a:pt x="120" y="10"/>
                </a:lnTo>
                <a:lnTo>
                  <a:pt x="121" y="7"/>
                </a:lnTo>
                <a:lnTo>
                  <a:pt x="124" y="3"/>
                </a:lnTo>
                <a:lnTo>
                  <a:pt x="125" y="0"/>
                </a:lnTo>
                <a:lnTo>
                  <a:pt x="129" y="0"/>
                </a:lnTo>
                <a:lnTo>
                  <a:pt x="134" y="1"/>
                </a:lnTo>
                <a:lnTo>
                  <a:pt x="139" y="3"/>
                </a:lnTo>
                <a:lnTo>
                  <a:pt x="150" y="6"/>
                </a:lnTo>
                <a:lnTo>
                  <a:pt x="154" y="8"/>
                </a:lnTo>
                <a:lnTo>
                  <a:pt x="161" y="9"/>
                </a:lnTo>
                <a:lnTo>
                  <a:pt x="167" y="10"/>
                </a:lnTo>
                <a:lnTo>
                  <a:pt x="172" y="11"/>
                </a:lnTo>
                <a:lnTo>
                  <a:pt x="176" y="15"/>
                </a:lnTo>
                <a:lnTo>
                  <a:pt x="181" y="20"/>
                </a:lnTo>
                <a:lnTo>
                  <a:pt x="184" y="25"/>
                </a:lnTo>
                <a:lnTo>
                  <a:pt x="185" y="25"/>
                </a:lnTo>
                <a:lnTo>
                  <a:pt x="191" y="28"/>
                </a:lnTo>
                <a:lnTo>
                  <a:pt x="198" y="31"/>
                </a:lnTo>
                <a:lnTo>
                  <a:pt x="207" y="33"/>
                </a:lnTo>
                <a:lnTo>
                  <a:pt x="214" y="32"/>
                </a:lnTo>
                <a:lnTo>
                  <a:pt x="220" y="29"/>
                </a:lnTo>
                <a:lnTo>
                  <a:pt x="224" y="27"/>
                </a:lnTo>
                <a:lnTo>
                  <a:pt x="233" y="28"/>
                </a:lnTo>
                <a:lnTo>
                  <a:pt x="247" y="31"/>
                </a:lnTo>
                <a:lnTo>
                  <a:pt x="251" y="33"/>
                </a:lnTo>
                <a:lnTo>
                  <a:pt x="252" y="33"/>
                </a:lnTo>
                <a:lnTo>
                  <a:pt x="254" y="35"/>
                </a:lnTo>
                <a:lnTo>
                  <a:pt x="261" y="38"/>
                </a:lnTo>
                <a:lnTo>
                  <a:pt x="267" y="39"/>
                </a:lnTo>
                <a:lnTo>
                  <a:pt x="273" y="40"/>
                </a:lnTo>
                <a:lnTo>
                  <a:pt x="279" y="45"/>
                </a:lnTo>
                <a:lnTo>
                  <a:pt x="287" y="48"/>
                </a:lnTo>
                <a:lnTo>
                  <a:pt x="296" y="49"/>
                </a:lnTo>
                <a:lnTo>
                  <a:pt x="304" y="50"/>
                </a:lnTo>
                <a:lnTo>
                  <a:pt x="308" y="51"/>
                </a:lnTo>
                <a:lnTo>
                  <a:pt x="314" y="50"/>
                </a:lnTo>
                <a:lnTo>
                  <a:pt x="321" y="52"/>
                </a:lnTo>
                <a:lnTo>
                  <a:pt x="332" y="48"/>
                </a:lnTo>
                <a:lnTo>
                  <a:pt x="339" y="47"/>
                </a:lnTo>
                <a:lnTo>
                  <a:pt x="346" y="46"/>
                </a:lnTo>
                <a:lnTo>
                  <a:pt x="352" y="39"/>
                </a:lnTo>
                <a:lnTo>
                  <a:pt x="355" y="36"/>
                </a:lnTo>
                <a:lnTo>
                  <a:pt x="360" y="35"/>
                </a:lnTo>
                <a:lnTo>
                  <a:pt x="368" y="37"/>
                </a:lnTo>
                <a:lnTo>
                  <a:pt x="375" y="39"/>
                </a:lnTo>
                <a:lnTo>
                  <a:pt x="380" y="40"/>
                </a:lnTo>
                <a:lnTo>
                  <a:pt x="385" y="39"/>
                </a:lnTo>
                <a:lnTo>
                  <a:pt x="387" y="38"/>
                </a:lnTo>
                <a:lnTo>
                  <a:pt x="389" y="38"/>
                </a:lnTo>
                <a:lnTo>
                  <a:pt x="389" y="38"/>
                </a:lnTo>
                <a:lnTo>
                  <a:pt x="389" y="39"/>
                </a:lnTo>
                <a:lnTo>
                  <a:pt x="388" y="41"/>
                </a:lnTo>
                <a:lnTo>
                  <a:pt x="388" y="47"/>
                </a:lnTo>
                <a:lnTo>
                  <a:pt x="387" y="50"/>
                </a:lnTo>
                <a:lnTo>
                  <a:pt x="387" y="52"/>
                </a:lnTo>
                <a:lnTo>
                  <a:pt x="389" y="56"/>
                </a:lnTo>
                <a:lnTo>
                  <a:pt x="393" y="59"/>
                </a:lnTo>
                <a:lnTo>
                  <a:pt x="394" y="63"/>
                </a:lnTo>
                <a:lnTo>
                  <a:pt x="394" y="67"/>
                </a:lnTo>
                <a:lnTo>
                  <a:pt x="397" y="71"/>
                </a:lnTo>
                <a:lnTo>
                  <a:pt x="400" y="76"/>
                </a:lnTo>
                <a:lnTo>
                  <a:pt x="405" y="79"/>
                </a:lnTo>
                <a:lnTo>
                  <a:pt x="416" y="81"/>
                </a:lnTo>
                <a:lnTo>
                  <a:pt x="423" y="81"/>
                </a:lnTo>
                <a:lnTo>
                  <a:pt x="428" y="79"/>
                </a:lnTo>
                <a:lnTo>
                  <a:pt x="431" y="77"/>
                </a:lnTo>
                <a:lnTo>
                  <a:pt x="436" y="72"/>
                </a:lnTo>
                <a:lnTo>
                  <a:pt x="439" y="75"/>
                </a:lnTo>
                <a:lnTo>
                  <a:pt x="445" y="78"/>
                </a:lnTo>
                <a:lnTo>
                  <a:pt x="455" y="83"/>
                </a:lnTo>
                <a:lnTo>
                  <a:pt x="458" y="87"/>
                </a:lnTo>
                <a:lnTo>
                  <a:pt x="460" y="89"/>
                </a:lnTo>
                <a:lnTo>
                  <a:pt x="461" y="91"/>
                </a:lnTo>
                <a:lnTo>
                  <a:pt x="466" y="93"/>
                </a:lnTo>
                <a:lnTo>
                  <a:pt x="468" y="96"/>
                </a:lnTo>
                <a:lnTo>
                  <a:pt x="466" y="97"/>
                </a:lnTo>
                <a:lnTo>
                  <a:pt x="461" y="97"/>
                </a:lnTo>
                <a:lnTo>
                  <a:pt x="456" y="96"/>
                </a:lnTo>
                <a:lnTo>
                  <a:pt x="449" y="97"/>
                </a:lnTo>
                <a:lnTo>
                  <a:pt x="444" y="98"/>
                </a:lnTo>
                <a:lnTo>
                  <a:pt x="437" y="97"/>
                </a:lnTo>
                <a:lnTo>
                  <a:pt x="431" y="98"/>
                </a:lnTo>
                <a:lnTo>
                  <a:pt x="430" y="101"/>
                </a:lnTo>
                <a:lnTo>
                  <a:pt x="424" y="113"/>
                </a:lnTo>
                <a:lnTo>
                  <a:pt x="420" y="117"/>
                </a:lnTo>
                <a:lnTo>
                  <a:pt x="419" y="117"/>
                </a:lnTo>
                <a:lnTo>
                  <a:pt x="416" y="117"/>
                </a:lnTo>
                <a:lnTo>
                  <a:pt x="413" y="117"/>
                </a:lnTo>
                <a:lnTo>
                  <a:pt x="410" y="122"/>
                </a:lnTo>
                <a:lnTo>
                  <a:pt x="408" y="127"/>
                </a:lnTo>
                <a:lnTo>
                  <a:pt x="404" y="131"/>
                </a:lnTo>
                <a:lnTo>
                  <a:pt x="398" y="131"/>
                </a:lnTo>
                <a:lnTo>
                  <a:pt x="393" y="130"/>
                </a:lnTo>
                <a:lnTo>
                  <a:pt x="388" y="127"/>
                </a:lnTo>
                <a:lnTo>
                  <a:pt x="383" y="126"/>
                </a:lnTo>
                <a:lnTo>
                  <a:pt x="378" y="127"/>
                </a:lnTo>
                <a:lnTo>
                  <a:pt x="378" y="131"/>
                </a:lnTo>
                <a:lnTo>
                  <a:pt x="377" y="136"/>
                </a:lnTo>
                <a:lnTo>
                  <a:pt x="378" y="139"/>
                </a:lnTo>
                <a:lnTo>
                  <a:pt x="387" y="146"/>
                </a:lnTo>
                <a:lnTo>
                  <a:pt x="390" y="149"/>
                </a:lnTo>
                <a:lnTo>
                  <a:pt x="380" y="161"/>
                </a:lnTo>
                <a:lnTo>
                  <a:pt x="380" y="164"/>
                </a:lnTo>
                <a:lnTo>
                  <a:pt x="377" y="168"/>
                </a:lnTo>
                <a:lnTo>
                  <a:pt x="374" y="170"/>
                </a:lnTo>
                <a:lnTo>
                  <a:pt x="367" y="172"/>
                </a:lnTo>
                <a:lnTo>
                  <a:pt x="360" y="173"/>
                </a:lnTo>
                <a:lnTo>
                  <a:pt x="359" y="173"/>
                </a:lnTo>
                <a:lnTo>
                  <a:pt x="350" y="172"/>
                </a:lnTo>
                <a:lnTo>
                  <a:pt x="347" y="173"/>
                </a:lnTo>
                <a:lnTo>
                  <a:pt x="339" y="172"/>
                </a:lnTo>
                <a:lnTo>
                  <a:pt x="336" y="174"/>
                </a:lnTo>
                <a:lnTo>
                  <a:pt x="327" y="177"/>
                </a:lnTo>
                <a:lnTo>
                  <a:pt x="325" y="177"/>
                </a:lnTo>
                <a:lnTo>
                  <a:pt x="324" y="179"/>
                </a:lnTo>
                <a:lnTo>
                  <a:pt x="321" y="180"/>
                </a:lnTo>
                <a:lnTo>
                  <a:pt x="317" y="181"/>
                </a:lnTo>
                <a:lnTo>
                  <a:pt x="312" y="183"/>
                </a:lnTo>
                <a:lnTo>
                  <a:pt x="307" y="187"/>
                </a:lnTo>
                <a:lnTo>
                  <a:pt x="305" y="188"/>
                </a:lnTo>
                <a:lnTo>
                  <a:pt x="302" y="187"/>
                </a:lnTo>
                <a:lnTo>
                  <a:pt x="297" y="184"/>
                </a:lnTo>
                <a:lnTo>
                  <a:pt x="296" y="184"/>
                </a:lnTo>
                <a:lnTo>
                  <a:pt x="288" y="183"/>
                </a:lnTo>
                <a:lnTo>
                  <a:pt x="282" y="182"/>
                </a:lnTo>
                <a:lnTo>
                  <a:pt x="275" y="179"/>
                </a:lnTo>
                <a:lnTo>
                  <a:pt x="265" y="177"/>
                </a:lnTo>
                <a:lnTo>
                  <a:pt x="258" y="174"/>
                </a:lnTo>
                <a:lnTo>
                  <a:pt x="253" y="171"/>
                </a:lnTo>
                <a:lnTo>
                  <a:pt x="250" y="169"/>
                </a:lnTo>
                <a:lnTo>
                  <a:pt x="246" y="168"/>
                </a:lnTo>
                <a:lnTo>
                  <a:pt x="236" y="166"/>
                </a:lnTo>
                <a:lnTo>
                  <a:pt x="231" y="164"/>
                </a:lnTo>
                <a:lnTo>
                  <a:pt x="226" y="166"/>
                </a:lnTo>
                <a:lnTo>
                  <a:pt x="188" y="168"/>
                </a:lnTo>
                <a:lnTo>
                  <a:pt x="183" y="168"/>
                </a:lnTo>
                <a:lnTo>
                  <a:pt x="179" y="166"/>
                </a:lnTo>
                <a:lnTo>
                  <a:pt x="173" y="162"/>
                </a:lnTo>
                <a:lnTo>
                  <a:pt x="167" y="159"/>
                </a:lnTo>
                <a:lnTo>
                  <a:pt x="163" y="156"/>
                </a:lnTo>
                <a:lnTo>
                  <a:pt x="157" y="151"/>
                </a:lnTo>
                <a:lnTo>
                  <a:pt x="153" y="146"/>
                </a:lnTo>
                <a:lnTo>
                  <a:pt x="149" y="142"/>
                </a:lnTo>
                <a:lnTo>
                  <a:pt x="144" y="139"/>
                </a:lnTo>
                <a:lnTo>
                  <a:pt x="141" y="138"/>
                </a:lnTo>
                <a:lnTo>
                  <a:pt x="136" y="136"/>
                </a:lnTo>
                <a:lnTo>
                  <a:pt x="127" y="133"/>
                </a:lnTo>
                <a:lnTo>
                  <a:pt x="122" y="132"/>
                </a:lnTo>
                <a:lnTo>
                  <a:pt x="117" y="130"/>
                </a:lnTo>
                <a:lnTo>
                  <a:pt x="109" y="128"/>
                </a:lnTo>
                <a:lnTo>
                  <a:pt x="104" y="126"/>
                </a:lnTo>
                <a:lnTo>
                  <a:pt x="101" y="126"/>
                </a:lnTo>
                <a:lnTo>
                  <a:pt x="99" y="127"/>
                </a:lnTo>
                <a:lnTo>
                  <a:pt x="95" y="127"/>
                </a:lnTo>
                <a:lnTo>
                  <a:pt x="85" y="124"/>
                </a:lnTo>
                <a:lnTo>
                  <a:pt x="78" y="123"/>
                </a:lnTo>
                <a:lnTo>
                  <a:pt x="72" y="122"/>
                </a:lnTo>
                <a:lnTo>
                  <a:pt x="70" y="121"/>
                </a:lnTo>
                <a:lnTo>
                  <a:pt x="69" y="118"/>
                </a:lnTo>
                <a:lnTo>
                  <a:pt x="69" y="113"/>
                </a:lnTo>
                <a:lnTo>
                  <a:pt x="68" y="109"/>
                </a:lnTo>
                <a:lnTo>
                  <a:pt x="64" y="104"/>
                </a:lnTo>
                <a:lnTo>
                  <a:pt x="61" y="99"/>
                </a:lnTo>
                <a:lnTo>
                  <a:pt x="54" y="89"/>
                </a:lnTo>
                <a:lnTo>
                  <a:pt x="50" y="86"/>
                </a:lnTo>
                <a:lnTo>
                  <a:pt x="45" y="80"/>
                </a:lnTo>
                <a:lnTo>
                  <a:pt x="41" y="77"/>
                </a:lnTo>
                <a:lnTo>
                  <a:pt x="36" y="77"/>
                </a:lnTo>
                <a:lnTo>
                  <a:pt x="32" y="75"/>
                </a:lnTo>
                <a:lnTo>
                  <a:pt x="28" y="73"/>
                </a:lnTo>
                <a:lnTo>
                  <a:pt x="26" y="77"/>
                </a:lnTo>
                <a:lnTo>
                  <a:pt x="22" y="73"/>
                </a:lnTo>
                <a:lnTo>
                  <a:pt x="18" y="69"/>
                </a:lnTo>
                <a:lnTo>
                  <a:pt x="8" y="65"/>
                </a:lnTo>
                <a:lnTo>
                  <a:pt x="2" y="59"/>
                </a:lnTo>
                <a:lnTo>
                  <a:pt x="0" y="57"/>
                </a:lnTo>
                <a:lnTo>
                  <a:pt x="0" y="56"/>
                </a:lnTo>
                <a:lnTo>
                  <a:pt x="0" y="56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69" name="Freeform 268"/>
          <p:cNvSpPr>
            <a:spLocks/>
          </p:cNvSpPr>
          <p:nvPr/>
        </p:nvSpPr>
        <p:spPr bwMode="auto">
          <a:xfrm>
            <a:off x="6896100" y="3382928"/>
            <a:ext cx="107950" cy="155575"/>
          </a:xfrm>
          <a:custGeom>
            <a:avLst/>
            <a:gdLst>
              <a:gd name="T0" fmla="*/ 1 w 68"/>
              <a:gd name="T1" fmla="*/ 6 h 98"/>
              <a:gd name="T2" fmla="*/ 1 w 68"/>
              <a:gd name="T3" fmla="*/ 6 h 98"/>
              <a:gd name="T4" fmla="*/ 2 w 68"/>
              <a:gd name="T5" fmla="*/ 9 h 98"/>
              <a:gd name="T6" fmla="*/ 3 w 68"/>
              <a:gd name="T7" fmla="*/ 15 h 98"/>
              <a:gd name="T8" fmla="*/ 4 w 68"/>
              <a:gd name="T9" fmla="*/ 19 h 98"/>
              <a:gd name="T10" fmla="*/ 5 w 68"/>
              <a:gd name="T11" fmla="*/ 30 h 98"/>
              <a:gd name="T12" fmla="*/ 6 w 68"/>
              <a:gd name="T13" fmla="*/ 34 h 98"/>
              <a:gd name="T14" fmla="*/ 9 w 68"/>
              <a:gd name="T15" fmla="*/ 36 h 98"/>
              <a:gd name="T16" fmla="*/ 9 w 68"/>
              <a:gd name="T17" fmla="*/ 39 h 98"/>
              <a:gd name="T18" fmla="*/ 9 w 68"/>
              <a:gd name="T19" fmla="*/ 44 h 98"/>
              <a:gd name="T20" fmla="*/ 11 w 68"/>
              <a:gd name="T21" fmla="*/ 48 h 98"/>
              <a:gd name="T22" fmla="*/ 11 w 68"/>
              <a:gd name="T23" fmla="*/ 50 h 98"/>
              <a:gd name="T24" fmla="*/ 16 w 68"/>
              <a:gd name="T25" fmla="*/ 58 h 98"/>
              <a:gd name="T26" fmla="*/ 20 w 68"/>
              <a:gd name="T27" fmla="*/ 61 h 98"/>
              <a:gd name="T28" fmla="*/ 22 w 68"/>
              <a:gd name="T29" fmla="*/ 66 h 98"/>
              <a:gd name="T30" fmla="*/ 22 w 68"/>
              <a:gd name="T31" fmla="*/ 70 h 98"/>
              <a:gd name="T32" fmla="*/ 25 w 68"/>
              <a:gd name="T33" fmla="*/ 74 h 98"/>
              <a:gd name="T34" fmla="*/ 30 w 68"/>
              <a:gd name="T35" fmla="*/ 77 h 98"/>
              <a:gd name="T36" fmla="*/ 36 w 68"/>
              <a:gd name="T37" fmla="*/ 84 h 98"/>
              <a:gd name="T38" fmla="*/ 40 w 68"/>
              <a:gd name="T39" fmla="*/ 85 h 98"/>
              <a:gd name="T40" fmla="*/ 44 w 68"/>
              <a:gd name="T41" fmla="*/ 89 h 98"/>
              <a:gd name="T42" fmla="*/ 47 w 68"/>
              <a:gd name="T43" fmla="*/ 90 h 98"/>
              <a:gd name="T44" fmla="*/ 51 w 68"/>
              <a:gd name="T45" fmla="*/ 92 h 98"/>
              <a:gd name="T46" fmla="*/ 55 w 68"/>
              <a:gd name="T47" fmla="*/ 97 h 98"/>
              <a:gd name="T48" fmla="*/ 55 w 68"/>
              <a:gd name="T49" fmla="*/ 96 h 98"/>
              <a:gd name="T50" fmla="*/ 57 w 68"/>
              <a:gd name="T51" fmla="*/ 98 h 98"/>
              <a:gd name="T52" fmla="*/ 58 w 68"/>
              <a:gd name="T53" fmla="*/ 96 h 98"/>
              <a:gd name="T54" fmla="*/ 58 w 68"/>
              <a:gd name="T55" fmla="*/ 95 h 98"/>
              <a:gd name="T56" fmla="*/ 61 w 68"/>
              <a:gd name="T57" fmla="*/ 94 h 98"/>
              <a:gd name="T58" fmla="*/ 64 w 68"/>
              <a:gd name="T59" fmla="*/ 94 h 98"/>
              <a:gd name="T60" fmla="*/ 67 w 68"/>
              <a:gd name="T61" fmla="*/ 97 h 98"/>
              <a:gd name="T62" fmla="*/ 68 w 68"/>
              <a:gd name="T63" fmla="*/ 95 h 98"/>
              <a:gd name="T64" fmla="*/ 68 w 68"/>
              <a:gd name="T65" fmla="*/ 89 h 98"/>
              <a:gd name="T66" fmla="*/ 64 w 68"/>
              <a:gd name="T67" fmla="*/ 79 h 98"/>
              <a:gd name="T68" fmla="*/ 62 w 68"/>
              <a:gd name="T69" fmla="*/ 75 h 98"/>
              <a:gd name="T70" fmla="*/ 57 w 68"/>
              <a:gd name="T71" fmla="*/ 70 h 98"/>
              <a:gd name="T72" fmla="*/ 55 w 68"/>
              <a:gd name="T73" fmla="*/ 65 h 98"/>
              <a:gd name="T74" fmla="*/ 54 w 68"/>
              <a:gd name="T75" fmla="*/ 50 h 98"/>
              <a:gd name="T76" fmla="*/ 54 w 68"/>
              <a:gd name="T77" fmla="*/ 42 h 98"/>
              <a:gd name="T78" fmla="*/ 54 w 68"/>
              <a:gd name="T79" fmla="*/ 37 h 98"/>
              <a:gd name="T80" fmla="*/ 54 w 68"/>
              <a:gd name="T81" fmla="*/ 33 h 98"/>
              <a:gd name="T82" fmla="*/ 52 w 68"/>
              <a:gd name="T83" fmla="*/ 29 h 98"/>
              <a:gd name="T84" fmla="*/ 46 w 68"/>
              <a:gd name="T85" fmla="*/ 21 h 98"/>
              <a:gd name="T86" fmla="*/ 40 w 68"/>
              <a:gd name="T87" fmla="*/ 15 h 98"/>
              <a:gd name="T88" fmla="*/ 35 w 68"/>
              <a:gd name="T89" fmla="*/ 10 h 98"/>
              <a:gd name="T90" fmla="*/ 32 w 68"/>
              <a:gd name="T91" fmla="*/ 10 h 98"/>
              <a:gd name="T92" fmla="*/ 31 w 68"/>
              <a:gd name="T93" fmla="*/ 15 h 98"/>
              <a:gd name="T94" fmla="*/ 27 w 68"/>
              <a:gd name="T95" fmla="*/ 15 h 98"/>
              <a:gd name="T96" fmla="*/ 24 w 68"/>
              <a:gd name="T97" fmla="*/ 15 h 98"/>
              <a:gd name="T98" fmla="*/ 17 w 68"/>
              <a:gd name="T99" fmla="*/ 19 h 98"/>
              <a:gd name="T100" fmla="*/ 16 w 68"/>
              <a:gd name="T101" fmla="*/ 16 h 98"/>
              <a:gd name="T102" fmla="*/ 16 w 68"/>
              <a:gd name="T103" fmla="*/ 10 h 98"/>
              <a:gd name="T104" fmla="*/ 13 w 68"/>
              <a:gd name="T105" fmla="*/ 6 h 98"/>
              <a:gd name="T106" fmla="*/ 11 w 68"/>
              <a:gd name="T107" fmla="*/ 5 h 98"/>
              <a:gd name="T108" fmla="*/ 5 w 68"/>
              <a:gd name="T109" fmla="*/ 4 h 98"/>
              <a:gd name="T110" fmla="*/ 3 w 68"/>
              <a:gd name="T111" fmla="*/ 0 h 98"/>
              <a:gd name="T112" fmla="*/ 0 w 68"/>
              <a:gd name="T113" fmla="*/ 0 h 98"/>
              <a:gd name="T114" fmla="*/ 1 w 68"/>
              <a:gd name="T115" fmla="*/ 6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8" h="98">
                <a:moveTo>
                  <a:pt x="1" y="6"/>
                </a:moveTo>
                <a:lnTo>
                  <a:pt x="1" y="6"/>
                </a:lnTo>
                <a:lnTo>
                  <a:pt x="2" y="9"/>
                </a:lnTo>
                <a:lnTo>
                  <a:pt x="3" y="15"/>
                </a:lnTo>
                <a:lnTo>
                  <a:pt x="4" y="19"/>
                </a:lnTo>
                <a:lnTo>
                  <a:pt x="5" y="30"/>
                </a:lnTo>
                <a:lnTo>
                  <a:pt x="6" y="34"/>
                </a:lnTo>
                <a:lnTo>
                  <a:pt x="9" y="36"/>
                </a:lnTo>
                <a:lnTo>
                  <a:pt x="9" y="39"/>
                </a:lnTo>
                <a:lnTo>
                  <a:pt x="9" y="44"/>
                </a:lnTo>
                <a:lnTo>
                  <a:pt x="11" y="48"/>
                </a:lnTo>
                <a:lnTo>
                  <a:pt x="11" y="50"/>
                </a:lnTo>
                <a:lnTo>
                  <a:pt x="16" y="58"/>
                </a:lnTo>
                <a:lnTo>
                  <a:pt x="20" y="61"/>
                </a:lnTo>
                <a:lnTo>
                  <a:pt x="22" y="66"/>
                </a:lnTo>
                <a:lnTo>
                  <a:pt x="22" y="70"/>
                </a:lnTo>
                <a:lnTo>
                  <a:pt x="25" y="74"/>
                </a:lnTo>
                <a:lnTo>
                  <a:pt x="30" y="77"/>
                </a:lnTo>
                <a:lnTo>
                  <a:pt x="36" y="84"/>
                </a:lnTo>
                <a:lnTo>
                  <a:pt x="40" y="85"/>
                </a:lnTo>
                <a:lnTo>
                  <a:pt x="44" y="89"/>
                </a:lnTo>
                <a:lnTo>
                  <a:pt x="47" y="90"/>
                </a:lnTo>
                <a:lnTo>
                  <a:pt x="51" y="92"/>
                </a:lnTo>
                <a:lnTo>
                  <a:pt x="55" y="97"/>
                </a:lnTo>
                <a:lnTo>
                  <a:pt x="55" y="96"/>
                </a:lnTo>
                <a:lnTo>
                  <a:pt x="57" y="98"/>
                </a:lnTo>
                <a:lnTo>
                  <a:pt x="58" y="96"/>
                </a:lnTo>
                <a:lnTo>
                  <a:pt x="58" y="95"/>
                </a:lnTo>
                <a:lnTo>
                  <a:pt x="61" y="94"/>
                </a:lnTo>
                <a:lnTo>
                  <a:pt x="64" y="94"/>
                </a:lnTo>
                <a:lnTo>
                  <a:pt x="67" y="97"/>
                </a:lnTo>
                <a:lnTo>
                  <a:pt x="68" y="95"/>
                </a:lnTo>
                <a:lnTo>
                  <a:pt x="68" y="89"/>
                </a:lnTo>
                <a:lnTo>
                  <a:pt x="64" y="79"/>
                </a:lnTo>
                <a:lnTo>
                  <a:pt x="62" y="75"/>
                </a:lnTo>
                <a:lnTo>
                  <a:pt x="57" y="70"/>
                </a:lnTo>
                <a:lnTo>
                  <a:pt x="55" y="65"/>
                </a:lnTo>
                <a:lnTo>
                  <a:pt x="54" y="50"/>
                </a:lnTo>
                <a:lnTo>
                  <a:pt x="54" y="42"/>
                </a:lnTo>
                <a:lnTo>
                  <a:pt x="54" y="37"/>
                </a:lnTo>
                <a:lnTo>
                  <a:pt x="54" y="33"/>
                </a:lnTo>
                <a:lnTo>
                  <a:pt x="52" y="29"/>
                </a:lnTo>
                <a:lnTo>
                  <a:pt x="46" y="21"/>
                </a:lnTo>
                <a:lnTo>
                  <a:pt x="40" y="15"/>
                </a:lnTo>
                <a:lnTo>
                  <a:pt x="35" y="10"/>
                </a:lnTo>
                <a:lnTo>
                  <a:pt x="32" y="10"/>
                </a:lnTo>
                <a:lnTo>
                  <a:pt x="31" y="15"/>
                </a:lnTo>
                <a:lnTo>
                  <a:pt x="27" y="15"/>
                </a:lnTo>
                <a:lnTo>
                  <a:pt x="24" y="15"/>
                </a:lnTo>
                <a:lnTo>
                  <a:pt x="17" y="19"/>
                </a:lnTo>
                <a:lnTo>
                  <a:pt x="16" y="16"/>
                </a:lnTo>
                <a:lnTo>
                  <a:pt x="16" y="10"/>
                </a:lnTo>
                <a:lnTo>
                  <a:pt x="13" y="6"/>
                </a:lnTo>
                <a:lnTo>
                  <a:pt x="11" y="5"/>
                </a:lnTo>
                <a:lnTo>
                  <a:pt x="5" y="4"/>
                </a:lnTo>
                <a:lnTo>
                  <a:pt x="3" y="0"/>
                </a:lnTo>
                <a:lnTo>
                  <a:pt x="0" y="0"/>
                </a:lnTo>
                <a:lnTo>
                  <a:pt x="1" y="6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70" name="Freeform 269"/>
          <p:cNvSpPr>
            <a:spLocks/>
          </p:cNvSpPr>
          <p:nvPr/>
        </p:nvSpPr>
        <p:spPr bwMode="auto">
          <a:xfrm>
            <a:off x="6896100" y="3382928"/>
            <a:ext cx="107950" cy="155575"/>
          </a:xfrm>
          <a:custGeom>
            <a:avLst/>
            <a:gdLst>
              <a:gd name="T0" fmla="*/ 1 w 68"/>
              <a:gd name="T1" fmla="*/ 6 h 98"/>
              <a:gd name="T2" fmla="*/ 1 w 68"/>
              <a:gd name="T3" fmla="*/ 6 h 98"/>
              <a:gd name="T4" fmla="*/ 2 w 68"/>
              <a:gd name="T5" fmla="*/ 9 h 98"/>
              <a:gd name="T6" fmla="*/ 3 w 68"/>
              <a:gd name="T7" fmla="*/ 15 h 98"/>
              <a:gd name="T8" fmla="*/ 4 w 68"/>
              <a:gd name="T9" fmla="*/ 19 h 98"/>
              <a:gd name="T10" fmla="*/ 5 w 68"/>
              <a:gd name="T11" fmla="*/ 30 h 98"/>
              <a:gd name="T12" fmla="*/ 6 w 68"/>
              <a:gd name="T13" fmla="*/ 34 h 98"/>
              <a:gd name="T14" fmla="*/ 9 w 68"/>
              <a:gd name="T15" fmla="*/ 36 h 98"/>
              <a:gd name="T16" fmla="*/ 9 w 68"/>
              <a:gd name="T17" fmla="*/ 39 h 98"/>
              <a:gd name="T18" fmla="*/ 9 w 68"/>
              <a:gd name="T19" fmla="*/ 44 h 98"/>
              <a:gd name="T20" fmla="*/ 11 w 68"/>
              <a:gd name="T21" fmla="*/ 48 h 98"/>
              <a:gd name="T22" fmla="*/ 11 w 68"/>
              <a:gd name="T23" fmla="*/ 50 h 98"/>
              <a:gd name="T24" fmla="*/ 16 w 68"/>
              <a:gd name="T25" fmla="*/ 58 h 98"/>
              <a:gd name="T26" fmla="*/ 20 w 68"/>
              <a:gd name="T27" fmla="*/ 61 h 98"/>
              <a:gd name="T28" fmla="*/ 22 w 68"/>
              <a:gd name="T29" fmla="*/ 66 h 98"/>
              <a:gd name="T30" fmla="*/ 22 w 68"/>
              <a:gd name="T31" fmla="*/ 70 h 98"/>
              <a:gd name="T32" fmla="*/ 25 w 68"/>
              <a:gd name="T33" fmla="*/ 74 h 98"/>
              <a:gd name="T34" fmla="*/ 30 w 68"/>
              <a:gd name="T35" fmla="*/ 77 h 98"/>
              <a:gd name="T36" fmla="*/ 36 w 68"/>
              <a:gd name="T37" fmla="*/ 84 h 98"/>
              <a:gd name="T38" fmla="*/ 40 w 68"/>
              <a:gd name="T39" fmla="*/ 85 h 98"/>
              <a:gd name="T40" fmla="*/ 44 w 68"/>
              <a:gd name="T41" fmla="*/ 89 h 98"/>
              <a:gd name="T42" fmla="*/ 47 w 68"/>
              <a:gd name="T43" fmla="*/ 90 h 98"/>
              <a:gd name="T44" fmla="*/ 51 w 68"/>
              <a:gd name="T45" fmla="*/ 92 h 98"/>
              <a:gd name="T46" fmla="*/ 55 w 68"/>
              <a:gd name="T47" fmla="*/ 97 h 98"/>
              <a:gd name="T48" fmla="*/ 55 w 68"/>
              <a:gd name="T49" fmla="*/ 96 h 98"/>
              <a:gd name="T50" fmla="*/ 57 w 68"/>
              <a:gd name="T51" fmla="*/ 98 h 98"/>
              <a:gd name="T52" fmla="*/ 58 w 68"/>
              <a:gd name="T53" fmla="*/ 96 h 98"/>
              <a:gd name="T54" fmla="*/ 58 w 68"/>
              <a:gd name="T55" fmla="*/ 95 h 98"/>
              <a:gd name="T56" fmla="*/ 61 w 68"/>
              <a:gd name="T57" fmla="*/ 94 h 98"/>
              <a:gd name="T58" fmla="*/ 64 w 68"/>
              <a:gd name="T59" fmla="*/ 94 h 98"/>
              <a:gd name="T60" fmla="*/ 67 w 68"/>
              <a:gd name="T61" fmla="*/ 97 h 98"/>
              <a:gd name="T62" fmla="*/ 68 w 68"/>
              <a:gd name="T63" fmla="*/ 95 h 98"/>
              <a:gd name="T64" fmla="*/ 68 w 68"/>
              <a:gd name="T65" fmla="*/ 89 h 98"/>
              <a:gd name="T66" fmla="*/ 64 w 68"/>
              <a:gd name="T67" fmla="*/ 79 h 98"/>
              <a:gd name="T68" fmla="*/ 62 w 68"/>
              <a:gd name="T69" fmla="*/ 75 h 98"/>
              <a:gd name="T70" fmla="*/ 57 w 68"/>
              <a:gd name="T71" fmla="*/ 70 h 98"/>
              <a:gd name="T72" fmla="*/ 55 w 68"/>
              <a:gd name="T73" fmla="*/ 65 h 98"/>
              <a:gd name="T74" fmla="*/ 54 w 68"/>
              <a:gd name="T75" fmla="*/ 50 h 98"/>
              <a:gd name="T76" fmla="*/ 54 w 68"/>
              <a:gd name="T77" fmla="*/ 42 h 98"/>
              <a:gd name="T78" fmla="*/ 54 w 68"/>
              <a:gd name="T79" fmla="*/ 37 h 98"/>
              <a:gd name="T80" fmla="*/ 54 w 68"/>
              <a:gd name="T81" fmla="*/ 33 h 98"/>
              <a:gd name="T82" fmla="*/ 52 w 68"/>
              <a:gd name="T83" fmla="*/ 29 h 98"/>
              <a:gd name="T84" fmla="*/ 46 w 68"/>
              <a:gd name="T85" fmla="*/ 21 h 98"/>
              <a:gd name="T86" fmla="*/ 40 w 68"/>
              <a:gd name="T87" fmla="*/ 15 h 98"/>
              <a:gd name="T88" fmla="*/ 35 w 68"/>
              <a:gd name="T89" fmla="*/ 10 h 98"/>
              <a:gd name="T90" fmla="*/ 32 w 68"/>
              <a:gd name="T91" fmla="*/ 10 h 98"/>
              <a:gd name="T92" fmla="*/ 31 w 68"/>
              <a:gd name="T93" fmla="*/ 15 h 98"/>
              <a:gd name="T94" fmla="*/ 27 w 68"/>
              <a:gd name="T95" fmla="*/ 15 h 98"/>
              <a:gd name="T96" fmla="*/ 24 w 68"/>
              <a:gd name="T97" fmla="*/ 15 h 98"/>
              <a:gd name="T98" fmla="*/ 17 w 68"/>
              <a:gd name="T99" fmla="*/ 19 h 98"/>
              <a:gd name="T100" fmla="*/ 16 w 68"/>
              <a:gd name="T101" fmla="*/ 16 h 98"/>
              <a:gd name="T102" fmla="*/ 16 w 68"/>
              <a:gd name="T103" fmla="*/ 10 h 98"/>
              <a:gd name="T104" fmla="*/ 13 w 68"/>
              <a:gd name="T105" fmla="*/ 6 h 98"/>
              <a:gd name="T106" fmla="*/ 11 w 68"/>
              <a:gd name="T107" fmla="*/ 5 h 98"/>
              <a:gd name="T108" fmla="*/ 5 w 68"/>
              <a:gd name="T109" fmla="*/ 4 h 98"/>
              <a:gd name="T110" fmla="*/ 3 w 68"/>
              <a:gd name="T111" fmla="*/ 0 h 98"/>
              <a:gd name="T112" fmla="*/ 0 w 68"/>
              <a:gd name="T113" fmla="*/ 0 h 98"/>
              <a:gd name="T114" fmla="*/ 1 w 68"/>
              <a:gd name="T115" fmla="*/ 6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68" h="98">
                <a:moveTo>
                  <a:pt x="1" y="6"/>
                </a:moveTo>
                <a:lnTo>
                  <a:pt x="1" y="6"/>
                </a:lnTo>
                <a:lnTo>
                  <a:pt x="2" y="9"/>
                </a:lnTo>
                <a:lnTo>
                  <a:pt x="3" y="15"/>
                </a:lnTo>
                <a:lnTo>
                  <a:pt x="4" y="19"/>
                </a:lnTo>
                <a:lnTo>
                  <a:pt x="5" y="30"/>
                </a:lnTo>
                <a:lnTo>
                  <a:pt x="6" y="34"/>
                </a:lnTo>
                <a:lnTo>
                  <a:pt x="9" y="36"/>
                </a:lnTo>
                <a:lnTo>
                  <a:pt x="9" y="39"/>
                </a:lnTo>
                <a:lnTo>
                  <a:pt x="9" y="44"/>
                </a:lnTo>
                <a:lnTo>
                  <a:pt x="11" y="48"/>
                </a:lnTo>
                <a:lnTo>
                  <a:pt x="11" y="50"/>
                </a:lnTo>
                <a:lnTo>
                  <a:pt x="16" y="58"/>
                </a:lnTo>
                <a:lnTo>
                  <a:pt x="20" y="61"/>
                </a:lnTo>
                <a:lnTo>
                  <a:pt x="22" y="66"/>
                </a:lnTo>
                <a:lnTo>
                  <a:pt x="22" y="70"/>
                </a:lnTo>
                <a:lnTo>
                  <a:pt x="25" y="74"/>
                </a:lnTo>
                <a:lnTo>
                  <a:pt x="30" y="77"/>
                </a:lnTo>
                <a:lnTo>
                  <a:pt x="36" y="84"/>
                </a:lnTo>
                <a:lnTo>
                  <a:pt x="40" y="85"/>
                </a:lnTo>
                <a:lnTo>
                  <a:pt x="44" y="89"/>
                </a:lnTo>
                <a:lnTo>
                  <a:pt x="47" y="90"/>
                </a:lnTo>
                <a:lnTo>
                  <a:pt x="51" y="92"/>
                </a:lnTo>
                <a:lnTo>
                  <a:pt x="55" y="97"/>
                </a:lnTo>
                <a:lnTo>
                  <a:pt x="55" y="96"/>
                </a:lnTo>
                <a:lnTo>
                  <a:pt x="57" y="98"/>
                </a:lnTo>
                <a:lnTo>
                  <a:pt x="58" y="96"/>
                </a:lnTo>
                <a:lnTo>
                  <a:pt x="58" y="95"/>
                </a:lnTo>
                <a:lnTo>
                  <a:pt x="61" y="94"/>
                </a:lnTo>
                <a:lnTo>
                  <a:pt x="64" y="94"/>
                </a:lnTo>
                <a:lnTo>
                  <a:pt x="67" y="97"/>
                </a:lnTo>
                <a:lnTo>
                  <a:pt x="68" y="95"/>
                </a:lnTo>
                <a:lnTo>
                  <a:pt x="68" y="89"/>
                </a:lnTo>
                <a:lnTo>
                  <a:pt x="64" y="79"/>
                </a:lnTo>
                <a:lnTo>
                  <a:pt x="62" y="75"/>
                </a:lnTo>
                <a:lnTo>
                  <a:pt x="57" y="70"/>
                </a:lnTo>
                <a:lnTo>
                  <a:pt x="55" y="65"/>
                </a:lnTo>
                <a:lnTo>
                  <a:pt x="54" y="50"/>
                </a:lnTo>
                <a:lnTo>
                  <a:pt x="54" y="42"/>
                </a:lnTo>
                <a:lnTo>
                  <a:pt x="54" y="37"/>
                </a:lnTo>
                <a:lnTo>
                  <a:pt x="54" y="33"/>
                </a:lnTo>
                <a:lnTo>
                  <a:pt x="52" y="29"/>
                </a:lnTo>
                <a:lnTo>
                  <a:pt x="46" y="21"/>
                </a:lnTo>
                <a:lnTo>
                  <a:pt x="40" y="15"/>
                </a:lnTo>
                <a:lnTo>
                  <a:pt x="35" y="10"/>
                </a:lnTo>
                <a:lnTo>
                  <a:pt x="32" y="10"/>
                </a:lnTo>
                <a:lnTo>
                  <a:pt x="31" y="15"/>
                </a:lnTo>
                <a:lnTo>
                  <a:pt x="27" y="15"/>
                </a:lnTo>
                <a:lnTo>
                  <a:pt x="24" y="15"/>
                </a:lnTo>
                <a:lnTo>
                  <a:pt x="17" y="19"/>
                </a:lnTo>
                <a:lnTo>
                  <a:pt x="16" y="16"/>
                </a:lnTo>
                <a:lnTo>
                  <a:pt x="16" y="10"/>
                </a:lnTo>
                <a:lnTo>
                  <a:pt x="13" y="6"/>
                </a:lnTo>
                <a:lnTo>
                  <a:pt x="11" y="5"/>
                </a:lnTo>
                <a:lnTo>
                  <a:pt x="5" y="4"/>
                </a:lnTo>
                <a:lnTo>
                  <a:pt x="3" y="0"/>
                </a:lnTo>
                <a:lnTo>
                  <a:pt x="0" y="0"/>
                </a:lnTo>
                <a:lnTo>
                  <a:pt x="1" y="6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71" name="Freeform 270"/>
          <p:cNvSpPr>
            <a:spLocks/>
          </p:cNvSpPr>
          <p:nvPr/>
        </p:nvSpPr>
        <p:spPr bwMode="auto">
          <a:xfrm>
            <a:off x="4651375" y="2008153"/>
            <a:ext cx="225425" cy="157163"/>
          </a:xfrm>
          <a:custGeom>
            <a:avLst/>
            <a:gdLst>
              <a:gd name="T0" fmla="*/ 134 w 142"/>
              <a:gd name="T1" fmla="*/ 61 h 99"/>
              <a:gd name="T2" fmla="*/ 141 w 142"/>
              <a:gd name="T3" fmla="*/ 67 h 99"/>
              <a:gd name="T4" fmla="*/ 142 w 142"/>
              <a:gd name="T5" fmla="*/ 76 h 99"/>
              <a:gd name="T6" fmla="*/ 130 w 142"/>
              <a:gd name="T7" fmla="*/ 85 h 99"/>
              <a:gd name="T8" fmla="*/ 127 w 142"/>
              <a:gd name="T9" fmla="*/ 99 h 99"/>
              <a:gd name="T10" fmla="*/ 121 w 142"/>
              <a:gd name="T11" fmla="*/ 98 h 99"/>
              <a:gd name="T12" fmla="*/ 112 w 142"/>
              <a:gd name="T13" fmla="*/ 94 h 99"/>
              <a:gd name="T14" fmla="*/ 103 w 142"/>
              <a:gd name="T15" fmla="*/ 95 h 99"/>
              <a:gd name="T16" fmla="*/ 94 w 142"/>
              <a:gd name="T17" fmla="*/ 94 h 99"/>
              <a:gd name="T18" fmla="*/ 88 w 142"/>
              <a:gd name="T19" fmla="*/ 97 h 99"/>
              <a:gd name="T20" fmla="*/ 80 w 142"/>
              <a:gd name="T21" fmla="*/ 92 h 99"/>
              <a:gd name="T22" fmla="*/ 72 w 142"/>
              <a:gd name="T23" fmla="*/ 92 h 99"/>
              <a:gd name="T24" fmla="*/ 59 w 142"/>
              <a:gd name="T25" fmla="*/ 83 h 99"/>
              <a:gd name="T26" fmla="*/ 56 w 142"/>
              <a:gd name="T27" fmla="*/ 78 h 99"/>
              <a:gd name="T28" fmla="*/ 43 w 142"/>
              <a:gd name="T29" fmla="*/ 77 h 99"/>
              <a:gd name="T30" fmla="*/ 40 w 142"/>
              <a:gd name="T31" fmla="*/ 79 h 99"/>
              <a:gd name="T32" fmla="*/ 36 w 142"/>
              <a:gd name="T33" fmla="*/ 73 h 99"/>
              <a:gd name="T34" fmla="*/ 30 w 142"/>
              <a:gd name="T35" fmla="*/ 71 h 99"/>
              <a:gd name="T36" fmla="*/ 21 w 142"/>
              <a:gd name="T37" fmla="*/ 67 h 99"/>
              <a:gd name="T38" fmla="*/ 13 w 142"/>
              <a:gd name="T39" fmla="*/ 68 h 99"/>
              <a:gd name="T40" fmla="*/ 14 w 142"/>
              <a:gd name="T41" fmla="*/ 59 h 99"/>
              <a:gd name="T42" fmla="*/ 9 w 142"/>
              <a:gd name="T43" fmla="*/ 49 h 99"/>
              <a:gd name="T44" fmla="*/ 7 w 142"/>
              <a:gd name="T45" fmla="*/ 43 h 99"/>
              <a:gd name="T46" fmla="*/ 1 w 142"/>
              <a:gd name="T47" fmla="*/ 35 h 99"/>
              <a:gd name="T48" fmla="*/ 3 w 142"/>
              <a:gd name="T49" fmla="*/ 28 h 99"/>
              <a:gd name="T50" fmla="*/ 1 w 142"/>
              <a:gd name="T51" fmla="*/ 19 h 99"/>
              <a:gd name="T52" fmla="*/ 6 w 142"/>
              <a:gd name="T53" fmla="*/ 18 h 99"/>
              <a:gd name="T54" fmla="*/ 3 w 142"/>
              <a:gd name="T55" fmla="*/ 15 h 99"/>
              <a:gd name="T56" fmla="*/ 9 w 142"/>
              <a:gd name="T57" fmla="*/ 13 h 99"/>
              <a:gd name="T58" fmla="*/ 24 w 142"/>
              <a:gd name="T59" fmla="*/ 10 h 99"/>
              <a:gd name="T60" fmla="*/ 40 w 142"/>
              <a:gd name="T61" fmla="*/ 1 h 99"/>
              <a:gd name="T62" fmla="*/ 57 w 142"/>
              <a:gd name="T63" fmla="*/ 0 h 99"/>
              <a:gd name="T64" fmla="*/ 61 w 142"/>
              <a:gd name="T65" fmla="*/ 3 h 99"/>
              <a:gd name="T66" fmla="*/ 61 w 142"/>
              <a:gd name="T67" fmla="*/ 8 h 99"/>
              <a:gd name="T68" fmla="*/ 63 w 142"/>
              <a:gd name="T69" fmla="*/ 7 h 99"/>
              <a:gd name="T70" fmla="*/ 70 w 142"/>
              <a:gd name="T71" fmla="*/ 7 h 99"/>
              <a:gd name="T72" fmla="*/ 92 w 142"/>
              <a:gd name="T73" fmla="*/ 8 h 99"/>
              <a:gd name="T74" fmla="*/ 117 w 142"/>
              <a:gd name="T75" fmla="*/ 7 h 99"/>
              <a:gd name="T76" fmla="*/ 127 w 142"/>
              <a:gd name="T77" fmla="*/ 13 h 99"/>
              <a:gd name="T78" fmla="*/ 133 w 142"/>
              <a:gd name="T79" fmla="*/ 29 h 99"/>
              <a:gd name="T80" fmla="*/ 132 w 142"/>
              <a:gd name="T81" fmla="*/ 39 h 99"/>
              <a:gd name="T82" fmla="*/ 128 w 142"/>
              <a:gd name="T83" fmla="*/ 45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42" h="99">
                <a:moveTo>
                  <a:pt x="132" y="56"/>
                </a:moveTo>
                <a:lnTo>
                  <a:pt x="134" y="58"/>
                </a:lnTo>
                <a:lnTo>
                  <a:pt x="134" y="61"/>
                </a:lnTo>
                <a:lnTo>
                  <a:pt x="137" y="64"/>
                </a:lnTo>
                <a:lnTo>
                  <a:pt x="138" y="65"/>
                </a:lnTo>
                <a:lnTo>
                  <a:pt x="141" y="67"/>
                </a:lnTo>
                <a:lnTo>
                  <a:pt x="141" y="69"/>
                </a:lnTo>
                <a:lnTo>
                  <a:pt x="142" y="73"/>
                </a:lnTo>
                <a:lnTo>
                  <a:pt x="142" y="76"/>
                </a:lnTo>
                <a:lnTo>
                  <a:pt x="138" y="78"/>
                </a:lnTo>
                <a:lnTo>
                  <a:pt x="133" y="82"/>
                </a:lnTo>
                <a:lnTo>
                  <a:pt x="130" y="85"/>
                </a:lnTo>
                <a:lnTo>
                  <a:pt x="127" y="93"/>
                </a:lnTo>
                <a:lnTo>
                  <a:pt x="125" y="96"/>
                </a:lnTo>
                <a:lnTo>
                  <a:pt x="127" y="99"/>
                </a:lnTo>
                <a:lnTo>
                  <a:pt x="124" y="99"/>
                </a:lnTo>
                <a:lnTo>
                  <a:pt x="123" y="99"/>
                </a:lnTo>
                <a:lnTo>
                  <a:pt x="121" y="98"/>
                </a:lnTo>
                <a:lnTo>
                  <a:pt x="118" y="97"/>
                </a:lnTo>
                <a:lnTo>
                  <a:pt x="115" y="95"/>
                </a:lnTo>
                <a:lnTo>
                  <a:pt x="112" y="94"/>
                </a:lnTo>
                <a:lnTo>
                  <a:pt x="109" y="93"/>
                </a:lnTo>
                <a:lnTo>
                  <a:pt x="105" y="94"/>
                </a:lnTo>
                <a:lnTo>
                  <a:pt x="103" y="95"/>
                </a:lnTo>
                <a:lnTo>
                  <a:pt x="101" y="96"/>
                </a:lnTo>
                <a:lnTo>
                  <a:pt x="99" y="94"/>
                </a:lnTo>
                <a:lnTo>
                  <a:pt x="94" y="94"/>
                </a:lnTo>
                <a:lnTo>
                  <a:pt x="92" y="96"/>
                </a:lnTo>
                <a:lnTo>
                  <a:pt x="90" y="97"/>
                </a:lnTo>
                <a:lnTo>
                  <a:pt x="88" y="97"/>
                </a:lnTo>
                <a:lnTo>
                  <a:pt x="86" y="95"/>
                </a:lnTo>
                <a:lnTo>
                  <a:pt x="83" y="93"/>
                </a:lnTo>
                <a:lnTo>
                  <a:pt x="80" y="92"/>
                </a:lnTo>
                <a:lnTo>
                  <a:pt x="78" y="93"/>
                </a:lnTo>
                <a:lnTo>
                  <a:pt x="76" y="93"/>
                </a:lnTo>
                <a:lnTo>
                  <a:pt x="72" y="92"/>
                </a:lnTo>
                <a:lnTo>
                  <a:pt x="67" y="89"/>
                </a:lnTo>
                <a:lnTo>
                  <a:pt x="62" y="84"/>
                </a:lnTo>
                <a:lnTo>
                  <a:pt x="59" y="83"/>
                </a:lnTo>
                <a:lnTo>
                  <a:pt x="58" y="84"/>
                </a:lnTo>
                <a:lnTo>
                  <a:pt x="56" y="82"/>
                </a:lnTo>
                <a:lnTo>
                  <a:pt x="56" y="78"/>
                </a:lnTo>
                <a:lnTo>
                  <a:pt x="50" y="78"/>
                </a:lnTo>
                <a:lnTo>
                  <a:pt x="43" y="76"/>
                </a:lnTo>
                <a:lnTo>
                  <a:pt x="43" y="77"/>
                </a:lnTo>
                <a:lnTo>
                  <a:pt x="44" y="78"/>
                </a:lnTo>
                <a:lnTo>
                  <a:pt x="42" y="81"/>
                </a:lnTo>
                <a:lnTo>
                  <a:pt x="40" y="79"/>
                </a:lnTo>
                <a:lnTo>
                  <a:pt x="34" y="76"/>
                </a:lnTo>
                <a:lnTo>
                  <a:pt x="36" y="74"/>
                </a:lnTo>
                <a:lnTo>
                  <a:pt x="36" y="73"/>
                </a:lnTo>
                <a:lnTo>
                  <a:pt x="36" y="73"/>
                </a:lnTo>
                <a:lnTo>
                  <a:pt x="32" y="73"/>
                </a:lnTo>
                <a:lnTo>
                  <a:pt x="30" y="71"/>
                </a:lnTo>
                <a:lnTo>
                  <a:pt x="24" y="69"/>
                </a:lnTo>
                <a:lnTo>
                  <a:pt x="22" y="69"/>
                </a:lnTo>
                <a:lnTo>
                  <a:pt x="21" y="67"/>
                </a:lnTo>
                <a:lnTo>
                  <a:pt x="18" y="66"/>
                </a:lnTo>
                <a:lnTo>
                  <a:pt x="14" y="69"/>
                </a:lnTo>
                <a:lnTo>
                  <a:pt x="13" y="68"/>
                </a:lnTo>
                <a:lnTo>
                  <a:pt x="13" y="67"/>
                </a:lnTo>
                <a:lnTo>
                  <a:pt x="14" y="64"/>
                </a:lnTo>
                <a:lnTo>
                  <a:pt x="14" y="59"/>
                </a:lnTo>
                <a:lnTo>
                  <a:pt x="14" y="58"/>
                </a:lnTo>
                <a:lnTo>
                  <a:pt x="10" y="55"/>
                </a:lnTo>
                <a:lnTo>
                  <a:pt x="9" y="49"/>
                </a:lnTo>
                <a:lnTo>
                  <a:pt x="9" y="48"/>
                </a:lnTo>
                <a:lnTo>
                  <a:pt x="8" y="45"/>
                </a:lnTo>
                <a:lnTo>
                  <a:pt x="7" y="43"/>
                </a:lnTo>
                <a:lnTo>
                  <a:pt x="6" y="38"/>
                </a:lnTo>
                <a:lnTo>
                  <a:pt x="6" y="36"/>
                </a:lnTo>
                <a:lnTo>
                  <a:pt x="1" y="35"/>
                </a:lnTo>
                <a:lnTo>
                  <a:pt x="1" y="33"/>
                </a:lnTo>
                <a:lnTo>
                  <a:pt x="2" y="31"/>
                </a:lnTo>
                <a:lnTo>
                  <a:pt x="3" y="28"/>
                </a:lnTo>
                <a:lnTo>
                  <a:pt x="3" y="26"/>
                </a:lnTo>
                <a:lnTo>
                  <a:pt x="3" y="23"/>
                </a:lnTo>
                <a:lnTo>
                  <a:pt x="1" y="19"/>
                </a:lnTo>
                <a:lnTo>
                  <a:pt x="0" y="18"/>
                </a:lnTo>
                <a:lnTo>
                  <a:pt x="5" y="19"/>
                </a:lnTo>
                <a:lnTo>
                  <a:pt x="6" y="18"/>
                </a:lnTo>
                <a:lnTo>
                  <a:pt x="6" y="17"/>
                </a:lnTo>
                <a:lnTo>
                  <a:pt x="2" y="16"/>
                </a:lnTo>
                <a:lnTo>
                  <a:pt x="3" y="15"/>
                </a:lnTo>
                <a:lnTo>
                  <a:pt x="6" y="14"/>
                </a:lnTo>
                <a:lnTo>
                  <a:pt x="7" y="15"/>
                </a:lnTo>
                <a:lnTo>
                  <a:pt x="9" y="13"/>
                </a:lnTo>
                <a:lnTo>
                  <a:pt x="12" y="12"/>
                </a:lnTo>
                <a:lnTo>
                  <a:pt x="17" y="11"/>
                </a:lnTo>
                <a:lnTo>
                  <a:pt x="24" y="10"/>
                </a:lnTo>
                <a:lnTo>
                  <a:pt x="32" y="4"/>
                </a:lnTo>
                <a:lnTo>
                  <a:pt x="36" y="3"/>
                </a:lnTo>
                <a:lnTo>
                  <a:pt x="40" y="1"/>
                </a:lnTo>
                <a:lnTo>
                  <a:pt x="51" y="0"/>
                </a:lnTo>
                <a:lnTo>
                  <a:pt x="54" y="0"/>
                </a:lnTo>
                <a:lnTo>
                  <a:pt x="57" y="0"/>
                </a:lnTo>
                <a:lnTo>
                  <a:pt x="59" y="1"/>
                </a:lnTo>
                <a:lnTo>
                  <a:pt x="61" y="2"/>
                </a:lnTo>
                <a:lnTo>
                  <a:pt x="61" y="3"/>
                </a:lnTo>
                <a:lnTo>
                  <a:pt x="57" y="1"/>
                </a:lnTo>
                <a:lnTo>
                  <a:pt x="57" y="3"/>
                </a:lnTo>
                <a:lnTo>
                  <a:pt x="61" y="8"/>
                </a:lnTo>
                <a:lnTo>
                  <a:pt x="62" y="8"/>
                </a:lnTo>
                <a:lnTo>
                  <a:pt x="62" y="8"/>
                </a:lnTo>
                <a:lnTo>
                  <a:pt x="63" y="7"/>
                </a:lnTo>
                <a:lnTo>
                  <a:pt x="64" y="8"/>
                </a:lnTo>
                <a:lnTo>
                  <a:pt x="67" y="7"/>
                </a:lnTo>
                <a:lnTo>
                  <a:pt x="70" y="7"/>
                </a:lnTo>
                <a:lnTo>
                  <a:pt x="72" y="6"/>
                </a:lnTo>
                <a:lnTo>
                  <a:pt x="77" y="7"/>
                </a:lnTo>
                <a:lnTo>
                  <a:pt x="92" y="8"/>
                </a:lnTo>
                <a:lnTo>
                  <a:pt x="104" y="8"/>
                </a:lnTo>
                <a:lnTo>
                  <a:pt x="111" y="7"/>
                </a:lnTo>
                <a:lnTo>
                  <a:pt x="117" y="7"/>
                </a:lnTo>
                <a:lnTo>
                  <a:pt x="120" y="8"/>
                </a:lnTo>
                <a:lnTo>
                  <a:pt x="124" y="11"/>
                </a:lnTo>
                <a:lnTo>
                  <a:pt x="127" y="13"/>
                </a:lnTo>
                <a:lnTo>
                  <a:pt x="127" y="14"/>
                </a:lnTo>
                <a:lnTo>
                  <a:pt x="128" y="16"/>
                </a:lnTo>
                <a:lnTo>
                  <a:pt x="133" y="29"/>
                </a:lnTo>
                <a:lnTo>
                  <a:pt x="134" y="33"/>
                </a:lnTo>
                <a:lnTo>
                  <a:pt x="134" y="36"/>
                </a:lnTo>
                <a:lnTo>
                  <a:pt x="132" y="39"/>
                </a:lnTo>
                <a:lnTo>
                  <a:pt x="129" y="41"/>
                </a:lnTo>
                <a:lnTo>
                  <a:pt x="127" y="43"/>
                </a:lnTo>
                <a:lnTo>
                  <a:pt x="128" y="45"/>
                </a:lnTo>
                <a:lnTo>
                  <a:pt x="132" y="47"/>
                </a:lnTo>
                <a:lnTo>
                  <a:pt x="132" y="56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72" name="Freeform 271"/>
          <p:cNvSpPr>
            <a:spLocks/>
          </p:cNvSpPr>
          <p:nvPr/>
        </p:nvSpPr>
        <p:spPr bwMode="auto">
          <a:xfrm>
            <a:off x="4651375" y="2008153"/>
            <a:ext cx="225425" cy="157163"/>
          </a:xfrm>
          <a:custGeom>
            <a:avLst/>
            <a:gdLst>
              <a:gd name="T0" fmla="*/ 134 w 142"/>
              <a:gd name="T1" fmla="*/ 61 h 99"/>
              <a:gd name="T2" fmla="*/ 141 w 142"/>
              <a:gd name="T3" fmla="*/ 67 h 99"/>
              <a:gd name="T4" fmla="*/ 142 w 142"/>
              <a:gd name="T5" fmla="*/ 76 h 99"/>
              <a:gd name="T6" fmla="*/ 130 w 142"/>
              <a:gd name="T7" fmla="*/ 85 h 99"/>
              <a:gd name="T8" fmla="*/ 127 w 142"/>
              <a:gd name="T9" fmla="*/ 99 h 99"/>
              <a:gd name="T10" fmla="*/ 121 w 142"/>
              <a:gd name="T11" fmla="*/ 98 h 99"/>
              <a:gd name="T12" fmla="*/ 112 w 142"/>
              <a:gd name="T13" fmla="*/ 94 h 99"/>
              <a:gd name="T14" fmla="*/ 103 w 142"/>
              <a:gd name="T15" fmla="*/ 95 h 99"/>
              <a:gd name="T16" fmla="*/ 94 w 142"/>
              <a:gd name="T17" fmla="*/ 94 h 99"/>
              <a:gd name="T18" fmla="*/ 88 w 142"/>
              <a:gd name="T19" fmla="*/ 97 h 99"/>
              <a:gd name="T20" fmla="*/ 80 w 142"/>
              <a:gd name="T21" fmla="*/ 92 h 99"/>
              <a:gd name="T22" fmla="*/ 72 w 142"/>
              <a:gd name="T23" fmla="*/ 92 h 99"/>
              <a:gd name="T24" fmla="*/ 59 w 142"/>
              <a:gd name="T25" fmla="*/ 83 h 99"/>
              <a:gd name="T26" fmla="*/ 56 w 142"/>
              <a:gd name="T27" fmla="*/ 78 h 99"/>
              <a:gd name="T28" fmla="*/ 43 w 142"/>
              <a:gd name="T29" fmla="*/ 77 h 99"/>
              <a:gd name="T30" fmla="*/ 40 w 142"/>
              <a:gd name="T31" fmla="*/ 79 h 99"/>
              <a:gd name="T32" fmla="*/ 36 w 142"/>
              <a:gd name="T33" fmla="*/ 73 h 99"/>
              <a:gd name="T34" fmla="*/ 30 w 142"/>
              <a:gd name="T35" fmla="*/ 71 h 99"/>
              <a:gd name="T36" fmla="*/ 21 w 142"/>
              <a:gd name="T37" fmla="*/ 67 h 99"/>
              <a:gd name="T38" fmla="*/ 13 w 142"/>
              <a:gd name="T39" fmla="*/ 68 h 99"/>
              <a:gd name="T40" fmla="*/ 14 w 142"/>
              <a:gd name="T41" fmla="*/ 59 h 99"/>
              <a:gd name="T42" fmla="*/ 9 w 142"/>
              <a:gd name="T43" fmla="*/ 49 h 99"/>
              <a:gd name="T44" fmla="*/ 7 w 142"/>
              <a:gd name="T45" fmla="*/ 43 h 99"/>
              <a:gd name="T46" fmla="*/ 1 w 142"/>
              <a:gd name="T47" fmla="*/ 35 h 99"/>
              <a:gd name="T48" fmla="*/ 3 w 142"/>
              <a:gd name="T49" fmla="*/ 28 h 99"/>
              <a:gd name="T50" fmla="*/ 1 w 142"/>
              <a:gd name="T51" fmla="*/ 19 h 99"/>
              <a:gd name="T52" fmla="*/ 6 w 142"/>
              <a:gd name="T53" fmla="*/ 18 h 99"/>
              <a:gd name="T54" fmla="*/ 3 w 142"/>
              <a:gd name="T55" fmla="*/ 15 h 99"/>
              <a:gd name="T56" fmla="*/ 9 w 142"/>
              <a:gd name="T57" fmla="*/ 13 h 99"/>
              <a:gd name="T58" fmla="*/ 24 w 142"/>
              <a:gd name="T59" fmla="*/ 10 h 99"/>
              <a:gd name="T60" fmla="*/ 40 w 142"/>
              <a:gd name="T61" fmla="*/ 1 h 99"/>
              <a:gd name="T62" fmla="*/ 57 w 142"/>
              <a:gd name="T63" fmla="*/ 0 h 99"/>
              <a:gd name="T64" fmla="*/ 61 w 142"/>
              <a:gd name="T65" fmla="*/ 3 h 99"/>
              <a:gd name="T66" fmla="*/ 61 w 142"/>
              <a:gd name="T67" fmla="*/ 8 h 99"/>
              <a:gd name="T68" fmla="*/ 63 w 142"/>
              <a:gd name="T69" fmla="*/ 7 h 99"/>
              <a:gd name="T70" fmla="*/ 70 w 142"/>
              <a:gd name="T71" fmla="*/ 7 h 99"/>
              <a:gd name="T72" fmla="*/ 92 w 142"/>
              <a:gd name="T73" fmla="*/ 8 h 99"/>
              <a:gd name="T74" fmla="*/ 117 w 142"/>
              <a:gd name="T75" fmla="*/ 7 h 99"/>
              <a:gd name="T76" fmla="*/ 127 w 142"/>
              <a:gd name="T77" fmla="*/ 13 h 99"/>
              <a:gd name="T78" fmla="*/ 133 w 142"/>
              <a:gd name="T79" fmla="*/ 29 h 99"/>
              <a:gd name="T80" fmla="*/ 132 w 142"/>
              <a:gd name="T81" fmla="*/ 39 h 99"/>
              <a:gd name="T82" fmla="*/ 128 w 142"/>
              <a:gd name="T83" fmla="*/ 45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42" h="99">
                <a:moveTo>
                  <a:pt x="132" y="56"/>
                </a:moveTo>
                <a:lnTo>
                  <a:pt x="134" y="58"/>
                </a:lnTo>
                <a:lnTo>
                  <a:pt x="134" y="61"/>
                </a:lnTo>
                <a:lnTo>
                  <a:pt x="137" y="64"/>
                </a:lnTo>
                <a:lnTo>
                  <a:pt x="138" y="65"/>
                </a:lnTo>
                <a:lnTo>
                  <a:pt x="141" y="67"/>
                </a:lnTo>
                <a:lnTo>
                  <a:pt x="141" y="69"/>
                </a:lnTo>
                <a:lnTo>
                  <a:pt x="142" y="73"/>
                </a:lnTo>
                <a:lnTo>
                  <a:pt x="142" y="76"/>
                </a:lnTo>
                <a:lnTo>
                  <a:pt x="138" y="78"/>
                </a:lnTo>
                <a:lnTo>
                  <a:pt x="133" y="82"/>
                </a:lnTo>
                <a:lnTo>
                  <a:pt x="130" y="85"/>
                </a:lnTo>
                <a:lnTo>
                  <a:pt x="127" y="93"/>
                </a:lnTo>
                <a:lnTo>
                  <a:pt x="125" y="96"/>
                </a:lnTo>
                <a:lnTo>
                  <a:pt x="127" y="99"/>
                </a:lnTo>
                <a:lnTo>
                  <a:pt x="124" y="99"/>
                </a:lnTo>
                <a:lnTo>
                  <a:pt x="123" y="99"/>
                </a:lnTo>
                <a:lnTo>
                  <a:pt x="121" y="98"/>
                </a:lnTo>
                <a:lnTo>
                  <a:pt x="118" y="97"/>
                </a:lnTo>
                <a:lnTo>
                  <a:pt x="115" y="95"/>
                </a:lnTo>
                <a:lnTo>
                  <a:pt x="112" y="94"/>
                </a:lnTo>
                <a:lnTo>
                  <a:pt x="109" y="93"/>
                </a:lnTo>
                <a:lnTo>
                  <a:pt x="105" y="94"/>
                </a:lnTo>
                <a:lnTo>
                  <a:pt x="103" y="95"/>
                </a:lnTo>
                <a:lnTo>
                  <a:pt x="101" y="96"/>
                </a:lnTo>
                <a:lnTo>
                  <a:pt x="99" y="94"/>
                </a:lnTo>
                <a:lnTo>
                  <a:pt x="94" y="94"/>
                </a:lnTo>
                <a:lnTo>
                  <a:pt x="92" y="96"/>
                </a:lnTo>
                <a:lnTo>
                  <a:pt x="90" y="97"/>
                </a:lnTo>
                <a:lnTo>
                  <a:pt x="88" y="97"/>
                </a:lnTo>
                <a:lnTo>
                  <a:pt x="86" y="95"/>
                </a:lnTo>
                <a:lnTo>
                  <a:pt x="83" y="93"/>
                </a:lnTo>
                <a:lnTo>
                  <a:pt x="80" y="92"/>
                </a:lnTo>
                <a:lnTo>
                  <a:pt x="78" y="93"/>
                </a:lnTo>
                <a:lnTo>
                  <a:pt x="76" y="93"/>
                </a:lnTo>
                <a:lnTo>
                  <a:pt x="72" y="92"/>
                </a:lnTo>
                <a:lnTo>
                  <a:pt x="67" y="89"/>
                </a:lnTo>
                <a:lnTo>
                  <a:pt x="62" y="84"/>
                </a:lnTo>
                <a:lnTo>
                  <a:pt x="59" y="83"/>
                </a:lnTo>
                <a:lnTo>
                  <a:pt x="58" y="84"/>
                </a:lnTo>
                <a:lnTo>
                  <a:pt x="56" y="82"/>
                </a:lnTo>
                <a:lnTo>
                  <a:pt x="56" y="78"/>
                </a:lnTo>
                <a:lnTo>
                  <a:pt x="50" y="78"/>
                </a:lnTo>
                <a:lnTo>
                  <a:pt x="43" y="76"/>
                </a:lnTo>
                <a:lnTo>
                  <a:pt x="43" y="77"/>
                </a:lnTo>
                <a:lnTo>
                  <a:pt x="44" y="78"/>
                </a:lnTo>
                <a:lnTo>
                  <a:pt x="42" y="81"/>
                </a:lnTo>
                <a:lnTo>
                  <a:pt x="40" y="79"/>
                </a:lnTo>
                <a:lnTo>
                  <a:pt x="34" y="76"/>
                </a:lnTo>
                <a:lnTo>
                  <a:pt x="36" y="74"/>
                </a:lnTo>
                <a:lnTo>
                  <a:pt x="36" y="73"/>
                </a:lnTo>
                <a:lnTo>
                  <a:pt x="36" y="73"/>
                </a:lnTo>
                <a:lnTo>
                  <a:pt x="32" y="73"/>
                </a:lnTo>
                <a:lnTo>
                  <a:pt x="30" y="71"/>
                </a:lnTo>
                <a:lnTo>
                  <a:pt x="24" y="69"/>
                </a:lnTo>
                <a:lnTo>
                  <a:pt x="22" y="69"/>
                </a:lnTo>
                <a:lnTo>
                  <a:pt x="21" y="67"/>
                </a:lnTo>
                <a:lnTo>
                  <a:pt x="18" y="66"/>
                </a:lnTo>
                <a:lnTo>
                  <a:pt x="14" y="69"/>
                </a:lnTo>
                <a:lnTo>
                  <a:pt x="13" y="68"/>
                </a:lnTo>
                <a:lnTo>
                  <a:pt x="13" y="67"/>
                </a:lnTo>
                <a:lnTo>
                  <a:pt x="14" y="64"/>
                </a:lnTo>
                <a:lnTo>
                  <a:pt x="14" y="59"/>
                </a:lnTo>
                <a:lnTo>
                  <a:pt x="14" y="58"/>
                </a:lnTo>
                <a:lnTo>
                  <a:pt x="10" y="55"/>
                </a:lnTo>
                <a:lnTo>
                  <a:pt x="9" y="49"/>
                </a:lnTo>
                <a:lnTo>
                  <a:pt x="9" y="48"/>
                </a:lnTo>
                <a:lnTo>
                  <a:pt x="8" y="45"/>
                </a:lnTo>
                <a:lnTo>
                  <a:pt x="7" y="43"/>
                </a:lnTo>
                <a:lnTo>
                  <a:pt x="6" y="38"/>
                </a:lnTo>
                <a:lnTo>
                  <a:pt x="6" y="36"/>
                </a:lnTo>
                <a:lnTo>
                  <a:pt x="1" y="35"/>
                </a:lnTo>
                <a:lnTo>
                  <a:pt x="1" y="33"/>
                </a:lnTo>
                <a:lnTo>
                  <a:pt x="2" y="31"/>
                </a:lnTo>
                <a:lnTo>
                  <a:pt x="3" y="28"/>
                </a:lnTo>
                <a:lnTo>
                  <a:pt x="3" y="26"/>
                </a:lnTo>
                <a:lnTo>
                  <a:pt x="3" y="23"/>
                </a:lnTo>
                <a:lnTo>
                  <a:pt x="1" y="19"/>
                </a:lnTo>
                <a:lnTo>
                  <a:pt x="0" y="18"/>
                </a:lnTo>
                <a:lnTo>
                  <a:pt x="5" y="19"/>
                </a:lnTo>
                <a:lnTo>
                  <a:pt x="6" y="18"/>
                </a:lnTo>
                <a:lnTo>
                  <a:pt x="6" y="17"/>
                </a:lnTo>
                <a:lnTo>
                  <a:pt x="2" y="16"/>
                </a:lnTo>
                <a:lnTo>
                  <a:pt x="3" y="15"/>
                </a:lnTo>
                <a:lnTo>
                  <a:pt x="6" y="14"/>
                </a:lnTo>
                <a:lnTo>
                  <a:pt x="7" y="15"/>
                </a:lnTo>
                <a:lnTo>
                  <a:pt x="9" y="13"/>
                </a:lnTo>
                <a:lnTo>
                  <a:pt x="12" y="12"/>
                </a:lnTo>
                <a:lnTo>
                  <a:pt x="17" y="11"/>
                </a:lnTo>
                <a:lnTo>
                  <a:pt x="24" y="10"/>
                </a:lnTo>
                <a:lnTo>
                  <a:pt x="32" y="4"/>
                </a:lnTo>
                <a:lnTo>
                  <a:pt x="36" y="3"/>
                </a:lnTo>
                <a:lnTo>
                  <a:pt x="40" y="1"/>
                </a:lnTo>
                <a:lnTo>
                  <a:pt x="51" y="0"/>
                </a:lnTo>
                <a:lnTo>
                  <a:pt x="54" y="0"/>
                </a:lnTo>
                <a:lnTo>
                  <a:pt x="57" y="0"/>
                </a:lnTo>
                <a:lnTo>
                  <a:pt x="59" y="1"/>
                </a:lnTo>
                <a:lnTo>
                  <a:pt x="61" y="2"/>
                </a:lnTo>
                <a:lnTo>
                  <a:pt x="61" y="3"/>
                </a:lnTo>
                <a:lnTo>
                  <a:pt x="57" y="1"/>
                </a:lnTo>
                <a:lnTo>
                  <a:pt x="57" y="3"/>
                </a:lnTo>
                <a:lnTo>
                  <a:pt x="61" y="8"/>
                </a:lnTo>
                <a:lnTo>
                  <a:pt x="62" y="8"/>
                </a:lnTo>
                <a:lnTo>
                  <a:pt x="62" y="8"/>
                </a:lnTo>
                <a:lnTo>
                  <a:pt x="63" y="7"/>
                </a:lnTo>
                <a:lnTo>
                  <a:pt x="64" y="8"/>
                </a:lnTo>
                <a:lnTo>
                  <a:pt x="67" y="7"/>
                </a:lnTo>
                <a:lnTo>
                  <a:pt x="70" y="7"/>
                </a:lnTo>
                <a:lnTo>
                  <a:pt x="72" y="6"/>
                </a:lnTo>
                <a:lnTo>
                  <a:pt x="77" y="7"/>
                </a:lnTo>
                <a:lnTo>
                  <a:pt x="92" y="8"/>
                </a:lnTo>
                <a:lnTo>
                  <a:pt x="104" y="8"/>
                </a:lnTo>
                <a:lnTo>
                  <a:pt x="111" y="7"/>
                </a:lnTo>
                <a:lnTo>
                  <a:pt x="117" y="7"/>
                </a:lnTo>
                <a:lnTo>
                  <a:pt x="120" y="8"/>
                </a:lnTo>
                <a:lnTo>
                  <a:pt x="124" y="11"/>
                </a:lnTo>
                <a:lnTo>
                  <a:pt x="127" y="13"/>
                </a:lnTo>
                <a:lnTo>
                  <a:pt x="127" y="14"/>
                </a:lnTo>
                <a:lnTo>
                  <a:pt x="128" y="16"/>
                </a:lnTo>
                <a:lnTo>
                  <a:pt x="133" y="29"/>
                </a:lnTo>
                <a:lnTo>
                  <a:pt x="134" y="33"/>
                </a:lnTo>
                <a:lnTo>
                  <a:pt x="134" y="36"/>
                </a:lnTo>
                <a:lnTo>
                  <a:pt x="132" y="39"/>
                </a:lnTo>
                <a:lnTo>
                  <a:pt x="129" y="41"/>
                </a:lnTo>
                <a:lnTo>
                  <a:pt x="127" y="43"/>
                </a:lnTo>
                <a:lnTo>
                  <a:pt x="128" y="45"/>
                </a:lnTo>
                <a:lnTo>
                  <a:pt x="132" y="47"/>
                </a:lnTo>
                <a:lnTo>
                  <a:pt x="132" y="56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73" name="Freeform 272"/>
          <p:cNvSpPr>
            <a:spLocks/>
          </p:cNvSpPr>
          <p:nvPr/>
        </p:nvSpPr>
        <p:spPr bwMode="auto">
          <a:xfrm>
            <a:off x="4789488" y="1920841"/>
            <a:ext cx="155575" cy="63500"/>
          </a:xfrm>
          <a:custGeom>
            <a:avLst/>
            <a:gdLst>
              <a:gd name="T0" fmla="*/ 0 w 98"/>
              <a:gd name="T1" fmla="*/ 30 h 40"/>
              <a:gd name="T2" fmla="*/ 1 w 98"/>
              <a:gd name="T3" fmla="*/ 19 h 40"/>
              <a:gd name="T4" fmla="*/ 3 w 98"/>
              <a:gd name="T5" fmla="*/ 15 h 40"/>
              <a:gd name="T6" fmla="*/ 5 w 98"/>
              <a:gd name="T7" fmla="*/ 10 h 40"/>
              <a:gd name="T8" fmla="*/ 8 w 98"/>
              <a:gd name="T9" fmla="*/ 7 h 40"/>
              <a:gd name="T10" fmla="*/ 16 w 98"/>
              <a:gd name="T11" fmla="*/ 5 h 40"/>
              <a:gd name="T12" fmla="*/ 24 w 98"/>
              <a:gd name="T13" fmla="*/ 11 h 40"/>
              <a:gd name="T14" fmla="*/ 26 w 98"/>
              <a:gd name="T15" fmla="*/ 13 h 40"/>
              <a:gd name="T16" fmla="*/ 27 w 98"/>
              <a:gd name="T17" fmla="*/ 15 h 40"/>
              <a:gd name="T18" fmla="*/ 33 w 98"/>
              <a:gd name="T19" fmla="*/ 18 h 40"/>
              <a:gd name="T20" fmla="*/ 38 w 98"/>
              <a:gd name="T21" fmla="*/ 17 h 40"/>
              <a:gd name="T22" fmla="*/ 40 w 98"/>
              <a:gd name="T23" fmla="*/ 18 h 40"/>
              <a:gd name="T24" fmla="*/ 41 w 98"/>
              <a:gd name="T25" fmla="*/ 15 h 40"/>
              <a:gd name="T26" fmla="*/ 41 w 98"/>
              <a:gd name="T27" fmla="*/ 3 h 40"/>
              <a:gd name="T28" fmla="*/ 43 w 98"/>
              <a:gd name="T29" fmla="*/ 2 h 40"/>
              <a:gd name="T30" fmla="*/ 52 w 98"/>
              <a:gd name="T31" fmla="*/ 0 h 40"/>
              <a:gd name="T32" fmla="*/ 60 w 98"/>
              <a:gd name="T33" fmla="*/ 2 h 40"/>
              <a:gd name="T34" fmla="*/ 65 w 98"/>
              <a:gd name="T35" fmla="*/ 5 h 40"/>
              <a:gd name="T36" fmla="*/ 73 w 98"/>
              <a:gd name="T37" fmla="*/ 8 h 40"/>
              <a:gd name="T38" fmla="*/ 78 w 98"/>
              <a:gd name="T39" fmla="*/ 7 h 40"/>
              <a:gd name="T40" fmla="*/ 83 w 98"/>
              <a:gd name="T41" fmla="*/ 8 h 40"/>
              <a:gd name="T42" fmla="*/ 85 w 98"/>
              <a:gd name="T43" fmla="*/ 10 h 40"/>
              <a:gd name="T44" fmla="*/ 88 w 98"/>
              <a:gd name="T45" fmla="*/ 11 h 40"/>
              <a:gd name="T46" fmla="*/ 88 w 98"/>
              <a:gd name="T47" fmla="*/ 17 h 40"/>
              <a:gd name="T48" fmla="*/ 89 w 98"/>
              <a:gd name="T49" fmla="*/ 19 h 40"/>
              <a:gd name="T50" fmla="*/ 92 w 98"/>
              <a:gd name="T51" fmla="*/ 21 h 40"/>
              <a:gd name="T52" fmla="*/ 96 w 98"/>
              <a:gd name="T53" fmla="*/ 26 h 40"/>
              <a:gd name="T54" fmla="*/ 98 w 98"/>
              <a:gd name="T55" fmla="*/ 30 h 40"/>
              <a:gd name="T56" fmla="*/ 95 w 98"/>
              <a:gd name="T57" fmla="*/ 31 h 40"/>
              <a:gd name="T58" fmla="*/ 92 w 98"/>
              <a:gd name="T59" fmla="*/ 35 h 40"/>
              <a:gd name="T60" fmla="*/ 89 w 98"/>
              <a:gd name="T61" fmla="*/ 38 h 40"/>
              <a:gd name="T62" fmla="*/ 83 w 98"/>
              <a:gd name="T63" fmla="*/ 37 h 40"/>
              <a:gd name="T64" fmla="*/ 82 w 98"/>
              <a:gd name="T65" fmla="*/ 39 h 40"/>
              <a:gd name="T66" fmla="*/ 78 w 98"/>
              <a:gd name="T67" fmla="*/ 40 h 40"/>
              <a:gd name="T68" fmla="*/ 74 w 98"/>
              <a:gd name="T69" fmla="*/ 39 h 40"/>
              <a:gd name="T70" fmla="*/ 63 w 98"/>
              <a:gd name="T71" fmla="*/ 31 h 40"/>
              <a:gd name="T72" fmla="*/ 56 w 98"/>
              <a:gd name="T73" fmla="*/ 31 h 40"/>
              <a:gd name="T74" fmla="*/ 52 w 98"/>
              <a:gd name="T75" fmla="*/ 26 h 40"/>
              <a:gd name="T76" fmla="*/ 47 w 98"/>
              <a:gd name="T77" fmla="*/ 29 h 40"/>
              <a:gd name="T78" fmla="*/ 36 w 98"/>
              <a:gd name="T79" fmla="*/ 27 h 40"/>
              <a:gd name="T80" fmla="*/ 31 w 98"/>
              <a:gd name="T81" fmla="*/ 27 h 40"/>
              <a:gd name="T82" fmla="*/ 26 w 98"/>
              <a:gd name="T83" fmla="*/ 27 h 40"/>
              <a:gd name="T84" fmla="*/ 23 w 98"/>
              <a:gd name="T85" fmla="*/ 28 h 40"/>
              <a:gd name="T86" fmla="*/ 20 w 98"/>
              <a:gd name="T87" fmla="*/ 27 h 40"/>
              <a:gd name="T88" fmla="*/ 10 w 98"/>
              <a:gd name="T89" fmla="*/ 28 h 40"/>
              <a:gd name="T90" fmla="*/ 5 w 98"/>
              <a:gd name="T91" fmla="*/ 32 h 40"/>
              <a:gd name="T92" fmla="*/ 1 w 98"/>
              <a:gd name="T93" fmla="*/ 32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98" h="40">
                <a:moveTo>
                  <a:pt x="1" y="32"/>
                </a:moveTo>
                <a:lnTo>
                  <a:pt x="0" y="30"/>
                </a:lnTo>
                <a:lnTo>
                  <a:pt x="0" y="22"/>
                </a:lnTo>
                <a:lnTo>
                  <a:pt x="1" y="19"/>
                </a:lnTo>
                <a:lnTo>
                  <a:pt x="3" y="17"/>
                </a:lnTo>
                <a:lnTo>
                  <a:pt x="3" y="15"/>
                </a:lnTo>
                <a:lnTo>
                  <a:pt x="4" y="12"/>
                </a:lnTo>
                <a:lnTo>
                  <a:pt x="5" y="10"/>
                </a:lnTo>
                <a:lnTo>
                  <a:pt x="6" y="8"/>
                </a:lnTo>
                <a:lnTo>
                  <a:pt x="8" y="7"/>
                </a:lnTo>
                <a:lnTo>
                  <a:pt x="12" y="7"/>
                </a:lnTo>
                <a:lnTo>
                  <a:pt x="16" y="5"/>
                </a:lnTo>
                <a:lnTo>
                  <a:pt x="18" y="7"/>
                </a:lnTo>
                <a:lnTo>
                  <a:pt x="24" y="11"/>
                </a:lnTo>
                <a:lnTo>
                  <a:pt x="25" y="12"/>
                </a:lnTo>
                <a:lnTo>
                  <a:pt x="26" y="13"/>
                </a:lnTo>
                <a:lnTo>
                  <a:pt x="26" y="12"/>
                </a:lnTo>
                <a:lnTo>
                  <a:pt x="27" y="15"/>
                </a:lnTo>
                <a:lnTo>
                  <a:pt x="30" y="16"/>
                </a:lnTo>
                <a:lnTo>
                  <a:pt x="33" y="18"/>
                </a:lnTo>
                <a:lnTo>
                  <a:pt x="35" y="18"/>
                </a:lnTo>
                <a:lnTo>
                  <a:pt x="38" y="17"/>
                </a:lnTo>
                <a:lnTo>
                  <a:pt x="38" y="18"/>
                </a:lnTo>
                <a:lnTo>
                  <a:pt x="40" y="18"/>
                </a:lnTo>
                <a:lnTo>
                  <a:pt x="40" y="16"/>
                </a:lnTo>
                <a:lnTo>
                  <a:pt x="41" y="15"/>
                </a:lnTo>
                <a:lnTo>
                  <a:pt x="42" y="13"/>
                </a:lnTo>
                <a:lnTo>
                  <a:pt x="41" y="3"/>
                </a:lnTo>
                <a:lnTo>
                  <a:pt x="42" y="2"/>
                </a:lnTo>
                <a:lnTo>
                  <a:pt x="43" y="2"/>
                </a:lnTo>
                <a:lnTo>
                  <a:pt x="46" y="0"/>
                </a:lnTo>
                <a:lnTo>
                  <a:pt x="52" y="0"/>
                </a:lnTo>
                <a:lnTo>
                  <a:pt x="56" y="0"/>
                </a:lnTo>
                <a:lnTo>
                  <a:pt x="60" y="2"/>
                </a:lnTo>
                <a:lnTo>
                  <a:pt x="63" y="2"/>
                </a:lnTo>
                <a:lnTo>
                  <a:pt x="65" y="5"/>
                </a:lnTo>
                <a:lnTo>
                  <a:pt x="71" y="8"/>
                </a:lnTo>
                <a:lnTo>
                  <a:pt x="73" y="8"/>
                </a:lnTo>
                <a:lnTo>
                  <a:pt x="74" y="7"/>
                </a:lnTo>
                <a:lnTo>
                  <a:pt x="78" y="7"/>
                </a:lnTo>
                <a:lnTo>
                  <a:pt x="82" y="8"/>
                </a:lnTo>
                <a:lnTo>
                  <a:pt x="83" y="8"/>
                </a:lnTo>
                <a:lnTo>
                  <a:pt x="84" y="9"/>
                </a:lnTo>
                <a:lnTo>
                  <a:pt x="85" y="10"/>
                </a:lnTo>
                <a:lnTo>
                  <a:pt x="86" y="10"/>
                </a:lnTo>
                <a:lnTo>
                  <a:pt x="88" y="11"/>
                </a:lnTo>
                <a:lnTo>
                  <a:pt x="88" y="13"/>
                </a:lnTo>
                <a:lnTo>
                  <a:pt x="88" y="17"/>
                </a:lnTo>
                <a:lnTo>
                  <a:pt x="87" y="18"/>
                </a:lnTo>
                <a:lnTo>
                  <a:pt x="89" y="19"/>
                </a:lnTo>
                <a:lnTo>
                  <a:pt x="92" y="20"/>
                </a:lnTo>
                <a:lnTo>
                  <a:pt x="92" y="21"/>
                </a:lnTo>
                <a:lnTo>
                  <a:pt x="95" y="25"/>
                </a:lnTo>
                <a:lnTo>
                  <a:pt x="96" y="26"/>
                </a:lnTo>
                <a:lnTo>
                  <a:pt x="97" y="27"/>
                </a:lnTo>
                <a:lnTo>
                  <a:pt x="98" y="30"/>
                </a:lnTo>
                <a:lnTo>
                  <a:pt x="98" y="31"/>
                </a:lnTo>
                <a:lnTo>
                  <a:pt x="95" y="31"/>
                </a:lnTo>
                <a:lnTo>
                  <a:pt x="94" y="32"/>
                </a:lnTo>
                <a:lnTo>
                  <a:pt x="92" y="35"/>
                </a:lnTo>
                <a:lnTo>
                  <a:pt x="91" y="36"/>
                </a:lnTo>
                <a:lnTo>
                  <a:pt x="89" y="38"/>
                </a:lnTo>
                <a:lnTo>
                  <a:pt x="87" y="38"/>
                </a:lnTo>
                <a:lnTo>
                  <a:pt x="83" y="37"/>
                </a:lnTo>
                <a:lnTo>
                  <a:pt x="82" y="38"/>
                </a:lnTo>
                <a:lnTo>
                  <a:pt x="82" y="39"/>
                </a:lnTo>
                <a:lnTo>
                  <a:pt x="80" y="40"/>
                </a:lnTo>
                <a:lnTo>
                  <a:pt x="78" y="40"/>
                </a:lnTo>
                <a:lnTo>
                  <a:pt x="76" y="39"/>
                </a:lnTo>
                <a:lnTo>
                  <a:pt x="74" y="39"/>
                </a:lnTo>
                <a:lnTo>
                  <a:pt x="70" y="35"/>
                </a:lnTo>
                <a:lnTo>
                  <a:pt x="63" y="31"/>
                </a:lnTo>
                <a:lnTo>
                  <a:pt x="58" y="31"/>
                </a:lnTo>
                <a:lnTo>
                  <a:pt x="56" y="31"/>
                </a:lnTo>
                <a:lnTo>
                  <a:pt x="54" y="27"/>
                </a:lnTo>
                <a:lnTo>
                  <a:pt x="52" y="26"/>
                </a:lnTo>
                <a:lnTo>
                  <a:pt x="51" y="27"/>
                </a:lnTo>
                <a:lnTo>
                  <a:pt x="47" y="29"/>
                </a:lnTo>
                <a:lnTo>
                  <a:pt x="44" y="29"/>
                </a:lnTo>
                <a:lnTo>
                  <a:pt x="36" y="27"/>
                </a:lnTo>
                <a:lnTo>
                  <a:pt x="34" y="28"/>
                </a:lnTo>
                <a:lnTo>
                  <a:pt x="31" y="27"/>
                </a:lnTo>
                <a:lnTo>
                  <a:pt x="28" y="27"/>
                </a:lnTo>
                <a:lnTo>
                  <a:pt x="26" y="27"/>
                </a:lnTo>
                <a:lnTo>
                  <a:pt x="25" y="28"/>
                </a:lnTo>
                <a:lnTo>
                  <a:pt x="23" y="28"/>
                </a:lnTo>
                <a:lnTo>
                  <a:pt x="22" y="27"/>
                </a:lnTo>
                <a:lnTo>
                  <a:pt x="20" y="27"/>
                </a:lnTo>
                <a:lnTo>
                  <a:pt x="15" y="27"/>
                </a:lnTo>
                <a:lnTo>
                  <a:pt x="10" y="28"/>
                </a:lnTo>
                <a:lnTo>
                  <a:pt x="6" y="30"/>
                </a:lnTo>
                <a:lnTo>
                  <a:pt x="5" y="32"/>
                </a:lnTo>
                <a:lnTo>
                  <a:pt x="3" y="32"/>
                </a:lnTo>
                <a:lnTo>
                  <a:pt x="1" y="3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74" name="Freeform 273"/>
          <p:cNvSpPr>
            <a:spLocks/>
          </p:cNvSpPr>
          <p:nvPr/>
        </p:nvSpPr>
        <p:spPr bwMode="auto">
          <a:xfrm>
            <a:off x="4789488" y="1920841"/>
            <a:ext cx="155575" cy="63500"/>
          </a:xfrm>
          <a:custGeom>
            <a:avLst/>
            <a:gdLst>
              <a:gd name="T0" fmla="*/ 0 w 98"/>
              <a:gd name="T1" fmla="*/ 30 h 40"/>
              <a:gd name="T2" fmla="*/ 1 w 98"/>
              <a:gd name="T3" fmla="*/ 19 h 40"/>
              <a:gd name="T4" fmla="*/ 3 w 98"/>
              <a:gd name="T5" fmla="*/ 15 h 40"/>
              <a:gd name="T6" fmla="*/ 5 w 98"/>
              <a:gd name="T7" fmla="*/ 10 h 40"/>
              <a:gd name="T8" fmla="*/ 8 w 98"/>
              <a:gd name="T9" fmla="*/ 7 h 40"/>
              <a:gd name="T10" fmla="*/ 16 w 98"/>
              <a:gd name="T11" fmla="*/ 5 h 40"/>
              <a:gd name="T12" fmla="*/ 24 w 98"/>
              <a:gd name="T13" fmla="*/ 11 h 40"/>
              <a:gd name="T14" fmla="*/ 26 w 98"/>
              <a:gd name="T15" fmla="*/ 13 h 40"/>
              <a:gd name="T16" fmla="*/ 27 w 98"/>
              <a:gd name="T17" fmla="*/ 15 h 40"/>
              <a:gd name="T18" fmla="*/ 33 w 98"/>
              <a:gd name="T19" fmla="*/ 18 h 40"/>
              <a:gd name="T20" fmla="*/ 38 w 98"/>
              <a:gd name="T21" fmla="*/ 17 h 40"/>
              <a:gd name="T22" fmla="*/ 40 w 98"/>
              <a:gd name="T23" fmla="*/ 18 h 40"/>
              <a:gd name="T24" fmla="*/ 41 w 98"/>
              <a:gd name="T25" fmla="*/ 15 h 40"/>
              <a:gd name="T26" fmla="*/ 41 w 98"/>
              <a:gd name="T27" fmla="*/ 3 h 40"/>
              <a:gd name="T28" fmla="*/ 43 w 98"/>
              <a:gd name="T29" fmla="*/ 2 h 40"/>
              <a:gd name="T30" fmla="*/ 52 w 98"/>
              <a:gd name="T31" fmla="*/ 0 h 40"/>
              <a:gd name="T32" fmla="*/ 60 w 98"/>
              <a:gd name="T33" fmla="*/ 2 h 40"/>
              <a:gd name="T34" fmla="*/ 65 w 98"/>
              <a:gd name="T35" fmla="*/ 5 h 40"/>
              <a:gd name="T36" fmla="*/ 73 w 98"/>
              <a:gd name="T37" fmla="*/ 8 h 40"/>
              <a:gd name="T38" fmla="*/ 78 w 98"/>
              <a:gd name="T39" fmla="*/ 7 h 40"/>
              <a:gd name="T40" fmla="*/ 83 w 98"/>
              <a:gd name="T41" fmla="*/ 8 h 40"/>
              <a:gd name="T42" fmla="*/ 85 w 98"/>
              <a:gd name="T43" fmla="*/ 10 h 40"/>
              <a:gd name="T44" fmla="*/ 88 w 98"/>
              <a:gd name="T45" fmla="*/ 11 h 40"/>
              <a:gd name="T46" fmla="*/ 88 w 98"/>
              <a:gd name="T47" fmla="*/ 17 h 40"/>
              <a:gd name="T48" fmla="*/ 89 w 98"/>
              <a:gd name="T49" fmla="*/ 19 h 40"/>
              <a:gd name="T50" fmla="*/ 92 w 98"/>
              <a:gd name="T51" fmla="*/ 21 h 40"/>
              <a:gd name="T52" fmla="*/ 96 w 98"/>
              <a:gd name="T53" fmla="*/ 26 h 40"/>
              <a:gd name="T54" fmla="*/ 98 w 98"/>
              <a:gd name="T55" fmla="*/ 30 h 40"/>
              <a:gd name="T56" fmla="*/ 95 w 98"/>
              <a:gd name="T57" fmla="*/ 31 h 40"/>
              <a:gd name="T58" fmla="*/ 92 w 98"/>
              <a:gd name="T59" fmla="*/ 35 h 40"/>
              <a:gd name="T60" fmla="*/ 89 w 98"/>
              <a:gd name="T61" fmla="*/ 38 h 40"/>
              <a:gd name="T62" fmla="*/ 83 w 98"/>
              <a:gd name="T63" fmla="*/ 37 h 40"/>
              <a:gd name="T64" fmla="*/ 82 w 98"/>
              <a:gd name="T65" fmla="*/ 39 h 40"/>
              <a:gd name="T66" fmla="*/ 78 w 98"/>
              <a:gd name="T67" fmla="*/ 40 h 40"/>
              <a:gd name="T68" fmla="*/ 74 w 98"/>
              <a:gd name="T69" fmla="*/ 39 h 40"/>
              <a:gd name="T70" fmla="*/ 63 w 98"/>
              <a:gd name="T71" fmla="*/ 31 h 40"/>
              <a:gd name="T72" fmla="*/ 56 w 98"/>
              <a:gd name="T73" fmla="*/ 31 h 40"/>
              <a:gd name="T74" fmla="*/ 52 w 98"/>
              <a:gd name="T75" fmla="*/ 26 h 40"/>
              <a:gd name="T76" fmla="*/ 47 w 98"/>
              <a:gd name="T77" fmla="*/ 29 h 40"/>
              <a:gd name="T78" fmla="*/ 36 w 98"/>
              <a:gd name="T79" fmla="*/ 27 h 40"/>
              <a:gd name="T80" fmla="*/ 31 w 98"/>
              <a:gd name="T81" fmla="*/ 27 h 40"/>
              <a:gd name="T82" fmla="*/ 26 w 98"/>
              <a:gd name="T83" fmla="*/ 27 h 40"/>
              <a:gd name="T84" fmla="*/ 23 w 98"/>
              <a:gd name="T85" fmla="*/ 28 h 40"/>
              <a:gd name="T86" fmla="*/ 20 w 98"/>
              <a:gd name="T87" fmla="*/ 27 h 40"/>
              <a:gd name="T88" fmla="*/ 10 w 98"/>
              <a:gd name="T89" fmla="*/ 28 h 40"/>
              <a:gd name="T90" fmla="*/ 5 w 98"/>
              <a:gd name="T91" fmla="*/ 32 h 40"/>
              <a:gd name="T92" fmla="*/ 1 w 98"/>
              <a:gd name="T93" fmla="*/ 32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98" h="40">
                <a:moveTo>
                  <a:pt x="1" y="32"/>
                </a:moveTo>
                <a:lnTo>
                  <a:pt x="0" y="30"/>
                </a:lnTo>
                <a:lnTo>
                  <a:pt x="0" y="22"/>
                </a:lnTo>
                <a:lnTo>
                  <a:pt x="1" y="19"/>
                </a:lnTo>
                <a:lnTo>
                  <a:pt x="3" y="17"/>
                </a:lnTo>
                <a:lnTo>
                  <a:pt x="3" y="15"/>
                </a:lnTo>
                <a:lnTo>
                  <a:pt x="4" y="12"/>
                </a:lnTo>
                <a:lnTo>
                  <a:pt x="5" y="10"/>
                </a:lnTo>
                <a:lnTo>
                  <a:pt x="6" y="8"/>
                </a:lnTo>
                <a:lnTo>
                  <a:pt x="8" y="7"/>
                </a:lnTo>
                <a:lnTo>
                  <a:pt x="12" y="7"/>
                </a:lnTo>
                <a:lnTo>
                  <a:pt x="16" y="5"/>
                </a:lnTo>
                <a:lnTo>
                  <a:pt x="18" y="7"/>
                </a:lnTo>
                <a:lnTo>
                  <a:pt x="24" y="11"/>
                </a:lnTo>
                <a:lnTo>
                  <a:pt x="25" y="12"/>
                </a:lnTo>
                <a:lnTo>
                  <a:pt x="26" y="13"/>
                </a:lnTo>
                <a:lnTo>
                  <a:pt x="26" y="12"/>
                </a:lnTo>
                <a:lnTo>
                  <a:pt x="27" y="15"/>
                </a:lnTo>
                <a:lnTo>
                  <a:pt x="30" y="16"/>
                </a:lnTo>
                <a:lnTo>
                  <a:pt x="33" y="18"/>
                </a:lnTo>
                <a:lnTo>
                  <a:pt x="35" y="18"/>
                </a:lnTo>
                <a:lnTo>
                  <a:pt x="38" y="17"/>
                </a:lnTo>
                <a:lnTo>
                  <a:pt x="38" y="18"/>
                </a:lnTo>
                <a:lnTo>
                  <a:pt x="40" y="18"/>
                </a:lnTo>
                <a:lnTo>
                  <a:pt x="40" y="16"/>
                </a:lnTo>
                <a:lnTo>
                  <a:pt x="41" y="15"/>
                </a:lnTo>
                <a:lnTo>
                  <a:pt x="42" y="13"/>
                </a:lnTo>
                <a:lnTo>
                  <a:pt x="41" y="3"/>
                </a:lnTo>
                <a:lnTo>
                  <a:pt x="42" y="2"/>
                </a:lnTo>
                <a:lnTo>
                  <a:pt x="43" y="2"/>
                </a:lnTo>
                <a:lnTo>
                  <a:pt x="46" y="0"/>
                </a:lnTo>
                <a:lnTo>
                  <a:pt x="52" y="0"/>
                </a:lnTo>
                <a:lnTo>
                  <a:pt x="56" y="0"/>
                </a:lnTo>
                <a:lnTo>
                  <a:pt x="60" y="2"/>
                </a:lnTo>
                <a:lnTo>
                  <a:pt x="63" y="2"/>
                </a:lnTo>
                <a:lnTo>
                  <a:pt x="65" y="5"/>
                </a:lnTo>
                <a:lnTo>
                  <a:pt x="71" y="8"/>
                </a:lnTo>
                <a:lnTo>
                  <a:pt x="73" y="8"/>
                </a:lnTo>
                <a:lnTo>
                  <a:pt x="74" y="7"/>
                </a:lnTo>
                <a:lnTo>
                  <a:pt x="78" y="7"/>
                </a:lnTo>
                <a:lnTo>
                  <a:pt x="82" y="8"/>
                </a:lnTo>
                <a:lnTo>
                  <a:pt x="83" y="8"/>
                </a:lnTo>
                <a:lnTo>
                  <a:pt x="84" y="9"/>
                </a:lnTo>
                <a:lnTo>
                  <a:pt x="85" y="10"/>
                </a:lnTo>
                <a:lnTo>
                  <a:pt x="86" y="10"/>
                </a:lnTo>
                <a:lnTo>
                  <a:pt x="88" y="11"/>
                </a:lnTo>
                <a:lnTo>
                  <a:pt x="88" y="13"/>
                </a:lnTo>
                <a:lnTo>
                  <a:pt x="88" y="17"/>
                </a:lnTo>
                <a:lnTo>
                  <a:pt x="87" y="18"/>
                </a:lnTo>
                <a:lnTo>
                  <a:pt x="89" y="19"/>
                </a:lnTo>
                <a:lnTo>
                  <a:pt x="92" y="20"/>
                </a:lnTo>
                <a:lnTo>
                  <a:pt x="92" y="21"/>
                </a:lnTo>
                <a:lnTo>
                  <a:pt x="95" y="25"/>
                </a:lnTo>
                <a:lnTo>
                  <a:pt x="96" y="26"/>
                </a:lnTo>
                <a:lnTo>
                  <a:pt x="97" y="27"/>
                </a:lnTo>
                <a:lnTo>
                  <a:pt x="98" y="30"/>
                </a:lnTo>
                <a:lnTo>
                  <a:pt x="98" y="31"/>
                </a:lnTo>
                <a:lnTo>
                  <a:pt x="95" y="31"/>
                </a:lnTo>
                <a:lnTo>
                  <a:pt x="94" y="32"/>
                </a:lnTo>
                <a:lnTo>
                  <a:pt x="92" y="35"/>
                </a:lnTo>
                <a:lnTo>
                  <a:pt x="91" y="36"/>
                </a:lnTo>
                <a:lnTo>
                  <a:pt x="89" y="38"/>
                </a:lnTo>
                <a:lnTo>
                  <a:pt x="87" y="38"/>
                </a:lnTo>
                <a:lnTo>
                  <a:pt x="83" y="37"/>
                </a:lnTo>
                <a:lnTo>
                  <a:pt x="82" y="38"/>
                </a:lnTo>
                <a:lnTo>
                  <a:pt x="82" y="39"/>
                </a:lnTo>
                <a:lnTo>
                  <a:pt x="80" y="40"/>
                </a:lnTo>
                <a:lnTo>
                  <a:pt x="78" y="40"/>
                </a:lnTo>
                <a:lnTo>
                  <a:pt x="76" y="39"/>
                </a:lnTo>
                <a:lnTo>
                  <a:pt x="74" y="39"/>
                </a:lnTo>
                <a:lnTo>
                  <a:pt x="70" y="35"/>
                </a:lnTo>
                <a:lnTo>
                  <a:pt x="63" y="31"/>
                </a:lnTo>
                <a:lnTo>
                  <a:pt x="58" y="31"/>
                </a:lnTo>
                <a:lnTo>
                  <a:pt x="56" y="31"/>
                </a:lnTo>
                <a:lnTo>
                  <a:pt x="54" y="27"/>
                </a:lnTo>
                <a:lnTo>
                  <a:pt x="52" y="26"/>
                </a:lnTo>
                <a:lnTo>
                  <a:pt x="51" y="27"/>
                </a:lnTo>
                <a:lnTo>
                  <a:pt x="47" y="29"/>
                </a:lnTo>
                <a:lnTo>
                  <a:pt x="44" y="29"/>
                </a:lnTo>
                <a:lnTo>
                  <a:pt x="36" y="27"/>
                </a:lnTo>
                <a:lnTo>
                  <a:pt x="34" y="28"/>
                </a:lnTo>
                <a:lnTo>
                  <a:pt x="31" y="27"/>
                </a:lnTo>
                <a:lnTo>
                  <a:pt x="28" y="27"/>
                </a:lnTo>
                <a:lnTo>
                  <a:pt x="26" y="27"/>
                </a:lnTo>
                <a:lnTo>
                  <a:pt x="25" y="28"/>
                </a:lnTo>
                <a:lnTo>
                  <a:pt x="23" y="28"/>
                </a:lnTo>
                <a:lnTo>
                  <a:pt x="22" y="27"/>
                </a:lnTo>
                <a:lnTo>
                  <a:pt x="20" y="27"/>
                </a:lnTo>
                <a:lnTo>
                  <a:pt x="15" y="27"/>
                </a:lnTo>
                <a:lnTo>
                  <a:pt x="10" y="28"/>
                </a:lnTo>
                <a:lnTo>
                  <a:pt x="6" y="30"/>
                </a:lnTo>
                <a:lnTo>
                  <a:pt x="5" y="32"/>
                </a:lnTo>
                <a:lnTo>
                  <a:pt x="3" y="32"/>
                </a:lnTo>
                <a:lnTo>
                  <a:pt x="1" y="3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75" name="Freeform 274"/>
          <p:cNvSpPr>
            <a:spLocks/>
          </p:cNvSpPr>
          <p:nvPr/>
        </p:nvSpPr>
        <p:spPr bwMode="auto">
          <a:xfrm>
            <a:off x="4200525" y="1812891"/>
            <a:ext cx="6350" cy="3175"/>
          </a:xfrm>
          <a:custGeom>
            <a:avLst/>
            <a:gdLst>
              <a:gd name="T0" fmla="*/ 4 w 4"/>
              <a:gd name="T1" fmla="*/ 2 h 2"/>
              <a:gd name="T2" fmla="*/ 3 w 4"/>
              <a:gd name="T3" fmla="*/ 2 h 2"/>
              <a:gd name="T4" fmla="*/ 0 w 4"/>
              <a:gd name="T5" fmla="*/ 0 h 2"/>
              <a:gd name="T6" fmla="*/ 0 w 4"/>
              <a:gd name="T7" fmla="*/ 2 h 2"/>
              <a:gd name="T8" fmla="*/ 0 w 4"/>
              <a:gd name="T9" fmla="*/ 2 h 2"/>
              <a:gd name="T10" fmla="*/ 2 w 4"/>
              <a:gd name="T11" fmla="*/ 2 h 2"/>
              <a:gd name="T12" fmla="*/ 3 w 4"/>
              <a:gd name="T13" fmla="*/ 2 h 2"/>
              <a:gd name="T14" fmla="*/ 4 w 4"/>
              <a:gd name="T1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2">
                <a:moveTo>
                  <a:pt x="4" y="2"/>
                </a:moveTo>
                <a:lnTo>
                  <a:pt x="3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3" y="2"/>
                </a:lnTo>
                <a:lnTo>
                  <a:pt x="4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76" name="Freeform 275"/>
          <p:cNvSpPr>
            <a:spLocks/>
          </p:cNvSpPr>
          <p:nvPr/>
        </p:nvSpPr>
        <p:spPr bwMode="auto">
          <a:xfrm>
            <a:off x="4200525" y="1812891"/>
            <a:ext cx="6350" cy="3175"/>
          </a:xfrm>
          <a:custGeom>
            <a:avLst/>
            <a:gdLst>
              <a:gd name="T0" fmla="*/ 4 w 4"/>
              <a:gd name="T1" fmla="*/ 2 h 2"/>
              <a:gd name="T2" fmla="*/ 3 w 4"/>
              <a:gd name="T3" fmla="*/ 2 h 2"/>
              <a:gd name="T4" fmla="*/ 0 w 4"/>
              <a:gd name="T5" fmla="*/ 0 h 2"/>
              <a:gd name="T6" fmla="*/ 0 w 4"/>
              <a:gd name="T7" fmla="*/ 2 h 2"/>
              <a:gd name="T8" fmla="*/ 0 w 4"/>
              <a:gd name="T9" fmla="*/ 2 h 2"/>
              <a:gd name="T10" fmla="*/ 2 w 4"/>
              <a:gd name="T11" fmla="*/ 2 h 2"/>
              <a:gd name="T12" fmla="*/ 3 w 4"/>
              <a:gd name="T13" fmla="*/ 2 h 2"/>
              <a:gd name="T14" fmla="*/ 4 w 4"/>
              <a:gd name="T1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2">
                <a:moveTo>
                  <a:pt x="4" y="2"/>
                </a:moveTo>
                <a:lnTo>
                  <a:pt x="3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2" y="2"/>
                </a:lnTo>
                <a:lnTo>
                  <a:pt x="3" y="2"/>
                </a:lnTo>
                <a:lnTo>
                  <a:pt x="4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77" name="Freeform 276"/>
          <p:cNvSpPr>
            <a:spLocks/>
          </p:cNvSpPr>
          <p:nvPr/>
        </p:nvSpPr>
        <p:spPr bwMode="auto">
          <a:xfrm>
            <a:off x="4203700" y="1809716"/>
            <a:ext cx="11112" cy="9525"/>
          </a:xfrm>
          <a:custGeom>
            <a:avLst/>
            <a:gdLst>
              <a:gd name="T0" fmla="*/ 6 w 7"/>
              <a:gd name="T1" fmla="*/ 5 h 6"/>
              <a:gd name="T2" fmla="*/ 7 w 7"/>
              <a:gd name="T3" fmla="*/ 5 h 6"/>
              <a:gd name="T4" fmla="*/ 7 w 7"/>
              <a:gd name="T5" fmla="*/ 4 h 6"/>
              <a:gd name="T6" fmla="*/ 6 w 7"/>
              <a:gd name="T7" fmla="*/ 2 h 6"/>
              <a:gd name="T8" fmla="*/ 4 w 7"/>
              <a:gd name="T9" fmla="*/ 1 h 6"/>
              <a:gd name="T10" fmla="*/ 1 w 7"/>
              <a:gd name="T11" fmla="*/ 0 h 6"/>
              <a:gd name="T12" fmla="*/ 0 w 7"/>
              <a:gd name="T13" fmla="*/ 1 h 6"/>
              <a:gd name="T14" fmla="*/ 0 w 7"/>
              <a:gd name="T15" fmla="*/ 2 h 6"/>
              <a:gd name="T16" fmla="*/ 4 w 7"/>
              <a:gd name="T17" fmla="*/ 2 h 6"/>
              <a:gd name="T18" fmla="*/ 5 w 7"/>
              <a:gd name="T19" fmla="*/ 4 h 6"/>
              <a:gd name="T20" fmla="*/ 5 w 7"/>
              <a:gd name="T21" fmla="*/ 5 h 6"/>
              <a:gd name="T22" fmla="*/ 5 w 7"/>
              <a:gd name="T23" fmla="*/ 6 h 6"/>
              <a:gd name="T24" fmla="*/ 6 w 7"/>
              <a:gd name="T25" fmla="*/ 5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" h="6">
                <a:moveTo>
                  <a:pt x="6" y="5"/>
                </a:moveTo>
                <a:lnTo>
                  <a:pt x="7" y="5"/>
                </a:lnTo>
                <a:lnTo>
                  <a:pt x="7" y="4"/>
                </a:lnTo>
                <a:lnTo>
                  <a:pt x="6" y="2"/>
                </a:lnTo>
                <a:lnTo>
                  <a:pt x="4" y="1"/>
                </a:lnTo>
                <a:lnTo>
                  <a:pt x="1" y="0"/>
                </a:lnTo>
                <a:lnTo>
                  <a:pt x="0" y="1"/>
                </a:lnTo>
                <a:lnTo>
                  <a:pt x="0" y="2"/>
                </a:lnTo>
                <a:lnTo>
                  <a:pt x="4" y="2"/>
                </a:lnTo>
                <a:lnTo>
                  <a:pt x="5" y="4"/>
                </a:lnTo>
                <a:lnTo>
                  <a:pt x="5" y="5"/>
                </a:lnTo>
                <a:lnTo>
                  <a:pt x="5" y="6"/>
                </a:lnTo>
                <a:lnTo>
                  <a:pt x="6" y="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78" name="Freeform 277"/>
          <p:cNvSpPr>
            <a:spLocks/>
          </p:cNvSpPr>
          <p:nvPr/>
        </p:nvSpPr>
        <p:spPr bwMode="auto">
          <a:xfrm>
            <a:off x="4203700" y="1809716"/>
            <a:ext cx="11112" cy="9525"/>
          </a:xfrm>
          <a:custGeom>
            <a:avLst/>
            <a:gdLst>
              <a:gd name="T0" fmla="*/ 6 w 7"/>
              <a:gd name="T1" fmla="*/ 5 h 6"/>
              <a:gd name="T2" fmla="*/ 7 w 7"/>
              <a:gd name="T3" fmla="*/ 5 h 6"/>
              <a:gd name="T4" fmla="*/ 7 w 7"/>
              <a:gd name="T5" fmla="*/ 4 h 6"/>
              <a:gd name="T6" fmla="*/ 6 w 7"/>
              <a:gd name="T7" fmla="*/ 2 h 6"/>
              <a:gd name="T8" fmla="*/ 4 w 7"/>
              <a:gd name="T9" fmla="*/ 1 h 6"/>
              <a:gd name="T10" fmla="*/ 1 w 7"/>
              <a:gd name="T11" fmla="*/ 0 h 6"/>
              <a:gd name="T12" fmla="*/ 0 w 7"/>
              <a:gd name="T13" fmla="*/ 1 h 6"/>
              <a:gd name="T14" fmla="*/ 0 w 7"/>
              <a:gd name="T15" fmla="*/ 2 h 6"/>
              <a:gd name="T16" fmla="*/ 4 w 7"/>
              <a:gd name="T17" fmla="*/ 2 h 6"/>
              <a:gd name="T18" fmla="*/ 5 w 7"/>
              <a:gd name="T19" fmla="*/ 4 h 6"/>
              <a:gd name="T20" fmla="*/ 5 w 7"/>
              <a:gd name="T21" fmla="*/ 5 h 6"/>
              <a:gd name="T22" fmla="*/ 5 w 7"/>
              <a:gd name="T23" fmla="*/ 6 h 6"/>
              <a:gd name="T24" fmla="*/ 6 w 7"/>
              <a:gd name="T25" fmla="*/ 5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" h="6">
                <a:moveTo>
                  <a:pt x="6" y="5"/>
                </a:moveTo>
                <a:lnTo>
                  <a:pt x="7" y="5"/>
                </a:lnTo>
                <a:lnTo>
                  <a:pt x="7" y="4"/>
                </a:lnTo>
                <a:lnTo>
                  <a:pt x="6" y="2"/>
                </a:lnTo>
                <a:lnTo>
                  <a:pt x="4" y="1"/>
                </a:lnTo>
                <a:lnTo>
                  <a:pt x="1" y="0"/>
                </a:lnTo>
                <a:lnTo>
                  <a:pt x="0" y="1"/>
                </a:lnTo>
                <a:lnTo>
                  <a:pt x="0" y="2"/>
                </a:lnTo>
                <a:lnTo>
                  <a:pt x="4" y="2"/>
                </a:lnTo>
                <a:lnTo>
                  <a:pt x="5" y="4"/>
                </a:lnTo>
                <a:lnTo>
                  <a:pt x="5" y="5"/>
                </a:lnTo>
                <a:lnTo>
                  <a:pt x="5" y="6"/>
                </a:lnTo>
                <a:lnTo>
                  <a:pt x="6" y="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79" name="Freeform 278"/>
          <p:cNvSpPr>
            <a:spLocks/>
          </p:cNvSpPr>
          <p:nvPr/>
        </p:nvSpPr>
        <p:spPr bwMode="auto">
          <a:xfrm>
            <a:off x="4210050" y="1808128"/>
            <a:ext cx="7937" cy="7938"/>
          </a:xfrm>
          <a:custGeom>
            <a:avLst/>
            <a:gdLst>
              <a:gd name="T0" fmla="*/ 4 w 5"/>
              <a:gd name="T1" fmla="*/ 5 h 5"/>
              <a:gd name="T2" fmla="*/ 5 w 5"/>
              <a:gd name="T3" fmla="*/ 5 h 5"/>
              <a:gd name="T4" fmla="*/ 5 w 5"/>
              <a:gd name="T5" fmla="*/ 3 h 5"/>
              <a:gd name="T6" fmla="*/ 3 w 5"/>
              <a:gd name="T7" fmla="*/ 2 h 5"/>
              <a:gd name="T8" fmla="*/ 2 w 5"/>
              <a:gd name="T9" fmla="*/ 1 h 5"/>
              <a:gd name="T10" fmla="*/ 1 w 5"/>
              <a:gd name="T11" fmla="*/ 0 h 5"/>
              <a:gd name="T12" fmla="*/ 0 w 5"/>
              <a:gd name="T13" fmla="*/ 1 h 5"/>
              <a:gd name="T14" fmla="*/ 1 w 5"/>
              <a:gd name="T15" fmla="*/ 2 h 5"/>
              <a:gd name="T16" fmla="*/ 2 w 5"/>
              <a:gd name="T17" fmla="*/ 2 h 5"/>
              <a:gd name="T18" fmla="*/ 3 w 5"/>
              <a:gd name="T19" fmla="*/ 5 h 5"/>
              <a:gd name="T20" fmla="*/ 4 w 5"/>
              <a:gd name="T21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" h="5">
                <a:moveTo>
                  <a:pt x="4" y="5"/>
                </a:moveTo>
                <a:lnTo>
                  <a:pt x="5" y="5"/>
                </a:lnTo>
                <a:lnTo>
                  <a:pt x="5" y="3"/>
                </a:lnTo>
                <a:lnTo>
                  <a:pt x="3" y="2"/>
                </a:lnTo>
                <a:lnTo>
                  <a:pt x="2" y="1"/>
                </a:lnTo>
                <a:lnTo>
                  <a:pt x="1" y="0"/>
                </a:lnTo>
                <a:lnTo>
                  <a:pt x="0" y="1"/>
                </a:lnTo>
                <a:lnTo>
                  <a:pt x="1" y="2"/>
                </a:lnTo>
                <a:lnTo>
                  <a:pt x="2" y="2"/>
                </a:lnTo>
                <a:lnTo>
                  <a:pt x="3" y="5"/>
                </a:lnTo>
                <a:lnTo>
                  <a:pt x="4" y="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80" name="Freeform 279"/>
          <p:cNvSpPr>
            <a:spLocks/>
          </p:cNvSpPr>
          <p:nvPr/>
        </p:nvSpPr>
        <p:spPr bwMode="auto">
          <a:xfrm>
            <a:off x="4210050" y="1808128"/>
            <a:ext cx="7937" cy="7938"/>
          </a:xfrm>
          <a:custGeom>
            <a:avLst/>
            <a:gdLst>
              <a:gd name="T0" fmla="*/ 4 w 5"/>
              <a:gd name="T1" fmla="*/ 5 h 5"/>
              <a:gd name="T2" fmla="*/ 5 w 5"/>
              <a:gd name="T3" fmla="*/ 5 h 5"/>
              <a:gd name="T4" fmla="*/ 5 w 5"/>
              <a:gd name="T5" fmla="*/ 3 h 5"/>
              <a:gd name="T6" fmla="*/ 3 w 5"/>
              <a:gd name="T7" fmla="*/ 2 h 5"/>
              <a:gd name="T8" fmla="*/ 2 w 5"/>
              <a:gd name="T9" fmla="*/ 1 h 5"/>
              <a:gd name="T10" fmla="*/ 1 w 5"/>
              <a:gd name="T11" fmla="*/ 0 h 5"/>
              <a:gd name="T12" fmla="*/ 0 w 5"/>
              <a:gd name="T13" fmla="*/ 1 h 5"/>
              <a:gd name="T14" fmla="*/ 1 w 5"/>
              <a:gd name="T15" fmla="*/ 2 h 5"/>
              <a:gd name="T16" fmla="*/ 2 w 5"/>
              <a:gd name="T17" fmla="*/ 2 h 5"/>
              <a:gd name="T18" fmla="*/ 3 w 5"/>
              <a:gd name="T19" fmla="*/ 5 h 5"/>
              <a:gd name="T20" fmla="*/ 4 w 5"/>
              <a:gd name="T21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" h="5">
                <a:moveTo>
                  <a:pt x="4" y="5"/>
                </a:moveTo>
                <a:lnTo>
                  <a:pt x="5" y="5"/>
                </a:lnTo>
                <a:lnTo>
                  <a:pt x="5" y="3"/>
                </a:lnTo>
                <a:lnTo>
                  <a:pt x="3" y="2"/>
                </a:lnTo>
                <a:lnTo>
                  <a:pt x="2" y="1"/>
                </a:lnTo>
                <a:lnTo>
                  <a:pt x="1" y="0"/>
                </a:lnTo>
                <a:lnTo>
                  <a:pt x="0" y="1"/>
                </a:lnTo>
                <a:lnTo>
                  <a:pt x="1" y="2"/>
                </a:lnTo>
                <a:lnTo>
                  <a:pt x="2" y="2"/>
                </a:lnTo>
                <a:lnTo>
                  <a:pt x="3" y="5"/>
                </a:lnTo>
                <a:lnTo>
                  <a:pt x="4" y="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81" name="Freeform 280"/>
          <p:cNvSpPr>
            <a:spLocks/>
          </p:cNvSpPr>
          <p:nvPr/>
        </p:nvSpPr>
        <p:spPr bwMode="auto">
          <a:xfrm>
            <a:off x="4216400" y="1808128"/>
            <a:ext cx="4762" cy="3175"/>
          </a:xfrm>
          <a:custGeom>
            <a:avLst/>
            <a:gdLst>
              <a:gd name="T0" fmla="*/ 2 w 3"/>
              <a:gd name="T1" fmla="*/ 1 h 2"/>
              <a:gd name="T2" fmla="*/ 3 w 3"/>
              <a:gd name="T3" fmla="*/ 1 h 2"/>
              <a:gd name="T4" fmla="*/ 0 w 3"/>
              <a:gd name="T5" fmla="*/ 0 h 2"/>
              <a:gd name="T6" fmla="*/ 0 w 3"/>
              <a:gd name="T7" fmla="*/ 1 h 2"/>
              <a:gd name="T8" fmla="*/ 0 w 3"/>
              <a:gd name="T9" fmla="*/ 2 h 2"/>
              <a:gd name="T10" fmla="*/ 1 w 3"/>
              <a:gd name="T11" fmla="*/ 2 h 2"/>
              <a:gd name="T12" fmla="*/ 2 w 3"/>
              <a:gd name="T13" fmla="*/ 2 h 2"/>
              <a:gd name="T14" fmla="*/ 2 w 3"/>
              <a:gd name="T15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2">
                <a:moveTo>
                  <a:pt x="2" y="1"/>
                </a:moveTo>
                <a:lnTo>
                  <a:pt x="3" y="1"/>
                </a:lnTo>
                <a:lnTo>
                  <a:pt x="0" y="0"/>
                </a:lnTo>
                <a:lnTo>
                  <a:pt x="0" y="1"/>
                </a:lnTo>
                <a:lnTo>
                  <a:pt x="0" y="2"/>
                </a:lnTo>
                <a:lnTo>
                  <a:pt x="1" y="2"/>
                </a:lnTo>
                <a:lnTo>
                  <a:pt x="2" y="2"/>
                </a:lnTo>
                <a:lnTo>
                  <a:pt x="2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82" name="Freeform 281"/>
          <p:cNvSpPr>
            <a:spLocks/>
          </p:cNvSpPr>
          <p:nvPr/>
        </p:nvSpPr>
        <p:spPr bwMode="auto">
          <a:xfrm>
            <a:off x="4216400" y="1808128"/>
            <a:ext cx="4762" cy="3175"/>
          </a:xfrm>
          <a:custGeom>
            <a:avLst/>
            <a:gdLst>
              <a:gd name="T0" fmla="*/ 2 w 3"/>
              <a:gd name="T1" fmla="*/ 1 h 2"/>
              <a:gd name="T2" fmla="*/ 3 w 3"/>
              <a:gd name="T3" fmla="*/ 1 h 2"/>
              <a:gd name="T4" fmla="*/ 0 w 3"/>
              <a:gd name="T5" fmla="*/ 0 h 2"/>
              <a:gd name="T6" fmla="*/ 0 w 3"/>
              <a:gd name="T7" fmla="*/ 1 h 2"/>
              <a:gd name="T8" fmla="*/ 0 w 3"/>
              <a:gd name="T9" fmla="*/ 2 h 2"/>
              <a:gd name="T10" fmla="*/ 1 w 3"/>
              <a:gd name="T11" fmla="*/ 2 h 2"/>
              <a:gd name="T12" fmla="*/ 2 w 3"/>
              <a:gd name="T13" fmla="*/ 2 h 2"/>
              <a:gd name="T14" fmla="*/ 2 w 3"/>
              <a:gd name="T15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2">
                <a:moveTo>
                  <a:pt x="2" y="1"/>
                </a:moveTo>
                <a:lnTo>
                  <a:pt x="3" y="1"/>
                </a:lnTo>
                <a:lnTo>
                  <a:pt x="0" y="0"/>
                </a:lnTo>
                <a:lnTo>
                  <a:pt x="0" y="1"/>
                </a:lnTo>
                <a:lnTo>
                  <a:pt x="0" y="2"/>
                </a:lnTo>
                <a:lnTo>
                  <a:pt x="1" y="2"/>
                </a:lnTo>
                <a:lnTo>
                  <a:pt x="2" y="2"/>
                </a:lnTo>
                <a:lnTo>
                  <a:pt x="2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83" name="Freeform 282"/>
          <p:cNvSpPr>
            <a:spLocks/>
          </p:cNvSpPr>
          <p:nvPr/>
        </p:nvSpPr>
        <p:spPr bwMode="auto">
          <a:xfrm>
            <a:off x="4213225" y="1820828"/>
            <a:ext cx="3175" cy="3175"/>
          </a:xfrm>
          <a:custGeom>
            <a:avLst/>
            <a:gdLst>
              <a:gd name="T0" fmla="*/ 2 w 2"/>
              <a:gd name="T1" fmla="*/ 1 h 2"/>
              <a:gd name="T2" fmla="*/ 2 w 2"/>
              <a:gd name="T3" fmla="*/ 1 h 2"/>
              <a:gd name="T4" fmla="*/ 2 w 2"/>
              <a:gd name="T5" fmla="*/ 0 h 2"/>
              <a:gd name="T6" fmla="*/ 1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1 w 2"/>
              <a:gd name="T13" fmla="*/ 1 h 2"/>
              <a:gd name="T14" fmla="*/ 1 w 2"/>
              <a:gd name="T15" fmla="*/ 1 h 2"/>
              <a:gd name="T16" fmla="*/ 2 w 2"/>
              <a:gd name="T17" fmla="*/ 2 h 2"/>
              <a:gd name="T18" fmla="*/ 2 w 2"/>
              <a:gd name="T19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" h="2">
                <a:moveTo>
                  <a:pt x="2" y="1"/>
                </a:moveTo>
                <a:lnTo>
                  <a:pt x="2" y="1"/>
                </a:lnTo>
                <a:lnTo>
                  <a:pt x="2" y="0"/>
                </a:lnTo>
                <a:lnTo>
                  <a:pt x="1" y="0"/>
                </a:lnTo>
                <a:lnTo>
                  <a:pt x="0" y="0"/>
                </a:lnTo>
                <a:lnTo>
                  <a:pt x="0" y="0"/>
                </a:lnTo>
                <a:lnTo>
                  <a:pt x="1" y="1"/>
                </a:lnTo>
                <a:lnTo>
                  <a:pt x="1" y="1"/>
                </a:lnTo>
                <a:lnTo>
                  <a:pt x="2" y="2"/>
                </a:lnTo>
                <a:lnTo>
                  <a:pt x="2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84" name="Freeform 283"/>
          <p:cNvSpPr>
            <a:spLocks/>
          </p:cNvSpPr>
          <p:nvPr/>
        </p:nvSpPr>
        <p:spPr bwMode="auto">
          <a:xfrm>
            <a:off x="4213225" y="1820828"/>
            <a:ext cx="3175" cy="3175"/>
          </a:xfrm>
          <a:custGeom>
            <a:avLst/>
            <a:gdLst>
              <a:gd name="T0" fmla="*/ 2 w 2"/>
              <a:gd name="T1" fmla="*/ 1 h 2"/>
              <a:gd name="T2" fmla="*/ 2 w 2"/>
              <a:gd name="T3" fmla="*/ 1 h 2"/>
              <a:gd name="T4" fmla="*/ 2 w 2"/>
              <a:gd name="T5" fmla="*/ 0 h 2"/>
              <a:gd name="T6" fmla="*/ 1 w 2"/>
              <a:gd name="T7" fmla="*/ 0 h 2"/>
              <a:gd name="T8" fmla="*/ 0 w 2"/>
              <a:gd name="T9" fmla="*/ 0 h 2"/>
              <a:gd name="T10" fmla="*/ 0 w 2"/>
              <a:gd name="T11" fmla="*/ 0 h 2"/>
              <a:gd name="T12" fmla="*/ 1 w 2"/>
              <a:gd name="T13" fmla="*/ 1 h 2"/>
              <a:gd name="T14" fmla="*/ 1 w 2"/>
              <a:gd name="T15" fmla="*/ 1 h 2"/>
              <a:gd name="T16" fmla="*/ 2 w 2"/>
              <a:gd name="T17" fmla="*/ 2 h 2"/>
              <a:gd name="T18" fmla="*/ 2 w 2"/>
              <a:gd name="T19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" h="2">
                <a:moveTo>
                  <a:pt x="2" y="1"/>
                </a:moveTo>
                <a:lnTo>
                  <a:pt x="2" y="1"/>
                </a:lnTo>
                <a:lnTo>
                  <a:pt x="2" y="0"/>
                </a:lnTo>
                <a:lnTo>
                  <a:pt x="1" y="0"/>
                </a:lnTo>
                <a:lnTo>
                  <a:pt x="0" y="0"/>
                </a:lnTo>
                <a:lnTo>
                  <a:pt x="0" y="0"/>
                </a:lnTo>
                <a:lnTo>
                  <a:pt x="1" y="1"/>
                </a:lnTo>
                <a:lnTo>
                  <a:pt x="1" y="1"/>
                </a:lnTo>
                <a:lnTo>
                  <a:pt x="2" y="2"/>
                </a:lnTo>
                <a:lnTo>
                  <a:pt x="2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85" name="Freeform 284"/>
          <p:cNvSpPr>
            <a:spLocks/>
          </p:cNvSpPr>
          <p:nvPr/>
        </p:nvSpPr>
        <p:spPr bwMode="auto">
          <a:xfrm>
            <a:off x="4210050" y="1825591"/>
            <a:ext cx="4762" cy="7938"/>
          </a:xfrm>
          <a:custGeom>
            <a:avLst/>
            <a:gdLst>
              <a:gd name="T0" fmla="*/ 1 w 3"/>
              <a:gd name="T1" fmla="*/ 1 h 5"/>
              <a:gd name="T2" fmla="*/ 1 w 3"/>
              <a:gd name="T3" fmla="*/ 0 h 5"/>
              <a:gd name="T4" fmla="*/ 0 w 3"/>
              <a:gd name="T5" fmla="*/ 1 h 5"/>
              <a:gd name="T6" fmla="*/ 1 w 3"/>
              <a:gd name="T7" fmla="*/ 4 h 5"/>
              <a:gd name="T8" fmla="*/ 1 w 3"/>
              <a:gd name="T9" fmla="*/ 5 h 5"/>
              <a:gd name="T10" fmla="*/ 2 w 3"/>
              <a:gd name="T11" fmla="*/ 5 h 5"/>
              <a:gd name="T12" fmla="*/ 2 w 3"/>
              <a:gd name="T13" fmla="*/ 4 h 5"/>
              <a:gd name="T14" fmla="*/ 3 w 3"/>
              <a:gd name="T15" fmla="*/ 4 h 5"/>
              <a:gd name="T16" fmla="*/ 2 w 3"/>
              <a:gd name="T17" fmla="*/ 2 h 5"/>
              <a:gd name="T18" fmla="*/ 1 w 3"/>
              <a:gd name="T19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" h="5">
                <a:moveTo>
                  <a:pt x="1" y="1"/>
                </a:moveTo>
                <a:lnTo>
                  <a:pt x="1" y="0"/>
                </a:lnTo>
                <a:lnTo>
                  <a:pt x="0" y="1"/>
                </a:lnTo>
                <a:lnTo>
                  <a:pt x="1" y="4"/>
                </a:lnTo>
                <a:lnTo>
                  <a:pt x="1" y="5"/>
                </a:lnTo>
                <a:lnTo>
                  <a:pt x="2" y="5"/>
                </a:lnTo>
                <a:lnTo>
                  <a:pt x="2" y="4"/>
                </a:lnTo>
                <a:lnTo>
                  <a:pt x="3" y="4"/>
                </a:lnTo>
                <a:lnTo>
                  <a:pt x="2" y="2"/>
                </a:lnTo>
                <a:lnTo>
                  <a:pt x="1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86" name="Freeform 285"/>
          <p:cNvSpPr>
            <a:spLocks/>
          </p:cNvSpPr>
          <p:nvPr/>
        </p:nvSpPr>
        <p:spPr bwMode="auto">
          <a:xfrm>
            <a:off x="4210050" y="1825591"/>
            <a:ext cx="4762" cy="7938"/>
          </a:xfrm>
          <a:custGeom>
            <a:avLst/>
            <a:gdLst>
              <a:gd name="T0" fmla="*/ 1 w 3"/>
              <a:gd name="T1" fmla="*/ 1 h 5"/>
              <a:gd name="T2" fmla="*/ 1 w 3"/>
              <a:gd name="T3" fmla="*/ 0 h 5"/>
              <a:gd name="T4" fmla="*/ 0 w 3"/>
              <a:gd name="T5" fmla="*/ 1 h 5"/>
              <a:gd name="T6" fmla="*/ 1 w 3"/>
              <a:gd name="T7" fmla="*/ 4 h 5"/>
              <a:gd name="T8" fmla="*/ 1 w 3"/>
              <a:gd name="T9" fmla="*/ 5 h 5"/>
              <a:gd name="T10" fmla="*/ 2 w 3"/>
              <a:gd name="T11" fmla="*/ 5 h 5"/>
              <a:gd name="T12" fmla="*/ 2 w 3"/>
              <a:gd name="T13" fmla="*/ 4 h 5"/>
              <a:gd name="T14" fmla="*/ 3 w 3"/>
              <a:gd name="T15" fmla="*/ 4 h 5"/>
              <a:gd name="T16" fmla="*/ 2 w 3"/>
              <a:gd name="T17" fmla="*/ 2 h 5"/>
              <a:gd name="T18" fmla="*/ 1 w 3"/>
              <a:gd name="T19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" h="5">
                <a:moveTo>
                  <a:pt x="1" y="1"/>
                </a:moveTo>
                <a:lnTo>
                  <a:pt x="1" y="0"/>
                </a:lnTo>
                <a:lnTo>
                  <a:pt x="0" y="1"/>
                </a:lnTo>
                <a:lnTo>
                  <a:pt x="1" y="4"/>
                </a:lnTo>
                <a:lnTo>
                  <a:pt x="1" y="5"/>
                </a:lnTo>
                <a:lnTo>
                  <a:pt x="2" y="5"/>
                </a:lnTo>
                <a:lnTo>
                  <a:pt x="2" y="4"/>
                </a:lnTo>
                <a:lnTo>
                  <a:pt x="3" y="4"/>
                </a:lnTo>
                <a:lnTo>
                  <a:pt x="2" y="2"/>
                </a:lnTo>
                <a:lnTo>
                  <a:pt x="1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87" name="Freeform 286"/>
          <p:cNvSpPr>
            <a:spLocks/>
          </p:cNvSpPr>
          <p:nvPr/>
        </p:nvSpPr>
        <p:spPr bwMode="auto">
          <a:xfrm>
            <a:off x="4659313" y="1995453"/>
            <a:ext cx="7937" cy="6350"/>
          </a:xfrm>
          <a:custGeom>
            <a:avLst/>
            <a:gdLst>
              <a:gd name="T0" fmla="*/ 5 w 5"/>
              <a:gd name="T1" fmla="*/ 4 h 4"/>
              <a:gd name="T2" fmla="*/ 4 w 5"/>
              <a:gd name="T3" fmla="*/ 2 h 4"/>
              <a:gd name="T4" fmla="*/ 2 w 5"/>
              <a:gd name="T5" fmla="*/ 1 h 4"/>
              <a:gd name="T6" fmla="*/ 1 w 5"/>
              <a:gd name="T7" fmla="*/ 0 h 4"/>
              <a:gd name="T8" fmla="*/ 0 w 5"/>
              <a:gd name="T9" fmla="*/ 3 h 4"/>
              <a:gd name="T10" fmla="*/ 1 w 5"/>
              <a:gd name="T11" fmla="*/ 4 h 4"/>
              <a:gd name="T12" fmla="*/ 3 w 5"/>
              <a:gd name="T13" fmla="*/ 4 h 4"/>
              <a:gd name="T14" fmla="*/ 5 w 5"/>
              <a:gd name="T15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4">
                <a:moveTo>
                  <a:pt x="5" y="4"/>
                </a:moveTo>
                <a:lnTo>
                  <a:pt x="4" y="2"/>
                </a:lnTo>
                <a:lnTo>
                  <a:pt x="2" y="1"/>
                </a:lnTo>
                <a:lnTo>
                  <a:pt x="1" y="0"/>
                </a:lnTo>
                <a:lnTo>
                  <a:pt x="0" y="3"/>
                </a:lnTo>
                <a:lnTo>
                  <a:pt x="1" y="4"/>
                </a:lnTo>
                <a:lnTo>
                  <a:pt x="3" y="4"/>
                </a:lnTo>
                <a:lnTo>
                  <a:pt x="5" y="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88" name="Freeform 287"/>
          <p:cNvSpPr>
            <a:spLocks/>
          </p:cNvSpPr>
          <p:nvPr/>
        </p:nvSpPr>
        <p:spPr bwMode="auto">
          <a:xfrm>
            <a:off x="4659313" y="1995453"/>
            <a:ext cx="7937" cy="6350"/>
          </a:xfrm>
          <a:custGeom>
            <a:avLst/>
            <a:gdLst>
              <a:gd name="T0" fmla="*/ 5 w 5"/>
              <a:gd name="T1" fmla="*/ 4 h 4"/>
              <a:gd name="T2" fmla="*/ 4 w 5"/>
              <a:gd name="T3" fmla="*/ 2 h 4"/>
              <a:gd name="T4" fmla="*/ 2 w 5"/>
              <a:gd name="T5" fmla="*/ 1 h 4"/>
              <a:gd name="T6" fmla="*/ 1 w 5"/>
              <a:gd name="T7" fmla="*/ 0 h 4"/>
              <a:gd name="T8" fmla="*/ 0 w 5"/>
              <a:gd name="T9" fmla="*/ 3 h 4"/>
              <a:gd name="T10" fmla="*/ 1 w 5"/>
              <a:gd name="T11" fmla="*/ 4 h 4"/>
              <a:gd name="T12" fmla="*/ 3 w 5"/>
              <a:gd name="T13" fmla="*/ 4 h 4"/>
              <a:gd name="T14" fmla="*/ 5 w 5"/>
              <a:gd name="T15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4">
                <a:moveTo>
                  <a:pt x="5" y="4"/>
                </a:moveTo>
                <a:lnTo>
                  <a:pt x="4" y="2"/>
                </a:lnTo>
                <a:lnTo>
                  <a:pt x="2" y="1"/>
                </a:lnTo>
                <a:lnTo>
                  <a:pt x="1" y="0"/>
                </a:lnTo>
                <a:lnTo>
                  <a:pt x="0" y="3"/>
                </a:lnTo>
                <a:lnTo>
                  <a:pt x="1" y="4"/>
                </a:lnTo>
                <a:lnTo>
                  <a:pt x="3" y="4"/>
                </a:lnTo>
                <a:lnTo>
                  <a:pt x="5" y="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89" name="Freeform 288"/>
          <p:cNvSpPr>
            <a:spLocks/>
          </p:cNvSpPr>
          <p:nvPr/>
        </p:nvSpPr>
        <p:spPr bwMode="auto">
          <a:xfrm>
            <a:off x="4598988" y="2003391"/>
            <a:ext cx="7937" cy="11113"/>
          </a:xfrm>
          <a:custGeom>
            <a:avLst/>
            <a:gdLst>
              <a:gd name="T0" fmla="*/ 1 w 5"/>
              <a:gd name="T1" fmla="*/ 0 h 7"/>
              <a:gd name="T2" fmla="*/ 2 w 5"/>
              <a:gd name="T3" fmla="*/ 0 h 7"/>
              <a:gd name="T4" fmla="*/ 3 w 5"/>
              <a:gd name="T5" fmla="*/ 0 h 7"/>
              <a:gd name="T6" fmla="*/ 3 w 5"/>
              <a:gd name="T7" fmla="*/ 1 h 7"/>
              <a:gd name="T8" fmla="*/ 5 w 5"/>
              <a:gd name="T9" fmla="*/ 3 h 7"/>
              <a:gd name="T10" fmla="*/ 5 w 5"/>
              <a:gd name="T11" fmla="*/ 4 h 7"/>
              <a:gd name="T12" fmla="*/ 4 w 5"/>
              <a:gd name="T13" fmla="*/ 4 h 7"/>
              <a:gd name="T14" fmla="*/ 4 w 5"/>
              <a:gd name="T15" fmla="*/ 5 h 7"/>
              <a:gd name="T16" fmla="*/ 4 w 5"/>
              <a:gd name="T17" fmla="*/ 7 h 7"/>
              <a:gd name="T18" fmla="*/ 3 w 5"/>
              <a:gd name="T19" fmla="*/ 7 h 7"/>
              <a:gd name="T20" fmla="*/ 3 w 5"/>
              <a:gd name="T21" fmla="*/ 4 h 7"/>
              <a:gd name="T22" fmla="*/ 2 w 5"/>
              <a:gd name="T23" fmla="*/ 4 h 7"/>
              <a:gd name="T24" fmla="*/ 2 w 5"/>
              <a:gd name="T25" fmla="*/ 3 h 7"/>
              <a:gd name="T26" fmla="*/ 1 w 5"/>
              <a:gd name="T27" fmla="*/ 3 h 7"/>
              <a:gd name="T28" fmla="*/ 0 w 5"/>
              <a:gd name="T29" fmla="*/ 1 h 7"/>
              <a:gd name="T30" fmla="*/ 0 w 5"/>
              <a:gd name="T31" fmla="*/ 0 h 7"/>
              <a:gd name="T32" fmla="*/ 1 w 5"/>
              <a:gd name="T33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" h="7">
                <a:moveTo>
                  <a:pt x="1" y="0"/>
                </a:moveTo>
                <a:lnTo>
                  <a:pt x="2" y="0"/>
                </a:lnTo>
                <a:lnTo>
                  <a:pt x="3" y="0"/>
                </a:lnTo>
                <a:lnTo>
                  <a:pt x="3" y="1"/>
                </a:lnTo>
                <a:lnTo>
                  <a:pt x="5" y="3"/>
                </a:lnTo>
                <a:lnTo>
                  <a:pt x="5" y="4"/>
                </a:lnTo>
                <a:lnTo>
                  <a:pt x="4" y="4"/>
                </a:lnTo>
                <a:lnTo>
                  <a:pt x="4" y="5"/>
                </a:lnTo>
                <a:lnTo>
                  <a:pt x="4" y="7"/>
                </a:lnTo>
                <a:lnTo>
                  <a:pt x="3" y="7"/>
                </a:lnTo>
                <a:lnTo>
                  <a:pt x="3" y="4"/>
                </a:lnTo>
                <a:lnTo>
                  <a:pt x="2" y="4"/>
                </a:lnTo>
                <a:lnTo>
                  <a:pt x="2" y="3"/>
                </a:lnTo>
                <a:lnTo>
                  <a:pt x="1" y="3"/>
                </a:ln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90" name="Freeform 289"/>
          <p:cNvSpPr>
            <a:spLocks/>
          </p:cNvSpPr>
          <p:nvPr/>
        </p:nvSpPr>
        <p:spPr bwMode="auto">
          <a:xfrm>
            <a:off x="4598988" y="2003391"/>
            <a:ext cx="7937" cy="11113"/>
          </a:xfrm>
          <a:custGeom>
            <a:avLst/>
            <a:gdLst>
              <a:gd name="T0" fmla="*/ 1 w 5"/>
              <a:gd name="T1" fmla="*/ 0 h 7"/>
              <a:gd name="T2" fmla="*/ 2 w 5"/>
              <a:gd name="T3" fmla="*/ 0 h 7"/>
              <a:gd name="T4" fmla="*/ 3 w 5"/>
              <a:gd name="T5" fmla="*/ 0 h 7"/>
              <a:gd name="T6" fmla="*/ 3 w 5"/>
              <a:gd name="T7" fmla="*/ 1 h 7"/>
              <a:gd name="T8" fmla="*/ 5 w 5"/>
              <a:gd name="T9" fmla="*/ 3 h 7"/>
              <a:gd name="T10" fmla="*/ 5 w 5"/>
              <a:gd name="T11" fmla="*/ 4 h 7"/>
              <a:gd name="T12" fmla="*/ 4 w 5"/>
              <a:gd name="T13" fmla="*/ 4 h 7"/>
              <a:gd name="T14" fmla="*/ 4 w 5"/>
              <a:gd name="T15" fmla="*/ 5 h 7"/>
              <a:gd name="T16" fmla="*/ 4 w 5"/>
              <a:gd name="T17" fmla="*/ 7 h 7"/>
              <a:gd name="T18" fmla="*/ 3 w 5"/>
              <a:gd name="T19" fmla="*/ 7 h 7"/>
              <a:gd name="T20" fmla="*/ 3 w 5"/>
              <a:gd name="T21" fmla="*/ 4 h 7"/>
              <a:gd name="T22" fmla="*/ 2 w 5"/>
              <a:gd name="T23" fmla="*/ 4 h 7"/>
              <a:gd name="T24" fmla="*/ 2 w 5"/>
              <a:gd name="T25" fmla="*/ 3 h 7"/>
              <a:gd name="T26" fmla="*/ 1 w 5"/>
              <a:gd name="T27" fmla="*/ 3 h 7"/>
              <a:gd name="T28" fmla="*/ 0 w 5"/>
              <a:gd name="T29" fmla="*/ 1 h 7"/>
              <a:gd name="T30" fmla="*/ 0 w 5"/>
              <a:gd name="T31" fmla="*/ 0 h 7"/>
              <a:gd name="T32" fmla="*/ 1 w 5"/>
              <a:gd name="T33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" h="7">
                <a:moveTo>
                  <a:pt x="1" y="0"/>
                </a:moveTo>
                <a:lnTo>
                  <a:pt x="2" y="0"/>
                </a:lnTo>
                <a:lnTo>
                  <a:pt x="3" y="0"/>
                </a:lnTo>
                <a:lnTo>
                  <a:pt x="3" y="1"/>
                </a:lnTo>
                <a:lnTo>
                  <a:pt x="5" y="3"/>
                </a:lnTo>
                <a:lnTo>
                  <a:pt x="5" y="4"/>
                </a:lnTo>
                <a:lnTo>
                  <a:pt x="4" y="4"/>
                </a:lnTo>
                <a:lnTo>
                  <a:pt x="4" y="5"/>
                </a:lnTo>
                <a:lnTo>
                  <a:pt x="4" y="7"/>
                </a:lnTo>
                <a:lnTo>
                  <a:pt x="3" y="7"/>
                </a:lnTo>
                <a:lnTo>
                  <a:pt x="3" y="4"/>
                </a:lnTo>
                <a:lnTo>
                  <a:pt x="2" y="4"/>
                </a:lnTo>
                <a:lnTo>
                  <a:pt x="2" y="3"/>
                </a:lnTo>
                <a:lnTo>
                  <a:pt x="1" y="3"/>
                </a:ln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91" name="Freeform 290"/>
          <p:cNvSpPr>
            <a:spLocks/>
          </p:cNvSpPr>
          <p:nvPr/>
        </p:nvSpPr>
        <p:spPr bwMode="auto">
          <a:xfrm>
            <a:off x="4584700" y="2003391"/>
            <a:ext cx="15875" cy="9525"/>
          </a:xfrm>
          <a:custGeom>
            <a:avLst/>
            <a:gdLst>
              <a:gd name="T0" fmla="*/ 3 w 10"/>
              <a:gd name="T1" fmla="*/ 0 h 6"/>
              <a:gd name="T2" fmla="*/ 3 w 10"/>
              <a:gd name="T3" fmla="*/ 0 h 6"/>
              <a:gd name="T4" fmla="*/ 3 w 10"/>
              <a:gd name="T5" fmla="*/ 1 h 6"/>
              <a:gd name="T6" fmla="*/ 4 w 10"/>
              <a:gd name="T7" fmla="*/ 1 h 6"/>
              <a:gd name="T8" fmla="*/ 5 w 10"/>
              <a:gd name="T9" fmla="*/ 3 h 6"/>
              <a:gd name="T10" fmla="*/ 7 w 10"/>
              <a:gd name="T11" fmla="*/ 3 h 6"/>
              <a:gd name="T12" fmla="*/ 7 w 10"/>
              <a:gd name="T13" fmla="*/ 3 h 6"/>
              <a:gd name="T14" fmla="*/ 8 w 10"/>
              <a:gd name="T15" fmla="*/ 3 h 6"/>
              <a:gd name="T16" fmla="*/ 8 w 10"/>
              <a:gd name="T17" fmla="*/ 1 h 6"/>
              <a:gd name="T18" fmla="*/ 8 w 10"/>
              <a:gd name="T19" fmla="*/ 1 h 6"/>
              <a:gd name="T20" fmla="*/ 9 w 10"/>
              <a:gd name="T21" fmla="*/ 3 h 6"/>
              <a:gd name="T22" fmla="*/ 10 w 10"/>
              <a:gd name="T23" fmla="*/ 4 h 6"/>
              <a:gd name="T24" fmla="*/ 10 w 10"/>
              <a:gd name="T25" fmla="*/ 6 h 6"/>
              <a:gd name="T26" fmla="*/ 10 w 10"/>
              <a:gd name="T27" fmla="*/ 6 h 6"/>
              <a:gd name="T28" fmla="*/ 8 w 10"/>
              <a:gd name="T29" fmla="*/ 6 h 6"/>
              <a:gd name="T30" fmla="*/ 7 w 10"/>
              <a:gd name="T31" fmla="*/ 6 h 6"/>
              <a:gd name="T32" fmla="*/ 5 w 10"/>
              <a:gd name="T33" fmla="*/ 6 h 6"/>
              <a:gd name="T34" fmla="*/ 3 w 10"/>
              <a:gd name="T35" fmla="*/ 5 h 6"/>
              <a:gd name="T36" fmla="*/ 0 w 10"/>
              <a:gd name="T37" fmla="*/ 4 h 6"/>
              <a:gd name="T38" fmla="*/ 0 w 10"/>
              <a:gd name="T39" fmla="*/ 3 h 6"/>
              <a:gd name="T40" fmla="*/ 0 w 10"/>
              <a:gd name="T41" fmla="*/ 3 h 6"/>
              <a:gd name="T42" fmla="*/ 1 w 10"/>
              <a:gd name="T43" fmla="*/ 3 h 6"/>
              <a:gd name="T44" fmla="*/ 0 w 10"/>
              <a:gd name="T45" fmla="*/ 3 h 6"/>
              <a:gd name="T46" fmla="*/ 0 w 10"/>
              <a:gd name="T47" fmla="*/ 1 h 6"/>
              <a:gd name="T48" fmla="*/ 1 w 10"/>
              <a:gd name="T49" fmla="*/ 0 h 6"/>
              <a:gd name="T50" fmla="*/ 2 w 10"/>
              <a:gd name="T51" fmla="*/ 0 h 6"/>
              <a:gd name="T52" fmla="*/ 3 w 10"/>
              <a:gd name="T5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0" h="6">
                <a:moveTo>
                  <a:pt x="3" y="0"/>
                </a:moveTo>
                <a:lnTo>
                  <a:pt x="3" y="0"/>
                </a:lnTo>
                <a:lnTo>
                  <a:pt x="3" y="1"/>
                </a:lnTo>
                <a:lnTo>
                  <a:pt x="4" y="1"/>
                </a:lnTo>
                <a:lnTo>
                  <a:pt x="5" y="3"/>
                </a:lnTo>
                <a:lnTo>
                  <a:pt x="7" y="3"/>
                </a:lnTo>
                <a:lnTo>
                  <a:pt x="7" y="3"/>
                </a:lnTo>
                <a:lnTo>
                  <a:pt x="8" y="3"/>
                </a:lnTo>
                <a:lnTo>
                  <a:pt x="8" y="1"/>
                </a:lnTo>
                <a:lnTo>
                  <a:pt x="8" y="1"/>
                </a:lnTo>
                <a:lnTo>
                  <a:pt x="9" y="3"/>
                </a:lnTo>
                <a:lnTo>
                  <a:pt x="10" y="4"/>
                </a:lnTo>
                <a:lnTo>
                  <a:pt x="10" y="6"/>
                </a:lnTo>
                <a:lnTo>
                  <a:pt x="10" y="6"/>
                </a:lnTo>
                <a:lnTo>
                  <a:pt x="8" y="6"/>
                </a:lnTo>
                <a:lnTo>
                  <a:pt x="7" y="6"/>
                </a:lnTo>
                <a:lnTo>
                  <a:pt x="5" y="6"/>
                </a:lnTo>
                <a:lnTo>
                  <a:pt x="3" y="5"/>
                </a:lnTo>
                <a:lnTo>
                  <a:pt x="0" y="4"/>
                </a:lnTo>
                <a:lnTo>
                  <a:pt x="0" y="3"/>
                </a:lnTo>
                <a:lnTo>
                  <a:pt x="0" y="3"/>
                </a:lnTo>
                <a:lnTo>
                  <a:pt x="1" y="3"/>
                </a:lnTo>
                <a:lnTo>
                  <a:pt x="0" y="3"/>
                </a:lnTo>
                <a:lnTo>
                  <a:pt x="0" y="1"/>
                </a:lnTo>
                <a:lnTo>
                  <a:pt x="1" y="0"/>
                </a:lnTo>
                <a:lnTo>
                  <a:pt x="2" y="0"/>
                </a:lnTo>
                <a:lnTo>
                  <a:pt x="3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92" name="Freeform 291"/>
          <p:cNvSpPr>
            <a:spLocks/>
          </p:cNvSpPr>
          <p:nvPr/>
        </p:nvSpPr>
        <p:spPr bwMode="auto">
          <a:xfrm>
            <a:off x="4584700" y="2003391"/>
            <a:ext cx="15875" cy="9525"/>
          </a:xfrm>
          <a:custGeom>
            <a:avLst/>
            <a:gdLst>
              <a:gd name="T0" fmla="*/ 3 w 10"/>
              <a:gd name="T1" fmla="*/ 0 h 6"/>
              <a:gd name="T2" fmla="*/ 3 w 10"/>
              <a:gd name="T3" fmla="*/ 0 h 6"/>
              <a:gd name="T4" fmla="*/ 3 w 10"/>
              <a:gd name="T5" fmla="*/ 1 h 6"/>
              <a:gd name="T6" fmla="*/ 4 w 10"/>
              <a:gd name="T7" fmla="*/ 1 h 6"/>
              <a:gd name="T8" fmla="*/ 5 w 10"/>
              <a:gd name="T9" fmla="*/ 3 h 6"/>
              <a:gd name="T10" fmla="*/ 7 w 10"/>
              <a:gd name="T11" fmla="*/ 3 h 6"/>
              <a:gd name="T12" fmla="*/ 7 w 10"/>
              <a:gd name="T13" fmla="*/ 3 h 6"/>
              <a:gd name="T14" fmla="*/ 8 w 10"/>
              <a:gd name="T15" fmla="*/ 3 h 6"/>
              <a:gd name="T16" fmla="*/ 8 w 10"/>
              <a:gd name="T17" fmla="*/ 1 h 6"/>
              <a:gd name="T18" fmla="*/ 8 w 10"/>
              <a:gd name="T19" fmla="*/ 1 h 6"/>
              <a:gd name="T20" fmla="*/ 9 w 10"/>
              <a:gd name="T21" fmla="*/ 3 h 6"/>
              <a:gd name="T22" fmla="*/ 10 w 10"/>
              <a:gd name="T23" fmla="*/ 4 h 6"/>
              <a:gd name="T24" fmla="*/ 10 w 10"/>
              <a:gd name="T25" fmla="*/ 6 h 6"/>
              <a:gd name="T26" fmla="*/ 10 w 10"/>
              <a:gd name="T27" fmla="*/ 6 h 6"/>
              <a:gd name="T28" fmla="*/ 8 w 10"/>
              <a:gd name="T29" fmla="*/ 6 h 6"/>
              <a:gd name="T30" fmla="*/ 7 w 10"/>
              <a:gd name="T31" fmla="*/ 6 h 6"/>
              <a:gd name="T32" fmla="*/ 5 w 10"/>
              <a:gd name="T33" fmla="*/ 6 h 6"/>
              <a:gd name="T34" fmla="*/ 3 w 10"/>
              <a:gd name="T35" fmla="*/ 5 h 6"/>
              <a:gd name="T36" fmla="*/ 0 w 10"/>
              <a:gd name="T37" fmla="*/ 4 h 6"/>
              <a:gd name="T38" fmla="*/ 0 w 10"/>
              <a:gd name="T39" fmla="*/ 3 h 6"/>
              <a:gd name="T40" fmla="*/ 0 w 10"/>
              <a:gd name="T41" fmla="*/ 3 h 6"/>
              <a:gd name="T42" fmla="*/ 1 w 10"/>
              <a:gd name="T43" fmla="*/ 3 h 6"/>
              <a:gd name="T44" fmla="*/ 0 w 10"/>
              <a:gd name="T45" fmla="*/ 3 h 6"/>
              <a:gd name="T46" fmla="*/ 0 w 10"/>
              <a:gd name="T47" fmla="*/ 1 h 6"/>
              <a:gd name="T48" fmla="*/ 1 w 10"/>
              <a:gd name="T49" fmla="*/ 0 h 6"/>
              <a:gd name="T50" fmla="*/ 2 w 10"/>
              <a:gd name="T51" fmla="*/ 0 h 6"/>
              <a:gd name="T52" fmla="*/ 3 w 10"/>
              <a:gd name="T5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0" h="6">
                <a:moveTo>
                  <a:pt x="3" y="0"/>
                </a:moveTo>
                <a:lnTo>
                  <a:pt x="3" y="0"/>
                </a:lnTo>
                <a:lnTo>
                  <a:pt x="3" y="1"/>
                </a:lnTo>
                <a:lnTo>
                  <a:pt x="4" y="1"/>
                </a:lnTo>
                <a:lnTo>
                  <a:pt x="5" y="3"/>
                </a:lnTo>
                <a:lnTo>
                  <a:pt x="7" y="3"/>
                </a:lnTo>
                <a:lnTo>
                  <a:pt x="7" y="3"/>
                </a:lnTo>
                <a:lnTo>
                  <a:pt x="8" y="3"/>
                </a:lnTo>
                <a:lnTo>
                  <a:pt x="8" y="1"/>
                </a:lnTo>
                <a:lnTo>
                  <a:pt x="8" y="1"/>
                </a:lnTo>
                <a:lnTo>
                  <a:pt x="9" y="3"/>
                </a:lnTo>
                <a:lnTo>
                  <a:pt x="10" y="4"/>
                </a:lnTo>
                <a:lnTo>
                  <a:pt x="10" y="6"/>
                </a:lnTo>
                <a:lnTo>
                  <a:pt x="10" y="6"/>
                </a:lnTo>
                <a:lnTo>
                  <a:pt x="8" y="6"/>
                </a:lnTo>
                <a:lnTo>
                  <a:pt x="7" y="6"/>
                </a:lnTo>
                <a:lnTo>
                  <a:pt x="5" y="6"/>
                </a:lnTo>
                <a:lnTo>
                  <a:pt x="3" y="5"/>
                </a:lnTo>
                <a:lnTo>
                  <a:pt x="0" y="4"/>
                </a:lnTo>
                <a:lnTo>
                  <a:pt x="0" y="3"/>
                </a:lnTo>
                <a:lnTo>
                  <a:pt x="0" y="3"/>
                </a:lnTo>
                <a:lnTo>
                  <a:pt x="1" y="3"/>
                </a:lnTo>
                <a:lnTo>
                  <a:pt x="0" y="3"/>
                </a:lnTo>
                <a:lnTo>
                  <a:pt x="0" y="1"/>
                </a:lnTo>
                <a:lnTo>
                  <a:pt x="1" y="0"/>
                </a:lnTo>
                <a:lnTo>
                  <a:pt x="2" y="0"/>
                </a:lnTo>
                <a:lnTo>
                  <a:pt x="3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93" name="Freeform 292"/>
          <p:cNvSpPr>
            <a:spLocks/>
          </p:cNvSpPr>
          <p:nvPr/>
        </p:nvSpPr>
        <p:spPr bwMode="auto">
          <a:xfrm>
            <a:off x="4554538" y="1985928"/>
            <a:ext cx="25400" cy="15875"/>
          </a:xfrm>
          <a:custGeom>
            <a:avLst/>
            <a:gdLst>
              <a:gd name="T0" fmla="*/ 4 w 16"/>
              <a:gd name="T1" fmla="*/ 1 h 10"/>
              <a:gd name="T2" fmla="*/ 6 w 16"/>
              <a:gd name="T3" fmla="*/ 1 h 10"/>
              <a:gd name="T4" fmla="*/ 9 w 16"/>
              <a:gd name="T5" fmla="*/ 1 h 10"/>
              <a:gd name="T6" fmla="*/ 11 w 16"/>
              <a:gd name="T7" fmla="*/ 1 h 10"/>
              <a:gd name="T8" fmla="*/ 11 w 16"/>
              <a:gd name="T9" fmla="*/ 1 h 10"/>
              <a:gd name="T10" fmla="*/ 11 w 16"/>
              <a:gd name="T11" fmla="*/ 0 h 10"/>
              <a:gd name="T12" fmla="*/ 12 w 16"/>
              <a:gd name="T13" fmla="*/ 0 h 10"/>
              <a:gd name="T14" fmla="*/ 14 w 16"/>
              <a:gd name="T15" fmla="*/ 2 h 10"/>
              <a:gd name="T16" fmla="*/ 13 w 16"/>
              <a:gd name="T17" fmla="*/ 4 h 10"/>
              <a:gd name="T18" fmla="*/ 14 w 16"/>
              <a:gd name="T19" fmla="*/ 5 h 10"/>
              <a:gd name="T20" fmla="*/ 14 w 16"/>
              <a:gd name="T21" fmla="*/ 6 h 10"/>
              <a:gd name="T22" fmla="*/ 16 w 16"/>
              <a:gd name="T23" fmla="*/ 6 h 10"/>
              <a:gd name="T24" fmla="*/ 16 w 16"/>
              <a:gd name="T25" fmla="*/ 6 h 10"/>
              <a:gd name="T26" fmla="*/ 16 w 16"/>
              <a:gd name="T27" fmla="*/ 6 h 10"/>
              <a:gd name="T28" fmla="*/ 16 w 16"/>
              <a:gd name="T29" fmla="*/ 8 h 10"/>
              <a:gd name="T30" fmla="*/ 16 w 16"/>
              <a:gd name="T31" fmla="*/ 9 h 10"/>
              <a:gd name="T32" fmla="*/ 13 w 16"/>
              <a:gd name="T33" fmla="*/ 10 h 10"/>
              <a:gd name="T34" fmla="*/ 12 w 16"/>
              <a:gd name="T35" fmla="*/ 10 h 10"/>
              <a:gd name="T36" fmla="*/ 10 w 16"/>
              <a:gd name="T37" fmla="*/ 10 h 10"/>
              <a:gd name="T38" fmla="*/ 9 w 16"/>
              <a:gd name="T39" fmla="*/ 9 h 10"/>
              <a:gd name="T40" fmla="*/ 7 w 16"/>
              <a:gd name="T41" fmla="*/ 9 h 10"/>
              <a:gd name="T42" fmla="*/ 6 w 16"/>
              <a:gd name="T43" fmla="*/ 9 h 10"/>
              <a:gd name="T44" fmla="*/ 7 w 16"/>
              <a:gd name="T45" fmla="*/ 8 h 10"/>
              <a:gd name="T46" fmla="*/ 6 w 16"/>
              <a:gd name="T47" fmla="*/ 8 h 10"/>
              <a:gd name="T48" fmla="*/ 3 w 16"/>
              <a:gd name="T49" fmla="*/ 7 h 10"/>
              <a:gd name="T50" fmla="*/ 3 w 16"/>
              <a:gd name="T51" fmla="*/ 6 h 10"/>
              <a:gd name="T52" fmla="*/ 1 w 16"/>
              <a:gd name="T53" fmla="*/ 5 h 10"/>
              <a:gd name="T54" fmla="*/ 2 w 16"/>
              <a:gd name="T55" fmla="*/ 5 h 10"/>
              <a:gd name="T56" fmla="*/ 1 w 16"/>
              <a:gd name="T57" fmla="*/ 4 h 10"/>
              <a:gd name="T58" fmla="*/ 1 w 16"/>
              <a:gd name="T59" fmla="*/ 4 h 10"/>
              <a:gd name="T60" fmla="*/ 1 w 16"/>
              <a:gd name="T61" fmla="*/ 4 h 10"/>
              <a:gd name="T62" fmla="*/ 1 w 16"/>
              <a:gd name="T63" fmla="*/ 2 h 10"/>
              <a:gd name="T64" fmla="*/ 0 w 16"/>
              <a:gd name="T65" fmla="*/ 2 h 10"/>
              <a:gd name="T66" fmla="*/ 2 w 16"/>
              <a:gd name="T67" fmla="*/ 2 h 10"/>
              <a:gd name="T68" fmla="*/ 3 w 16"/>
              <a:gd name="T69" fmla="*/ 2 h 10"/>
              <a:gd name="T70" fmla="*/ 4 w 16"/>
              <a:gd name="T71" fmla="*/ 1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6" h="10">
                <a:moveTo>
                  <a:pt x="4" y="1"/>
                </a:moveTo>
                <a:lnTo>
                  <a:pt x="6" y="1"/>
                </a:lnTo>
                <a:lnTo>
                  <a:pt x="9" y="1"/>
                </a:lnTo>
                <a:lnTo>
                  <a:pt x="11" y="1"/>
                </a:lnTo>
                <a:lnTo>
                  <a:pt x="11" y="1"/>
                </a:lnTo>
                <a:lnTo>
                  <a:pt x="11" y="0"/>
                </a:lnTo>
                <a:lnTo>
                  <a:pt x="12" y="0"/>
                </a:lnTo>
                <a:lnTo>
                  <a:pt x="14" y="2"/>
                </a:lnTo>
                <a:lnTo>
                  <a:pt x="13" y="4"/>
                </a:lnTo>
                <a:lnTo>
                  <a:pt x="14" y="5"/>
                </a:lnTo>
                <a:lnTo>
                  <a:pt x="14" y="6"/>
                </a:lnTo>
                <a:lnTo>
                  <a:pt x="16" y="6"/>
                </a:lnTo>
                <a:lnTo>
                  <a:pt x="16" y="6"/>
                </a:lnTo>
                <a:lnTo>
                  <a:pt x="16" y="6"/>
                </a:lnTo>
                <a:lnTo>
                  <a:pt x="16" y="8"/>
                </a:lnTo>
                <a:lnTo>
                  <a:pt x="16" y="9"/>
                </a:lnTo>
                <a:lnTo>
                  <a:pt x="13" y="10"/>
                </a:lnTo>
                <a:lnTo>
                  <a:pt x="12" y="10"/>
                </a:lnTo>
                <a:lnTo>
                  <a:pt x="10" y="10"/>
                </a:lnTo>
                <a:lnTo>
                  <a:pt x="9" y="9"/>
                </a:lnTo>
                <a:lnTo>
                  <a:pt x="7" y="9"/>
                </a:lnTo>
                <a:lnTo>
                  <a:pt x="6" y="9"/>
                </a:lnTo>
                <a:lnTo>
                  <a:pt x="7" y="8"/>
                </a:lnTo>
                <a:lnTo>
                  <a:pt x="6" y="8"/>
                </a:lnTo>
                <a:lnTo>
                  <a:pt x="3" y="7"/>
                </a:lnTo>
                <a:lnTo>
                  <a:pt x="3" y="6"/>
                </a:lnTo>
                <a:lnTo>
                  <a:pt x="1" y="5"/>
                </a:lnTo>
                <a:lnTo>
                  <a:pt x="2" y="5"/>
                </a:lnTo>
                <a:lnTo>
                  <a:pt x="1" y="4"/>
                </a:lnTo>
                <a:lnTo>
                  <a:pt x="1" y="4"/>
                </a:lnTo>
                <a:lnTo>
                  <a:pt x="1" y="4"/>
                </a:lnTo>
                <a:lnTo>
                  <a:pt x="1" y="2"/>
                </a:lnTo>
                <a:lnTo>
                  <a:pt x="0" y="2"/>
                </a:lnTo>
                <a:lnTo>
                  <a:pt x="2" y="2"/>
                </a:lnTo>
                <a:lnTo>
                  <a:pt x="3" y="2"/>
                </a:lnTo>
                <a:lnTo>
                  <a:pt x="4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94" name="Freeform 293"/>
          <p:cNvSpPr>
            <a:spLocks/>
          </p:cNvSpPr>
          <p:nvPr/>
        </p:nvSpPr>
        <p:spPr bwMode="auto">
          <a:xfrm>
            <a:off x="4554538" y="1985928"/>
            <a:ext cx="25400" cy="15875"/>
          </a:xfrm>
          <a:custGeom>
            <a:avLst/>
            <a:gdLst>
              <a:gd name="T0" fmla="*/ 4 w 16"/>
              <a:gd name="T1" fmla="*/ 1 h 10"/>
              <a:gd name="T2" fmla="*/ 6 w 16"/>
              <a:gd name="T3" fmla="*/ 1 h 10"/>
              <a:gd name="T4" fmla="*/ 9 w 16"/>
              <a:gd name="T5" fmla="*/ 1 h 10"/>
              <a:gd name="T6" fmla="*/ 11 w 16"/>
              <a:gd name="T7" fmla="*/ 1 h 10"/>
              <a:gd name="T8" fmla="*/ 11 w 16"/>
              <a:gd name="T9" fmla="*/ 1 h 10"/>
              <a:gd name="T10" fmla="*/ 11 w 16"/>
              <a:gd name="T11" fmla="*/ 0 h 10"/>
              <a:gd name="T12" fmla="*/ 12 w 16"/>
              <a:gd name="T13" fmla="*/ 0 h 10"/>
              <a:gd name="T14" fmla="*/ 14 w 16"/>
              <a:gd name="T15" fmla="*/ 2 h 10"/>
              <a:gd name="T16" fmla="*/ 13 w 16"/>
              <a:gd name="T17" fmla="*/ 4 h 10"/>
              <a:gd name="T18" fmla="*/ 14 w 16"/>
              <a:gd name="T19" fmla="*/ 5 h 10"/>
              <a:gd name="T20" fmla="*/ 14 w 16"/>
              <a:gd name="T21" fmla="*/ 6 h 10"/>
              <a:gd name="T22" fmla="*/ 16 w 16"/>
              <a:gd name="T23" fmla="*/ 6 h 10"/>
              <a:gd name="T24" fmla="*/ 16 w 16"/>
              <a:gd name="T25" fmla="*/ 6 h 10"/>
              <a:gd name="T26" fmla="*/ 16 w 16"/>
              <a:gd name="T27" fmla="*/ 6 h 10"/>
              <a:gd name="T28" fmla="*/ 16 w 16"/>
              <a:gd name="T29" fmla="*/ 8 h 10"/>
              <a:gd name="T30" fmla="*/ 16 w 16"/>
              <a:gd name="T31" fmla="*/ 9 h 10"/>
              <a:gd name="T32" fmla="*/ 13 w 16"/>
              <a:gd name="T33" fmla="*/ 10 h 10"/>
              <a:gd name="T34" fmla="*/ 12 w 16"/>
              <a:gd name="T35" fmla="*/ 10 h 10"/>
              <a:gd name="T36" fmla="*/ 10 w 16"/>
              <a:gd name="T37" fmla="*/ 10 h 10"/>
              <a:gd name="T38" fmla="*/ 9 w 16"/>
              <a:gd name="T39" fmla="*/ 9 h 10"/>
              <a:gd name="T40" fmla="*/ 7 w 16"/>
              <a:gd name="T41" fmla="*/ 9 h 10"/>
              <a:gd name="T42" fmla="*/ 6 w 16"/>
              <a:gd name="T43" fmla="*/ 9 h 10"/>
              <a:gd name="T44" fmla="*/ 7 w 16"/>
              <a:gd name="T45" fmla="*/ 8 h 10"/>
              <a:gd name="T46" fmla="*/ 6 w 16"/>
              <a:gd name="T47" fmla="*/ 8 h 10"/>
              <a:gd name="T48" fmla="*/ 3 w 16"/>
              <a:gd name="T49" fmla="*/ 7 h 10"/>
              <a:gd name="T50" fmla="*/ 3 w 16"/>
              <a:gd name="T51" fmla="*/ 6 h 10"/>
              <a:gd name="T52" fmla="*/ 1 w 16"/>
              <a:gd name="T53" fmla="*/ 5 h 10"/>
              <a:gd name="T54" fmla="*/ 2 w 16"/>
              <a:gd name="T55" fmla="*/ 5 h 10"/>
              <a:gd name="T56" fmla="*/ 1 w 16"/>
              <a:gd name="T57" fmla="*/ 4 h 10"/>
              <a:gd name="T58" fmla="*/ 1 w 16"/>
              <a:gd name="T59" fmla="*/ 4 h 10"/>
              <a:gd name="T60" fmla="*/ 1 w 16"/>
              <a:gd name="T61" fmla="*/ 4 h 10"/>
              <a:gd name="T62" fmla="*/ 1 w 16"/>
              <a:gd name="T63" fmla="*/ 2 h 10"/>
              <a:gd name="T64" fmla="*/ 0 w 16"/>
              <a:gd name="T65" fmla="*/ 2 h 10"/>
              <a:gd name="T66" fmla="*/ 2 w 16"/>
              <a:gd name="T67" fmla="*/ 2 h 10"/>
              <a:gd name="T68" fmla="*/ 3 w 16"/>
              <a:gd name="T69" fmla="*/ 2 h 10"/>
              <a:gd name="T70" fmla="*/ 4 w 16"/>
              <a:gd name="T71" fmla="*/ 1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6" h="10">
                <a:moveTo>
                  <a:pt x="4" y="1"/>
                </a:moveTo>
                <a:lnTo>
                  <a:pt x="6" y="1"/>
                </a:lnTo>
                <a:lnTo>
                  <a:pt x="9" y="1"/>
                </a:lnTo>
                <a:lnTo>
                  <a:pt x="11" y="1"/>
                </a:lnTo>
                <a:lnTo>
                  <a:pt x="11" y="1"/>
                </a:lnTo>
                <a:lnTo>
                  <a:pt x="11" y="0"/>
                </a:lnTo>
                <a:lnTo>
                  <a:pt x="12" y="0"/>
                </a:lnTo>
                <a:lnTo>
                  <a:pt x="14" y="2"/>
                </a:lnTo>
                <a:lnTo>
                  <a:pt x="13" y="4"/>
                </a:lnTo>
                <a:lnTo>
                  <a:pt x="14" y="5"/>
                </a:lnTo>
                <a:lnTo>
                  <a:pt x="14" y="6"/>
                </a:lnTo>
                <a:lnTo>
                  <a:pt x="16" y="6"/>
                </a:lnTo>
                <a:lnTo>
                  <a:pt x="16" y="6"/>
                </a:lnTo>
                <a:lnTo>
                  <a:pt x="16" y="6"/>
                </a:lnTo>
                <a:lnTo>
                  <a:pt x="16" y="8"/>
                </a:lnTo>
                <a:lnTo>
                  <a:pt x="16" y="9"/>
                </a:lnTo>
                <a:lnTo>
                  <a:pt x="13" y="10"/>
                </a:lnTo>
                <a:lnTo>
                  <a:pt x="12" y="10"/>
                </a:lnTo>
                <a:lnTo>
                  <a:pt x="10" y="10"/>
                </a:lnTo>
                <a:lnTo>
                  <a:pt x="9" y="9"/>
                </a:lnTo>
                <a:lnTo>
                  <a:pt x="7" y="9"/>
                </a:lnTo>
                <a:lnTo>
                  <a:pt x="6" y="9"/>
                </a:lnTo>
                <a:lnTo>
                  <a:pt x="7" y="8"/>
                </a:lnTo>
                <a:lnTo>
                  <a:pt x="6" y="8"/>
                </a:lnTo>
                <a:lnTo>
                  <a:pt x="3" y="7"/>
                </a:lnTo>
                <a:lnTo>
                  <a:pt x="3" y="6"/>
                </a:lnTo>
                <a:lnTo>
                  <a:pt x="1" y="5"/>
                </a:lnTo>
                <a:lnTo>
                  <a:pt x="2" y="5"/>
                </a:lnTo>
                <a:lnTo>
                  <a:pt x="1" y="4"/>
                </a:lnTo>
                <a:lnTo>
                  <a:pt x="1" y="4"/>
                </a:lnTo>
                <a:lnTo>
                  <a:pt x="1" y="4"/>
                </a:lnTo>
                <a:lnTo>
                  <a:pt x="1" y="2"/>
                </a:lnTo>
                <a:lnTo>
                  <a:pt x="0" y="2"/>
                </a:lnTo>
                <a:lnTo>
                  <a:pt x="2" y="2"/>
                </a:lnTo>
                <a:lnTo>
                  <a:pt x="3" y="2"/>
                </a:lnTo>
                <a:lnTo>
                  <a:pt x="4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95" name="Freeform 294"/>
          <p:cNvSpPr>
            <a:spLocks/>
          </p:cNvSpPr>
          <p:nvPr/>
        </p:nvSpPr>
        <p:spPr bwMode="auto">
          <a:xfrm>
            <a:off x="4575175" y="1998628"/>
            <a:ext cx="7937" cy="12700"/>
          </a:xfrm>
          <a:custGeom>
            <a:avLst/>
            <a:gdLst>
              <a:gd name="T0" fmla="*/ 4 w 5"/>
              <a:gd name="T1" fmla="*/ 2 h 8"/>
              <a:gd name="T2" fmla="*/ 4 w 5"/>
              <a:gd name="T3" fmla="*/ 0 h 8"/>
              <a:gd name="T4" fmla="*/ 4 w 5"/>
              <a:gd name="T5" fmla="*/ 0 h 8"/>
              <a:gd name="T6" fmla="*/ 5 w 5"/>
              <a:gd name="T7" fmla="*/ 0 h 8"/>
              <a:gd name="T8" fmla="*/ 5 w 5"/>
              <a:gd name="T9" fmla="*/ 2 h 8"/>
              <a:gd name="T10" fmla="*/ 4 w 5"/>
              <a:gd name="T11" fmla="*/ 4 h 8"/>
              <a:gd name="T12" fmla="*/ 4 w 5"/>
              <a:gd name="T13" fmla="*/ 6 h 8"/>
              <a:gd name="T14" fmla="*/ 3 w 5"/>
              <a:gd name="T15" fmla="*/ 6 h 8"/>
              <a:gd name="T16" fmla="*/ 3 w 5"/>
              <a:gd name="T17" fmla="*/ 8 h 8"/>
              <a:gd name="T18" fmla="*/ 1 w 5"/>
              <a:gd name="T19" fmla="*/ 8 h 8"/>
              <a:gd name="T20" fmla="*/ 1 w 5"/>
              <a:gd name="T21" fmla="*/ 7 h 8"/>
              <a:gd name="T22" fmla="*/ 0 w 5"/>
              <a:gd name="T23" fmla="*/ 6 h 8"/>
              <a:gd name="T24" fmla="*/ 1 w 5"/>
              <a:gd name="T25" fmla="*/ 4 h 8"/>
              <a:gd name="T26" fmla="*/ 1 w 5"/>
              <a:gd name="T27" fmla="*/ 3 h 8"/>
              <a:gd name="T28" fmla="*/ 3 w 5"/>
              <a:gd name="T29" fmla="*/ 2 h 8"/>
              <a:gd name="T30" fmla="*/ 4 w 5"/>
              <a:gd name="T31" fmla="*/ 2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" h="8">
                <a:moveTo>
                  <a:pt x="4" y="2"/>
                </a:moveTo>
                <a:lnTo>
                  <a:pt x="4" y="0"/>
                </a:lnTo>
                <a:lnTo>
                  <a:pt x="4" y="0"/>
                </a:lnTo>
                <a:lnTo>
                  <a:pt x="5" y="0"/>
                </a:lnTo>
                <a:lnTo>
                  <a:pt x="5" y="2"/>
                </a:lnTo>
                <a:lnTo>
                  <a:pt x="4" y="4"/>
                </a:lnTo>
                <a:lnTo>
                  <a:pt x="4" y="6"/>
                </a:lnTo>
                <a:lnTo>
                  <a:pt x="3" y="6"/>
                </a:lnTo>
                <a:lnTo>
                  <a:pt x="3" y="8"/>
                </a:lnTo>
                <a:lnTo>
                  <a:pt x="1" y="8"/>
                </a:lnTo>
                <a:lnTo>
                  <a:pt x="1" y="7"/>
                </a:lnTo>
                <a:lnTo>
                  <a:pt x="0" y="6"/>
                </a:lnTo>
                <a:lnTo>
                  <a:pt x="1" y="4"/>
                </a:lnTo>
                <a:lnTo>
                  <a:pt x="1" y="3"/>
                </a:lnTo>
                <a:lnTo>
                  <a:pt x="3" y="2"/>
                </a:lnTo>
                <a:lnTo>
                  <a:pt x="4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96" name="Freeform 295"/>
          <p:cNvSpPr>
            <a:spLocks/>
          </p:cNvSpPr>
          <p:nvPr/>
        </p:nvSpPr>
        <p:spPr bwMode="auto">
          <a:xfrm>
            <a:off x="4575175" y="1998628"/>
            <a:ext cx="7937" cy="12700"/>
          </a:xfrm>
          <a:custGeom>
            <a:avLst/>
            <a:gdLst>
              <a:gd name="T0" fmla="*/ 4 w 5"/>
              <a:gd name="T1" fmla="*/ 2 h 8"/>
              <a:gd name="T2" fmla="*/ 4 w 5"/>
              <a:gd name="T3" fmla="*/ 0 h 8"/>
              <a:gd name="T4" fmla="*/ 4 w 5"/>
              <a:gd name="T5" fmla="*/ 0 h 8"/>
              <a:gd name="T6" fmla="*/ 5 w 5"/>
              <a:gd name="T7" fmla="*/ 0 h 8"/>
              <a:gd name="T8" fmla="*/ 5 w 5"/>
              <a:gd name="T9" fmla="*/ 2 h 8"/>
              <a:gd name="T10" fmla="*/ 4 w 5"/>
              <a:gd name="T11" fmla="*/ 4 h 8"/>
              <a:gd name="T12" fmla="*/ 4 w 5"/>
              <a:gd name="T13" fmla="*/ 6 h 8"/>
              <a:gd name="T14" fmla="*/ 3 w 5"/>
              <a:gd name="T15" fmla="*/ 6 h 8"/>
              <a:gd name="T16" fmla="*/ 3 w 5"/>
              <a:gd name="T17" fmla="*/ 8 h 8"/>
              <a:gd name="T18" fmla="*/ 1 w 5"/>
              <a:gd name="T19" fmla="*/ 8 h 8"/>
              <a:gd name="T20" fmla="*/ 1 w 5"/>
              <a:gd name="T21" fmla="*/ 7 h 8"/>
              <a:gd name="T22" fmla="*/ 0 w 5"/>
              <a:gd name="T23" fmla="*/ 6 h 8"/>
              <a:gd name="T24" fmla="*/ 1 w 5"/>
              <a:gd name="T25" fmla="*/ 4 h 8"/>
              <a:gd name="T26" fmla="*/ 1 w 5"/>
              <a:gd name="T27" fmla="*/ 3 h 8"/>
              <a:gd name="T28" fmla="*/ 3 w 5"/>
              <a:gd name="T29" fmla="*/ 2 h 8"/>
              <a:gd name="T30" fmla="*/ 4 w 5"/>
              <a:gd name="T31" fmla="*/ 2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" h="8">
                <a:moveTo>
                  <a:pt x="4" y="2"/>
                </a:moveTo>
                <a:lnTo>
                  <a:pt x="4" y="0"/>
                </a:lnTo>
                <a:lnTo>
                  <a:pt x="4" y="0"/>
                </a:lnTo>
                <a:lnTo>
                  <a:pt x="5" y="0"/>
                </a:lnTo>
                <a:lnTo>
                  <a:pt x="5" y="2"/>
                </a:lnTo>
                <a:lnTo>
                  <a:pt x="4" y="4"/>
                </a:lnTo>
                <a:lnTo>
                  <a:pt x="4" y="6"/>
                </a:lnTo>
                <a:lnTo>
                  <a:pt x="3" y="6"/>
                </a:lnTo>
                <a:lnTo>
                  <a:pt x="3" y="8"/>
                </a:lnTo>
                <a:lnTo>
                  <a:pt x="1" y="8"/>
                </a:lnTo>
                <a:lnTo>
                  <a:pt x="1" y="7"/>
                </a:lnTo>
                <a:lnTo>
                  <a:pt x="0" y="6"/>
                </a:lnTo>
                <a:lnTo>
                  <a:pt x="1" y="4"/>
                </a:lnTo>
                <a:lnTo>
                  <a:pt x="1" y="3"/>
                </a:lnTo>
                <a:lnTo>
                  <a:pt x="3" y="2"/>
                </a:lnTo>
                <a:lnTo>
                  <a:pt x="4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97" name="Freeform 296"/>
          <p:cNvSpPr>
            <a:spLocks/>
          </p:cNvSpPr>
          <p:nvPr/>
        </p:nvSpPr>
        <p:spPr bwMode="auto">
          <a:xfrm>
            <a:off x="4581525" y="1971641"/>
            <a:ext cx="36512" cy="31750"/>
          </a:xfrm>
          <a:custGeom>
            <a:avLst/>
            <a:gdLst>
              <a:gd name="T0" fmla="*/ 7 w 23"/>
              <a:gd name="T1" fmla="*/ 4 h 20"/>
              <a:gd name="T2" fmla="*/ 11 w 23"/>
              <a:gd name="T3" fmla="*/ 4 h 20"/>
              <a:gd name="T4" fmla="*/ 10 w 23"/>
              <a:gd name="T5" fmla="*/ 6 h 20"/>
              <a:gd name="T6" fmla="*/ 10 w 23"/>
              <a:gd name="T7" fmla="*/ 6 h 20"/>
              <a:gd name="T8" fmla="*/ 11 w 23"/>
              <a:gd name="T9" fmla="*/ 7 h 20"/>
              <a:gd name="T10" fmla="*/ 12 w 23"/>
              <a:gd name="T11" fmla="*/ 7 h 20"/>
              <a:gd name="T12" fmla="*/ 12 w 23"/>
              <a:gd name="T13" fmla="*/ 6 h 20"/>
              <a:gd name="T14" fmla="*/ 12 w 23"/>
              <a:gd name="T15" fmla="*/ 5 h 20"/>
              <a:gd name="T16" fmla="*/ 13 w 23"/>
              <a:gd name="T17" fmla="*/ 5 h 20"/>
              <a:gd name="T18" fmla="*/ 14 w 23"/>
              <a:gd name="T19" fmla="*/ 7 h 20"/>
              <a:gd name="T20" fmla="*/ 13 w 23"/>
              <a:gd name="T21" fmla="*/ 8 h 20"/>
              <a:gd name="T22" fmla="*/ 14 w 23"/>
              <a:gd name="T23" fmla="*/ 8 h 20"/>
              <a:gd name="T24" fmla="*/ 14 w 23"/>
              <a:gd name="T25" fmla="*/ 4 h 20"/>
              <a:gd name="T26" fmla="*/ 13 w 23"/>
              <a:gd name="T27" fmla="*/ 4 h 20"/>
              <a:gd name="T28" fmla="*/ 14 w 23"/>
              <a:gd name="T29" fmla="*/ 1 h 20"/>
              <a:gd name="T30" fmla="*/ 16 w 23"/>
              <a:gd name="T31" fmla="*/ 0 h 20"/>
              <a:gd name="T32" fmla="*/ 20 w 23"/>
              <a:gd name="T33" fmla="*/ 1 h 20"/>
              <a:gd name="T34" fmla="*/ 21 w 23"/>
              <a:gd name="T35" fmla="*/ 4 h 20"/>
              <a:gd name="T36" fmla="*/ 22 w 23"/>
              <a:gd name="T37" fmla="*/ 6 h 20"/>
              <a:gd name="T38" fmla="*/ 22 w 23"/>
              <a:gd name="T39" fmla="*/ 7 h 20"/>
              <a:gd name="T40" fmla="*/ 21 w 23"/>
              <a:gd name="T41" fmla="*/ 8 h 20"/>
              <a:gd name="T42" fmla="*/ 20 w 23"/>
              <a:gd name="T43" fmla="*/ 9 h 20"/>
              <a:gd name="T44" fmla="*/ 17 w 23"/>
              <a:gd name="T45" fmla="*/ 11 h 20"/>
              <a:gd name="T46" fmla="*/ 19 w 23"/>
              <a:gd name="T47" fmla="*/ 13 h 20"/>
              <a:gd name="T48" fmla="*/ 21 w 23"/>
              <a:gd name="T49" fmla="*/ 16 h 20"/>
              <a:gd name="T50" fmla="*/ 16 w 23"/>
              <a:gd name="T51" fmla="*/ 17 h 20"/>
              <a:gd name="T52" fmla="*/ 16 w 23"/>
              <a:gd name="T53" fmla="*/ 17 h 20"/>
              <a:gd name="T54" fmla="*/ 16 w 23"/>
              <a:gd name="T55" fmla="*/ 18 h 20"/>
              <a:gd name="T56" fmla="*/ 16 w 23"/>
              <a:gd name="T57" fmla="*/ 20 h 20"/>
              <a:gd name="T58" fmla="*/ 14 w 23"/>
              <a:gd name="T59" fmla="*/ 19 h 20"/>
              <a:gd name="T60" fmla="*/ 10 w 23"/>
              <a:gd name="T61" fmla="*/ 18 h 20"/>
              <a:gd name="T62" fmla="*/ 11 w 23"/>
              <a:gd name="T63" fmla="*/ 18 h 20"/>
              <a:gd name="T64" fmla="*/ 11 w 23"/>
              <a:gd name="T65" fmla="*/ 17 h 20"/>
              <a:gd name="T66" fmla="*/ 7 w 23"/>
              <a:gd name="T67" fmla="*/ 16 h 20"/>
              <a:gd name="T68" fmla="*/ 4 w 23"/>
              <a:gd name="T69" fmla="*/ 15 h 20"/>
              <a:gd name="T70" fmla="*/ 3 w 23"/>
              <a:gd name="T71" fmla="*/ 14 h 20"/>
              <a:gd name="T72" fmla="*/ 3 w 23"/>
              <a:gd name="T73" fmla="*/ 14 h 20"/>
              <a:gd name="T74" fmla="*/ 3 w 23"/>
              <a:gd name="T75" fmla="*/ 9 h 20"/>
              <a:gd name="T76" fmla="*/ 1 w 23"/>
              <a:gd name="T77" fmla="*/ 9 h 20"/>
              <a:gd name="T78" fmla="*/ 1 w 23"/>
              <a:gd name="T79" fmla="*/ 8 h 20"/>
              <a:gd name="T80" fmla="*/ 0 w 23"/>
              <a:gd name="T81" fmla="*/ 7 h 20"/>
              <a:gd name="T82" fmla="*/ 4 w 23"/>
              <a:gd name="T83" fmla="*/ 7 h 20"/>
              <a:gd name="T84" fmla="*/ 5 w 23"/>
              <a:gd name="T85" fmla="*/ 6 h 20"/>
              <a:gd name="T86" fmla="*/ 7 w 23"/>
              <a:gd name="T87" fmla="*/ 5 h 20"/>
              <a:gd name="T88" fmla="*/ 5 w 23"/>
              <a:gd name="T89" fmla="*/ 3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3" h="20">
                <a:moveTo>
                  <a:pt x="5" y="3"/>
                </a:moveTo>
                <a:lnTo>
                  <a:pt x="7" y="4"/>
                </a:lnTo>
                <a:lnTo>
                  <a:pt x="11" y="4"/>
                </a:lnTo>
                <a:lnTo>
                  <a:pt x="11" y="4"/>
                </a:lnTo>
                <a:lnTo>
                  <a:pt x="10" y="5"/>
                </a:lnTo>
                <a:lnTo>
                  <a:pt x="10" y="6"/>
                </a:lnTo>
                <a:lnTo>
                  <a:pt x="10" y="6"/>
                </a:lnTo>
                <a:lnTo>
                  <a:pt x="10" y="6"/>
                </a:lnTo>
                <a:lnTo>
                  <a:pt x="10" y="6"/>
                </a:lnTo>
                <a:lnTo>
                  <a:pt x="11" y="7"/>
                </a:lnTo>
                <a:lnTo>
                  <a:pt x="11" y="8"/>
                </a:lnTo>
                <a:lnTo>
                  <a:pt x="12" y="7"/>
                </a:lnTo>
                <a:lnTo>
                  <a:pt x="12" y="6"/>
                </a:lnTo>
                <a:lnTo>
                  <a:pt x="12" y="6"/>
                </a:lnTo>
                <a:lnTo>
                  <a:pt x="12" y="5"/>
                </a:lnTo>
                <a:lnTo>
                  <a:pt x="12" y="5"/>
                </a:lnTo>
                <a:lnTo>
                  <a:pt x="12" y="5"/>
                </a:lnTo>
                <a:lnTo>
                  <a:pt x="13" y="5"/>
                </a:lnTo>
                <a:lnTo>
                  <a:pt x="14" y="6"/>
                </a:lnTo>
                <a:lnTo>
                  <a:pt x="14" y="7"/>
                </a:lnTo>
                <a:lnTo>
                  <a:pt x="14" y="7"/>
                </a:lnTo>
                <a:lnTo>
                  <a:pt x="13" y="8"/>
                </a:lnTo>
                <a:lnTo>
                  <a:pt x="14" y="8"/>
                </a:lnTo>
                <a:lnTo>
                  <a:pt x="14" y="8"/>
                </a:lnTo>
                <a:lnTo>
                  <a:pt x="14" y="8"/>
                </a:lnTo>
                <a:lnTo>
                  <a:pt x="14" y="4"/>
                </a:lnTo>
                <a:lnTo>
                  <a:pt x="14" y="4"/>
                </a:lnTo>
                <a:lnTo>
                  <a:pt x="13" y="4"/>
                </a:lnTo>
                <a:lnTo>
                  <a:pt x="12" y="3"/>
                </a:lnTo>
                <a:lnTo>
                  <a:pt x="14" y="1"/>
                </a:lnTo>
                <a:lnTo>
                  <a:pt x="16" y="0"/>
                </a:lnTo>
                <a:lnTo>
                  <a:pt x="16" y="0"/>
                </a:lnTo>
                <a:lnTo>
                  <a:pt x="17" y="0"/>
                </a:lnTo>
                <a:lnTo>
                  <a:pt x="20" y="1"/>
                </a:lnTo>
                <a:lnTo>
                  <a:pt x="21" y="4"/>
                </a:lnTo>
                <a:lnTo>
                  <a:pt x="21" y="4"/>
                </a:lnTo>
                <a:lnTo>
                  <a:pt x="21" y="5"/>
                </a:lnTo>
                <a:lnTo>
                  <a:pt x="22" y="6"/>
                </a:lnTo>
                <a:lnTo>
                  <a:pt x="22" y="6"/>
                </a:lnTo>
                <a:lnTo>
                  <a:pt x="22" y="7"/>
                </a:lnTo>
                <a:lnTo>
                  <a:pt x="23" y="8"/>
                </a:lnTo>
                <a:lnTo>
                  <a:pt x="21" y="8"/>
                </a:lnTo>
                <a:lnTo>
                  <a:pt x="21" y="9"/>
                </a:lnTo>
                <a:lnTo>
                  <a:pt x="20" y="9"/>
                </a:lnTo>
                <a:lnTo>
                  <a:pt x="19" y="10"/>
                </a:lnTo>
                <a:lnTo>
                  <a:pt x="17" y="11"/>
                </a:lnTo>
                <a:lnTo>
                  <a:pt x="17" y="13"/>
                </a:lnTo>
                <a:lnTo>
                  <a:pt x="19" y="13"/>
                </a:lnTo>
                <a:lnTo>
                  <a:pt x="20" y="14"/>
                </a:lnTo>
                <a:lnTo>
                  <a:pt x="21" y="16"/>
                </a:lnTo>
                <a:lnTo>
                  <a:pt x="16" y="16"/>
                </a:lnTo>
                <a:lnTo>
                  <a:pt x="16" y="17"/>
                </a:lnTo>
                <a:lnTo>
                  <a:pt x="16" y="17"/>
                </a:lnTo>
                <a:lnTo>
                  <a:pt x="16" y="17"/>
                </a:lnTo>
                <a:lnTo>
                  <a:pt x="17" y="18"/>
                </a:lnTo>
                <a:lnTo>
                  <a:pt x="16" y="18"/>
                </a:lnTo>
                <a:lnTo>
                  <a:pt x="16" y="19"/>
                </a:lnTo>
                <a:lnTo>
                  <a:pt x="16" y="20"/>
                </a:lnTo>
                <a:lnTo>
                  <a:pt x="15" y="20"/>
                </a:lnTo>
                <a:lnTo>
                  <a:pt x="14" y="19"/>
                </a:lnTo>
                <a:lnTo>
                  <a:pt x="11" y="19"/>
                </a:lnTo>
                <a:lnTo>
                  <a:pt x="10" y="18"/>
                </a:lnTo>
                <a:lnTo>
                  <a:pt x="10" y="18"/>
                </a:lnTo>
                <a:lnTo>
                  <a:pt x="11" y="18"/>
                </a:lnTo>
                <a:lnTo>
                  <a:pt x="11" y="17"/>
                </a:lnTo>
                <a:lnTo>
                  <a:pt x="11" y="17"/>
                </a:lnTo>
                <a:lnTo>
                  <a:pt x="11" y="17"/>
                </a:lnTo>
                <a:lnTo>
                  <a:pt x="7" y="16"/>
                </a:lnTo>
                <a:lnTo>
                  <a:pt x="5" y="16"/>
                </a:lnTo>
                <a:lnTo>
                  <a:pt x="4" y="15"/>
                </a:lnTo>
                <a:lnTo>
                  <a:pt x="3" y="15"/>
                </a:lnTo>
                <a:lnTo>
                  <a:pt x="3" y="14"/>
                </a:lnTo>
                <a:lnTo>
                  <a:pt x="3" y="14"/>
                </a:lnTo>
                <a:lnTo>
                  <a:pt x="3" y="14"/>
                </a:lnTo>
                <a:lnTo>
                  <a:pt x="3" y="13"/>
                </a:lnTo>
                <a:lnTo>
                  <a:pt x="3" y="9"/>
                </a:lnTo>
                <a:lnTo>
                  <a:pt x="2" y="9"/>
                </a:lnTo>
                <a:lnTo>
                  <a:pt x="1" y="9"/>
                </a:lnTo>
                <a:lnTo>
                  <a:pt x="0" y="8"/>
                </a:lnTo>
                <a:lnTo>
                  <a:pt x="1" y="8"/>
                </a:lnTo>
                <a:lnTo>
                  <a:pt x="0" y="8"/>
                </a:lnTo>
                <a:lnTo>
                  <a:pt x="0" y="7"/>
                </a:lnTo>
                <a:lnTo>
                  <a:pt x="1" y="7"/>
                </a:lnTo>
                <a:lnTo>
                  <a:pt x="4" y="7"/>
                </a:lnTo>
                <a:lnTo>
                  <a:pt x="5" y="7"/>
                </a:lnTo>
                <a:lnTo>
                  <a:pt x="5" y="6"/>
                </a:lnTo>
                <a:lnTo>
                  <a:pt x="6" y="6"/>
                </a:lnTo>
                <a:lnTo>
                  <a:pt x="7" y="5"/>
                </a:lnTo>
                <a:lnTo>
                  <a:pt x="7" y="4"/>
                </a:lnTo>
                <a:lnTo>
                  <a:pt x="5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98" name="Freeform 297"/>
          <p:cNvSpPr>
            <a:spLocks/>
          </p:cNvSpPr>
          <p:nvPr/>
        </p:nvSpPr>
        <p:spPr bwMode="auto">
          <a:xfrm>
            <a:off x="4581525" y="1971641"/>
            <a:ext cx="36512" cy="31750"/>
          </a:xfrm>
          <a:custGeom>
            <a:avLst/>
            <a:gdLst>
              <a:gd name="T0" fmla="*/ 7 w 23"/>
              <a:gd name="T1" fmla="*/ 4 h 20"/>
              <a:gd name="T2" fmla="*/ 11 w 23"/>
              <a:gd name="T3" fmla="*/ 4 h 20"/>
              <a:gd name="T4" fmla="*/ 10 w 23"/>
              <a:gd name="T5" fmla="*/ 6 h 20"/>
              <a:gd name="T6" fmla="*/ 10 w 23"/>
              <a:gd name="T7" fmla="*/ 6 h 20"/>
              <a:gd name="T8" fmla="*/ 11 w 23"/>
              <a:gd name="T9" fmla="*/ 7 h 20"/>
              <a:gd name="T10" fmla="*/ 12 w 23"/>
              <a:gd name="T11" fmla="*/ 7 h 20"/>
              <a:gd name="T12" fmla="*/ 12 w 23"/>
              <a:gd name="T13" fmla="*/ 6 h 20"/>
              <a:gd name="T14" fmla="*/ 12 w 23"/>
              <a:gd name="T15" fmla="*/ 5 h 20"/>
              <a:gd name="T16" fmla="*/ 13 w 23"/>
              <a:gd name="T17" fmla="*/ 5 h 20"/>
              <a:gd name="T18" fmla="*/ 14 w 23"/>
              <a:gd name="T19" fmla="*/ 7 h 20"/>
              <a:gd name="T20" fmla="*/ 13 w 23"/>
              <a:gd name="T21" fmla="*/ 8 h 20"/>
              <a:gd name="T22" fmla="*/ 14 w 23"/>
              <a:gd name="T23" fmla="*/ 8 h 20"/>
              <a:gd name="T24" fmla="*/ 14 w 23"/>
              <a:gd name="T25" fmla="*/ 4 h 20"/>
              <a:gd name="T26" fmla="*/ 13 w 23"/>
              <a:gd name="T27" fmla="*/ 4 h 20"/>
              <a:gd name="T28" fmla="*/ 14 w 23"/>
              <a:gd name="T29" fmla="*/ 1 h 20"/>
              <a:gd name="T30" fmla="*/ 16 w 23"/>
              <a:gd name="T31" fmla="*/ 0 h 20"/>
              <a:gd name="T32" fmla="*/ 20 w 23"/>
              <a:gd name="T33" fmla="*/ 1 h 20"/>
              <a:gd name="T34" fmla="*/ 21 w 23"/>
              <a:gd name="T35" fmla="*/ 4 h 20"/>
              <a:gd name="T36" fmla="*/ 22 w 23"/>
              <a:gd name="T37" fmla="*/ 6 h 20"/>
              <a:gd name="T38" fmla="*/ 22 w 23"/>
              <a:gd name="T39" fmla="*/ 7 h 20"/>
              <a:gd name="T40" fmla="*/ 21 w 23"/>
              <a:gd name="T41" fmla="*/ 8 h 20"/>
              <a:gd name="T42" fmla="*/ 20 w 23"/>
              <a:gd name="T43" fmla="*/ 9 h 20"/>
              <a:gd name="T44" fmla="*/ 17 w 23"/>
              <a:gd name="T45" fmla="*/ 11 h 20"/>
              <a:gd name="T46" fmla="*/ 19 w 23"/>
              <a:gd name="T47" fmla="*/ 13 h 20"/>
              <a:gd name="T48" fmla="*/ 21 w 23"/>
              <a:gd name="T49" fmla="*/ 16 h 20"/>
              <a:gd name="T50" fmla="*/ 16 w 23"/>
              <a:gd name="T51" fmla="*/ 17 h 20"/>
              <a:gd name="T52" fmla="*/ 16 w 23"/>
              <a:gd name="T53" fmla="*/ 17 h 20"/>
              <a:gd name="T54" fmla="*/ 16 w 23"/>
              <a:gd name="T55" fmla="*/ 18 h 20"/>
              <a:gd name="T56" fmla="*/ 16 w 23"/>
              <a:gd name="T57" fmla="*/ 20 h 20"/>
              <a:gd name="T58" fmla="*/ 14 w 23"/>
              <a:gd name="T59" fmla="*/ 19 h 20"/>
              <a:gd name="T60" fmla="*/ 10 w 23"/>
              <a:gd name="T61" fmla="*/ 18 h 20"/>
              <a:gd name="T62" fmla="*/ 11 w 23"/>
              <a:gd name="T63" fmla="*/ 18 h 20"/>
              <a:gd name="T64" fmla="*/ 11 w 23"/>
              <a:gd name="T65" fmla="*/ 17 h 20"/>
              <a:gd name="T66" fmla="*/ 7 w 23"/>
              <a:gd name="T67" fmla="*/ 16 h 20"/>
              <a:gd name="T68" fmla="*/ 4 w 23"/>
              <a:gd name="T69" fmla="*/ 15 h 20"/>
              <a:gd name="T70" fmla="*/ 3 w 23"/>
              <a:gd name="T71" fmla="*/ 14 h 20"/>
              <a:gd name="T72" fmla="*/ 3 w 23"/>
              <a:gd name="T73" fmla="*/ 14 h 20"/>
              <a:gd name="T74" fmla="*/ 3 w 23"/>
              <a:gd name="T75" fmla="*/ 9 h 20"/>
              <a:gd name="T76" fmla="*/ 1 w 23"/>
              <a:gd name="T77" fmla="*/ 9 h 20"/>
              <a:gd name="T78" fmla="*/ 1 w 23"/>
              <a:gd name="T79" fmla="*/ 8 h 20"/>
              <a:gd name="T80" fmla="*/ 0 w 23"/>
              <a:gd name="T81" fmla="*/ 7 h 20"/>
              <a:gd name="T82" fmla="*/ 4 w 23"/>
              <a:gd name="T83" fmla="*/ 7 h 20"/>
              <a:gd name="T84" fmla="*/ 5 w 23"/>
              <a:gd name="T85" fmla="*/ 6 h 20"/>
              <a:gd name="T86" fmla="*/ 7 w 23"/>
              <a:gd name="T87" fmla="*/ 5 h 20"/>
              <a:gd name="T88" fmla="*/ 5 w 23"/>
              <a:gd name="T89" fmla="*/ 3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3" h="20">
                <a:moveTo>
                  <a:pt x="5" y="3"/>
                </a:moveTo>
                <a:lnTo>
                  <a:pt x="7" y="4"/>
                </a:lnTo>
                <a:lnTo>
                  <a:pt x="11" y="4"/>
                </a:lnTo>
                <a:lnTo>
                  <a:pt x="11" y="4"/>
                </a:lnTo>
                <a:lnTo>
                  <a:pt x="10" y="5"/>
                </a:lnTo>
                <a:lnTo>
                  <a:pt x="10" y="6"/>
                </a:lnTo>
                <a:lnTo>
                  <a:pt x="10" y="6"/>
                </a:lnTo>
                <a:lnTo>
                  <a:pt x="10" y="6"/>
                </a:lnTo>
                <a:lnTo>
                  <a:pt x="10" y="6"/>
                </a:lnTo>
                <a:lnTo>
                  <a:pt x="11" y="7"/>
                </a:lnTo>
                <a:lnTo>
                  <a:pt x="11" y="8"/>
                </a:lnTo>
                <a:lnTo>
                  <a:pt x="12" y="7"/>
                </a:lnTo>
                <a:lnTo>
                  <a:pt x="12" y="6"/>
                </a:lnTo>
                <a:lnTo>
                  <a:pt x="12" y="6"/>
                </a:lnTo>
                <a:lnTo>
                  <a:pt x="12" y="5"/>
                </a:lnTo>
                <a:lnTo>
                  <a:pt x="12" y="5"/>
                </a:lnTo>
                <a:lnTo>
                  <a:pt x="12" y="5"/>
                </a:lnTo>
                <a:lnTo>
                  <a:pt x="13" y="5"/>
                </a:lnTo>
                <a:lnTo>
                  <a:pt x="14" y="6"/>
                </a:lnTo>
                <a:lnTo>
                  <a:pt x="14" y="7"/>
                </a:lnTo>
                <a:lnTo>
                  <a:pt x="14" y="7"/>
                </a:lnTo>
                <a:lnTo>
                  <a:pt x="13" y="8"/>
                </a:lnTo>
                <a:lnTo>
                  <a:pt x="14" y="8"/>
                </a:lnTo>
                <a:lnTo>
                  <a:pt x="14" y="8"/>
                </a:lnTo>
                <a:lnTo>
                  <a:pt x="14" y="8"/>
                </a:lnTo>
                <a:lnTo>
                  <a:pt x="14" y="4"/>
                </a:lnTo>
                <a:lnTo>
                  <a:pt x="14" y="4"/>
                </a:lnTo>
                <a:lnTo>
                  <a:pt x="13" y="4"/>
                </a:lnTo>
                <a:lnTo>
                  <a:pt x="12" y="3"/>
                </a:lnTo>
                <a:lnTo>
                  <a:pt x="14" y="1"/>
                </a:lnTo>
                <a:lnTo>
                  <a:pt x="16" y="0"/>
                </a:lnTo>
                <a:lnTo>
                  <a:pt x="16" y="0"/>
                </a:lnTo>
                <a:lnTo>
                  <a:pt x="17" y="0"/>
                </a:lnTo>
                <a:lnTo>
                  <a:pt x="20" y="1"/>
                </a:lnTo>
                <a:lnTo>
                  <a:pt x="21" y="4"/>
                </a:lnTo>
                <a:lnTo>
                  <a:pt x="21" y="4"/>
                </a:lnTo>
                <a:lnTo>
                  <a:pt x="21" y="5"/>
                </a:lnTo>
                <a:lnTo>
                  <a:pt x="22" y="6"/>
                </a:lnTo>
                <a:lnTo>
                  <a:pt x="22" y="6"/>
                </a:lnTo>
                <a:lnTo>
                  <a:pt x="22" y="7"/>
                </a:lnTo>
                <a:lnTo>
                  <a:pt x="23" y="8"/>
                </a:lnTo>
                <a:lnTo>
                  <a:pt x="21" y="8"/>
                </a:lnTo>
                <a:lnTo>
                  <a:pt x="21" y="9"/>
                </a:lnTo>
                <a:lnTo>
                  <a:pt x="20" y="9"/>
                </a:lnTo>
                <a:lnTo>
                  <a:pt x="19" y="10"/>
                </a:lnTo>
                <a:lnTo>
                  <a:pt x="17" y="11"/>
                </a:lnTo>
                <a:lnTo>
                  <a:pt x="17" y="13"/>
                </a:lnTo>
                <a:lnTo>
                  <a:pt x="19" y="13"/>
                </a:lnTo>
                <a:lnTo>
                  <a:pt x="20" y="14"/>
                </a:lnTo>
                <a:lnTo>
                  <a:pt x="21" y="16"/>
                </a:lnTo>
                <a:lnTo>
                  <a:pt x="16" y="16"/>
                </a:lnTo>
                <a:lnTo>
                  <a:pt x="16" y="17"/>
                </a:lnTo>
                <a:lnTo>
                  <a:pt x="16" y="17"/>
                </a:lnTo>
                <a:lnTo>
                  <a:pt x="16" y="17"/>
                </a:lnTo>
                <a:lnTo>
                  <a:pt x="17" y="18"/>
                </a:lnTo>
                <a:lnTo>
                  <a:pt x="16" y="18"/>
                </a:lnTo>
                <a:lnTo>
                  <a:pt x="16" y="19"/>
                </a:lnTo>
                <a:lnTo>
                  <a:pt x="16" y="20"/>
                </a:lnTo>
                <a:lnTo>
                  <a:pt x="15" y="20"/>
                </a:lnTo>
                <a:lnTo>
                  <a:pt x="14" y="19"/>
                </a:lnTo>
                <a:lnTo>
                  <a:pt x="11" y="19"/>
                </a:lnTo>
                <a:lnTo>
                  <a:pt x="10" y="18"/>
                </a:lnTo>
                <a:lnTo>
                  <a:pt x="10" y="18"/>
                </a:lnTo>
                <a:lnTo>
                  <a:pt x="11" y="18"/>
                </a:lnTo>
                <a:lnTo>
                  <a:pt x="11" y="17"/>
                </a:lnTo>
                <a:lnTo>
                  <a:pt x="11" y="17"/>
                </a:lnTo>
                <a:lnTo>
                  <a:pt x="11" y="17"/>
                </a:lnTo>
                <a:lnTo>
                  <a:pt x="7" y="16"/>
                </a:lnTo>
                <a:lnTo>
                  <a:pt x="5" y="16"/>
                </a:lnTo>
                <a:lnTo>
                  <a:pt x="4" y="15"/>
                </a:lnTo>
                <a:lnTo>
                  <a:pt x="3" y="15"/>
                </a:lnTo>
                <a:lnTo>
                  <a:pt x="3" y="14"/>
                </a:lnTo>
                <a:lnTo>
                  <a:pt x="3" y="14"/>
                </a:lnTo>
                <a:lnTo>
                  <a:pt x="3" y="14"/>
                </a:lnTo>
                <a:lnTo>
                  <a:pt x="3" y="13"/>
                </a:lnTo>
                <a:lnTo>
                  <a:pt x="3" y="9"/>
                </a:lnTo>
                <a:lnTo>
                  <a:pt x="2" y="9"/>
                </a:lnTo>
                <a:lnTo>
                  <a:pt x="1" y="9"/>
                </a:lnTo>
                <a:lnTo>
                  <a:pt x="0" y="8"/>
                </a:lnTo>
                <a:lnTo>
                  <a:pt x="1" y="8"/>
                </a:lnTo>
                <a:lnTo>
                  <a:pt x="0" y="8"/>
                </a:lnTo>
                <a:lnTo>
                  <a:pt x="0" y="7"/>
                </a:lnTo>
                <a:lnTo>
                  <a:pt x="1" y="7"/>
                </a:lnTo>
                <a:lnTo>
                  <a:pt x="4" y="7"/>
                </a:lnTo>
                <a:lnTo>
                  <a:pt x="5" y="7"/>
                </a:lnTo>
                <a:lnTo>
                  <a:pt x="5" y="6"/>
                </a:lnTo>
                <a:lnTo>
                  <a:pt x="6" y="6"/>
                </a:lnTo>
                <a:lnTo>
                  <a:pt x="7" y="5"/>
                </a:lnTo>
                <a:lnTo>
                  <a:pt x="7" y="4"/>
                </a:lnTo>
                <a:lnTo>
                  <a:pt x="5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299" name="Freeform 298"/>
          <p:cNvSpPr>
            <a:spLocks/>
          </p:cNvSpPr>
          <p:nvPr/>
        </p:nvSpPr>
        <p:spPr bwMode="auto">
          <a:xfrm>
            <a:off x="4518025" y="1930366"/>
            <a:ext cx="57150" cy="77788"/>
          </a:xfrm>
          <a:custGeom>
            <a:avLst/>
            <a:gdLst>
              <a:gd name="T0" fmla="*/ 12 w 36"/>
              <a:gd name="T1" fmla="*/ 47 h 49"/>
              <a:gd name="T2" fmla="*/ 20 w 36"/>
              <a:gd name="T3" fmla="*/ 47 h 49"/>
              <a:gd name="T4" fmla="*/ 21 w 36"/>
              <a:gd name="T5" fmla="*/ 47 h 49"/>
              <a:gd name="T6" fmla="*/ 22 w 36"/>
              <a:gd name="T7" fmla="*/ 47 h 49"/>
              <a:gd name="T8" fmla="*/ 23 w 36"/>
              <a:gd name="T9" fmla="*/ 47 h 49"/>
              <a:gd name="T10" fmla="*/ 21 w 36"/>
              <a:gd name="T11" fmla="*/ 45 h 49"/>
              <a:gd name="T12" fmla="*/ 20 w 36"/>
              <a:gd name="T13" fmla="*/ 44 h 49"/>
              <a:gd name="T14" fmla="*/ 22 w 36"/>
              <a:gd name="T15" fmla="*/ 42 h 49"/>
              <a:gd name="T16" fmla="*/ 21 w 36"/>
              <a:gd name="T17" fmla="*/ 41 h 49"/>
              <a:gd name="T18" fmla="*/ 21 w 36"/>
              <a:gd name="T19" fmla="*/ 37 h 49"/>
              <a:gd name="T20" fmla="*/ 23 w 36"/>
              <a:gd name="T21" fmla="*/ 35 h 49"/>
              <a:gd name="T22" fmla="*/ 21 w 36"/>
              <a:gd name="T23" fmla="*/ 34 h 49"/>
              <a:gd name="T24" fmla="*/ 25 w 36"/>
              <a:gd name="T25" fmla="*/ 34 h 49"/>
              <a:gd name="T26" fmla="*/ 24 w 36"/>
              <a:gd name="T27" fmla="*/ 31 h 49"/>
              <a:gd name="T28" fmla="*/ 29 w 36"/>
              <a:gd name="T29" fmla="*/ 31 h 49"/>
              <a:gd name="T30" fmla="*/ 29 w 36"/>
              <a:gd name="T31" fmla="*/ 27 h 49"/>
              <a:gd name="T32" fmla="*/ 31 w 36"/>
              <a:gd name="T33" fmla="*/ 25 h 49"/>
              <a:gd name="T34" fmla="*/ 32 w 36"/>
              <a:gd name="T35" fmla="*/ 26 h 49"/>
              <a:gd name="T36" fmla="*/ 33 w 36"/>
              <a:gd name="T37" fmla="*/ 26 h 49"/>
              <a:gd name="T38" fmla="*/ 36 w 36"/>
              <a:gd name="T39" fmla="*/ 22 h 49"/>
              <a:gd name="T40" fmla="*/ 35 w 36"/>
              <a:gd name="T41" fmla="*/ 20 h 49"/>
              <a:gd name="T42" fmla="*/ 31 w 36"/>
              <a:gd name="T43" fmla="*/ 21 h 49"/>
              <a:gd name="T44" fmla="*/ 29 w 36"/>
              <a:gd name="T45" fmla="*/ 20 h 49"/>
              <a:gd name="T46" fmla="*/ 26 w 36"/>
              <a:gd name="T47" fmla="*/ 20 h 49"/>
              <a:gd name="T48" fmla="*/ 29 w 36"/>
              <a:gd name="T49" fmla="*/ 17 h 49"/>
              <a:gd name="T50" fmla="*/ 25 w 36"/>
              <a:gd name="T51" fmla="*/ 19 h 49"/>
              <a:gd name="T52" fmla="*/ 27 w 36"/>
              <a:gd name="T53" fmla="*/ 16 h 49"/>
              <a:gd name="T54" fmla="*/ 27 w 36"/>
              <a:gd name="T55" fmla="*/ 15 h 49"/>
              <a:gd name="T56" fmla="*/ 29 w 36"/>
              <a:gd name="T57" fmla="*/ 11 h 49"/>
              <a:gd name="T58" fmla="*/ 31 w 36"/>
              <a:gd name="T59" fmla="*/ 6 h 49"/>
              <a:gd name="T60" fmla="*/ 30 w 36"/>
              <a:gd name="T61" fmla="*/ 1 h 49"/>
              <a:gd name="T62" fmla="*/ 30 w 36"/>
              <a:gd name="T63" fmla="*/ 0 h 49"/>
              <a:gd name="T64" fmla="*/ 23 w 36"/>
              <a:gd name="T65" fmla="*/ 2 h 49"/>
              <a:gd name="T66" fmla="*/ 19 w 36"/>
              <a:gd name="T67" fmla="*/ 7 h 49"/>
              <a:gd name="T68" fmla="*/ 6 w 36"/>
              <a:gd name="T69" fmla="*/ 10 h 49"/>
              <a:gd name="T70" fmla="*/ 3 w 36"/>
              <a:gd name="T71" fmla="*/ 13 h 49"/>
              <a:gd name="T72" fmla="*/ 1 w 36"/>
              <a:gd name="T73" fmla="*/ 20 h 49"/>
              <a:gd name="T74" fmla="*/ 0 w 36"/>
              <a:gd name="T75" fmla="*/ 24 h 49"/>
              <a:gd name="T76" fmla="*/ 2 w 36"/>
              <a:gd name="T77" fmla="*/ 31 h 49"/>
              <a:gd name="T78" fmla="*/ 1 w 36"/>
              <a:gd name="T79" fmla="*/ 36 h 49"/>
              <a:gd name="T80" fmla="*/ 3 w 36"/>
              <a:gd name="T81" fmla="*/ 36 h 49"/>
              <a:gd name="T82" fmla="*/ 8 w 36"/>
              <a:gd name="T83" fmla="*/ 39 h 49"/>
              <a:gd name="T84" fmla="*/ 9 w 36"/>
              <a:gd name="T85" fmla="*/ 46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6" h="49">
                <a:moveTo>
                  <a:pt x="10" y="47"/>
                </a:moveTo>
                <a:lnTo>
                  <a:pt x="12" y="47"/>
                </a:lnTo>
                <a:lnTo>
                  <a:pt x="17" y="49"/>
                </a:lnTo>
                <a:lnTo>
                  <a:pt x="20" y="47"/>
                </a:lnTo>
                <a:lnTo>
                  <a:pt x="21" y="47"/>
                </a:lnTo>
                <a:lnTo>
                  <a:pt x="21" y="47"/>
                </a:lnTo>
                <a:lnTo>
                  <a:pt x="21" y="47"/>
                </a:lnTo>
                <a:lnTo>
                  <a:pt x="22" y="47"/>
                </a:lnTo>
                <a:lnTo>
                  <a:pt x="23" y="47"/>
                </a:lnTo>
                <a:lnTo>
                  <a:pt x="23" y="47"/>
                </a:lnTo>
                <a:lnTo>
                  <a:pt x="22" y="46"/>
                </a:lnTo>
                <a:lnTo>
                  <a:pt x="21" y="45"/>
                </a:lnTo>
                <a:lnTo>
                  <a:pt x="20" y="45"/>
                </a:lnTo>
                <a:lnTo>
                  <a:pt x="20" y="44"/>
                </a:lnTo>
                <a:lnTo>
                  <a:pt x="19" y="43"/>
                </a:lnTo>
                <a:lnTo>
                  <a:pt x="22" y="42"/>
                </a:lnTo>
                <a:lnTo>
                  <a:pt x="22" y="41"/>
                </a:lnTo>
                <a:lnTo>
                  <a:pt x="21" y="41"/>
                </a:lnTo>
                <a:lnTo>
                  <a:pt x="21" y="40"/>
                </a:lnTo>
                <a:lnTo>
                  <a:pt x="21" y="37"/>
                </a:lnTo>
                <a:lnTo>
                  <a:pt x="21" y="37"/>
                </a:lnTo>
                <a:lnTo>
                  <a:pt x="23" y="35"/>
                </a:lnTo>
                <a:lnTo>
                  <a:pt x="22" y="35"/>
                </a:lnTo>
                <a:lnTo>
                  <a:pt x="21" y="34"/>
                </a:lnTo>
                <a:lnTo>
                  <a:pt x="22" y="33"/>
                </a:lnTo>
                <a:lnTo>
                  <a:pt x="25" y="34"/>
                </a:lnTo>
                <a:lnTo>
                  <a:pt x="25" y="32"/>
                </a:lnTo>
                <a:lnTo>
                  <a:pt x="24" y="31"/>
                </a:lnTo>
                <a:lnTo>
                  <a:pt x="25" y="31"/>
                </a:lnTo>
                <a:lnTo>
                  <a:pt x="29" y="31"/>
                </a:lnTo>
                <a:lnTo>
                  <a:pt x="30" y="30"/>
                </a:lnTo>
                <a:lnTo>
                  <a:pt x="29" y="27"/>
                </a:lnTo>
                <a:lnTo>
                  <a:pt x="30" y="25"/>
                </a:lnTo>
                <a:lnTo>
                  <a:pt x="31" y="25"/>
                </a:lnTo>
                <a:lnTo>
                  <a:pt x="31" y="25"/>
                </a:lnTo>
                <a:lnTo>
                  <a:pt x="32" y="26"/>
                </a:lnTo>
                <a:lnTo>
                  <a:pt x="33" y="25"/>
                </a:lnTo>
                <a:lnTo>
                  <a:pt x="33" y="26"/>
                </a:lnTo>
                <a:lnTo>
                  <a:pt x="36" y="24"/>
                </a:lnTo>
                <a:lnTo>
                  <a:pt x="36" y="22"/>
                </a:lnTo>
                <a:lnTo>
                  <a:pt x="36" y="21"/>
                </a:lnTo>
                <a:lnTo>
                  <a:pt x="35" y="20"/>
                </a:lnTo>
                <a:lnTo>
                  <a:pt x="33" y="21"/>
                </a:lnTo>
                <a:lnTo>
                  <a:pt x="31" y="21"/>
                </a:lnTo>
                <a:lnTo>
                  <a:pt x="30" y="20"/>
                </a:lnTo>
                <a:lnTo>
                  <a:pt x="29" y="20"/>
                </a:lnTo>
                <a:lnTo>
                  <a:pt x="27" y="21"/>
                </a:lnTo>
                <a:lnTo>
                  <a:pt x="26" y="20"/>
                </a:lnTo>
                <a:lnTo>
                  <a:pt x="26" y="20"/>
                </a:lnTo>
                <a:lnTo>
                  <a:pt x="29" y="17"/>
                </a:lnTo>
                <a:lnTo>
                  <a:pt x="27" y="17"/>
                </a:lnTo>
                <a:lnTo>
                  <a:pt x="25" y="19"/>
                </a:lnTo>
                <a:lnTo>
                  <a:pt x="25" y="17"/>
                </a:lnTo>
                <a:lnTo>
                  <a:pt x="27" y="16"/>
                </a:lnTo>
                <a:lnTo>
                  <a:pt x="27" y="15"/>
                </a:lnTo>
                <a:lnTo>
                  <a:pt x="27" y="15"/>
                </a:lnTo>
                <a:lnTo>
                  <a:pt x="27" y="13"/>
                </a:lnTo>
                <a:lnTo>
                  <a:pt x="29" y="11"/>
                </a:lnTo>
                <a:lnTo>
                  <a:pt x="31" y="7"/>
                </a:lnTo>
                <a:lnTo>
                  <a:pt x="31" y="6"/>
                </a:lnTo>
                <a:lnTo>
                  <a:pt x="29" y="3"/>
                </a:lnTo>
                <a:lnTo>
                  <a:pt x="30" y="1"/>
                </a:lnTo>
                <a:lnTo>
                  <a:pt x="30" y="0"/>
                </a:lnTo>
                <a:lnTo>
                  <a:pt x="30" y="0"/>
                </a:lnTo>
                <a:lnTo>
                  <a:pt x="27" y="1"/>
                </a:lnTo>
                <a:lnTo>
                  <a:pt x="23" y="2"/>
                </a:lnTo>
                <a:lnTo>
                  <a:pt x="20" y="5"/>
                </a:lnTo>
                <a:lnTo>
                  <a:pt x="19" y="7"/>
                </a:lnTo>
                <a:lnTo>
                  <a:pt x="16" y="9"/>
                </a:lnTo>
                <a:lnTo>
                  <a:pt x="6" y="10"/>
                </a:lnTo>
                <a:lnTo>
                  <a:pt x="4" y="12"/>
                </a:lnTo>
                <a:lnTo>
                  <a:pt x="3" y="13"/>
                </a:lnTo>
                <a:lnTo>
                  <a:pt x="1" y="17"/>
                </a:lnTo>
                <a:lnTo>
                  <a:pt x="1" y="20"/>
                </a:lnTo>
                <a:lnTo>
                  <a:pt x="0" y="22"/>
                </a:lnTo>
                <a:lnTo>
                  <a:pt x="0" y="24"/>
                </a:lnTo>
                <a:lnTo>
                  <a:pt x="1" y="30"/>
                </a:lnTo>
                <a:lnTo>
                  <a:pt x="2" y="31"/>
                </a:lnTo>
                <a:lnTo>
                  <a:pt x="2" y="33"/>
                </a:lnTo>
                <a:lnTo>
                  <a:pt x="1" y="36"/>
                </a:lnTo>
                <a:lnTo>
                  <a:pt x="3" y="36"/>
                </a:lnTo>
                <a:lnTo>
                  <a:pt x="3" y="36"/>
                </a:lnTo>
                <a:lnTo>
                  <a:pt x="5" y="37"/>
                </a:lnTo>
                <a:lnTo>
                  <a:pt x="8" y="39"/>
                </a:lnTo>
                <a:lnTo>
                  <a:pt x="9" y="40"/>
                </a:lnTo>
                <a:lnTo>
                  <a:pt x="9" y="46"/>
                </a:lnTo>
                <a:lnTo>
                  <a:pt x="10" y="47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00" name="Freeform 299"/>
          <p:cNvSpPr>
            <a:spLocks/>
          </p:cNvSpPr>
          <p:nvPr/>
        </p:nvSpPr>
        <p:spPr bwMode="auto">
          <a:xfrm>
            <a:off x="4518025" y="1930366"/>
            <a:ext cx="57150" cy="77788"/>
          </a:xfrm>
          <a:custGeom>
            <a:avLst/>
            <a:gdLst>
              <a:gd name="T0" fmla="*/ 12 w 36"/>
              <a:gd name="T1" fmla="*/ 47 h 49"/>
              <a:gd name="T2" fmla="*/ 20 w 36"/>
              <a:gd name="T3" fmla="*/ 47 h 49"/>
              <a:gd name="T4" fmla="*/ 21 w 36"/>
              <a:gd name="T5" fmla="*/ 47 h 49"/>
              <a:gd name="T6" fmla="*/ 22 w 36"/>
              <a:gd name="T7" fmla="*/ 47 h 49"/>
              <a:gd name="T8" fmla="*/ 23 w 36"/>
              <a:gd name="T9" fmla="*/ 47 h 49"/>
              <a:gd name="T10" fmla="*/ 21 w 36"/>
              <a:gd name="T11" fmla="*/ 45 h 49"/>
              <a:gd name="T12" fmla="*/ 20 w 36"/>
              <a:gd name="T13" fmla="*/ 44 h 49"/>
              <a:gd name="T14" fmla="*/ 22 w 36"/>
              <a:gd name="T15" fmla="*/ 42 h 49"/>
              <a:gd name="T16" fmla="*/ 21 w 36"/>
              <a:gd name="T17" fmla="*/ 41 h 49"/>
              <a:gd name="T18" fmla="*/ 21 w 36"/>
              <a:gd name="T19" fmla="*/ 37 h 49"/>
              <a:gd name="T20" fmla="*/ 23 w 36"/>
              <a:gd name="T21" fmla="*/ 35 h 49"/>
              <a:gd name="T22" fmla="*/ 21 w 36"/>
              <a:gd name="T23" fmla="*/ 34 h 49"/>
              <a:gd name="T24" fmla="*/ 25 w 36"/>
              <a:gd name="T25" fmla="*/ 34 h 49"/>
              <a:gd name="T26" fmla="*/ 24 w 36"/>
              <a:gd name="T27" fmla="*/ 31 h 49"/>
              <a:gd name="T28" fmla="*/ 29 w 36"/>
              <a:gd name="T29" fmla="*/ 31 h 49"/>
              <a:gd name="T30" fmla="*/ 29 w 36"/>
              <a:gd name="T31" fmla="*/ 27 h 49"/>
              <a:gd name="T32" fmla="*/ 31 w 36"/>
              <a:gd name="T33" fmla="*/ 25 h 49"/>
              <a:gd name="T34" fmla="*/ 32 w 36"/>
              <a:gd name="T35" fmla="*/ 26 h 49"/>
              <a:gd name="T36" fmla="*/ 33 w 36"/>
              <a:gd name="T37" fmla="*/ 26 h 49"/>
              <a:gd name="T38" fmla="*/ 36 w 36"/>
              <a:gd name="T39" fmla="*/ 22 h 49"/>
              <a:gd name="T40" fmla="*/ 35 w 36"/>
              <a:gd name="T41" fmla="*/ 20 h 49"/>
              <a:gd name="T42" fmla="*/ 31 w 36"/>
              <a:gd name="T43" fmla="*/ 21 h 49"/>
              <a:gd name="T44" fmla="*/ 29 w 36"/>
              <a:gd name="T45" fmla="*/ 20 h 49"/>
              <a:gd name="T46" fmla="*/ 26 w 36"/>
              <a:gd name="T47" fmla="*/ 20 h 49"/>
              <a:gd name="T48" fmla="*/ 29 w 36"/>
              <a:gd name="T49" fmla="*/ 17 h 49"/>
              <a:gd name="T50" fmla="*/ 25 w 36"/>
              <a:gd name="T51" fmla="*/ 19 h 49"/>
              <a:gd name="T52" fmla="*/ 27 w 36"/>
              <a:gd name="T53" fmla="*/ 16 h 49"/>
              <a:gd name="T54" fmla="*/ 27 w 36"/>
              <a:gd name="T55" fmla="*/ 15 h 49"/>
              <a:gd name="T56" fmla="*/ 29 w 36"/>
              <a:gd name="T57" fmla="*/ 11 h 49"/>
              <a:gd name="T58" fmla="*/ 31 w 36"/>
              <a:gd name="T59" fmla="*/ 6 h 49"/>
              <a:gd name="T60" fmla="*/ 30 w 36"/>
              <a:gd name="T61" fmla="*/ 1 h 49"/>
              <a:gd name="T62" fmla="*/ 30 w 36"/>
              <a:gd name="T63" fmla="*/ 0 h 49"/>
              <a:gd name="T64" fmla="*/ 23 w 36"/>
              <a:gd name="T65" fmla="*/ 2 h 49"/>
              <a:gd name="T66" fmla="*/ 19 w 36"/>
              <a:gd name="T67" fmla="*/ 7 h 49"/>
              <a:gd name="T68" fmla="*/ 6 w 36"/>
              <a:gd name="T69" fmla="*/ 10 h 49"/>
              <a:gd name="T70" fmla="*/ 3 w 36"/>
              <a:gd name="T71" fmla="*/ 13 h 49"/>
              <a:gd name="T72" fmla="*/ 1 w 36"/>
              <a:gd name="T73" fmla="*/ 20 h 49"/>
              <a:gd name="T74" fmla="*/ 0 w 36"/>
              <a:gd name="T75" fmla="*/ 24 h 49"/>
              <a:gd name="T76" fmla="*/ 2 w 36"/>
              <a:gd name="T77" fmla="*/ 31 h 49"/>
              <a:gd name="T78" fmla="*/ 1 w 36"/>
              <a:gd name="T79" fmla="*/ 36 h 49"/>
              <a:gd name="T80" fmla="*/ 3 w 36"/>
              <a:gd name="T81" fmla="*/ 36 h 49"/>
              <a:gd name="T82" fmla="*/ 8 w 36"/>
              <a:gd name="T83" fmla="*/ 39 h 49"/>
              <a:gd name="T84" fmla="*/ 9 w 36"/>
              <a:gd name="T85" fmla="*/ 46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6" h="49">
                <a:moveTo>
                  <a:pt x="10" y="47"/>
                </a:moveTo>
                <a:lnTo>
                  <a:pt x="12" y="47"/>
                </a:lnTo>
                <a:lnTo>
                  <a:pt x="17" y="49"/>
                </a:lnTo>
                <a:lnTo>
                  <a:pt x="20" y="47"/>
                </a:lnTo>
                <a:lnTo>
                  <a:pt x="21" y="47"/>
                </a:lnTo>
                <a:lnTo>
                  <a:pt x="21" y="47"/>
                </a:lnTo>
                <a:lnTo>
                  <a:pt x="21" y="47"/>
                </a:lnTo>
                <a:lnTo>
                  <a:pt x="22" y="47"/>
                </a:lnTo>
                <a:lnTo>
                  <a:pt x="23" y="47"/>
                </a:lnTo>
                <a:lnTo>
                  <a:pt x="23" y="47"/>
                </a:lnTo>
                <a:lnTo>
                  <a:pt x="22" y="46"/>
                </a:lnTo>
                <a:lnTo>
                  <a:pt x="21" y="45"/>
                </a:lnTo>
                <a:lnTo>
                  <a:pt x="20" y="45"/>
                </a:lnTo>
                <a:lnTo>
                  <a:pt x="20" y="44"/>
                </a:lnTo>
                <a:lnTo>
                  <a:pt x="19" y="43"/>
                </a:lnTo>
                <a:lnTo>
                  <a:pt x="22" y="42"/>
                </a:lnTo>
                <a:lnTo>
                  <a:pt x="22" y="41"/>
                </a:lnTo>
                <a:lnTo>
                  <a:pt x="21" y="41"/>
                </a:lnTo>
                <a:lnTo>
                  <a:pt x="21" y="40"/>
                </a:lnTo>
                <a:lnTo>
                  <a:pt x="21" y="37"/>
                </a:lnTo>
                <a:lnTo>
                  <a:pt x="21" y="37"/>
                </a:lnTo>
                <a:lnTo>
                  <a:pt x="23" y="35"/>
                </a:lnTo>
                <a:lnTo>
                  <a:pt x="22" y="35"/>
                </a:lnTo>
                <a:lnTo>
                  <a:pt x="21" y="34"/>
                </a:lnTo>
                <a:lnTo>
                  <a:pt x="22" y="33"/>
                </a:lnTo>
                <a:lnTo>
                  <a:pt x="25" y="34"/>
                </a:lnTo>
                <a:lnTo>
                  <a:pt x="25" y="32"/>
                </a:lnTo>
                <a:lnTo>
                  <a:pt x="24" y="31"/>
                </a:lnTo>
                <a:lnTo>
                  <a:pt x="25" y="31"/>
                </a:lnTo>
                <a:lnTo>
                  <a:pt x="29" y="31"/>
                </a:lnTo>
                <a:lnTo>
                  <a:pt x="30" y="30"/>
                </a:lnTo>
                <a:lnTo>
                  <a:pt x="29" y="27"/>
                </a:lnTo>
                <a:lnTo>
                  <a:pt x="30" y="25"/>
                </a:lnTo>
                <a:lnTo>
                  <a:pt x="31" y="25"/>
                </a:lnTo>
                <a:lnTo>
                  <a:pt x="31" y="25"/>
                </a:lnTo>
                <a:lnTo>
                  <a:pt x="32" y="26"/>
                </a:lnTo>
                <a:lnTo>
                  <a:pt x="33" y="25"/>
                </a:lnTo>
                <a:lnTo>
                  <a:pt x="33" y="26"/>
                </a:lnTo>
                <a:lnTo>
                  <a:pt x="36" y="24"/>
                </a:lnTo>
                <a:lnTo>
                  <a:pt x="36" y="22"/>
                </a:lnTo>
                <a:lnTo>
                  <a:pt x="36" y="21"/>
                </a:lnTo>
                <a:lnTo>
                  <a:pt x="35" y="20"/>
                </a:lnTo>
                <a:lnTo>
                  <a:pt x="33" y="21"/>
                </a:lnTo>
                <a:lnTo>
                  <a:pt x="31" y="21"/>
                </a:lnTo>
                <a:lnTo>
                  <a:pt x="30" y="20"/>
                </a:lnTo>
                <a:lnTo>
                  <a:pt x="29" y="20"/>
                </a:lnTo>
                <a:lnTo>
                  <a:pt x="27" y="21"/>
                </a:lnTo>
                <a:lnTo>
                  <a:pt x="26" y="20"/>
                </a:lnTo>
                <a:lnTo>
                  <a:pt x="26" y="20"/>
                </a:lnTo>
                <a:lnTo>
                  <a:pt x="29" y="17"/>
                </a:lnTo>
                <a:lnTo>
                  <a:pt x="27" y="17"/>
                </a:lnTo>
                <a:lnTo>
                  <a:pt x="25" y="19"/>
                </a:lnTo>
                <a:lnTo>
                  <a:pt x="25" y="17"/>
                </a:lnTo>
                <a:lnTo>
                  <a:pt x="27" y="16"/>
                </a:lnTo>
                <a:lnTo>
                  <a:pt x="27" y="15"/>
                </a:lnTo>
                <a:lnTo>
                  <a:pt x="27" y="15"/>
                </a:lnTo>
                <a:lnTo>
                  <a:pt x="27" y="13"/>
                </a:lnTo>
                <a:lnTo>
                  <a:pt x="29" y="11"/>
                </a:lnTo>
                <a:lnTo>
                  <a:pt x="31" y="7"/>
                </a:lnTo>
                <a:lnTo>
                  <a:pt x="31" y="6"/>
                </a:lnTo>
                <a:lnTo>
                  <a:pt x="29" y="3"/>
                </a:lnTo>
                <a:lnTo>
                  <a:pt x="30" y="1"/>
                </a:lnTo>
                <a:lnTo>
                  <a:pt x="30" y="0"/>
                </a:lnTo>
                <a:lnTo>
                  <a:pt x="30" y="0"/>
                </a:lnTo>
                <a:lnTo>
                  <a:pt x="27" y="1"/>
                </a:lnTo>
                <a:lnTo>
                  <a:pt x="23" y="2"/>
                </a:lnTo>
                <a:lnTo>
                  <a:pt x="20" y="5"/>
                </a:lnTo>
                <a:lnTo>
                  <a:pt x="19" y="7"/>
                </a:lnTo>
                <a:lnTo>
                  <a:pt x="16" y="9"/>
                </a:lnTo>
                <a:lnTo>
                  <a:pt x="6" y="10"/>
                </a:lnTo>
                <a:lnTo>
                  <a:pt x="4" y="12"/>
                </a:lnTo>
                <a:lnTo>
                  <a:pt x="3" y="13"/>
                </a:lnTo>
                <a:lnTo>
                  <a:pt x="1" y="17"/>
                </a:lnTo>
                <a:lnTo>
                  <a:pt x="1" y="20"/>
                </a:lnTo>
                <a:lnTo>
                  <a:pt x="0" y="22"/>
                </a:lnTo>
                <a:lnTo>
                  <a:pt x="0" y="24"/>
                </a:lnTo>
                <a:lnTo>
                  <a:pt x="1" y="30"/>
                </a:lnTo>
                <a:lnTo>
                  <a:pt x="2" y="31"/>
                </a:lnTo>
                <a:lnTo>
                  <a:pt x="2" y="33"/>
                </a:lnTo>
                <a:lnTo>
                  <a:pt x="1" y="36"/>
                </a:lnTo>
                <a:lnTo>
                  <a:pt x="3" y="36"/>
                </a:lnTo>
                <a:lnTo>
                  <a:pt x="3" y="36"/>
                </a:lnTo>
                <a:lnTo>
                  <a:pt x="5" y="37"/>
                </a:lnTo>
                <a:lnTo>
                  <a:pt x="8" y="39"/>
                </a:lnTo>
                <a:lnTo>
                  <a:pt x="9" y="40"/>
                </a:lnTo>
                <a:lnTo>
                  <a:pt x="9" y="46"/>
                </a:lnTo>
                <a:lnTo>
                  <a:pt x="10" y="47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01" name="Freeform 300"/>
          <p:cNvSpPr>
            <a:spLocks/>
          </p:cNvSpPr>
          <p:nvPr/>
        </p:nvSpPr>
        <p:spPr bwMode="auto">
          <a:xfrm>
            <a:off x="4473575" y="2136741"/>
            <a:ext cx="15875" cy="17463"/>
          </a:xfrm>
          <a:custGeom>
            <a:avLst/>
            <a:gdLst>
              <a:gd name="T0" fmla="*/ 6 w 10"/>
              <a:gd name="T1" fmla="*/ 11 h 11"/>
              <a:gd name="T2" fmla="*/ 9 w 10"/>
              <a:gd name="T3" fmla="*/ 11 h 11"/>
              <a:gd name="T4" fmla="*/ 10 w 10"/>
              <a:gd name="T5" fmla="*/ 10 h 11"/>
              <a:gd name="T6" fmla="*/ 9 w 10"/>
              <a:gd name="T7" fmla="*/ 7 h 11"/>
              <a:gd name="T8" fmla="*/ 9 w 10"/>
              <a:gd name="T9" fmla="*/ 5 h 11"/>
              <a:gd name="T10" fmla="*/ 7 w 10"/>
              <a:gd name="T11" fmla="*/ 4 h 11"/>
              <a:gd name="T12" fmla="*/ 7 w 10"/>
              <a:gd name="T13" fmla="*/ 2 h 11"/>
              <a:gd name="T14" fmla="*/ 8 w 10"/>
              <a:gd name="T15" fmla="*/ 1 h 11"/>
              <a:gd name="T16" fmla="*/ 6 w 10"/>
              <a:gd name="T17" fmla="*/ 0 h 11"/>
              <a:gd name="T18" fmla="*/ 3 w 10"/>
              <a:gd name="T19" fmla="*/ 0 h 11"/>
              <a:gd name="T20" fmla="*/ 1 w 10"/>
              <a:gd name="T21" fmla="*/ 2 h 11"/>
              <a:gd name="T22" fmla="*/ 0 w 10"/>
              <a:gd name="T23" fmla="*/ 4 h 11"/>
              <a:gd name="T24" fmla="*/ 1 w 10"/>
              <a:gd name="T25" fmla="*/ 6 h 11"/>
              <a:gd name="T26" fmla="*/ 1 w 10"/>
              <a:gd name="T27" fmla="*/ 10 h 11"/>
              <a:gd name="T28" fmla="*/ 6 w 10"/>
              <a:gd name="T29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0" h="11">
                <a:moveTo>
                  <a:pt x="6" y="11"/>
                </a:moveTo>
                <a:lnTo>
                  <a:pt x="9" y="11"/>
                </a:lnTo>
                <a:lnTo>
                  <a:pt x="10" y="10"/>
                </a:lnTo>
                <a:lnTo>
                  <a:pt x="9" y="7"/>
                </a:lnTo>
                <a:lnTo>
                  <a:pt x="9" y="5"/>
                </a:lnTo>
                <a:lnTo>
                  <a:pt x="7" y="4"/>
                </a:lnTo>
                <a:lnTo>
                  <a:pt x="7" y="2"/>
                </a:lnTo>
                <a:lnTo>
                  <a:pt x="8" y="1"/>
                </a:lnTo>
                <a:lnTo>
                  <a:pt x="6" y="0"/>
                </a:lnTo>
                <a:lnTo>
                  <a:pt x="3" y="0"/>
                </a:lnTo>
                <a:lnTo>
                  <a:pt x="1" y="2"/>
                </a:lnTo>
                <a:lnTo>
                  <a:pt x="0" y="4"/>
                </a:lnTo>
                <a:lnTo>
                  <a:pt x="1" y="6"/>
                </a:lnTo>
                <a:lnTo>
                  <a:pt x="1" y="10"/>
                </a:lnTo>
                <a:lnTo>
                  <a:pt x="6" y="1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02" name="Freeform 301"/>
          <p:cNvSpPr>
            <a:spLocks/>
          </p:cNvSpPr>
          <p:nvPr/>
        </p:nvSpPr>
        <p:spPr bwMode="auto">
          <a:xfrm>
            <a:off x="4473575" y="2136741"/>
            <a:ext cx="15875" cy="17463"/>
          </a:xfrm>
          <a:custGeom>
            <a:avLst/>
            <a:gdLst>
              <a:gd name="T0" fmla="*/ 6 w 10"/>
              <a:gd name="T1" fmla="*/ 11 h 11"/>
              <a:gd name="T2" fmla="*/ 9 w 10"/>
              <a:gd name="T3" fmla="*/ 11 h 11"/>
              <a:gd name="T4" fmla="*/ 10 w 10"/>
              <a:gd name="T5" fmla="*/ 10 h 11"/>
              <a:gd name="T6" fmla="*/ 9 w 10"/>
              <a:gd name="T7" fmla="*/ 7 h 11"/>
              <a:gd name="T8" fmla="*/ 9 w 10"/>
              <a:gd name="T9" fmla="*/ 5 h 11"/>
              <a:gd name="T10" fmla="*/ 7 w 10"/>
              <a:gd name="T11" fmla="*/ 4 h 11"/>
              <a:gd name="T12" fmla="*/ 7 w 10"/>
              <a:gd name="T13" fmla="*/ 2 h 11"/>
              <a:gd name="T14" fmla="*/ 8 w 10"/>
              <a:gd name="T15" fmla="*/ 1 h 11"/>
              <a:gd name="T16" fmla="*/ 6 w 10"/>
              <a:gd name="T17" fmla="*/ 0 h 11"/>
              <a:gd name="T18" fmla="*/ 3 w 10"/>
              <a:gd name="T19" fmla="*/ 0 h 11"/>
              <a:gd name="T20" fmla="*/ 1 w 10"/>
              <a:gd name="T21" fmla="*/ 2 h 11"/>
              <a:gd name="T22" fmla="*/ 0 w 10"/>
              <a:gd name="T23" fmla="*/ 4 h 11"/>
              <a:gd name="T24" fmla="*/ 1 w 10"/>
              <a:gd name="T25" fmla="*/ 6 h 11"/>
              <a:gd name="T26" fmla="*/ 1 w 10"/>
              <a:gd name="T27" fmla="*/ 10 h 11"/>
              <a:gd name="T28" fmla="*/ 6 w 10"/>
              <a:gd name="T29" fmla="*/ 1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0" h="11">
                <a:moveTo>
                  <a:pt x="6" y="11"/>
                </a:moveTo>
                <a:lnTo>
                  <a:pt x="9" y="11"/>
                </a:lnTo>
                <a:lnTo>
                  <a:pt x="10" y="10"/>
                </a:lnTo>
                <a:lnTo>
                  <a:pt x="9" y="7"/>
                </a:lnTo>
                <a:lnTo>
                  <a:pt x="9" y="5"/>
                </a:lnTo>
                <a:lnTo>
                  <a:pt x="7" y="4"/>
                </a:lnTo>
                <a:lnTo>
                  <a:pt x="7" y="2"/>
                </a:lnTo>
                <a:lnTo>
                  <a:pt x="8" y="1"/>
                </a:lnTo>
                <a:lnTo>
                  <a:pt x="6" y="0"/>
                </a:lnTo>
                <a:lnTo>
                  <a:pt x="3" y="0"/>
                </a:lnTo>
                <a:lnTo>
                  <a:pt x="1" y="2"/>
                </a:lnTo>
                <a:lnTo>
                  <a:pt x="0" y="4"/>
                </a:lnTo>
                <a:lnTo>
                  <a:pt x="1" y="6"/>
                </a:lnTo>
                <a:lnTo>
                  <a:pt x="1" y="10"/>
                </a:lnTo>
                <a:lnTo>
                  <a:pt x="6" y="1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03" name="Freeform 302"/>
          <p:cNvSpPr>
            <a:spLocks/>
          </p:cNvSpPr>
          <p:nvPr/>
        </p:nvSpPr>
        <p:spPr bwMode="auto">
          <a:xfrm>
            <a:off x="2792413" y="3084478"/>
            <a:ext cx="6350" cy="3175"/>
          </a:xfrm>
          <a:custGeom>
            <a:avLst/>
            <a:gdLst>
              <a:gd name="T0" fmla="*/ 2 w 4"/>
              <a:gd name="T1" fmla="*/ 0 h 2"/>
              <a:gd name="T2" fmla="*/ 2 w 4"/>
              <a:gd name="T3" fmla="*/ 0 h 2"/>
              <a:gd name="T4" fmla="*/ 0 w 4"/>
              <a:gd name="T5" fmla="*/ 1 h 2"/>
              <a:gd name="T6" fmla="*/ 0 w 4"/>
              <a:gd name="T7" fmla="*/ 2 h 2"/>
              <a:gd name="T8" fmla="*/ 2 w 4"/>
              <a:gd name="T9" fmla="*/ 2 h 2"/>
              <a:gd name="T10" fmla="*/ 4 w 4"/>
              <a:gd name="T11" fmla="*/ 1 h 2"/>
              <a:gd name="T12" fmla="*/ 4 w 4"/>
              <a:gd name="T13" fmla="*/ 1 h 2"/>
              <a:gd name="T14" fmla="*/ 2 w 4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2">
                <a:moveTo>
                  <a:pt x="2" y="0"/>
                </a:moveTo>
                <a:lnTo>
                  <a:pt x="2" y="0"/>
                </a:lnTo>
                <a:lnTo>
                  <a:pt x="0" y="1"/>
                </a:lnTo>
                <a:lnTo>
                  <a:pt x="0" y="2"/>
                </a:lnTo>
                <a:lnTo>
                  <a:pt x="2" y="2"/>
                </a:lnTo>
                <a:lnTo>
                  <a:pt x="4" y="1"/>
                </a:lnTo>
                <a:lnTo>
                  <a:pt x="4" y="1"/>
                </a:lnTo>
                <a:lnTo>
                  <a:pt x="2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04" name="Freeform 303"/>
          <p:cNvSpPr>
            <a:spLocks/>
          </p:cNvSpPr>
          <p:nvPr/>
        </p:nvSpPr>
        <p:spPr bwMode="auto">
          <a:xfrm>
            <a:off x="2792413" y="3084478"/>
            <a:ext cx="6350" cy="3175"/>
          </a:xfrm>
          <a:custGeom>
            <a:avLst/>
            <a:gdLst>
              <a:gd name="T0" fmla="*/ 2 w 4"/>
              <a:gd name="T1" fmla="*/ 0 h 2"/>
              <a:gd name="T2" fmla="*/ 2 w 4"/>
              <a:gd name="T3" fmla="*/ 0 h 2"/>
              <a:gd name="T4" fmla="*/ 0 w 4"/>
              <a:gd name="T5" fmla="*/ 1 h 2"/>
              <a:gd name="T6" fmla="*/ 0 w 4"/>
              <a:gd name="T7" fmla="*/ 2 h 2"/>
              <a:gd name="T8" fmla="*/ 2 w 4"/>
              <a:gd name="T9" fmla="*/ 2 h 2"/>
              <a:gd name="T10" fmla="*/ 4 w 4"/>
              <a:gd name="T11" fmla="*/ 1 h 2"/>
              <a:gd name="T12" fmla="*/ 4 w 4"/>
              <a:gd name="T13" fmla="*/ 1 h 2"/>
              <a:gd name="T14" fmla="*/ 2 w 4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2">
                <a:moveTo>
                  <a:pt x="2" y="0"/>
                </a:moveTo>
                <a:lnTo>
                  <a:pt x="2" y="0"/>
                </a:lnTo>
                <a:lnTo>
                  <a:pt x="0" y="1"/>
                </a:lnTo>
                <a:lnTo>
                  <a:pt x="0" y="2"/>
                </a:lnTo>
                <a:lnTo>
                  <a:pt x="2" y="2"/>
                </a:lnTo>
                <a:lnTo>
                  <a:pt x="4" y="1"/>
                </a:lnTo>
                <a:lnTo>
                  <a:pt x="4" y="1"/>
                </a:lnTo>
                <a:lnTo>
                  <a:pt x="2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05" name="Freeform 304"/>
          <p:cNvSpPr>
            <a:spLocks/>
          </p:cNvSpPr>
          <p:nvPr/>
        </p:nvSpPr>
        <p:spPr bwMode="auto">
          <a:xfrm>
            <a:off x="2805113" y="3147978"/>
            <a:ext cx="9525" cy="12700"/>
          </a:xfrm>
          <a:custGeom>
            <a:avLst/>
            <a:gdLst>
              <a:gd name="T0" fmla="*/ 0 w 6"/>
              <a:gd name="T1" fmla="*/ 0 h 8"/>
              <a:gd name="T2" fmla="*/ 2 w 6"/>
              <a:gd name="T3" fmla="*/ 1 h 8"/>
              <a:gd name="T4" fmla="*/ 4 w 6"/>
              <a:gd name="T5" fmla="*/ 3 h 8"/>
              <a:gd name="T6" fmla="*/ 6 w 6"/>
              <a:gd name="T7" fmla="*/ 7 h 8"/>
              <a:gd name="T8" fmla="*/ 5 w 6"/>
              <a:gd name="T9" fmla="*/ 8 h 8"/>
              <a:gd name="T10" fmla="*/ 4 w 6"/>
              <a:gd name="T11" fmla="*/ 8 h 8"/>
              <a:gd name="T12" fmla="*/ 2 w 6"/>
              <a:gd name="T13" fmla="*/ 7 h 8"/>
              <a:gd name="T14" fmla="*/ 0 w 6"/>
              <a:gd name="T15" fmla="*/ 3 h 8"/>
              <a:gd name="T16" fmla="*/ 0 w 6"/>
              <a:gd name="T17" fmla="*/ 2 h 8"/>
              <a:gd name="T18" fmla="*/ 0 w 6"/>
              <a:gd name="T19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" h="8">
                <a:moveTo>
                  <a:pt x="0" y="0"/>
                </a:moveTo>
                <a:lnTo>
                  <a:pt x="2" y="1"/>
                </a:lnTo>
                <a:lnTo>
                  <a:pt x="4" y="3"/>
                </a:lnTo>
                <a:lnTo>
                  <a:pt x="6" y="7"/>
                </a:lnTo>
                <a:lnTo>
                  <a:pt x="5" y="8"/>
                </a:lnTo>
                <a:lnTo>
                  <a:pt x="4" y="8"/>
                </a:lnTo>
                <a:lnTo>
                  <a:pt x="2" y="7"/>
                </a:lnTo>
                <a:lnTo>
                  <a:pt x="0" y="3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06" name="Freeform 305"/>
          <p:cNvSpPr>
            <a:spLocks/>
          </p:cNvSpPr>
          <p:nvPr/>
        </p:nvSpPr>
        <p:spPr bwMode="auto">
          <a:xfrm>
            <a:off x="2805113" y="3147978"/>
            <a:ext cx="9525" cy="12700"/>
          </a:xfrm>
          <a:custGeom>
            <a:avLst/>
            <a:gdLst>
              <a:gd name="T0" fmla="*/ 0 w 6"/>
              <a:gd name="T1" fmla="*/ 0 h 8"/>
              <a:gd name="T2" fmla="*/ 2 w 6"/>
              <a:gd name="T3" fmla="*/ 1 h 8"/>
              <a:gd name="T4" fmla="*/ 4 w 6"/>
              <a:gd name="T5" fmla="*/ 3 h 8"/>
              <a:gd name="T6" fmla="*/ 6 w 6"/>
              <a:gd name="T7" fmla="*/ 7 h 8"/>
              <a:gd name="T8" fmla="*/ 5 w 6"/>
              <a:gd name="T9" fmla="*/ 8 h 8"/>
              <a:gd name="T10" fmla="*/ 4 w 6"/>
              <a:gd name="T11" fmla="*/ 8 h 8"/>
              <a:gd name="T12" fmla="*/ 2 w 6"/>
              <a:gd name="T13" fmla="*/ 7 h 8"/>
              <a:gd name="T14" fmla="*/ 0 w 6"/>
              <a:gd name="T15" fmla="*/ 3 h 8"/>
              <a:gd name="T16" fmla="*/ 0 w 6"/>
              <a:gd name="T17" fmla="*/ 2 h 8"/>
              <a:gd name="T18" fmla="*/ 0 w 6"/>
              <a:gd name="T19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" h="8">
                <a:moveTo>
                  <a:pt x="0" y="0"/>
                </a:moveTo>
                <a:lnTo>
                  <a:pt x="2" y="1"/>
                </a:lnTo>
                <a:lnTo>
                  <a:pt x="4" y="3"/>
                </a:lnTo>
                <a:lnTo>
                  <a:pt x="6" y="7"/>
                </a:lnTo>
                <a:lnTo>
                  <a:pt x="5" y="8"/>
                </a:lnTo>
                <a:lnTo>
                  <a:pt x="4" y="8"/>
                </a:lnTo>
                <a:lnTo>
                  <a:pt x="2" y="7"/>
                </a:lnTo>
                <a:lnTo>
                  <a:pt x="0" y="3"/>
                </a:lnTo>
                <a:lnTo>
                  <a:pt x="0" y="2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07" name="Freeform 306"/>
          <p:cNvSpPr>
            <a:spLocks/>
          </p:cNvSpPr>
          <p:nvPr/>
        </p:nvSpPr>
        <p:spPr bwMode="auto">
          <a:xfrm>
            <a:off x="2719388" y="3255928"/>
            <a:ext cx="14287" cy="7938"/>
          </a:xfrm>
          <a:custGeom>
            <a:avLst/>
            <a:gdLst>
              <a:gd name="T0" fmla="*/ 8 w 9"/>
              <a:gd name="T1" fmla="*/ 0 h 5"/>
              <a:gd name="T2" fmla="*/ 9 w 9"/>
              <a:gd name="T3" fmla="*/ 2 h 5"/>
              <a:gd name="T4" fmla="*/ 9 w 9"/>
              <a:gd name="T5" fmla="*/ 3 h 5"/>
              <a:gd name="T6" fmla="*/ 5 w 9"/>
              <a:gd name="T7" fmla="*/ 5 h 5"/>
              <a:gd name="T8" fmla="*/ 4 w 9"/>
              <a:gd name="T9" fmla="*/ 5 h 5"/>
              <a:gd name="T10" fmla="*/ 3 w 9"/>
              <a:gd name="T11" fmla="*/ 4 h 5"/>
              <a:gd name="T12" fmla="*/ 0 w 9"/>
              <a:gd name="T13" fmla="*/ 4 h 5"/>
              <a:gd name="T14" fmla="*/ 0 w 9"/>
              <a:gd name="T15" fmla="*/ 3 h 5"/>
              <a:gd name="T16" fmla="*/ 1 w 9"/>
              <a:gd name="T17" fmla="*/ 2 h 5"/>
              <a:gd name="T18" fmla="*/ 2 w 9"/>
              <a:gd name="T19" fmla="*/ 2 h 5"/>
              <a:gd name="T20" fmla="*/ 4 w 9"/>
              <a:gd name="T21" fmla="*/ 3 h 5"/>
              <a:gd name="T22" fmla="*/ 8 w 9"/>
              <a:gd name="T23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" h="5">
                <a:moveTo>
                  <a:pt x="8" y="0"/>
                </a:moveTo>
                <a:lnTo>
                  <a:pt x="9" y="2"/>
                </a:lnTo>
                <a:lnTo>
                  <a:pt x="9" y="3"/>
                </a:lnTo>
                <a:lnTo>
                  <a:pt x="5" y="5"/>
                </a:lnTo>
                <a:lnTo>
                  <a:pt x="4" y="5"/>
                </a:lnTo>
                <a:lnTo>
                  <a:pt x="3" y="4"/>
                </a:lnTo>
                <a:lnTo>
                  <a:pt x="0" y="4"/>
                </a:lnTo>
                <a:lnTo>
                  <a:pt x="0" y="3"/>
                </a:lnTo>
                <a:lnTo>
                  <a:pt x="1" y="2"/>
                </a:lnTo>
                <a:lnTo>
                  <a:pt x="2" y="2"/>
                </a:lnTo>
                <a:lnTo>
                  <a:pt x="4" y="3"/>
                </a:lnTo>
                <a:lnTo>
                  <a:pt x="8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08" name="Freeform 307"/>
          <p:cNvSpPr>
            <a:spLocks/>
          </p:cNvSpPr>
          <p:nvPr/>
        </p:nvSpPr>
        <p:spPr bwMode="auto">
          <a:xfrm>
            <a:off x="2719388" y="3255928"/>
            <a:ext cx="14287" cy="7938"/>
          </a:xfrm>
          <a:custGeom>
            <a:avLst/>
            <a:gdLst>
              <a:gd name="T0" fmla="*/ 8 w 9"/>
              <a:gd name="T1" fmla="*/ 0 h 5"/>
              <a:gd name="T2" fmla="*/ 9 w 9"/>
              <a:gd name="T3" fmla="*/ 2 h 5"/>
              <a:gd name="T4" fmla="*/ 9 w 9"/>
              <a:gd name="T5" fmla="*/ 3 h 5"/>
              <a:gd name="T6" fmla="*/ 5 w 9"/>
              <a:gd name="T7" fmla="*/ 5 h 5"/>
              <a:gd name="T8" fmla="*/ 4 w 9"/>
              <a:gd name="T9" fmla="*/ 5 h 5"/>
              <a:gd name="T10" fmla="*/ 3 w 9"/>
              <a:gd name="T11" fmla="*/ 4 h 5"/>
              <a:gd name="T12" fmla="*/ 0 w 9"/>
              <a:gd name="T13" fmla="*/ 4 h 5"/>
              <a:gd name="T14" fmla="*/ 0 w 9"/>
              <a:gd name="T15" fmla="*/ 3 h 5"/>
              <a:gd name="T16" fmla="*/ 1 w 9"/>
              <a:gd name="T17" fmla="*/ 2 h 5"/>
              <a:gd name="T18" fmla="*/ 2 w 9"/>
              <a:gd name="T19" fmla="*/ 2 h 5"/>
              <a:gd name="T20" fmla="*/ 4 w 9"/>
              <a:gd name="T21" fmla="*/ 3 h 5"/>
              <a:gd name="T22" fmla="*/ 8 w 9"/>
              <a:gd name="T23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" h="5">
                <a:moveTo>
                  <a:pt x="8" y="0"/>
                </a:moveTo>
                <a:lnTo>
                  <a:pt x="9" y="2"/>
                </a:lnTo>
                <a:lnTo>
                  <a:pt x="9" y="3"/>
                </a:lnTo>
                <a:lnTo>
                  <a:pt x="5" y="5"/>
                </a:lnTo>
                <a:lnTo>
                  <a:pt x="4" y="5"/>
                </a:lnTo>
                <a:lnTo>
                  <a:pt x="3" y="4"/>
                </a:lnTo>
                <a:lnTo>
                  <a:pt x="0" y="4"/>
                </a:lnTo>
                <a:lnTo>
                  <a:pt x="0" y="3"/>
                </a:lnTo>
                <a:lnTo>
                  <a:pt x="1" y="2"/>
                </a:lnTo>
                <a:lnTo>
                  <a:pt x="2" y="2"/>
                </a:lnTo>
                <a:lnTo>
                  <a:pt x="4" y="3"/>
                </a:lnTo>
                <a:lnTo>
                  <a:pt x="8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09" name="Freeform 308"/>
          <p:cNvSpPr>
            <a:spLocks/>
          </p:cNvSpPr>
          <p:nvPr/>
        </p:nvSpPr>
        <p:spPr bwMode="auto">
          <a:xfrm>
            <a:off x="5105400" y="3457541"/>
            <a:ext cx="136525" cy="160338"/>
          </a:xfrm>
          <a:custGeom>
            <a:avLst/>
            <a:gdLst>
              <a:gd name="T0" fmla="*/ 68 w 86"/>
              <a:gd name="T1" fmla="*/ 0 h 101"/>
              <a:gd name="T2" fmla="*/ 60 w 86"/>
              <a:gd name="T3" fmla="*/ 7 h 101"/>
              <a:gd name="T4" fmla="*/ 50 w 86"/>
              <a:gd name="T5" fmla="*/ 7 h 101"/>
              <a:gd name="T6" fmla="*/ 43 w 86"/>
              <a:gd name="T7" fmla="*/ 9 h 101"/>
              <a:gd name="T8" fmla="*/ 36 w 86"/>
              <a:gd name="T9" fmla="*/ 8 h 101"/>
              <a:gd name="T10" fmla="*/ 29 w 86"/>
              <a:gd name="T11" fmla="*/ 9 h 101"/>
              <a:gd name="T12" fmla="*/ 21 w 86"/>
              <a:gd name="T13" fmla="*/ 8 h 101"/>
              <a:gd name="T14" fmla="*/ 20 w 86"/>
              <a:gd name="T15" fmla="*/ 11 h 101"/>
              <a:gd name="T16" fmla="*/ 18 w 86"/>
              <a:gd name="T17" fmla="*/ 20 h 101"/>
              <a:gd name="T18" fmla="*/ 19 w 86"/>
              <a:gd name="T19" fmla="*/ 30 h 101"/>
              <a:gd name="T20" fmla="*/ 23 w 86"/>
              <a:gd name="T21" fmla="*/ 33 h 101"/>
              <a:gd name="T22" fmla="*/ 26 w 86"/>
              <a:gd name="T23" fmla="*/ 35 h 101"/>
              <a:gd name="T24" fmla="*/ 25 w 86"/>
              <a:gd name="T25" fmla="*/ 41 h 101"/>
              <a:gd name="T26" fmla="*/ 20 w 86"/>
              <a:gd name="T27" fmla="*/ 45 h 101"/>
              <a:gd name="T28" fmla="*/ 16 w 86"/>
              <a:gd name="T29" fmla="*/ 50 h 101"/>
              <a:gd name="T30" fmla="*/ 14 w 86"/>
              <a:gd name="T31" fmla="*/ 53 h 101"/>
              <a:gd name="T32" fmla="*/ 7 w 86"/>
              <a:gd name="T33" fmla="*/ 62 h 101"/>
              <a:gd name="T34" fmla="*/ 4 w 86"/>
              <a:gd name="T35" fmla="*/ 68 h 101"/>
              <a:gd name="T36" fmla="*/ 1 w 86"/>
              <a:gd name="T37" fmla="*/ 83 h 101"/>
              <a:gd name="T38" fmla="*/ 0 w 86"/>
              <a:gd name="T39" fmla="*/ 99 h 101"/>
              <a:gd name="T40" fmla="*/ 4 w 86"/>
              <a:gd name="T41" fmla="*/ 101 h 101"/>
              <a:gd name="T42" fmla="*/ 8 w 86"/>
              <a:gd name="T43" fmla="*/ 97 h 101"/>
              <a:gd name="T44" fmla="*/ 11 w 86"/>
              <a:gd name="T45" fmla="*/ 95 h 101"/>
              <a:gd name="T46" fmla="*/ 19 w 86"/>
              <a:gd name="T47" fmla="*/ 95 h 101"/>
              <a:gd name="T48" fmla="*/ 21 w 86"/>
              <a:gd name="T49" fmla="*/ 93 h 101"/>
              <a:gd name="T50" fmla="*/ 33 w 86"/>
              <a:gd name="T51" fmla="*/ 91 h 101"/>
              <a:gd name="T52" fmla="*/ 36 w 86"/>
              <a:gd name="T53" fmla="*/ 80 h 101"/>
              <a:gd name="T54" fmla="*/ 39 w 86"/>
              <a:gd name="T55" fmla="*/ 78 h 101"/>
              <a:gd name="T56" fmla="*/ 44 w 86"/>
              <a:gd name="T57" fmla="*/ 74 h 101"/>
              <a:gd name="T58" fmla="*/ 47 w 86"/>
              <a:gd name="T59" fmla="*/ 74 h 101"/>
              <a:gd name="T60" fmla="*/ 49 w 86"/>
              <a:gd name="T61" fmla="*/ 73 h 101"/>
              <a:gd name="T62" fmla="*/ 55 w 86"/>
              <a:gd name="T63" fmla="*/ 75 h 101"/>
              <a:gd name="T64" fmla="*/ 60 w 86"/>
              <a:gd name="T65" fmla="*/ 71 h 101"/>
              <a:gd name="T66" fmla="*/ 66 w 86"/>
              <a:gd name="T67" fmla="*/ 71 h 101"/>
              <a:gd name="T68" fmla="*/ 69 w 86"/>
              <a:gd name="T69" fmla="*/ 72 h 101"/>
              <a:gd name="T70" fmla="*/ 76 w 86"/>
              <a:gd name="T71" fmla="*/ 61 h 101"/>
              <a:gd name="T72" fmla="*/ 79 w 86"/>
              <a:gd name="T73" fmla="*/ 57 h 101"/>
              <a:gd name="T74" fmla="*/ 85 w 86"/>
              <a:gd name="T75" fmla="*/ 49 h 101"/>
              <a:gd name="T76" fmla="*/ 86 w 86"/>
              <a:gd name="T77" fmla="*/ 38 h 101"/>
              <a:gd name="T78" fmla="*/ 85 w 86"/>
              <a:gd name="T79" fmla="*/ 28 h 101"/>
              <a:gd name="T80" fmla="*/ 82 w 86"/>
              <a:gd name="T81" fmla="*/ 23 h 101"/>
              <a:gd name="T82" fmla="*/ 79 w 86"/>
              <a:gd name="T83" fmla="*/ 21 h 101"/>
              <a:gd name="T84" fmla="*/ 77 w 86"/>
              <a:gd name="T85" fmla="*/ 17 h 101"/>
              <a:gd name="T86" fmla="*/ 74 w 86"/>
              <a:gd name="T87" fmla="*/ 8 h 101"/>
              <a:gd name="T88" fmla="*/ 74 w 86"/>
              <a:gd name="T89" fmla="*/ 4 h 101"/>
              <a:gd name="T90" fmla="*/ 69 w 86"/>
              <a:gd name="T91" fmla="*/ 3 h 101"/>
              <a:gd name="T92" fmla="*/ 68 w 86"/>
              <a:gd name="T93" fmla="*/ 2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86" h="101">
                <a:moveTo>
                  <a:pt x="68" y="2"/>
                </a:moveTo>
                <a:lnTo>
                  <a:pt x="68" y="0"/>
                </a:lnTo>
                <a:lnTo>
                  <a:pt x="68" y="1"/>
                </a:lnTo>
                <a:lnTo>
                  <a:pt x="60" y="7"/>
                </a:lnTo>
                <a:lnTo>
                  <a:pt x="55" y="8"/>
                </a:lnTo>
                <a:lnTo>
                  <a:pt x="50" y="7"/>
                </a:lnTo>
                <a:lnTo>
                  <a:pt x="47" y="9"/>
                </a:lnTo>
                <a:lnTo>
                  <a:pt x="43" y="9"/>
                </a:lnTo>
                <a:lnTo>
                  <a:pt x="37" y="10"/>
                </a:lnTo>
                <a:lnTo>
                  <a:pt x="36" y="8"/>
                </a:lnTo>
                <a:lnTo>
                  <a:pt x="31" y="8"/>
                </a:lnTo>
                <a:lnTo>
                  <a:pt x="29" y="9"/>
                </a:lnTo>
                <a:lnTo>
                  <a:pt x="26" y="8"/>
                </a:lnTo>
                <a:lnTo>
                  <a:pt x="21" y="8"/>
                </a:lnTo>
                <a:lnTo>
                  <a:pt x="20" y="10"/>
                </a:lnTo>
                <a:lnTo>
                  <a:pt x="20" y="11"/>
                </a:lnTo>
                <a:lnTo>
                  <a:pt x="19" y="14"/>
                </a:lnTo>
                <a:lnTo>
                  <a:pt x="18" y="20"/>
                </a:lnTo>
                <a:lnTo>
                  <a:pt x="18" y="28"/>
                </a:lnTo>
                <a:lnTo>
                  <a:pt x="19" y="30"/>
                </a:lnTo>
                <a:lnTo>
                  <a:pt x="20" y="32"/>
                </a:lnTo>
                <a:lnTo>
                  <a:pt x="23" y="33"/>
                </a:lnTo>
                <a:lnTo>
                  <a:pt x="25" y="34"/>
                </a:lnTo>
                <a:lnTo>
                  <a:pt x="26" y="35"/>
                </a:lnTo>
                <a:lnTo>
                  <a:pt x="26" y="38"/>
                </a:lnTo>
                <a:lnTo>
                  <a:pt x="25" y="41"/>
                </a:lnTo>
                <a:lnTo>
                  <a:pt x="23" y="43"/>
                </a:lnTo>
                <a:lnTo>
                  <a:pt x="20" y="45"/>
                </a:lnTo>
                <a:lnTo>
                  <a:pt x="17" y="48"/>
                </a:lnTo>
                <a:lnTo>
                  <a:pt x="16" y="50"/>
                </a:lnTo>
                <a:lnTo>
                  <a:pt x="15" y="51"/>
                </a:lnTo>
                <a:lnTo>
                  <a:pt x="14" y="53"/>
                </a:lnTo>
                <a:lnTo>
                  <a:pt x="10" y="58"/>
                </a:lnTo>
                <a:lnTo>
                  <a:pt x="7" y="62"/>
                </a:lnTo>
                <a:lnTo>
                  <a:pt x="6" y="64"/>
                </a:lnTo>
                <a:lnTo>
                  <a:pt x="4" y="68"/>
                </a:lnTo>
                <a:lnTo>
                  <a:pt x="1" y="78"/>
                </a:lnTo>
                <a:lnTo>
                  <a:pt x="1" y="83"/>
                </a:lnTo>
                <a:lnTo>
                  <a:pt x="0" y="92"/>
                </a:lnTo>
                <a:lnTo>
                  <a:pt x="0" y="99"/>
                </a:lnTo>
                <a:lnTo>
                  <a:pt x="3" y="100"/>
                </a:lnTo>
                <a:lnTo>
                  <a:pt x="4" y="101"/>
                </a:lnTo>
                <a:lnTo>
                  <a:pt x="6" y="101"/>
                </a:lnTo>
                <a:lnTo>
                  <a:pt x="8" y="97"/>
                </a:lnTo>
                <a:lnTo>
                  <a:pt x="9" y="95"/>
                </a:lnTo>
                <a:lnTo>
                  <a:pt x="11" y="95"/>
                </a:lnTo>
                <a:lnTo>
                  <a:pt x="13" y="94"/>
                </a:lnTo>
                <a:lnTo>
                  <a:pt x="19" y="95"/>
                </a:lnTo>
                <a:lnTo>
                  <a:pt x="21" y="94"/>
                </a:lnTo>
                <a:lnTo>
                  <a:pt x="21" y="93"/>
                </a:lnTo>
                <a:lnTo>
                  <a:pt x="35" y="93"/>
                </a:lnTo>
                <a:lnTo>
                  <a:pt x="33" y="91"/>
                </a:lnTo>
                <a:lnTo>
                  <a:pt x="37" y="82"/>
                </a:lnTo>
                <a:lnTo>
                  <a:pt x="36" y="80"/>
                </a:lnTo>
                <a:lnTo>
                  <a:pt x="36" y="79"/>
                </a:lnTo>
                <a:lnTo>
                  <a:pt x="39" y="78"/>
                </a:lnTo>
                <a:lnTo>
                  <a:pt x="43" y="77"/>
                </a:lnTo>
                <a:lnTo>
                  <a:pt x="44" y="74"/>
                </a:lnTo>
                <a:lnTo>
                  <a:pt x="46" y="75"/>
                </a:lnTo>
                <a:lnTo>
                  <a:pt x="47" y="74"/>
                </a:lnTo>
                <a:lnTo>
                  <a:pt x="47" y="72"/>
                </a:lnTo>
                <a:lnTo>
                  <a:pt x="49" y="73"/>
                </a:lnTo>
                <a:lnTo>
                  <a:pt x="52" y="73"/>
                </a:lnTo>
                <a:lnTo>
                  <a:pt x="55" y="75"/>
                </a:lnTo>
                <a:lnTo>
                  <a:pt x="58" y="70"/>
                </a:lnTo>
                <a:lnTo>
                  <a:pt x="60" y="71"/>
                </a:lnTo>
                <a:lnTo>
                  <a:pt x="64" y="72"/>
                </a:lnTo>
                <a:lnTo>
                  <a:pt x="66" y="71"/>
                </a:lnTo>
                <a:lnTo>
                  <a:pt x="69" y="72"/>
                </a:lnTo>
                <a:lnTo>
                  <a:pt x="69" y="72"/>
                </a:lnTo>
                <a:lnTo>
                  <a:pt x="71" y="70"/>
                </a:lnTo>
                <a:lnTo>
                  <a:pt x="76" y="61"/>
                </a:lnTo>
                <a:lnTo>
                  <a:pt x="79" y="58"/>
                </a:lnTo>
                <a:lnTo>
                  <a:pt x="79" y="57"/>
                </a:lnTo>
                <a:lnTo>
                  <a:pt x="82" y="52"/>
                </a:lnTo>
                <a:lnTo>
                  <a:pt x="85" y="49"/>
                </a:lnTo>
                <a:lnTo>
                  <a:pt x="85" y="43"/>
                </a:lnTo>
                <a:lnTo>
                  <a:pt x="86" y="38"/>
                </a:lnTo>
                <a:lnTo>
                  <a:pt x="85" y="33"/>
                </a:lnTo>
                <a:lnTo>
                  <a:pt x="85" y="28"/>
                </a:lnTo>
                <a:lnTo>
                  <a:pt x="84" y="25"/>
                </a:lnTo>
                <a:lnTo>
                  <a:pt x="82" y="23"/>
                </a:lnTo>
                <a:lnTo>
                  <a:pt x="80" y="22"/>
                </a:lnTo>
                <a:lnTo>
                  <a:pt x="79" y="21"/>
                </a:lnTo>
                <a:lnTo>
                  <a:pt x="77" y="19"/>
                </a:lnTo>
                <a:lnTo>
                  <a:pt x="77" y="17"/>
                </a:lnTo>
                <a:lnTo>
                  <a:pt x="75" y="8"/>
                </a:lnTo>
                <a:lnTo>
                  <a:pt x="74" y="8"/>
                </a:lnTo>
                <a:lnTo>
                  <a:pt x="74" y="7"/>
                </a:lnTo>
                <a:lnTo>
                  <a:pt x="74" y="4"/>
                </a:lnTo>
                <a:lnTo>
                  <a:pt x="74" y="3"/>
                </a:lnTo>
                <a:lnTo>
                  <a:pt x="69" y="3"/>
                </a:lnTo>
                <a:lnTo>
                  <a:pt x="69" y="2"/>
                </a:lnTo>
                <a:lnTo>
                  <a:pt x="68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10" name="Freeform 309"/>
          <p:cNvSpPr>
            <a:spLocks/>
          </p:cNvSpPr>
          <p:nvPr/>
        </p:nvSpPr>
        <p:spPr bwMode="auto">
          <a:xfrm>
            <a:off x="5105400" y="3457541"/>
            <a:ext cx="136525" cy="160338"/>
          </a:xfrm>
          <a:custGeom>
            <a:avLst/>
            <a:gdLst>
              <a:gd name="T0" fmla="*/ 68 w 86"/>
              <a:gd name="T1" fmla="*/ 0 h 101"/>
              <a:gd name="T2" fmla="*/ 60 w 86"/>
              <a:gd name="T3" fmla="*/ 7 h 101"/>
              <a:gd name="T4" fmla="*/ 50 w 86"/>
              <a:gd name="T5" fmla="*/ 7 h 101"/>
              <a:gd name="T6" fmla="*/ 43 w 86"/>
              <a:gd name="T7" fmla="*/ 9 h 101"/>
              <a:gd name="T8" fmla="*/ 36 w 86"/>
              <a:gd name="T9" fmla="*/ 8 h 101"/>
              <a:gd name="T10" fmla="*/ 29 w 86"/>
              <a:gd name="T11" fmla="*/ 9 h 101"/>
              <a:gd name="T12" fmla="*/ 21 w 86"/>
              <a:gd name="T13" fmla="*/ 8 h 101"/>
              <a:gd name="T14" fmla="*/ 20 w 86"/>
              <a:gd name="T15" fmla="*/ 11 h 101"/>
              <a:gd name="T16" fmla="*/ 18 w 86"/>
              <a:gd name="T17" fmla="*/ 20 h 101"/>
              <a:gd name="T18" fmla="*/ 19 w 86"/>
              <a:gd name="T19" fmla="*/ 30 h 101"/>
              <a:gd name="T20" fmla="*/ 23 w 86"/>
              <a:gd name="T21" fmla="*/ 33 h 101"/>
              <a:gd name="T22" fmla="*/ 26 w 86"/>
              <a:gd name="T23" fmla="*/ 35 h 101"/>
              <a:gd name="T24" fmla="*/ 25 w 86"/>
              <a:gd name="T25" fmla="*/ 41 h 101"/>
              <a:gd name="T26" fmla="*/ 20 w 86"/>
              <a:gd name="T27" fmla="*/ 45 h 101"/>
              <a:gd name="T28" fmla="*/ 16 w 86"/>
              <a:gd name="T29" fmla="*/ 50 h 101"/>
              <a:gd name="T30" fmla="*/ 14 w 86"/>
              <a:gd name="T31" fmla="*/ 53 h 101"/>
              <a:gd name="T32" fmla="*/ 7 w 86"/>
              <a:gd name="T33" fmla="*/ 62 h 101"/>
              <a:gd name="T34" fmla="*/ 4 w 86"/>
              <a:gd name="T35" fmla="*/ 68 h 101"/>
              <a:gd name="T36" fmla="*/ 1 w 86"/>
              <a:gd name="T37" fmla="*/ 83 h 101"/>
              <a:gd name="T38" fmla="*/ 0 w 86"/>
              <a:gd name="T39" fmla="*/ 99 h 101"/>
              <a:gd name="T40" fmla="*/ 4 w 86"/>
              <a:gd name="T41" fmla="*/ 101 h 101"/>
              <a:gd name="T42" fmla="*/ 8 w 86"/>
              <a:gd name="T43" fmla="*/ 97 h 101"/>
              <a:gd name="T44" fmla="*/ 11 w 86"/>
              <a:gd name="T45" fmla="*/ 95 h 101"/>
              <a:gd name="T46" fmla="*/ 19 w 86"/>
              <a:gd name="T47" fmla="*/ 95 h 101"/>
              <a:gd name="T48" fmla="*/ 21 w 86"/>
              <a:gd name="T49" fmla="*/ 93 h 101"/>
              <a:gd name="T50" fmla="*/ 33 w 86"/>
              <a:gd name="T51" fmla="*/ 91 h 101"/>
              <a:gd name="T52" fmla="*/ 36 w 86"/>
              <a:gd name="T53" fmla="*/ 80 h 101"/>
              <a:gd name="T54" fmla="*/ 39 w 86"/>
              <a:gd name="T55" fmla="*/ 78 h 101"/>
              <a:gd name="T56" fmla="*/ 44 w 86"/>
              <a:gd name="T57" fmla="*/ 74 h 101"/>
              <a:gd name="T58" fmla="*/ 47 w 86"/>
              <a:gd name="T59" fmla="*/ 74 h 101"/>
              <a:gd name="T60" fmla="*/ 49 w 86"/>
              <a:gd name="T61" fmla="*/ 73 h 101"/>
              <a:gd name="T62" fmla="*/ 55 w 86"/>
              <a:gd name="T63" fmla="*/ 75 h 101"/>
              <a:gd name="T64" fmla="*/ 60 w 86"/>
              <a:gd name="T65" fmla="*/ 71 h 101"/>
              <a:gd name="T66" fmla="*/ 66 w 86"/>
              <a:gd name="T67" fmla="*/ 71 h 101"/>
              <a:gd name="T68" fmla="*/ 69 w 86"/>
              <a:gd name="T69" fmla="*/ 72 h 101"/>
              <a:gd name="T70" fmla="*/ 76 w 86"/>
              <a:gd name="T71" fmla="*/ 61 h 101"/>
              <a:gd name="T72" fmla="*/ 79 w 86"/>
              <a:gd name="T73" fmla="*/ 57 h 101"/>
              <a:gd name="T74" fmla="*/ 85 w 86"/>
              <a:gd name="T75" fmla="*/ 49 h 101"/>
              <a:gd name="T76" fmla="*/ 86 w 86"/>
              <a:gd name="T77" fmla="*/ 38 h 101"/>
              <a:gd name="T78" fmla="*/ 85 w 86"/>
              <a:gd name="T79" fmla="*/ 28 h 101"/>
              <a:gd name="T80" fmla="*/ 82 w 86"/>
              <a:gd name="T81" fmla="*/ 23 h 101"/>
              <a:gd name="T82" fmla="*/ 79 w 86"/>
              <a:gd name="T83" fmla="*/ 21 h 101"/>
              <a:gd name="T84" fmla="*/ 77 w 86"/>
              <a:gd name="T85" fmla="*/ 17 h 101"/>
              <a:gd name="T86" fmla="*/ 74 w 86"/>
              <a:gd name="T87" fmla="*/ 8 h 101"/>
              <a:gd name="T88" fmla="*/ 74 w 86"/>
              <a:gd name="T89" fmla="*/ 4 h 101"/>
              <a:gd name="T90" fmla="*/ 69 w 86"/>
              <a:gd name="T91" fmla="*/ 3 h 101"/>
              <a:gd name="T92" fmla="*/ 68 w 86"/>
              <a:gd name="T93" fmla="*/ 2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86" h="101">
                <a:moveTo>
                  <a:pt x="68" y="2"/>
                </a:moveTo>
                <a:lnTo>
                  <a:pt x="68" y="0"/>
                </a:lnTo>
                <a:lnTo>
                  <a:pt x="68" y="1"/>
                </a:lnTo>
                <a:lnTo>
                  <a:pt x="60" y="7"/>
                </a:lnTo>
                <a:lnTo>
                  <a:pt x="55" y="8"/>
                </a:lnTo>
                <a:lnTo>
                  <a:pt x="50" y="7"/>
                </a:lnTo>
                <a:lnTo>
                  <a:pt x="47" y="9"/>
                </a:lnTo>
                <a:lnTo>
                  <a:pt x="43" y="9"/>
                </a:lnTo>
                <a:lnTo>
                  <a:pt x="37" y="10"/>
                </a:lnTo>
                <a:lnTo>
                  <a:pt x="36" y="8"/>
                </a:lnTo>
                <a:lnTo>
                  <a:pt x="31" y="8"/>
                </a:lnTo>
                <a:lnTo>
                  <a:pt x="29" y="9"/>
                </a:lnTo>
                <a:lnTo>
                  <a:pt x="26" y="8"/>
                </a:lnTo>
                <a:lnTo>
                  <a:pt x="21" y="8"/>
                </a:lnTo>
                <a:lnTo>
                  <a:pt x="20" y="10"/>
                </a:lnTo>
                <a:lnTo>
                  <a:pt x="20" y="11"/>
                </a:lnTo>
                <a:lnTo>
                  <a:pt x="19" y="14"/>
                </a:lnTo>
                <a:lnTo>
                  <a:pt x="18" y="20"/>
                </a:lnTo>
                <a:lnTo>
                  <a:pt x="18" y="28"/>
                </a:lnTo>
                <a:lnTo>
                  <a:pt x="19" y="30"/>
                </a:lnTo>
                <a:lnTo>
                  <a:pt x="20" y="32"/>
                </a:lnTo>
                <a:lnTo>
                  <a:pt x="23" y="33"/>
                </a:lnTo>
                <a:lnTo>
                  <a:pt x="25" y="34"/>
                </a:lnTo>
                <a:lnTo>
                  <a:pt x="26" y="35"/>
                </a:lnTo>
                <a:lnTo>
                  <a:pt x="26" y="38"/>
                </a:lnTo>
                <a:lnTo>
                  <a:pt x="25" y="41"/>
                </a:lnTo>
                <a:lnTo>
                  <a:pt x="23" y="43"/>
                </a:lnTo>
                <a:lnTo>
                  <a:pt x="20" y="45"/>
                </a:lnTo>
                <a:lnTo>
                  <a:pt x="17" y="48"/>
                </a:lnTo>
                <a:lnTo>
                  <a:pt x="16" y="50"/>
                </a:lnTo>
                <a:lnTo>
                  <a:pt x="15" y="51"/>
                </a:lnTo>
                <a:lnTo>
                  <a:pt x="14" y="53"/>
                </a:lnTo>
                <a:lnTo>
                  <a:pt x="10" y="58"/>
                </a:lnTo>
                <a:lnTo>
                  <a:pt x="7" y="62"/>
                </a:lnTo>
                <a:lnTo>
                  <a:pt x="6" y="64"/>
                </a:lnTo>
                <a:lnTo>
                  <a:pt x="4" y="68"/>
                </a:lnTo>
                <a:lnTo>
                  <a:pt x="1" y="78"/>
                </a:lnTo>
                <a:lnTo>
                  <a:pt x="1" y="83"/>
                </a:lnTo>
                <a:lnTo>
                  <a:pt x="0" y="92"/>
                </a:lnTo>
                <a:lnTo>
                  <a:pt x="0" y="99"/>
                </a:lnTo>
                <a:lnTo>
                  <a:pt x="3" y="100"/>
                </a:lnTo>
                <a:lnTo>
                  <a:pt x="4" y="101"/>
                </a:lnTo>
                <a:lnTo>
                  <a:pt x="6" y="101"/>
                </a:lnTo>
                <a:lnTo>
                  <a:pt x="8" y="97"/>
                </a:lnTo>
                <a:lnTo>
                  <a:pt x="9" y="95"/>
                </a:lnTo>
                <a:lnTo>
                  <a:pt x="11" y="95"/>
                </a:lnTo>
                <a:lnTo>
                  <a:pt x="13" y="94"/>
                </a:lnTo>
                <a:lnTo>
                  <a:pt x="19" y="95"/>
                </a:lnTo>
                <a:lnTo>
                  <a:pt x="21" y="94"/>
                </a:lnTo>
                <a:lnTo>
                  <a:pt x="21" y="93"/>
                </a:lnTo>
                <a:lnTo>
                  <a:pt x="35" y="93"/>
                </a:lnTo>
                <a:lnTo>
                  <a:pt x="33" y="91"/>
                </a:lnTo>
                <a:lnTo>
                  <a:pt x="37" y="82"/>
                </a:lnTo>
                <a:lnTo>
                  <a:pt x="36" y="80"/>
                </a:lnTo>
                <a:lnTo>
                  <a:pt x="36" y="79"/>
                </a:lnTo>
                <a:lnTo>
                  <a:pt x="39" y="78"/>
                </a:lnTo>
                <a:lnTo>
                  <a:pt x="43" y="77"/>
                </a:lnTo>
                <a:lnTo>
                  <a:pt x="44" y="74"/>
                </a:lnTo>
                <a:lnTo>
                  <a:pt x="46" y="75"/>
                </a:lnTo>
                <a:lnTo>
                  <a:pt x="47" y="74"/>
                </a:lnTo>
                <a:lnTo>
                  <a:pt x="47" y="72"/>
                </a:lnTo>
                <a:lnTo>
                  <a:pt x="49" y="73"/>
                </a:lnTo>
                <a:lnTo>
                  <a:pt x="52" y="73"/>
                </a:lnTo>
                <a:lnTo>
                  <a:pt x="55" y="75"/>
                </a:lnTo>
                <a:lnTo>
                  <a:pt x="58" y="70"/>
                </a:lnTo>
                <a:lnTo>
                  <a:pt x="60" y="71"/>
                </a:lnTo>
                <a:lnTo>
                  <a:pt x="64" y="72"/>
                </a:lnTo>
                <a:lnTo>
                  <a:pt x="66" y="71"/>
                </a:lnTo>
                <a:lnTo>
                  <a:pt x="69" y="72"/>
                </a:lnTo>
                <a:lnTo>
                  <a:pt x="69" y="72"/>
                </a:lnTo>
                <a:lnTo>
                  <a:pt x="71" y="70"/>
                </a:lnTo>
                <a:lnTo>
                  <a:pt x="76" y="61"/>
                </a:lnTo>
                <a:lnTo>
                  <a:pt x="79" y="58"/>
                </a:lnTo>
                <a:lnTo>
                  <a:pt x="79" y="57"/>
                </a:lnTo>
                <a:lnTo>
                  <a:pt x="82" y="52"/>
                </a:lnTo>
                <a:lnTo>
                  <a:pt x="85" y="49"/>
                </a:lnTo>
                <a:lnTo>
                  <a:pt x="85" y="43"/>
                </a:lnTo>
                <a:lnTo>
                  <a:pt x="86" y="38"/>
                </a:lnTo>
                <a:lnTo>
                  <a:pt x="85" y="33"/>
                </a:lnTo>
                <a:lnTo>
                  <a:pt x="85" y="28"/>
                </a:lnTo>
                <a:lnTo>
                  <a:pt x="84" y="25"/>
                </a:lnTo>
                <a:lnTo>
                  <a:pt x="82" y="23"/>
                </a:lnTo>
                <a:lnTo>
                  <a:pt x="80" y="22"/>
                </a:lnTo>
                <a:lnTo>
                  <a:pt x="79" y="21"/>
                </a:lnTo>
                <a:lnTo>
                  <a:pt x="77" y="19"/>
                </a:lnTo>
                <a:lnTo>
                  <a:pt x="77" y="17"/>
                </a:lnTo>
                <a:lnTo>
                  <a:pt x="75" y="8"/>
                </a:lnTo>
                <a:lnTo>
                  <a:pt x="74" y="8"/>
                </a:lnTo>
                <a:lnTo>
                  <a:pt x="74" y="7"/>
                </a:lnTo>
                <a:lnTo>
                  <a:pt x="74" y="4"/>
                </a:lnTo>
                <a:lnTo>
                  <a:pt x="74" y="3"/>
                </a:lnTo>
                <a:lnTo>
                  <a:pt x="69" y="3"/>
                </a:lnTo>
                <a:lnTo>
                  <a:pt x="69" y="2"/>
                </a:lnTo>
                <a:lnTo>
                  <a:pt x="68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11" name="Freeform 310"/>
          <p:cNvSpPr>
            <a:spLocks/>
          </p:cNvSpPr>
          <p:nvPr/>
        </p:nvSpPr>
        <p:spPr bwMode="auto">
          <a:xfrm>
            <a:off x="1093788" y="1579528"/>
            <a:ext cx="52387" cy="15875"/>
          </a:xfrm>
          <a:custGeom>
            <a:avLst/>
            <a:gdLst>
              <a:gd name="T0" fmla="*/ 14 w 33"/>
              <a:gd name="T1" fmla="*/ 0 h 10"/>
              <a:gd name="T2" fmla="*/ 15 w 33"/>
              <a:gd name="T3" fmla="*/ 0 h 10"/>
              <a:gd name="T4" fmla="*/ 19 w 33"/>
              <a:gd name="T5" fmla="*/ 0 h 10"/>
              <a:gd name="T6" fmla="*/ 20 w 33"/>
              <a:gd name="T7" fmla="*/ 0 h 10"/>
              <a:gd name="T8" fmla="*/ 23 w 33"/>
              <a:gd name="T9" fmla="*/ 0 h 10"/>
              <a:gd name="T10" fmla="*/ 24 w 33"/>
              <a:gd name="T11" fmla="*/ 0 h 10"/>
              <a:gd name="T12" fmla="*/ 25 w 33"/>
              <a:gd name="T13" fmla="*/ 0 h 10"/>
              <a:gd name="T14" fmla="*/ 29 w 33"/>
              <a:gd name="T15" fmla="*/ 1 h 10"/>
              <a:gd name="T16" fmla="*/ 33 w 33"/>
              <a:gd name="T17" fmla="*/ 1 h 10"/>
              <a:gd name="T18" fmla="*/ 33 w 33"/>
              <a:gd name="T19" fmla="*/ 2 h 10"/>
              <a:gd name="T20" fmla="*/ 32 w 33"/>
              <a:gd name="T21" fmla="*/ 2 h 10"/>
              <a:gd name="T22" fmla="*/ 31 w 33"/>
              <a:gd name="T23" fmla="*/ 2 h 10"/>
              <a:gd name="T24" fmla="*/ 33 w 33"/>
              <a:gd name="T25" fmla="*/ 4 h 10"/>
              <a:gd name="T26" fmla="*/ 32 w 33"/>
              <a:gd name="T27" fmla="*/ 5 h 10"/>
              <a:gd name="T28" fmla="*/ 30 w 33"/>
              <a:gd name="T29" fmla="*/ 6 h 10"/>
              <a:gd name="T30" fmla="*/ 24 w 33"/>
              <a:gd name="T31" fmla="*/ 8 h 10"/>
              <a:gd name="T32" fmla="*/ 11 w 33"/>
              <a:gd name="T33" fmla="*/ 9 h 10"/>
              <a:gd name="T34" fmla="*/ 9 w 33"/>
              <a:gd name="T35" fmla="*/ 10 h 10"/>
              <a:gd name="T36" fmla="*/ 4 w 33"/>
              <a:gd name="T37" fmla="*/ 9 h 10"/>
              <a:gd name="T38" fmla="*/ 4 w 33"/>
              <a:gd name="T39" fmla="*/ 9 h 10"/>
              <a:gd name="T40" fmla="*/ 0 w 33"/>
              <a:gd name="T41" fmla="*/ 9 h 10"/>
              <a:gd name="T42" fmla="*/ 14 w 33"/>
              <a:gd name="T43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3" h="10">
                <a:moveTo>
                  <a:pt x="14" y="0"/>
                </a:moveTo>
                <a:lnTo>
                  <a:pt x="15" y="0"/>
                </a:lnTo>
                <a:lnTo>
                  <a:pt x="19" y="0"/>
                </a:lnTo>
                <a:lnTo>
                  <a:pt x="20" y="0"/>
                </a:lnTo>
                <a:lnTo>
                  <a:pt x="23" y="0"/>
                </a:lnTo>
                <a:lnTo>
                  <a:pt x="24" y="0"/>
                </a:lnTo>
                <a:lnTo>
                  <a:pt x="25" y="0"/>
                </a:lnTo>
                <a:lnTo>
                  <a:pt x="29" y="1"/>
                </a:lnTo>
                <a:lnTo>
                  <a:pt x="33" y="1"/>
                </a:lnTo>
                <a:lnTo>
                  <a:pt x="33" y="2"/>
                </a:lnTo>
                <a:lnTo>
                  <a:pt x="32" y="2"/>
                </a:lnTo>
                <a:lnTo>
                  <a:pt x="31" y="2"/>
                </a:lnTo>
                <a:lnTo>
                  <a:pt x="33" y="4"/>
                </a:lnTo>
                <a:lnTo>
                  <a:pt x="32" y="5"/>
                </a:lnTo>
                <a:lnTo>
                  <a:pt x="30" y="6"/>
                </a:lnTo>
                <a:lnTo>
                  <a:pt x="24" y="8"/>
                </a:lnTo>
                <a:lnTo>
                  <a:pt x="11" y="9"/>
                </a:lnTo>
                <a:lnTo>
                  <a:pt x="9" y="10"/>
                </a:lnTo>
                <a:lnTo>
                  <a:pt x="4" y="9"/>
                </a:lnTo>
                <a:lnTo>
                  <a:pt x="4" y="9"/>
                </a:lnTo>
                <a:lnTo>
                  <a:pt x="0" y="9"/>
                </a:lnTo>
                <a:lnTo>
                  <a:pt x="14" y="0"/>
                </a:lnTo>
                <a:close/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12" name="Freeform 311"/>
          <p:cNvSpPr>
            <a:spLocks/>
          </p:cNvSpPr>
          <p:nvPr/>
        </p:nvSpPr>
        <p:spPr bwMode="auto">
          <a:xfrm>
            <a:off x="7572375" y="1579528"/>
            <a:ext cx="31750" cy="17463"/>
          </a:xfrm>
          <a:custGeom>
            <a:avLst/>
            <a:gdLst>
              <a:gd name="T0" fmla="*/ 20 w 20"/>
              <a:gd name="T1" fmla="*/ 9 h 11"/>
              <a:gd name="T2" fmla="*/ 19 w 20"/>
              <a:gd name="T3" fmla="*/ 8 h 11"/>
              <a:gd name="T4" fmla="*/ 18 w 20"/>
              <a:gd name="T5" fmla="*/ 9 h 11"/>
              <a:gd name="T6" fmla="*/ 18 w 20"/>
              <a:gd name="T7" fmla="*/ 9 h 11"/>
              <a:gd name="T8" fmla="*/ 19 w 20"/>
              <a:gd name="T9" fmla="*/ 10 h 11"/>
              <a:gd name="T10" fmla="*/ 14 w 20"/>
              <a:gd name="T11" fmla="*/ 10 h 11"/>
              <a:gd name="T12" fmla="*/ 13 w 20"/>
              <a:gd name="T13" fmla="*/ 10 h 11"/>
              <a:gd name="T14" fmla="*/ 10 w 20"/>
              <a:gd name="T15" fmla="*/ 11 h 11"/>
              <a:gd name="T16" fmla="*/ 9 w 20"/>
              <a:gd name="T17" fmla="*/ 10 h 11"/>
              <a:gd name="T18" fmla="*/ 3 w 20"/>
              <a:gd name="T19" fmla="*/ 9 h 11"/>
              <a:gd name="T20" fmla="*/ 1 w 20"/>
              <a:gd name="T21" fmla="*/ 8 h 11"/>
              <a:gd name="T22" fmla="*/ 0 w 20"/>
              <a:gd name="T23" fmla="*/ 6 h 11"/>
              <a:gd name="T24" fmla="*/ 1 w 20"/>
              <a:gd name="T25" fmla="*/ 5 h 11"/>
              <a:gd name="T26" fmla="*/ 0 w 20"/>
              <a:gd name="T27" fmla="*/ 4 h 11"/>
              <a:gd name="T28" fmla="*/ 2 w 20"/>
              <a:gd name="T29" fmla="*/ 3 h 11"/>
              <a:gd name="T30" fmla="*/ 1 w 20"/>
              <a:gd name="T31" fmla="*/ 2 h 11"/>
              <a:gd name="T32" fmla="*/ 2 w 20"/>
              <a:gd name="T33" fmla="*/ 1 h 11"/>
              <a:gd name="T34" fmla="*/ 3 w 20"/>
              <a:gd name="T35" fmla="*/ 1 h 11"/>
              <a:gd name="T36" fmla="*/ 3 w 20"/>
              <a:gd name="T37" fmla="*/ 0 h 11"/>
              <a:gd name="T38" fmla="*/ 5 w 20"/>
              <a:gd name="T39" fmla="*/ 0 h 11"/>
              <a:gd name="T40" fmla="*/ 20 w 20"/>
              <a:gd name="T41" fmla="*/ 9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0" h="11">
                <a:moveTo>
                  <a:pt x="20" y="9"/>
                </a:moveTo>
                <a:lnTo>
                  <a:pt x="19" y="8"/>
                </a:lnTo>
                <a:lnTo>
                  <a:pt x="18" y="9"/>
                </a:lnTo>
                <a:lnTo>
                  <a:pt x="18" y="9"/>
                </a:lnTo>
                <a:lnTo>
                  <a:pt x="19" y="10"/>
                </a:lnTo>
                <a:lnTo>
                  <a:pt x="14" y="10"/>
                </a:lnTo>
                <a:lnTo>
                  <a:pt x="13" y="10"/>
                </a:lnTo>
                <a:lnTo>
                  <a:pt x="10" y="11"/>
                </a:lnTo>
                <a:lnTo>
                  <a:pt x="9" y="10"/>
                </a:lnTo>
                <a:lnTo>
                  <a:pt x="3" y="9"/>
                </a:lnTo>
                <a:lnTo>
                  <a:pt x="1" y="8"/>
                </a:lnTo>
                <a:lnTo>
                  <a:pt x="0" y="6"/>
                </a:lnTo>
                <a:lnTo>
                  <a:pt x="1" y="5"/>
                </a:lnTo>
                <a:lnTo>
                  <a:pt x="0" y="4"/>
                </a:lnTo>
                <a:lnTo>
                  <a:pt x="2" y="3"/>
                </a:lnTo>
                <a:lnTo>
                  <a:pt x="1" y="2"/>
                </a:lnTo>
                <a:lnTo>
                  <a:pt x="2" y="1"/>
                </a:lnTo>
                <a:lnTo>
                  <a:pt x="3" y="1"/>
                </a:lnTo>
                <a:lnTo>
                  <a:pt x="3" y="0"/>
                </a:lnTo>
                <a:lnTo>
                  <a:pt x="5" y="0"/>
                </a:lnTo>
                <a:lnTo>
                  <a:pt x="20" y="9"/>
                </a:lnTo>
                <a:close/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13" name="Freeform 312"/>
          <p:cNvSpPr>
            <a:spLocks/>
          </p:cNvSpPr>
          <p:nvPr/>
        </p:nvSpPr>
        <p:spPr bwMode="auto">
          <a:xfrm>
            <a:off x="3616325" y="1344578"/>
            <a:ext cx="41275" cy="11113"/>
          </a:xfrm>
          <a:custGeom>
            <a:avLst/>
            <a:gdLst>
              <a:gd name="T0" fmla="*/ 0 w 26"/>
              <a:gd name="T1" fmla="*/ 0 h 7"/>
              <a:gd name="T2" fmla="*/ 5 w 26"/>
              <a:gd name="T3" fmla="*/ 0 h 7"/>
              <a:gd name="T4" fmla="*/ 7 w 26"/>
              <a:gd name="T5" fmla="*/ 0 h 7"/>
              <a:gd name="T6" fmla="*/ 9 w 26"/>
              <a:gd name="T7" fmla="*/ 0 h 7"/>
              <a:gd name="T8" fmla="*/ 14 w 26"/>
              <a:gd name="T9" fmla="*/ 0 h 7"/>
              <a:gd name="T10" fmla="*/ 23 w 26"/>
              <a:gd name="T11" fmla="*/ 1 h 7"/>
              <a:gd name="T12" fmla="*/ 23 w 26"/>
              <a:gd name="T13" fmla="*/ 2 h 7"/>
              <a:gd name="T14" fmla="*/ 24 w 26"/>
              <a:gd name="T15" fmla="*/ 2 h 7"/>
              <a:gd name="T16" fmla="*/ 26 w 26"/>
              <a:gd name="T17" fmla="*/ 2 h 7"/>
              <a:gd name="T18" fmla="*/ 26 w 26"/>
              <a:gd name="T19" fmla="*/ 4 h 7"/>
              <a:gd name="T20" fmla="*/ 26 w 26"/>
              <a:gd name="T21" fmla="*/ 4 h 7"/>
              <a:gd name="T22" fmla="*/ 22 w 26"/>
              <a:gd name="T23" fmla="*/ 5 h 7"/>
              <a:gd name="T24" fmla="*/ 20 w 26"/>
              <a:gd name="T25" fmla="*/ 5 h 7"/>
              <a:gd name="T26" fmla="*/ 20 w 26"/>
              <a:gd name="T27" fmla="*/ 6 h 7"/>
              <a:gd name="T28" fmla="*/ 22 w 26"/>
              <a:gd name="T29" fmla="*/ 7 h 7"/>
              <a:gd name="T30" fmla="*/ 22 w 26"/>
              <a:gd name="T31" fmla="*/ 7 h 7"/>
              <a:gd name="T32" fmla="*/ 20 w 26"/>
              <a:gd name="T33" fmla="*/ 7 h 7"/>
              <a:gd name="T34" fmla="*/ 18 w 26"/>
              <a:gd name="T35" fmla="*/ 7 h 7"/>
              <a:gd name="T36" fmla="*/ 17 w 26"/>
              <a:gd name="T37" fmla="*/ 6 h 7"/>
              <a:gd name="T38" fmla="*/ 16 w 26"/>
              <a:gd name="T39" fmla="*/ 6 h 7"/>
              <a:gd name="T40" fmla="*/ 9 w 26"/>
              <a:gd name="T41" fmla="*/ 5 h 7"/>
              <a:gd name="T42" fmla="*/ 4 w 26"/>
              <a:gd name="T43" fmla="*/ 4 h 7"/>
              <a:gd name="T44" fmla="*/ 3 w 26"/>
              <a:gd name="T45" fmla="*/ 2 h 7"/>
              <a:gd name="T46" fmla="*/ 3 w 26"/>
              <a:gd name="T47" fmla="*/ 2 h 7"/>
              <a:gd name="T48" fmla="*/ 1 w 26"/>
              <a:gd name="T49" fmla="*/ 1 h 7"/>
              <a:gd name="T50" fmla="*/ 0 w 26"/>
              <a:gd name="T51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6" h="7">
                <a:moveTo>
                  <a:pt x="0" y="0"/>
                </a:moveTo>
                <a:lnTo>
                  <a:pt x="5" y="0"/>
                </a:lnTo>
                <a:lnTo>
                  <a:pt x="7" y="0"/>
                </a:lnTo>
                <a:lnTo>
                  <a:pt x="9" y="0"/>
                </a:lnTo>
                <a:lnTo>
                  <a:pt x="14" y="0"/>
                </a:lnTo>
                <a:lnTo>
                  <a:pt x="23" y="1"/>
                </a:lnTo>
                <a:lnTo>
                  <a:pt x="23" y="2"/>
                </a:lnTo>
                <a:lnTo>
                  <a:pt x="24" y="2"/>
                </a:lnTo>
                <a:lnTo>
                  <a:pt x="26" y="2"/>
                </a:lnTo>
                <a:lnTo>
                  <a:pt x="26" y="4"/>
                </a:lnTo>
                <a:lnTo>
                  <a:pt x="26" y="4"/>
                </a:lnTo>
                <a:lnTo>
                  <a:pt x="22" y="5"/>
                </a:lnTo>
                <a:lnTo>
                  <a:pt x="20" y="5"/>
                </a:lnTo>
                <a:lnTo>
                  <a:pt x="20" y="6"/>
                </a:lnTo>
                <a:lnTo>
                  <a:pt x="22" y="7"/>
                </a:lnTo>
                <a:lnTo>
                  <a:pt x="22" y="7"/>
                </a:lnTo>
                <a:lnTo>
                  <a:pt x="20" y="7"/>
                </a:lnTo>
                <a:lnTo>
                  <a:pt x="18" y="7"/>
                </a:lnTo>
                <a:lnTo>
                  <a:pt x="17" y="6"/>
                </a:lnTo>
                <a:lnTo>
                  <a:pt x="16" y="6"/>
                </a:lnTo>
                <a:lnTo>
                  <a:pt x="9" y="5"/>
                </a:lnTo>
                <a:lnTo>
                  <a:pt x="4" y="4"/>
                </a:lnTo>
                <a:lnTo>
                  <a:pt x="3" y="2"/>
                </a:lnTo>
                <a:lnTo>
                  <a:pt x="3" y="2"/>
                </a:lnTo>
                <a:lnTo>
                  <a:pt x="1" y="1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14" name="Freeform 313"/>
          <p:cNvSpPr>
            <a:spLocks/>
          </p:cNvSpPr>
          <p:nvPr/>
        </p:nvSpPr>
        <p:spPr bwMode="auto">
          <a:xfrm>
            <a:off x="3616325" y="1344578"/>
            <a:ext cx="41275" cy="11113"/>
          </a:xfrm>
          <a:custGeom>
            <a:avLst/>
            <a:gdLst>
              <a:gd name="T0" fmla="*/ 0 w 26"/>
              <a:gd name="T1" fmla="*/ 0 h 7"/>
              <a:gd name="T2" fmla="*/ 5 w 26"/>
              <a:gd name="T3" fmla="*/ 0 h 7"/>
              <a:gd name="T4" fmla="*/ 7 w 26"/>
              <a:gd name="T5" fmla="*/ 0 h 7"/>
              <a:gd name="T6" fmla="*/ 9 w 26"/>
              <a:gd name="T7" fmla="*/ 0 h 7"/>
              <a:gd name="T8" fmla="*/ 14 w 26"/>
              <a:gd name="T9" fmla="*/ 0 h 7"/>
              <a:gd name="T10" fmla="*/ 23 w 26"/>
              <a:gd name="T11" fmla="*/ 1 h 7"/>
              <a:gd name="T12" fmla="*/ 23 w 26"/>
              <a:gd name="T13" fmla="*/ 2 h 7"/>
              <a:gd name="T14" fmla="*/ 24 w 26"/>
              <a:gd name="T15" fmla="*/ 2 h 7"/>
              <a:gd name="T16" fmla="*/ 26 w 26"/>
              <a:gd name="T17" fmla="*/ 2 h 7"/>
              <a:gd name="T18" fmla="*/ 26 w 26"/>
              <a:gd name="T19" fmla="*/ 4 h 7"/>
              <a:gd name="T20" fmla="*/ 26 w 26"/>
              <a:gd name="T21" fmla="*/ 4 h 7"/>
              <a:gd name="T22" fmla="*/ 22 w 26"/>
              <a:gd name="T23" fmla="*/ 5 h 7"/>
              <a:gd name="T24" fmla="*/ 20 w 26"/>
              <a:gd name="T25" fmla="*/ 5 h 7"/>
              <a:gd name="T26" fmla="*/ 20 w 26"/>
              <a:gd name="T27" fmla="*/ 6 h 7"/>
              <a:gd name="T28" fmla="*/ 22 w 26"/>
              <a:gd name="T29" fmla="*/ 7 h 7"/>
              <a:gd name="T30" fmla="*/ 22 w 26"/>
              <a:gd name="T31" fmla="*/ 7 h 7"/>
              <a:gd name="T32" fmla="*/ 20 w 26"/>
              <a:gd name="T33" fmla="*/ 7 h 7"/>
              <a:gd name="T34" fmla="*/ 18 w 26"/>
              <a:gd name="T35" fmla="*/ 7 h 7"/>
              <a:gd name="T36" fmla="*/ 17 w 26"/>
              <a:gd name="T37" fmla="*/ 6 h 7"/>
              <a:gd name="T38" fmla="*/ 16 w 26"/>
              <a:gd name="T39" fmla="*/ 6 h 7"/>
              <a:gd name="T40" fmla="*/ 9 w 26"/>
              <a:gd name="T41" fmla="*/ 5 h 7"/>
              <a:gd name="T42" fmla="*/ 4 w 26"/>
              <a:gd name="T43" fmla="*/ 4 h 7"/>
              <a:gd name="T44" fmla="*/ 3 w 26"/>
              <a:gd name="T45" fmla="*/ 2 h 7"/>
              <a:gd name="T46" fmla="*/ 3 w 26"/>
              <a:gd name="T47" fmla="*/ 2 h 7"/>
              <a:gd name="T48" fmla="*/ 1 w 26"/>
              <a:gd name="T49" fmla="*/ 1 h 7"/>
              <a:gd name="T50" fmla="*/ 0 w 26"/>
              <a:gd name="T51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6" h="7">
                <a:moveTo>
                  <a:pt x="0" y="0"/>
                </a:moveTo>
                <a:lnTo>
                  <a:pt x="5" y="0"/>
                </a:lnTo>
                <a:lnTo>
                  <a:pt x="7" y="0"/>
                </a:lnTo>
                <a:lnTo>
                  <a:pt x="9" y="0"/>
                </a:lnTo>
                <a:lnTo>
                  <a:pt x="14" y="0"/>
                </a:lnTo>
                <a:lnTo>
                  <a:pt x="23" y="1"/>
                </a:lnTo>
                <a:lnTo>
                  <a:pt x="23" y="2"/>
                </a:lnTo>
                <a:lnTo>
                  <a:pt x="24" y="2"/>
                </a:lnTo>
                <a:lnTo>
                  <a:pt x="26" y="2"/>
                </a:lnTo>
                <a:lnTo>
                  <a:pt x="26" y="4"/>
                </a:lnTo>
                <a:lnTo>
                  <a:pt x="26" y="4"/>
                </a:lnTo>
                <a:lnTo>
                  <a:pt x="22" y="5"/>
                </a:lnTo>
                <a:lnTo>
                  <a:pt x="20" y="5"/>
                </a:lnTo>
                <a:lnTo>
                  <a:pt x="20" y="6"/>
                </a:lnTo>
                <a:lnTo>
                  <a:pt x="22" y="7"/>
                </a:lnTo>
                <a:lnTo>
                  <a:pt x="22" y="7"/>
                </a:lnTo>
                <a:lnTo>
                  <a:pt x="20" y="7"/>
                </a:lnTo>
                <a:lnTo>
                  <a:pt x="18" y="7"/>
                </a:lnTo>
                <a:lnTo>
                  <a:pt x="17" y="6"/>
                </a:lnTo>
                <a:lnTo>
                  <a:pt x="16" y="6"/>
                </a:lnTo>
                <a:lnTo>
                  <a:pt x="9" y="5"/>
                </a:lnTo>
                <a:lnTo>
                  <a:pt x="4" y="4"/>
                </a:lnTo>
                <a:lnTo>
                  <a:pt x="3" y="2"/>
                </a:lnTo>
                <a:lnTo>
                  <a:pt x="3" y="2"/>
                </a:lnTo>
                <a:lnTo>
                  <a:pt x="1" y="1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15" name="Freeform 314"/>
          <p:cNvSpPr>
            <a:spLocks/>
          </p:cNvSpPr>
          <p:nvPr/>
        </p:nvSpPr>
        <p:spPr bwMode="auto">
          <a:xfrm>
            <a:off x="3630613" y="1338228"/>
            <a:ext cx="23812" cy="3175"/>
          </a:xfrm>
          <a:custGeom>
            <a:avLst/>
            <a:gdLst>
              <a:gd name="T0" fmla="*/ 0 w 15"/>
              <a:gd name="T1" fmla="*/ 1 h 2"/>
              <a:gd name="T2" fmla="*/ 3 w 15"/>
              <a:gd name="T3" fmla="*/ 1 h 2"/>
              <a:gd name="T4" fmla="*/ 6 w 15"/>
              <a:gd name="T5" fmla="*/ 2 h 2"/>
              <a:gd name="T6" fmla="*/ 6 w 15"/>
              <a:gd name="T7" fmla="*/ 1 h 2"/>
              <a:gd name="T8" fmla="*/ 5 w 15"/>
              <a:gd name="T9" fmla="*/ 1 h 2"/>
              <a:gd name="T10" fmla="*/ 2 w 15"/>
              <a:gd name="T11" fmla="*/ 1 h 2"/>
              <a:gd name="T12" fmla="*/ 2 w 15"/>
              <a:gd name="T13" fmla="*/ 1 h 2"/>
              <a:gd name="T14" fmla="*/ 3 w 15"/>
              <a:gd name="T15" fmla="*/ 0 h 2"/>
              <a:gd name="T16" fmla="*/ 5 w 15"/>
              <a:gd name="T17" fmla="*/ 0 h 2"/>
              <a:gd name="T18" fmla="*/ 7 w 15"/>
              <a:gd name="T19" fmla="*/ 0 h 2"/>
              <a:gd name="T20" fmla="*/ 8 w 15"/>
              <a:gd name="T21" fmla="*/ 0 h 2"/>
              <a:gd name="T22" fmla="*/ 8 w 15"/>
              <a:gd name="T23" fmla="*/ 0 h 2"/>
              <a:gd name="T24" fmla="*/ 11 w 15"/>
              <a:gd name="T25" fmla="*/ 1 h 2"/>
              <a:gd name="T26" fmla="*/ 15 w 15"/>
              <a:gd name="T27" fmla="*/ 1 h 2"/>
              <a:gd name="T28" fmla="*/ 15 w 15"/>
              <a:gd name="T29" fmla="*/ 2 h 2"/>
              <a:gd name="T30" fmla="*/ 3 w 15"/>
              <a:gd name="T31" fmla="*/ 2 h 2"/>
              <a:gd name="T32" fmla="*/ 0 w 15"/>
              <a:gd name="T33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5" h="2">
                <a:moveTo>
                  <a:pt x="0" y="1"/>
                </a:moveTo>
                <a:lnTo>
                  <a:pt x="3" y="1"/>
                </a:lnTo>
                <a:lnTo>
                  <a:pt x="6" y="2"/>
                </a:lnTo>
                <a:lnTo>
                  <a:pt x="6" y="1"/>
                </a:lnTo>
                <a:lnTo>
                  <a:pt x="5" y="1"/>
                </a:lnTo>
                <a:lnTo>
                  <a:pt x="2" y="1"/>
                </a:lnTo>
                <a:lnTo>
                  <a:pt x="2" y="1"/>
                </a:lnTo>
                <a:lnTo>
                  <a:pt x="3" y="0"/>
                </a:lnTo>
                <a:lnTo>
                  <a:pt x="5" y="0"/>
                </a:lnTo>
                <a:lnTo>
                  <a:pt x="7" y="0"/>
                </a:lnTo>
                <a:lnTo>
                  <a:pt x="8" y="0"/>
                </a:lnTo>
                <a:lnTo>
                  <a:pt x="8" y="0"/>
                </a:lnTo>
                <a:lnTo>
                  <a:pt x="11" y="1"/>
                </a:lnTo>
                <a:lnTo>
                  <a:pt x="15" y="1"/>
                </a:lnTo>
                <a:lnTo>
                  <a:pt x="15" y="2"/>
                </a:lnTo>
                <a:lnTo>
                  <a:pt x="3" y="2"/>
                </a:lnTo>
                <a:lnTo>
                  <a:pt x="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16" name="Freeform 315"/>
          <p:cNvSpPr>
            <a:spLocks/>
          </p:cNvSpPr>
          <p:nvPr/>
        </p:nvSpPr>
        <p:spPr bwMode="auto">
          <a:xfrm>
            <a:off x="3630613" y="1338228"/>
            <a:ext cx="23812" cy="3175"/>
          </a:xfrm>
          <a:custGeom>
            <a:avLst/>
            <a:gdLst>
              <a:gd name="T0" fmla="*/ 0 w 15"/>
              <a:gd name="T1" fmla="*/ 1 h 2"/>
              <a:gd name="T2" fmla="*/ 3 w 15"/>
              <a:gd name="T3" fmla="*/ 1 h 2"/>
              <a:gd name="T4" fmla="*/ 6 w 15"/>
              <a:gd name="T5" fmla="*/ 2 h 2"/>
              <a:gd name="T6" fmla="*/ 6 w 15"/>
              <a:gd name="T7" fmla="*/ 1 h 2"/>
              <a:gd name="T8" fmla="*/ 5 w 15"/>
              <a:gd name="T9" fmla="*/ 1 h 2"/>
              <a:gd name="T10" fmla="*/ 2 w 15"/>
              <a:gd name="T11" fmla="*/ 1 h 2"/>
              <a:gd name="T12" fmla="*/ 2 w 15"/>
              <a:gd name="T13" fmla="*/ 1 h 2"/>
              <a:gd name="T14" fmla="*/ 3 w 15"/>
              <a:gd name="T15" fmla="*/ 0 h 2"/>
              <a:gd name="T16" fmla="*/ 5 w 15"/>
              <a:gd name="T17" fmla="*/ 0 h 2"/>
              <a:gd name="T18" fmla="*/ 7 w 15"/>
              <a:gd name="T19" fmla="*/ 0 h 2"/>
              <a:gd name="T20" fmla="*/ 8 w 15"/>
              <a:gd name="T21" fmla="*/ 0 h 2"/>
              <a:gd name="T22" fmla="*/ 8 w 15"/>
              <a:gd name="T23" fmla="*/ 0 h 2"/>
              <a:gd name="T24" fmla="*/ 11 w 15"/>
              <a:gd name="T25" fmla="*/ 1 h 2"/>
              <a:gd name="T26" fmla="*/ 15 w 15"/>
              <a:gd name="T27" fmla="*/ 1 h 2"/>
              <a:gd name="T28" fmla="*/ 15 w 15"/>
              <a:gd name="T29" fmla="*/ 2 h 2"/>
              <a:gd name="T30" fmla="*/ 3 w 15"/>
              <a:gd name="T31" fmla="*/ 2 h 2"/>
              <a:gd name="T32" fmla="*/ 0 w 15"/>
              <a:gd name="T33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5" h="2">
                <a:moveTo>
                  <a:pt x="0" y="1"/>
                </a:moveTo>
                <a:lnTo>
                  <a:pt x="3" y="1"/>
                </a:lnTo>
                <a:lnTo>
                  <a:pt x="6" y="2"/>
                </a:lnTo>
                <a:lnTo>
                  <a:pt x="6" y="1"/>
                </a:lnTo>
                <a:lnTo>
                  <a:pt x="5" y="1"/>
                </a:lnTo>
                <a:lnTo>
                  <a:pt x="2" y="1"/>
                </a:lnTo>
                <a:lnTo>
                  <a:pt x="2" y="1"/>
                </a:lnTo>
                <a:lnTo>
                  <a:pt x="3" y="0"/>
                </a:lnTo>
                <a:lnTo>
                  <a:pt x="5" y="0"/>
                </a:lnTo>
                <a:lnTo>
                  <a:pt x="7" y="0"/>
                </a:lnTo>
                <a:lnTo>
                  <a:pt x="8" y="0"/>
                </a:lnTo>
                <a:lnTo>
                  <a:pt x="8" y="0"/>
                </a:lnTo>
                <a:lnTo>
                  <a:pt x="11" y="1"/>
                </a:lnTo>
                <a:lnTo>
                  <a:pt x="15" y="1"/>
                </a:lnTo>
                <a:lnTo>
                  <a:pt x="15" y="2"/>
                </a:lnTo>
                <a:lnTo>
                  <a:pt x="3" y="2"/>
                </a:lnTo>
                <a:lnTo>
                  <a:pt x="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17" name="Freeform 316"/>
          <p:cNvSpPr>
            <a:spLocks/>
          </p:cNvSpPr>
          <p:nvPr/>
        </p:nvSpPr>
        <p:spPr bwMode="auto">
          <a:xfrm>
            <a:off x="3722688" y="1331878"/>
            <a:ext cx="26987" cy="6350"/>
          </a:xfrm>
          <a:custGeom>
            <a:avLst/>
            <a:gdLst>
              <a:gd name="T0" fmla="*/ 3 w 17"/>
              <a:gd name="T1" fmla="*/ 0 h 4"/>
              <a:gd name="T2" fmla="*/ 8 w 17"/>
              <a:gd name="T3" fmla="*/ 2 h 4"/>
              <a:gd name="T4" fmla="*/ 11 w 17"/>
              <a:gd name="T5" fmla="*/ 3 h 4"/>
              <a:gd name="T6" fmla="*/ 16 w 17"/>
              <a:gd name="T7" fmla="*/ 3 h 4"/>
              <a:gd name="T8" fmla="*/ 17 w 17"/>
              <a:gd name="T9" fmla="*/ 4 h 4"/>
              <a:gd name="T10" fmla="*/ 16 w 17"/>
              <a:gd name="T11" fmla="*/ 4 h 4"/>
              <a:gd name="T12" fmla="*/ 10 w 17"/>
              <a:gd name="T13" fmla="*/ 3 h 4"/>
              <a:gd name="T14" fmla="*/ 7 w 17"/>
              <a:gd name="T15" fmla="*/ 3 h 4"/>
              <a:gd name="T16" fmla="*/ 1 w 17"/>
              <a:gd name="T17" fmla="*/ 2 h 4"/>
              <a:gd name="T18" fmla="*/ 0 w 17"/>
              <a:gd name="T19" fmla="*/ 2 h 4"/>
              <a:gd name="T20" fmla="*/ 1 w 17"/>
              <a:gd name="T21" fmla="*/ 2 h 4"/>
              <a:gd name="T22" fmla="*/ 3 w 17"/>
              <a:gd name="T23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7" h="4">
                <a:moveTo>
                  <a:pt x="3" y="0"/>
                </a:moveTo>
                <a:lnTo>
                  <a:pt x="8" y="2"/>
                </a:lnTo>
                <a:lnTo>
                  <a:pt x="11" y="3"/>
                </a:lnTo>
                <a:lnTo>
                  <a:pt x="16" y="3"/>
                </a:lnTo>
                <a:lnTo>
                  <a:pt x="17" y="4"/>
                </a:lnTo>
                <a:lnTo>
                  <a:pt x="16" y="4"/>
                </a:lnTo>
                <a:lnTo>
                  <a:pt x="10" y="3"/>
                </a:lnTo>
                <a:lnTo>
                  <a:pt x="7" y="3"/>
                </a:lnTo>
                <a:lnTo>
                  <a:pt x="1" y="2"/>
                </a:lnTo>
                <a:lnTo>
                  <a:pt x="0" y="2"/>
                </a:lnTo>
                <a:lnTo>
                  <a:pt x="1" y="2"/>
                </a:lnTo>
                <a:lnTo>
                  <a:pt x="3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18" name="Freeform 317"/>
          <p:cNvSpPr>
            <a:spLocks/>
          </p:cNvSpPr>
          <p:nvPr/>
        </p:nvSpPr>
        <p:spPr bwMode="auto">
          <a:xfrm>
            <a:off x="3722688" y="1331878"/>
            <a:ext cx="26987" cy="6350"/>
          </a:xfrm>
          <a:custGeom>
            <a:avLst/>
            <a:gdLst>
              <a:gd name="T0" fmla="*/ 3 w 17"/>
              <a:gd name="T1" fmla="*/ 0 h 4"/>
              <a:gd name="T2" fmla="*/ 8 w 17"/>
              <a:gd name="T3" fmla="*/ 2 h 4"/>
              <a:gd name="T4" fmla="*/ 11 w 17"/>
              <a:gd name="T5" fmla="*/ 3 h 4"/>
              <a:gd name="T6" fmla="*/ 16 w 17"/>
              <a:gd name="T7" fmla="*/ 3 h 4"/>
              <a:gd name="T8" fmla="*/ 17 w 17"/>
              <a:gd name="T9" fmla="*/ 4 h 4"/>
              <a:gd name="T10" fmla="*/ 16 w 17"/>
              <a:gd name="T11" fmla="*/ 4 h 4"/>
              <a:gd name="T12" fmla="*/ 10 w 17"/>
              <a:gd name="T13" fmla="*/ 3 h 4"/>
              <a:gd name="T14" fmla="*/ 7 w 17"/>
              <a:gd name="T15" fmla="*/ 3 h 4"/>
              <a:gd name="T16" fmla="*/ 1 w 17"/>
              <a:gd name="T17" fmla="*/ 2 h 4"/>
              <a:gd name="T18" fmla="*/ 0 w 17"/>
              <a:gd name="T19" fmla="*/ 2 h 4"/>
              <a:gd name="T20" fmla="*/ 1 w 17"/>
              <a:gd name="T21" fmla="*/ 2 h 4"/>
              <a:gd name="T22" fmla="*/ 3 w 17"/>
              <a:gd name="T23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7" h="4">
                <a:moveTo>
                  <a:pt x="3" y="0"/>
                </a:moveTo>
                <a:lnTo>
                  <a:pt x="8" y="2"/>
                </a:lnTo>
                <a:lnTo>
                  <a:pt x="11" y="3"/>
                </a:lnTo>
                <a:lnTo>
                  <a:pt x="16" y="3"/>
                </a:lnTo>
                <a:lnTo>
                  <a:pt x="17" y="4"/>
                </a:lnTo>
                <a:lnTo>
                  <a:pt x="16" y="4"/>
                </a:lnTo>
                <a:lnTo>
                  <a:pt x="10" y="3"/>
                </a:lnTo>
                <a:lnTo>
                  <a:pt x="7" y="3"/>
                </a:lnTo>
                <a:lnTo>
                  <a:pt x="1" y="2"/>
                </a:lnTo>
                <a:lnTo>
                  <a:pt x="0" y="2"/>
                </a:lnTo>
                <a:lnTo>
                  <a:pt x="1" y="2"/>
                </a:lnTo>
                <a:lnTo>
                  <a:pt x="3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19" name="Freeform 318"/>
          <p:cNvSpPr>
            <a:spLocks/>
          </p:cNvSpPr>
          <p:nvPr/>
        </p:nvSpPr>
        <p:spPr bwMode="auto">
          <a:xfrm>
            <a:off x="4022725" y="1354103"/>
            <a:ext cx="19050" cy="4763"/>
          </a:xfrm>
          <a:custGeom>
            <a:avLst/>
            <a:gdLst>
              <a:gd name="T0" fmla="*/ 2 w 12"/>
              <a:gd name="T1" fmla="*/ 0 h 3"/>
              <a:gd name="T2" fmla="*/ 3 w 12"/>
              <a:gd name="T3" fmla="*/ 0 h 3"/>
              <a:gd name="T4" fmla="*/ 4 w 12"/>
              <a:gd name="T5" fmla="*/ 1 h 3"/>
              <a:gd name="T6" fmla="*/ 8 w 12"/>
              <a:gd name="T7" fmla="*/ 1 h 3"/>
              <a:gd name="T8" fmla="*/ 10 w 12"/>
              <a:gd name="T9" fmla="*/ 2 h 3"/>
              <a:gd name="T10" fmla="*/ 10 w 12"/>
              <a:gd name="T11" fmla="*/ 2 h 3"/>
              <a:gd name="T12" fmla="*/ 12 w 12"/>
              <a:gd name="T13" fmla="*/ 3 h 3"/>
              <a:gd name="T14" fmla="*/ 12 w 12"/>
              <a:gd name="T15" fmla="*/ 3 h 3"/>
              <a:gd name="T16" fmla="*/ 7 w 12"/>
              <a:gd name="T17" fmla="*/ 3 h 3"/>
              <a:gd name="T18" fmla="*/ 3 w 12"/>
              <a:gd name="T19" fmla="*/ 2 h 3"/>
              <a:gd name="T20" fmla="*/ 1 w 12"/>
              <a:gd name="T21" fmla="*/ 1 h 3"/>
              <a:gd name="T22" fmla="*/ 0 w 12"/>
              <a:gd name="T23" fmla="*/ 1 h 3"/>
              <a:gd name="T24" fmla="*/ 0 w 12"/>
              <a:gd name="T25" fmla="*/ 0 h 3"/>
              <a:gd name="T26" fmla="*/ 2 w 12"/>
              <a:gd name="T27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2" h="3">
                <a:moveTo>
                  <a:pt x="2" y="0"/>
                </a:moveTo>
                <a:lnTo>
                  <a:pt x="3" y="0"/>
                </a:lnTo>
                <a:lnTo>
                  <a:pt x="4" y="1"/>
                </a:lnTo>
                <a:lnTo>
                  <a:pt x="8" y="1"/>
                </a:lnTo>
                <a:lnTo>
                  <a:pt x="10" y="2"/>
                </a:lnTo>
                <a:lnTo>
                  <a:pt x="10" y="2"/>
                </a:lnTo>
                <a:lnTo>
                  <a:pt x="12" y="3"/>
                </a:lnTo>
                <a:lnTo>
                  <a:pt x="12" y="3"/>
                </a:lnTo>
                <a:lnTo>
                  <a:pt x="7" y="3"/>
                </a:lnTo>
                <a:lnTo>
                  <a:pt x="3" y="2"/>
                </a:lnTo>
                <a:lnTo>
                  <a:pt x="1" y="1"/>
                </a:lnTo>
                <a:lnTo>
                  <a:pt x="0" y="1"/>
                </a:lnTo>
                <a:lnTo>
                  <a:pt x="0" y="0"/>
                </a:lnTo>
                <a:lnTo>
                  <a:pt x="2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20" name="Freeform 319"/>
          <p:cNvSpPr>
            <a:spLocks/>
          </p:cNvSpPr>
          <p:nvPr/>
        </p:nvSpPr>
        <p:spPr bwMode="auto">
          <a:xfrm>
            <a:off x="4022725" y="1354103"/>
            <a:ext cx="19050" cy="4763"/>
          </a:xfrm>
          <a:custGeom>
            <a:avLst/>
            <a:gdLst>
              <a:gd name="T0" fmla="*/ 2 w 12"/>
              <a:gd name="T1" fmla="*/ 0 h 3"/>
              <a:gd name="T2" fmla="*/ 3 w 12"/>
              <a:gd name="T3" fmla="*/ 0 h 3"/>
              <a:gd name="T4" fmla="*/ 4 w 12"/>
              <a:gd name="T5" fmla="*/ 1 h 3"/>
              <a:gd name="T6" fmla="*/ 8 w 12"/>
              <a:gd name="T7" fmla="*/ 1 h 3"/>
              <a:gd name="T8" fmla="*/ 10 w 12"/>
              <a:gd name="T9" fmla="*/ 2 h 3"/>
              <a:gd name="T10" fmla="*/ 10 w 12"/>
              <a:gd name="T11" fmla="*/ 2 h 3"/>
              <a:gd name="T12" fmla="*/ 12 w 12"/>
              <a:gd name="T13" fmla="*/ 3 h 3"/>
              <a:gd name="T14" fmla="*/ 12 w 12"/>
              <a:gd name="T15" fmla="*/ 3 h 3"/>
              <a:gd name="T16" fmla="*/ 7 w 12"/>
              <a:gd name="T17" fmla="*/ 3 h 3"/>
              <a:gd name="T18" fmla="*/ 3 w 12"/>
              <a:gd name="T19" fmla="*/ 2 h 3"/>
              <a:gd name="T20" fmla="*/ 1 w 12"/>
              <a:gd name="T21" fmla="*/ 1 h 3"/>
              <a:gd name="T22" fmla="*/ 0 w 12"/>
              <a:gd name="T23" fmla="*/ 1 h 3"/>
              <a:gd name="T24" fmla="*/ 0 w 12"/>
              <a:gd name="T25" fmla="*/ 0 h 3"/>
              <a:gd name="T26" fmla="*/ 2 w 12"/>
              <a:gd name="T27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2" h="3">
                <a:moveTo>
                  <a:pt x="2" y="0"/>
                </a:moveTo>
                <a:lnTo>
                  <a:pt x="3" y="0"/>
                </a:lnTo>
                <a:lnTo>
                  <a:pt x="4" y="1"/>
                </a:lnTo>
                <a:lnTo>
                  <a:pt x="8" y="1"/>
                </a:lnTo>
                <a:lnTo>
                  <a:pt x="10" y="2"/>
                </a:lnTo>
                <a:lnTo>
                  <a:pt x="10" y="2"/>
                </a:lnTo>
                <a:lnTo>
                  <a:pt x="12" y="3"/>
                </a:lnTo>
                <a:lnTo>
                  <a:pt x="12" y="3"/>
                </a:lnTo>
                <a:lnTo>
                  <a:pt x="7" y="3"/>
                </a:lnTo>
                <a:lnTo>
                  <a:pt x="3" y="2"/>
                </a:lnTo>
                <a:lnTo>
                  <a:pt x="1" y="1"/>
                </a:lnTo>
                <a:lnTo>
                  <a:pt x="0" y="1"/>
                </a:lnTo>
                <a:lnTo>
                  <a:pt x="0" y="0"/>
                </a:lnTo>
                <a:lnTo>
                  <a:pt x="2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21" name="Freeform 320"/>
          <p:cNvSpPr>
            <a:spLocks/>
          </p:cNvSpPr>
          <p:nvPr/>
        </p:nvSpPr>
        <p:spPr bwMode="auto">
          <a:xfrm>
            <a:off x="4051300" y="1358866"/>
            <a:ext cx="11112" cy="3175"/>
          </a:xfrm>
          <a:custGeom>
            <a:avLst/>
            <a:gdLst>
              <a:gd name="T0" fmla="*/ 0 w 7"/>
              <a:gd name="T1" fmla="*/ 1 h 2"/>
              <a:gd name="T2" fmla="*/ 1 w 7"/>
              <a:gd name="T3" fmla="*/ 0 h 2"/>
              <a:gd name="T4" fmla="*/ 3 w 7"/>
              <a:gd name="T5" fmla="*/ 1 h 2"/>
              <a:gd name="T6" fmla="*/ 6 w 7"/>
              <a:gd name="T7" fmla="*/ 1 h 2"/>
              <a:gd name="T8" fmla="*/ 7 w 7"/>
              <a:gd name="T9" fmla="*/ 2 h 2"/>
              <a:gd name="T10" fmla="*/ 7 w 7"/>
              <a:gd name="T11" fmla="*/ 2 h 2"/>
              <a:gd name="T12" fmla="*/ 5 w 7"/>
              <a:gd name="T13" fmla="*/ 2 h 2"/>
              <a:gd name="T14" fmla="*/ 0 w 7"/>
              <a:gd name="T15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" h="2">
                <a:moveTo>
                  <a:pt x="0" y="1"/>
                </a:moveTo>
                <a:lnTo>
                  <a:pt x="1" y="0"/>
                </a:lnTo>
                <a:lnTo>
                  <a:pt x="3" y="1"/>
                </a:lnTo>
                <a:lnTo>
                  <a:pt x="6" y="1"/>
                </a:lnTo>
                <a:lnTo>
                  <a:pt x="7" y="2"/>
                </a:lnTo>
                <a:lnTo>
                  <a:pt x="7" y="2"/>
                </a:lnTo>
                <a:lnTo>
                  <a:pt x="5" y="2"/>
                </a:lnTo>
                <a:lnTo>
                  <a:pt x="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22" name="Freeform 321"/>
          <p:cNvSpPr>
            <a:spLocks/>
          </p:cNvSpPr>
          <p:nvPr/>
        </p:nvSpPr>
        <p:spPr bwMode="auto">
          <a:xfrm>
            <a:off x="4051300" y="1358866"/>
            <a:ext cx="11112" cy="3175"/>
          </a:xfrm>
          <a:custGeom>
            <a:avLst/>
            <a:gdLst>
              <a:gd name="T0" fmla="*/ 0 w 7"/>
              <a:gd name="T1" fmla="*/ 1 h 2"/>
              <a:gd name="T2" fmla="*/ 1 w 7"/>
              <a:gd name="T3" fmla="*/ 0 h 2"/>
              <a:gd name="T4" fmla="*/ 3 w 7"/>
              <a:gd name="T5" fmla="*/ 1 h 2"/>
              <a:gd name="T6" fmla="*/ 6 w 7"/>
              <a:gd name="T7" fmla="*/ 1 h 2"/>
              <a:gd name="T8" fmla="*/ 7 w 7"/>
              <a:gd name="T9" fmla="*/ 2 h 2"/>
              <a:gd name="T10" fmla="*/ 7 w 7"/>
              <a:gd name="T11" fmla="*/ 2 h 2"/>
              <a:gd name="T12" fmla="*/ 5 w 7"/>
              <a:gd name="T13" fmla="*/ 2 h 2"/>
              <a:gd name="T14" fmla="*/ 0 w 7"/>
              <a:gd name="T15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" h="2">
                <a:moveTo>
                  <a:pt x="0" y="1"/>
                </a:moveTo>
                <a:lnTo>
                  <a:pt x="1" y="0"/>
                </a:lnTo>
                <a:lnTo>
                  <a:pt x="3" y="1"/>
                </a:lnTo>
                <a:lnTo>
                  <a:pt x="6" y="1"/>
                </a:lnTo>
                <a:lnTo>
                  <a:pt x="7" y="2"/>
                </a:lnTo>
                <a:lnTo>
                  <a:pt x="7" y="2"/>
                </a:lnTo>
                <a:lnTo>
                  <a:pt x="5" y="2"/>
                </a:lnTo>
                <a:lnTo>
                  <a:pt x="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23" name="Freeform 322"/>
          <p:cNvSpPr>
            <a:spLocks/>
          </p:cNvSpPr>
          <p:nvPr/>
        </p:nvSpPr>
        <p:spPr bwMode="auto">
          <a:xfrm>
            <a:off x="4059238" y="1408078"/>
            <a:ext cx="7937" cy="4763"/>
          </a:xfrm>
          <a:custGeom>
            <a:avLst/>
            <a:gdLst>
              <a:gd name="T0" fmla="*/ 4 w 5"/>
              <a:gd name="T1" fmla="*/ 0 h 3"/>
              <a:gd name="T2" fmla="*/ 4 w 5"/>
              <a:gd name="T3" fmla="*/ 0 h 3"/>
              <a:gd name="T4" fmla="*/ 5 w 5"/>
              <a:gd name="T5" fmla="*/ 1 h 3"/>
              <a:gd name="T6" fmla="*/ 5 w 5"/>
              <a:gd name="T7" fmla="*/ 2 h 3"/>
              <a:gd name="T8" fmla="*/ 4 w 5"/>
              <a:gd name="T9" fmla="*/ 2 h 3"/>
              <a:gd name="T10" fmla="*/ 4 w 5"/>
              <a:gd name="T11" fmla="*/ 2 h 3"/>
              <a:gd name="T12" fmla="*/ 4 w 5"/>
              <a:gd name="T13" fmla="*/ 2 h 3"/>
              <a:gd name="T14" fmla="*/ 2 w 5"/>
              <a:gd name="T15" fmla="*/ 2 h 3"/>
              <a:gd name="T16" fmla="*/ 1 w 5"/>
              <a:gd name="T17" fmla="*/ 3 h 3"/>
              <a:gd name="T18" fmla="*/ 0 w 5"/>
              <a:gd name="T19" fmla="*/ 3 h 3"/>
              <a:gd name="T20" fmla="*/ 0 w 5"/>
              <a:gd name="T21" fmla="*/ 2 h 3"/>
              <a:gd name="T22" fmla="*/ 0 w 5"/>
              <a:gd name="T23" fmla="*/ 2 h 3"/>
              <a:gd name="T24" fmla="*/ 4 w 5"/>
              <a:gd name="T25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" h="3">
                <a:moveTo>
                  <a:pt x="4" y="0"/>
                </a:moveTo>
                <a:lnTo>
                  <a:pt x="4" y="0"/>
                </a:lnTo>
                <a:lnTo>
                  <a:pt x="5" y="1"/>
                </a:lnTo>
                <a:lnTo>
                  <a:pt x="5" y="2"/>
                </a:lnTo>
                <a:lnTo>
                  <a:pt x="4" y="2"/>
                </a:lnTo>
                <a:lnTo>
                  <a:pt x="4" y="2"/>
                </a:lnTo>
                <a:lnTo>
                  <a:pt x="4" y="2"/>
                </a:lnTo>
                <a:lnTo>
                  <a:pt x="2" y="2"/>
                </a:lnTo>
                <a:lnTo>
                  <a:pt x="1" y="3"/>
                </a:lnTo>
                <a:lnTo>
                  <a:pt x="0" y="3"/>
                </a:lnTo>
                <a:lnTo>
                  <a:pt x="0" y="2"/>
                </a:lnTo>
                <a:lnTo>
                  <a:pt x="0" y="2"/>
                </a:lnTo>
                <a:lnTo>
                  <a:pt x="4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24" name="Freeform 323"/>
          <p:cNvSpPr>
            <a:spLocks/>
          </p:cNvSpPr>
          <p:nvPr/>
        </p:nvSpPr>
        <p:spPr bwMode="auto">
          <a:xfrm>
            <a:off x="4059238" y="1408078"/>
            <a:ext cx="7937" cy="4763"/>
          </a:xfrm>
          <a:custGeom>
            <a:avLst/>
            <a:gdLst>
              <a:gd name="T0" fmla="*/ 4 w 5"/>
              <a:gd name="T1" fmla="*/ 0 h 3"/>
              <a:gd name="T2" fmla="*/ 4 w 5"/>
              <a:gd name="T3" fmla="*/ 0 h 3"/>
              <a:gd name="T4" fmla="*/ 5 w 5"/>
              <a:gd name="T5" fmla="*/ 1 h 3"/>
              <a:gd name="T6" fmla="*/ 5 w 5"/>
              <a:gd name="T7" fmla="*/ 2 h 3"/>
              <a:gd name="T8" fmla="*/ 4 w 5"/>
              <a:gd name="T9" fmla="*/ 2 h 3"/>
              <a:gd name="T10" fmla="*/ 4 w 5"/>
              <a:gd name="T11" fmla="*/ 2 h 3"/>
              <a:gd name="T12" fmla="*/ 4 w 5"/>
              <a:gd name="T13" fmla="*/ 2 h 3"/>
              <a:gd name="T14" fmla="*/ 2 w 5"/>
              <a:gd name="T15" fmla="*/ 2 h 3"/>
              <a:gd name="T16" fmla="*/ 1 w 5"/>
              <a:gd name="T17" fmla="*/ 3 h 3"/>
              <a:gd name="T18" fmla="*/ 0 w 5"/>
              <a:gd name="T19" fmla="*/ 3 h 3"/>
              <a:gd name="T20" fmla="*/ 0 w 5"/>
              <a:gd name="T21" fmla="*/ 2 h 3"/>
              <a:gd name="T22" fmla="*/ 0 w 5"/>
              <a:gd name="T23" fmla="*/ 2 h 3"/>
              <a:gd name="T24" fmla="*/ 4 w 5"/>
              <a:gd name="T25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" h="3">
                <a:moveTo>
                  <a:pt x="4" y="0"/>
                </a:moveTo>
                <a:lnTo>
                  <a:pt x="4" y="0"/>
                </a:lnTo>
                <a:lnTo>
                  <a:pt x="5" y="1"/>
                </a:lnTo>
                <a:lnTo>
                  <a:pt x="5" y="2"/>
                </a:lnTo>
                <a:lnTo>
                  <a:pt x="4" y="2"/>
                </a:lnTo>
                <a:lnTo>
                  <a:pt x="4" y="2"/>
                </a:lnTo>
                <a:lnTo>
                  <a:pt x="4" y="2"/>
                </a:lnTo>
                <a:lnTo>
                  <a:pt x="2" y="2"/>
                </a:lnTo>
                <a:lnTo>
                  <a:pt x="1" y="3"/>
                </a:lnTo>
                <a:lnTo>
                  <a:pt x="0" y="3"/>
                </a:lnTo>
                <a:lnTo>
                  <a:pt x="0" y="2"/>
                </a:lnTo>
                <a:lnTo>
                  <a:pt x="0" y="2"/>
                </a:lnTo>
                <a:lnTo>
                  <a:pt x="4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25" name="Freeform 324"/>
          <p:cNvSpPr>
            <a:spLocks/>
          </p:cNvSpPr>
          <p:nvPr/>
        </p:nvSpPr>
        <p:spPr bwMode="auto">
          <a:xfrm>
            <a:off x="4051300" y="1436653"/>
            <a:ext cx="9525" cy="4763"/>
          </a:xfrm>
          <a:custGeom>
            <a:avLst/>
            <a:gdLst>
              <a:gd name="T0" fmla="*/ 4 w 6"/>
              <a:gd name="T1" fmla="*/ 0 h 3"/>
              <a:gd name="T2" fmla="*/ 5 w 6"/>
              <a:gd name="T3" fmla="*/ 0 h 3"/>
              <a:gd name="T4" fmla="*/ 6 w 6"/>
              <a:gd name="T5" fmla="*/ 1 h 3"/>
              <a:gd name="T6" fmla="*/ 5 w 6"/>
              <a:gd name="T7" fmla="*/ 2 h 3"/>
              <a:gd name="T8" fmla="*/ 3 w 6"/>
              <a:gd name="T9" fmla="*/ 3 h 3"/>
              <a:gd name="T10" fmla="*/ 0 w 6"/>
              <a:gd name="T11" fmla="*/ 3 h 3"/>
              <a:gd name="T12" fmla="*/ 0 w 6"/>
              <a:gd name="T13" fmla="*/ 2 h 3"/>
              <a:gd name="T14" fmla="*/ 2 w 6"/>
              <a:gd name="T15" fmla="*/ 1 h 3"/>
              <a:gd name="T16" fmla="*/ 3 w 6"/>
              <a:gd name="T17" fmla="*/ 0 h 3"/>
              <a:gd name="T18" fmla="*/ 4 w 6"/>
              <a:gd name="T1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" h="3">
                <a:moveTo>
                  <a:pt x="4" y="0"/>
                </a:moveTo>
                <a:lnTo>
                  <a:pt x="5" y="0"/>
                </a:lnTo>
                <a:lnTo>
                  <a:pt x="6" y="1"/>
                </a:lnTo>
                <a:lnTo>
                  <a:pt x="5" y="2"/>
                </a:lnTo>
                <a:lnTo>
                  <a:pt x="3" y="3"/>
                </a:lnTo>
                <a:lnTo>
                  <a:pt x="0" y="3"/>
                </a:lnTo>
                <a:lnTo>
                  <a:pt x="0" y="2"/>
                </a:lnTo>
                <a:lnTo>
                  <a:pt x="2" y="1"/>
                </a:lnTo>
                <a:lnTo>
                  <a:pt x="3" y="0"/>
                </a:lnTo>
                <a:lnTo>
                  <a:pt x="4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26" name="Freeform 325"/>
          <p:cNvSpPr>
            <a:spLocks/>
          </p:cNvSpPr>
          <p:nvPr/>
        </p:nvSpPr>
        <p:spPr bwMode="auto">
          <a:xfrm>
            <a:off x="4051300" y="1436653"/>
            <a:ext cx="9525" cy="4763"/>
          </a:xfrm>
          <a:custGeom>
            <a:avLst/>
            <a:gdLst>
              <a:gd name="T0" fmla="*/ 4 w 6"/>
              <a:gd name="T1" fmla="*/ 0 h 3"/>
              <a:gd name="T2" fmla="*/ 5 w 6"/>
              <a:gd name="T3" fmla="*/ 0 h 3"/>
              <a:gd name="T4" fmla="*/ 6 w 6"/>
              <a:gd name="T5" fmla="*/ 1 h 3"/>
              <a:gd name="T6" fmla="*/ 5 w 6"/>
              <a:gd name="T7" fmla="*/ 2 h 3"/>
              <a:gd name="T8" fmla="*/ 3 w 6"/>
              <a:gd name="T9" fmla="*/ 3 h 3"/>
              <a:gd name="T10" fmla="*/ 0 w 6"/>
              <a:gd name="T11" fmla="*/ 3 h 3"/>
              <a:gd name="T12" fmla="*/ 0 w 6"/>
              <a:gd name="T13" fmla="*/ 2 h 3"/>
              <a:gd name="T14" fmla="*/ 2 w 6"/>
              <a:gd name="T15" fmla="*/ 1 h 3"/>
              <a:gd name="T16" fmla="*/ 3 w 6"/>
              <a:gd name="T17" fmla="*/ 0 h 3"/>
              <a:gd name="T18" fmla="*/ 4 w 6"/>
              <a:gd name="T1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6" h="3">
                <a:moveTo>
                  <a:pt x="4" y="0"/>
                </a:moveTo>
                <a:lnTo>
                  <a:pt x="5" y="0"/>
                </a:lnTo>
                <a:lnTo>
                  <a:pt x="6" y="1"/>
                </a:lnTo>
                <a:lnTo>
                  <a:pt x="5" y="2"/>
                </a:lnTo>
                <a:lnTo>
                  <a:pt x="3" y="3"/>
                </a:lnTo>
                <a:lnTo>
                  <a:pt x="0" y="3"/>
                </a:lnTo>
                <a:lnTo>
                  <a:pt x="0" y="2"/>
                </a:lnTo>
                <a:lnTo>
                  <a:pt x="2" y="1"/>
                </a:lnTo>
                <a:lnTo>
                  <a:pt x="3" y="0"/>
                </a:lnTo>
                <a:lnTo>
                  <a:pt x="4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27" name="Freeform 326"/>
          <p:cNvSpPr>
            <a:spLocks/>
          </p:cNvSpPr>
          <p:nvPr/>
        </p:nvSpPr>
        <p:spPr bwMode="auto">
          <a:xfrm>
            <a:off x="3341688" y="1608103"/>
            <a:ext cx="53975" cy="25400"/>
          </a:xfrm>
          <a:custGeom>
            <a:avLst/>
            <a:gdLst>
              <a:gd name="T0" fmla="*/ 11 w 34"/>
              <a:gd name="T1" fmla="*/ 0 h 16"/>
              <a:gd name="T2" fmla="*/ 14 w 34"/>
              <a:gd name="T3" fmla="*/ 1 h 16"/>
              <a:gd name="T4" fmla="*/ 18 w 34"/>
              <a:gd name="T5" fmla="*/ 1 h 16"/>
              <a:gd name="T6" fmla="*/ 23 w 34"/>
              <a:gd name="T7" fmla="*/ 2 h 16"/>
              <a:gd name="T8" fmla="*/ 27 w 34"/>
              <a:gd name="T9" fmla="*/ 7 h 16"/>
              <a:gd name="T10" fmla="*/ 32 w 34"/>
              <a:gd name="T11" fmla="*/ 8 h 16"/>
              <a:gd name="T12" fmla="*/ 34 w 34"/>
              <a:gd name="T13" fmla="*/ 10 h 16"/>
              <a:gd name="T14" fmla="*/ 33 w 34"/>
              <a:gd name="T15" fmla="*/ 11 h 16"/>
              <a:gd name="T16" fmla="*/ 33 w 34"/>
              <a:gd name="T17" fmla="*/ 12 h 16"/>
              <a:gd name="T18" fmla="*/ 28 w 34"/>
              <a:gd name="T19" fmla="*/ 14 h 16"/>
              <a:gd name="T20" fmla="*/ 15 w 34"/>
              <a:gd name="T21" fmla="*/ 15 h 16"/>
              <a:gd name="T22" fmla="*/ 12 w 34"/>
              <a:gd name="T23" fmla="*/ 16 h 16"/>
              <a:gd name="T24" fmla="*/ 10 w 34"/>
              <a:gd name="T25" fmla="*/ 16 h 16"/>
              <a:gd name="T26" fmla="*/ 6 w 34"/>
              <a:gd name="T27" fmla="*/ 14 h 16"/>
              <a:gd name="T28" fmla="*/ 6 w 34"/>
              <a:gd name="T29" fmla="*/ 14 h 16"/>
              <a:gd name="T30" fmla="*/ 10 w 34"/>
              <a:gd name="T31" fmla="*/ 13 h 16"/>
              <a:gd name="T32" fmla="*/ 12 w 34"/>
              <a:gd name="T33" fmla="*/ 14 h 16"/>
              <a:gd name="T34" fmla="*/ 14 w 34"/>
              <a:gd name="T35" fmla="*/ 13 h 16"/>
              <a:gd name="T36" fmla="*/ 15 w 34"/>
              <a:gd name="T37" fmla="*/ 13 h 16"/>
              <a:gd name="T38" fmla="*/ 13 w 34"/>
              <a:gd name="T39" fmla="*/ 13 h 16"/>
              <a:gd name="T40" fmla="*/ 13 w 34"/>
              <a:gd name="T41" fmla="*/ 12 h 16"/>
              <a:gd name="T42" fmla="*/ 11 w 34"/>
              <a:gd name="T43" fmla="*/ 12 h 16"/>
              <a:gd name="T44" fmla="*/ 11 w 34"/>
              <a:gd name="T45" fmla="*/ 11 h 16"/>
              <a:gd name="T46" fmla="*/ 8 w 34"/>
              <a:gd name="T47" fmla="*/ 12 h 16"/>
              <a:gd name="T48" fmla="*/ 3 w 34"/>
              <a:gd name="T49" fmla="*/ 12 h 16"/>
              <a:gd name="T50" fmla="*/ 0 w 34"/>
              <a:gd name="T51" fmla="*/ 11 h 16"/>
              <a:gd name="T52" fmla="*/ 0 w 34"/>
              <a:gd name="T53" fmla="*/ 10 h 16"/>
              <a:gd name="T54" fmla="*/ 2 w 34"/>
              <a:gd name="T55" fmla="*/ 10 h 16"/>
              <a:gd name="T56" fmla="*/ 5 w 34"/>
              <a:gd name="T57" fmla="*/ 10 h 16"/>
              <a:gd name="T58" fmla="*/ 3 w 34"/>
              <a:gd name="T59" fmla="*/ 8 h 16"/>
              <a:gd name="T60" fmla="*/ 1 w 34"/>
              <a:gd name="T61" fmla="*/ 7 h 16"/>
              <a:gd name="T62" fmla="*/ 2 w 34"/>
              <a:gd name="T63" fmla="*/ 6 h 16"/>
              <a:gd name="T64" fmla="*/ 8 w 34"/>
              <a:gd name="T65" fmla="*/ 6 h 16"/>
              <a:gd name="T66" fmla="*/ 6 w 34"/>
              <a:gd name="T67" fmla="*/ 5 h 16"/>
              <a:gd name="T68" fmla="*/ 4 w 34"/>
              <a:gd name="T69" fmla="*/ 3 h 16"/>
              <a:gd name="T70" fmla="*/ 5 w 34"/>
              <a:gd name="T71" fmla="*/ 2 h 16"/>
              <a:gd name="T72" fmla="*/ 11 w 34"/>
              <a:gd name="T73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4" h="16">
                <a:moveTo>
                  <a:pt x="11" y="0"/>
                </a:moveTo>
                <a:lnTo>
                  <a:pt x="14" y="1"/>
                </a:lnTo>
                <a:lnTo>
                  <a:pt x="18" y="1"/>
                </a:lnTo>
                <a:lnTo>
                  <a:pt x="23" y="2"/>
                </a:lnTo>
                <a:lnTo>
                  <a:pt x="27" y="7"/>
                </a:lnTo>
                <a:lnTo>
                  <a:pt x="32" y="8"/>
                </a:lnTo>
                <a:lnTo>
                  <a:pt x="34" y="10"/>
                </a:lnTo>
                <a:lnTo>
                  <a:pt x="33" y="11"/>
                </a:lnTo>
                <a:lnTo>
                  <a:pt x="33" y="12"/>
                </a:lnTo>
                <a:lnTo>
                  <a:pt x="28" y="14"/>
                </a:lnTo>
                <a:lnTo>
                  <a:pt x="15" y="15"/>
                </a:lnTo>
                <a:lnTo>
                  <a:pt x="12" y="16"/>
                </a:lnTo>
                <a:lnTo>
                  <a:pt x="10" y="16"/>
                </a:lnTo>
                <a:lnTo>
                  <a:pt x="6" y="14"/>
                </a:lnTo>
                <a:lnTo>
                  <a:pt x="6" y="14"/>
                </a:lnTo>
                <a:lnTo>
                  <a:pt x="10" y="13"/>
                </a:lnTo>
                <a:lnTo>
                  <a:pt x="12" y="14"/>
                </a:lnTo>
                <a:lnTo>
                  <a:pt x="14" y="13"/>
                </a:lnTo>
                <a:lnTo>
                  <a:pt x="15" y="13"/>
                </a:lnTo>
                <a:lnTo>
                  <a:pt x="13" y="13"/>
                </a:lnTo>
                <a:lnTo>
                  <a:pt x="13" y="12"/>
                </a:lnTo>
                <a:lnTo>
                  <a:pt x="11" y="12"/>
                </a:lnTo>
                <a:lnTo>
                  <a:pt x="11" y="11"/>
                </a:lnTo>
                <a:lnTo>
                  <a:pt x="8" y="12"/>
                </a:lnTo>
                <a:lnTo>
                  <a:pt x="3" y="12"/>
                </a:lnTo>
                <a:lnTo>
                  <a:pt x="0" y="11"/>
                </a:lnTo>
                <a:lnTo>
                  <a:pt x="0" y="10"/>
                </a:lnTo>
                <a:lnTo>
                  <a:pt x="2" y="10"/>
                </a:lnTo>
                <a:lnTo>
                  <a:pt x="5" y="10"/>
                </a:lnTo>
                <a:lnTo>
                  <a:pt x="3" y="8"/>
                </a:lnTo>
                <a:lnTo>
                  <a:pt x="1" y="7"/>
                </a:lnTo>
                <a:lnTo>
                  <a:pt x="2" y="6"/>
                </a:lnTo>
                <a:lnTo>
                  <a:pt x="8" y="6"/>
                </a:lnTo>
                <a:lnTo>
                  <a:pt x="6" y="5"/>
                </a:lnTo>
                <a:lnTo>
                  <a:pt x="4" y="3"/>
                </a:lnTo>
                <a:lnTo>
                  <a:pt x="5" y="2"/>
                </a:lnTo>
                <a:lnTo>
                  <a:pt x="1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28" name="Freeform 327"/>
          <p:cNvSpPr>
            <a:spLocks/>
          </p:cNvSpPr>
          <p:nvPr/>
        </p:nvSpPr>
        <p:spPr bwMode="auto">
          <a:xfrm>
            <a:off x="3341688" y="1608103"/>
            <a:ext cx="53975" cy="25400"/>
          </a:xfrm>
          <a:custGeom>
            <a:avLst/>
            <a:gdLst>
              <a:gd name="T0" fmla="*/ 11 w 34"/>
              <a:gd name="T1" fmla="*/ 0 h 16"/>
              <a:gd name="T2" fmla="*/ 14 w 34"/>
              <a:gd name="T3" fmla="*/ 1 h 16"/>
              <a:gd name="T4" fmla="*/ 18 w 34"/>
              <a:gd name="T5" fmla="*/ 1 h 16"/>
              <a:gd name="T6" fmla="*/ 23 w 34"/>
              <a:gd name="T7" fmla="*/ 2 h 16"/>
              <a:gd name="T8" fmla="*/ 27 w 34"/>
              <a:gd name="T9" fmla="*/ 7 h 16"/>
              <a:gd name="T10" fmla="*/ 32 w 34"/>
              <a:gd name="T11" fmla="*/ 8 h 16"/>
              <a:gd name="T12" fmla="*/ 34 w 34"/>
              <a:gd name="T13" fmla="*/ 10 h 16"/>
              <a:gd name="T14" fmla="*/ 33 w 34"/>
              <a:gd name="T15" fmla="*/ 11 h 16"/>
              <a:gd name="T16" fmla="*/ 33 w 34"/>
              <a:gd name="T17" fmla="*/ 12 h 16"/>
              <a:gd name="T18" fmla="*/ 28 w 34"/>
              <a:gd name="T19" fmla="*/ 14 h 16"/>
              <a:gd name="T20" fmla="*/ 15 w 34"/>
              <a:gd name="T21" fmla="*/ 15 h 16"/>
              <a:gd name="T22" fmla="*/ 12 w 34"/>
              <a:gd name="T23" fmla="*/ 16 h 16"/>
              <a:gd name="T24" fmla="*/ 10 w 34"/>
              <a:gd name="T25" fmla="*/ 16 h 16"/>
              <a:gd name="T26" fmla="*/ 6 w 34"/>
              <a:gd name="T27" fmla="*/ 14 h 16"/>
              <a:gd name="T28" fmla="*/ 6 w 34"/>
              <a:gd name="T29" fmla="*/ 14 h 16"/>
              <a:gd name="T30" fmla="*/ 10 w 34"/>
              <a:gd name="T31" fmla="*/ 13 h 16"/>
              <a:gd name="T32" fmla="*/ 12 w 34"/>
              <a:gd name="T33" fmla="*/ 14 h 16"/>
              <a:gd name="T34" fmla="*/ 14 w 34"/>
              <a:gd name="T35" fmla="*/ 13 h 16"/>
              <a:gd name="T36" fmla="*/ 15 w 34"/>
              <a:gd name="T37" fmla="*/ 13 h 16"/>
              <a:gd name="T38" fmla="*/ 13 w 34"/>
              <a:gd name="T39" fmla="*/ 13 h 16"/>
              <a:gd name="T40" fmla="*/ 13 w 34"/>
              <a:gd name="T41" fmla="*/ 12 h 16"/>
              <a:gd name="T42" fmla="*/ 11 w 34"/>
              <a:gd name="T43" fmla="*/ 12 h 16"/>
              <a:gd name="T44" fmla="*/ 11 w 34"/>
              <a:gd name="T45" fmla="*/ 11 h 16"/>
              <a:gd name="T46" fmla="*/ 8 w 34"/>
              <a:gd name="T47" fmla="*/ 12 h 16"/>
              <a:gd name="T48" fmla="*/ 3 w 34"/>
              <a:gd name="T49" fmla="*/ 12 h 16"/>
              <a:gd name="T50" fmla="*/ 0 w 34"/>
              <a:gd name="T51" fmla="*/ 11 h 16"/>
              <a:gd name="T52" fmla="*/ 0 w 34"/>
              <a:gd name="T53" fmla="*/ 10 h 16"/>
              <a:gd name="T54" fmla="*/ 2 w 34"/>
              <a:gd name="T55" fmla="*/ 10 h 16"/>
              <a:gd name="T56" fmla="*/ 5 w 34"/>
              <a:gd name="T57" fmla="*/ 10 h 16"/>
              <a:gd name="T58" fmla="*/ 3 w 34"/>
              <a:gd name="T59" fmla="*/ 8 h 16"/>
              <a:gd name="T60" fmla="*/ 1 w 34"/>
              <a:gd name="T61" fmla="*/ 7 h 16"/>
              <a:gd name="T62" fmla="*/ 2 w 34"/>
              <a:gd name="T63" fmla="*/ 6 h 16"/>
              <a:gd name="T64" fmla="*/ 8 w 34"/>
              <a:gd name="T65" fmla="*/ 6 h 16"/>
              <a:gd name="T66" fmla="*/ 6 w 34"/>
              <a:gd name="T67" fmla="*/ 5 h 16"/>
              <a:gd name="T68" fmla="*/ 4 w 34"/>
              <a:gd name="T69" fmla="*/ 3 h 16"/>
              <a:gd name="T70" fmla="*/ 5 w 34"/>
              <a:gd name="T71" fmla="*/ 2 h 16"/>
              <a:gd name="T72" fmla="*/ 11 w 34"/>
              <a:gd name="T73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4" h="16">
                <a:moveTo>
                  <a:pt x="11" y="0"/>
                </a:moveTo>
                <a:lnTo>
                  <a:pt x="14" y="1"/>
                </a:lnTo>
                <a:lnTo>
                  <a:pt x="18" y="1"/>
                </a:lnTo>
                <a:lnTo>
                  <a:pt x="23" y="2"/>
                </a:lnTo>
                <a:lnTo>
                  <a:pt x="27" y="7"/>
                </a:lnTo>
                <a:lnTo>
                  <a:pt x="32" y="8"/>
                </a:lnTo>
                <a:lnTo>
                  <a:pt x="34" y="10"/>
                </a:lnTo>
                <a:lnTo>
                  <a:pt x="33" y="11"/>
                </a:lnTo>
                <a:lnTo>
                  <a:pt x="33" y="12"/>
                </a:lnTo>
                <a:lnTo>
                  <a:pt x="28" y="14"/>
                </a:lnTo>
                <a:lnTo>
                  <a:pt x="15" y="15"/>
                </a:lnTo>
                <a:lnTo>
                  <a:pt x="12" y="16"/>
                </a:lnTo>
                <a:lnTo>
                  <a:pt x="10" y="16"/>
                </a:lnTo>
                <a:lnTo>
                  <a:pt x="6" y="14"/>
                </a:lnTo>
                <a:lnTo>
                  <a:pt x="6" y="14"/>
                </a:lnTo>
                <a:lnTo>
                  <a:pt x="10" y="13"/>
                </a:lnTo>
                <a:lnTo>
                  <a:pt x="12" y="14"/>
                </a:lnTo>
                <a:lnTo>
                  <a:pt x="14" y="13"/>
                </a:lnTo>
                <a:lnTo>
                  <a:pt x="15" y="13"/>
                </a:lnTo>
                <a:lnTo>
                  <a:pt x="13" y="13"/>
                </a:lnTo>
                <a:lnTo>
                  <a:pt x="13" y="12"/>
                </a:lnTo>
                <a:lnTo>
                  <a:pt x="11" y="12"/>
                </a:lnTo>
                <a:lnTo>
                  <a:pt x="11" y="11"/>
                </a:lnTo>
                <a:lnTo>
                  <a:pt x="8" y="12"/>
                </a:lnTo>
                <a:lnTo>
                  <a:pt x="3" y="12"/>
                </a:lnTo>
                <a:lnTo>
                  <a:pt x="0" y="11"/>
                </a:lnTo>
                <a:lnTo>
                  <a:pt x="0" y="10"/>
                </a:lnTo>
                <a:lnTo>
                  <a:pt x="2" y="10"/>
                </a:lnTo>
                <a:lnTo>
                  <a:pt x="5" y="10"/>
                </a:lnTo>
                <a:lnTo>
                  <a:pt x="3" y="8"/>
                </a:lnTo>
                <a:lnTo>
                  <a:pt x="1" y="7"/>
                </a:lnTo>
                <a:lnTo>
                  <a:pt x="2" y="6"/>
                </a:lnTo>
                <a:lnTo>
                  <a:pt x="8" y="6"/>
                </a:lnTo>
                <a:lnTo>
                  <a:pt x="6" y="5"/>
                </a:lnTo>
                <a:lnTo>
                  <a:pt x="4" y="3"/>
                </a:lnTo>
                <a:lnTo>
                  <a:pt x="5" y="2"/>
                </a:lnTo>
                <a:lnTo>
                  <a:pt x="1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29" name="Freeform 328"/>
          <p:cNvSpPr>
            <a:spLocks/>
          </p:cNvSpPr>
          <p:nvPr/>
        </p:nvSpPr>
        <p:spPr bwMode="auto">
          <a:xfrm>
            <a:off x="4027488" y="1460466"/>
            <a:ext cx="7937" cy="19050"/>
          </a:xfrm>
          <a:custGeom>
            <a:avLst/>
            <a:gdLst>
              <a:gd name="T0" fmla="*/ 5 w 5"/>
              <a:gd name="T1" fmla="*/ 4 h 12"/>
              <a:gd name="T2" fmla="*/ 4 w 5"/>
              <a:gd name="T3" fmla="*/ 8 h 12"/>
              <a:gd name="T4" fmla="*/ 4 w 5"/>
              <a:gd name="T5" fmla="*/ 10 h 12"/>
              <a:gd name="T6" fmla="*/ 4 w 5"/>
              <a:gd name="T7" fmla="*/ 12 h 12"/>
              <a:gd name="T8" fmla="*/ 4 w 5"/>
              <a:gd name="T9" fmla="*/ 10 h 12"/>
              <a:gd name="T10" fmla="*/ 2 w 5"/>
              <a:gd name="T11" fmla="*/ 10 h 12"/>
              <a:gd name="T12" fmla="*/ 4 w 5"/>
              <a:gd name="T13" fmla="*/ 8 h 12"/>
              <a:gd name="T14" fmla="*/ 2 w 5"/>
              <a:gd name="T15" fmla="*/ 7 h 12"/>
              <a:gd name="T16" fmla="*/ 2 w 5"/>
              <a:gd name="T17" fmla="*/ 6 h 12"/>
              <a:gd name="T18" fmla="*/ 1 w 5"/>
              <a:gd name="T19" fmla="*/ 5 h 12"/>
              <a:gd name="T20" fmla="*/ 0 w 5"/>
              <a:gd name="T21" fmla="*/ 4 h 12"/>
              <a:gd name="T22" fmla="*/ 0 w 5"/>
              <a:gd name="T23" fmla="*/ 3 h 12"/>
              <a:gd name="T24" fmla="*/ 4 w 5"/>
              <a:gd name="T25" fmla="*/ 3 h 12"/>
              <a:gd name="T26" fmla="*/ 2 w 5"/>
              <a:gd name="T27" fmla="*/ 3 h 12"/>
              <a:gd name="T28" fmla="*/ 1 w 5"/>
              <a:gd name="T29" fmla="*/ 2 h 12"/>
              <a:gd name="T30" fmla="*/ 2 w 5"/>
              <a:gd name="T31" fmla="*/ 0 h 12"/>
              <a:gd name="T32" fmla="*/ 4 w 5"/>
              <a:gd name="T33" fmla="*/ 2 h 12"/>
              <a:gd name="T34" fmla="*/ 5 w 5"/>
              <a:gd name="T35" fmla="*/ 3 h 12"/>
              <a:gd name="T36" fmla="*/ 5 w 5"/>
              <a:gd name="T37" fmla="*/ 4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" h="12">
                <a:moveTo>
                  <a:pt x="5" y="4"/>
                </a:moveTo>
                <a:lnTo>
                  <a:pt x="4" y="8"/>
                </a:lnTo>
                <a:lnTo>
                  <a:pt x="4" y="10"/>
                </a:lnTo>
                <a:lnTo>
                  <a:pt x="4" y="12"/>
                </a:lnTo>
                <a:lnTo>
                  <a:pt x="4" y="10"/>
                </a:lnTo>
                <a:lnTo>
                  <a:pt x="2" y="10"/>
                </a:lnTo>
                <a:lnTo>
                  <a:pt x="4" y="8"/>
                </a:lnTo>
                <a:lnTo>
                  <a:pt x="2" y="7"/>
                </a:lnTo>
                <a:lnTo>
                  <a:pt x="2" y="6"/>
                </a:lnTo>
                <a:lnTo>
                  <a:pt x="1" y="5"/>
                </a:lnTo>
                <a:lnTo>
                  <a:pt x="0" y="4"/>
                </a:lnTo>
                <a:lnTo>
                  <a:pt x="0" y="3"/>
                </a:lnTo>
                <a:lnTo>
                  <a:pt x="4" y="3"/>
                </a:lnTo>
                <a:lnTo>
                  <a:pt x="2" y="3"/>
                </a:lnTo>
                <a:lnTo>
                  <a:pt x="1" y="2"/>
                </a:lnTo>
                <a:lnTo>
                  <a:pt x="2" y="0"/>
                </a:lnTo>
                <a:lnTo>
                  <a:pt x="4" y="2"/>
                </a:lnTo>
                <a:lnTo>
                  <a:pt x="5" y="3"/>
                </a:lnTo>
                <a:lnTo>
                  <a:pt x="5" y="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30" name="Freeform 329"/>
          <p:cNvSpPr>
            <a:spLocks/>
          </p:cNvSpPr>
          <p:nvPr/>
        </p:nvSpPr>
        <p:spPr bwMode="auto">
          <a:xfrm>
            <a:off x="4027488" y="1460466"/>
            <a:ext cx="7937" cy="19050"/>
          </a:xfrm>
          <a:custGeom>
            <a:avLst/>
            <a:gdLst>
              <a:gd name="T0" fmla="*/ 5 w 5"/>
              <a:gd name="T1" fmla="*/ 4 h 12"/>
              <a:gd name="T2" fmla="*/ 4 w 5"/>
              <a:gd name="T3" fmla="*/ 8 h 12"/>
              <a:gd name="T4" fmla="*/ 4 w 5"/>
              <a:gd name="T5" fmla="*/ 10 h 12"/>
              <a:gd name="T6" fmla="*/ 4 w 5"/>
              <a:gd name="T7" fmla="*/ 12 h 12"/>
              <a:gd name="T8" fmla="*/ 4 w 5"/>
              <a:gd name="T9" fmla="*/ 10 h 12"/>
              <a:gd name="T10" fmla="*/ 2 w 5"/>
              <a:gd name="T11" fmla="*/ 10 h 12"/>
              <a:gd name="T12" fmla="*/ 4 w 5"/>
              <a:gd name="T13" fmla="*/ 8 h 12"/>
              <a:gd name="T14" fmla="*/ 2 w 5"/>
              <a:gd name="T15" fmla="*/ 7 h 12"/>
              <a:gd name="T16" fmla="*/ 2 w 5"/>
              <a:gd name="T17" fmla="*/ 6 h 12"/>
              <a:gd name="T18" fmla="*/ 1 w 5"/>
              <a:gd name="T19" fmla="*/ 5 h 12"/>
              <a:gd name="T20" fmla="*/ 0 w 5"/>
              <a:gd name="T21" fmla="*/ 4 h 12"/>
              <a:gd name="T22" fmla="*/ 0 w 5"/>
              <a:gd name="T23" fmla="*/ 3 h 12"/>
              <a:gd name="T24" fmla="*/ 4 w 5"/>
              <a:gd name="T25" fmla="*/ 3 h 12"/>
              <a:gd name="T26" fmla="*/ 2 w 5"/>
              <a:gd name="T27" fmla="*/ 3 h 12"/>
              <a:gd name="T28" fmla="*/ 1 w 5"/>
              <a:gd name="T29" fmla="*/ 2 h 12"/>
              <a:gd name="T30" fmla="*/ 2 w 5"/>
              <a:gd name="T31" fmla="*/ 0 h 12"/>
              <a:gd name="T32" fmla="*/ 4 w 5"/>
              <a:gd name="T33" fmla="*/ 2 h 12"/>
              <a:gd name="T34" fmla="*/ 5 w 5"/>
              <a:gd name="T35" fmla="*/ 3 h 12"/>
              <a:gd name="T36" fmla="*/ 5 w 5"/>
              <a:gd name="T37" fmla="*/ 4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" h="12">
                <a:moveTo>
                  <a:pt x="5" y="4"/>
                </a:moveTo>
                <a:lnTo>
                  <a:pt x="4" y="8"/>
                </a:lnTo>
                <a:lnTo>
                  <a:pt x="4" y="10"/>
                </a:lnTo>
                <a:lnTo>
                  <a:pt x="4" y="12"/>
                </a:lnTo>
                <a:lnTo>
                  <a:pt x="4" y="10"/>
                </a:lnTo>
                <a:lnTo>
                  <a:pt x="2" y="10"/>
                </a:lnTo>
                <a:lnTo>
                  <a:pt x="4" y="8"/>
                </a:lnTo>
                <a:lnTo>
                  <a:pt x="2" y="7"/>
                </a:lnTo>
                <a:lnTo>
                  <a:pt x="2" y="6"/>
                </a:lnTo>
                <a:lnTo>
                  <a:pt x="1" y="5"/>
                </a:lnTo>
                <a:lnTo>
                  <a:pt x="0" y="4"/>
                </a:lnTo>
                <a:lnTo>
                  <a:pt x="0" y="3"/>
                </a:lnTo>
                <a:lnTo>
                  <a:pt x="4" y="3"/>
                </a:lnTo>
                <a:lnTo>
                  <a:pt x="2" y="3"/>
                </a:lnTo>
                <a:lnTo>
                  <a:pt x="1" y="2"/>
                </a:lnTo>
                <a:lnTo>
                  <a:pt x="2" y="0"/>
                </a:lnTo>
                <a:lnTo>
                  <a:pt x="4" y="2"/>
                </a:lnTo>
                <a:lnTo>
                  <a:pt x="5" y="3"/>
                </a:lnTo>
                <a:lnTo>
                  <a:pt x="5" y="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31" name="Freeform 330"/>
          <p:cNvSpPr>
            <a:spLocks/>
          </p:cNvSpPr>
          <p:nvPr/>
        </p:nvSpPr>
        <p:spPr bwMode="auto">
          <a:xfrm>
            <a:off x="4024313" y="1490628"/>
            <a:ext cx="25400" cy="11113"/>
          </a:xfrm>
          <a:custGeom>
            <a:avLst/>
            <a:gdLst>
              <a:gd name="T0" fmla="*/ 11 w 16"/>
              <a:gd name="T1" fmla="*/ 1 h 7"/>
              <a:gd name="T2" fmla="*/ 11 w 16"/>
              <a:gd name="T3" fmla="*/ 1 h 7"/>
              <a:gd name="T4" fmla="*/ 9 w 16"/>
              <a:gd name="T5" fmla="*/ 3 h 7"/>
              <a:gd name="T6" fmla="*/ 9 w 16"/>
              <a:gd name="T7" fmla="*/ 3 h 7"/>
              <a:gd name="T8" fmla="*/ 9 w 16"/>
              <a:gd name="T9" fmla="*/ 4 h 7"/>
              <a:gd name="T10" fmla="*/ 11 w 16"/>
              <a:gd name="T11" fmla="*/ 5 h 7"/>
              <a:gd name="T12" fmla="*/ 13 w 16"/>
              <a:gd name="T13" fmla="*/ 5 h 7"/>
              <a:gd name="T14" fmla="*/ 14 w 16"/>
              <a:gd name="T15" fmla="*/ 4 h 7"/>
              <a:gd name="T16" fmla="*/ 16 w 16"/>
              <a:gd name="T17" fmla="*/ 4 h 7"/>
              <a:gd name="T18" fmla="*/ 16 w 16"/>
              <a:gd name="T19" fmla="*/ 5 h 7"/>
              <a:gd name="T20" fmla="*/ 16 w 16"/>
              <a:gd name="T21" fmla="*/ 6 h 7"/>
              <a:gd name="T22" fmla="*/ 13 w 16"/>
              <a:gd name="T23" fmla="*/ 7 h 7"/>
              <a:gd name="T24" fmla="*/ 10 w 16"/>
              <a:gd name="T25" fmla="*/ 6 h 7"/>
              <a:gd name="T26" fmla="*/ 4 w 16"/>
              <a:gd name="T27" fmla="*/ 6 h 7"/>
              <a:gd name="T28" fmla="*/ 2 w 16"/>
              <a:gd name="T29" fmla="*/ 6 h 7"/>
              <a:gd name="T30" fmla="*/ 0 w 16"/>
              <a:gd name="T31" fmla="*/ 6 h 7"/>
              <a:gd name="T32" fmla="*/ 0 w 16"/>
              <a:gd name="T33" fmla="*/ 5 h 7"/>
              <a:gd name="T34" fmla="*/ 1 w 16"/>
              <a:gd name="T35" fmla="*/ 3 h 7"/>
              <a:gd name="T36" fmla="*/ 1 w 16"/>
              <a:gd name="T37" fmla="*/ 1 h 7"/>
              <a:gd name="T38" fmla="*/ 1 w 16"/>
              <a:gd name="T39" fmla="*/ 1 h 7"/>
              <a:gd name="T40" fmla="*/ 4 w 16"/>
              <a:gd name="T41" fmla="*/ 0 h 7"/>
              <a:gd name="T42" fmla="*/ 6 w 16"/>
              <a:gd name="T43" fmla="*/ 1 h 7"/>
              <a:gd name="T44" fmla="*/ 8 w 16"/>
              <a:gd name="T45" fmla="*/ 1 h 7"/>
              <a:gd name="T46" fmla="*/ 9 w 16"/>
              <a:gd name="T47" fmla="*/ 0 h 7"/>
              <a:gd name="T48" fmla="*/ 10 w 16"/>
              <a:gd name="T49" fmla="*/ 0 h 7"/>
              <a:gd name="T50" fmla="*/ 11 w 16"/>
              <a:gd name="T51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6" h="7">
                <a:moveTo>
                  <a:pt x="11" y="1"/>
                </a:moveTo>
                <a:lnTo>
                  <a:pt x="11" y="1"/>
                </a:lnTo>
                <a:lnTo>
                  <a:pt x="9" y="3"/>
                </a:lnTo>
                <a:lnTo>
                  <a:pt x="9" y="3"/>
                </a:lnTo>
                <a:lnTo>
                  <a:pt x="9" y="4"/>
                </a:lnTo>
                <a:lnTo>
                  <a:pt x="11" y="5"/>
                </a:lnTo>
                <a:lnTo>
                  <a:pt x="13" y="5"/>
                </a:lnTo>
                <a:lnTo>
                  <a:pt x="14" y="4"/>
                </a:lnTo>
                <a:lnTo>
                  <a:pt x="16" y="4"/>
                </a:lnTo>
                <a:lnTo>
                  <a:pt x="16" y="5"/>
                </a:lnTo>
                <a:lnTo>
                  <a:pt x="16" y="6"/>
                </a:lnTo>
                <a:lnTo>
                  <a:pt x="13" y="7"/>
                </a:lnTo>
                <a:lnTo>
                  <a:pt x="10" y="6"/>
                </a:lnTo>
                <a:lnTo>
                  <a:pt x="4" y="6"/>
                </a:lnTo>
                <a:lnTo>
                  <a:pt x="2" y="6"/>
                </a:lnTo>
                <a:lnTo>
                  <a:pt x="0" y="6"/>
                </a:lnTo>
                <a:lnTo>
                  <a:pt x="0" y="5"/>
                </a:lnTo>
                <a:lnTo>
                  <a:pt x="1" y="3"/>
                </a:lnTo>
                <a:lnTo>
                  <a:pt x="1" y="1"/>
                </a:lnTo>
                <a:lnTo>
                  <a:pt x="1" y="1"/>
                </a:lnTo>
                <a:lnTo>
                  <a:pt x="4" y="0"/>
                </a:lnTo>
                <a:lnTo>
                  <a:pt x="6" y="1"/>
                </a:lnTo>
                <a:lnTo>
                  <a:pt x="8" y="1"/>
                </a:lnTo>
                <a:lnTo>
                  <a:pt x="9" y="0"/>
                </a:lnTo>
                <a:lnTo>
                  <a:pt x="10" y="0"/>
                </a:lnTo>
                <a:lnTo>
                  <a:pt x="11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32" name="Freeform 331"/>
          <p:cNvSpPr>
            <a:spLocks/>
          </p:cNvSpPr>
          <p:nvPr/>
        </p:nvSpPr>
        <p:spPr bwMode="auto">
          <a:xfrm>
            <a:off x="4024313" y="1490628"/>
            <a:ext cx="25400" cy="11113"/>
          </a:xfrm>
          <a:custGeom>
            <a:avLst/>
            <a:gdLst>
              <a:gd name="T0" fmla="*/ 11 w 16"/>
              <a:gd name="T1" fmla="*/ 1 h 7"/>
              <a:gd name="T2" fmla="*/ 11 w 16"/>
              <a:gd name="T3" fmla="*/ 1 h 7"/>
              <a:gd name="T4" fmla="*/ 9 w 16"/>
              <a:gd name="T5" fmla="*/ 3 h 7"/>
              <a:gd name="T6" fmla="*/ 9 w 16"/>
              <a:gd name="T7" fmla="*/ 3 h 7"/>
              <a:gd name="T8" fmla="*/ 9 w 16"/>
              <a:gd name="T9" fmla="*/ 4 h 7"/>
              <a:gd name="T10" fmla="*/ 11 w 16"/>
              <a:gd name="T11" fmla="*/ 5 h 7"/>
              <a:gd name="T12" fmla="*/ 13 w 16"/>
              <a:gd name="T13" fmla="*/ 5 h 7"/>
              <a:gd name="T14" fmla="*/ 14 w 16"/>
              <a:gd name="T15" fmla="*/ 4 h 7"/>
              <a:gd name="T16" fmla="*/ 16 w 16"/>
              <a:gd name="T17" fmla="*/ 4 h 7"/>
              <a:gd name="T18" fmla="*/ 16 w 16"/>
              <a:gd name="T19" fmla="*/ 5 h 7"/>
              <a:gd name="T20" fmla="*/ 16 w 16"/>
              <a:gd name="T21" fmla="*/ 6 h 7"/>
              <a:gd name="T22" fmla="*/ 13 w 16"/>
              <a:gd name="T23" fmla="*/ 7 h 7"/>
              <a:gd name="T24" fmla="*/ 10 w 16"/>
              <a:gd name="T25" fmla="*/ 6 h 7"/>
              <a:gd name="T26" fmla="*/ 4 w 16"/>
              <a:gd name="T27" fmla="*/ 6 h 7"/>
              <a:gd name="T28" fmla="*/ 2 w 16"/>
              <a:gd name="T29" fmla="*/ 6 h 7"/>
              <a:gd name="T30" fmla="*/ 0 w 16"/>
              <a:gd name="T31" fmla="*/ 6 h 7"/>
              <a:gd name="T32" fmla="*/ 0 w 16"/>
              <a:gd name="T33" fmla="*/ 5 h 7"/>
              <a:gd name="T34" fmla="*/ 1 w 16"/>
              <a:gd name="T35" fmla="*/ 3 h 7"/>
              <a:gd name="T36" fmla="*/ 1 w 16"/>
              <a:gd name="T37" fmla="*/ 1 h 7"/>
              <a:gd name="T38" fmla="*/ 1 w 16"/>
              <a:gd name="T39" fmla="*/ 1 h 7"/>
              <a:gd name="T40" fmla="*/ 4 w 16"/>
              <a:gd name="T41" fmla="*/ 0 h 7"/>
              <a:gd name="T42" fmla="*/ 6 w 16"/>
              <a:gd name="T43" fmla="*/ 1 h 7"/>
              <a:gd name="T44" fmla="*/ 8 w 16"/>
              <a:gd name="T45" fmla="*/ 1 h 7"/>
              <a:gd name="T46" fmla="*/ 9 w 16"/>
              <a:gd name="T47" fmla="*/ 0 h 7"/>
              <a:gd name="T48" fmla="*/ 10 w 16"/>
              <a:gd name="T49" fmla="*/ 0 h 7"/>
              <a:gd name="T50" fmla="*/ 11 w 16"/>
              <a:gd name="T51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6" h="7">
                <a:moveTo>
                  <a:pt x="11" y="1"/>
                </a:moveTo>
                <a:lnTo>
                  <a:pt x="11" y="1"/>
                </a:lnTo>
                <a:lnTo>
                  <a:pt x="9" y="3"/>
                </a:lnTo>
                <a:lnTo>
                  <a:pt x="9" y="3"/>
                </a:lnTo>
                <a:lnTo>
                  <a:pt x="9" y="4"/>
                </a:lnTo>
                <a:lnTo>
                  <a:pt x="11" y="5"/>
                </a:lnTo>
                <a:lnTo>
                  <a:pt x="13" y="5"/>
                </a:lnTo>
                <a:lnTo>
                  <a:pt x="14" y="4"/>
                </a:lnTo>
                <a:lnTo>
                  <a:pt x="16" y="4"/>
                </a:lnTo>
                <a:lnTo>
                  <a:pt x="16" y="5"/>
                </a:lnTo>
                <a:lnTo>
                  <a:pt x="16" y="6"/>
                </a:lnTo>
                <a:lnTo>
                  <a:pt x="13" y="7"/>
                </a:lnTo>
                <a:lnTo>
                  <a:pt x="10" y="6"/>
                </a:lnTo>
                <a:lnTo>
                  <a:pt x="4" y="6"/>
                </a:lnTo>
                <a:lnTo>
                  <a:pt x="2" y="6"/>
                </a:lnTo>
                <a:lnTo>
                  <a:pt x="0" y="6"/>
                </a:lnTo>
                <a:lnTo>
                  <a:pt x="0" y="5"/>
                </a:lnTo>
                <a:lnTo>
                  <a:pt x="1" y="3"/>
                </a:lnTo>
                <a:lnTo>
                  <a:pt x="1" y="1"/>
                </a:lnTo>
                <a:lnTo>
                  <a:pt x="1" y="1"/>
                </a:lnTo>
                <a:lnTo>
                  <a:pt x="4" y="0"/>
                </a:lnTo>
                <a:lnTo>
                  <a:pt x="6" y="1"/>
                </a:lnTo>
                <a:lnTo>
                  <a:pt x="8" y="1"/>
                </a:lnTo>
                <a:lnTo>
                  <a:pt x="9" y="0"/>
                </a:lnTo>
                <a:lnTo>
                  <a:pt x="10" y="0"/>
                </a:lnTo>
                <a:lnTo>
                  <a:pt x="11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33" name="Freeform 332"/>
          <p:cNvSpPr>
            <a:spLocks/>
          </p:cNvSpPr>
          <p:nvPr/>
        </p:nvSpPr>
        <p:spPr bwMode="auto">
          <a:xfrm>
            <a:off x="3968750" y="1512853"/>
            <a:ext cx="28575" cy="7938"/>
          </a:xfrm>
          <a:custGeom>
            <a:avLst/>
            <a:gdLst>
              <a:gd name="T0" fmla="*/ 3 w 18"/>
              <a:gd name="T1" fmla="*/ 1 h 5"/>
              <a:gd name="T2" fmla="*/ 0 w 18"/>
              <a:gd name="T3" fmla="*/ 2 h 5"/>
              <a:gd name="T4" fmla="*/ 0 w 18"/>
              <a:gd name="T5" fmla="*/ 3 h 5"/>
              <a:gd name="T6" fmla="*/ 1 w 18"/>
              <a:gd name="T7" fmla="*/ 4 h 5"/>
              <a:gd name="T8" fmla="*/ 5 w 18"/>
              <a:gd name="T9" fmla="*/ 4 h 5"/>
              <a:gd name="T10" fmla="*/ 7 w 18"/>
              <a:gd name="T11" fmla="*/ 5 h 5"/>
              <a:gd name="T12" fmla="*/ 17 w 18"/>
              <a:gd name="T13" fmla="*/ 4 h 5"/>
              <a:gd name="T14" fmla="*/ 18 w 18"/>
              <a:gd name="T15" fmla="*/ 3 h 5"/>
              <a:gd name="T16" fmla="*/ 16 w 18"/>
              <a:gd name="T17" fmla="*/ 2 h 5"/>
              <a:gd name="T18" fmla="*/ 16 w 18"/>
              <a:gd name="T19" fmla="*/ 1 h 5"/>
              <a:gd name="T20" fmla="*/ 15 w 18"/>
              <a:gd name="T21" fmla="*/ 0 h 5"/>
              <a:gd name="T22" fmla="*/ 7 w 18"/>
              <a:gd name="T23" fmla="*/ 0 h 5"/>
              <a:gd name="T24" fmla="*/ 5 w 18"/>
              <a:gd name="T25" fmla="*/ 0 h 5"/>
              <a:gd name="T26" fmla="*/ 3 w 18"/>
              <a:gd name="T27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8" h="5">
                <a:moveTo>
                  <a:pt x="3" y="1"/>
                </a:moveTo>
                <a:lnTo>
                  <a:pt x="0" y="2"/>
                </a:lnTo>
                <a:lnTo>
                  <a:pt x="0" y="3"/>
                </a:lnTo>
                <a:lnTo>
                  <a:pt x="1" y="4"/>
                </a:lnTo>
                <a:lnTo>
                  <a:pt x="5" y="4"/>
                </a:lnTo>
                <a:lnTo>
                  <a:pt x="7" y="5"/>
                </a:lnTo>
                <a:lnTo>
                  <a:pt x="17" y="4"/>
                </a:lnTo>
                <a:lnTo>
                  <a:pt x="18" y="3"/>
                </a:lnTo>
                <a:lnTo>
                  <a:pt x="16" y="2"/>
                </a:lnTo>
                <a:lnTo>
                  <a:pt x="16" y="1"/>
                </a:lnTo>
                <a:lnTo>
                  <a:pt x="15" y="0"/>
                </a:lnTo>
                <a:lnTo>
                  <a:pt x="7" y="0"/>
                </a:lnTo>
                <a:lnTo>
                  <a:pt x="5" y="0"/>
                </a:lnTo>
                <a:lnTo>
                  <a:pt x="3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34" name="Freeform 333"/>
          <p:cNvSpPr>
            <a:spLocks/>
          </p:cNvSpPr>
          <p:nvPr/>
        </p:nvSpPr>
        <p:spPr bwMode="auto">
          <a:xfrm>
            <a:off x="3968750" y="1512853"/>
            <a:ext cx="28575" cy="7938"/>
          </a:xfrm>
          <a:custGeom>
            <a:avLst/>
            <a:gdLst>
              <a:gd name="T0" fmla="*/ 3 w 18"/>
              <a:gd name="T1" fmla="*/ 1 h 5"/>
              <a:gd name="T2" fmla="*/ 0 w 18"/>
              <a:gd name="T3" fmla="*/ 2 h 5"/>
              <a:gd name="T4" fmla="*/ 0 w 18"/>
              <a:gd name="T5" fmla="*/ 3 h 5"/>
              <a:gd name="T6" fmla="*/ 1 w 18"/>
              <a:gd name="T7" fmla="*/ 4 h 5"/>
              <a:gd name="T8" fmla="*/ 5 w 18"/>
              <a:gd name="T9" fmla="*/ 4 h 5"/>
              <a:gd name="T10" fmla="*/ 7 w 18"/>
              <a:gd name="T11" fmla="*/ 5 h 5"/>
              <a:gd name="T12" fmla="*/ 17 w 18"/>
              <a:gd name="T13" fmla="*/ 4 h 5"/>
              <a:gd name="T14" fmla="*/ 18 w 18"/>
              <a:gd name="T15" fmla="*/ 3 h 5"/>
              <a:gd name="T16" fmla="*/ 16 w 18"/>
              <a:gd name="T17" fmla="*/ 2 h 5"/>
              <a:gd name="T18" fmla="*/ 16 w 18"/>
              <a:gd name="T19" fmla="*/ 1 h 5"/>
              <a:gd name="T20" fmla="*/ 15 w 18"/>
              <a:gd name="T21" fmla="*/ 0 h 5"/>
              <a:gd name="T22" fmla="*/ 7 w 18"/>
              <a:gd name="T23" fmla="*/ 0 h 5"/>
              <a:gd name="T24" fmla="*/ 5 w 18"/>
              <a:gd name="T25" fmla="*/ 0 h 5"/>
              <a:gd name="T26" fmla="*/ 3 w 18"/>
              <a:gd name="T27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8" h="5">
                <a:moveTo>
                  <a:pt x="3" y="1"/>
                </a:moveTo>
                <a:lnTo>
                  <a:pt x="0" y="2"/>
                </a:lnTo>
                <a:lnTo>
                  <a:pt x="0" y="3"/>
                </a:lnTo>
                <a:lnTo>
                  <a:pt x="1" y="4"/>
                </a:lnTo>
                <a:lnTo>
                  <a:pt x="5" y="4"/>
                </a:lnTo>
                <a:lnTo>
                  <a:pt x="7" y="5"/>
                </a:lnTo>
                <a:lnTo>
                  <a:pt x="17" y="4"/>
                </a:lnTo>
                <a:lnTo>
                  <a:pt x="18" y="3"/>
                </a:lnTo>
                <a:lnTo>
                  <a:pt x="16" y="2"/>
                </a:lnTo>
                <a:lnTo>
                  <a:pt x="16" y="1"/>
                </a:lnTo>
                <a:lnTo>
                  <a:pt x="15" y="0"/>
                </a:lnTo>
                <a:lnTo>
                  <a:pt x="7" y="0"/>
                </a:lnTo>
                <a:lnTo>
                  <a:pt x="5" y="0"/>
                </a:lnTo>
                <a:lnTo>
                  <a:pt x="3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35" name="Freeform 334"/>
          <p:cNvSpPr>
            <a:spLocks/>
          </p:cNvSpPr>
          <p:nvPr/>
        </p:nvSpPr>
        <p:spPr bwMode="auto">
          <a:xfrm>
            <a:off x="3897313" y="1535078"/>
            <a:ext cx="47625" cy="11113"/>
          </a:xfrm>
          <a:custGeom>
            <a:avLst/>
            <a:gdLst>
              <a:gd name="T0" fmla="*/ 0 w 30"/>
              <a:gd name="T1" fmla="*/ 3 h 7"/>
              <a:gd name="T2" fmla="*/ 0 w 30"/>
              <a:gd name="T3" fmla="*/ 4 h 7"/>
              <a:gd name="T4" fmla="*/ 8 w 30"/>
              <a:gd name="T5" fmla="*/ 6 h 7"/>
              <a:gd name="T6" fmla="*/ 15 w 30"/>
              <a:gd name="T7" fmla="*/ 7 h 7"/>
              <a:gd name="T8" fmla="*/ 17 w 30"/>
              <a:gd name="T9" fmla="*/ 6 h 7"/>
              <a:gd name="T10" fmla="*/ 19 w 30"/>
              <a:gd name="T11" fmla="*/ 6 h 7"/>
              <a:gd name="T12" fmla="*/ 27 w 30"/>
              <a:gd name="T13" fmla="*/ 6 h 7"/>
              <a:gd name="T14" fmla="*/ 29 w 30"/>
              <a:gd name="T15" fmla="*/ 4 h 7"/>
              <a:gd name="T16" fmla="*/ 30 w 30"/>
              <a:gd name="T17" fmla="*/ 4 h 7"/>
              <a:gd name="T18" fmla="*/ 19 w 30"/>
              <a:gd name="T19" fmla="*/ 3 h 7"/>
              <a:gd name="T20" fmla="*/ 9 w 30"/>
              <a:gd name="T21" fmla="*/ 2 h 7"/>
              <a:gd name="T22" fmla="*/ 15 w 30"/>
              <a:gd name="T23" fmla="*/ 2 h 7"/>
              <a:gd name="T24" fmla="*/ 20 w 30"/>
              <a:gd name="T25" fmla="*/ 3 h 7"/>
              <a:gd name="T26" fmla="*/ 26 w 30"/>
              <a:gd name="T27" fmla="*/ 3 h 7"/>
              <a:gd name="T28" fmla="*/ 26 w 30"/>
              <a:gd name="T29" fmla="*/ 2 h 7"/>
              <a:gd name="T30" fmla="*/ 20 w 30"/>
              <a:gd name="T31" fmla="*/ 1 h 7"/>
              <a:gd name="T32" fmla="*/ 17 w 30"/>
              <a:gd name="T33" fmla="*/ 1 h 7"/>
              <a:gd name="T34" fmla="*/ 8 w 30"/>
              <a:gd name="T35" fmla="*/ 0 h 7"/>
              <a:gd name="T36" fmla="*/ 0 w 30"/>
              <a:gd name="T37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0" h="7">
                <a:moveTo>
                  <a:pt x="0" y="3"/>
                </a:moveTo>
                <a:lnTo>
                  <a:pt x="0" y="4"/>
                </a:lnTo>
                <a:lnTo>
                  <a:pt x="8" y="6"/>
                </a:lnTo>
                <a:lnTo>
                  <a:pt x="15" y="7"/>
                </a:lnTo>
                <a:lnTo>
                  <a:pt x="17" y="6"/>
                </a:lnTo>
                <a:lnTo>
                  <a:pt x="19" y="6"/>
                </a:lnTo>
                <a:lnTo>
                  <a:pt x="27" y="6"/>
                </a:lnTo>
                <a:lnTo>
                  <a:pt x="29" y="4"/>
                </a:lnTo>
                <a:lnTo>
                  <a:pt x="30" y="4"/>
                </a:lnTo>
                <a:lnTo>
                  <a:pt x="19" y="3"/>
                </a:lnTo>
                <a:lnTo>
                  <a:pt x="9" y="2"/>
                </a:lnTo>
                <a:lnTo>
                  <a:pt x="15" y="2"/>
                </a:lnTo>
                <a:lnTo>
                  <a:pt x="20" y="3"/>
                </a:lnTo>
                <a:lnTo>
                  <a:pt x="26" y="3"/>
                </a:lnTo>
                <a:lnTo>
                  <a:pt x="26" y="2"/>
                </a:lnTo>
                <a:lnTo>
                  <a:pt x="20" y="1"/>
                </a:lnTo>
                <a:lnTo>
                  <a:pt x="17" y="1"/>
                </a:lnTo>
                <a:lnTo>
                  <a:pt x="8" y="0"/>
                </a:lnTo>
                <a:lnTo>
                  <a:pt x="0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36" name="Freeform 335"/>
          <p:cNvSpPr>
            <a:spLocks/>
          </p:cNvSpPr>
          <p:nvPr/>
        </p:nvSpPr>
        <p:spPr bwMode="auto">
          <a:xfrm>
            <a:off x="3897313" y="1535078"/>
            <a:ext cx="47625" cy="11113"/>
          </a:xfrm>
          <a:custGeom>
            <a:avLst/>
            <a:gdLst>
              <a:gd name="T0" fmla="*/ 0 w 30"/>
              <a:gd name="T1" fmla="*/ 3 h 7"/>
              <a:gd name="T2" fmla="*/ 0 w 30"/>
              <a:gd name="T3" fmla="*/ 4 h 7"/>
              <a:gd name="T4" fmla="*/ 8 w 30"/>
              <a:gd name="T5" fmla="*/ 6 h 7"/>
              <a:gd name="T6" fmla="*/ 15 w 30"/>
              <a:gd name="T7" fmla="*/ 7 h 7"/>
              <a:gd name="T8" fmla="*/ 17 w 30"/>
              <a:gd name="T9" fmla="*/ 6 h 7"/>
              <a:gd name="T10" fmla="*/ 19 w 30"/>
              <a:gd name="T11" fmla="*/ 6 h 7"/>
              <a:gd name="T12" fmla="*/ 27 w 30"/>
              <a:gd name="T13" fmla="*/ 6 h 7"/>
              <a:gd name="T14" fmla="*/ 29 w 30"/>
              <a:gd name="T15" fmla="*/ 4 h 7"/>
              <a:gd name="T16" fmla="*/ 30 w 30"/>
              <a:gd name="T17" fmla="*/ 4 h 7"/>
              <a:gd name="T18" fmla="*/ 19 w 30"/>
              <a:gd name="T19" fmla="*/ 3 h 7"/>
              <a:gd name="T20" fmla="*/ 9 w 30"/>
              <a:gd name="T21" fmla="*/ 2 h 7"/>
              <a:gd name="T22" fmla="*/ 15 w 30"/>
              <a:gd name="T23" fmla="*/ 2 h 7"/>
              <a:gd name="T24" fmla="*/ 20 w 30"/>
              <a:gd name="T25" fmla="*/ 3 h 7"/>
              <a:gd name="T26" fmla="*/ 26 w 30"/>
              <a:gd name="T27" fmla="*/ 3 h 7"/>
              <a:gd name="T28" fmla="*/ 26 w 30"/>
              <a:gd name="T29" fmla="*/ 2 h 7"/>
              <a:gd name="T30" fmla="*/ 20 w 30"/>
              <a:gd name="T31" fmla="*/ 1 h 7"/>
              <a:gd name="T32" fmla="*/ 17 w 30"/>
              <a:gd name="T33" fmla="*/ 1 h 7"/>
              <a:gd name="T34" fmla="*/ 8 w 30"/>
              <a:gd name="T35" fmla="*/ 0 h 7"/>
              <a:gd name="T36" fmla="*/ 0 w 30"/>
              <a:gd name="T37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0" h="7">
                <a:moveTo>
                  <a:pt x="0" y="3"/>
                </a:moveTo>
                <a:lnTo>
                  <a:pt x="0" y="4"/>
                </a:lnTo>
                <a:lnTo>
                  <a:pt x="8" y="6"/>
                </a:lnTo>
                <a:lnTo>
                  <a:pt x="15" y="7"/>
                </a:lnTo>
                <a:lnTo>
                  <a:pt x="17" y="6"/>
                </a:lnTo>
                <a:lnTo>
                  <a:pt x="19" y="6"/>
                </a:lnTo>
                <a:lnTo>
                  <a:pt x="27" y="6"/>
                </a:lnTo>
                <a:lnTo>
                  <a:pt x="29" y="4"/>
                </a:lnTo>
                <a:lnTo>
                  <a:pt x="30" y="4"/>
                </a:lnTo>
                <a:lnTo>
                  <a:pt x="19" y="3"/>
                </a:lnTo>
                <a:lnTo>
                  <a:pt x="9" y="2"/>
                </a:lnTo>
                <a:lnTo>
                  <a:pt x="15" y="2"/>
                </a:lnTo>
                <a:lnTo>
                  <a:pt x="20" y="3"/>
                </a:lnTo>
                <a:lnTo>
                  <a:pt x="26" y="3"/>
                </a:lnTo>
                <a:lnTo>
                  <a:pt x="26" y="2"/>
                </a:lnTo>
                <a:lnTo>
                  <a:pt x="20" y="1"/>
                </a:lnTo>
                <a:lnTo>
                  <a:pt x="17" y="1"/>
                </a:lnTo>
                <a:lnTo>
                  <a:pt x="8" y="0"/>
                </a:lnTo>
                <a:lnTo>
                  <a:pt x="0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37" name="Freeform 336"/>
          <p:cNvSpPr>
            <a:spLocks/>
          </p:cNvSpPr>
          <p:nvPr/>
        </p:nvSpPr>
        <p:spPr bwMode="auto">
          <a:xfrm>
            <a:off x="3914775" y="1544603"/>
            <a:ext cx="44450" cy="7938"/>
          </a:xfrm>
          <a:custGeom>
            <a:avLst/>
            <a:gdLst>
              <a:gd name="T0" fmla="*/ 28 w 28"/>
              <a:gd name="T1" fmla="*/ 2 h 5"/>
              <a:gd name="T2" fmla="*/ 26 w 28"/>
              <a:gd name="T3" fmla="*/ 3 h 5"/>
              <a:gd name="T4" fmla="*/ 26 w 28"/>
              <a:gd name="T5" fmla="*/ 3 h 5"/>
              <a:gd name="T6" fmla="*/ 28 w 28"/>
              <a:gd name="T7" fmla="*/ 4 h 5"/>
              <a:gd name="T8" fmla="*/ 26 w 28"/>
              <a:gd name="T9" fmla="*/ 5 h 5"/>
              <a:gd name="T10" fmla="*/ 20 w 28"/>
              <a:gd name="T11" fmla="*/ 4 h 5"/>
              <a:gd name="T12" fmla="*/ 20 w 28"/>
              <a:gd name="T13" fmla="*/ 4 h 5"/>
              <a:gd name="T14" fmla="*/ 17 w 28"/>
              <a:gd name="T15" fmla="*/ 3 h 5"/>
              <a:gd name="T16" fmla="*/ 10 w 28"/>
              <a:gd name="T17" fmla="*/ 2 h 5"/>
              <a:gd name="T18" fmla="*/ 0 w 28"/>
              <a:gd name="T19" fmla="*/ 2 h 5"/>
              <a:gd name="T20" fmla="*/ 0 w 28"/>
              <a:gd name="T21" fmla="*/ 1 h 5"/>
              <a:gd name="T22" fmla="*/ 15 w 28"/>
              <a:gd name="T23" fmla="*/ 0 h 5"/>
              <a:gd name="T24" fmla="*/ 17 w 28"/>
              <a:gd name="T25" fmla="*/ 1 h 5"/>
              <a:gd name="T26" fmla="*/ 19 w 28"/>
              <a:gd name="T27" fmla="*/ 1 h 5"/>
              <a:gd name="T28" fmla="*/ 21 w 28"/>
              <a:gd name="T29" fmla="*/ 1 h 5"/>
              <a:gd name="T30" fmla="*/ 24 w 28"/>
              <a:gd name="T31" fmla="*/ 1 h 5"/>
              <a:gd name="T32" fmla="*/ 28 w 28"/>
              <a:gd name="T33" fmla="*/ 2 h 5"/>
              <a:gd name="T34" fmla="*/ 28 w 28"/>
              <a:gd name="T35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8" h="5">
                <a:moveTo>
                  <a:pt x="28" y="2"/>
                </a:moveTo>
                <a:lnTo>
                  <a:pt x="26" y="3"/>
                </a:lnTo>
                <a:lnTo>
                  <a:pt x="26" y="3"/>
                </a:lnTo>
                <a:lnTo>
                  <a:pt x="28" y="4"/>
                </a:lnTo>
                <a:lnTo>
                  <a:pt x="26" y="5"/>
                </a:lnTo>
                <a:lnTo>
                  <a:pt x="20" y="4"/>
                </a:lnTo>
                <a:lnTo>
                  <a:pt x="20" y="4"/>
                </a:lnTo>
                <a:lnTo>
                  <a:pt x="17" y="3"/>
                </a:lnTo>
                <a:lnTo>
                  <a:pt x="10" y="2"/>
                </a:lnTo>
                <a:lnTo>
                  <a:pt x="0" y="2"/>
                </a:lnTo>
                <a:lnTo>
                  <a:pt x="0" y="1"/>
                </a:lnTo>
                <a:lnTo>
                  <a:pt x="15" y="0"/>
                </a:lnTo>
                <a:lnTo>
                  <a:pt x="17" y="1"/>
                </a:lnTo>
                <a:lnTo>
                  <a:pt x="19" y="1"/>
                </a:lnTo>
                <a:lnTo>
                  <a:pt x="21" y="1"/>
                </a:lnTo>
                <a:lnTo>
                  <a:pt x="24" y="1"/>
                </a:lnTo>
                <a:lnTo>
                  <a:pt x="28" y="2"/>
                </a:lnTo>
                <a:lnTo>
                  <a:pt x="28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38" name="Freeform 337"/>
          <p:cNvSpPr>
            <a:spLocks/>
          </p:cNvSpPr>
          <p:nvPr/>
        </p:nvSpPr>
        <p:spPr bwMode="auto">
          <a:xfrm>
            <a:off x="3914775" y="1544603"/>
            <a:ext cx="44450" cy="7938"/>
          </a:xfrm>
          <a:custGeom>
            <a:avLst/>
            <a:gdLst>
              <a:gd name="T0" fmla="*/ 28 w 28"/>
              <a:gd name="T1" fmla="*/ 2 h 5"/>
              <a:gd name="T2" fmla="*/ 26 w 28"/>
              <a:gd name="T3" fmla="*/ 3 h 5"/>
              <a:gd name="T4" fmla="*/ 26 w 28"/>
              <a:gd name="T5" fmla="*/ 3 h 5"/>
              <a:gd name="T6" fmla="*/ 28 w 28"/>
              <a:gd name="T7" fmla="*/ 4 h 5"/>
              <a:gd name="T8" fmla="*/ 26 w 28"/>
              <a:gd name="T9" fmla="*/ 5 h 5"/>
              <a:gd name="T10" fmla="*/ 20 w 28"/>
              <a:gd name="T11" fmla="*/ 4 h 5"/>
              <a:gd name="T12" fmla="*/ 20 w 28"/>
              <a:gd name="T13" fmla="*/ 4 h 5"/>
              <a:gd name="T14" fmla="*/ 17 w 28"/>
              <a:gd name="T15" fmla="*/ 3 h 5"/>
              <a:gd name="T16" fmla="*/ 10 w 28"/>
              <a:gd name="T17" fmla="*/ 2 h 5"/>
              <a:gd name="T18" fmla="*/ 0 w 28"/>
              <a:gd name="T19" fmla="*/ 2 h 5"/>
              <a:gd name="T20" fmla="*/ 0 w 28"/>
              <a:gd name="T21" fmla="*/ 1 h 5"/>
              <a:gd name="T22" fmla="*/ 15 w 28"/>
              <a:gd name="T23" fmla="*/ 0 h 5"/>
              <a:gd name="T24" fmla="*/ 17 w 28"/>
              <a:gd name="T25" fmla="*/ 1 h 5"/>
              <a:gd name="T26" fmla="*/ 19 w 28"/>
              <a:gd name="T27" fmla="*/ 1 h 5"/>
              <a:gd name="T28" fmla="*/ 21 w 28"/>
              <a:gd name="T29" fmla="*/ 1 h 5"/>
              <a:gd name="T30" fmla="*/ 24 w 28"/>
              <a:gd name="T31" fmla="*/ 1 h 5"/>
              <a:gd name="T32" fmla="*/ 28 w 28"/>
              <a:gd name="T33" fmla="*/ 2 h 5"/>
              <a:gd name="T34" fmla="*/ 28 w 28"/>
              <a:gd name="T35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8" h="5">
                <a:moveTo>
                  <a:pt x="28" y="2"/>
                </a:moveTo>
                <a:lnTo>
                  <a:pt x="26" y="3"/>
                </a:lnTo>
                <a:lnTo>
                  <a:pt x="26" y="3"/>
                </a:lnTo>
                <a:lnTo>
                  <a:pt x="28" y="4"/>
                </a:lnTo>
                <a:lnTo>
                  <a:pt x="26" y="5"/>
                </a:lnTo>
                <a:lnTo>
                  <a:pt x="20" y="4"/>
                </a:lnTo>
                <a:lnTo>
                  <a:pt x="20" y="4"/>
                </a:lnTo>
                <a:lnTo>
                  <a:pt x="17" y="3"/>
                </a:lnTo>
                <a:lnTo>
                  <a:pt x="10" y="2"/>
                </a:lnTo>
                <a:lnTo>
                  <a:pt x="0" y="2"/>
                </a:lnTo>
                <a:lnTo>
                  <a:pt x="0" y="1"/>
                </a:lnTo>
                <a:lnTo>
                  <a:pt x="15" y="0"/>
                </a:lnTo>
                <a:lnTo>
                  <a:pt x="17" y="1"/>
                </a:lnTo>
                <a:lnTo>
                  <a:pt x="19" y="1"/>
                </a:lnTo>
                <a:lnTo>
                  <a:pt x="21" y="1"/>
                </a:lnTo>
                <a:lnTo>
                  <a:pt x="24" y="1"/>
                </a:lnTo>
                <a:lnTo>
                  <a:pt x="28" y="2"/>
                </a:lnTo>
                <a:lnTo>
                  <a:pt x="28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39" name="Freeform 338"/>
          <p:cNvSpPr>
            <a:spLocks/>
          </p:cNvSpPr>
          <p:nvPr/>
        </p:nvSpPr>
        <p:spPr bwMode="auto">
          <a:xfrm>
            <a:off x="3914775" y="1547778"/>
            <a:ext cx="42862" cy="19050"/>
          </a:xfrm>
          <a:custGeom>
            <a:avLst/>
            <a:gdLst>
              <a:gd name="T0" fmla="*/ 17 w 27"/>
              <a:gd name="T1" fmla="*/ 2 h 12"/>
              <a:gd name="T2" fmla="*/ 19 w 27"/>
              <a:gd name="T3" fmla="*/ 4 h 12"/>
              <a:gd name="T4" fmla="*/ 24 w 27"/>
              <a:gd name="T5" fmla="*/ 4 h 12"/>
              <a:gd name="T6" fmla="*/ 25 w 27"/>
              <a:gd name="T7" fmla="*/ 5 h 12"/>
              <a:gd name="T8" fmla="*/ 27 w 27"/>
              <a:gd name="T9" fmla="*/ 5 h 12"/>
              <a:gd name="T10" fmla="*/ 27 w 27"/>
              <a:gd name="T11" fmla="*/ 8 h 12"/>
              <a:gd name="T12" fmla="*/ 25 w 27"/>
              <a:gd name="T13" fmla="*/ 8 h 12"/>
              <a:gd name="T14" fmla="*/ 24 w 27"/>
              <a:gd name="T15" fmla="*/ 6 h 12"/>
              <a:gd name="T16" fmla="*/ 20 w 27"/>
              <a:gd name="T17" fmla="*/ 6 h 12"/>
              <a:gd name="T18" fmla="*/ 18 w 27"/>
              <a:gd name="T19" fmla="*/ 8 h 12"/>
              <a:gd name="T20" fmla="*/ 21 w 27"/>
              <a:gd name="T21" fmla="*/ 9 h 12"/>
              <a:gd name="T22" fmla="*/ 22 w 27"/>
              <a:gd name="T23" fmla="*/ 9 h 12"/>
              <a:gd name="T24" fmla="*/ 25 w 27"/>
              <a:gd name="T25" fmla="*/ 10 h 12"/>
              <a:gd name="T26" fmla="*/ 24 w 27"/>
              <a:gd name="T27" fmla="*/ 11 h 12"/>
              <a:gd name="T28" fmla="*/ 22 w 27"/>
              <a:gd name="T29" fmla="*/ 12 h 12"/>
              <a:gd name="T30" fmla="*/ 20 w 27"/>
              <a:gd name="T31" fmla="*/ 11 h 12"/>
              <a:gd name="T32" fmla="*/ 20 w 27"/>
              <a:gd name="T33" fmla="*/ 10 h 12"/>
              <a:gd name="T34" fmla="*/ 18 w 27"/>
              <a:gd name="T35" fmla="*/ 11 h 12"/>
              <a:gd name="T36" fmla="*/ 14 w 27"/>
              <a:gd name="T37" fmla="*/ 8 h 12"/>
              <a:gd name="T38" fmla="*/ 5 w 27"/>
              <a:gd name="T39" fmla="*/ 6 h 12"/>
              <a:gd name="T40" fmla="*/ 4 w 27"/>
              <a:gd name="T41" fmla="*/ 5 h 12"/>
              <a:gd name="T42" fmla="*/ 1 w 27"/>
              <a:gd name="T43" fmla="*/ 4 h 12"/>
              <a:gd name="T44" fmla="*/ 1 w 27"/>
              <a:gd name="T45" fmla="*/ 3 h 12"/>
              <a:gd name="T46" fmla="*/ 0 w 27"/>
              <a:gd name="T47" fmla="*/ 3 h 12"/>
              <a:gd name="T48" fmla="*/ 0 w 27"/>
              <a:gd name="T49" fmla="*/ 2 h 12"/>
              <a:gd name="T50" fmla="*/ 0 w 27"/>
              <a:gd name="T51" fmla="*/ 1 h 12"/>
              <a:gd name="T52" fmla="*/ 0 w 27"/>
              <a:gd name="T53" fmla="*/ 1 h 12"/>
              <a:gd name="T54" fmla="*/ 4 w 27"/>
              <a:gd name="T55" fmla="*/ 0 h 12"/>
              <a:gd name="T56" fmla="*/ 10 w 27"/>
              <a:gd name="T57" fmla="*/ 1 h 12"/>
              <a:gd name="T58" fmla="*/ 12 w 27"/>
              <a:gd name="T59" fmla="*/ 1 h 12"/>
              <a:gd name="T60" fmla="*/ 15 w 27"/>
              <a:gd name="T61" fmla="*/ 1 h 12"/>
              <a:gd name="T62" fmla="*/ 17 w 27"/>
              <a:gd name="T63" fmla="*/ 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7" h="12">
                <a:moveTo>
                  <a:pt x="17" y="2"/>
                </a:moveTo>
                <a:lnTo>
                  <a:pt x="19" y="4"/>
                </a:lnTo>
                <a:lnTo>
                  <a:pt x="24" y="4"/>
                </a:lnTo>
                <a:lnTo>
                  <a:pt x="25" y="5"/>
                </a:lnTo>
                <a:lnTo>
                  <a:pt x="27" y="5"/>
                </a:lnTo>
                <a:lnTo>
                  <a:pt x="27" y="8"/>
                </a:lnTo>
                <a:lnTo>
                  <a:pt x="25" y="8"/>
                </a:lnTo>
                <a:lnTo>
                  <a:pt x="24" y="6"/>
                </a:lnTo>
                <a:lnTo>
                  <a:pt x="20" y="6"/>
                </a:lnTo>
                <a:lnTo>
                  <a:pt x="18" y="8"/>
                </a:lnTo>
                <a:lnTo>
                  <a:pt x="21" y="9"/>
                </a:lnTo>
                <a:lnTo>
                  <a:pt x="22" y="9"/>
                </a:lnTo>
                <a:lnTo>
                  <a:pt x="25" y="10"/>
                </a:lnTo>
                <a:lnTo>
                  <a:pt x="24" y="11"/>
                </a:lnTo>
                <a:lnTo>
                  <a:pt x="22" y="12"/>
                </a:lnTo>
                <a:lnTo>
                  <a:pt x="20" y="11"/>
                </a:lnTo>
                <a:lnTo>
                  <a:pt x="20" y="10"/>
                </a:lnTo>
                <a:lnTo>
                  <a:pt x="18" y="11"/>
                </a:lnTo>
                <a:lnTo>
                  <a:pt x="14" y="8"/>
                </a:lnTo>
                <a:lnTo>
                  <a:pt x="5" y="6"/>
                </a:lnTo>
                <a:lnTo>
                  <a:pt x="4" y="5"/>
                </a:lnTo>
                <a:lnTo>
                  <a:pt x="1" y="4"/>
                </a:lnTo>
                <a:lnTo>
                  <a:pt x="1" y="3"/>
                </a:lnTo>
                <a:lnTo>
                  <a:pt x="0" y="3"/>
                </a:lnTo>
                <a:lnTo>
                  <a:pt x="0" y="2"/>
                </a:lnTo>
                <a:lnTo>
                  <a:pt x="0" y="1"/>
                </a:lnTo>
                <a:lnTo>
                  <a:pt x="0" y="1"/>
                </a:lnTo>
                <a:lnTo>
                  <a:pt x="4" y="0"/>
                </a:lnTo>
                <a:lnTo>
                  <a:pt x="10" y="1"/>
                </a:lnTo>
                <a:lnTo>
                  <a:pt x="12" y="1"/>
                </a:lnTo>
                <a:lnTo>
                  <a:pt x="15" y="1"/>
                </a:lnTo>
                <a:lnTo>
                  <a:pt x="17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40" name="Freeform 339"/>
          <p:cNvSpPr>
            <a:spLocks/>
          </p:cNvSpPr>
          <p:nvPr/>
        </p:nvSpPr>
        <p:spPr bwMode="auto">
          <a:xfrm>
            <a:off x="3914775" y="1547778"/>
            <a:ext cx="42862" cy="19050"/>
          </a:xfrm>
          <a:custGeom>
            <a:avLst/>
            <a:gdLst>
              <a:gd name="T0" fmla="*/ 17 w 27"/>
              <a:gd name="T1" fmla="*/ 2 h 12"/>
              <a:gd name="T2" fmla="*/ 19 w 27"/>
              <a:gd name="T3" fmla="*/ 4 h 12"/>
              <a:gd name="T4" fmla="*/ 24 w 27"/>
              <a:gd name="T5" fmla="*/ 4 h 12"/>
              <a:gd name="T6" fmla="*/ 25 w 27"/>
              <a:gd name="T7" fmla="*/ 5 h 12"/>
              <a:gd name="T8" fmla="*/ 27 w 27"/>
              <a:gd name="T9" fmla="*/ 5 h 12"/>
              <a:gd name="T10" fmla="*/ 27 w 27"/>
              <a:gd name="T11" fmla="*/ 8 h 12"/>
              <a:gd name="T12" fmla="*/ 25 w 27"/>
              <a:gd name="T13" fmla="*/ 8 h 12"/>
              <a:gd name="T14" fmla="*/ 24 w 27"/>
              <a:gd name="T15" fmla="*/ 6 h 12"/>
              <a:gd name="T16" fmla="*/ 20 w 27"/>
              <a:gd name="T17" fmla="*/ 6 h 12"/>
              <a:gd name="T18" fmla="*/ 18 w 27"/>
              <a:gd name="T19" fmla="*/ 8 h 12"/>
              <a:gd name="T20" fmla="*/ 21 w 27"/>
              <a:gd name="T21" fmla="*/ 9 h 12"/>
              <a:gd name="T22" fmla="*/ 22 w 27"/>
              <a:gd name="T23" fmla="*/ 9 h 12"/>
              <a:gd name="T24" fmla="*/ 25 w 27"/>
              <a:gd name="T25" fmla="*/ 10 h 12"/>
              <a:gd name="T26" fmla="*/ 24 w 27"/>
              <a:gd name="T27" fmla="*/ 11 h 12"/>
              <a:gd name="T28" fmla="*/ 22 w 27"/>
              <a:gd name="T29" fmla="*/ 12 h 12"/>
              <a:gd name="T30" fmla="*/ 20 w 27"/>
              <a:gd name="T31" fmla="*/ 11 h 12"/>
              <a:gd name="T32" fmla="*/ 20 w 27"/>
              <a:gd name="T33" fmla="*/ 10 h 12"/>
              <a:gd name="T34" fmla="*/ 18 w 27"/>
              <a:gd name="T35" fmla="*/ 11 h 12"/>
              <a:gd name="T36" fmla="*/ 14 w 27"/>
              <a:gd name="T37" fmla="*/ 8 h 12"/>
              <a:gd name="T38" fmla="*/ 5 w 27"/>
              <a:gd name="T39" fmla="*/ 6 h 12"/>
              <a:gd name="T40" fmla="*/ 4 w 27"/>
              <a:gd name="T41" fmla="*/ 5 h 12"/>
              <a:gd name="T42" fmla="*/ 1 w 27"/>
              <a:gd name="T43" fmla="*/ 4 h 12"/>
              <a:gd name="T44" fmla="*/ 1 w 27"/>
              <a:gd name="T45" fmla="*/ 3 h 12"/>
              <a:gd name="T46" fmla="*/ 0 w 27"/>
              <a:gd name="T47" fmla="*/ 3 h 12"/>
              <a:gd name="T48" fmla="*/ 0 w 27"/>
              <a:gd name="T49" fmla="*/ 2 h 12"/>
              <a:gd name="T50" fmla="*/ 0 w 27"/>
              <a:gd name="T51" fmla="*/ 1 h 12"/>
              <a:gd name="T52" fmla="*/ 0 w 27"/>
              <a:gd name="T53" fmla="*/ 1 h 12"/>
              <a:gd name="T54" fmla="*/ 4 w 27"/>
              <a:gd name="T55" fmla="*/ 0 h 12"/>
              <a:gd name="T56" fmla="*/ 10 w 27"/>
              <a:gd name="T57" fmla="*/ 1 h 12"/>
              <a:gd name="T58" fmla="*/ 12 w 27"/>
              <a:gd name="T59" fmla="*/ 1 h 12"/>
              <a:gd name="T60" fmla="*/ 15 w 27"/>
              <a:gd name="T61" fmla="*/ 1 h 12"/>
              <a:gd name="T62" fmla="*/ 17 w 27"/>
              <a:gd name="T63" fmla="*/ 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7" h="12">
                <a:moveTo>
                  <a:pt x="17" y="2"/>
                </a:moveTo>
                <a:lnTo>
                  <a:pt x="19" y="4"/>
                </a:lnTo>
                <a:lnTo>
                  <a:pt x="24" y="4"/>
                </a:lnTo>
                <a:lnTo>
                  <a:pt x="25" y="5"/>
                </a:lnTo>
                <a:lnTo>
                  <a:pt x="27" y="5"/>
                </a:lnTo>
                <a:lnTo>
                  <a:pt x="27" y="8"/>
                </a:lnTo>
                <a:lnTo>
                  <a:pt x="25" y="8"/>
                </a:lnTo>
                <a:lnTo>
                  <a:pt x="24" y="6"/>
                </a:lnTo>
                <a:lnTo>
                  <a:pt x="20" y="6"/>
                </a:lnTo>
                <a:lnTo>
                  <a:pt x="18" y="8"/>
                </a:lnTo>
                <a:lnTo>
                  <a:pt x="21" y="9"/>
                </a:lnTo>
                <a:lnTo>
                  <a:pt x="22" y="9"/>
                </a:lnTo>
                <a:lnTo>
                  <a:pt x="25" y="10"/>
                </a:lnTo>
                <a:lnTo>
                  <a:pt x="24" y="11"/>
                </a:lnTo>
                <a:lnTo>
                  <a:pt x="22" y="12"/>
                </a:lnTo>
                <a:lnTo>
                  <a:pt x="20" y="11"/>
                </a:lnTo>
                <a:lnTo>
                  <a:pt x="20" y="10"/>
                </a:lnTo>
                <a:lnTo>
                  <a:pt x="18" y="11"/>
                </a:lnTo>
                <a:lnTo>
                  <a:pt x="14" y="8"/>
                </a:lnTo>
                <a:lnTo>
                  <a:pt x="5" y="6"/>
                </a:lnTo>
                <a:lnTo>
                  <a:pt x="4" y="5"/>
                </a:lnTo>
                <a:lnTo>
                  <a:pt x="1" y="4"/>
                </a:lnTo>
                <a:lnTo>
                  <a:pt x="1" y="3"/>
                </a:lnTo>
                <a:lnTo>
                  <a:pt x="0" y="3"/>
                </a:lnTo>
                <a:lnTo>
                  <a:pt x="0" y="2"/>
                </a:lnTo>
                <a:lnTo>
                  <a:pt x="0" y="1"/>
                </a:lnTo>
                <a:lnTo>
                  <a:pt x="0" y="1"/>
                </a:lnTo>
                <a:lnTo>
                  <a:pt x="4" y="0"/>
                </a:lnTo>
                <a:lnTo>
                  <a:pt x="10" y="1"/>
                </a:lnTo>
                <a:lnTo>
                  <a:pt x="12" y="1"/>
                </a:lnTo>
                <a:lnTo>
                  <a:pt x="15" y="1"/>
                </a:lnTo>
                <a:lnTo>
                  <a:pt x="17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41" name="Freeform 340"/>
          <p:cNvSpPr>
            <a:spLocks/>
          </p:cNvSpPr>
          <p:nvPr/>
        </p:nvSpPr>
        <p:spPr bwMode="auto">
          <a:xfrm>
            <a:off x="3836988" y="1592228"/>
            <a:ext cx="52387" cy="12700"/>
          </a:xfrm>
          <a:custGeom>
            <a:avLst/>
            <a:gdLst>
              <a:gd name="T0" fmla="*/ 33 w 33"/>
              <a:gd name="T1" fmla="*/ 2 h 8"/>
              <a:gd name="T2" fmla="*/ 32 w 33"/>
              <a:gd name="T3" fmla="*/ 4 h 8"/>
              <a:gd name="T4" fmla="*/ 33 w 33"/>
              <a:gd name="T5" fmla="*/ 5 h 8"/>
              <a:gd name="T6" fmla="*/ 29 w 33"/>
              <a:gd name="T7" fmla="*/ 6 h 8"/>
              <a:gd name="T8" fmla="*/ 27 w 33"/>
              <a:gd name="T9" fmla="*/ 6 h 8"/>
              <a:gd name="T10" fmla="*/ 26 w 33"/>
              <a:gd name="T11" fmla="*/ 6 h 8"/>
              <a:gd name="T12" fmla="*/ 25 w 33"/>
              <a:gd name="T13" fmla="*/ 7 h 8"/>
              <a:gd name="T14" fmla="*/ 20 w 33"/>
              <a:gd name="T15" fmla="*/ 6 h 8"/>
              <a:gd name="T16" fmla="*/ 17 w 33"/>
              <a:gd name="T17" fmla="*/ 7 h 8"/>
              <a:gd name="T18" fmla="*/ 7 w 33"/>
              <a:gd name="T19" fmla="*/ 8 h 8"/>
              <a:gd name="T20" fmla="*/ 3 w 33"/>
              <a:gd name="T21" fmla="*/ 8 h 8"/>
              <a:gd name="T22" fmla="*/ 0 w 33"/>
              <a:gd name="T23" fmla="*/ 8 h 8"/>
              <a:gd name="T24" fmla="*/ 2 w 33"/>
              <a:gd name="T25" fmla="*/ 6 h 8"/>
              <a:gd name="T26" fmla="*/ 3 w 33"/>
              <a:gd name="T27" fmla="*/ 5 h 8"/>
              <a:gd name="T28" fmla="*/ 7 w 33"/>
              <a:gd name="T29" fmla="*/ 4 h 8"/>
              <a:gd name="T30" fmla="*/ 12 w 33"/>
              <a:gd name="T31" fmla="*/ 3 h 8"/>
              <a:gd name="T32" fmla="*/ 13 w 33"/>
              <a:gd name="T33" fmla="*/ 2 h 8"/>
              <a:gd name="T34" fmla="*/ 22 w 33"/>
              <a:gd name="T35" fmla="*/ 1 h 8"/>
              <a:gd name="T36" fmla="*/ 25 w 33"/>
              <a:gd name="T37" fmla="*/ 0 h 8"/>
              <a:gd name="T38" fmla="*/ 28 w 33"/>
              <a:gd name="T39" fmla="*/ 0 h 8"/>
              <a:gd name="T40" fmla="*/ 28 w 33"/>
              <a:gd name="T41" fmla="*/ 0 h 8"/>
              <a:gd name="T42" fmla="*/ 32 w 33"/>
              <a:gd name="T43" fmla="*/ 1 h 8"/>
              <a:gd name="T44" fmla="*/ 33 w 33"/>
              <a:gd name="T45" fmla="*/ 2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3" h="8">
                <a:moveTo>
                  <a:pt x="33" y="2"/>
                </a:moveTo>
                <a:lnTo>
                  <a:pt x="32" y="4"/>
                </a:lnTo>
                <a:lnTo>
                  <a:pt x="33" y="5"/>
                </a:lnTo>
                <a:lnTo>
                  <a:pt x="29" y="6"/>
                </a:lnTo>
                <a:lnTo>
                  <a:pt x="27" y="6"/>
                </a:lnTo>
                <a:lnTo>
                  <a:pt x="26" y="6"/>
                </a:lnTo>
                <a:lnTo>
                  <a:pt x="25" y="7"/>
                </a:lnTo>
                <a:lnTo>
                  <a:pt x="20" y="6"/>
                </a:lnTo>
                <a:lnTo>
                  <a:pt x="17" y="7"/>
                </a:lnTo>
                <a:lnTo>
                  <a:pt x="7" y="8"/>
                </a:lnTo>
                <a:lnTo>
                  <a:pt x="3" y="8"/>
                </a:lnTo>
                <a:lnTo>
                  <a:pt x="0" y="8"/>
                </a:lnTo>
                <a:lnTo>
                  <a:pt x="2" y="6"/>
                </a:lnTo>
                <a:lnTo>
                  <a:pt x="3" y="5"/>
                </a:lnTo>
                <a:lnTo>
                  <a:pt x="7" y="4"/>
                </a:lnTo>
                <a:lnTo>
                  <a:pt x="12" y="3"/>
                </a:lnTo>
                <a:lnTo>
                  <a:pt x="13" y="2"/>
                </a:lnTo>
                <a:lnTo>
                  <a:pt x="22" y="1"/>
                </a:lnTo>
                <a:lnTo>
                  <a:pt x="25" y="0"/>
                </a:lnTo>
                <a:lnTo>
                  <a:pt x="28" y="0"/>
                </a:lnTo>
                <a:lnTo>
                  <a:pt x="28" y="0"/>
                </a:lnTo>
                <a:lnTo>
                  <a:pt x="32" y="1"/>
                </a:lnTo>
                <a:lnTo>
                  <a:pt x="33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42" name="Freeform 341"/>
          <p:cNvSpPr>
            <a:spLocks/>
          </p:cNvSpPr>
          <p:nvPr/>
        </p:nvSpPr>
        <p:spPr bwMode="auto">
          <a:xfrm>
            <a:off x="3836988" y="1592228"/>
            <a:ext cx="52387" cy="12700"/>
          </a:xfrm>
          <a:custGeom>
            <a:avLst/>
            <a:gdLst>
              <a:gd name="T0" fmla="*/ 33 w 33"/>
              <a:gd name="T1" fmla="*/ 2 h 8"/>
              <a:gd name="T2" fmla="*/ 32 w 33"/>
              <a:gd name="T3" fmla="*/ 4 h 8"/>
              <a:gd name="T4" fmla="*/ 33 w 33"/>
              <a:gd name="T5" fmla="*/ 5 h 8"/>
              <a:gd name="T6" fmla="*/ 29 w 33"/>
              <a:gd name="T7" fmla="*/ 6 h 8"/>
              <a:gd name="T8" fmla="*/ 27 w 33"/>
              <a:gd name="T9" fmla="*/ 6 h 8"/>
              <a:gd name="T10" fmla="*/ 26 w 33"/>
              <a:gd name="T11" fmla="*/ 6 h 8"/>
              <a:gd name="T12" fmla="*/ 25 w 33"/>
              <a:gd name="T13" fmla="*/ 7 h 8"/>
              <a:gd name="T14" fmla="*/ 20 w 33"/>
              <a:gd name="T15" fmla="*/ 6 h 8"/>
              <a:gd name="T16" fmla="*/ 17 w 33"/>
              <a:gd name="T17" fmla="*/ 7 h 8"/>
              <a:gd name="T18" fmla="*/ 7 w 33"/>
              <a:gd name="T19" fmla="*/ 8 h 8"/>
              <a:gd name="T20" fmla="*/ 3 w 33"/>
              <a:gd name="T21" fmla="*/ 8 h 8"/>
              <a:gd name="T22" fmla="*/ 0 w 33"/>
              <a:gd name="T23" fmla="*/ 8 h 8"/>
              <a:gd name="T24" fmla="*/ 2 w 33"/>
              <a:gd name="T25" fmla="*/ 6 h 8"/>
              <a:gd name="T26" fmla="*/ 3 w 33"/>
              <a:gd name="T27" fmla="*/ 5 h 8"/>
              <a:gd name="T28" fmla="*/ 7 w 33"/>
              <a:gd name="T29" fmla="*/ 4 h 8"/>
              <a:gd name="T30" fmla="*/ 12 w 33"/>
              <a:gd name="T31" fmla="*/ 3 h 8"/>
              <a:gd name="T32" fmla="*/ 13 w 33"/>
              <a:gd name="T33" fmla="*/ 2 h 8"/>
              <a:gd name="T34" fmla="*/ 22 w 33"/>
              <a:gd name="T35" fmla="*/ 1 h 8"/>
              <a:gd name="T36" fmla="*/ 25 w 33"/>
              <a:gd name="T37" fmla="*/ 0 h 8"/>
              <a:gd name="T38" fmla="*/ 28 w 33"/>
              <a:gd name="T39" fmla="*/ 0 h 8"/>
              <a:gd name="T40" fmla="*/ 28 w 33"/>
              <a:gd name="T41" fmla="*/ 0 h 8"/>
              <a:gd name="T42" fmla="*/ 32 w 33"/>
              <a:gd name="T43" fmla="*/ 1 h 8"/>
              <a:gd name="T44" fmla="*/ 33 w 33"/>
              <a:gd name="T45" fmla="*/ 2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3" h="8">
                <a:moveTo>
                  <a:pt x="33" y="2"/>
                </a:moveTo>
                <a:lnTo>
                  <a:pt x="32" y="4"/>
                </a:lnTo>
                <a:lnTo>
                  <a:pt x="33" y="5"/>
                </a:lnTo>
                <a:lnTo>
                  <a:pt x="29" y="6"/>
                </a:lnTo>
                <a:lnTo>
                  <a:pt x="27" y="6"/>
                </a:lnTo>
                <a:lnTo>
                  <a:pt x="26" y="6"/>
                </a:lnTo>
                <a:lnTo>
                  <a:pt x="25" y="7"/>
                </a:lnTo>
                <a:lnTo>
                  <a:pt x="20" y="6"/>
                </a:lnTo>
                <a:lnTo>
                  <a:pt x="17" y="7"/>
                </a:lnTo>
                <a:lnTo>
                  <a:pt x="7" y="8"/>
                </a:lnTo>
                <a:lnTo>
                  <a:pt x="3" y="8"/>
                </a:lnTo>
                <a:lnTo>
                  <a:pt x="0" y="8"/>
                </a:lnTo>
                <a:lnTo>
                  <a:pt x="2" y="6"/>
                </a:lnTo>
                <a:lnTo>
                  <a:pt x="3" y="5"/>
                </a:lnTo>
                <a:lnTo>
                  <a:pt x="7" y="4"/>
                </a:lnTo>
                <a:lnTo>
                  <a:pt x="12" y="3"/>
                </a:lnTo>
                <a:lnTo>
                  <a:pt x="13" y="2"/>
                </a:lnTo>
                <a:lnTo>
                  <a:pt x="22" y="1"/>
                </a:lnTo>
                <a:lnTo>
                  <a:pt x="25" y="0"/>
                </a:lnTo>
                <a:lnTo>
                  <a:pt x="28" y="0"/>
                </a:lnTo>
                <a:lnTo>
                  <a:pt x="28" y="0"/>
                </a:lnTo>
                <a:lnTo>
                  <a:pt x="32" y="1"/>
                </a:lnTo>
                <a:lnTo>
                  <a:pt x="33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43" name="Freeform 342"/>
          <p:cNvSpPr>
            <a:spLocks/>
          </p:cNvSpPr>
          <p:nvPr/>
        </p:nvSpPr>
        <p:spPr bwMode="auto">
          <a:xfrm>
            <a:off x="3157538" y="1328703"/>
            <a:ext cx="1001712" cy="539750"/>
          </a:xfrm>
          <a:custGeom>
            <a:avLst/>
            <a:gdLst>
              <a:gd name="T0" fmla="*/ 393 w 631"/>
              <a:gd name="T1" fmla="*/ 2 h 340"/>
              <a:gd name="T2" fmla="*/ 469 w 631"/>
              <a:gd name="T3" fmla="*/ 1 h 340"/>
              <a:gd name="T4" fmla="*/ 410 w 631"/>
              <a:gd name="T5" fmla="*/ 8 h 340"/>
              <a:gd name="T6" fmla="*/ 498 w 631"/>
              <a:gd name="T7" fmla="*/ 8 h 340"/>
              <a:gd name="T8" fmla="*/ 508 w 631"/>
              <a:gd name="T9" fmla="*/ 15 h 340"/>
              <a:gd name="T10" fmla="*/ 497 w 631"/>
              <a:gd name="T11" fmla="*/ 18 h 340"/>
              <a:gd name="T12" fmla="*/ 522 w 631"/>
              <a:gd name="T13" fmla="*/ 26 h 340"/>
              <a:gd name="T14" fmla="*/ 552 w 631"/>
              <a:gd name="T15" fmla="*/ 24 h 340"/>
              <a:gd name="T16" fmla="*/ 608 w 631"/>
              <a:gd name="T17" fmla="*/ 19 h 340"/>
              <a:gd name="T18" fmla="*/ 572 w 631"/>
              <a:gd name="T19" fmla="*/ 32 h 340"/>
              <a:gd name="T20" fmla="*/ 549 w 631"/>
              <a:gd name="T21" fmla="*/ 39 h 340"/>
              <a:gd name="T22" fmla="*/ 552 w 631"/>
              <a:gd name="T23" fmla="*/ 48 h 340"/>
              <a:gd name="T24" fmla="*/ 535 w 631"/>
              <a:gd name="T25" fmla="*/ 59 h 340"/>
              <a:gd name="T26" fmla="*/ 536 w 631"/>
              <a:gd name="T27" fmla="*/ 75 h 340"/>
              <a:gd name="T28" fmla="*/ 515 w 631"/>
              <a:gd name="T29" fmla="*/ 83 h 340"/>
              <a:gd name="T30" fmla="*/ 537 w 631"/>
              <a:gd name="T31" fmla="*/ 93 h 340"/>
              <a:gd name="T32" fmla="*/ 525 w 631"/>
              <a:gd name="T33" fmla="*/ 107 h 340"/>
              <a:gd name="T34" fmla="*/ 505 w 631"/>
              <a:gd name="T35" fmla="*/ 121 h 340"/>
              <a:gd name="T36" fmla="*/ 464 w 631"/>
              <a:gd name="T37" fmla="*/ 133 h 340"/>
              <a:gd name="T38" fmla="*/ 464 w 631"/>
              <a:gd name="T39" fmla="*/ 144 h 340"/>
              <a:gd name="T40" fmla="*/ 494 w 631"/>
              <a:gd name="T41" fmla="*/ 162 h 340"/>
              <a:gd name="T42" fmla="*/ 474 w 631"/>
              <a:gd name="T43" fmla="*/ 167 h 340"/>
              <a:gd name="T44" fmla="*/ 434 w 631"/>
              <a:gd name="T45" fmla="*/ 167 h 340"/>
              <a:gd name="T46" fmla="*/ 476 w 631"/>
              <a:gd name="T47" fmla="*/ 179 h 340"/>
              <a:gd name="T48" fmla="*/ 471 w 631"/>
              <a:gd name="T49" fmla="*/ 189 h 340"/>
              <a:gd name="T50" fmla="*/ 442 w 631"/>
              <a:gd name="T51" fmla="*/ 201 h 340"/>
              <a:gd name="T52" fmla="*/ 400 w 631"/>
              <a:gd name="T53" fmla="*/ 206 h 340"/>
              <a:gd name="T54" fmla="*/ 373 w 631"/>
              <a:gd name="T55" fmla="*/ 207 h 340"/>
              <a:gd name="T56" fmla="*/ 353 w 631"/>
              <a:gd name="T57" fmla="*/ 221 h 340"/>
              <a:gd name="T58" fmla="*/ 322 w 631"/>
              <a:gd name="T59" fmla="*/ 238 h 340"/>
              <a:gd name="T60" fmla="*/ 294 w 631"/>
              <a:gd name="T61" fmla="*/ 243 h 340"/>
              <a:gd name="T62" fmla="*/ 282 w 631"/>
              <a:gd name="T63" fmla="*/ 249 h 340"/>
              <a:gd name="T64" fmla="*/ 251 w 631"/>
              <a:gd name="T65" fmla="*/ 263 h 340"/>
              <a:gd name="T66" fmla="*/ 235 w 631"/>
              <a:gd name="T67" fmla="*/ 285 h 340"/>
              <a:gd name="T68" fmla="*/ 221 w 631"/>
              <a:gd name="T69" fmla="*/ 309 h 340"/>
              <a:gd name="T70" fmla="*/ 188 w 631"/>
              <a:gd name="T71" fmla="*/ 335 h 340"/>
              <a:gd name="T72" fmla="*/ 169 w 631"/>
              <a:gd name="T73" fmla="*/ 328 h 340"/>
              <a:gd name="T74" fmla="*/ 142 w 631"/>
              <a:gd name="T75" fmla="*/ 322 h 340"/>
              <a:gd name="T76" fmla="*/ 127 w 631"/>
              <a:gd name="T77" fmla="*/ 308 h 340"/>
              <a:gd name="T78" fmla="*/ 114 w 631"/>
              <a:gd name="T79" fmla="*/ 280 h 340"/>
              <a:gd name="T80" fmla="*/ 114 w 631"/>
              <a:gd name="T81" fmla="*/ 262 h 340"/>
              <a:gd name="T82" fmla="*/ 109 w 631"/>
              <a:gd name="T83" fmla="*/ 234 h 340"/>
              <a:gd name="T84" fmla="*/ 139 w 631"/>
              <a:gd name="T85" fmla="*/ 211 h 340"/>
              <a:gd name="T86" fmla="*/ 153 w 631"/>
              <a:gd name="T87" fmla="*/ 196 h 340"/>
              <a:gd name="T88" fmla="*/ 151 w 631"/>
              <a:gd name="T89" fmla="*/ 171 h 340"/>
              <a:gd name="T90" fmla="*/ 161 w 631"/>
              <a:gd name="T91" fmla="*/ 158 h 340"/>
              <a:gd name="T92" fmla="*/ 134 w 631"/>
              <a:gd name="T93" fmla="*/ 148 h 340"/>
              <a:gd name="T94" fmla="*/ 138 w 631"/>
              <a:gd name="T95" fmla="*/ 122 h 340"/>
              <a:gd name="T96" fmla="*/ 124 w 631"/>
              <a:gd name="T97" fmla="*/ 98 h 340"/>
              <a:gd name="T98" fmla="*/ 58 w 631"/>
              <a:gd name="T99" fmla="*/ 93 h 340"/>
              <a:gd name="T100" fmla="*/ 12 w 631"/>
              <a:gd name="T101" fmla="*/ 82 h 340"/>
              <a:gd name="T102" fmla="*/ 66 w 631"/>
              <a:gd name="T103" fmla="*/ 70 h 340"/>
              <a:gd name="T104" fmla="*/ 10 w 631"/>
              <a:gd name="T105" fmla="*/ 68 h 340"/>
              <a:gd name="T106" fmla="*/ 47 w 631"/>
              <a:gd name="T107" fmla="*/ 55 h 340"/>
              <a:gd name="T108" fmla="*/ 111 w 631"/>
              <a:gd name="T109" fmla="*/ 39 h 340"/>
              <a:gd name="T110" fmla="*/ 99 w 631"/>
              <a:gd name="T111" fmla="*/ 32 h 340"/>
              <a:gd name="T112" fmla="*/ 152 w 631"/>
              <a:gd name="T113" fmla="*/ 22 h 340"/>
              <a:gd name="T114" fmla="*/ 182 w 631"/>
              <a:gd name="T115" fmla="*/ 16 h 340"/>
              <a:gd name="T116" fmla="*/ 253 w 631"/>
              <a:gd name="T117" fmla="*/ 20 h 340"/>
              <a:gd name="T118" fmla="*/ 307 w 631"/>
              <a:gd name="T119" fmla="*/ 20 h 340"/>
              <a:gd name="T120" fmla="*/ 337 w 631"/>
              <a:gd name="T121" fmla="*/ 9 h 340"/>
              <a:gd name="T122" fmla="*/ 316 w 631"/>
              <a:gd name="T123" fmla="*/ 7 h 340"/>
              <a:gd name="T124" fmla="*/ 339 w 631"/>
              <a:gd name="T125" fmla="*/ 5 h 3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1" h="340">
                <a:moveTo>
                  <a:pt x="369" y="7"/>
                </a:moveTo>
                <a:lnTo>
                  <a:pt x="371" y="7"/>
                </a:lnTo>
                <a:lnTo>
                  <a:pt x="377" y="7"/>
                </a:lnTo>
                <a:lnTo>
                  <a:pt x="381" y="7"/>
                </a:lnTo>
                <a:lnTo>
                  <a:pt x="384" y="7"/>
                </a:lnTo>
                <a:lnTo>
                  <a:pt x="384" y="7"/>
                </a:lnTo>
                <a:lnTo>
                  <a:pt x="382" y="6"/>
                </a:lnTo>
                <a:lnTo>
                  <a:pt x="373" y="6"/>
                </a:lnTo>
                <a:lnTo>
                  <a:pt x="373" y="6"/>
                </a:lnTo>
                <a:lnTo>
                  <a:pt x="380" y="6"/>
                </a:lnTo>
                <a:lnTo>
                  <a:pt x="387" y="6"/>
                </a:lnTo>
                <a:lnTo>
                  <a:pt x="387" y="5"/>
                </a:lnTo>
                <a:lnTo>
                  <a:pt x="383" y="5"/>
                </a:lnTo>
                <a:lnTo>
                  <a:pt x="381" y="5"/>
                </a:lnTo>
                <a:lnTo>
                  <a:pt x="381" y="5"/>
                </a:lnTo>
                <a:lnTo>
                  <a:pt x="373" y="5"/>
                </a:lnTo>
                <a:lnTo>
                  <a:pt x="372" y="5"/>
                </a:lnTo>
                <a:lnTo>
                  <a:pt x="372" y="4"/>
                </a:lnTo>
                <a:lnTo>
                  <a:pt x="373" y="4"/>
                </a:lnTo>
                <a:lnTo>
                  <a:pt x="373" y="4"/>
                </a:lnTo>
                <a:lnTo>
                  <a:pt x="373" y="2"/>
                </a:lnTo>
                <a:lnTo>
                  <a:pt x="374" y="2"/>
                </a:lnTo>
                <a:lnTo>
                  <a:pt x="373" y="2"/>
                </a:lnTo>
                <a:lnTo>
                  <a:pt x="374" y="2"/>
                </a:lnTo>
                <a:lnTo>
                  <a:pt x="383" y="2"/>
                </a:lnTo>
                <a:lnTo>
                  <a:pt x="381" y="2"/>
                </a:lnTo>
                <a:lnTo>
                  <a:pt x="382" y="1"/>
                </a:lnTo>
                <a:lnTo>
                  <a:pt x="384" y="1"/>
                </a:lnTo>
                <a:lnTo>
                  <a:pt x="386" y="1"/>
                </a:lnTo>
                <a:lnTo>
                  <a:pt x="386" y="1"/>
                </a:lnTo>
                <a:lnTo>
                  <a:pt x="391" y="2"/>
                </a:lnTo>
                <a:lnTo>
                  <a:pt x="393" y="2"/>
                </a:lnTo>
                <a:lnTo>
                  <a:pt x="395" y="2"/>
                </a:lnTo>
                <a:lnTo>
                  <a:pt x="396" y="2"/>
                </a:lnTo>
                <a:lnTo>
                  <a:pt x="396" y="2"/>
                </a:lnTo>
                <a:lnTo>
                  <a:pt x="394" y="2"/>
                </a:lnTo>
                <a:lnTo>
                  <a:pt x="394" y="2"/>
                </a:lnTo>
                <a:lnTo>
                  <a:pt x="395" y="2"/>
                </a:lnTo>
                <a:lnTo>
                  <a:pt x="394" y="1"/>
                </a:lnTo>
                <a:lnTo>
                  <a:pt x="392" y="1"/>
                </a:lnTo>
                <a:lnTo>
                  <a:pt x="392" y="1"/>
                </a:lnTo>
                <a:lnTo>
                  <a:pt x="394" y="1"/>
                </a:lnTo>
                <a:lnTo>
                  <a:pt x="397" y="1"/>
                </a:lnTo>
                <a:lnTo>
                  <a:pt x="407" y="1"/>
                </a:lnTo>
                <a:lnTo>
                  <a:pt x="411" y="0"/>
                </a:lnTo>
                <a:lnTo>
                  <a:pt x="413" y="0"/>
                </a:lnTo>
                <a:lnTo>
                  <a:pt x="414" y="1"/>
                </a:lnTo>
                <a:lnTo>
                  <a:pt x="414" y="0"/>
                </a:lnTo>
                <a:lnTo>
                  <a:pt x="415" y="0"/>
                </a:lnTo>
                <a:lnTo>
                  <a:pt x="418" y="1"/>
                </a:lnTo>
                <a:lnTo>
                  <a:pt x="420" y="1"/>
                </a:lnTo>
                <a:lnTo>
                  <a:pt x="418" y="0"/>
                </a:lnTo>
                <a:lnTo>
                  <a:pt x="423" y="0"/>
                </a:lnTo>
                <a:lnTo>
                  <a:pt x="433" y="0"/>
                </a:lnTo>
                <a:lnTo>
                  <a:pt x="434" y="0"/>
                </a:lnTo>
                <a:lnTo>
                  <a:pt x="440" y="0"/>
                </a:lnTo>
                <a:lnTo>
                  <a:pt x="443" y="1"/>
                </a:lnTo>
                <a:lnTo>
                  <a:pt x="452" y="0"/>
                </a:lnTo>
                <a:lnTo>
                  <a:pt x="462" y="1"/>
                </a:lnTo>
                <a:lnTo>
                  <a:pt x="462" y="1"/>
                </a:lnTo>
                <a:lnTo>
                  <a:pt x="465" y="1"/>
                </a:lnTo>
                <a:lnTo>
                  <a:pt x="464" y="1"/>
                </a:lnTo>
                <a:lnTo>
                  <a:pt x="468" y="1"/>
                </a:lnTo>
                <a:lnTo>
                  <a:pt x="469" y="1"/>
                </a:lnTo>
                <a:lnTo>
                  <a:pt x="465" y="1"/>
                </a:lnTo>
                <a:lnTo>
                  <a:pt x="467" y="2"/>
                </a:lnTo>
                <a:lnTo>
                  <a:pt x="472" y="2"/>
                </a:lnTo>
                <a:lnTo>
                  <a:pt x="474" y="2"/>
                </a:lnTo>
                <a:lnTo>
                  <a:pt x="471" y="2"/>
                </a:lnTo>
                <a:lnTo>
                  <a:pt x="477" y="1"/>
                </a:lnTo>
                <a:lnTo>
                  <a:pt x="489" y="2"/>
                </a:lnTo>
                <a:lnTo>
                  <a:pt x="496" y="2"/>
                </a:lnTo>
                <a:lnTo>
                  <a:pt x="497" y="4"/>
                </a:lnTo>
                <a:lnTo>
                  <a:pt x="496" y="4"/>
                </a:lnTo>
                <a:lnTo>
                  <a:pt x="493" y="5"/>
                </a:lnTo>
                <a:lnTo>
                  <a:pt x="482" y="5"/>
                </a:lnTo>
                <a:lnTo>
                  <a:pt x="461" y="5"/>
                </a:lnTo>
                <a:lnTo>
                  <a:pt x="448" y="5"/>
                </a:lnTo>
                <a:lnTo>
                  <a:pt x="435" y="6"/>
                </a:lnTo>
                <a:lnTo>
                  <a:pt x="431" y="6"/>
                </a:lnTo>
                <a:lnTo>
                  <a:pt x="422" y="5"/>
                </a:lnTo>
                <a:lnTo>
                  <a:pt x="421" y="6"/>
                </a:lnTo>
                <a:lnTo>
                  <a:pt x="426" y="6"/>
                </a:lnTo>
                <a:lnTo>
                  <a:pt x="428" y="6"/>
                </a:lnTo>
                <a:lnTo>
                  <a:pt x="430" y="6"/>
                </a:lnTo>
                <a:lnTo>
                  <a:pt x="423" y="7"/>
                </a:lnTo>
                <a:lnTo>
                  <a:pt x="418" y="7"/>
                </a:lnTo>
                <a:lnTo>
                  <a:pt x="415" y="7"/>
                </a:lnTo>
                <a:lnTo>
                  <a:pt x="401" y="8"/>
                </a:lnTo>
                <a:lnTo>
                  <a:pt x="403" y="8"/>
                </a:lnTo>
                <a:lnTo>
                  <a:pt x="403" y="8"/>
                </a:lnTo>
                <a:lnTo>
                  <a:pt x="403" y="9"/>
                </a:lnTo>
                <a:lnTo>
                  <a:pt x="404" y="9"/>
                </a:lnTo>
                <a:lnTo>
                  <a:pt x="404" y="8"/>
                </a:lnTo>
                <a:lnTo>
                  <a:pt x="407" y="8"/>
                </a:lnTo>
                <a:lnTo>
                  <a:pt x="410" y="8"/>
                </a:lnTo>
                <a:lnTo>
                  <a:pt x="415" y="8"/>
                </a:lnTo>
                <a:lnTo>
                  <a:pt x="415" y="8"/>
                </a:lnTo>
                <a:lnTo>
                  <a:pt x="415" y="9"/>
                </a:lnTo>
                <a:lnTo>
                  <a:pt x="417" y="9"/>
                </a:lnTo>
                <a:lnTo>
                  <a:pt x="417" y="8"/>
                </a:lnTo>
                <a:lnTo>
                  <a:pt x="418" y="8"/>
                </a:lnTo>
                <a:lnTo>
                  <a:pt x="421" y="7"/>
                </a:lnTo>
                <a:lnTo>
                  <a:pt x="435" y="7"/>
                </a:lnTo>
                <a:lnTo>
                  <a:pt x="435" y="8"/>
                </a:lnTo>
                <a:lnTo>
                  <a:pt x="437" y="8"/>
                </a:lnTo>
                <a:lnTo>
                  <a:pt x="438" y="7"/>
                </a:lnTo>
                <a:lnTo>
                  <a:pt x="442" y="7"/>
                </a:lnTo>
                <a:lnTo>
                  <a:pt x="445" y="6"/>
                </a:lnTo>
                <a:lnTo>
                  <a:pt x="448" y="6"/>
                </a:lnTo>
                <a:lnTo>
                  <a:pt x="451" y="6"/>
                </a:lnTo>
                <a:lnTo>
                  <a:pt x="455" y="6"/>
                </a:lnTo>
                <a:lnTo>
                  <a:pt x="469" y="6"/>
                </a:lnTo>
                <a:lnTo>
                  <a:pt x="469" y="6"/>
                </a:lnTo>
                <a:lnTo>
                  <a:pt x="469" y="7"/>
                </a:lnTo>
                <a:lnTo>
                  <a:pt x="472" y="6"/>
                </a:lnTo>
                <a:lnTo>
                  <a:pt x="473" y="6"/>
                </a:lnTo>
                <a:lnTo>
                  <a:pt x="485" y="6"/>
                </a:lnTo>
                <a:lnTo>
                  <a:pt x="488" y="6"/>
                </a:lnTo>
                <a:lnTo>
                  <a:pt x="495" y="6"/>
                </a:lnTo>
                <a:lnTo>
                  <a:pt x="503" y="5"/>
                </a:lnTo>
                <a:lnTo>
                  <a:pt x="506" y="6"/>
                </a:lnTo>
                <a:lnTo>
                  <a:pt x="505" y="6"/>
                </a:lnTo>
                <a:lnTo>
                  <a:pt x="505" y="7"/>
                </a:lnTo>
                <a:lnTo>
                  <a:pt x="507" y="7"/>
                </a:lnTo>
                <a:lnTo>
                  <a:pt x="506" y="7"/>
                </a:lnTo>
                <a:lnTo>
                  <a:pt x="504" y="8"/>
                </a:lnTo>
                <a:lnTo>
                  <a:pt x="498" y="8"/>
                </a:lnTo>
                <a:lnTo>
                  <a:pt x="501" y="8"/>
                </a:lnTo>
                <a:lnTo>
                  <a:pt x="499" y="9"/>
                </a:lnTo>
                <a:lnTo>
                  <a:pt x="491" y="9"/>
                </a:lnTo>
                <a:lnTo>
                  <a:pt x="501" y="9"/>
                </a:lnTo>
                <a:lnTo>
                  <a:pt x="502" y="9"/>
                </a:lnTo>
                <a:lnTo>
                  <a:pt x="508" y="8"/>
                </a:lnTo>
                <a:lnTo>
                  <a:pt x="512" y="8"/>
                </a:lnTo>
                <a:lnTo>
                  <a:pt x="515" y="8"/>
                </a:lnTo>
                <a:lnTo>
                  <a:pt x="514" y="8"/>
                </a:lnTo>
                <a:lnTo>
                  <a:pt x="515" y="9"/>
                </a:lnTo>
                <a:lnTo>
                  <a:pt x="514" y="9"/>
                </a:lnTo>
                <a:lnTo>
                  <a:pt x="515" y="9"/>
                </a:lnTo>
                <a:lnTo>
                  <a:pt x="519" y="8"/>
                </a:lnTo>
                <a:lnTo>
                  <a:pt x="521" y="8"/>
                </a:lnTo>
                <a:lnTo>
                  <a:pt x="525" y="9"/>
                </a:lnTo>
                <a:lnTo>
                  <a:pt x="527" y="9"/>
                </a:lnTo>
                <a:lnTo>
                  <a:pt x="529" y="9"/>
                </a:lnTo>
                <a:lnTo>
                  <a:pt x="531" y="9"/>
                </a:lnTo>
                <a:lnTo>
                  <a:pt x="532" y="9"/>
                </a:lnTo>
                <a:lnTo>
                  <a:pt x="539" y="10"/>
                </a:lnTo>
                <a:lnTo>
                  <a:pt x="541" y="11"/>
                </a:lnTo>
                <a:lnTo>
                  <a:pt x="541" y="11"/>
                </a:lnTo>
                <a:lnTo>
                  <a:pt x="539" y="11"/>
                </a:lnTo>
                <a:lnTo>
                  <a:pt x="538" y="11"/>
                </a:lnTo>
                <a:lnTo>
                  <a:pt x="536" y="12"/>
                </a:lnTo>
                <a:lnTo>
                  <a:pt x="531" y="12"/>
                </a:lnTo>
                <a:lnTo>
                  <a:pt x="531" y="14"/>
                </a:lnTo>
                <a:lnTo>
                  <a:pt x="528" y="14"/>
                </a:lnTo>
                <a:lnTo>
                  <a:pt x="525" y="14"/>
                </a:lnTo>
                <a:lnTo>
                  <a:pt x="518" y="15"/>
                </a:lnTo>
                <a:lnTo>
                  <a:pt x="513" y="15"/>
                </a:lnTo>
                <a:lnTo>
                  <a:pt x="508" y="15"/>
                </a:lnTo>
                <a:lnTo>
                  <a:pt x="505" y="16"/>
                </a:lnTo>
                <a:lnTo>
                  <a:pt x="498" y="16"/>
                </a:lnTo>
                <a:lnTo>
                  <a:pt x="489" y="16"/>
                </a:lnTo>
                <a:lnTo>
                  <a:pt x="481" y="16"/>
                </a:lnTo>
                <a:lnTo>
                  <a:pt x="469" y="16"/>
                </a:lnTo>
                <a:lnTo>
                  <a:pt x="455" y="16"/>
                </a:lnTo>
                <a:lnTo>
                  <a:pt x="451" y="16"/>
                </a:lnTo>
                <a:lnTo>
                  <a:pt x="447" y="16"/>
                </a:lnTo>
                <a:lnTo>
                  <a:pt x="443" y="16"/>
                </a:lnTo>
                <a:lnTo>
                  <a:pt x="434" y="16"/>
                </a:lnTo>
                <a:lnTo>
                  <a:pt x="436" y="16"/>
                </a:lnTo>
                <a:lnTo>
                  <a:pt x="444" y="16"/>
                </a:lnTo>
                <a:lnTo>
                  <a:pt x="447" y="17"/>
                </a:lnTo>
                <a:lnTo>
                  <a:pt x="448" y="17"/>
                </a:lnTo>
                <a:lnTo>
                  <a:pt x="441" y="18"/>
                </a:lnTo>
                <a:lnTo>
                  <a:pt x="434" y="18"/>
                </a:lnTo>
                <a:lnTo>
                  <a:pt x="421" y="19"/>
                </a:lnTo>
                <a:lnTo>
                  <a:pt x="420" y="20"/>
                </a:lnTo>
                <a:lnTo>
                  <a:pt x="420" y="21"/>
                </a:lnTo>
                <a:lnTo>
                  <a:pt x="425" y="21"/>
                </a:lnTo>
                <a:lnTo>
                  <a:pt x="430" y="20"/>
                </a:lnTo>
                <a:lnTo>
                  <a:pt x="434" y="19"/>
                </a:lnTo>
                <a:lnTo>
                  <a:pt x="450" y="18"/>
                </a:lnTo>
                <a:lnTo>
                  <a:pt x="452" y="18"/>
                </a:lnTo>
                <a:lnTo>
                  <a:pt x="451" y="19"/>
                </a:lnTo>
                <a:lnTo>
                  <a:pt x="454" y="18"/>
                </a:lnTo>
                <a:lnTo>
                  <a:pt x="455" y="18"/>
                </a:lnTo>
                <a:lnTo>
                  <a:pt x="462" y="18"/>
                </a:lnTo>
                <a:lnTo>
                  <a:pt x="469" y="18"/>
                </a:lnTo>
                <a:lnTo>
                  <a:pt x="493" y="18"/>
                </a:lnTo>
                <a:lnTo>
                  <a:pt x="494" y="18"/>
                </a:lnTo>
                <a:lnTo>
                  <a:pt x="497" y="18"/>
                </a:lnTo>
                <a:lnTo>
                  <a:pt x="497" y="19"/>
                </a:lnTo>
                <a:lnTo>
                  <a:pt x="495" y="20"/>
                </a:lnTo>
                <a:lnTo>
                  <a:pt x="486" y="21"/>
                </a:lnTo>
                <a:lnTo>
                  <a:pt x="482" y="22"/>
                </a:lnTo>
                <a:lnTo>
                  <a:pt x="477" y="22"/>
                </a:lnTo>
                <a:lnTo>
                  <a:pt x="475" y="24"/>
                </a:lnTo>
                <a:lnTo>
                  <a:pt x="478" y="24"/>
                </a:lnTo>
                <a:lnTo>
                  <a:pt x="481" y="24"/>
                </a:lnTo>
                <a:lnTo>
                  <a:pt x="486" y="22"/>
                </a:lnTo>
                <a:lnTo>
                  <a:pt x="501" y="21"/>
                </a:lnTo>
                <a:lnTo>
                  <a:pt x="501" y="21"/>
                </a:lnTo>
                <a:lnTo>
                  <a:pt x="505" y="20"/>
                </a:lnTo>
                <a:lnTo>
                  <a:pt x="511" y="20"/>
                </a:lnTo>
                <a:lnTo>
                  <a:pt x="512" y="20"/>
                </a:lnTo>
                <a:lnTo>
                  <a:pt x="511" y="20"/>
                </a:lnTo>
                <a:lnTo>
                  <a:pt x="511" y="19"/>
                </a:lnTo>
                <a:lnTo>
                  <a:pt x="511" y="18"/>
                </a:lnTo>
                <a:lnTo>
                  <a:pt x="511" y="18"/>
                </a:lnTo>
                <a:lnTo>
                  <a:pt x="514" y="18"/>
                </a:lnTo>
                <a:lnTo>
                  <a:pt x="521" y="17"/>
                </a:lnTo>
                <a:lnTo>
                  <a:pt x="529" y="17"/>
                </a:lnTo>
                <a:lnTo>
                  <a:pt x="531" y="17"/>
                </a:lnTo>
                <a:lnTo>
                  <a:pt x="533" y="18"/>
                </a:lnTo>
                <a:lnTo>
                  <a:pt x="533" y="19"/>
                </a:lnTo>
                <a:lnTo>
                  <a:pt x="532" y="20"/>
                </a:lnTo>
                <a:lnTo>
                  <a:pt x="532" y="21"/>
                </a:lnTo>
                <a:lnTo>
                  <a:pt x="532" y="22"/>
                </a:lnTo>
                <a:lnTo>
                  <a:pt x="531" y="24"/>
                </a:lnTo>
                <a:lnTo>
                  <a:pt x="529" y="24"/>
                </a:lnTo>
                <a:lnTo>
                  <a:pt x="527" y="25"/>
                </a:lnTo>
                <a:lnTo>
                  <a:pt x="525" y="26"/>
                </a:lnTo>
                <a:lnTo>
                  <a:pt x="522" y="26"/>
                </a:lnTo>
                <a:lnTo>
                  <a:pt x="518" y="26"/>
                </a:lnTo>
                <a:lnTo>
                  <a:pt x="521" y="26"/>
                </a:lnTo>
                <a:lnTo>
                  <a:pt x="522" y="26"/>
                </a:lnTo>
                <a:lnTo>
                  <a:pt x="524" y="26"/>
                </a:lnTo>
                <a:lnTo>
                  <a:pt x="519" y="28"/>
                </a:lnTo>
                <a:lnTo>
                  <a:pt x="514" y="29"/>
                </a:lnTo>
                <a:lnTo>
                  <a:pt x="512" y="31"/>
                </a:lnTo>
                <a:lnTo>
                  <a:pt x="508" y="32"/>
                </a:lnTo>
                <a:lnTo>
                  <a:pt x="508" y="32"/>
                </a:lnTo>
                <a:lnTo>
                  <a:pt x="506" y="33"/>
                </a:lnTo>
                <a:lnTo>
                  <a:pt x="504" y="35"/>
                </a:lnTo>
                <a:lnTo>
                  <a:pt x="504" y="36"/>
                </a:lnTo>
                <a:lnTo>
                  <a:pt x="504" y="36"/>
                </a:lnTo>
                <a:lnTo>
                  <a:pt x="508" y="33"/>
                </a:lnTo>
                <a:lnTo>
                  <a:pt x="511" y="33"/>
                </a:lnTo>
                <a:lnTo>
                  <a:pt x="515" y="32"/>
                </a:lnTo>
                <a:lnTo>
                  <a:pt x="515" y="31"/>
                </a:lnTo>
                <a:lnTo>
                  <a:pt x="517" y="30"/>
                </a:lnTo>
                <a:lnTo>
                  <a:pt x="516" y="30"/>
                </a:lnTo>
                <a:lnTo>
                  <a:pt x="516" y="30"/>
                </a:lnTo>
                <a:lnTo>
                  <a:pt x="523" y="29"/>
                </a:lnTo>
                <a:lnTo>
                  <a:pt x="528" y="27"/>
                </a:lnTo>
                <a:lnTo>
                  <a:pt x="535" y="26"/>
                </a:lnTo>
                <a:lnTo>
                  <a:pt x="538" y="25"/>
                </a:lnTo>
                <a:lnTo>
                  <a:pt x="539" y="24"/>
                </a:lnTo>
                <a:lnTo>
                  <a:pt x="544" y="22"/>
                </a:lnTo>
                <a:lnTo>
                  <a:pt x="547" y="22"/>
                </a:lnTo>
                <a:lnTo>
                  <a:pt x="554" y="21"/>
                </a:lnTo>
                <a:lnTo>
                  <a:pt x="552" y="21"/>
                </a:lnTo>
                <a:lnTo>
                  <a:pt x="550" y="22"/>
                </a:lnTo>
                <a:lnTo>
                  <a:pt x="552" y="22"/>
                </a:lnTo>
                <a:lnTo>
                  <a:pt x="552" y="24"/>
                </a:lnTo>
                <a:lnTo>
                  <a:pt x="552" y="24"/>
                </a:lnTo>
                <a:lnTo>
                  <a:pt x="556" y="24"/>
                </a:lnTo>
                <a:lnTo>
                  <a:pt x="556" y="22"/>
                </a:lnTo>
                <a:lnTo>
                  <a:pt x="558" y="22"/>
                </a:lnTo>
                <a:lnTo>
                  <a:pt x="564" y="22"/>
                </a:lnTo>
                <a:lnTo>
                  <a:pt x="566" y="24"/>
                </a:lnTo>
                <a:lnTo>
                  <a:pt x="566" y="22"/>
                </a:lnTo>
                <a:lnTo>
                  <a:pt x="572" y="24"/>
                </a:lnTo>
                <a:lnTo>
                  <a:pt x="573" y="24"/>
                </a:lnTo>
                <a:lnTo>
                  <a:pt x="574" y="22"/>
                </a:lnTo>
                <a:lnTo>
                  <a:pt x="573" y="22"/>
                </a:lnTo>
                <a:lnTo>
                  <a:pt x="574" y="22"/>
                </a:lnTo>
                <a:lnTo>
                  <a:pt x="576" y="22"/>
                </a:lnTo>
                <a:lnTo>
                  <a:pt x="575" y="22"/>
                </a:lnTo>
                <a:lnTo>
                  <a:pt x="577" y="22"/>
                </a:lnTo>
                <a:lnTo>
                  <a:pt x="575" y="21"/>
                </a:lnTo>
                <a:lnTo>
                  <a:pt x="576" y="21"/>
                </a:lnTo>
                <a:lnTo>
                  <a:pt x="575" y="20"/>
                </a:lnTo>
                <a:lnTo>
                  <a:pt x="578" y="20"/>
                </a:lnTo>
                <a:lnTo>
                  <a:pt x="580" y="21"/>
                </a:lnTo>
                <a:lnTo>
                  <a:pt x="579" y="20"/>
                </a:lnTo>
                <a:lnTo>
                  <a:pt x="579" y="20"/>
                </a:lnTo>
                <a:lnTo>
                  <a:pt x="580" y="19"/>
                </a:lnTo>
                <a:lnTo>
                  <a:pt x="582" y="19"/>
                </a:lnTo>
                <a:lnTo>
                  <a:pt x="583" y="19"/>
                </a:lnTo>
                <a:lnTo>
                  <a:pt x="584" y="19"/>
                </a:lnTo>
                <a:lnTo>
                  <a:pt x="586" y="19"/>
                </a:lnTo>
                <a:lnTo>
                  <a:pt x="592" y="19"/>
                </a:lnTo>
                <a:lnTo>
                  <a:pt x="594" y="18"/>
                </a:lnTo>
                <a:lnTo>
                  <a:pt x="599" y="19"/>
                </a:lnTo>
                <a:lnTo>
                  <a:pt x="604" y="18"/>
                </a:lnTo>
                <a:lnTo>
                  <a:pt x="608" y="19"/>
                </a:lnTo>
                <a:lnTo>
                  <a:pt x="614" y="19"/>
                </a:lnTo>
                <a:lnTo>
                  <a:pt x="620" y="19"/>
                </a:lnTo>
                <a:lnTo>
                  <a:pt x="625" y="20"/>
                </a:lnTo>
                <a:lnTo>
                  <a:pt x="627" y="21"/>
                </a:lnTo>
                <a:lnTo>
                  <a:pt x="630" y="21"/>
                </a:lnTo>
                <a:lnTo>
                  <a:pt x="631" y="22"/>
                </a:lnTo>
                <a:lnTo>
                  <a:pt x="628" y="22"/>
                </a:lnTo>
                <a:lnTo>
                  <a:pt x="623" y="25"/>
                </a:lnTo>
                <a:lnTo>
                  <a:pt x="622" y="25"/>
                </a:lnTo>
                <a:lnTo>
                  <a:pt x="620" y="26"/>
                </a:lnTo>
                <a:lnTo>
                  <a:pt x="617" y="26"/>
                </a:lnTo>
                <a:lnTo>
                  <a:pt x="616" y="26"/>
                </a:lnTo>
                <a:lnTo>
                  <a:pt x="613" y="27"/>
                </a:lnTo>
                <a:lnTo>
                  <a:pt x="613" y="27"/>
                </a:lnTo>
                <a:lnTo>
                  <a:pt x="612" y="27"/>
                </a:lnTo>
                <a:lnTo>
                  <a:pt x="604" y="27"/>
                </a:lnTo>
                <a:lnTo>
                  <a:pt x="603" y="28"/>
                </a:lnTo>
                <a:lnTo>
                  <a:pt x="603" y="28"/>
                </a:lnTo>
                <a:lnTo>
                  <a:pt x="603" y="28"/>
                </a:lnTo>
                <a:lnTo>
                  <a:pt x="605" y="29"/>
                </a:lnTo>
                <a:lnTo>
                  <a:pt x="606" y="30"/>
                </a:lnTo>
                <a:lnTo>
                  <a:pt x="604" y="30"/>
                </a:lnTo>
                <a:lnTo>
                  <a:pt x="596" y="30"/>
                </a:lnTo>
                <a:lnTo>
                  <a:pt x="594" y="31"/>
                </a:lnTo>
                <a:lnTo>
                  <a:pt x="593" y="31"/>
                </a:lnTo>
                <a:lnTo>
                  <a:pt x="593" y="31"/>
                </a:lnTo>
                <a:lnTo>
                  <a:pt x="593" y="31"/>
                </a:lnTo>
                <a:lnTo>
                  <a:pt x="589" y="32"/>
                </a:lnTo>
                <a:lnTo>
                  <a:pt x="576" y="31"/>
                </a:lnTo>
                <a:lnTo>
                  <a:pt x="574" y="31"/>
                </a:lnTo>
                <a:lnTo>
                  <a:pt x="573" y="31"/>
                </a:lnTo>
                <a:lnTo>
                  <a:pt x="572" y="32"/>
                </a:lnTo>
                <a:lnTo>
                  <a:pt x="568" y="32"/>
                </a:lnTo>
                <a:lnTo>
                  <a:pt x="567" y="32"/>
                </a:lnTo>
                <a:lnTo>
                  <a:pt x="565" y="33"/>
                </a:lnTo>
                <a:lnTo>
                  <a:pt x="553" y="32"/>
                </a:lnTo>
                <a:lnTo>
                  <a:pt x="547" y="32"/>
                </a:lnTo>
                <a:lnTo>
                  <a:pt x="546" y="33"/>
                </a:lnTo>
                <a:lnTo>
                  <a:pt x="538" y="33"/>
                </a:lnTo>
                <a:lnTo>
                  <a:pt x="541" y="33"/>
                </a:lnTo>
                <a:lnTo>
                  <a:pt x="543" y="33"/>
                </a:lnTo>
                <a:lnTo>
                  <a:pt x="544" y="35"/>
                </a:lnTo>
                <a:lnTo>
                  <a:pt x="548" y="33"/>
                </a:lnTo>
                <a:lnTo>
                  <a:pt x="550" y="33"/>
                </a:lnTo>
                <a:lnTo>
                  <a:pt x="553" y="32"/>
                </a:lnTo>
                <a:lnTo>
                  <a:pt x="560" y="33"/>
                </a:lnTo>
                <a:lnTo>
                  <a:pt x="566" y="33"/>
                </a:lnTo>
                <a:lnTo>
                  <a:pt x="574" y="33"/>
                </a:lnTo>
                <a:lnTo>
                  <a:pt x="576" y="33"/>
                </a:lnTo>
                <a:lnTo>
                  <a:pt x="580" y="33"/>
                </a:lnTo>
                <a:lnTo>
                  <a:pt x="583" y="33"/>
                </a:lnTo>
                <a:lnTo>
                  <a:pt x="589" y="33"/>
                </a:lnTo>
                <a:lnTo>
                  <a:pt x="589" y="35"/>
                </a:lnTo>
                <a:lnTo>
                  <a:pt x="588" y="35"/>
                </a:lnTo>
                <a:lnTo>
                  <a:pt x="586" y="36"/>
                </a:lnTo>
                <a:lnTo>
                  <a:pt x="584" y="36"/>
                </a:lnTo>
                <a:lnTo>
                  <a:pt x="585" y="37"/>
                </a:lnTo>
                <a:lnTo>
                  <a:pt x="584" y="37"/>
                </a:lnTo>
                <a:lnTo>
                  <a:pt x="582" y="38"/>
                </a:lnTo>
                <a:lnTo>
                  <a:pt x="568" y="38"/>
                </a:lnTo>
                <a:lnTo>
                  <a:pt x="562" y="38"/>
                </a:lnTo>
                <a:lnTo>
                  <a:pt x="557" y="37"/>
                </a:lnTo>
                <a:lnTo>
                  <a:pt x="553" y="37"/>
                </a:lnTo>
                <a:lnTo>
                  <a:pt x="549" y="39"/>
                </a:lnTo>
                <a:lnTo>
                  <a:pt x="546" y="39"/>
                </a:lnTo>
                <a:lnTo>
                  <a:pt x="547" y="39"/>
                </a:lnTo>
                <a:lnTo>
                  <a:pt x="546" y="40"/>
                </a:lnTo>
                <a:lnTo>
                  <a:pt x="547" y="40"/>
                </a:lnTo>
                <a:lnTo>
                  <a:pt x="546" y="41"/>
                </a:lnTo>
                <a:lnTo>
                  <a:pt x="545" y="42"/>
                </a:lnTo>
                <a:lnTo>
                  <a:pt x="546" y="42"/>
                </a:lnTo>
                <a:lnTo>
                  <a:pt x="547" y="43"/>
                </a:lnTo>
                <a:lnTo>
                  <a:pt x="552" y="43"/>
                </a:lnTo>
                <a:lnTo>
                  <a:pt x="549" y="43"/>
                </a:lnTo>
                <a:lnTo>
                  <a:pt x="549" y="42"/>
                </a:lnTo>
                <a:lnTo>
                  <a:pt x="550" y="41"/>
                </a:lnTo>
                <a:lnTo>
                  <a:pt x="555" y="40"/>
                </a:lnTo>
                <a:lnTo>
                  <a:pt x="557" y="40"/>
                </a:lnTo>
                <a:lnTo>
                  <a:pt x="560" y="40"/>
                </a:lnTo>
                <a:lnTo>
                  <a:pt x="565" y="39"/>
                </a:lnTo>
                <a:lnTo>
                  <a:pt x="567" y="39"/>
                </a:lnTo>
                <a:lnTo>
                  <a:pt x="572" y="39"/>
                </a:lnTo>
                <a:lnTo>
                  <a:pt x="574" y="39"/>
                </a:lnTo>
                <a:lnTo>
                  <a:pt x="576" y="39"/>
                </a:lnTo>
                <a:lnTo>
                  <a:pt x="576" y="40"/>
                </a:lnTo>
                <a:lnTo>
                  <a:pt x="575" y="40"/>
                </a:lnTo>
                <a:lnTo>
                  <a:pt x="575" y="41"/>
                </a:lnTo>
                <a:lnTo>
                  <a:pt x="573" y="42"/>
                </a:lnTo>
                <a:lnTo>
                  <a:pt x="572" y="42"/>
                </a:lnTo>
                <a:lnTo>
                  <a:pt x="569" y="43"/>
                </a:lnTo>
                <a:lnTo>
                  <a:pt x="564" y="43"/>
                </a:lnTo>
                <a:lnTo>
                  <a:pt x="558" y="43"/>
                </a:lnTo>
                <a:lnTo>
                  <a:pt x="556" y="43"/>
                </a:lnTo>
                <a:lnTo>
                  <a:pt x="554" y="45"/>
                </a:lnTo>
                <a:lnTo>
                  <a:pt x="553" y="47"/>
                </a:lnTo>
                <a:lnTo>
                  <a:pt x="552" y="48"/>
                </a:lnTo>
                <a:lnTo>
                  <a:pt x="553" y="48"/>
                </a:lnTo>
                <a:lnTo>
                  <a:pt x="552" y="49"/>
                </a:lnTo>
                <a:lnTo>
                  <a:pt x="549" y="50"/>
                </a:lnTo>
                <a:lnTo>
                  <a:pt x="549" y="51"/>
                </a:lnTo>
                <a:lnTo>
                  <a:pt x="552" y="50"/>
                </a:lnTo>
                <a:lnTo>
                  <a:pt x="553" y="49"/>
                </a:lnTo>
                <a:lnTo>
                  <a:pt x="558" y="49"/>
                </a:lnTo>
                <a:lnTo>
                  <a:pt x="556" y="50"/>
                </a:lnTo>
                <a:lnTo>
                  <a:pt x="556" y="51"/>
                </a:lnTo>
                <a:lnTo>
                  <a:pt x="556" y="50"/>
                </a:lnTo>
                <a:lnTo>
                  <a:pt x="554" y="50"/>
                </a:lnTo>
                <a:lnTo>
                  <a:pt x="553" y="51"/>
                </a:lnTo>
                <a:lnTo>
                  <a:pt x="553" y="52"/>
                </a:lnTo>
                <a:lnTo>
                  <a:pt x="552" y="52"/>
                </a:lnTo>
                <a:lnTo>
                  <a:pt x="552" y="51"/>
                </a:lnTo>
                <a:lnTo>
                  <a:pt x="549" y="52"/>
                </a:lnTo>
                <a:lnTo>
                  <a:pt x="548" y="52"/>
                </a:lnTo>
                <a:lnTo>
                  <a:pt x="548" y="53"/>
                </a:lnTo>
                <a:lnTo>
                  <a:pt x="548" y="53"/>
                </a:lnTo>
                <a:lnTo>
                  <a:pt x="548" y="55"/>
                </a:lnTo>
                <a:lnTo>
                  <a:pt x="545" y="56"/>
                </a:lnTo>
                <a:lnTo>
                  <a:pt x="542" y="56"/>
                </a:lnTo>
                <a:lnTo>
                  <a:pt x="538" y="56"/>
                </a:lnTo>
                <a:lnTo>
                  <a:pt x="536" y="56"/>
                </a:lnTo>
                <a:lnTo>
                  <a:pt x="535" y="57"/>
                </a:lnTo>
                <a:lnTo>
                  <a:pt x="536" y="57"/>
                </a:lnTo>
                <a:lnTo>
                  <a:pt x="536" y="58"/>
                </a:lnTo>
                <a:lnTo>
                  <a:pt x="535" y="58"/>
                </a:lnTo>
                <a:lnTo>
                  <a:pt x="533" y="58"/>
                </a:lnTo>
                <a:lnTo>
                  <a:pt x="534" y="59"/>
                </a:lnTo>
                <a:lnTo>
                  <a:pt x="536" y="58"/>
                </a:lnTo>
                <a:lnTo>
                  <a:pt x="535" y="59"/>
                </a:lnTo>
                <a:lnTo>
                  <a:pt x="533" y="61"/>
                </a:lnTo>
                <a:lnTo>
                  <a:pt x="532" y="63"/>
                </a:lnTo>
                <a:lnTo>
                  <a:pt x="531" y="65"/>
                </a:lnTo>
                <a:lnTo>
                  <a:pt x="531" y="66"/>
                </a:lnTo>
                <a:lnTo>
                  <a:pt x="531" y="66"/>
                </a:lnTo>
                <a:lnTo>
                  <a:pt x="527" y="67"/>
                </a:lnTo>
                <a:lnTo>
                  <a:pt x="527" y="68"/>
                </a:lnTo>
                <a:lnTo>
                  <a:pt x="526" y="69"/>
                </a:lnTo>
                <a:lnTo>
                  <a:pt x="524" y="70"/>
                </a:lnTo>
                <a:lnTo>
                  <a:pt x="525" y="71"/>
                </a:lnTo>
                <a:lnTo>
                  <a:pt x="527" y="71"/>
                </a:lnTo>
                <a:lnTo>
                  <a:pt x="534" y="68"/>
                </a:lnTo>
                <a:lnTo>
                  <a:pt x="536" y="67"/>
                </a:lnTo>
                <a:lnTo>
                  <a:pt x="537" y="67"/>
                </a:lnTo>
                <a:lnTo>
                  <a:pt x="538" y="68"/>
                </a:lnTo>
                <a:lnTo>
                  <a:pt x="541" y="69"/>
                </a:lnTo>
                <a:lnTo>
                  <a:pt x="552" y="70"/>
                </a:lnTo>
                <a:lnTo>
                  <a:pt x="553" y="71"/>
                </a:lnTo>
                <a:lnTo>
                  <a:pt x="553" y="72"/>
                </a:lnTo>
                <a:lnTo>
                  <a:pt x="550" y="72"/>
                </a:lnTo>
                <a:lnTo>
                  <a:pt x="545" y="70"/>
                </a:lnTo>
                <a:lnTo>
                  <a:pt x="541" y="70"/>
                </a:lnTo>
                <a:lnTo>
                  <a:pt x="537" y="70"/>
                </a:lnTo>
                <a:lnTo>
                  <a:pt x="535" y="71"/>
                </a:lnTo>
                <a:lnTo>
                  <a:pt x="536" y="71"/>
                </a:lnTo>
                <a:lnTo>
                  <a:pt x="541" y="72"/>
                </a:lnTo>
                <a:lnTo>
                  <a:pt x="537" y="72"/>
                </a:lnTo>
                <a:lnTo>
                  <a:pt x="537" y="73"/>
                </a:lnTo>
                <a:lnTo>
                  <a:pt x="535" y="73"/>
                </a:lnTo>
                <a:lnTo>
                  <a:pt x="539" y="73"/>
                </a:lnTo>
                <a:lnTo>
                  <a:pt x="539" y="75"/>
                </a:lnTo>
                <a:lnTo>
                  <a:pt x="536" y="75"/>
                </a:lnTo>
                <a:lnTo>
                  <a:pt x="545" y="75"/>
                </a:lnTo>
                <a:lnTo>
                  <a:pt x="548" y="76"/>
                </a:lnTo>
                <a:lnTo>
                  <a:pt x="548" y="77"/>
                </a:lnTo>
                <a:lnTo>
                  <a:pt x="550" y="77"/>
                </a:lnTo>
                <a:lnTo>
                  <a:pt x="552" y="77"/>
                </a:lnTo>
                <a:lnTo>
                  <a:pt x="552" y="76"/>
                </a:lnTo>
                <a:lnTo>
                  <a:pt x="554" y="75"/>
                </a:lnTo>
                <a:lnTo>
                  <a:pt x="558" y="76"/>
                </a:lnTo>
                <a:lnTo>
                  <a:pt x="559" y="76"/>
                </a:lnTo>
                <a:lnTo>
                  <a:pt x="559" y="76"/>
                </a:lnTo>
                <a:lnTo>
                  <a:pt x="560" y="79"/>
                </a:lnTo>
                <a:lnTo>
                  <a:pt x="559" y="80"/>
                </a:lnTo>
                <a:lnTo>
                  <a:pt x="559" y="81"/>
                </a:lnTo>
                <a:lnTo>
                  <a:pt x="559" y="81"/>
                </a:lnTo>
                <a:lnTo>
                  <a:pt x="558" y="82"/>
                </a:lnTo>
                <a:lnTo>
                  <a:pt x="556" y="83"/>
                </a:lnTo>
                <a:lnTo>
                  <a:pt x="548" y="82"/>
                </a:lnTo>
                <a:lnTo>
                  <a:pt x="543" y="81"/>
                </a:lnTo>
                <a:lnTo>
                  <a:pt x="536" y="81"/>
                </a:lnTo>
                <a:lnTo>
                  <a:pt x="523" y="80"/>
                </a:lnTo>
                <a:lnTo>
                  <a:pt x="533" y="81"/>
                </a:lnTo>
                <a:lnTo>
                  <a:pt x="533" y="81"/>
                </a:lnTo>
                <a:lnTo>
                  <a:pt x="532" y="82"/>
                </a:lnTo>
                <a:lnTo>
                  <a:pt x="524" y="81"/>
                </a:lnTo>
                <a:lnTo>
                  <a:pt x="523" y="82"/>
                </a:lnTo>
                <a:lnTo>
                  <a:pt x="532" y="82"/>
                </a:lnTo>
                <a:lnTo>
                  <a:pt x="527" y="83"/>
                </a:lnTo>
                <a:lnTo>
                  <a:pt x="525" y="85"/>
                </a:lnTo>
                <a:lnTo>
                  <a:pt x="522" y="85"/>
                </a:lnTo>
                <a:lnTo>
                  <a:pt x="519" y="83"/>
                </a:lnTo>
                <a:lnTo>
                  <a:pt x="518" y="82"/>
                </a:lnTo>
                <a:lnTo>
                  <a:pt x="515" y="83"/>
                </a:lnTo>
                <a:lnTo>
                  <a:pt x="514" y="83"/>
                </a:lnTo>
                <a:lnTo>
                  <a:pt x="512" y="85"/>
                </a:lnTo>
                <a:lnTo>
                  <a:pt x="513" y="86"/>
                </a:lnTo>
                <a:lnTo>
                  <a:pt x="513" y="87"/>
                </a:lnTo>
                <a:lnTo>
                  <a:pt x="515" y="86"/>
                </a:lnTo>
                <a:lnTo>
                  <a:pt x="516" y="86"/>
                </a:lnTo>
                <a:lnTo>
                  <a:pt x="516" y="87"/>
                </a:lnTo>
                <a:lnTo>
                  <a:pt x="519" y="87"/>
                </a:lnTo>
                <a:lnTo>
                  <a:pt x="518" y="88"/>
                </a:lnTo>
                <a:lnTo>
                  <a:pt x="519" y="88"/>
                </a:lnTo>
                <a:lnTo>
                  <a:pt x="513" y="88"/>
                </a:lnTo>
                <a:lnTo>
                  <a:pt x="512" y="88"/>
                </a:lnTo>
                <a:lnTo>
                  <a:pt x="514" y="88"/>
                </a:lnTo>
                <a:lnTo>
                  <a:pt x="521" y="88"/>
                </a:lnTo>
                <a:lnTo>
                  <a:pt x="522" y="89"/>
                </a:lnTo>
                <a:lnTo>
                  <a:pt x="521" y="89"/>
                </a:lnTo>
                <a:lnTo>
                  <a:pt x="521" y="90"/>
                </a:lnTo>
                <a:lnTo>
                  <a:pt x="521" y="90"/>
                </a:lnTo>
                <a:lnTo>
                  <a:pt x="523" y="90"/>
                </a:lnTo>
                <a:lnTo>
                  <a:pt x="523" y="91"/>
                </a:lnTo>
                <a:lnTo>
                  <a:pt x="526" y="91"/>
                </a:lnTo>
                <a:lnTo>
                  <a:pt x="525" y="90"/>
                </a:lnTo>
                <a:lnTo>
                  <a:pt x="527" y="90"/>
                </a:lnTo>
                <a:lnTo>
                  <a:pt x="529" y="91"/>
                </a:lnTo>
                <a:lnTo>
                  <a:pt x="532" y="91"/>
                </a:lnTo>
                <a:lnTo>
                  <a:pt x="527" y="90"/>
                </a:lnTo>
                <a:lnTo>
                  <a:pt x="532" y="91"/>
                </a:lnTo>
                <a:lnTo>
                  <a:pt x="536" y="90"/>
                </a:lnTo>
                <a:lnTo>
                  <a:pt x="538" y="91"/>
                </a:lnTo>
                <a:lnTo>
                  <a:pt x="541" y="92"/>
                </a:lnTo>
                <a:lnTo>
                  <a:pt x="539" y="93"/>
                </a:lnTo>
                <a:lnTo>
                  <a:pt x="537" y="93"/>
                </a:lnTo>
                <a:lnTo>
                  <a:pt x="535" y="93"/>
                </a:lnTo>
                <a:lnTo>
                  <a:pt x="532" y="93"/>
                </a:lnTo>
                <a:lnTo>
                  <a:pt x="526" y="93"/>
                </a:lnTo>
                <a:lnTo>
                  <a:pt x="526" y="95"/>
                </a:lnTo>
                <a:lnTo>
                  <a:pt x="529" y="95"/>
                </a:lnTo>
                <a:lnTo>
                  <a:pt x="532" y="96"/>
                </a:lnTo>
                <a:lnTo>
                  <a:pt x="534" y="96"/>
                </a:lnTo>
                <a:lnTo>
                  <a:pt x="536" y="96"/>
                </a:lnTo>
                <a:lnTo>
                  <a:pt x="538" y="96"/>
                </a:lnTo>
                <a:lnTo>
                  <a:pt x="542" y="98"/>
                </a:lnTo>
                <a:lnTo>
                  <a:pt x="541" y="99"/>
                </a:lnTo>
                <a:lnTo>
                  <a:pt x="542" y="101"/>
                </a:lnTo>
                <a:lnTo>
                  <a:pt x="541" y="103"/>
                </a:lnTo>
                <a:lnTo>
                  <a:pt x="539" y="106"/>
                </a:lnTo>
                <a:lnTo>
                  <a:pt x="537" y="106"/>
                </a:lnTo>
                <a:lnTo>
                  <a:pt x="535" y="106"/>
                </a:lnTo>
                <a:lnTo>
                  <a:pt x="535" y="103"/>
                </a:lnTo>
                <a:lnTo>
                  <a:pt x="533" y="103"/>
                </a:lnTo>
                <a:lnTo>
                  <a:pt x="516" y="100"/>
                </a:lnTo>
                <a:lnTo>
                  <a:pt x="519" y="101"/>
                </a:lnTo>
                <a:lnTo>
                  <a:pt x="513" y="101"/>
                </a:lnTo>
                <a:lnTo>
                  <a:pt x="515" y="101"/>
                </a:lnTo>
                <a:lnTo>
                  <a:pt x="519" y="102"/>
                </a:lnTo>
                <a:lnTo>
                  <a:pt x="522" y="103"/>
                </a:lnTo>
                <a:lnTo>
                  <a:pt x="527" y="105"/>
                </a:lnTo>
                <a:lnTo>
                  <a:pt x="528" y="106"/>
                </a:lnTo>
                <a:lnTo>
                  <a:pt x="525" y="106"/>
                </a:lnTo>
                <a:lnTo>
                  <a:pt x="519" y="107"/>
                </a:lnTo>
                <a:lnTo>
                  <a:pt x="517" y="108"/>
                </a:lnTo>
                <a:lnTo>
                  <a:pt x="519" y="108"/>
                </a:lnTo>
                <a:lnTo>
                  <a:pt x="523" y="107"/>
                </a:lnTo>
                <a:lnTo>
                  <a:pt x="525" y="107"/>
                </a:lnTo>
                <a:lnTo>
                  <a:pt x="526" y="108"/>
                </a:lnTo>
                <a:lnTo>
                  <a:pt x="526" y="109"/>
                </a:lnTo>
                <a:lnTo>
                  <a:pt x="525" y="110"/>
                </a:lnTo>
                <a:lnTo>
                  <a:pt x="525" y="111"/>
                </a:lnTo>
                <a:lnTo>
                  <a:pt x="524" y="112"/>
                </a:lnTo>
                <a:lnTo>
                  <a:pt x="522" y="112"/>
                </a:lnTo>
                <a:lnTo>
                  <a:pt x="522" y="112"/>
                </a:lnTo>
                <a:lnTo>
                  <a:pt x="526" y="112"/>
                </a:lnTo>
                <a:lnTo>
                  <a:pt x="532" y="112"/>
                </a:lnTo>
                <a:lnTo>
                  <a:pt x="534" y="113"/>
                </a:lnTo>
                <a:lnTo>
                  <a:pt x="538" y="112"/>
                </a:lnTo>
                <a:lnTo>
                  <a:pt x="539" y="115"/>
                </a:lnTo>
                <a:lnTo>
                  <a:pt x="542" y="115"/>
                </a:lnTo>
                <a:lnTo>
                  <a:pt x="542" y="116"/>
                </a:lnTo>
                <a:lnTo>
                  <a:pt x="536" y="119"/>
                </a:lnTo>
                <a:lnTo>
                  <a:pt x="532" y="118"/>
                </a:lnTo>
                <a:lnTo>
                  <a:pt x="529" y="117"/>
                </a:lnTo>
                <a:lnTo>
                  <a:pt x="528" y="116"/>
                </a:lnTo>
                <a:lnTo>
                  <a:pt x="526" y="116"/>
                </a:lnTo>
                <a:lnTo>
                  <a:pt x="523" y="116"/>
                </a:lnTo>
                <a:lnTo>
                  <a:pt x="519" y="116"/>
                </a:lnTo>
                <a:lnTo>
                  <a:pt x="514" y="116"/>
                </a:lnTo>
                <a:lnTo>
                  <a:pt x="513" y="115"/>
                </a:lnTo>
                <a:lnTo>
                  <a:pt x="511" y="115"/>
                </a:lnTo>
                <a:lnTo>
                  <a:pt x="511" y="116"/>
                </a:lnTo>
                <a:lnTo>
                  <a:pt x="511" y="117"/>
                </a:lnTo>
                <a:lnTo>
                  <a:pt x="504" y="118"/>
                </a:lnTo>
                <a:lnTo>
                  <a:pt x="508" y="118"/>
                </a:lnTo>
                <a:lnTo>
                  <a:pt x="508" y="119"/>
                </a:lnTo>
                <a:lnTo>
                  <a:pt x="506" y="120"/>
                </a:lnTo>
                <a:lnTo>
                  <a:pt x="506" y="121"/>
                </a:lnTo>
                <a:lnTo>
                  <a:pt x="505" y="121"/>
                </a:lnTo>
                <a:lnTo>
                  <a:pt x="505" y="121"/>
                </a:lnTo>
                <a:lnTo>
                  <a:pt x="508" y="122"/>
                </a:lnTo>
                <a:lnTo>
                  <a:pt x="513" y="121"/>
                </a:lnTo>
                <a:lnTo>
                  <a:pt x="515" y="122"/>
                </a:lnTo>
                <a:lnTo>
                  <a:pt x="518" y="123"/>
                </a:lnTo>
                <a:lnTo>
                  <a:pt x="524" y="123"/>
                </a:lnTo>
                <a:lnTo>
                  <a:pt x="526" y="125"/>
                </a:lnTo>
                <a:lnTo>
                  <a:pt x="526" y="125"/>
                </a:lnTo>
                <a:lnTo>
                  <a:pt x="524" y="126"/>
                </a:lnTo>
                <a:lnTo>
                  <a:pt x="524" y="128"/>
                </a:lnTo>
                <a:lnTo>
                  <a:pt x="524" y="129"/>
                </a:lnTo>
                <a:lnTo>
                  <a:pt x="522" y="130"/>
                </a:lnTo>
                <a:lnTo>
                  <a:pt x="517" y="130"/>
                </a:lnTo>
                <a:lnTo>
                  <a:pt x="514" y="129"/>
                </a:lnTo>
                <a:lnTo>
                  <a:pt x="509" y="131"/>
                </a:lnTo>
                <a:lnTo>
                  <a:pt x="506" y="131"/>
                </a:lnTo>
                <a:lnTo>
                  <a:pt x="505" y="132"/>
                </a:lnTo>
                <a:lnTo>
                  <a:pt x="502" y="132"/>
                </a:lnTo>
                <a:lnTo>
                  <a:pt x="495" y="131"/>
                </a:lnTo>
                <a:lnTo>
                  <a:pt x="488" y="129"/>
                </a:lnTo>
                <a:lnTo>
                  <a:pt x="486" y="128"/>
                </a:lnTo>
                <a:lnTo>
                  <a:pt x="486" y="126"/>
                </a:lnTo>
                <a:lnTo>
                  <a:pt x="484" y="126"/>
                </a:lnTo>
                <a:lnTo>
                  <a:pt x="482" y="126"/>
                </a:lnTo>
                <a:lnTo>
                  <a:pt x="481" y="128"/>
                </a:lnTo>
                <a:lnTo>
                  <a:pt x="478" y="128"/>
                </a:lnTo>
                <a:lnTo>
                  <a:pt x="475" y="127"/>
                </a:lnTo>
                <a:lnTo>
                  <a:pt x="475" y="129"/>
                </a:lnTo>
                <a:lnTo>
                  <a:pt x="476" y="129"/>
                </a:lnTo>
                <a:lnTo>
                  <a:pt x="469" y="130"/>
                </a:lnTo>
                <a:lnTo>
                  <a:pt x="468" y="131"/>
                </a:lnTo>
                <a:lnTo>
                  <a:pt x="464" y="133"/>
                </a:lnTo>
                <a:lnTo>
                  <a:pt x="460" y="133"/>
                </a:lnTo>
                <a:lnTo>
                  <a:pt x="457" y="132"/>
                </a:lnTo>
                <a:lnTo>
                  <a:pt x="453" y="132"/>
                </a:lnTo>
                <a:lnTo>
                  <a:pt x="457" y="133"/>
                </a:lnTo>
                <a:lnTo>
                  <a:pt x="455" y="133"/>
                </a:lnTo>
                <a:lnTo>
                  <a:pt x="451" y="134"/>
                </a:lnTo>
                <a:lnTo>
                  <a:pt x="453" y="134"/>
                </a:lnTo>
                <a:lnTo>
                  <a:pt x="456" y="134"/>
                </a:lnTo>
                <a:lnTo>
                  <a:pt x="461" y="133"/>
                </a:lnTo>
                <a:lnTo>
                  <a:pt x="464" y="134"/>
                </a:lnTo>
                <a:lnTo>
                  <a:pt x="466" y="136"/>
                </a:lnTo>
                <a:lnTo>
                  <a:pt x="471" y="136"/>
                </a:lnTo>
                <a:lnTo>
                  <a:pt x="473" y="136"/>
                </a:lnTo>
                <a:lnTo>
                  <a:pt x="469" y="138"/>
                </a:lnTo>
                <a:lnTo>
                  <a:pt x="465" y="138"/>
                </a:lnTo>
                <a:lnTo>
                  <a:pt x="463" y="139"/>
                </a:lnTo>
                <a:lnTo>
                  <a:pt x="458" y="140"/>
                </a:lnTo>
                <a:lnTo>
                  <a:pt x="453" y="139"/>
                </a:lnTo>
                <a:lnTo>
                  <a:pt x="454" y="140"/>
                </a:lnTo>
                <a:lnTo>
                  <a:pt x="453" y="140"/>
                </a:lnTo>
                <a:lnTo>
                  <a:pt x="451" y="141"/>
                </a:lnTo>
                <a:lnTo>
                  <a:pt x="455" y="140"/>
                </a:lnTo>
                <a:lnTo>
                  <a:pt x="455" y="142"/>
                </a:lnTo>
                <a:lnTo>
                  <a:pt x="456" y="142"/>
                </a:lnTo>
                <a:lnTo>
                  <a:pt x="458" y="141"/>
                </a:lnTo>
                <a:lnTo>
                  <a:pt x="463" y="140"/>
                </a:lnTo>
                <a:lnTo>
                  <a:pt x="466" y="139"/>
                </a:lnTo>
                <a:lnTo>
                  <a:pt x="473" y="141"/>
                </a:lnTo>
                <a:lnTo>
                  <a:pt x="474" y="142"/>
                </a:lnTo>
                <a:lnTo>
                  <a:pt x="473" y="144"/>
                </a:lnTo>
                <a:lnTo>
                  <a:pt x="469" y="144"/>
                </a:lnTo>
                <a:lnTo>
                  <a:pt x="464" y="144"/>
                </a:lnTo>
                <a:lnTo>
                  <a:pt x="464" y="146"/>
                </a:lnTo>
                <a:lnTo>
                  <a:pt x="466" y="146"/>
                </a:lnTo>
                <a:lnTo>
                  <a:pt x="465" y="148"/>
                </a:lnTo>
                <a:lnTo>
                  <a:pt x="464" y="149"/>
                </a:lnTo>
                <a:lnTo>
                  <a:pt x="463" y="150"/>
                </a:lnTo>
                <a:lnTo>
                  <a:pt x="465" y="149"/>
                </a:lnTo>
                <a:lnTo>
                  <a:pt x="466" y="147"/>
                </a:lnTo>
                <a:lnTo>
                  <a:pt x="468" y="146"/>
                </a:lnTo>
                <a:lnTo>
                  <a:pt x="472" y="144"/>
                </a:lnTo>
                <a:lnTo>
                  <a:pt x="474" y="146"/>
                </a:lnTo>
                <a:lnTo>
                  <a:pt x="481" y="148"/>
                </a:lnTo>
                <a:lnTo>
                  <a:pt x="483" y="149"/>
                </a:lnTo>
                <a:lnTo>
                  <a:pt x="483" y="149"/>
                </a:lnTo>
                <a:lnTo>
                  <a:pt x="488" y="150"/>
                </a:lnTo>
                <a:lnTo>
                  <a:pt x="489" y="151"/>
                </a:lnTo>
                <a:lnTo>
                  <a:pt x="496" y="152"/>
                </a:lnTo>
                <a:lnTo>
                  <a:pt x="494" y="153"/>
                </a:lnTo>
                <a:lnTo>
                  <a:pt x="493" y="154"/>
                </a:lnTo>
                <a:lnTo>
                  <a:pt x="491" y="156"/>
                </a:lnTo>
                <a:lnTo>
                  <a:pt x="488" y="158"/>
                </a:lnTo>
                <a:lnTo>
                  <a:pt x="489" y="157"/>
                </a:lnTo>
                <a:lnTo>
                  <a:pt x="492" y="156"/>
                </a:lnTo>
                <a:lnTo>
                  <a:pt x="496" y="154"/>
                </a:lnTo>
                <a:lnTo>
                  <a:pt x="496" y="156"/>
                </a:lnTo>
                <a:lnTo>
                  <a:pt x="494" y="158"/>
                </a:lnTo>
                <a:lnTo>
                  <a:pt x="495" y="157"/>
                </a:lnTo>
                <a:lnTo>
                  <a:pt x="497" y="156"/>
                </a:lnTo>
                <a:lnTo>
                  <a:pt x="499" y="156"/>
                </a:lnTo>
                <a:lnTo>
                  <a:pt x="501" y="156"/>
                </a:lnTo>
                <a:lnTo>
                  <a:pt x="499" y="157"/>
                </a:lnTo>
                <a:lnTo>
                  <a:pt x="495" y="159"/>
                </a:lnTo>
                <a:lnTo>
                  <a:pt x="494" y="162"/>
                </a:lnTo>
                <a:lnTo>
                  <a:pt x="496" y="161"/>
                </a:lnTo>
                <a:lnTo>
                  <a:pt x="497" y="159"/>
                </a:lnTo>
                <a:lnTo>
                  <a:pt x="499" y="160"/>
                </a:lnTo>
                <a:lnTo>
                  <a:pt x="502" y="159"/>
                </a:lnTo>
                <a:lnTo>
                  <a:pt x="504" y="159"/>
                </a:lnTo>
                <a:lnTo>
                  <a:pt x="503" y="161"/>
                </a:lnTo>
                <a:lnTo>
                  <a:pt x="502" y="162"/>
                </a:lnTo>
                <a:lnTo>
                  <a:pt x="502" y="163"/>
                </a:lnTo>
                <a:lnTo>
                  <a:pt x="502" y="164"/>
                </a:lnTo>
                <a:lnTo>
                  <a:pt x="498" y="166"/>
                </a:lnTo>
                <a:lnTo>
                  <a:pt x="501" y="164"/>
                </a:lnTo>
                <a:lnTo>
                  <a:pt x="502" y="166"/>
                </a:lnTo>
                <a:lnTo>
                  <a:pt x="502" y="167"/>
                </a:lnTo>
                <a:lnTo>
                  <a:pt x="502" y="168"/>
                </a:lnTo>
                <a:lnTo>
                  <a:pt x="501" y="169"/>
                </a:lnTo>
                <a:lnTo>
                  <a:pt x="502" y="170"/>
                </a:lnTo>
                <a:lnTo>
                  <a:pt x="501" y="172"/>
                </a:lnTo>
                <a:lnTo>
                  <a:pt x="503" y="172"/>
                </a:lnTo>
                <a:lnTo>
                  <a:pt x="502" y="174"/>
                </a:lnTo>
                <a:lnTo>
                  <a:pt x="499" y="174"/>
                </a:lnTo>
                <a:lnTo>
                  <a:pt x="498" y="173"/>
                </a:lnTo>
                <a:lnTo>
                  <a:pt x="494" y="173"/>
                </a:lnTo>
                <a:lnTo>
                  <a:pt x="494" y="171"/>
                </a:lnTo>
                <a:lnTo>
                  <a:pt x="494" y="169"/>
                </a:lnTo>
                <a:lnTo>
                  <a:pt x="493" y="169"/>
                </a:lnTo>
                <a:lnTo>
                  <a:pt x="492" y="170"/>
                </a:lnTo>
                <a:lnTo>
                  <a:pt x="491" y="174"/>
                </a:lnTo>
                <a:lnTo>
                  <a:pt x="486" y="174"/>
                </a:lnTo>
                <a:lnTo>
                  <a:pt x="482" y="173"/>
                </a:lnTo>
                <a:lnTo>
                  <a:pt x="477" y="172"/>
                </a:lnTo>
                <a:lnTo>
                  <a:pt x="475" y="170"/>
                </a:lnTo>
                <a:lnTo>
                  <a:pt x="474" y="167"/>
                </a:lnTo>
                <a:lnTo>
                  <a:pt x="474" y="164"/>
                </a:lnTo>
                <a:lnTo>
                  <a:pt x="472" y="163"/>
                </a:lnTo>
                <a:lnTo>
                  <a:pt x="471" y="161"/>
                </a:lnTo>
                <a:lnTo>
                  <a:pt x="469" y="161"/>
                </a:lnTo>
                <a:lnTo>
                  <a:pt x="465" y="161"/>
                </a:lnTo>
                <a:lnTo>
                  <a:pt x="463" y="159"/>
                </a:lnTo>
                <a:lnTo>
                  <a:pt x="458" y="158"/>
                </a:lnTo>
                <a:lnTo>
                  <a:pt x="455" y="158"/>
                </a:lnTo>
                <a:lnTo>
                  <a:pt x="452" y="157"/>
                </a:lnTo>
                <a:lnTo>
                  <a:pt x="450" y="158"/>
                </a:lnTo>
                <a:lnTo>
                  <a:pt x="446" y="158"/>
                </a:lnTo>
                <a:lnTo>
                  <a:pt x="443" y="156"/>
                </a:lnTo>
                <a:lnTo>
                  <a:pt x="438" y="153"/>
                </a:lnTo>
                <a:lnTo>
                  <a:pt x="438" y="156"/>
                </a:lnTo>
                <a:lnTo>
                  <a:pt x="440" y="157"/>
                </a:lnTo>
                <a:lnTo>
                  <a:pt x="436" y="157"/>
                </a:lnTo>
                <a:lnTo>
                  <a:pt x="440" y="157"/>
                </a:lnTo>
                <a:lnTo>
                  <a:pt x="442" y="158"/>
                </a:lnTo>
                <a:lnTo>
                  <a:pt x="441" y="159"/>
                </a:lnTo>
                <a:lnTo>
                  <a:pt x="445" y="158"/>
                </a:lnTo>
                <a:lnTo>
                  <a:pt x="448" y="159"/>
                </a:lnTo>
                <a:lnTo>
                  <a:pt x="452" y="159"/>
                </a:lnTo>
                <a:lnTo>
                  <a:pt x="457" y="159"/>
                </a:lnTo>
                <a:lnTo>
                  <a:pt x="460" y="160"/>
                </a:lnTo>
                <a:lnTo>
                  <a:pt x="460" y="162"/>
                </a:lnTo>
                <a:lnTo>
                  <a:pt x="456" y="162"/>
                </a:lnTo>
                <a:lnTo>
                  <a:pt x="457" y="163"/>
                </a:lnTo>
                <a:lnTo>
                  <a:pt x="454" y="164"/>
                </a:lnTo>
                <a:lnTo>
                  <a:pt x="446" y="167"/>
                </a:lnTo>
                <a:lnTo>
                  <a:pt x="437" y="167"/>
                </a:lnTo>
                <a:lnTo>
                  <a:pt x="435" y="166"/>
                </a:lnTo>
                <a:lnTo>
                  <a:pt x="434" y="167"/>
                </a:lnTo>
                <a:lnTo>
                  <a:pt x="432" y="167"/>
                </a:lnTo>
                <a:lnTo>
                  <a:pt x="428" y="167"/>
                </a:lnTo>
                <a:lnTo>
                  <a:pt x="427" y="168"/>
                </a:lnTo>
                <a:lnTo>
                  <a:pt x="430" y="169"/>
                </a:lnTo>
                <a:lnTo>
                  <a:pt x="427" y="171"/>
                </a:lnTo>
                <a:lnTo>
                  <a:pt x="425" y="172"/>
                </a:lnTo>
                <a:lnTo>
                  <a:pt x="418" y="174"/>
                </a:lnTo>
                <a:lnTo>
                  <a:pt x="422" y="174"/>
                </a:lnTo>
                <a:lnTo>
                  <a:pt x="424" y="176"/>
                </a:lnTo>
                <a:lnTo>
                  <a:pt x="430" y="176"/>
                </a:lnTo>
                <a:lnTo>
                  <a:pt x="441" y="174"/>
                </a:lnTo>
                <a:lnTo>
                  <a:pt x="444" y="174"/>
                </a:lnTo>
                <a:lnTo>
                  <a:pt x="445" y="176"/>
                </a:lnTo>
                <a:lnTo>
                  <a:pt x="443" y="177"/>
                </a:lnTo>
                <a:lnTo>
                  <a:pt x="438" y="177"/>
                </a:lnTo>
                <a:lnTo>
                  <a:pt x="432" y="179"/>
                </a:lnTo>
                <a:lnTo>
                  <a:pt x="428" y="180"/>
                </a:lnTo>
                <a:lnTo>
                  <a:pt x="425" y="179"/>
                </a:lnTo>
                <a:lnTo>
                  <a:pt x="421" y="180"/>
                </a:lnTo>
                <a:lnTo>
                  <a:pt x="427" y="181"/>
                </a:lnTo>
                <a:lnTo>
                  <a:pt x="435" y="181"/>
                </a:lnTo>
                <a:lnTo>
                  <a:pt x="437" y="179"/>
                </a:lnTo>
                <a:lnTo>
                  <a:pt x="443" y="178"/>
                </a:lnTo>
                <a:lnTo>
                  <a:pt x="446" y="178"/>
                </a:lnTo>
                <a:lnTo>
                  <a:pt x="450" y="177"/>
                </a:lnTo>
                <a:lnTo>
                  <a:pt x="458" y="176"/>
                </a:lnTo>
                <a:lnTo>
                  <a:pt x="460" y="177"/>
                </a:lnTo>
                <a:lnTo>
                  <a:pt x="462" y="176"/>
                </a:lnTo>
                <a:lnTo>
                  <a:pt x="464" y="176"/>
                </a:lnTo>
                <a:lnTo>
                  <a:pt x="463" y="177"/>
                </a:lnTo>
                <a:lnTo>
                  <a:pt x="465" y="177"/>
                </a:lnTo>
                <a:lnTo>
                  <a:pt x="476" y="179"/>
                </a:lnTo>
                <a:lnTo>
                  <a:pt x="487" y="180"/>
                </a:lnTo>
                <a:lnTo>
                  <a:pt x="491" y="180"/>
                </a:lnTo>
                <a:lnTo>
                  <a:pt x="496" y="179"/>
                </a:lnTo>
                <a:lnTo>
                  <a:pt x="496" y="179"/>
                </a:lnTo>
                <a:lnTo>
                  <a:pt x="495" y="180"/>
                </a:lnTo>
                <a:lnTo>
                  <a:pt x="492" y="182"/>
                </a:lnTo>
                <a:lnTo>
                  <a:pt x="491" y="181"/>
                </a:lnTo>
                <a:lnTo>
                  <a:pt x="489" y="182"/>
                </a:lnTo>
                <a:lnTo>
                  <a:pt x="488" y="182"/>
                </a:lnTo>
                <a:lnTo>
                  <a:pt x="486" y="181"/>
                </a:lnTo>
                <a:lnTo>
                  <a:pt x="485" y="182"/>
                </a:lnTo>
                <a:lnTo>
                  <a:pt x="484" y="182"/>
                </a:lnTo>
                <a:lnTo>
                  <a:pt x="483" y="183"/>
                </a:lnTo>
                <a:lnTo>
                  <a:pt x="482" y="183"/>
                </a:lnTo>
                <a:lnTo>
                  <a:pt x="483" y="183"/>
                </a:lnTo>
                <a:lnTo>
                  <a:pt x="484" y="183"/>
                </a:lnTo>
                <a:lnTo>
                  <a:pt x="485" y="184"/>
                </a:lnTo>
                <a:lnTo>
                  <a:pt x="481" y="183"/>
                </a:lnTo>
                <a:lnTo>
                  <a:pt x="481" y="184"/>
                </a:lnTo>
                <a:lnTo>
                  <a:pt x="476" y="184"/>
                </a:lnTo>
                <a:lnTo>
                  <a:pt x="474" y="186"/>
                </a:lnTo>
                <a:lnTo>
                  <a:pt x="476" y="187"/>
                </a:lnTo>
                <a:lnTo>
                  <a:pt x="475" y="187"/>
                </a:lnTo>
                <a:lnTo>
                  <a:pt x="476" y="187"/>
                </a:lnTo>
                <a:lnTo>
                  <a:pt x="475" y="188"/>
                </a:lnTo>
                <a:lnTo>
                  <a:pt x="473" y="188"/>
                </a:lnTo>
                <a:lnTo>
                  <a:pt x="472" y="187"/>
                </a:lnTo>
                <a:lnTo>
                  <a:pt x="471" y="188"/>
                </a:lnTo>
                <a:lnTo>
                  <a:pt x="469" y="188"/>
                </a:lnTo>
                <a:lnTo>
                  <a:pt x="467" y="188"/>
                </a:lnTo>
                <a:lnTo>
                  <a:pt x="469" y="188"/>
                </a:lnTo>
                <a:lnTo>
                  <a:pt x="471" y="189"/>
                </a:lnTo>
                <a:lnTo>
                  <a:pt x="468" y="189"/>
                </a:lnTo>
                <a:lnTo>
                  <a:pt x="469" y="190"/>
                </a:lnTo>
                <a:lnTo>
                  <a:pt x="467" y="189"/>
                </a:lnTo>
                <a:lnTo>
                  <a:pt x="467" y="190"/>
                </a:lnTo>
                <a:lnTo>
                  <a:pt x="464" y="190"/>
                </a:lnTo>
                <a:lnTo>
                  <a:pt x="464" y="191"/>
                </a:lnTo>
                <a:lnTo>
                  <a:pt x="462" y="192"/>
                </a:lnTo>
                <a:lnTo>
                  <a:pt x="461" y="192"/>
                </a:lnTo>
                <a:lnTo>
                  <a:pt x="462" y="192"/>
                </a:lnTo>
                <a:lnTo>
                  <a:pt x="462" y="193"/>
                </a:lnTo>
                <a:lnTo>
                  <a:pt x="460" y="192"/>
                </a:lnTo>
                <a:lnTo>
                  <a:pt x="458" y="192"/>
                </a:lnTo>
                <a:lnTo>
                  <a:pt x="455" y="193"/>
                </a:lnTo>
                <a:lnTo>
                  <a:pt x="458" y="193"/>
                </a:lnTo>
                <a:lnTo>
                  <a:pt x="458" y="193"/>
                </a:lnTo>
                <a:lnTo>
                  <a:pt x="458" y="194"/>
                </a:lnTo>
                <a:lnTo>
                  <a:pt x="458" y="194"/>
                </a:lnTo>
                <a:lnTo>
                  <a:pt x="456" y="194"/>
                </a:lnTo>
                <a:lnTo>
                  <a:pt x="455" y="194"/>
                </a:lnTo>
                <a:lnTo>
                  <a:pt x="455" y="196"/>
                </a:lnTo>
                <a:lnTo>
                  <a:pt x="452" y="194"/>
                </a:lnTo>
                <a:lnTo>
                  <a:pt x="451" y="196"/>
                </a:lnTo>
                <a:lnTo>
                  <a:pt x="452" y="197"/>
                </a:lnTo>
                <a:lnTo>
                  <a:pt x="453" y="197"/>
                </a:lnTo>
                <a:lnTo>
                  <a:pt x="451" y="197"/>
                </a:lnTo>
                <a:lnTo>
                  <a:pt x="450" y="198"/>
                </a:lnTo>
                <a:lnTo>
                  <a:pt x="448" y="198"/>
                </a:lnTo>
                <a:lnTo>
                  <a:pt x="447" y="199"/>
                </a:lnTo>
                <a:lnTo>
                  <a:pt x="447" y="199"/>
                </a:lnTo>
                <a:lnTo>
                  <a:pt x="443" y="200"/>
                </a:lnTo>
                <a:lnTo>
                  <a:pt x="442" y="201"/>
                </a:lnTo>
                <a:lnTo>
                  <a:pt x="442" y="201"/>
                </a:lnTo>
                <a:lnTo>
                  <a:pt x="440" y="201"/>
                </a:lnTo>
                <a:lnTo>
                  <a:pt x="438" y="201"/>
                </a:lnTo>
                <a:lnTo>
                  <a:pt x="437" y="201"/>
                </a:lnTo>
                <a:lnTo>
                  <a:pt x="435" y="201"/>
                </a:lnTo>
                <a:lnTo>
                  <a:pt x="434" y="201"/>
                </a:lnTo>
                <a:lnTo>
                  <a:pt x="434" y="203"/>
                </a:lnTo>
                <a:lnTo>
                  <a:pt x="433" y="202"/>
                </a:lnTo>
                <a:lnTo>
                  <a:pt x="431" y="202"/>
                </a:lnTo>
                <a:lnTo>
                  <a:pt x="431" y="203"/>
                </a:lnTo>
                <a:lnTo>
                  <a:pt x="430" y="203"/>
                </a:lnTo>
                <a:lnTo>
                  <a:pt x="428" y="203"/>
                </a:lnTo>
                <a:lnTo>
                  <a:pt x="427" y="203"/>
                </a:lnTo>
                <a:lnTo>
                  <a:pt x="426" y="203"/>
                </a:lnTo>
                <a:lnTo>
                  <a:pt x="425" y="203"/>
                </a:lnTo>
                <a:lnTo>
                  <a:pt x="425" y="204"/>
                </a:lnTo>
                <a:lnTo>
                  <a:pt x="424" y="204"/>
                </a:lnTo>
                <a:lnTo>
                  <a:pt x="423" y="203"/>
                </a:lnTo>
                <a:lnTo>
                  <a:pt x="422" y="203"/>
                </a:lnTo>
                <a:lnTo>
                  <a:pt x="421" y="204"/>
                </a:lnTo>
                <a:lnTo>
                  <a:pt x="420" y="204"/>
                </a:lnTo>
                <a:lnTo>
                  <a:pt x="417" y="204"/>
                </a:lnTo>
                <a:lnTo>
                  <a:pt x="417" y="206"/>
                </a:lnTo>
                <a:lnTo>
                  <a:pt x="416" y="204"/>
                </a:lnTo>
                <a:lnTo>
                  <a:pt x="413" y="206"/>
                </a:lnTo>
                <a:lnTo>
                  <a:pt x="407" y="206"/>
                </a:lnTo>
                <a:lnTo>
                  <a:pt x="407" y="208"/>
                </a:lnTo>
                <a:lnTo>
                  <a:pt x="405" y="207"/>
                </a:lnTo>
                <a:lnTo>
                  <a:pt x="404" y="208"/>
                </a:lnTo>
                <a:lnTo>
                  <a:pt x="404" y="208"/>
                </a:lnTo>
                <a:lnTo>
                  <a:pt x="403" y="208"/>
                </a:lnTo>
                <a:lnTo>
                  <a:pt x="401" y="207"/>
                </a:lnTo>
                <a:lnTo>
                  <a:pt x="400" y="206"/>
                </a:lnTo>
                <a:lnTo>
                  <a:pt x="400" y="206"/>
                </a:lnTo>
                <a:lnTo>
                  <a:pt x="397" y="206"/>
                </a:lnTo>
                <a:lnTo>
                  <a:pt x="397" y="207"/>
                </a:lnTo>
                <a:lnTo>
                  <a:pt x="397" y="208"/>
                </a:lnTo>
                <a:lnTo>
                  <a:pt x="395" y="208"/>
                </a:lnTo>
                <a:lnTo>
                  <a:pt x="394" y="208"/>
                </a:lnTo>
                <a:lnTo>
                  <a:pt x="396" y="209"/>
                </a:lnTo>
                <a:lnTo>
                  <a:pt x="394" y="210"/>
                </a:lnTo>
                <a:lnTo>
                  <a:pt x="393" y="209"/>
                </a:lnTo>
                <a:lnTo>
                  <a:pt x="393" y="208"/>
                </a:lnTo>
                <a:lnTo>
                  <a:pt x="390" y="208"/>
                </a:lnTo>
                <a:lnTo>
                  <a:pt x="388" y="208"/>
                </a:lnTo>
                <a:lnTo>
                  <a:pt x="388" y="209"/>
                </a:lnTo>
                <a:lnTo>
                  <a:pt x="391" y="210"/>
                </a:lnTo>
                <a:lnTo>
                  <a:pt x="391" y="211"/>
                </a:lnTo>
                <a:lnTo>
                  <a:pt x="388" y="211"/>
                </a:lnTo>
                <a:lnTo>
                  <a:pt x="385" y="209"/>
                </a:lnTo>
                <a:lnTo>
                  <a:pt x="385" y="209"/>
                </a:lnTo>
                <a:lnTo>
                  <a:pt x="384" y="209"/>
                </a:lnTo>
                <a:lnTo>
                  <a:pt x="384" y="210"/>
                </a:lnTo>
                <a:lnTo>
                  <a:pt x="383" y="210"/>
                </a:lnTo>
                <a:lnTo>
                  <a:pt x="384" y="211"/>
                </a:lnTo>
                <a:lnTo>
                  <a:pt x="382" y="210"/>
                </a:lnTo>
                <a:lnTo>
                  <a:pt x="380" y="210"/>
                </a:lnTo>
                <a:lnTo>
                  <a:pt x="377" y="211"/>
                </a:lnTo>
                <a:lnTo>
                  <a:pt x="377" y="210"/>
                </a:lnTo>
                <a:lnTo>
                  <a:pt x="375" y="210"/>
                </a:lnTo>
                <a:lnTo>
                  <a:pt x="375" y="209"/>
                </a:lnTo>
                <a:lnTo>
                  <a:pt x="376" y="209"/>
                </a:lnTo>
                <a:lnTo>
                  <a:pt x="377" y="208"/>
                </a:lnTo>
                <a:lnTo>
                  <a:pt x="373" y="208"/>
                </a:lnTo>
                <a:lnTo>
                  <a:pt x="373" y="207"/>
                </a:lnTo>
                <a:lnTo>
                  <a:pt x="373" y="206"/>
                </a:lnTo>
                <a:lnTo>
                  <a:pt x="373" y="204"/>
                </a:lnTo>
                <a:lnTo>
                  <a:pt x="372" y="204"/>
                </a:lnTo>
                <a:lnTo>
                  <a:pt x="371" y="206"/>
                </a:lnTo>
                <a:lnTo>
                  <a:pt x="371" y="204"/>
                </a:lnTo>
                <a:lnTo>
                  <a:pt x="371" y="203"/>
                </a:lnTo>
                <a:lnTo>
                  <a:pt x="369" y="202"/>
                </a:lnTo>
                <a:lnTo>
                  <a:pt x="369" y="203"/>
                </a:lnTo>
                <a:lnTo>
                  <a:pt x="366" y="203"/>
                </a:lnTo>
                <a:lnTo>
                  <a:pt x="366" y="204"/>
                </a:lnTo>
                <a:lnTo>
                  <a:pt x="369" y="206"/>
                </a:lnTo>
                <a:lnTo>
                  <a:pt x="370" y="208"/>
                </a:lnTo>
                <a:lnTo>
                  <a:pt x="369" y="209"/>
                </a:lnTo>
                <a:lnTo>
                  <a:pt x="372" y="210"/>
                </a:lnTo>
                <a:lnTo>
                  <a:pt x="373" y="211"/>
                </a:lnTo>
                <a:lnTo>
                  <a:pt x="371" y="211"/>
                </a:lnTo>
                <a:lnTo>
                  <a:pt x="371" y="212"/>
                </a:lnTo>
                <a:lnTo>
                  <a:pt x="370" y="213"/>
                </a:lnTo>
                <a:lnTo>
                  <a:pt x="370" y="213"/>
                </a:lnTo>
                <a:lnTo>
                  <a:pt x="369" y="213"/>
                </a:lnTo>
                <a:lnTo>
                  <a:pt x="367" y="214"/>
                </a:lnTo>
                <a:lnTo>
                  <a:pt x="366" y="213"/>
                </a:lnTo>
                <a:lnTo>
                  <a:pt x="365" y="214"/>
                </a:lnTo>
                <a:lnTo>
                  <a:pt x="365" y="214"/>
                </a:lnTo>
                <a:lnTo>
                  <a:pt x="362" y="216"/>
                </a:lnTo>
                <a:lnTo>
                  <a:pt x="359" y="217"/>
                </a:lnTo>
                <a:lnTo>
                  <a:pt x="356" y="217"/>
                </a:lnTo>
                <a:lnTo>
                  <a:pt x="357" y="218"/>
                </a:lnTo>
                <a:lnTo>
                  <a:pt x="356" y="219"/>
                </a:lnTo>
                <a:lnTo>
                  <a:pt x="355" y="219"/>
                </a:lnTo>
                <a:lnTo>
                  <a:pt x="353" y="221"/>
                </a:lnTo>
                <a:lnTo>
                  <a:pt x="353" y="221"/>
                </a:lnTo>
                <a:lnTo>
                  <a:pt x="351" y="221"/>
                </a:lnTo>
                <a:lnTo>
                  <a:pt x="352" y="222"/>
                </a:lnTo>
                <a:lnTo>
                  <a:pt x="352" y="223"/>
                </a:lnTo>
                <a:lnTo>
                  <a:pt x="352" y="223"/>
                </a:lnTo>
                <a:lnTo>
                  <a:pt x="350" y="227"/>
                </a:lnTo>
                <a:lnTo>
                  <a:pt x="347" y="228"/>
                </a:lnTo>
                <a:lnTo>
                  <a:pt x="346" y="228"/>
                </a:lnTo>
                <a:lnTo>
                  <a:pt x="344" y="229"/>
                </a:lnTo>
                <a:lnTo>
                  <a:pt x="344" y="229"/>
                </a:lnTo>
                <a:lnTo>
                  <a:pt x="345" y="230"/>
                </a:lnTo>
                <a:lnTo>
                  <a:pt x="343" y="230"/>
                </a:lnTo>
                <a:lnTo>
                  <a:pt x="343" y="231"/>
                </a:lnTo>
                <a:lnTo>
                  <a:pt x="342" y="230"/>
                </a:lnTo>
                <a:lnTo>
                  <a:pt x="342" y="231"/>
                </a:lnTo>
                <a:lnTo>
                  <a:pt x="341" y="232"/>
                </a:lnTo>
                <a:lnTo>
                  <a:pt x="341" y="233"/>
                </a:lnTo>
                <a:lnTo>
                  <a:pt x="341" y="232"/>
                </a:lnTo>
                <a:lnTo>
                  <a:pt x="339" y="233"/>
                </a:lnTo>
                <a:lnTo>
                  <a:pt x="339" y="231"/>
                </a:lnTo>
                <a:lnTo>
                  <a:pt x="337" y="233"/>
                </a:lnTo>
                <a:lnTo>
                  <a:pt x="336" y="234"/>
                </a:lnTo>
                <a:lnTo>
                  <a:pt x="335" y="236"/>
                </a:lnTo>
                <a:lnTo>
                  <a:pt x="334" y="237"/>
                </a:lnTo>
                <a:lnTo>
                  <a:pt x="333" y="238"/>
                </a:lnTo>
                <a:lnTo>
                  <a:pt x="332" y="238"/>
                </a:lnTo>
                <a:lnTo>
                  <a:pt x="331" y="238"/>
                </a:lnTo>
                <a:lnTo>
                  <a:pt x="330" y="238"/>
                </a:lnTo>
                <a:lnTo>
                  <a:pt x="330" y="236"/>
                </a:lnTo>
                <a:lnTo>
                  <a:pt x="327" y="238"/>
                </a:lnTo>
                <a:lnTo>
                  <a:pt x="329" y="239"/>
                </a:lnTo>
                <a:lnTo>
                  <a:pt x="326" y="239"/>
                </a:lnTo>
                <a:lnTo>
                  <a:pt x="322" y="238"/>
                </a:lnTo>
                <a:lnTo>
                  <a:pt x="321" y="237"/>
                </a:lnTo>
                <a:lnTo>
                  <a:pt x="320" y="238"/>
                </a:lnTo>
                <a:lnTo>
                  <a:pt x="320" y="238"/>
                </a:lnTo>
                <a:lnTo>
                  <a:pt x="322" y="240"/>
                </a:lnTo>
                <a:lnTo>
                  <a:pt x="320" y="241"/>
                </a:lnTo>
                <a:lnTo>
                  <a:pt x="320" y="242"/>
                </a:lnTo>
                <a:lnTo>
                  <a:pt x="317" y="241"/>
                </a:lnTo>
                <a:lnTo>
                  <a:pt x="316" y="243"/>
                </a:lnTo>
                <a:lnTo>
                  <a:pt x="315" y="244"/>
                </a:lnTo>
                <a:lnTo>
                  <a:pt x="314" y="243"/>
                </a:lnTo>
                <a:lnTo>
                  <a:pt x="313" y="244"/>
                </a:lnTo>
                <a:lnTo>
                  <a:pt x="312" y="243"/>
                </a:lnTo>
                <a:lnTo>
                  <a:pt x="311" y="244"/>
                </a:lnTo>
                <a:lnTo>
                  <a:pt x="312" y="242"/>
                </a:lnTo>
                <a:lnTo>
                  <a:pt x="311" y="242"/>
                </a:lnTo>
                <a:lnTo>
                  <a:pt x="310" y="243"/>
                </a:lnTo>
                <a:lnTo>
                  <a:pt x="307" y="245"/>
                </a:lnTo>
                <a:lnTo>
                  <a:pt x="307" y="244"/>
                </a:lnTo>
                <a:lnTo>
                  <a:pt x="304" y="244"/>
                </a:lnTo>
                <a:lnTo>
                  <a:pt x="304" y="242"/>
                </a:lnTo>
                <a:lnTo>
                  <a:pt x="302" y="241"/>
                </a:lnTo>
                <a:lnTo>
                  <a:pt x="302" y="243"/>
                </a:lnTo>
                <a:lnTo>
                  <a:pt x="301" y="244"/>
                </a:lnTo>
                <a:lnTo>
                  <a:pt x="300" y="244"/>
                </a:lnTo>
                <a:lnTo>
                  <a:pt x="301" y="245"/>
                </a:lnTo>
                <a:lnTo>
                  <a:pt x="300" y="245"/>
                </a:lnTo>
                <a:lnTo>
                  <a:pt x="299" y="244"/>
                </a:lnTo>
                <a:lnTo>
                  <a:pt x="296" y="244"/>
                </a:lnTo>
                <a:lnTo>
                  <a:pt x="295" y="244"/>
                </a:lnTo>
                <a:lnTo>
                  <a:pt x="295" y="244"/>
                </a:lnTo>
                <a:lnTo>
                  <a:pt x="295" y="243"/>
                </a:lnTo>
                <a:lnTo>
                  <a:pt x="294" y="243"/>
                </a:lnTo>
                <a:lnTo>
                  <a:pt x="298" y="242"/>
                </a:lnTo>
                <a:lnTo>
                  <a:pt x="298" y="240"/>
                </a:lnTo>
                <a:lnTo>
                  <a:pt x="304" y="238"/>
                </a:lnTo>
                <a:lnTo>
                  <a:pt x="301" y="238"/>
                </a:lnTo>
                <a:lnTo>
                  <a:pt x="300" y="238"/>
                </a:lnTo>
                <a:lnTo>
                  <a:pt x="299" y="238"/>
                </a:lnTo>
                <a:lnTo>
                  <a:pt x="296" y="237"/>
                </a:lnTo>
                <a:lnTo>
                  <a:pt x="295" y="238"/>
                </a:lnTo>
                <a:lnTo>
                  <a:pt x="293" y="238"/>
                </a:lnTo>
                <a:lnTo>
                  <a:pt x="293" y="238"/>
                </a:lnTo>
                <a:lnTo>
                  <a:pt x="295" y="239"/>
                </a:lnTo>
                <a:lnTo>
                  <a:pt x="294" y="239"/>
                </a:lnTo>
                <a:lnTo>
                  <a:pt x="293" y="240"/>
                </a:lnTo>
                <a:lnTo>
                  <a:pt x="293" y="241"/>
                </a:lnTo>
                <a:lnTo>
                  <a:pt x="291" y="241"/>
                </a:lnTo>
                <a:lnTo>
                  <a:pt x="292" y="242"/>
                </a:lnTo>
                <a:lnTo>
                  <a:pt x="291" y="244"/>
                </a:lnTo>
                <a:lnTo>
                  <a:pt x="290" y="244"/>
                </a:lnTo>
                <a:lnTo>
                  <a:pt x="290" y="243"/>
                </a:lnTo>
                <a:lnTo>
                  <a:pt x="289" y="244"/>
                </a:lnTo>
                <a:lnTo>
                  <a:pt x="286" y="243"/>
                </a:lnTo>
                <a:lnTo>
                  <a:pt x="286" y="244"/>
                </a:lnTo>
                <a:lnTo>
                  <a:pt x="288" y="245"/>
                </a:lnTo>
                <a:lnTo>
                  <a:pt x="289" y="245"/>
                </a:lnTo>
                <a:lnTo>
                  <a:pt x="289" y="247"/>
                </a:lnTo>
                <a:lnTo>
                  <a:pt x="289" y="247"/>
                </a:lnTo>
                <a:lnTo>
                  <a:pt x="289" y="248"/>
                </a:lnTo>
                <a:lnTo>
                  <a:pt x="288" y="248"/>
                </a:lnTo>
                <a:lnTo>
                  <a:pt x="286" y="249"/>
                </a:lnTo>
                <a:lnTo>
                  <a:pt x="284" y="248"/>
                </a:lnTo>
                <a:lnTo>
                  <a:pt x="281" y="248"/>
                </a:lnTo>
                <a:lnTo>
                  <a:pt x="282" y="249"/>
                </a:lnTo>
                <a:lnTo>
                  <a:pt x="279" y="250"/>
                </a:lnTo>
                <a:lnTo>
                  <a:pt x="276" y="250"/>
                </a:lnTo>
                <a:lnTo>
                  <a:pt x="276" y="249"/>
                </a:lnTo>
                <a:lnTo>
                  <a:pt x="274" y="248"/>
                </a:lnTo>
                <a:lnTo>
                  <a:pt x="273" y="250"/>
                </a:lnTo>
                <a:lnTo>
                  <a:pt x="271" y="250"/>
                </a:lnTo>
                <a:lnTo>
                  <a:pt x="271" y="249"/>
                </a:lnTo>
                <a:lnTo>
                  <a:pt x="270" y="249"/>
                </a:lnTo>
                <a:lnTo>
                  <a:pt x="268" y="251"/>
                </a:lnTo>
                <a:lnTo>
                  <a:pt x="265" y="250"/>
                </a:lnTo>
                <a:lnTo>
                  <a:pt x="264" y="251"/>
                </a:lnTo>
                <a:lnTo>
                  <a:pt x="263" y="251"/>
                </a:lnTo>
                <a:lnTo>
                  <a:pt x="265" y="252"/>
                </a:lnTo>
                <a:lnTo>
                  <a:pt x="266" y="253"/>
                </a:lnTo>
                <a:lnTo>
                  <a:pt x="265" y="253"/>
                </a:lnTo>
                <a:lnTo>
                  <a:pt x="266" y="254"/>
                </a:lnTo>
                <a:lnTo>
                  <a:pt x="263" y="257"/>
                </a:lnTo>
                <a:lnTo>
                  <a:pt x="262" y="258"/>
                </a:lnTo>
                <a:lnTo>
                  <a:pt x="261" y="259"/>
                </a:lnTo>
                <a:lnTo>
                  <a:pt x="260" y="258"/>
                </a:lnTo>
                <a:lnTo>
                  <a:pt x="259" y="258"/>
                </a:lnTo>
                <a:lnTo>
                  <a:pt x="258" y="258"/>
                </a:lnTo>
                <a:lnTo>
                  <a:pt x="255" y="257"/>
                </a:lnTo>
                <a:lnTo>
                  <a:pt x="255" y="259"/>
                </a:lnTo>
                <a:lnTo>
                  <a:pt x="253" y="258"/>
                </a:lnTo>
                <a:lnTo>
                  <a:pt x="251" y="258"/>
                </a:lnTo>
                <a:lnTo>
                  <a:pt x="250" y="258"/>
                </a:lnTo>
                <a:lnTo>
                  <a:pt x="246" y="260"/>
                </a:lnTo>
                <a:lnTo>
                  <a:pt x="250" y="260"/>
                </a:lnTo>
                <a:lnTo>
                  <a:pt x="249" y="261"/>
                </a:lnTo>
                <a:lnTo>
                  <a:pt x="251" y="262"/>
                </a:lnTo>
                <a:lnTo>
                  <a:pt x="251" y="263"/>
                </a:lnTo>
                <a:lnTo>
                  <a:pt x="253" y="264"/>
                </a:lnTo>
                <a:lnTo>
                  <a:pt x="252" y="268"/>
                </a:lnTo>
                <a:lnTo>
                  <a:pt x="254" y="268"/>
                </a:lnTo>
                <a:lnTo>
                  <a:pt x="255" y="269"/>
                </a:lnTo>
                <a:lnTo>
                  <a:pt x="255" y="269"/>
                </a:lnTo>
                <a:lnTo>
                  <a:pt x="253" y="269"/>
                </a:lnTo>
                <a:lnTo>
                  <a:pt x="249" y="269"/>
                </a:lnTo>
                <a:lnTo>
                  <a:pt x="243" y="270"/>
                </a:lnTo>
                <a:lnTo>
                  <a:pt x="241" y="270"/>
                </a:lnTo>
                <a:lnTo>
                  <a:pt x="241" y="272"/>
                </a:lnTo>
                <a:lnTo>
                  <a:pt x="250" y="272"/>
                </a:lnTo>
                <a:lnTo>
                  <a:pt x="251" y="273"/>
                </a:lnTo>
                <a:lnTo>
                  <a:pt x="250" y="274"/>
                </a:lnTo>
                <a:lnTo>
                  <a:pt x="249" y="274"/>
                </a:lnTo>
                <a:lnTo>
                  <a:pt x="250" y="279"/>
                </a:lnTo>
                <a:lnTo>
                  <a:pt x="246" y="279"/>
                </a:lnTo>
                <a:lnTo>
                  <a:pt x="240" y="278"/>
                </a:lnTo>
                <a:lnTo>
                  <a:pt x="240" y="279"/>
                </a:lnTo>
                <a:lnTo>
                  <a:pt x="246" y="280"/>
                </a:lnTo>
                <a:lnTo>
                  <a:pt x="246" y="281"/>
                </a:lnTo>
                <a:lnTo>
                  <a:pt x="246" y="282"/>
                </a:lnTo>
                <a:lnTo>
                  <a:pt x="245" y="282"/>
                </a:lnTo>
                <a:lnTo>
                  <a:pt x="244" y="283"/>
                </a:lnTo>
                <a:lnTo>
                  <a:pt x="244" y="284"/>
                </a:lnTo>
                <a:lnTo>
                  <a:pt x="242" y="284"/>
                </a:lnTo>
                <a:lnTo>
                  <a:pt x="241" y="284"/>
                </a:lnTo>
                <a:lnTo>
                  <a:pt x="241" y="285"/>
                </a:lnTo>
                <a:lnTo>
                  <a:pt x="241" y="285"/>
                </a:lnTo>
                <a:lnTo>
                  <a:pt x="239" y="287"/>
                </a:lnTo>
                <a:lnTo>
                  <a:pt x="239" y="288"/>
                </a:lnTo>
                <a:lnTo>
                  <a:pt x="236" y="287"/>
                </a:lnTo>
                <a:lnTo>
                  <a:pt x="235" y="285"/>
                </a:lnTo>
                <a:lnTo>
                  <a:pt x="234" y="287"/>
                </a:lnTo>
                <a:lnTo>
                  <a:pt x="235" y="288"/>
                </a:lnTo>
                <a:lnTo>
                  <a:pt x="234" y="288"/>
                </a:lnTo>
                <a:lnTo>
                  <a:pt x="233" y="288"/>
                </a:lnTo>
                <a:lnTo>
                  <a:pt x="233" y="289"/>
                </a:lnTo>
                <a:lnTo>
                  <a:pt x="236" y="289"/>
                </a:lnTo>
                <a:lnTo>
                  <a:pt x="236" y="290"/>
                </a:lnTo>
                <a:lnTo>
                  <a:pt x="232" y="290"/>
                </a:lnTo>
                <a:lnTo>
                  <a:pt x="230" y="290"/>
                </a:lnTo>
                <a:lnTo>
                  <a:pt x="229" y="289"/>
                </a:lnTo>
                <a:lnTo>
                  <a:pt x="228" y="289"/>
                </a:lnTo>
                <a:lnTo>
                  <a:pt x="230" y="290"/>
                </a:lnTo>
                <a:lnTo>
                  <a:pt x="232" y="291"/>
                </a:lnTo>
                <a:lnTo>
                  <a:pt x="234" y="291"/>
                </a:lnTo>
                <a:lnTo>
                  <a:pt x="234" y="292"/>
                </a:lnTo>
                <a:lnTo>
                  <a:pt x="232" y="292"/>
                </a:lnTo>
                <a:lnTo>
                  <a:pt x="231" y="293"/>
                </a:lnTo>
                <a:lnTo>
                  <a:pt x="226" y="294"/>
                </a:lnTo>
                <a:lnTo>
                  <a:pt x="224" y="294"/>
                </a:lnTo>
                <a:lnTo>
                  <a:pt x="223" y="294"/>
                </a:lnTo>
                <a:lnTo>
                  <a:pt x="222" y="294"/>
                </a:lnTo>
                <a:lnTo>
                  <a:pt x="221" y="294"/>
                </a:lnTo>
                <a:lnTo>
                  <a:pt x="221" y="295"/>
                </a:lnTo>
                <a:lnTo>
                  <a:pt x="220" y="295"/>
                </a:lnTo>
                <a:lnTo>
                  <a:pt x="217" y="297"/>
                </a:lnTo>
                <a:lnTo>
                  <a:pt x="220" y="298"/>
                </a:lnTo>
                <a:lnTo>
                  <a:pt x="221" y="300"/>
                </a:lnTo>
                <a:lnTo>
                  <a:pt x="220" y="300"/>
                </a:lnTo>
                <a:lnTo>
                  <a:pt x="221" y="301"/>
                </a:lnTo>
                <a:lnTo>
                  <a:pt x="220" y="307"/>
                </a:lnTo>
                <a:lnTo>
                  <a:pt x="221" y="308"/>
                </a:lnTo>
                <a:lnTo>
                  <a:pt x="221" y="309"/>
                </a:lnTo>
                <a:lnTo>
                  <a:pt x="220" y="310"/>
                </a:lnTo>
                <a:lnTo>
                  <a:pt x="221" y="311"/>
                </a:lnTo>
                <a:lnTo>
                  <a:pt x="219" y="311"/>
                </a:lnTo>
                <a:lnTo>
                  <a:pt x="215" y="314"/>
                </a:lnTo>
                <a:lnTo>
                  <a:pt x="214" y="317"/>
                </a:lnTo>
                <a:lnTo>
                  <a:pt x="215" y="317"/>
                </a:lnTo>
                <a:lnTo>
                  <a:pt x="213" y="318"/>
                </a:lnTo>
                <a:lnTo>
                  <a:pt x="211" y="319"/>
                </a:lnTo>
                <a:lnTo>
                  <a:pt x="211" y="319"/>
                </a:lnTo>
                <a:lnTo>
                  <a:pt x="211" y="320"/>
                </a:lnTo>
                <a:lnTo>
                  <a:pt x="211" y="321"/>
                </a:lnTo>
                <a:lnTo>
                  <a:pt x="209" y="324"/>
                </a:lnTo>
                <a:lnTo>
                  <a:pt x="207" y="325"/>
                </a:lnTo>
                <a:lnTo>
                  <a:pt x="207" y="327"/>
                </a:lnTo>
                <a:lnTo>
                  <a:pt x="205" y="328"/>
                </a:lnTo>
                <a:lnTo>
                  <a:pt x="204" y="331"/>
                </a:lnTo>
                <a:lnTo>
                  <a:pt x="203" y="331"/>
                </a:lnTo>
                <a:lnTo>
                  <a:pt x="202" y="331"/>
                </a:lnTo>
                <a:lnTo>
                  <a:pt x="201" y="332"/>
                </a:lnTo>
                <a:lnTo>
                  <a:pt x="199" y="332"/>
                </a:lnTo>
                <a:lnTo>
                  <a:pt x="194" y="331"/>
                </a:lnTo>
                <a:lnTo>
                  <a:pt x="198" y="333"/>
                </a:lnTo>
                <a:lnTo>
                  <a:pt x="199" y="333"/>
                </a:lnTo>
                <a:lnTo>
                  <a:pt x="200" y="334"/>
                </a:lnTo>
                <a:lnTo>
                  <a:pt x="200" y="337"/>
                </a:lnTo>
                <a:lnTo>
                  <a:pt x="199" y="337"/>
                </a:lnTo>
                <a:lnTo>
                  <a:pt x="200" y="338"/>
                </a:lnTo>
                <a:lnTo>
                  <a:pt x="200" y="338"/>
                </a:lnTo>
                <a:lnTo>
                  <a:pt x="195" y="339"/>
                </a:lnTo>
                <a:lnTo>
                  <a:pt x="188" y="338"/>
                </a:lnTo>
                <a:lnTo>
                  <a:pt x="188" y="337"/>
                </a:lnTo>
                <a:lnTo>
                  <a:pt x="188" y="335"/>
                </a:lnTo>
                <a:lnTo>
                  <a:pt x="185" y="338"/>
                </a:lnTo>
                <a:lnTo>
                  <a:pt x="182" y="340"/>
                </a:lnTo>
                <a:lnTo>
                  <a:pt x="179" y="340"/>
                </a:lnTo>
                <a:lnTo>
                  <a:pt x="178" y="339"/>
                </a:lnTo>
                <a:lnTo>
                  <a:pt x="174" y="339"/>
                </a:lnTo>
                <a:lnTo>
                  <a:pt x="174" y="339"/>
                </a:lnTo>
                <a:lnTo>
                  <a:pt x="173" y="338"/>
                </a:lnTo>
                <a:lnTo>
                  <a:pt x="173" y="338"/>
                </a:lnTo>
                <a:lnTo>
                  <a:pt x="173" y="337"/>
                </a:lnTo>
                <a:lnTo>
                  <a:pt x="175" y="335"/>
                </a:lnTo>
                <a:lnTo>
                  <a:pt x="177" y="334"/>
                </a:lnTo>
                <a:lnTo>
                  <a:pt x="179" y="332"/>
                </a:lnTo>
                <a:lnTo>
                  <a:pt x="179" y="331"/>
                </a:lnTo>
                <a:lnTo>
                  <a:pt x="177" y="332"/>
                </a:lnTo>
                <a:lnTo>
                  <a:pt x="173" y="333"/>
                </a:lnTo>
                <a:lnTo>
                  <a:pt x="173" y="332"/>
                </a:lnTo>
                <a:lnTo>
                  <a:pt x="174" y="331"/>
                </a:lnTo>
                <a:lnTo>
                  <a:pt x="175" y="330"/>
                </a:lnTo>
                <a:lnTo>
                  <a:pt x="174" y="330"/>
                </a:lnTo>
                <a:lnTo>
                  <a:pt x="173" y="330"/>
                </a:lnTo>
                <a:lnTo>
                  <a:pt x="171" y="332"/>
                </a:lnTo>
                <a:lnTo>
                  <a:pt x="170" y="332"/>
                </a:lnTo>
                <a:lnTo>
                  <a:pt x="170" y="332"/>
                </a:lnTo>
                <a:lnTo>
                  <a:pt x="169" y="331"/>
                </a:lnTo>
                <a:lnTo>
                  <a:pt x="169" y="330"/>
                </a:lnTo>
                <a:lnTo>
                  <a:pt x="169" y="329"/>
                </a:lnTo>
                <a:lnTo>
                  <a:pt x="170" y="328"/>
                </a:lnTo>
                <a:lnTo>
                  <a:pt x="173" y="327"/>
                </a:lnTo>
                <a:lnTo>
                  <a:pt x="174" y="325"/>
                </a:lnTo>
                <a:lnTo>
                  <a:pt x="174" y="324"/>
                </a:lnTo>
                <a:lnTo>
                  <a:pt x="172" y="327"/>
                </a:lnTo>
                <a:lnTo>
                  <a:pt x="169" y="328"/>
                </a:lnTo>
                <a:lnTo>
                  <a:pt x="168" y="328"/>
                </a:lnTo>
                <a:lnTo>
                  <a:pt x="165" y="328"/>
                </a:lnTo>
                <a:lnTo>
                  <a:pt x="164" y="329"/>
                </a:lnTo>
                <a:lnTo>
                  <a:pt x="163" y="328"/>
                </a:lnTo>
                <a:lnTo>
                  <a:pt x="167" y="327"/>
                </a:lnTo>
                <a:lnTo>
                  <a:pt x="164" y="327"/>
                </a:lnTo>
                <a:lnTo>
                  <a:pt x="171" y="324"/>
                </a:lnTo>
                <a:lnTo>
                  <a:pt x="172" y="324"/>
                </a:lnTo>
                <a:lnTo>
                  <a:pt x="168" y="325"/>
                </a:lnTo>
                <a:lnTo>
                  <a:pt x="167" y="324"/>
                </a:lnTo>
                <a:lnTo>
                  <a:pt x="168" y="323"/>
                </a:lnTo>
                <a:lnTo>
                  <a:pt x="169" y="323"/>
                </a:lnTo>
                <a:lnTo>
                  <a:pt x="164" y="323"/>
                </a:lnTo>
                <a:lnTo>
                  <a:pt x="164" y="323"/>
                </a:lnTo>
                <a:lnTo>
                  <a:pt x="159" y="325"/>
                </a:lnTo>
                <a:lnTo>
                  <a:pt x="153" y="324"/>
                </a:lnTo>
                <a:lnTo>
                  <a:pt x="151" y="325"/>
                </a:lnTo>
                <a:lnTo>
                  <a:pt x="149" y="324"/>
                </a:lnTo>
                <a:lnTo>
                  <a:pt x="149" y="324"/>
                </a:lnTo>
                <a:lnTo>
                  <a:pt x="148" y="325"/>
                </a:lnTo>
                <a:lnTo>
                  <a:pt x="149" y="327"/>
                </a:lnTo>
                <a:lnTo>
                  <a:pt x="143" y="327"/>
                </a:lnTo>
                <a:lnTo>
                  <a:pt x="141" y="327"/>
                </a:lnTo>
                <a:lnTo>
                  <a:pt x="139" y="327"/>
                </a:lnTo>
                <a:lnTo>
                  <a:pt x="140" y="325"/>
                </a:lnTo>
                <a:lnTo>
                  <a:pt x="142" y="325"/>
                </a:lnTo>
                <a:lnTo>
                  <a:pt x="147" y="323"/>
                </a:lnTo>
                <a:lnTo>
                  <a:pt x="148" y="323"/>
                </a:lnTo>
                <a:lnTo>
                  <a:pt x="147" y="322"/>
                </a:lnTo>
                <a:lnTo>
                  <a:pt x="145" y="323"/>
                </a:lnTo>
                <a:lnTo>
                  <a:pt x="143" y="322"/>
                </a:lnTo>
                <a:lnTo>
                  <a:pt x="142" y="322"/>
                </a:lnTo>
                <a:lnTo>
                  <a:pt x="141" y="321"/>
                </a:lnTo>
                <a:lnTo>
                  <a:pt x="141" y="320"/>
                </a:lnTo>
                <a:lnTo>
                  <a:pt x="141" y="320"/>
                </a:lnTo>
                <a:lnTo>
                  <a:pt x="138" y="321"/>
                </a:lnTo>
                <a:lnTo>
                  <a:pt x="137" y="320"/>
                </a:lnTo>
                <a:lnTo>
                  <a:pt x="136" y="320"/>
                </a:lnTo>
                <a:lnTo>
                  <a:pt x="137" y="319"/>
                </a:lnTo>
                <a:lnTo>
                  <a:pt x="137" y="318"/>
                </a:lnTo>
                <a:lnTo>
                  <a:pt x="137" y="318"/>
                </a:lnTo>
                <a:lnTo>
                  <a:pt x="133" y="318"/>
                </a:lnTo>
                <a:lnTo>
                  <a:pt x="132" y="318"/>
                </a:lnTo>
                <a:lnTo>
                  <a:pt x="131" y="318"/>
                </a:lnTo>
                <a:lnTo>
                  <a:pt x="142" y="315"/>
                </a:lnTo>
                <a:lnTo>
                  <a:pt x="140" y="314"/>
                </a:lnTo>
                <a:lnTo>
                  <a:pt x="139" y="314"/>
                </a:lnTo>
                <a:lnTo>
                  <a:pt x="134" y="315"/>
                </a:lnTo>
                <a:lnTo>
                  <a:pt x="132" y="317"/>
                </a:lnTo>
                <a:lnTo>
                  <a:pt x="129" y="315"/>
                </a:lnTo>
                <a:lnTo>
                  <a:pt x="129" y="314"/>
                </a:lnTo>
                <a:lnTo>
                  <a:pt x="132" y="314"/>
                </a:lnTo>
                <a:lnTo>
                  <a:pt x="133" y="313"/>
                </a:lnTo>
                <a:lnTo>
                  <a:pt x="132" y="312"/>
                </a:lnTo>
                <a:lnTo>
                  <a:pt x="132" y="312"/>
                </a:lnTo>
                <a:lnTo>
                  <a:pt x="131" y="311"/>
                </a:lnTo>
                <a:lnTo>
                  <a:pt x="130" y="310"/>
                </a:lnTo>
                <a:lnTo>
                  <a:pt x="130" y="309"/>
                </a:lnTo>
                <a:lnTo>
                  <a:pt x="132" y="308"/>
                </a:lnTo>
                <a:lnTo>
                  <a:pt x="136" y="307"/>
                </a:lnTo>
                <a:lnTo>
                  <a:pt x="136" y="305"/>
                </a:lnTo>
                <a:lnTo>
                  <a:pt x="136" y="305"/>
                </a:lnTo>
                <a:lnTo>
                  <a:pt x="130" y="308"/>
                </a:lnTo>
                <a:lnTo>
                  <a:pt x="127" y="308"/>
                </a:lnTo>
                <a:lnTo>
                  <a:pt x="127" y="307"/>
                </a:lnTo>
                <a:lnTo>
                  <a:pt x="127" y="305"/>
                </a:lnTo>
                <a:lnTo>
                  <a:pt x="129" y="305"/>
                </a:lnTo>
                <a:lnTo>
                  <a:pt x="131" y="305"/>
                </a:lnTo>
                <a:lnTo>
                  <a:pt x="128" y="305"/>
                </a:lnTo>
                <a:lnTo>
                  <a:pt x="128" y="304"/>
                </a:lnTo>
                <a:lnTo>
                  <a:pt x="130" y="303"/>
                </a:lnTo>
                <a:lnTo>
                  <a:pt x="128" y="303"/>
                </a:lnTo>
                <a:lnTo>
                  <a:pt x="126" y="303"/>
                </a:lnTo>
                <a:lnTo>
                  <a:pt x="127" y="302"/>
                </a:lnTo>
                <a:lnTo>
                  <a:pt x="128" y="301"/>
                </a:lnTo>
                <a:lnTo>
                  <a:pt x="126" y="300"/>
                </a:lnTo>
                <a:lnTo>
                  <a:pt x="123" y="300"/>
                </a:lnTo>
                <a:lnTo>
                  <a:pt x="123" y="299"/>
                </a:lnTo>
                <a:lnTo>
                  <a:pt x="124" y="297"/>
                </a:lnTo>
                <a:lnTo>
                  <a:pt x="127" y="294"/>
                </a:lnTo>
                <a:lnTo>
                  <a:pt x="126" y="294"/>
                </a:lnTo>
                <a:lnTo>
                  <a:pt x="123" y="295"/>
                </a:lnTo>
                <a:lnTo>
                  <a:pt x="123" y="294"/>
                </a:lnTo>
                <a:lnTo>
                  <a:pt x="123" y="293"/>
                </a:lnTo>
                <a:lnTo>
                  <a:pt x="123" y="292"/>
                </a:lnTo>
                <a:lnTo>
                  <a:pt x="120" y="291"/>
                </a:lnTo>
                <a:lnTo>
                  <a:pt x="120" y="291"/>
                </a:lnTo>
                <a:lnTo>
                  <a:pt x="120" y="290"/>
                </a:lnTo>
                <a:lnTo>
                  <a:pt x="119" y="290"/>
                </a:lnTo>
                <a:lnTo>
                  <a:pt x="117" y="287"/>
                </a:lnTo>
                <a:lnTo>
                  <a:pt x="118" y="284"/>
                </a:lnTo>
                <a:lnTo>
                  <a:pt x="116" y="284"/>
                </a:lnTo>
                <a:lnTo>
                  <a:pt x="116" y="283"/>
                </a:lnTo>
                <a:lnTo>
                  <a:pt x="114" y="281"/>
                </a:lnTo>
                <a:lnTo>
                  <a:pt x="118" y="279"/>
                </a:lnTo>
                <a:lnTo>
                  <a:pt x="114" y="280"/>
                </a:lnTo>
                <a:lnTo>
                  <a:pt x="117" y="277"/>
                </a:lnTo>
                <a:lnTo>
                  <a:pt x="117" y="273"/>
                </a:lnTo>
                <a:lnTo>
                  <a:pt x="118" y="272"/>
                </a:lnTo>
                <a:lnTo>
                  <a:pt x="121" y="272"/>
                </a:lnTo>
                <a:lnTo>
                  <a:pt x="124" y="271"/>
                </a:lnTo>
                <a:lnTo>
                  <a:pt x="126" y="269"/>
                </a:lnTo>
                <a:lnTo>
                  <a:pt x="129" y="269"/>
                </a:lnTo>
                <a:lnTo>
                  <a:pt x="136" y="268"/>
                </a:lnTo>
                <a:lnTo>
                  <a:pt x="131" y="268"/>
                </a:lnTo>
                <a:lnTo>
                  <a:pt x="129" y="267"/>
                </a:lnTo>
                <a:lnTo>
                  <a:pt x="130" y="265"/>
                </a:lnTo>
                <a:lnTo>
                  <a:pt x="132" y="264"/>
                </a:lnTo>
                <a:lnTo>
                  <a:pt x="139" y="264"/>
                </a:lnTo>
                <a:lnTo>
                  <a:pt x="138" y="263"/>
                </a:lnTo>
                <a:lnTo>
                  <a:pt x="136" y="263"/>
                </a:lnTo>
                <a:lnTo>
                  <a:pt x="131" y="262"/>
                </a:lnTo>
                <a:lnTo>
                  <a:pt x="129" y="264"/>
                </a:lnTo>
                <a:lnTo>
                  <a:pt x="126" y="264"/>
                </a:lnTo>
                <a:lnTo>
                  <a:pt x="124" y="264"/>
                </a:lnTo>
                <a:lnTo>
                  <a:pt x="120" y="268"/>
                </a:lnTo>
                <a:lnTo>
                  <a:pt x="116" y="271"/>
                </a:lnTo>
                <a:lnTo>
                  <a:pt x="112" y="271"/>
                </a:lnTo>
                <a:lnTo>
                  <a:pt x="111" y="271"/>
                </a:lnTo>
                <a:lnTo>
                  <a:pt x="111" y="269"/>
                </a:lnTo>
                <a:lnTo>
                  <a:pt x="112" y="268"/>
                </a:lnTo>
                <a:lnTo>
                  <a:pt x="113" y="267"/>
                </a:lnTo>
                <a:lnTo>
                  <a:pt x="113" y="264"/>
                </a:lnTo>
                <a:lnTo>
                  <a:pt x="114" y="263"/>
                </a:lnTo>
                <a:lnTo>
                  <a:pt x="118" y="262"/>
                </a:lnTo>
                <a:lnTo>
                  <a:pt x="117" y="261"/>
                </a:lnTo>
                <a:lnTo>
                  <a:pt x="117" y="261"/>
                </a:lnTo>
                <a:lnTo>
                  <a:pt x="114" y="262"/>
                </a:lnTo>
                <a:lnTo>
                  <a:pt x="114" y="260"/>
                </a:lnTo>
                <a:lnTo>
                  <a:pt x="116" y="259"/>
                </a:lnTo>
                <a:lnTo>
                  <a:pt x="113" y="259"/>
                </a:lnTo>
                <a:lnTo>
                  <a:pt x="114" y="257"/>
                </a:lnTo>
                <a:lnTo>
                  <a:pt x="116" y="255"/>
                </a:lnTo>
                <a:lnTo>
                  <a:pt x="116" y="254"/>
                </a:lnTo>
                <a:lnTo>
                  <a:pt x="113" y="255"/>
                </a:lnTo>
                <a:lnTo>
                  <a:pt x="113" y="254"/>
                </a:lnTo>
                <a:lnTo>
                  <a:pt x="118" y="252"/>
                </a:lnTo>
                <a:lnTo>
                  <a:pt x="114" y="252"/>
                </a:lnTo>
                <a:lnTo>
                  <a:pt x="116" y="251"/>
                </a:lnTo>
                <a:lnTo>
                  <a:pt x="112" y="251"/>
                </a:lnTo>
                <a:lnTo>
                  <a:pt x="113" y="248"/>
                </a:lnTo>
                <a:lnTo>
                  <a:pt x="111" y="248"/>
                </a:lnTo>
                <a:lnTo>
                  <a:pt x="108" y="249"/>
                </a:lnTo>
                <a:lnTo>
                  <a:pt x="110" y="247"/>
                </a:lnTo>
                <a:lnTo>
                  <a:pt x="110" y="247"/>
                </a:lnTo>
                <a:lnTo>
                  <a:pt x="111" y="245"/>
                </a:lnTo>
                <a:lnTo>
                  <a:pt x="113" y="244"/>
                </a:lnTo>
                <a:lnTo>
                  <a:pt x="109" y="245"/>
                </a:lnTo>
                <a:lnTo>
                  <a:pt x="109" y="244"/>
                </a:lnTo>
                <a:lnTo>
                  <a:pt x="107" y="244"/>
                </a:lnTo>
                <a:lnTo>
                  <a:pt x="107" y="243"/>
                </a:lnTo>
                <a:lnTo>
                  <a:pt x="113" y="240"/>
                </a:lnTo>
                <a:lnTo>
                  <a:pt x="111" y="241"/>
                </a:lnTo>
                <a:lnTo>
                  <a:pt x="108" y="241"/>
                </a:lnTo>
                <a:lnTo>
                  <a:pt x="107" y="240"/>
                </a:lnTo>
                <a:lnTo>
                  <a:pt x="110" y="239"/>
                </a:lnTo>
                <a:lnTo>
                  <a:pt x="107" y="239"/>
                </a:lnTo>
                <a:lnTo>
                  <a:pt x="107" y="238"/>
                </a:lnTo>
                <a:lnTo>
                  <a:pt x="108" y="236"/>
                </a:lnTo>
                <a:lnTo>
                  <a:pt x="109" y="234"/>
                </a:lnTo>
                <a:lnTo>
                  <a:pt x="113" y="236"/>
                </a:lnTo>
                <a:lnTo>
                  <a:pt x="111" y="233"/>
                </a:lnTo>
                <a:lnTo>
                  <a:pt x="114" y="232"/>
                </a:lnTo>
                <a:lnTo>
                  <a:pt x="116" y="231"/>
                </a:lnTo>
                <a:lnTo>
                  <a:pt x="118" y="229"/>
                </a:lnTo>
                <a:lnTo>
                  <a:pt x="113" y="229"/>
                </a:lnTo>
                <a:lnTo>
                  <a:pt x="110" y="229"/>
                </a:lnTo>
                <a:lnTo>
                  <a:pt x="111" y="228"/>
                </a:lnTo>
                <a:lnTo>
                  <a:pt x="108" y="226"/>
                </a:lnTo>
                <a:lnTo>
                  <a:pt x="110" y="223"/>
                </a:lnTo>
                <a:lnTo>
                  <a:pt x="111" y="222"/>
                </a:lnTo>
                <a:lnTo>
                  <a:pt x="112" y="222"/>
                </a:lnTo>
                <a:lnTo>
                  <a:pt x="112" y="221"/>
                </a:lnTo>
                <a:lnTo>
                  <a:pt x="118" y="219"/>
                </a:lnTo>
                <a:lnTo>
                  <a:pt x="117" y="219"/>
                </a:lnTo>
                <a:lnTo>
                  <a:pt x="114" y="219"/>
                </a:lnTo>
                <a:lnTo>
                  <a:pt x="118" y="217"/>
                </a:lnTo>
                <a:lnTo>
                  <a:pt x="117" y="217"/>
                </a:lnTo>
                <a:lnTo>
                  <a:pt x="118" y="216"/>
                </a:lnTo>
                <a:lnTo>
                  <a:pt x="119" y="213"/>
                </a:lnTo>
                <a:lnTo>
                  <a:pt x="122" y="212"/>
                </a:lnTo>
                <a:lnTo>
                  <a:pt x="124" y="212"/>
                </a:lnTo>
                <a:lnTo>
                  <a:pt x="123" y="211"/>
                </a:lnTo>
                <a:lnTo>
                  <a:pt x="127" y="212"/>
                </a:lnTo>
                <a:lnTo>
                  <a:pt x="128" y="212"/>
                </a:lnTo>
                <a:lnTo>
                  <a:pt x="126" y="210"/>
                </a:lnTo>
                <a:lnTo>
                  <a:pt x="121" y="210"/>
                </a:lnTo>
                <a:lnTo>
                  <a:pt x="123" y="209"/>
                </a:lnTo>
                <a:lnTo>
                  <a:pt x="128" y="210"/>
                </a:lnTo>
                <a:lnTo>
                  <a:pt x="128" y="210"/>
                </a:lnTo>
                <a:lnTo>
                  <a:pt x="131" y="209"/>
                </a:lnTo>
                <a:lnTo>
                  <a:pt x="139" y="211"/>
                </a:lnTo>
                <a:lnTo>
                  <a:pt x="142" y="211"/>
                </a:lnTo>
                <a:lnTo>
                  <a:pt x="147" y="210"/>
                </a:lnTo>
                <a:lnTo>
                  <a:pt x="149" y="211"/>
                </a:lnTo>
                <a:lnTo>
                  <a:pt x="150" y="210"/>
                </a:lnTo>
                <a:lnTo>
                  <a:pt x="147" y="209"/>
                </a:lnTo>
                <a:lnTo>
                  <a:pt x="147" y="209"/>
                </a:lnTo>
                <a:lnTo>
                  <a:pt x="149" y="209"/>
                </a:lnTo>
                <a:lnTo>
                  <a:pt x="144" y="208"/>
                </a:lnTo>
                <a:lnTo>
                  <a:pt x="149" y="207"/>
                </a:lnTo>
                <a:lnTo>
                  <a:pt x="150" y="206"/>
                </a:lnTo>
                <a:lnTo>
                  <a:pt x="150" y="204"/>
                </a:lnTo>
                <a:lnTo>
                  <a:pt x="145" y="204"/>
                </a:lnTo>
                <a:lnTo>
                  <a:pt x="147" y="207"/>
                </a:lnTo>
                <a:lnTo>
                  <a:pt x="134" y="209"/>
                </a:lnTo>
                <a:lnTo>
                  <a:pt x="132" y="208"/>
                </a:lnTo>
                <a:lnTo>
                  <a:pt x="129" y="208"/>
                </a:lnTo>
                <a:lnTo>
                  <a:pt x="129" y="207"/>
                </a:lnTo>
                <a:lnTo>
                  <a:pt x="130" y="207"/>
                </a:lnTo>
                <a:lnTo>
                  <a:pt x="129" y="206"/>
                </a:lnTo>
                <a:lnTo>
                  <a:pt x="133" y="204"/>
                </a:lnTo>
                <a:lnTo>
                  <a:pt x="134" y="203"/>
                </a:lnTo>
                <a:lnTo>
                  <a:pt x="140" y="202"/>
                </a:lnTo>
                <a:lnTo>
                  <a:pt x="142" y="202"/>
                </a:lnTo>
                <a:lnTo>
                  <a:pt x="145" y="203"/>
                </a:lnTo>
                <a:lnTo>
                  <a:pt x="151" y="202"/>
                </a:lnTo>
                <a:lnTo>
                  <a:pt x="153" y="201"/>
                </a:lnTo>
                <a:lnTo>
                  <a:pt x="154" y="200"/>
                </a:lnTo>
                <a:lnTo>
                  <a:pt x="152" y="200"/>
                </a:lnTo>
                <a:lnTo>
                  <a:pt x="151" y="200"/>
                </a:lnTo>
                <a:lnTo>
                  <a:pt x="154" y="198"/>
                </a:lnTo>
                <a:lnTo>
                  <a:pt x="153" y="198"/>
                </a:lnTo>
                <a:lnTo>
                  <a:pt x="153" y="196"/>
                </a:lnTo>
                <a:lnTo>
                  <a:pt x="154" y="194"/>
                </a:lnTo>
                <a:lnTo>
                  <a:pt x="157" y="193"/>
                </a:lnTo>
                <a:lnTo>
                  <a:pt x="160" y="194"/>
                </a:lnTo>
                <a:lnTo>
                  <a:pt x="160" y="196"/>
                </a:lnTo>
                <a:lnTo>
                  <a:pt x="163" y="196"/>
                </a:lnTo>
                <a:lnTo>
                  <a:pt x="162" y="194"/>
                </a:lnTo>
                <a:lnTo>
                  <a:pt x="165" y="193"/>
                </a:lnTo>
                <a:lnTo>
                  <a:pt x="164" y="191"/>
                </a:lnTo>
                <a:lnTo>
                  <a:pt x="161" y="193"/>
                </a:lnTo>
                <a:lnTo>
                  <a:pt x="158" y="192"/>
                </a:lnTo>
                <a:lnTo>
                  <a:pt x="159" y="189"/>
                </a:lnTo>
                <a:lnTo>
                  <a:pt x="162" y="189"/>
                </a:lnTo>
                <a:lnTo>
                  <a:pt x="162" y="188"/>
                </a:lnTo>
                <a:lnTo>
                  <a:pt x="162" y="187"/>
                </a:lnTo>
                <a:lnTo>
                  <a:pt x="165" y="186"/>
                </a:lnTo>
                <a:lnTo>
                  <a:pt x="165" y="184"/>
                </a:lnTo>
                <a:lnTo>
                  <a:pt x="169" y="183"/>
                </a:lnTo>
                <a:lnTo>
                  <a:pt x="169" y="182"/>
                </a:lnTo>
                <a:lnTo>
                  <a:pt x="170" y="181"/>
                </a:lnTo>
                <a:lnTo>
                  <a:pt x="163" y="181"/>
                </a:lnTo>
                <a:lnTo>
                  <a:pt x="162" y="180"/>
                </a:lnTo>
                <a:lnTo>
                  <a:pt x="159" y="180"/>
                </a:lnTo>
                <a:lnTo>
                  <a:pt x="157" y="181"/>
                </a:lnTo>
                <a:lnTo>
                  <a:pt x="147" y="180"/>
                </a:lnTo>
                <a:lnTo>
                  <a:pt x="143" y="177"/>
                </a:lnTo>
                <a:lnTo>
                  <a:pt x="138" y="176"/>
                </a:lnTo>
                <a:lnTo>
                  <a:pt x="132" y="176"/>
                </a:lnTo>
                <a:lnTo>
                  <a:pt x="128" y="171"/>
                </a:lnTo>
                <a:lnTo>
                  <a:pt x="131" y="169"/>
                </a:lnTo>
                <a:lnTo>
                  <a:pt x="134" y="169"/>
                </a:lnTo>
                <a:lnTo>
                  <a:pt x="147" y="170"/>
                </a:lnTo>
                <a:lnTo>
                  <a:pt x="151" y="171"/>
                </a:lnTo>
                <a:lnTo>
                  <a:pt x="158" y="174"/>
                </a:lnTo>
                <a:lnTo>
                  <a:pt x="163" y="176"/>
                </a:lnTo>
                <a:lnTo>
                  <a:pt x="169" y="176"/>
                </a:lnTo>
                <a:lnTo>
                  <a:pt x="170" y="174"/>
                </a:lnTo>
                <a:lnTo>
                  <a:pt x="170" y="173"/>
                </a:lnTo>
                <a:lnTo>
                  <a:pt x="165" y="174"/>
                </a:lnTo>
                <a:lnTo>
                  <a:pt x="163" y="173"/>
                </a:lnTo>
                <a:lnTo>
                  <a:pt x="163" y="172"/>
                </a:lnTo>
                <a:lnTo>
                  <a:pt x="167" y="172"/>
                </a:lnTo>
                <a:lnTo>
                  <a:pt x="167" y="172"/>
                </a:lnTo>
                <a:lnTo>
                  <a:pt x="169" y="171"/>
                </a:lnTo>
                <a:lnTo>
                  <a:pt x="170" y="171"/>
                </a:lnTo>
                <a:lnTo>
                  <a:pt x="167" y="170"/>
                </a:lnTo>
                <a:lnTo>
                  <a:pt x="171" y="171"/>
                </a:lnTo>
                <a:lnTo>
                  <a:pt x="170" y="169"/>
                </a:lnTo>
                <a:lnTo>
                  <a:pt x="168" y="168"/>
                </a:lnTo>
                <a:lnTo>
                  <a:pt x="162" y="167"/>
                </a:lnTo>
                <a:lnTo>
                  <a:pt x="160" y="166"/>
                </a:lnTo>
                <a:lnTo>
                  <a:pt x="165" y="167"/>
                </a:lnTo>
                <a:lnTo>
                  <a:pt x="167" y="166"/>
                </a:lnTo>
                <a:lnTo>
                  <a:pt x="164" y="164"/>
                </a:lnTo>
                <a:lnTo>
                  <a:pt x="167" y="163"/>
                </a:lnTo>
                <a:lnTo>
                  <a:pt x="157" y="164"/>
                </a:lnTo>
                <a:lnTo>
                  <a:pt x="164" y="161"/>
                </a:lnTo>
                <a:lnTo>
                  <a:pt x="153" y="163"/>
                </a:lnTo>
                <a:lnTo>
                  <a:pt x="157" y="162"/>
                </a:lnTo>
                <a:lnTo>
                  <a:pt x="158" y="160"/>
                </a:lnTo>
                <a:lnTo>
                  <a:pt x="163" y="159"/>
                </a:lnTo>
                <a:lnTo>
                  <a:pt x="155" y="160"/>
                </a:lnTo>
                <a:lnTo>
                  <a:pt x="150" y="160"/>
                </a:lnTo>
                <a:lnTo>
                  <a:pt x="153" y="159"/>
                </a:lnTo>
                <a:lnTo>
                  <a:pt x="161" y="158"/>
                </a:lnTo>
                <a:lnTo>
                  <a:pt x="164" y="156"/>
                </a:lnTo>
                <a:lnTo>
                  <a:pt x="157" y="157"/>
                </a:lnTo>
                <a:lnTo>
                  <a:pt x="154" y="157"/>
                </a:lnTo>
                <a:lnTo>
                  <a:pt x="154" y="157"/>
                </a:lnTo>
                <a:lnTo>
                  <a:pt x="151" y="156"/>
                </a:lnTo>
                <a:lnTo>
                  <a:pt x="152" y="154"/>
                </a:lnTo>
                <a:lnTo>
                  <a:pt x="154" y="152"/>
                </a:lnTo>
                <a:lnTo>
                  <a:pt x="150" y="154"/>
                </a:lnTo>
                <a:lnTo>
                  <a:pt x="149" y="152"/>
                </a:lnTo>
                <a:lnTo>
                  <a:pt x="149" y="151"/>
                </a:lnTo>
                <a:lnTo>
                  <a:pt x="147" y="153"/>
                </a:lnTo>
                <a:lnTo>
                  <a:pt x="143" y="154"/>
                </a:lnTo>
                <a:lnTo>
                  <a:pt x="143" y="156"/>
                </a:lnTo>
                <a:lnTo>
                  <a:pt x="141" y="157"/>
                </a:lnTo>
                <a:lnTo>
                  <a:pt x="140" y="156"/>
                </a:lnTo>
                <a:lnTo>
                  <a:pt x="139" y="157"/>
                </a:lnTo>
                <a:lnTo>
                  <a:pt x="140" y="158"/>
                </a:lnTo>
                <a:lnTo>
                  <a:pt x="139" y="159"/>
                </a:lnTo>
                <a:lnTo>
                  <a:pt x="132" y="161"/>
                </a:lnTo>
                <a:lnTo>
                  <a:pt x="129" y="160"/>
                </a:lnTo>
                <a:lnTo>
                  <a:pt x="126" y="159"/>
                </a:lnTo>
                <a:lnTo>
                  <a:pt x="123" y="160"/>
                </a:lnTo>
                <a:lnTo>
                  <a:pt x="121" y="157"/>
                </a:lnTo>
                <a:lnTo>
                  <a:pt x="121" y="156"/>
                </a:lnTo>
                <a:lnTo>
                  <a:pt x="123" y="154"/>
                </a:lnTo>
                <a:lnTo>
                  <a:pt x="128" y="153"/>
                </a:lnTo>
                <a:lnTo>
                  <a:pt x="134" y="151"/>
                </a:lnTo>
                <a:lnTo>
                  <a:pt x="129" y="152"/>
                </a:lnTo>
                <a:lnTo>
                  <a:pt x="127" y="150"/>
                </a:lnTo>
                <a:lnTo>
                  <a:pt x="129" y="150"/>
                </a:lnTo>
                <a:lnTo>
                  <a:pt x="133" y="149"/>
                </a:lnTo>
                <a:lnTo>
                  <a:pt x="134" y="148"/>
                </a:lnTo>
                <a:lnTo>
                  <a:pt x="136" y="147"/>
                </a:lnTo>
                <a:lnTo>
                  <a:pt x="138" y="146"/>
                </a:lnTo>
                <a:lnTo>
                  <a:pt x="138" y="144"/>
                </a:lnTo>
                <a:lnTo>
                  <a:pt x="140" y="144"/>
                </a:lnTo>
                <a:lnTo>
                  <a:pt x="140" y="143"/>
                </a:lnTo>
                <a:lnTo>
                  <a:pt x="140" y="141"/>
                </a:lnTo>
                <a:lnTo>
                  <a:pt x="141" y="140"/>
                </a:lnTo>
                <a:lnTo>
                  <a:pt x="142" y="140"/>
                </a:lnTo>
                <a:lnTo>
                  <a:pt x="143" y="139"/>
                </a:lnTo>
                <a:lnTo>
                  <a:pt x="143" y="137"/>
                </a:lnTo>
                <a:lnTo>
                  <a:pt x="140" y="137"/>
                </a:lnTo>
                <a:lnTo>
                  <a:pt x="133" y="136"/>
                </a:lnTo>
                <a:lnTo>
                  <a:pt x="136" y="134"/>
                </a:lnTo>
                <a:lnTo>
                  <a:pt x="137" y="134"/>
                </a:lnTo>
                <a:lnTo>
                  <a:pt x="140" y="133"/>
                </a:lnTo>
                <a:lnTo>
                  <a:pt x="138" y="132"/>
                </a:lnTo>
                <a:lnTo>
                  <a:pt x="139" y="132"/>
                </a:lnTo>
                <a:lnTo>
                  <a:pt x="140" y="131"/>
                </a:lnTo>
                <a:lnTo>
                  <a:pt x="142" y="130"/>
                </a:lnTo>
                <a:lnTo>
                  <a:pt x="138" y="131"/>
                </a:lnTo>
                <a:lnTo>
                  <a:pt x="137" y="131"/>
                </a:lnTo>
                <a:lnTo>
                  <a:pt x="138" y="130"/>
                </a:lnTo>
                <a:lnTo>
                  <a:pt x="139" y="129"/>
                </a:lnTo>
                <a:lnTo>
                  <a:pt x="138" y="129"/>
                </a:lnTo>
                <a:lnTo>
                  <a:pt x="134" y="127"/>
                </a:lnTo>
                <a:lnTo>
                  <a:pt x="134" y="127"/>
                </a:lnTo>
                <a:lnTo>
                  <a:pt x="136" y="126"/>
                </a:lnTo>
                <a:lnTo>
                  <a:pt x="137" y="127"/>
                </a:lnTo>
                <a:lnTo>
                  <a:pt x="137" y="126"/>
                </a:lnTo>
                <a:lnTo>
                  <a:pt x="139" y="125"/>
                </a:lnTo>
                <a:lnTo>
                  <a:pt x="136" y="122"/>
                </a:lnTo>
                <a:lnTo>
                  <a:pt x="138" y="122"/>
                </a:lnTo>
                <a:lnTo>
                  <a:pt x="137" y="121"/>
                </a:lnTo>
                <a:lnTo>
                  <a:pt x="134" y="121"/>
                </a:lnTo>
                <a:lnTo>
                  <a:pt x="136" y="120"/>
                </a:lnTo>
                <a:lnTo>
                  <a:pt x="138" y="118"/>
                </a:lnTo>
                <a:lnTo>
                  <a:pt x="137" y="118"/>
                </a:lnTo>
                <a:lnTo>
                  <a:pt x="133" y="117"/>
                </a:lnTo>
                <a:lnTo>
                  <a:pt x="138" y="117"/>
                </a:lnTo>
                <a:lnTo>
                  <a:pt x="138" y="116"/>
                </a:lnTo>
                <a:lnTo>
                  <a:pt x="136" y="116"/>
                </a:lnTo>
                <a:lnTo>
                  <a:pt x="132" y="116"/>
                </a:lnTo>
                <a:lnTo>
                  <a:pt x="137" y="116"/>
                </a:lnTo>
                <a:lnTo>
                  <a:pt x="139" y="115"/>
                </a:lnTo>
                <a:lnTo>
                  <a:pt x="134" y="112"/>
                </a:lnTo>
                <a:lnTo>
                  <a:pt x="132" y="112"/>
                </a:lnTo>
                <a:lnTo>
                  <a:pt x="131" y="111"/>
                </a:lnTo>
                <a:lnTo>
                  <a:pt x="132" y="110"/>
                </a:lnTo>
                <a:lnTo>
                  <a:pt x="134" y="110"/>
                </a:lnTo>
                <a:lnTo>
                  <a:pt x="134" y="110"/>
                </a:lnTo>
                <a:lnTo>
                  <a:pt x="126" y="107"/>
                </a:lnTo>
                <a:lnTo>
                  <a:pt x="124" y="106"/>
                </a:lnTo>
                <a:lnTo>
                  <a:pt x="124" y="105"/>
                </a:lnTo>
                <a:lnTo>
                  <a:pt x="123" y="103"/>
                </a:lnTo>
                <a:lnTo>
                  <a:pt x="124" y="103"/>
                </a:lnTo>
                <a:lnTo>
                  <a:pt x="124" y="102"/>
                </a:lnTo>
                <a:lnTo>
                  <a:pt x="121" y="102"/>
                </a:lnTo>
                <a:lnTo>
                  <a:pt x="122" y="102"/>
                </a:lnTo>
                <a:lnTo>
                  <a:pt x="126" y="101"/>
                </a:lnTo>
                <a:lnTo>
                  <a:pt x="127" y="100"/>
                </a:lnTo>
                <a:lnTo>
                  <a:pt x="126" y="100"/>
                </a:lnTo>
                <a:lnTo>
                  <a:pt x="126" y="99"/>
                </a:lnTo>
                <a:lnTo>
                  <a:pt x="124" y="98"/>
                </a:lnTo>
                <a:lnTo>
                  <a:pt x="124" y="98"/>
                </a:lnTo>
                <a:lnTo>
                  <a:pt x="121" y="98"/>
                </a:lnTo>
                <a:lnTo>
                  <a:pt x="120" y="97"/>
                </a:lnTo>
                <a:lnTo>
                  <a:pt x="119" y="97"/>
                </a:lnTo>
                <a:lnTo>
                  <a:pt x="119" y="96"/>
                </a:lnTo>
                <a:lnTo>
                  <a:pt x="116" y="97"/>
                </a:lnTo>
                <a:lnTo>
                  <a:pt x="113" y="97"/>
                </a:lnTo>
                <a:lnTo>
                  <a:pt x="114" y="96"/>
                </a:lnTo>
                <a:lnTo>
                  <a:pt x="114" y="95"/>
                </a:lnTo>
                <a:lnTo>
                  <a:pt x="112" y="95"/>
                </a:lnTo>
                <a:lnTo>
                  <a:pt x="109" y="95"/>
                </a:lnTo>
                <a:lnTo>
                  <a:pt x="106" y="92"/>
                </a:lnTo>
                <a:lnTo>
                  <a:pt x="106" y="92"/>
                </a:lnTo>
                <a:lnTo>
                  <a:pt x="104" y="95"/>
                </a:lnTo>
                <a:lnTo>
                  <a:pt x="104" y="93"/>
                </a:lnTo>
                <a:lnTo>
                  <a:pt x="103" y="93"/>
                </a:lnTo>
                <a:lnTo>
                  <a:pt x="103" y="92"/>
                </a:lnTo>
                <a:lnTo>
                  <a:pt x="91" y="91"/>
                </a:lnTo>
                <a:lnTo>
                  <a:pt x="89" y="91"/>
                </a:lnTo>
                <a:lnTo>
                  <a:pt x="88" y="91"/>
                </a:lnTo>
                <a:lnTo>
                  <a:pt x="86" y="91"/>
                </a:lnTo>
                <a:lnTo>
                  <a:pt x="84" y="89"/>
                </a:lnTo>
                <a:lnTo>
                  <a:pt x="81" y="89"/>
                </a:lnTo>
                <a:lnTo>
                  <a:pt x="78" y="91"/>
                </a:lnTo>
                <a:lnTo>
                  <a:pt x="73" y="92"/>
                </a:lnTo>
                <a:lnTo>
                  <a:pt x="72" y="91"/>
                </a:lnTo>
                <a:lnTo>
                  <a:pt x="72" y="90"/>
                </a:lnTo>
                <a:lnTo>
                  <a:pt x="70" y="90"/>
                </a:lnTo>
                <a:lnTo>
                  <a:pt x="67" y="91"/>
                </a:lnTo>
                <a:lnTo>
                  <a:pt x="66" y="92"/>
                </a:lnTo>
                <a:lnTo>
                  <a:pt x="63" y="91"/>
                </a:lnTo>
                <a:lnTo>
                  <a:pt x="61" y="92"/>
                </a:lnTo>
                <a:lnTo>
                  <a:pt x="58" y="93"/>
                </a:lnTo>
                <a:lnTo>
                  <a:pt x="56" y="93"/>
                </a:lnTo>
                <a:lnTo>
                  <a:pt x="53" y="93"/>
                </a:lnTo>
                <a:lnTo>
                  <a:pt x="55" y="91"/>
                </a:lnTo>
                <a:lnTo>
                  <a:pt x="57" y="90"/>
                </a:lnTo>
                <a:lnTo>
                  <a:pt x="51" y="90"/>
                </a:lnTo>
                <a:lnTo>
                  <a:pt x="49" y="91"/>
                </a:lnTo>
                <a:lnTo>
                  <a:pt x="47" y="92"/>
                </a:lnTo>
                <a:lnTo>
                  <a:pt x="45" y="92"/>
                </a:lnTo>
                <a:lnTo>
                  <a:pt x="43" y="90"/>
                </a:lnTo>
                <a:lnTo>
                  <a:pt x="40" y="90"/>
                </a:lnTo>
                <a:lnTo>
                  <a:pt x="37" y="92"/>
                </a:lnTo>
                <a:lnTo>
                  <a:pt x="39" y="92"/>
                </a:lnTo>
                <a:lnTo>
                  <a:pt x="43" y="96"/>
                </a:lnTo>
                <a:lnTo>
                  <a:pt x="39" y="95"/>
                </a:lnTo>
                <a:lnTo>
                  <a:pt x="33" y="95"/>
                </a:lnTo>
                <a:lnTo>
                  <a:pt x="31" y="93"/>
                </a:lnTo>
                <a:lnTo>
                  <a:pt x="26" y="93"/>
                </a:lnTo>
                <a:lnTo>
                  <a:pt x="20" y="91"/>
                </a:lnTo>
                <a:lnTo>
                  <a:pt x="19" y="90"/>
                </a:lnTo>
                <a:lnTo>
                  <a:pt x="17" y="89"/>
                </a:lnTo>
                <a:lnTo>
                  <a:pt x="15" y="88"/>
                </a:lnTo>
                <a:lnTo>
                  <a:pt x="23" y="86"/>
                </a:lnTo>
                <a:lnTo>
                  <a:pt x="28" y="86"/>
                </a:lnTo>
                <a:lnTo>
                  <a:pt x="32" y="86"/>
                </a:lnTo>
                <a:lnTo>
                  <a:pt x="32" y="85"/>
                </a:lnTo>
                <a:lnTo>
                  <a:pt x="27" y="85"/>
                </a:lnTo>
                <a:lnTo>
                  <a:pt x="21" y="85"/>
                </a:lnTo>
                <a:lnTo>
                  <a:pt x="15" y="83"/>
                </a:lnTo>
                <a:lnTo>
                  <a:pt x="15" y="82"/>
                </a:lnTo>
                <a:lnTo>
                  <a:pt x="20" y="80"/>
                </a:lnTo>
                <a:lnTo>
                  <a:pt x="19" y="80"/>
                </a:lnTo>
                <a:lnTo>
                  <a:pt x="12" y="82"/>
                </a:lnTo>
                <a:lnTo>
                  <a:pt x="9" y="83"/>
                </a:lnTo>
                <a:lnTo>
                  <a:pt x="6" y="82"/>
                </a:lnTo>
                <a:lnTo>
                  <a:pt x="7" y="81"/>
                </a:lnTo>
                <a:lnTo>
                  <a:pt x="7" y="81"/>
                </a:lnTo>
                <a:lnTo>
                  <a:pt x="2" y="80"/>
                </a:lnTo>
                <a:lnTo>
                  <a:pt x="1" y="80"/>
                </a:lnTo>
                <a:lnTo>
                  <a:pt x="3" y="80"/>
                </a:lnTo>
                <a:lnTo>
                  <a:pt x="8" y="78"/>
                </a:lnTo>
                <a:lnTo>
                  <a:pt x="10" y="78"/>
                </a:lnTo>
                <a:lnTo>
                  <a:pt x="11" y="78"/>
                </a:lnTo>
                <a:lnTo>
                  <a:pt x="17" y="77"/>
                </a:lnTo>
                <a:lnTo>
                  <a:pt x="28" y="77"/>
                </a:lnTo>
                <a:lnTo>
                  <a:pt x="38" y="78"/>
                </a:lnTo>
                <a:lnTo>
                  <a:pt x="43" y="77"/>
                </a:lnTo>
                <a:lnTo>
                  <a:pt x="55" y="78"/>
                </a:lnTo>
                <a:lnTo>
                  <a:pt x="57" y="78"/>
                </a:lnTo>
                <a:lnTo>
                  <a:pt x="58" y="78"/>
                </a:lnTo>
                <a:lnTo>
                  <a:pt x="59" y="78"/>
                </a:lnTo>
                <a:lnTo>
                  <a:pt x="63" y="78"/>
                </a:lnTo>
                <a:lnTo>
                  <a:pt x="64" y="77"/>
                </a:lnTo>
                <a:lnTo>
                  <a:pt x="66" y="77"/>
                </a:lnTo>
                <a:lnTo>
                  <a:pt x="64" y="77"/>
                </a:lnTo>
                <a:lnTo>
                  <a:pt x="60" y="76"/>
                </a:lnTo>
                <a:lnTo>
                  <a:pt x="59" y="75"/>
                </a:lnTo>
                <a:lnTo>
                  <a:pt x="59" y="75"/>
                </a:lnTo>
                <a:lnTo>
                  <a:pt x="61" y="73"/>
                </a:lnTo>
                <a:lnTo>
                  <a:pt x="64" y="73"/>
                </a:lnTo>
                <a:lnTo>
                  <a:pt x="67" y="73"/>
                </a:lnTo>
                <a:lnTo>
                  <a:pt x="68" y="72"/>
                </a:lnTo>
                <a:lnTo>
                  <a:pt x="66" y="71"/>
                </a:lnTo>
                <a:lnTo>
                  <a:pt x="66" y="71"/>
                </a:lnTo>
                <a:lnTo>
                  <a:pt x="66" y="70"/>
                </a:lnTo>
                <a:lnTo>
                  <a:pt x="62" y="71"/>
                </a:lnTo>
                <a:lnTo>
                  <a:pt x="61" y="71"/>
                </a:lnTo>
                <a:lnTo>
                  <a:pt x="59" y="71"/>
                </a:lnTo>
                <a:lnTo>
                  <a:pt x="59" y="71"/>
                </a:lnTo>
                <a:lnTo>
                  <a:pt x="61" y="70"/>
                </a:lnTo>
                <a:lnTo>
                  <a:pt x="62" y="70"/>
                </a:lnTo>
                <a:lnTo>
                  <a:pt x="60" y="70"/>
                </a:lnTo>
                <a:lnTo>
                  <a:pt x="57" y="71"/>
                </a:lnTo>
                <a:lnTo>
                  <a:pt x="53" y="72"/>
                </a:lnTo>
                <a:lnTo>
                  <a:pt x="48" y="72"/>
                </a:lnTo>
                <a:lnTo>
                  <a:pt x="41" y="72"/>
                </a:lnTo>
                <a:lnTo>
                  <a:pt x="41" y="71"/>
                </a:lnTo>
                <a:lnTo>
                  <a:pt x="40" y="71"/>
                </a:lnTo>
                <a:lnTo>
                  <a:pt x="38" y="71"/>
                </a:lnTo>
                <a:lnTo>
                  <a:pt x="38" y="72"/>
                </a:lnTo>
                <a:lnTo>
                  <a:pt x="38" y="72"/>
                </a:lnTo>
                <a:lnTo>
                  <a:pt x="32" y="73"/>
                </a:lnTo>
                <a:lnTo>
                  <a:pt x="29" y="73"/>
                </a:lnTo>
                <a:lnTo>
                  <a:pt x="23" y="72"/>
                </a:lnTo>
                <a:lnTo>
                  <a:pt x="22" y="71"/>
                </a:lnTo>
                <a:lnTo>
                  <a:pt x="29" y="70"/>
                </a:lnTo>
                <a:lnTo>
                  <a:pt x="29" y="70"/>
                </a:lnTo>
                <a:lnTo>
                  <a:pt x="25" y="71"/>
                </a:lnTo>
                <a:lnTo>
                  <a:pt x="19" y="71"/>
                </a:lnTo>
                <a:lnTo>
                  <a:pt x="21" y="70"/>
                </a:lnTo>
                <a:lnTo>
                  <a:pt x="26" y="68"/>
                </a:lnTo>
                <a:lnTo>
                  <a:pt x="18" y="69"/>
                </a:lnTo>
                <a:lnTo>
                  <a:pt x="13" y="69"/>
                </a:lnTo>
                <a:lnTo>
                  <a:pt x="13" y="69"/>
                </a:lnTo>
                <a:lnTo>
                  <a:pt x="15" y="68"/>
                </a:lnTo>
                <a:lnTo>
                  <a:pt x="11" y="68"/>
                </a:lnTo>
                <a:lnTo>
                  <a:pt x="10" y="68"/>
                </a:lnTo>
                <a:lnTo>
                  <a:pt x="8" y="68"/>
                </a:lnTo>
                <a:lnTo>
                  <a:pt x="6" y="67"/>
                </a:lnTo>
                <a:lnTo>
                  <a:pt x="5" y="67"/>
                </a:lnTo>
                <a:lnTo>
                  <a:pt x="6" y="67"/>
                </a:lnTo>
                <a:lnTo>
                  <a:pt x="6" y="66"/>
                </a:lnTo>
                <a:lnTo>
                  <a:pt x="3" y="66"/>
                </a:lnTo>
                <a:lnTo>
                  <a:pt x="1" y="65"/>
                </a:lnTo>
                <a:lnTo>
                  <a:pt x="0" y="65"/>
                </a:lnTo>
                <a:lnTo>
                  <a:pt x="2" y="63"/>
                </a:lnTo>
                <a:lnTo>
                  <a:pt x="5" y="63"/>
                </a:lnTo>
                <a:lnTo>
                  <a:pt x="5" y="62"/>
                </a:lnTo>
                <a:lnTo>
                  <a:pt x="7" y="62"/>
                </a:lnTo>
                <a:lnTo>
                  <a:pt x="3" y="62"/>
                </a:lnTo>
                <a:lnTo>
                  <a:pt x="3" y="62"/>
                </a:lnTo>
                <a:lnTo>
                  <a:pt x="7" y="61"/>
                </a:lnTo>
                <a:lnTo>
                  <a:pt x="7" y="60"/>
                </a:lnTo>
                <a:lnTo>
                  <a:pt x="8" y="60"/>
                </a:lnTo>
                <a:lnTo>
                  <a:pt x="11" y="59"/>
                </a:lnTo>
                <a:lnTo>
                  <a:pt x="16" y="59"/>
                </a:lnTo>
                <a:lnTo>
                  <a:pt x="18" y="58"/>
                </a:lnTo>
                <a:lnTo>
                  <a:pt x="22" y="58"/>
                </a:lnTo>
                <a:lnTo>
                  <a:pt x="26" y="58"/>
                </a:lnTo>
                <a:lnTo>
                  <a:pt x="29" y="57"/>
                </a:lnTo>
                <a:lnTo>
                  <a:pt x="33" y="57"/>
                </a:lnTo>
                <a:lnTo>
                  <a:pt x="37" y="56"/>
                </a:lnTo>
                <a:lnTo>
                  <a:pt x="42" y="56"/>
                </a:lnTo>
                <a:lnTo>
                  <a:pt x="43" y="56"/>
                </a:lnTo>
                <a:lnTo>
                  <a:pt x="45" y="55"/>
                </a:lnTo>
                <a:lnTo>
                  <a:pt x="47" y="55"/>
                </a:lnTo>
                <a:lnTo>
                  <a:pt x="49" y="56"/>
                </a:lnTo>
                <a:lnTo>
                  <a:pt x="50" y="55"/>
                </a:lnTo>
                <a:lnTo>
                  <a:pt x="47" y="55"/>
                </a:lnTo>
                <a:lnTo>
                  <a:pt x="47" y="53"/>
                </a:lnTo>
                <a:lnTo>
                  <a:pt x="49" y="53"/>
                </a:lnTo>
                <a:lnTo>
                  <a:pt x="55" y="52"/>
                </a:lnTo>
                <a:lnTo>
                  <a:pt x="60" y="52"/>
                </a:lnTo>
                <a:lnTo>
                  <a:pt x="62" y="52"/>
                </a:lnTo>
                <a:lnTo>
                  <a:pt x="63" y="52"/>
                </a:lnTo>
                <a:lnTo>
                  <a:pt x="70" y="51"/>
                </a:lnTo>
                <a:lnTo>
                  <a:pt x="71" y="52"/>
                </a:lnTo>
                <a:lnTo>
                  <a:pt x="74" y="52"/>
                </a:lnTo>
                <a:lnTo>
                  <a:pt x="77" y="52"/>
                </a:lnTo>
                <a:lnTo>
                  <a:pt x="79" y="52"/>
                </a:lnTo>
                <a:lnTo>
                  <a:pt x="80" y="52"/>
                </a:lnTo>
                <a:lnTo>
                  <a:pt x="81" y="52"/>
                </a:lnTo>
                <a:lnTo>
                  <a:pt x="83" y="51"/>
                </a:lnTo>
                <a:lnTo>
                  <a:pt x="90" y="49"/>
                </a:lnTo>
                <a:lnTo>
                  <a:pt x="92" y="49"/>
                </a:lnTo>
                <a:lnTo>
                  <a:pt x="94" y="48"/>
                </a:lnTo>
                <a:lnTo>
                  <a:pt x="99" y="47"/>
                </a:lnTo>
                <a:lnTo>
                  <a:pt x="99" y="47"/>
                </a:lnTo>
                <a:lnTo>
                  <a:pt x="99" y="46"/>
                </a:lnTo>
                <a:lnTo>
                  <a:pt x="99" y="46"/>
                </a:lnTo>
                <a:lnTo>
                  <a:pt x="98" y="45"/>
                </a:lnTo>
                <a:lnTo>
                  <a:pt x="97" y="45"/>
                </a:lnTo>
                <a:lnTo>
                  <a:pt x="99" y="43"/>
                </a:lnTo>
                <a:lnTo>
                  <a:pt x="102" y="43"/>
                </a:lnTo>
                <a:lnTo>
                  <a:pt x="104" y="43"/>
                </a:lnTo>
                <a:lnTo>
                  <a:pt x="107" y="42"/>
                </a:lnTo>
                <a:lnTo>
                  <a:pt x="106" y="41"/>
                </a:lnTo>
                <a:lnTo>
                  <a:pt x="103" y="41"/>
                </a:lnTo>
                <a:lnTo>
                  <a:pt x="101" y="41"/>
                </a:lnTo>
                <a:lnTo>
                  <a:pt x="109" y="40"/>
                </a:lnTo>
                <a:lnTo>
                  <a:pt x="111" y="39"/>
                </a:lnTo>
                <a:lnTo>
                  <a:pt x="113" y="39"/>
                </a:lnTo>
                <a:lnTo>
                  <a:pt x="117" y="39"/>
                </a:lnTo>
                <a:lnTo>
                  <a:pt x="113" y="39"/>
                </a:lnTo>
                <a:lnTo>
                  <a:pt x="113" y="38"/>
                </a:lnTo>
                <a:lnTo>
                  <a:pt x="113" y="38"/>
                </a:lnTo>
                <a:lnTo>
                  <a:pt x="114" y="37"/>
                </a:lnTo>
                <a:lnTo>
                  <a:pt x="113" y="37"/>
                </a:lnTo>
                <a:lnTo>
                  <a:pt x="111" y="38"/>
                </a:lnTo>
                <a:lnTo>
                  <a:pt x="109" y="39"/>
                </a:lnTo>
                <a:lnTo>
                  <a:pt x="107" y="39"/>
                </a:lnTo>
                <a:lnTo>
                  <a:pt x="102" y="40"/>
                </a:lnTo>
                <a:lnTo>
                  <a:pt x="100" y="40"/>
                </a:lnTo>
                <a:lnTo>
                  <a:pt x="100" y="39"/>
                </a:lnTo>
                <a:lnTo>
                  <a:pt x="98" y="40"/>
                </a:lnTo>
                <a:lnTo>
                  <a:pt x="92" y="41"/>
                </a:lnTo>
                <a:lnTo>
                  <a:pt x="89" y="39"/>
                </a:lnTo>
                <a:lnTo>
                  <a:pt x="82" y="40"/>
                </a:lnTo>
                <a:lnTo>
                  <a:pt x="81" y="40"/>
                </a:lnTo>
                <a:lnTo>
                  <a:pt x="80" y="39"/>
                </a:lnTo>
                <a:lnTo>
                  <a:pt x="79" y="39"/>
                </a:lnTo>
                <a:lnTo>
                  <a:pt x="78" y="39"/>
                </a:lnTo>
                <a:lnTo>
                  <a:pt x="78" y="38"/>
                </a:lnTo>
                <a:lnTo>
                  <a:pt x="79" y="38"/>
                </a:lnTo>
                <a:lnTo>
                  <a:pt x="79" y="37"/>
                </a:lnTo>
                <a:lnTo>
                  <a:pt x="79" y="37"/>
                </a:lnTo>
                <a:lnTo>
                  <a:pt x="80" y="37"/>
                </a:lnTo>
                <a:lnTo>
                  <a:pt x="88" y="36"/>
                </a:lnTo>
                <a:lnTo>
                  <a:pt x="91" y="35"/>
                </a:lnTo>
                <a:lnTo>
                  <a:pt x="90" y="33"/>
                </a:lnTo>
                <a:lnTo>
                  <a:pt x="91" y="33"/>
                </a:lnTo>
                <a:lnTo>
                  <a:pt x="93" y="33"/>
                </a:lnTo>
                <a:lnTo>
                  <a:pt x="99" y="32"/>
                </a:lnTo>
                <a:lnTo>
                  <a:pt x="101" y="32"/>
                </a:lnTo>
                <a:lnTo>
                  <a:pt x="104" y="33"/>
                </a:lnTo>
                <a:lnTo>
                  <a:pt x="104" y="33"/>
                </a:lnTo>
                <a:lnTo>
                  <a:pt x="103" y="32"/>
                </a:lnTo>
                <a:lnTo>
                  <a:pt x="102" y="32"/>
                </a:lnTo>
                <a:lnTo>
                  <a:pt x="103" y="32"/>
                </a:lnTo>
                <a:lnTo>
                  <a:pt x="110" y="31"/>
                </a:lnTo>
                <a:lnTo>
                  <a:pt x="110" y="30"/>
                </a:lnTo>
                <a:lnTo>
                  <a:pt x="112" y="30"/>
                </a:lnTo>
                <a:lnTo>
                  <a:pt x="113" y="29"/>
                </a:lnTo>
                <a:lnTo>
                  <a:pt x="113" y="29"/>
                </a:lnTo>
                <a:lnTo>
                  <a:pt x="116" y="29"/>
                </a:lnTo>
                <a:lnTo>
                  <a:pt x="118" y="28"/>
                </a:lnTo>
                <a:lnTo>
                  <a:pt x="120" y="28"/>
                </a:lnTo>
                <a:lnTo>
                  <a:pt x="121" y="28"/>
                </a:lnTo>
                <a:lnTo>
                  <a:pt x="122" y="27"/>
                </a:lnTo>
                <a:lnTo>
                  <a:pt x="126" y="27"/>
                </a:lnTo>
                <a:lnTo>
                  <a:pt x="129" y="26"/>
                </a:lnTo>
                <a:lnTo>
                  <a:pt x="131" y="26"/>
                </a:lnTo>
                <a:lnTo>
                  <a:pt x="138" y="27"/>
                </a:lnTo>
                <a:lnTo>
                  <a:pt x="139" y="27"/>
                </a:lnTo>
                <a:lnTo>
                  <a:pt x="142" y="28"/>
                </a:lnTo>
                <a:lnTo>
                  <a:pt x="149" y="27"/>
                </a:lnTo>
                <a:lnTo>
                  <a:pt x="149" y="27"/>
                </a:lnTo>
                <a:lnTo>
                  <a:pt x="148" y="26"/>
                </a:lnTo>
                <a:lnTo>
                  <a:pt x="148" y="25"/>
                </a:lnTo>
                <a:lnTo>
                  <a:pt x="149" y="25"/>
                </a:lnTo>
                <a:lnTo>
                  <a:pt x="151" y="24"/>
                </a:lnTo>
                <a:lnTo>
                  <a:pt x="153" y="24"/>
                </a:lnTo>
                <a:lnTo>
                  <a:pt x="154" y="22"/>
                </a:lnTo>
                <a:lnTo>
                  <a:pt x="152" y="22"/>
                </a:lnTo>
                <a:lnTo>
                  <a:pt x="152" y="22"/>
                </a:lnTo>
                <a:lnTo>
                  <a:pt x="152" y="22"/>
                </a:lnTo>
                <a:lnTo>
                  <a:pt x="151" y="21"/>
                </a:lnTo>
                <a:lnTo>
                  <a:pt x="150" y="21"/>
                </a:lnTo>
                <a:lnTo>
                  <a:pt x="150" y="21"/>
                </a:lnTo>
                <a:lnTo>
                  <a:pt x="150" y="20"/>
                </a:lnTo>
                <a:lnTo>
                  <a:pt x="151" y="20"/>
                </a:lnTo>
                <a:lnTo>
                  <a:pt x="153" y="19"/>
                </a:lnTo>
                <a:lnTo>
                  <a:pt x="163" y="18"/>
                </a:lnTo>
                <a:lnTo>
                  <a:pt x="174" y="19"/>
                </a:lnTo>
                <a:lnTo>
                  <a:pt x="175" y="19"/>
                </a:lnTo>
                <a:lnTo>
                  <a:pt x="175" y="20"/>
                </a:lnTo>
                <a:lnTo>
                  <a:pt x="175" y="21"/>
                </a:lnTo>
                <a:lnTo>
                  <a:pt x="177" y="21"/>
                </a:lnTo>
                <a:lnTo>
                  <a:pt x="180" y="22"/>
                </a:lnTo>
                <a:lnTo>
                  <a:pt x="184" y="22"/>
                </a:lnTo>
                <a:lnTo>
                  <a:pt x="188" y="24"/>
                </a:lnTo>
                <a:lnTo>
                  <a:pt x="188" y="24"/>
                </a:lnTo>
                <a:lnTo>
                  <a:pt x="189" y="25"/>
                </a:lnTo>
                <a:lnTo>
                  <a:pt x="190" y="24"/>
                </a:lnTo>
                <a:lnTo>
                  <a:pt x="190" y="24"/>
                </a:lnTo>
                <a:lnTo>
                  <a:pt x="189" y="22"/>
                </a:lnTo>
                <a:lnTo>
                  <a:pt x="183" y="21"/>
                </a:lnTo>
                <a:lnTo>
                  <a:pt x="183" y="21"/>
                </a:lnTo>
                <a:lnTo>
                  <a:pt x="181" y="21"/>
                </a:lnTo>
                <a:lnTo>
                  <a:pt x="180" y="19"/>
                </a:lnTo>
                <a:lnTo>
                  <a:pt x="179" y="19"/>
                </a:lnTo>
                <a:lnTo>
                  <a:pt x="177" y="18"/>
                </a:lnTo>
                <a:lnTo>
                  <a:pt x="174" y="18"/>
                </a:lnTo>
                <a:lnTo>
                  <a:pt x="171" y="18"/>
                </a:lnTo>
                <a:lnTo>
                  <a:pt x="173" y="17"/>
                </a:lnTo>
                <a:lnTo>
                  <a:pt x="178" y="17"/>
                </a:lnTo>
                <a:lnTo>
                  <a:pt x="182" y="16"/>
                </a:lnTo>
                <a:lnTo>
                  <a:pt x="194" y="16"/>
                </a:lnTo>
                <a:lnTo>
                  <a:pt x="201" y="15"/>
                </a:lnTo>
                <a:lnTo>
                  <a:pt x="202" y="15"/>
                </a:lnTo>
                <a:lnTo>
                  <a:pt x="202" y="16"/>
                </a:lnTo>
                <a:lnTo>
                  <a:pt x="203" y="15"/>
                </a:lnTo>
                <a:lnTo>
                  <a:pt x="204" y="15"/>
                </a:lnTo>
                <a:lnTo>
                  <a:pt x="208" y="15"/>
                </a:lnTo>
                <a:lnTo>
                  <a:pt x="211" y="15"/>
                </a:lnTo>
                <a:lnTo>
                  <a:pt x="211" y="15"/>
                </a:lnTo>
                <a:lnTo>
                  <a:pt x="219" y="14"/>
                </a:lnTo>
                <a:lnTo>
                  <a:pt x="221" y="14"/>
                </a:lnTo>
                <a:lnTo>
                  <a:pt x="223" y="14"/>
                </a:lnTo>
                <a:lnTo>
                  <a:pt x="224" y="15"/>
                </a:lnTo>
                <a:lnTo>
                  <a:pt x="224" y="15"/>
                </a:lnTo>
                <a:lnTo>
                  <a:pt x="228" y="16"/>
                </a:lnTo>
                <a:lnTo>
                  <a:pt x="228" y="18"/>
                </a:lnTo>
                <a:lnTo>
                  <a:pt x="229" y="18"/>
                </a:lnTo>
                <a:lnTo>
                  <a:pt x="228" y="19"/>
                </a:lnTo>
                <a:lnTo>
                  <a:pt x="228" y="19"/>
                </a:lnTo>
                <a:lnTo>
                  <a:pt x="224" y="21"/>
                </a:lnTo>
                <a:lnTo>
                  <a:pt x="223" y="21"/>
                </a:lnTo>
                <a:lnTo>
                  <a:pt x="223" y="22"/>
                </a:lnTo>
                <a:lnTo>
                  <a:pt x="225" y="22"/>
                </a:lnTo>
                <a:lnTo>
                  <a:pt x="226" y="22"/>
                </a:lnTo>
                <a:lnTo>
                  <a:pt x="228" y="20"/>
                </a:lnTo>
                <a:lnTo>
                  <a:pt x="231" y="20"/>
                </a:lnTo>
                <a:lnTo>
                  <a:pt x="233" y="19"/>
                </a:lnTo>
                <a:lnTo>
                  <a:pt x="234" y="19"/>
                </a:lnTo>
                <a:lnTo>
                  <a:pt x="234" y="17"/>
                </a:lnTo>
                <a:lnTo>
                  <a:pt x="242" y="18"/>
                </a:lnTo>
                <a:lnTo>
                  <a:pt x="246" y="18"/>
                </a:lnTo>
                <a:lnTo>
                  <a:pt x="253" y="20"/>
                </a:lnTo>
                <a:lnTo>
                  <a:pt x="260" y="21"/>
                </a:lnTo>
                <a:lnTo>
                  <a:pt x="260" y="20"/>
                </a:lnTo>
                <a:lnTo>
                  <a:pt x="255" y="19"/>
                </a:lnTo>
                <a:lnTo>
                  <a:pt x="252" y="18"/>
                </a:lnTo>
                <a:lnTo>
                  <a:pt x="259" y="18"/>
                </a:lnTo>
                <a:lnTo>
                  <a:pt x="261" y="19"/>
                </a:lnTo>
                <a:lnTo>
                  <a:pt x="263" y="19"/>
                </a:lnTo>
                <a:lnTo>
                  <a:pt x="265" y="18"/>
                </a:lnTo>
                <a:lnTo>
                  <a:pt x="265" y="18"/>
                </a:lnTo>
                <a:lnTo>
                  <a:pt x="261" y="17"/>
                </a:lnTo>
                <a:lnTo>
                  <a:pt x="260" y="17"/>
                </a:lnTo>
                <a:lnTo>
                  <a:pt x="260" y="17"/>
                </a:lnTo>
                <a:lnTo>
                  <a:pt x="255" y="15"/>
                </a:lnTo>
                <a:lnTo>
                  <a:pt x="255" y="15"/>
                </a:lnTo>
                <a:lnTo>
                  <a:pt x="256" y="14"/>
                </a:lnTo>
                <a:lnTo>
                  <a:pt x="256" y="14"/>
                </a:lnTo>
                <a:lnTo>
                  <a:pt x="254" y="12"/>
                </a:lnTo>
                <a:lnTo>
                  <a:pt x="255" y="11"/>
                </a:lnTo>
                <a:lnTo>
                  <a:pt x="262" y="11"/>
                </a:lnTo>
                <a:lnTo>
                  <a:pt x="271" y="12"/>
                </a:lnTo>
                <a:lnTo>
                  <a:pt x="273" y="12"/>
                </a:lnTo>
                <a:lnTo>
                  <a:pt x="274" y="12"/>
                </a:lnTo>
                <a:lnTo>
                  <a:pt x="275" y="14"/>
                </a:lnTo>
                <a:lnTo>
                  <a:pt x="282" y="15"/>
                </a:lnTo>
                <a:lnTo>
                  <a:pt x="284" y="15"/>
                </a:lnTo>
                <a:lnTo>
                  <a:pt x="284" y="16"/>
                </a:lnTo>
                <a:lnTo>
                  <a:pt x="294" y="17"/>
                </a:lnTo>
                <a:lnTo>
                  <a:pt x="298" y="17"/>
                </a:lnTo>
                <a:lnTo>
                  <a:pt x="299" y="18"/>
                </a:lnTo>
                <a:lnTo>
                  <a:pt x="300" y="18"/>
                </a:lnTo>
                <a:lnTo>
                  <a:pt x="302" y="19"/>
                </a:lnTo>
                <a:lnTo>
                  <a:pt x="307" y="20"/>
                </a:lnTo>
                <a:lnTo>
                  <a:pt x="311" y="20"/>
                </a:lnTo>
                <a:lnTo>
                  <a:pt x="311" y="20"/>
                </a:lnTo>
                <a:lnTo>
                  <a:pt x="314" y="19"/>
                </a:lnTo>
                <a:lnTo>
                  <a:pt x="314" y="19"/>
                </a:lnTo>
                <a:lnTo>
                  <a:pt x="311" y="18"/>
                </a:lnTo>
                <a:lnTo>
                  <a:pt x="309" y="17"/>
                </a:lnTo>
                <a:lnTo>
                  <a:pt x="313" y="17"/>
                </a:lnTo>
                <a:lnTo>
                  <a:pt x="317" y="17"/>
                </a:lnTo>
                <a:lnTo>
                  <a:pt x="322" y="17"/>
                </a:lnTo>
                <a:lnTo>
                  <a:pt x="315" y="16"/>
                </a:lnTo>
                <a:lnTo>
                  <a:pt x="313" y="16"/>
                </a:lnTo>
                <a:lnTo>
                  <a:pt x="312" y="16"/>
                </a:lnTo>
                <a:lnTo>
                  <a:pt x="311" y="16"/>
                </a:lnTo>
                <a:lnTo>
                  <a:pt x="314" y="15"/>
                </a:lnTo>
                <a:lnTo>
                  <a:pt x="316" y="14"/>
                </a:lnTo>
                <a:lnTo>
                  <a:pt x="321" y="15"/>
                </a:lnTo>
                <a:lnTo>
                  <a:pt x="329" y="15"/>
                </a:lnTo>
                <a:lnTo>
                  <a:pt x="331" y="15"/>
                </a:lnTo>
                <a:lnTo>
                  <a:pt x="333" y="15"/>
                </a:lnTo>
                <a:lnTo>
                  <a:pt x="333" y="15"/>
                </a:lnTo>
                <a:lnTo>
                  <a:pt x="331" y="15"/>
                </a:lnTo>
                <a:lnTo>
                  <a:pt x="325" y="15"/>
                </a:lnTo>
                <a:lnTo>
                  <a:pt x="321" y="14"/>
                </a:lnTo>
                <a:lnTo>
                  <a:pt x="323" y="14"/>
                </a:lnTo>
                <a:lnTo>
                  <a:pt x="317" y="12"/>
                </a:lnTo>
                <a:lnTo>
                  <a:pt x="314" y="11"/>
                </a:lnTo>
                <a:lnTo>
                  <a:pt x="313" y="11"/>
                </a:lnTo>
                <a:lnTo>
                  <a:pt x="312" y="10"/>
                </a:lnTo>
                <a:lnTo>
                  <a:pt x="309" y="10"/>
                </a:lnTo>
                <a:lnTo>
                  <a:pt x="307" y="9"/>
                </a:lnTo>
                <a:lnTo>
                  <a:pt x="307" y="9"/>
                </a:lnTo>
                <a:lnTo>
                  <a:pt x="337" y="9"/>
                </a:lnTo>
                <a:lnTo>
                  <a:pt x="340" y="9"/>
                </a:lnTo>
                <a:lnTo>
                  <a:pt x="341" y="10"/>
                </a:lnTo>
                <a:lnTo>
                  <a:pt x="340" y="11"/>
                </a:lnTo>
                <a:lnTo>
                  <a:pt x="341" y="12"/>
                </a:lnTo>
                <a:lnTo>
                  <a:pt x="342" y="12"/>
                </a:lnTo>
                <a:lnTo>
                  <a:pt x="342" y="12"/>
                </a:lnTo>
                <a:lnTo>
                  <a:pt x="342" y="11"/>
                </a:lnTo>
                <a:lnTo>
                  <a:pt x="342" y="10"/>
                </a:lnTo>
                <a:lnTo>
                  <a:pt x="342" y="10"/>
                </a:lnTo>
                <a:lnTo>
                  <a:pt x="342" y="9"/>
                </a:lnTo>
                <a:lnTo>
                  <a:pt x="343" y="9"/>
                </a:lnTo>
                <a:lnTo>
                  <a:pt x="346" y="9"/>
                </a:lnTo>
                <a:lnTo>
                  <a:pt x="350" y="10"/>
                </a:lnTo>
                <a:lnTo>
                  <a:pt x="353" y="11"/>
                </a:lnTo>
                <a:lnTo>
                  <a:pt x="355" y="11"/>
                </a:lnTo>
                <a:lnTo>
                  <a:pt x="356" y="12"/>
                </a:lnTo>
                <a:lnTo>
                  <a:pt x="357" y="12"/>
                </a:lnTo>
                <a:lnTo>
                  <a:pt x="359" y="14"/>
                </a:lnTo>
                <a:lnTo>
                  <a:pt x="359" y="12"/>
                </a:lnTo>
                <a:lnTo>
                  <a:pt x="360" y="12"/>
                </a:lnTo>
                <a:lnTo>
                  <a:pt x="357" y="11"/>
                </a:lnTo>
                <a:lnTo>
                  <a:pt x="360" y="11"/>
                </a:lnTo>
                <a:lnTo>
                  <a:pt x="360" y="10"/>
                </a:lnTo>
                <a:lnTo>
                  <a:pt x="360" y="10"/>
                </a:lnTo>
                <a:lnTo>
                  <a:pt x="354" y="9"/>
                </a:lnTo>
                <a:lnTo>
                  <a:pt x="352" y="9"/>
                </a:lnTo>
                <a:lnTo>
                  <a:pt x="350" y="9"/>
                </a:lnTo>
                <a:lnTo>
                  <a:pt x="337" y="8"/>
                </a:lnTo>
                <a:lnTo>
                  <a:pt x="317" y="8"/>
                </a:lnTo>
                <a:lnTo>
                  <a:pt x="316" y="8"/>
                </a:lnTo>
                <a:lnTo>
                  <a:pt x="315" y="8"/>
                </a:lnTo>
                <a:lnTo>
                  <a:pt x="316" y="7"/>
                </a:lnTo>
                <a:lnTo>
                  <a:pt x="323" y="8"/>
                </a:lnTo>
                <a:lnTo>
                  <a:pt x="330" y="8"/>
                </a:lnTo>
                <a:lnTo>
                  <a:pt x="329" y="7"/>
                </a:lnTo>
                <a:lnTo>
                  <a:pt x="322" y="8"/>
                </a:lnTo>
                <a:lnTo>
                  <a:pt x="312" y="7"/>
                </a:lnTo>
                <a:lnTo>
                  <a:pt x="313" y="6"/>
                </a:lnTo>
                <a:lnTo>
                  <a:pt x="311" y="6"/>
                </a:lnTo>
                <a:lnTo>
                  <a:pt x="311" y="6"/>
                </a:lnTo>
                <a:lnTo>
                  <a:pt x="312" y="5"/>
                </a:lnTo>
                <a:lnTo>
                  <a:pt x="312" y="6"/>
                </a:lnTo>
                <a:lnTo>
                  <a:pt x="315" y="5"/>
                </a:lnTo>
                <a:lnTo>
                  <a:pt x="315" y="6"/>
                </a:lnTo>
                <a:lnTo>
                  <a:pt x="319" y="6"/>
                </a:lnTo>
                <a:lnTo>
                  <a:pt x="317" y="5"/>
                </a:lnTo>
                <a:lnTo>
                  <a:pt x="319" y="5"/>
                </a:lnTo>
                <a:lnTo>
                  <a:pt x="322" y="5"/>
                </a:lnTo>
                <a:lnTo>
                  <a:pt x="326" y="6"/>
                </a:lnTo>
                <a:lnTo>
                  <a:pt x="327" y="6"/>
                </a:lnTo>
                <a:lnTo>
                  <a:pt x="329" y="6"/>
                </a:lnTo>
                <a:lnTo>
                  <a:pt x="329" y="6"/>
                </a:lnTo>
                <a:lnTo>
                  <a:pt x="332" y="6"/>
                </a:lnTo>
                <a:lnTo>
                  <a:pt x="334" y="6"/>
                </a:lnTo>
                <a:lnTo>
                  <a:pt x="330" y="5"/>
                </a:lnTo>
                <a:lnTo>
                  <a:pt x="327" y="5"/>
                </a:lnTo>
                <a:lnTo>
                  <a:pt x="325" y="5"/>
                </a:lnTo>
                <a:lnTo>
                  <a:pt x="329" y="5"/>
                </a:lnTo>
                <a:lnTo>
                  <a:pt x="332" y="5"/>
                </a:lnTo>
                <a:lnTo>
                  <a:pt x="334" y="5"/>
                </a:lnTo>
                <a:lnTo>
                  <a:pt x="332" y="4"/>
                </a:lnTo>
                <a:lnTo>
                  <a:pt x="333" y="4"/>
                </a:lnTo>
                <a:lnTo>
                  <a:pt x="336" y="4"/>
                </a:lnTo>
                <a:lnTo>
                  <a:pt x="339" y="5"/>
                </a:lnTo>
                <a:lnTo>
                  <a:pt x="341" y="5"/>
                </a:lnTo>
                <a:lnTo>
                  <a:pt x="344" y="5"/>
                </a:lnTo>
                <a:lnTo>
                  <a:pt x="345" y="5"/>
                </a:lnTo>
                <a:lnTo>
                  <a:pt x="345" y="5"/>
                </a:lnTo>
                <a:lnTo>
                  <a:pt x="343" y="6"/>
                </a:lnTo>
                <a:lnTo>
                  <a:pt x="343" y="6"/>
                </a:lnTo>
                <a:lnTo>
                  <a:pt x="347" y="6"/>
                </a:lnTo>
                <a:lnTo>
                  <a:pt x="352" y="6"/>
                </a:lnTo>
                <a:lnTo>
                  <a:pt x="355" y="7"/>
                </a:lnTo>
                <a:lnTo>
                  <a:pt x="360" y="7"/>
                </a:lnTo>
                <a:lnTo>
                  <a:pt x="366" y="7"/>
                </a:lnTo>
                <a:lnTo>
                  <a:pt x="370" y="8"/>
                </a:lnTo>
                <a:lnTo>
                  <a:pt x="371" y="9"/>
                </a:lnTo>
                <a:lnTo>
                  <a:pt x="372" y="9"/>
                </a:lnTo>
                <a:lnTo>
                  <a:pt x="373" y="9"/>
                </a:lnTo>
                <a:lnTo>
                  <a:pt x="371" y="8"/>
                </a:lnTo>
                <a:lnTo>
                  <a:pt x="370" y="8"/>
                </a:lnTo>
                <a:lnTo>
                  <a:pt x="369" y="7"/>
                </a:lnTo>
                <a:lnTo>
                  <a:pt x="369" y="7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44" name="Freeform 343"/>
          <p:cNvSpPr>
            <a:spLocks/>
          </p:cNvSpPr>
          <p:nvPr/>
        </p:nvSpPr>
        <p:spPr bwMode="auto">
          <a:xfrm>
            <a:off x="3157538" y="1328703"/>
            <a:ext cx="1001712" cy="539750"/>
          </a:xfrm>
          <a:custGeom>
            <a:avLst/>
            <a:gdLst>
              <a:gd name="T0" fmla="*/ 393 w 631"/>
              <a:gd name="T1" fmla="*/ 2 h 340"/>
              <a:gd name="T2" fmla="*/ 469 w 631"/>
              <a:gd name="T3" fmla="*/ 1 h 340"/>
              <a:gd name="T4" fmla="*/ 410 w 631"/>
              <a:gd name="T5" fmla="*/ 8 h 340"/>
              <a:gd name="T6" fmla="*/ 498 w 631"/>
              <a:gd name="T7" fmla="*/ 8 h 340"/>
              <a:gd name="T8" fmla="*/ 508 w 631"/>
              <a:gd name="T9" fmla="*/ 15 h 340"/>
              <a:gd name="T10" fmla="*/ 497 w 631"/>
              <a:gd name="T11" fmla="*/ 18 h 340"/>
              <a:gd name="T12" fmla="*/ 522 w 631"/>
              <a:gd name="T13" fmla="*/ 26 h 340"/>
              <a:gd name="T14" fmla="*/ 552 w 631"/>
              <a:gd name="T15" fmla="*/ 24 h 340"/>
              <a:gd name="T16" fmla="*/ 608 w 631"/>
              <a:gd name="T17" fmla="*/ 19 h 340"/>
              <a:gd name="T18" fmla="*/ 572 w 631"/>
              <a:gd name="T19" fmla="*/ 32 h 340"/>
              <a:gd name="T20" fmla="*/ 549 w 631"/>
              <a:gd name="T21" fmla="*/ 39 h 340"/>
              <a:gd name="T22" fmla="*/ 552 w 631"/>
              <a:gd name="T23" fmla="*/ 48 h 340"/>
              <a:gd name="T24" fmla="*/ 535 w 631"/>
              <a:gd name="T25" fmla="*/ 59 h 340"/>
              <a:gd name="T26" fmla="*/ 536 w 631"/>
              <a:gd name="T27" fmla="*/ 75 h 340"/>
              <a:gd name="T28" fmla="*/ 515 w 631"/>
              <a:gd name="T29" fmla="*/ 83 h 340"/>
              <a:gd name="T30" fmla="*/ 537 w 631"/>
              <a:gd name="T31" fmla="*/ 93 h 340"/>
              <a:gd name="T32" fmla="*/ 525 w 631"/>
              <a:gd name="T33" fmla="*/ 107 h 340"/>
              <a:gd name="T34" fmla="*/ 505 w 631"/>
              <a:gd name="T35" fmla="*/ 121 h 340"/>
              <a:gd name="T36" fmla="*/ 464 w 631"/>
              <a:gd name="T37" fmla="*/ 133 h 340"/>
              <a:gd name="T38" fmla="*/ 464 w 631"/>
              <a:gd name="T39" fmla="*/ 144 h 340"/>
              <a:gd name="T40" fmla="*/ 494 w 631"/>
              <a:gd name="T41" fmla="*/ 162 h 340"/>
              <a:gd name="T42" fmla="*/ 474 w 631"/>
              <a:gd name="T43" fmla="*/ 167 h 340"/>
              <a:gd name="T44" fmla="*/ 434 w 631"/>
              <a:gd name="T45" fmla="*/ 167 h 340"/>
              <a:gd name="T46" fmla="*/ 476 w 631"/>
              <a:gd name="T47" fmla="*/ 179 h 340"/>
              <a:gd name="T48" fmla="*/ 471 w 631"/>
              <a:gd name="T49" fmla="*/ 189 h 340"/>
              <a:gd name="T50" fmla="*/ 442 w 631"/>
              <a:gd name="T51" fmla="*/ 201 h 340"/>
              <a:gd name="T52" fmla="*/ 400 w 631"/>
              <a:gd name="T53" fmla="*/ 206 h 340"/>
              <a:gd name="T54" fmla="*/ 373 w 631"/>
              <a:gd name="T55" fmla="*/ 207 h 340"/>
              <a:gd name="T56" fmla="*/ 353 w 631"/>
              <a:gd name="T57" fmla="*/ 221 h 340"/>
              <a:gd name="T58" fmla="*/ 322 w 631"/>
              <a:gd name="T59" fmla="*/ 238 h 340"/>
              <a:gd name="T60" fmla="*/ 294 w 631"/>
              <a:gd name="T61" fmla="*/ 243 h 340"/>
              <a:gd name="T62" fmla="*/ 282 w 631"/>
              <a:gd name="T63" fmla="*/ 249 h 340"/>
              <a:gd name="T64" fmla="*/ 251 w 631"/>
              <a:gd name="T65" fmla="*/ 263 h 340"/>
              <a:gd name="T66" fmla="*/ 235 w 631"/>
              <a:gd name="T67" fmla="*/ 285 h 340"/>
              <a:gd name="T68" fmla="*/ 221 w 631"/>
              <a:gd name="T69" fmla="*/ 309 h 340"/>
              <a:gd name="T70" fmla="*/ 188 w 631"/>
              <a:gd name="T71" fmla="*/ 335 h 340"/>
              <a:gd name="T72" fmla="*/ 169 w 631"/>
              <a:gd name="T73" fmla="*/ 328 h 340"/>
              <a:gd name="T74" fmla="*/ 142 w 631"/>
              <a:gd name="T75" fmla="*/ 322 h 340"/>
              <a:gd name="T76" fmla="*/ 127 w 631"/>
              <a:gd name="T77" fmla="*/ 308 h 340"/>
              <a:gd name="T78" fmla="*/ 114 w 631"/>
              <a:gd name="T79" fmla="*/ 280 h 340"/>
              <a:gd name="T80" fmla="*/ 114 w 631"/>
              <a:gd name="T81" fmla="*/ 262 h 340"/>
              <a:gd name="T82" fmla="*/ 109 w 631"/>
              <a:gd name="T83" fmla="*/ 234 h 340"/>
              <a:gd name="T84" fmla="*/ 139 w 631"/>
              <a:gd name="T85" fmla="*/ 211 h 340"/>
              <a:gd name="T86" fmla="*/ 153 w 631"/>
              <a:gd name="T87" fmla="*/ 196 h 340"/>
              <a:gd name="T88" fmla="*/ 151 w 631"/>
              <a:gd name="T89" fmla="*/ 171 h 340"/>
              <a:gd name="T90" fmla="*/ 161 w 631"/>
              <a:gd name="T91" fmla="*/ 158 h 340"/>
              <a:gd name="T92" fmla="*/ 134 w 631"/>
              <a:gd name="T93" fmla="*/ 148 h 340"/>
              <a:gd name="T94" fmla="*/ 138 w 631"/>
              <a:gd name="T95" fmla="*/ 122 h 340"/>
              <a:gd name="T96" fmla="*/ 124 w 631"/>
              <a:gd name="T97" fmla="*/ 98 h 340"/>
              <a:gd name="T98" fmla="*/ 58 w 631"/>
              <a:gd name="T99" fmla="*/ 93 h 340"/>
              <a:gd name="T100" fmla="*/ 12 w 631"/>
              <a:gd name="T101" fmla="*/ 82 h 340"/>
              <a:gd name="T102" fmla="*/ 66 w 631"/>
              <a:gd name="T103" fmla="*/ 70 h 340"/>
              <a:gd name="T104" fmla="*/ 10 w 631"/>
              <a:gd name="T105" fmla="*/ 68 h 340"/>
              <a:gd name="T106" fmla="*/ 47 w 631"/>
              <a:gd name="T107" fmla="*/ 55 h 340"/>
              <a:gd name="T108" fmla="*/ 111 w 631"/>
              <a:gd name="T109" fmla="*/ 39 h 340"/>
              <a:gd name="T110" fmla="*/ 99 w 631"/>
              <a:gd name="T111" fmla="*/ 32 h 340"/>
              <a:gd name="T112" fmla="*/ 152 w 631"/>
              <a:gd name="T113" fmla="*/ 22 h 340"/>
              <a:gd name="T114" fmla="*/ 182 w 631"/>
              <a:gd name="T115" fmla="*/ 16 h 340"/>
              <a:gd name="T116" fmla="*/ 253 w 631"/>
              <a:gd name="T117" fmla="*/ 20 h 340"/>
              <a:gd name="T118" fmla="*/ 307 w 631"/>
              <a:gd name="T119" fmla="*/ 20 h 340"/>
              <a:gd name="T120" fmla="*/ 337 w 631"/>
              <a:gd name="T121" fmla="*/ 9 h 340"/>
              <a:gd name="T122" fmla="*/ 316 w 631"/>
              <a:gd name="T123" fmla="*/ 7 h 340"/>
              <a:gd name="T124" fmla="*/ 339 w 631"/>
              <a:gd name="T125" fmla="*/ 5 h 3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31" h="340">
                <a:moveTo>
                  <a:pt x="369" y="7"/>
                </a:moveTo>
                <a:lnTo>
                  <a:pt x="371" y="7"/>
                </a:lnTo>
                <a:lnTo>
                  <a:pt x="377" y="7"/>
                </a:lnTo>
                <a:lnTo>
                  <a:pt x="381" y="7"/>
                </a:lnTo>
                <a:lnTo>
                  <a:pt x="384" y="7"/>
                </a:lnTo>
                <a:lnTo>
                  <a:pt x="384" y="7"/>
                </a:lnTo>
                <a:lnTo>
                  <a:pt x="382" y="6"/>
                </a:lnTo>
                <a:lnTo>
                  <a:pt x="373" y="6"/>
                </a:lnTo>
                <a:lnTo>
                  <a:pt x="373" y="6"/>
                </a:lnTo>
                <a:lnTo>
                  <a:pt x="380" y="6"/>
                </a:lnTo>
                <a:lnTo>
                  <a:pt x="387" y="6"/>
                </a:lnTo>
                <a:lnTo>
                  <a:pt x="387" y="5"/>
                </a:lnTo>
                <a:lnTo>
                  <a:pt x="383" y="5"/>
                </a:lnTo>
                <a:lnTo>
                  <a:pt x="381" y="5"/>
                </a:lnTo>
                <a:lnTo>
                  <a:pt x="381" y="5"/>
                </a:lnTo>
                <a:lnTo>
                  <a:pt x="373" y="5"/>
                </a:lnTo>
                <a:lnTo>
                  <a:pt x="372" y="5"/>
                </a:lnTo>
                <a:lnTo>
                  <a:pt x="372" y="4"/>
                </a:lnTo>
                <a:lnTo>
                  <a:pt x="373" y="4"/>
                </a:lnTo>
                <a:lnTo>
                  <a:pt x="373" y="4"/>
                </a:lnTo>
                <a:lnTo>
                  <a:pt x="373" y="2"/>
                </a:lnTo>
                <a:lnTo>
                  <a:pt x="374" y="2"/>
                </a:lnTo>
                <a:lnTo>
                  <a:pt x="373" y="2"/>
                </a:lnTo>
                <a:lnTo>
                  <a:pt x="374" y="2"/>
                </a:lnTo>
                <a:lnTo>
                  <a:pt x="383" y="2"/>
                </a:lnTo>
                <a:lnTo>
                  <a:pt x="381" y="2"/>
                </a:lnTo>
                <a:lnTo>
                  <a:pt x="382" y="1"/>
                </a:lnTo>
                <a:lnTo>
                  <a:pt x="384" y="1"/>
                </a:lnTo>
                <a:lnTo>
                  <a:pt x="386" y="1"/>
                </a:lnTo>
                <a:lnTo>
                  <a:pt x="386" y="1"/>
                </a:lnTo>
                <a:lnTo>
                  <a:pt x="391" y="2"/>
                </a:lnTo>
                <a:lnTo>
                  <a:pt x="393" y="2"/>
                </a:lnTo>
                <a:lnTo>
                  <a:pt x="395" y="2"/>
                </a:lnTo>
                <a:lnTo>
                  <a:pt x="396" y="2"/>
                </a:lnTo>
                <a:lnTo>
                  <a:pt x="396" y="2"/>
                </a:lnTo>
                <a:lnTo>
                  <a:pt x="394" y="2"/>
                </a:lnTo>
                <a:lnTo>
                  <a:pt x="394" y="2"/>
                </a:lnTo>
                <a:lnTo>
                  <a:pt x="395" y="2"/>
                </a:lnTo>
                <a:lnTo>
                  <a:pt x="394" y="1"/>
                </a:lnTo>
                <a:lnTo>
                  <a:pt x="392" y="1"/>
                </a:lnTo>
                <a:lnTo>
                  <a:pt x="392" y="1"/>
                </a:lnTo>
                <a:lnTo>
                  <a:pt x="394" y="1"/>
                </a:lnTo>
                <a:lnTo>
                  <a:pt x="397" y="1"/>
                </a:lnTo>
                <a:lnTo>
                  <a:pt x="407" y="1"/>
                </a:lnTo>
                <a:lnTo>
                  <a:pt x="411" y="0"/>
                </a:lnTo>
                <a:lnTo>
                  <a:pt x="413" y="0"/>
                </a:lnTo>
                <a:lnTo>
                  <a:pt x="414" y="1"/>
                </a:lnTo>
                <a:lnTo>
                  <a:pt x="414" y="0"/>
                </a:lnTo>
                <a:lnTo>
                  <a:pt x="415" y="0"/>
                </a:lnTo>
                <a:lnTo>
                  <a:pt x="418" y="1"/>
                </a:lnTo>
                <a:lnTo>
                  <a:pt x="420" y="1"/>
                </a:lnTo>
                <a:lnTo>
                  <a:pt x="418" y="0"/>
                </a:lnTo>
                <a:lnTo>
                  <a:pt x="423" y="0"/>
                </a:lnTo>
                <a:lnTo>
                  <a:pt x="433" y="0"/>
                </a:lnTo>
                <a:lnTo>
                  <a:pt x="434" y="0"/>
                </a:lnTo>
                <a:lnTo>
                  <a:pt x="440" y="0"/>
                </a:lnTo>
                <a:lnTo>
                  <a:pt x="443" y="1"/>
                </a:lnTo>
                <a:lnTo>
                  <a:pt x="452" y="0"/>
                </a:lnTo>
                <a:lnTo>
                  <a:pt x="462" y="1"/>
                </a:lnTo>
                <a:lnTo>
                  <a:pt x="462" y="1"/>
                </a:lnTo>
                <a:lnTo>
                  <a:pt x="465" y="1"/>
                </a:lnTo>
                <a:lnTo>
                  <a:pt x="464" y="1"/>
                </a:lnTo>
                <a:lnTo>
                  <a:pt x="468" y="1"/>
                </a:lnTo>
                <a:lnTo>
                  <a:pt x="469" y="1"/>
                </a:lnTo>
                <a:lnTo>
                  <a:pt x="465" y="1"/>
                </a:lnTo>
                <a:lnTo>
                  <a:pt x="467" y="2"/>
                </a:lnTo>
                <a:lnTo>
                  <a:pt x="472" y="2"/>
                </a:lnTo>
                <a:lnTo>
                  <a:pt x="474" y="2"/>
                </a:lnTo>
                <a:lnTo>
                  <a:pt x="471" y="2"/>
                </a:lnTo>
                <a:lnTo>
                  <a:pt x="477" y="1"/>
                </a:lnTo>
                <a:lnTo>
                  <a:pt x="489" y="2"/>
                </a:lnTo>
                <a:lnTo>
                  <a:pt x="496" y="2"/>
                </a:lnTo>
                <a:lnTo>
                  <a:pt x="497" y="4"/>
                </a:lnTo>
                <a:lnTo>
                  <a:pt x="496" y="4"/>
                </a:lnTo>
                <a:lnTo>
                  <a:pt x="493" y="5"/>
                </a:lnTo>
                <a:lnTo>
                  <a:pt x="482" y="5"/>
                </a:lnTo>
                <a:lnTo>
                  <a:pt x="461" y="5"/>
                </a:lnTo>
                <a:lnTo>
                  <a:pt x="448" y="5"/>
                </a:lnTo>
                <a:lnTo>
                  <a:pt x="435" y="6"/>
                </a:lnTo>
                <a:lnTo>
                  <a:pt x="431" y="6"/>
                </a:lnTo>
                <a:lnTo>
                  <a:pt x="422" y="5"/>
                </a:lnTo>
                <a:lnTo>
                  <a:pt x="421" y="6"/>
                </a:lnTo>
                <a:lnTo>
                  <a:pt x="426" y="6"/>
                </a:lnTo>
                <a:lnTo>
                  <a:pt x="428" y="6"/>
                </a:lnTo>
                <a:lnTo>
                  <a:pt x="430" y="6"/>
                </a:lnTo>
                <a:lnTo>
                  <a:pt x="423" y="7"/>
                </a:lnTo>
                <a:lnTo>
                  <a:pt x="418" y="7"/>
                </a:lnTo>
                <a:lnTo>
                  <a:pt x="415" y="7"/>
                </a:lnTo>
                <a:lnTo>
                  <a:pt x="401" y="8"/>
                </a:lnTo>
                <a:lnTo>
                  <a:pt x="403" y="8"/>
                </a:lnTo>
                <a:lnTo>
                  <a:pt x="403" y="8"/>
                </a:lnTo>
                <a:lnTo>
                  <a:pt x="403" y="9"/>
                </a:lnTo>
                <a:lnTo>
                  <a:pt x="404" y="9"/>
                </a:lnTo>
                <a:lnTo>
                  <a:pt x="404" y="8"/>
                </a:lnTo>
                <a:lnTo>
                  <a:pt x="407" y="8"/>
                </a:lnTo>
                <a:lnTo>
                  <a:pt x="410" y="8"/>
                </a:lnTo>
                <a:lnTo>
                  <a:pt x="415" y="8"/>
                </a:lnTo>
                <a:lnTo>
                  <a:pt x="415" y="8"/>
                </a:lnTo>
                <a:lnTo>
                  <a:pt x="415" y="9"/>
                </a:lnTo>
                <a:lnTo>
                  <a:pt x="417" y="9"/>
                </a:lnTo>
                <a:lnTo>
                  <a:pt x="417" y="8"/>
                </a:lnTo>
                <a:lnTo>
                  <a:pt x="418" y="8"/>
                </a:lnTo>
                <a:lnTo>
                  <a:pt x="421" y="7"/>
                </a:lnTo>
                <a:lnTo>
                  <a:pt x="435" y="7"/>
                </a:lnTo>
                <a:lnTo>
                  <a:pt x="435" y="8"/>
                </a:lnTo>
                <a:lnTo>
                  <a:pt x="437" y="8"/>
                </a:lnTo>
                <a:lnTo>
                  <a:pt x="438" y="7"/>
                </a:lnTo>
                <a:lnTo>
                  <a:pt x="442" y="7"/>
                </a:lnTo>
                <a:lnTo>
                  <a:pt x="445" y="6"/>
                </a:lnTo>
                <a:lnTo>
                  <a:pt x="448" y="6"/>
                </a:lnTo>
                <a:lnTo>
                  <a:pt x="451" y="6"/>
                </a:lnTo>
                <a:lnTo>
                  <a:pt x="455" y="6"/>
                </a:lnTo>
                <a:lnTo>
                  <a:pt x="469" y="6"/>
                </a:lnTo>
                <a:lnTo>
                  <a:pt x="469" y="6"/>
                </a:lnTo>
                <a:lnTo>
                  <a:pt x="469" y="7"/>
                </a:lnTo>
                <a:lnTo>
                  <a:pt x="472" y="6"/>
                </a:lnTo>
                <a:lnTo>
                  <a:pt x="473" y="6"/>
                </a:lnTo>
                <a:lnTo>
                  <a:pt x="485" y="6"/>
                </a:lnTo>
                <a:lnTo>
                  <a:pt x="488" y="6"/>
                </a:lnTo>
                <a:lnTo>
                  <a:pt x="495" y="6"/>
                </a:lnTo>
                <a:lnTo>
                  <a:pt x="503" y="5"/>
                </a:lnTo>
                <a:lnTo>
                  <a:pt x="506" y="6"/>
                </a:lnTo>
                <a:lnTo>
                  <a:pt x="505" y="6"/>
                </a:lnTo>
                <a:lnTo>
                  <a:pt x="505" y="7"/>
                </a:lnTo>
                <a:lnTo>
                  <a:pt x="507" y="7"/>
                </a:lnTo>
                <a:lnTo>
                  <a:pt x="506" y="7"/>
                </a:lnTo>
                <a:lnTo>
                  <a:pt x="504" y="8"/>
                </a:lnTo>
                <a:lnTo>
                  <a:pt x="498" y="8"/>
                </a:lnTo>
                <a:lnTo>
                  <a:pt x="501" y="8"/>
                </a:lnTo>
                <a:lnTo>
                  <a:pt x="499" y="9"/>
                </a:lnTo>
                <a:lnTo>
                  <a:pt x="491" y="9"/>
                </a:lnTo>
                <a:lnTo>
                  <a:pt x="501" y="9"/>
                </a:lnTo>
                <a:lnTo>
                  <a:pt x="502" y="9"/>
                </a:lnTo>
                <a:lnTo>
                  <a:pt x="508" y="8"/>
                </a:lnTo>
                <a:lnTo>
                  <a:pt x="512" y="8"/>
                </a:lnTo>
                <a:lnTo>
                  <a:pt x="515" y="8"/>
                </a:lnTo>
                <a:lnTo>
                  <a:pt x="514" y="8"/>
                </a:lnTo>
                <a:lnTo>
                  <a:pt x="515" y="9"/>
                </a:lnTo>
                <a:lnTo>
                  <a:pt x="514" y="9"/>
                </a:lnTo>
                <a:lnTo>
                  <a:pt x="515" y="9"/>
                </a:lnTo>
                <a:lnTo>
                  <a:pt x="519" y="8"/>
                </a:lnTo>
                <a:lnTo>
                  <a:pt x="521" y="8"/>
                </a:lnTo>
                <a:lnTo>
                  <a:pt x="525" y="9"/>
                </a:lnTo>
                <a:lnTo>
                  <a:pt x="527" y="9"/>
                </a:lnTo>
                <a:lnTo>
                  <a:pt x="529" y="9"/>
                </a:lnTo>
                <a:lnTo>
                  <a:pt x="531" y="9"/>
                </a:lnTo>
                <a:lnTo>
                  <a:pt x="532" y="9"/>
                </a:lnTo>
                <a:lnTo>
                  <a:pt x="539" y="10"/>
                </a:lnTo>
                <a:lnTo>
                  <a:pt x="541" y="11"/>
                </a:lnTo>
                <a:lnTo>
                  <a:pt x="541" y="11"/>
                </a:lnTo>
                <a:lnTo>
                  <a:pt x="539" y="11"/>
                </a:lnTo>
                <a:lnTo>
                  <a:pt x="538" y="11"/>
                </a:lnTo>
                <a:lnTo>
                  <a:pt x="536" y="12"/>
                </a:lnTo>
                <a:lnTo>
                  <a:pt x="531" y="12"/>
                </a:lnTo>
                <a:lnTo>
                  <a:pt x="531" y="14"/>
                </a:lnTo>
                <a:lnTo>
                  <a:pt x="528" y="14"/>
                </a:lnTo>
                <a:lnTo>
                  <a:pt x="525" y="14"/>
                </a:lnTo>
                <a:lnTo>
                  <a:pt x="518" y="15"/>
                </a:lnTo>
                <a:lnTo>
                  <a:pt x="513" y="15"/>
                </a:lnTo>
                <a:lnTo>
                  <a:pt x="508" y="15"/>
                </a:lnTo>
                <a:lnTo>
                  <a:pt x="505" y="16"/>
                </a:lnTo>
                <a:lnTo>
                  <a:pt x="498" y="16"/>
                </a:lnTo>
                <a:lnTo>
                  <a:pt x="489" y="16"/>
                </a:lnTo>
                <a:lnTo>
                  <a:pt x="481" y="16"/>
                </a:lnTo>
                <a:lnTo>
                  <a:pt x="469" y="16"/>
                </a:lnTo>
                <a:lnTo>
                  <a:pt x="455" y="16"/>
                </a:lnTo>
                <a:lnTo>
                  <a:pt x="451" y="16"/>
                </a:lnTo>
                <a:lnTo>
                  <a:pt x="447" y="16"/>
                </a:lnTo>
                <a:lnTo>
                  <a:pt x="443" y="16"/>
                </a:lnTo>
                <a:lnTo>
                  <a:pt x="434" y="16"/>
                </a:lnTo>
                <a:lnTo>
                  <a:pt x="436" y="16"/>
                </a:lnTo>
                <a:lnTo>
                  <a:pt x="444" y="16"/>
                </a:lnTo>
                <a:lnTo>
                  <a:pt x="447" y="17"/>
                </a:lnTo>
                <a:lnTo>
                  <a:pt x="448" y="17"/>
                </a:lnTo>
                <a:lnTo>
                  <a:pt x="441" y="18"/>
                </a:lnTo>
                <a:lnTo>
                  <a:pt x="434" y="18"/>
                </a:lnTo>
                <a:lnTo>
                  <a:pt x="421" y="19"/>
                </a:lnTo>
                <a:lnTo>
                  <a:pt x="420" y="20"/>
                </a:lnTo>
                <a:lnTo>
                  <a:pt x="420" y="21"/>
                </a:lnTo>
                <a:lnTo>
                  <a:pt x="425" y="21"/>
                </a:lnTo>
                <a:lnTo>
                  <a:pt x="430" y="20"/>
                </a:lnTo>
                <a:lnTo>
                  <a:pt x="434" y="19"/>
                </a:lnTo>
                <a:lnTo>
                  <a:pt x="450" y="18"/>
                </a:lnTo>
                <a:lnTo>
                  <a:pt x="452" y="18"/>
                </a:lnTo>
                <a:lnTo>
                  <a:pt x="451" y="19"/>
                </a:lnTo>
                <a:lnTo>
                  <a:pt x="454" y="18"/>
                </a:lnTo>
                <a:lnTo>
                  <a:pt x="455" y="18"/>
                </a:lnTo>
                <a:lnTo>
                  <a:pt x="462" y="18"/>
                </a:lnTo>
                <a:lnTo>
                  <a:pt x="469" y="18"/>
                </a:lnTo>
                <a:lnTo>
                  <a:pt x="493" y="18"/>
                </a:lnTo>
                <a:lnTo>
                  <a:pt x="494" y="18"/>
                </a:lnTo>
                <a:lnTo>
                  <a:pt x="497" y="18"/>
                </a:lnTo>
                <a:lnTo>
                  <a:pt x="497" y="19"/>
                </a:lnTo>
                <a:lnTo>
                  <a:pt x="495" y="20"/>
                </a:lnTo>
                <a:lnTo>
                  <a:pt x="486" y="21"/>
                </a:lnTo>
                <a:lnTo>
                  <a:pt x="482" y="22"/>
                </a:lnTo>
                <a:lnTo>
                  <a:pt x="477" y="22"/>
                </a:lnTo>
                <a:lnTo>
                  <a:pt x="475" y="24"/>
                </a:lnTo>
                <a:lnTo>
                  <a:pt x="478" y="24"/>
                </a:lnTo>
                <a:lnTo>
                  <a:pt x="481" y="24"/>
                </a:lnTo>
                <a:lnTo>
                  <a:pt x="486" y="22"/>
                </a:lnTo>
                <a:lnTo>
                  <a:pt x="501" y="21"/>
                </a:lnTo>
                <a:lnTo>
                  <a:pt x="501" y="21"/>
                </a:lnTo>
                <a:lnTo>
                  <a:pt x="505" y="20"/>
                </a:lnTo>
                <a:lnTo>
                  <a:pt x="511" y="20"/>
                </a:lnTo>
                <a:lnTo>
                  <a:pt x="512" y="20"/>
                </a:lnTo>
                <a:lnTo>
                  <a:pt x="511" y="20"/>
                </a:lnTo>
                <a:lnTo>
                  <a:pt x="511" y="19"/>
                </a:lnTo>
                <a:lnTo>
                  <a:pt x="511" y="18"/>
                </a:lnTo>
                <a:lnTo>
                  <a:pt x="511" y="18"/>
                </a:lnTo>
                <a:lnTo>
                  <a:pt x="514" y="18"/>
                </a:lnTo>
                <a:lnTo>
                  <a:pt x="521" y="17"/>
                </a:lnTo>
                <a:lnTo>
                  <a:pt x="529" y="17"/>
                </a:lnTo>
                <a:lnTo>
                  <a:pt x="531" y="17"/>
                </a:lnTo>
                <a:lnTo>
                  <a:pt x="533" y="18"/>
                </a:lnTo>
                <a:lnTo>
                  <a:pt x="533" y="19"/>
                </a:lnTo>
                <a:lnTo>
                  <a:pt x="532" y="20"/>
                </a:lnTo>
                <a:lnTo>
                  <a:pt x="532" y="21"/>
                </a:lnTo>
                <a:lnTo>
                  <a:pt x="532" y="22"/>
                </a:lnTo>
                <a:lnTo>
                  <a:pt x="531" y="24"/>
                </a:lnTo>
                <a:lnTo>
                  <a:pt x="529" y="24"/>
                </a:lnTo>
                <a:lnTo>
                  <a:pt x="527" y="25"/>
                </a:lnTo>
                <a:lnTo>
                  <a:pt x="525" y="26"/>
                </a:lnTo>
                <a:lnTo>
                  <a:pt x="522" y="26"/>
                </a:lnTo>
                <a:lnTo>
                  <a:pt x="518" y="26"/>
                </a:lnTo>
                <a:lnTo>
                  <a:pt x="521" y="26"/>
                </a:lnTo>
                <a:lnTo>
                  <a:pt x="522" y="26"/>
                </a:lnTo>
                <a:lnTo>
                  <a:pt x="524" y="26"/>
                </a:lnTo>
                <a:lnTo>
                  <a:pt x="519" y="28"/>
                </a:lnTo>
                <a:lnTo>
                  <a:pt x="514" y="29"/>
                </a:lnTo>
                <a:lnTo>
                  <a:pt x="512" y="31"/>
                </a:lnTo>
                <a:lnTo>
                  <a:pt x="508" y="32"/>
                </a:lnTo>
                <a:lnTo>
                  <a:pt x="508" y="32"/>
                </a:lnTo>
                <a:lnTo>
                  <a:pt x="506" y="33"/>
                </a:lnTo>
                <a:lnTo>
                  <a:pt x="504" y="35"/>
                </a:lnTo>
                <a:lnTo>
                  <a:pt x="504" y="36"/>
                </a:lnTo>
                <a:lnTo>
                  <a:pt x="504" y="36"/>
                </a:lnTo>
                <a:lnTo>
                  <a:pt x="508" y="33"/>
                </a:lnTo>
                <a:lnTo>
                  <a:pt x="511" y="33"/>
                </a:lnTo>
                <a:lnTo>
                  <a:pt x="515" y="32"/>
                </a:lnTo>
                <a:lnTo>
                  <a:pt x="515" y="31"/>
                </a:lnTo>
                <a:lnTo>
                  <a:pt x="517" y="30"/>
                </a:lnTo>
                <a:lnTo>
                  <a:pt x="516" y="30"/>
                </a:lnTo>
                <a:lnTo>
                  <a:pt x="516" y="30"/>
                </a:lnTo>
                <a:lnTo>
                  <a:pt x="523" y="29"/>
                </a:lnTo>
                <a:lnTo>
                  <a:pt x="528" y="27"/>
                </a:lnTo>
                <a:lnTo>
                  <a:pt x="535" y="26"/>
                </a:lnTo>
                <a:lnTo>
                  <a:pt x="538" y="25"/>
                </a:lnTo>
                <a:lnTo>
                  <a:pt x="539" y="24"/>
                </a:lnTo>
                <a:lnTo>
                  <a:pt x="544" y="22"/>
                </a:lnTo>
                <a:lnTo>
                  <a:pt x="547" y="22"/>
                </a:lnTo>
                <a:lnTo>
                  <a:pt x="554" y="21"/>
                </a:lnTo>
                <a:lnTo>
                  <a:pt x="552" y="21"/>
                </a:lnTo>
                <a:lnTo>
                  <a:pt x="550" y="22"/>
                </a:lnTo>
                <a:lnTo>
                  <a:pt x="552" y="22"/>
                </a:lnTo>
                <a:lnTo>
                  <a:pt x="552" y="24"/>
                </a:lnTo>
                <a:lnTo>
                  <a:pt x="552" y="24"/>
                </a:lnTo>
                <a:lnTo>
                  <a:pt x="556" y="24"/>
                </a:lnTo>
                <a:lnTo>
                  <a:pt x="556" y="22"/>
                </a:lnTo>
                <a:lnTo>
                  <a:pt x="558" y="22"/>
                </a:lnTo>
                <a:lnTo>
                  <a:pt x="564" y="22"/>
                </a:lnTo>
                <a:lnTo>
                  <a:pt x="566" y="24"/>
                </a:lnTo>
                <a:lnTo>
                  <a:pt x="566" y="22"/>
                </a:lnTo>
                <a:lnTo>
                  <a:pt x="572" y="24"/>
                </a:lnTo>
                <a:lnTo>
                  <a:pt x="573" y="24"/>
                </a:lnTo>
                <a:lnTo>
                  <a:pt x="574" y="22"/>
                </a:lnTo>
                <a:lnTo>
                  <a:pt x="573" y="22"/>
                </a:lnTo>
                <a:lnTo>
                  <a:pt x="574" y="22"/>
                </a:lnTo>
                <a:lnTo>
                  <a:pt x="576" y="22"/>
                </a:lnTo>
                <a:lnTo>
                  <a:pt x="575" y="22"/>
                </a:lnTo>
                <a:lnTo>
                  <a:pt x="577" y="22"/>
                </a:lnTo>
                <a:lnTo>
                  <a:pt x="575" y="21"/>
                </a:lnTo>
                <a:lnTo>
                  <a:pt x="576" y="21"/>
                </a:lnTo>
                <a:lnTo>
                  <a:pt x="575" y="20"/>
                </a:lnTo>
                <a:lnTo>
                  <a:pt x="578" y="20"/>
                </a:lnTo>
                <a:lnTo>
                  <a:pt x="580" y="21"/>
                </a:lnTo>
                <a:lnTo>
                  <a:pt x="579" y="20"/>
                </a:lnTo>
                <a:lnTo>
                  <a:pt x="579" y="20"/>
                </a:lnTo>
                <a:lnTo>
                  <a:pt x="580" y="19"/>
                </a:lnTo>
                <a:lnTo>
                  <a:pt x="582" y="19"/>
                </a:lnTo>
                <a:lnTo>
                  <a:pt x="583" y="19"/>
                </a:lnTo>
                <a:lnTo>
                  <a:pt x="584" y="19"/>
                </a:lnTo>
                <a:lnTo>
                  <a:pt x="586" y="19"/>
                </a:lnTo>
                <a:lnTo>
                  <a:pt x="592" y="19"/>
                </a:lnTo>
                <a:lnTo>
                  <a:pt x="594" y="18"/>
                </a:lnTo>
                <a:lnTo>
                  <a:pt x="599" y="19"/>
                </a:lnTo>
                <a:lnTo>
                  <a:pt x="604" y="18"/>
                </a:lnTo>
                <a:lnTo>
                  <a:pt x="608" y="19"/>
                </a:lnTo>
                <a:lnTo>
                  <a:pt x="614" y="19"/>
                </a:lnTo>
                <a:lnTo>
                  <a:pt x="620" y="19"/>
                </a:lnTo>
                <a:lnTo>
                  <a:pt x="625" y="20"/>
                </a:lnTo>
                <a:lnTo>
                  <a:pt x="627" y="21"/>
                </a:lnTo>
                <a:lnTo>
                  <a:pt x="630" y="21"/>
                </a:lnTo>
                <a:lnTo>
                  <a:pt x="631" y="22"/>
                </a:lnTo>
                <a:lnTo>
                  <a:pt x="628" y="22"/>
                </a:lnTo>
                <a:lnTo>
                  <a:pt x="623" y="25"/>
                </a:lnTo>
                <a:lnTo>
                  <a:pt x="622" y="25"/>
                </a:lnTo>
                <a:lnTo>
                  <a:pt x="620" y="26"/>
                </a:lnTo>
                <a:lnTo>
                  <a:pt x="617" y="26"/>
                </a:lnTo>
                <a:lnTo>
                  <a:pt x="616" y="26"/>
                </a:lnTo>
                <a:lnTo>
                  <a:pt x="613" y="27"/>
                </a:lnTo>
                <a:lnTo>
                  <a:pt x="613" y="27"/>
                </a:lnTo>
                <a:lnTo>
                  <a:pt x="612" y="27"/>
                </a:lnTo>
                <a:lnTo>
                  <a:pt x="604" y="27"/>
                </a:lnTo>
                <a:lnTo>
                  <a:pt x="603" y="28"/>
                </a:lnTo>
                <a:lnTo>
                  <a:pt x="603" y="28"/>
                </a:lnTo>
                <a:lnTo>
                  <a:pt x="603" y="28"/>
                </a:lnTo>
                <a:lnTo>
                  <a:pt x="605" y="29"/>
                </a:lnTo>
                <a:lnTo>
                  <a:pt x="606" y="30"/>
                </a:lnTo>
                <a:lnTo>
                  <a:pt x="604" y="30"/>
                </a:lnTo>
                <a:lnTo>
                  <a:pt x="596" y="30"/>
                </a:lnTo>
                <a:lnTo>
                  <a:pt x="594" y="31"/>
                </a:lnTo>
                <a:lnTo>
                  <a:pt x="593" y="31"/>
                </a:lnTo>
                <a:lnTo>
                  <a:pt x="593" y="31"/>
                </a:lnTo>
                <a:lnTo>
                  <a:pt x="593" y="31"/>
                </a:lnTo>
                <a:lnTo>
                  <a:pt x="589" y="32"/>
                </a:lnTo>
                <a:lnTo>
                  <a:pt x="576" y="31"/>
                </a:lnTo>
                <a:lnTo>
                  <a:pt x="574" y="31"/>
                </a:lnTo>
                <a:lnTo>
                  <a:pt x="573" y="31"/>
                </a:lnTo>
                <a:lnTo>
                  <a:pt x="572" y="32"/>
                </a:lnTo>
                <a:lnTo>
                  <a:pt x="568" y="32"/>
                </a:lnTo>
                <a:lnTo>
                  <a:pt x="567" y="32"/>
                </a:lnTo>
                <a:lnTo>
                  <a:pt x="565" y="33"/>
                </a:lnTo>
                <a:lnTo>
                  <a:pt x="553" y="32"/>
                </a:lnTo>
                <a:lnTo>
                  <a:pt x="547" y="32"/>
                </a:lnTo>
                <a:lnTo>
                  <a:pt x="546" y="33"/>
                </a:lnTo>
                <a:lnTo>
                  <a:pt x="538" y="33"/>
                </a:lnTo>
                <a:lnTo>
                  <a:pt x="541" y="33"/>
                </a:lnTo>
                <a:lnTo>
                  <a:pt x="543" y="33"/>
                </a:lnTo>
                <a:lnTo>
                  <a:pt x="544" y="35"/>
                </a:lnTo>
                <a:lnTo>
                  <a:pt x="548" y="33"/>
                </a:lnTo>
                <a:lnTo>
                  <a:pt x="550" y="33"/>
                </a:lnTo>
                <a:lnTo>
                  <a:pt x="553" y="32"/>
                </a:lnTo>
                <a:lnTo>
                  <a:pt x="560" y="33"/>
                </a:lnTo>
                <a:lnTo>
                  <a:pt x="566" y="33"/>
                </a:lnTo>
                <a:lnTo>
                  <a:pt x="574" y="33"/>
                </a:lnTo>
                <a:lnTo>
                  <a:pt x="576" y="33"/>
                </a:lnTo>
                <a:lnTo>
                  <a:pt x="580" y="33"/>
                </a:lnTo>
                <a:lnTo>
                  <a:pt x="583" y="33"/>
                </a:lnTo>
                <a:lnTo>
                  <a:pt x="589" y="33"/>
                </a:lnTo>
                <a:lnTo>
                  <a:pt x="589" y="35"/>
                </a:lnTo>
                <a:lnTo>
                  <a:pt x="588" y="35"/>
                </a:lnTo>
                <a:lnTo>
                  <a:pt x="586" y="36"/>
                </a:lnTo>
                <a:lnTo>
                  <a:pt x="584" y="36"/>
                </a:lnTo>
                <a:lnTo>
                  <a:pt x="585" y="37"/>
                </a:lnTo>
                <a:lnTo>
                  <a:pt x="584" y="37"/>
                </a:lnTo>
                <a:lnTo>
                  <a:pt x="582" y="38"/>
                </a:lnTo>
                <a:lnTo>
                  <a:pt x="568" y="38"/>
                </a:lnTo>
                <a:lnTo>
                  <a:pt x="562" y="38"/>
                </a:lnTo>
                <a:lnTo>
                  <a:pt x="557" y="37"/>
                </a:lnTo>
                <a:lnTo>
                  <a:pt x="553" y="37"/>
                </a:lnTo>
                <a:lnTo>
                  <a:pt x="549" y="39"/>
                </a:lnTo>
                <a:lnTo>
                  <a:pt x="546" y="39"/>
                </a:lnTo>
                <a:lnTo>
                  <a:pt x="547" y="39"/>
                </a:lnTo>
                <a:lnTo>
                  <a:pt x="546" y="40"/>
                </a:lnTo>
                <a:lnTo>
                  <a:pt x="547" y="40"/>
                </a:lnTo>
                <a:lnTo>
                  <a:pt x="546" y="41"/>
                </a:lnTo>
                <a:lnTo>
                  <a:pt x="545" y="42"/>
                </a:lnTo>
                <a:lnTo>
                  <a:pt x="546" y="42"/>
                </a:lnTo>
                <a:lnTo>
                  <a:pt x="547" y="43"/>
                </a:lnTo>
                <a:lnTo>
                  <a:pt x="552" y="43"/>
                </a:lnTo>
                <a:lnTo>
                  <a:pt x="549" y="43"/>
                </a:lnTo>
                <a:lnTo>
                  <a:pt x="549" y="42"/>
                </a:lnTo>
                <a:lnTo>
                  <a:pt x="550" y="41"/>
                </a:lnTo>
                <a:lnTo>
                  <a:pt x="555" y="40"/>
                </a:lnTo>
                <a:lnTo>
                  <a:pt x="557" y="40"/>
                </a:lnTo>
                <a:lnTo>
                  <a:pt x="560" y="40"/>
                </a:lnTo>
                <a:lnTo>
                  <a:pt x="565" y="39"/>
                </a:lnTo>
                <a:lnTo>
                  <a:pt x="567" y="39"/>
                </a:lnTo>
                <a:lnTo>
                  <a:pt x="572" y="39"/>
                </a:lnTo>
                <a:lnTo>
                  <a:pt x="574" y="39"/>
                </a:lnTo>
                <a:lnTo>
                  <a:pt x="576" y="39"/>
                </a:lnTo>
                <a:lnTo>
                  <a:pt x="576" y="40"/>
                </a:lnTo>
                <a:lnTo>
                  <a:pt x="575" y="40"/>
                </a:lnTo>
                <a:lnTo>
                  <a:pt x="575" y="41"/>
                </a:lnTo>
                <a:lnTo>
                  <a:pt x="573" y="42"/>
                </a:lnTo>
                <a:lnTo>
                  <a:pt x="572" y="42"/>
                </a:lnTo>
                <a:lnTo>
                  <a:pt x="569" y="43"/>
                </a:lnTo>
                <a:lnTo>
                  <a:pt x="564" y="43"/>
                </a:lnTo>
                <a:lnTo>
                  <a:pt x="558" y="43"/>
                </a:lnTo>
                <a:lnTo>
                  <a:pt x="556" y="43"/>
                </a:lnTo>
                <a:lnTo>
                  <a:pt x="554" y="45"/>
                </a:lnTo>
                <a:lnTo>
                  <a:pt x="553" y="47"/>
                </a:lnTo>
                <a:lnTo>
                  <a:pt x="552" y="48"/>
                </a:lnTo>
                <a:lnTo>
                  <a:pt x="553" y="48"/>
                </a:lnTo>
                <a:lnTo>
                  <a:pt x="552" y="49"/>
                </a:lnTo>
                <a:lnTo>
                  <a:pt x="549" y="50"/>
                </a:lnTo>
                <a:lnTo>
                  <a:pt x="549" y="51"/>
                </a:lnTo>
                <a:lnTo>
                  <a:pt x="552" y="50"/>
                </a:lnTo>
                <a:lnTo>
                  <a:pt x="553" y="49"/>
                </a:lnTo>
                <a:lnTo>
                  <a:pt x="558" y="49"/>
                </a:lnTo>
                <a:lnTo>
                  <a:pt x="556" y="50"/>
                </a:lnTo>
                <a:lnTo>
                  <a:pt x="556" y="51"/>
                </a:lnTo>
                <a:lnTo>
                  <a:pt x="556" y="50"/>
                </a:lnTo>
                <a:lnTo>
                  <a:pt x="554" y="50"/>
                </a:lnTo>
                <a:lnTo>
                  <a:pt x="553" y="51"/>
                </a:lnTo>
                <a:lnTo>
                  <a:pt x="553" y="52"/>
                </a:lnTo>
                <a:lnTo>
                  <a:pt x="552" y="52"/>
                </a:lnTo>
                <a:lnTo>
                  <a:pt x="552" y="51"/>
                </a:lnTo>
                <a:lnTo>
                  <a:pt x="549" y="52"/>
                </a:lnTo>
                <a:lnTo>
                  <a:pt x="548" y="52"/>
                </a:lnTo>
                <a:lnTo>
                  <a:pt x="548" y="53"/>
                </a:lnTo>
                <a:lnTo>
                  <a:pt x="548" y="53"/>
                </a:lnTo>
                <a:lnTo>
                  <a:pt x="548" y="55"/>
                </a:lnTo>
                <a:lnTo>
                  <a:pt x="545" y="56"/>
                </a:lnTo>
                <a:lnTo>
                  <a:pt x="542" y="56"/>
                </a:lnTo>
                <a:lnTo>
                  <a:pt x="538" y="56"/>
                </a:lnTo>
                <a:lnTo>
                  <a:pt x="536" y="56"/>
                </a:lnTo>
                <a:lnTo>
                  <a:pt x="535" y="57"/>
                </a:lnTo>
                <a:lnTo>
                  <a:pt x="536" y="57"/>
                </a:lnTo>
                <a:lnTo>
                  <a:pt x="536" y="58"/>
                </a:lnTo>
                <a:lnTo>
                  <a:pt x="535" y="58"/>
                </a:lnTo>
                <a:lnTo>
                  <a:pt x="533" y="58"/>
                </a:lnTo>
                <a:lnTo>
                  <a:pt x="534" y="59"/>
                </a:lnTo>
                <a:lnTo>
                  <a:pt x="536" y="58"/>
                </a:lnTo>
                <a:lnTo>
                  <a:pt x="535" y="59"/>
                </a:lnTo>
                <a:lnTo>
                  <a:pt x="533" y="61"/>
                </a:lnTo>
                <a:lnTo>
                  <a:pt x="532" y="63"/>
                </a:lnTo>
                <a:lnTo>
                  <a:pt x="531" y="65"/>
                </a:lnTo>
                <a:lnTo>
                  <a:pt x="531" y="66"/>
                </a:lnTo>
                <a:lnTo>
                  <a:pt x="531" y="66"/>
                </a:lnTo>
                <a:lnTo>
                  <a:pt x="527" y="67"/>
                </a:lnTo>
                <a:lnTo>
                  <a:pt x="527" y="68"/>
                </a:lnTo>
                <a:lnTo>
                  <a:pt x="526" y="69"/>
                </a:lnTo>
                <a:lnTo>
                  <a:pt x="524" y="70"/>
                </a:lnTo>
                <a:lnTo>
                  <a:pt x="525" y="71"/>
                </a:lnTo>
                <a:lnTo>
                  <a:pt x="527" y="71"/>
                </a:lnTo>
                <a:lnTo>
                  <a:pt x="534" y="68"/>
                </a:lnTo>
                <a:lnTo>
                  <a:pt x="536" y="67"/>
                </a:lnTo>
                <a:lnTo>
                  <a:pt x="537" y="67"/>
                </a:lnTo>
                <a:lnTo>
                  <a:pt x="538" y="68"/>
                </a:lnTo>
                <a:lnTo>
                  <a:pt x="541" y="69"/>
                </a:lnTo>
                <a:lnTo>
                  <a:pt x="552" y="70"/>
                </a:lnTo>
                <a:lnTo>
                  <a:pt x="553" y="71"/>
                </a:lnTo>
                <a:lnTo>
                  <a:pt x="553" y="72"/>
                </a:lnTo>
                <a:lnTo>
                  <a:pt x="550" y="72"/>
                </a:lnTo>
                <a:lnTo>
                  <a:pt x="545" y="70"/>
                </a:lnTo>
                <a:lnTo>
                  <a:pt x="541" y="70"/>
                </a:lnTo>
                <a:lnTo>
                  <a:pt x="537" y="70"/>
                </a:lnTo>
                <a:lnTo>
                  <a:pt x="535" y="71"/>
                </a:lnTo>
                <a:lnTo>
                  <a:pt x="536" y="71"/>
                </a:lnTo>
                <a:lnTo>
                  <a:pt x="541" y="72"/>
                </a:lnTo>
                <a:lnTo>
                  <a:pt x="537" y="72"/>
                </a:lnTo>
                <a:lnTo>
                  <a:pt x="537" y="73"/>
                </a:lnTo>
                <a:lnTo>
                  <a:pt x="535" y="73"/>
                </a:lnTo>
                <a:lnTo>
                  <a:pt x="539" y="73"/>
                </a:lnTo>
                <a:lnTo>
                  <a:pt x="539" y="75"/>
                </a:lnTo>
                <a:lnTo>
                  <a:pt x="536" y="75"/>
                </a:lnTo>
                <a:lnTo>
                  <a:pt x="545" y="75"/>
                </a:lnTo>
                <a:lnTo>
                  <a:pt x="548" y="76"/>
                </a:lnTo>
                <a:lnTo>
                  <a:pt x="548" y="77"/>
                </a:lnTo>
                <a:lnTo>
                  <a:pt x="550" y="77"/>
                </a:lnTo>
                <a:lnTo>
                  <a:pt x="552" y="77"/>
                </a:lnTo>
                <a:lnTo>
                  <a:pt x="552" y="76"/>
                </a:lnTo>
                <a:lnTo>
                  <a:pt x="554" y="75"/>
                </a:lnTo>
                <a:lnTo>
                  <a:pt x="558" y="76"/>
                </a:lnTo>
                <a:lnTo>
                  <a:pt x="559" y="76"/>
                </a:lnTo>
                <a:lnTo>
                  <a:pt x="559" y="76"/>
                </a:lnTo>
                <a:lnTo>
                  <a:pt x="560" y="79"/>
                </a:lnTo>
                <a:lnTo>
                  <a:pt x="559" y="80"/>
                </a:lnTo>
                <a:lnTo>
                  <a:pt x="559" y="81"/>
                </a:lnTo>
                <a:lnTo>
                  <a:pt x="559" y="81"/>
                </a:lnTo>
                <a:lnTo>
                  <a:pt x="558" y="82"/>
                </a:lnTo>
                <a:lnTo>
                  <a:pt x="556" y="83"/>
                </a:lnTo>
                <a:lnTo>
                  <a:pt x="548" y="82"/>
                </a:lnTo>
                <a:lnTo>
                  <a:pt x="543" y="81"/>
                </a:lnTo>
                <a:lnTo>
                  <a:pt x="536" y="81"/>
                </a:lnTo>
                <a:lnTo>
                  <a:pt x="523" y="80"/>
                </a:lnTo>
                <a:lnTo>
                  <a:pt x="533" y="81"/>
                </a:lnTo>
                <a:lnTo>
                  <a:pt x="533" y="81"/>
                </a:lnTo>
                <a:lnTo>
                  <a:pt x="532" y="82"/>
                </a:lnTo>
                <a:lnTo>
                  <a:pt x="524" y="81"/>
                </a:lnTo>
                <a:lnTo>
                  <a:pt x="523" y="82"/>
                </a:lnTo>
                <a:lnTo>
                  <a:pt x="532" y="82"/>
                </a:lnTo>
                <a:lnTo>
                  <a:pt x="527" y="83"/>
                </a:lnTo>
                <a:lnTo>
                  <a:pt x="525" y="85"/>
                </a:lnTo>
                <a:lnTo>
                  <a:pt x="522" y="85"/>
                </a:lnTo>
                <a:lnTo>
                  <a:pt x="519" y="83"/>
                </a:lnTo>
                <a:lnTo>
                  <a:pt x="518" y="82"/>
                </a:lnTo>
                <a:lnTo>
                  <a:pt x="515" y="83"/>
                </a:lnTo>
                <a:lnTo>
                  <a:pt x="514" y="83"/>
                </a:lnTo>
                <a:lnTo>
                  <a:pt x="512" y="85"/>
                </a:lnTo>
                <a:lnTo>
                  <a:pt x="513" y="86"/>
                </a:lnTo>
                <a:lnTo>
                  <a:pt x="513" y="87"/>
                </a:lnTo>
                <a:lnTo>
                  <a:pt x="515" y="86"/>
                </a:lnTo>
                <a:lnTo>
                  <a:pt x="516" y="86"/>
                </a:lnTo>
                <a:lnTo>
                  <a:pt x="516" y="87"/>
                </a:lnTo>
                <a:lnTo>
                  <a:pt x="519" y="87"/>
                </a:lnTo>
                <a:lnTo>
                  <a:pt x="518" y="88"/>
                </a:lnTo>
                <a:lnTo>
                  <a:pt x="519" y="88"/>
                </a:lnTo>
                <a:lnTo>
                  <a:pt x="513" y="88"/>
                </a:lnTo>
                <a:lnTo>
                  <a:pt x="512" y="88"/>
                </a:lnTo>
                <a:lnTo>
                  <a:pt x="514" y="88"/>
                </a:lnTo>
                <a:lnTo>
                  <a:pt x="521" y="88"/>
                </a:lnTo>
                <a:lnTo>
                  <a:pt x="522" y="89"/>
                </a:lnTo>
                <a:lnTo>
                  <a:pt x="521" y="89"/>
                </a:lnTo>
                <a:lnTo>
                  <a:pt x="521" y="90"/>
                </a:lnTo>
                <a:lnTo>
                  <a:pt x="521" y="90"/>
                </a:lnTo>
                <a:lnTo>
                  <a:pt x="523" y="90"/>
                </a:lnTo>
                <a:lnTo>
                  <a:pt x="523" y="91"/>
                </a:lnTo>
                <a:lnTo>
                  <a:pt x="526" y="91"/>
                </a:lnTo>
                <a:lnTo>
                  <a:pt x="525" y="90"/>
                </a:lnTo>
                <a:lnTo>
                  <a:pt x="527" y="90"/>
                </a:lnTo>
                <a:lnTo>
                  <a:pt x="529" y="91"/>
                </a:lnTo>
                <a:lnTo>
                  <a:pt x="532" y="91"/>
                </a:lnTo>
                <a:lnTo>
                  <a:pt x="527" y="90"/>
                </a:lnTo>
                <a:lnTo>
                  <a:pt x="532" y="91"/>
                </a:lnTo>
                <a:lnTo>
                  <a:pt x="536" y="90"/>
                </a:lnTo>
                <a:lnTo>
                  <a:pt x="538" y="91"/>
                </a:lnTo>
                <a:lnTo>
                  <a:pt x="541" y="92"/>
                </a:lnTo>
                <a:lnTo>
                  <a:pt x="539" y="93"/>
                </a:lnTo>
                <a:lnTo>
                  <a:pt x="537" y="93"/>
                </a:lnTo>
                <a:lnTo>
                  <a:pt x="535" y="93"/>
                </a:lnTo>
                <a:lnTo>
                  <a:pt x="532" y="93"/>
                </a:lnTo>
                <a:lnTo>
                  <a:pt x="526" y="93"/>
                </a:lnTo>
                <a:lnTo>
                  <a:pt x="526" y="95"/>
                </a:lnTo>
                <a:lnTo>
                  <a:pt x="529" y="95"/>
                </a:lnTo>
                <a:lnTo>
                  <a:pt x="532" y="96"/>
                </a:lnTo>
                <a:lnTo>
                  <a:pt x="534" y="96"/>
                </a:lnTo>
                <a:lnTo>
                  <a:pt x="536" y="96"/>
                </a:lnTo>
                <a:lnTo>
                  <a:pt x="538" y="96"/>
                </a:lnTo>
                <a:lnTo>
                  <a:pt x="542" y="98"/>
                </a:lnTo>
                <a:lnTo>
                  <a:pt x="541" y="99"/>
                </a:lnTo>
                <a:lnTo>
                  <a:pt x="542" y="101"/>
                </a:lnTo>
                <a:lnTo>
                  <a:pt x="541" y="103"/>
                </a:lnTo>
                <a:lnTo>
                  <a:pt x="539" y="106"/>
                </a:lnTo>
                <a:lnTo>
                  <a:pt x="537" y="106"/>
                </a:lnTo>
                <a:lnTo>
                  <a:pt x="535" y="106"/>
                </a:lnTo>
                <a:lnTo>
                  <a:pt x="535" y="103"/>
                </a:lnTo>
                <a:lnTo>
                  <a:pt x="533" y="103"/>
                </a:lnTo>
                <a:lnTo>
                  <a:pt x="516" y="100"/>
                </a:lnTo>
                <a:lnTo>
                  <a:pt x="519" y="101"/>
                </a:lnTo>
                <a:lnTo>
                  <a:pt x="513" y="101"/>
                </a:lnTo>
                <a:lnTo>
                  <a:pt x="515" y="101"/>
                </a:lnTo>
                <a:lnTo>
                  <a:pt x="519" y="102"/>
                </a:lnTo>
                <a:lnTo>
                  <a:pt x="522" y="103"/>
                </a:lnTo>
                <a:lnTo>
                  <a:pt x="527" y="105"/>
                </a:lnTo>
                <a:lnTo>
                  <a:pt x="528" y="106"/>
                </a:lnTo>
                <a:lnTo>
                  <a:pt x="525" y="106"/>
                </a:lnTo>
                <a:lnTo>
                  <a:pt x="519" y="107"/>
                </a:lnTo>
                <a:lnTo>
                  <a:pt x="517" y="108"/>
                </a:lnTo>
                <a:lnTo>
                  <a:pt x="519" y="108"/>
                </a:lnTo>
                <a:lnTo>
                  <a:pt x="523" y="107"/>
                </a:lnTo>
                <a:lnTo>
                  <a:pt x="525" y="107"/>
                </a:lnTo>
                <a:lnTo>
                  <a:pt x="526" y="108"/>
                </a:lnTo>
                <a:lnTo>
                  <a:pt x="526" y="109"/>
                </a:lnTo>
                <a:lnTo>
                  <a:pt x="525" y="110"/>
                </a:lnTo>
                <a:lnTo>
                  <a:pt x="525" y="111"/>
                </a:lnTo>
                <a:lnTo>
                  <a:pt x="524" y="112"/>
                </a:lnTo>
                <a:lnTo>
                  <a:pt x="522" y="112"/>
                </a:lnTo>
                <a:lnTo>
                  <a:pt x="522" y="112"/>
                </a:lnTo>
                <a:lnTo>
                  <a:pt x="526" y="112"/>
                </a:lnTo>
                <a:lnTo>
                  <a:pt x="532" y="112"/>
                </a:lnTo>
                <a:lnTo>
                  <a:pt x="534" y="113"/>
                </a:lnTo>
                <a:lnTo>
                  <a:pt x="538" y="112"/>
                </a:lnTo>
                <a:lnTo>
                  <a:pt x="539" y="115"/>
                </a:lnTo>
                <a:lnTo>
                  <a:pt x="542" y="115"/>
                </a:lnTo>
                <a:lnTo>
                  <a:pt x="542" y="116"/>
                </a:lnTo>
                <a:lnTo>
                  <a:pt x="536" y="119"/>
                </a:lnTo>
                <a:lnTo>
                  <a:pt x="532" y="118"/>
                </a:lnTo>
                <a:lnTo>
                  <a:pt x="529" y="117"/>
                </a:lnTo>
                <a:lnTo>
                  <a:pt x="528" y="116"/>
                </a:lnTo>
                <a:lnTo>
                  <a:pt x="526" y="116"/>
                </a:lnTo>
                <a:lnTo>
                  <a:pt x="523" y="116"/>
                </a:lnTo>
                <a:lnTo>
                  <a:pt x="519" y="116"/>
                </a:lnTo>
                <a:lnTo>
                  <a:pt x="514" y="116"/>
                </a:lnTo>
                <a:lnTo>
                  <a:pt x="513" y="115"/>
                </a:lnTo>
                <a:lnTo>
                  <a:pt x="511" y="115"/>
                </a:lnTo>
                <a:lnTo>
                  <a:pt x="511" y="116"/>
                </a:lnTo>
                <a:lnTo>
                  <a:pt x="511" y="117"/>
                </a:lnTo>
                <a:lnTo>
                  <a:pt x="504" y="118"/>
                </a:lnTo>
                <a:lnTo>
                  <a:pt x="508" y="118"/>
                </a:lnTo>
                <a:lnTo>
                  <a:pt x="508" y="119"/>
                </a:lnTo>
                <a:lnTo>
                  <a:pt x="506" y="120"/>
                </a:lnTo>
                <a:lnTo>
                  <a:pt x="506" y="121"/>
                </a:lnTo>
                <a:lnTo>
                  <a:pt x="505" y="121"/>
                </a:lnTo>
                <a:lnTo>
                  <a:pt x="505" y="121"/>
                </a:lnTo>
                <a:lnTo>
                  <a:pt x="508" y="122"/>
                </a:lnTo>
                <a:lnTo>
                  <a:pt x="513" y="121"/>
                </a:lnTo>
                <a:lnTo>
                  <a:pt x="515" y="122"/>
                </a:lnTo>
                <a:lnTo>
                  <a:pt x="518" y="123"/>
                </a:lnTo>
                <a:lnTo>
                  <a:pt x="524" y="123"/>
                </a:lnTo>
                <a:lnTo>
                  <a:pt x="526" y="125"/>
                </a:lnTo>
                <a:lnTo>
                  <a:pt x="526" y="125"/>
                </a:lnTo>
                <a:lnTo>
                  <a:pt x="524" y="126"/>
                </a:lnTo>
                <a:lnTo>
                  <a:pt x="524" y="128"/>
                </a:lnTo>
                <a:lnTo>
                  <a:pt x="524" y="129"/>
                </a:lnTo>
                <a:lnTo>
                  <a:pt x="522" y="130"/>
                </a:lnTo>
                <a:lnTo>
                  <a:pt x="517" y="130"/>
                </a:lnTo>
                <a:lnTo>
                  <a:pt x="514" y="129"/>
                </a:lnTo>
                <a:lnTo>
                  <a:pt x="509" y="131"/>
                </a:lnTo>
                <a:lnTo>
                  <a:pt x="506" y="131"/>
                </a:lnTo>
                <a:lnTo>
                  <a:pt x="505" y="132"/>
                </a:lnTo>
                <a:lnTo>
                  <a:pt x="502" y="132"/>
                </a:lnTo>
                <a:lnTo>
                  <a:pt x="495" y="131"/>
                </a:lnTo>
                <a:lnTo>
                  <a:pt x="488" y="129"/>
                </a:lnTo>
                <a:lnTo>
                  <a:pt x="486" y="128"/>
                </a:lnTo>
                <a:lnTo>
                  <a:pt x="486" y="126"/>
                </a:lnTo>
                <a:lnTo>
                  <a:pt x="484" y="126"/>
                </a:lnTo>
                <a:lnTo>
                  <a:pt x="482" y="126"/>
                </a:lnTo>
                <a:lnTo>
                  <a:pt x="481" y="128"/>
                </a:lnTo>
                <a:lnTo>
                  <a:pt x="478" y="128"/>
                </a:lnTo>
                <a:lnTo>
                  <a:pt x="475" y="127"/>
                </a:lnTo>
                <a:lnTo>
                  <a:pt x="475" y="129"/>
                </a:lnTo>
                <a:lnTo>
                  <a:pt x="476" y="129"/>
                </a:lnTo>
                <a:lnTo>
                  <a:pt x="469" y="130"/>
                </a:lnTo>
                <a:lnTo>
                  <a:pt x="468" y="131"/>
                </a:lnTo>
                <a:lnTo>
                  <a:pt x="464" y="133"/>
                </a:lnTo>
                <a:lnTo>
                  <a:pt x="460" y="133"/>
                </a:lnTo>
                <a:lnTo>
                  <a:pt x="457" y="132"/>
                </a:lnTo>
                <a:lnTo>
                  <a:pt x="453" y="132"/>
                </a:lnTo>
                <a:lnTo>
                  <a:pt x="457" y="133"/>
                </a:lnTo>
                <a:lnTo>
                  <a:pt x="455" y="133"/>
                </a:lnTo>
                <a:lnTo>
                  <a:pt x="451" y="134"/>
                </a:lnTo>
                <a:lnTo>
                  <a:pt x="453" y="134"/>
                </a:lnTo>
                <a:lnTo>
                  <a:pt x="456" y="134"/>
                </a:lnTo>
                <a:lnTo>
                  <a:pt x="461" y="133"/>
                </a:lnTo>
                <a:lnTo>
                  <a:pt x="464" y="134"/>
                </a:lnTo>
                <a:lnTo>
                  <a:pt x="466" y="136"/>
                </a:lnTo>
                <a:lnTo>
                  <a:pt x="471" y="136"/>
                </a:lnTo>
                <a:lnTo>
                  <a:pt x="473" y="136"/>
                </a:lnTo>
                <a:lnTo>
                  <a:pt x="469" y="138"/>
                </a:lnTo>
                <a:lnTo>
                  <a:pt x="465" y="138"/>
                </a:lnTo>
                <a:lnTo>
                  <a:pt x="463" y="139"/>
                </a:lnTo>
                <a:lnTo>
                  <a:pt x="458" y="140"/>
                </a:lnTo>
                <a:lnTo>
                  <a:pt x="453" y="139"/>
                </a:lnTo>
                <a:lnTo>
                  <a:pt x="454" y="140"/>
                </a:lnTo>
                <a:lnTo>
                  <a:pt x="453" y="140"/>
                </a:lnTo>
                <a:lnTo>
                  <a:pt x="451" y="141"/>
                </a:lnTo>
                <a:lnTo>
                  <a:pt x="455" y="140"/>
                </a:lnTo>
                <a:lnTo>
                  <a:pt x="455" y="142"/>
                </a:lnTo>
                <a:lnTo>
                  <a:pt x="456" y="142"/>
                </a:lnTo>
                <a:lnTo>
                  <a:pt x="458" y="141"/>
                </a:lnTo>
                <a:lnTo>
                  <a:pt x="463" y="140"/>
                </a:lnTo>
                <a:lnTo>
                  <a:pt x="466" y="139"/>
                </a:lnTo>
                <a:lnTo>
                  <a:pt x="473" y="141"/>
                </a:lnTo>
                <a:lnTo>
                  <a:pt x="474" y="142"/>
                </a:lnTo>
                <a:lnTo>
                  <a:pt x="473" y="144"/>
                </a:lnTo>
                <a:lnTo>
                  <a:pt x="469" y="144"/>
                </a:lnTo>
                <a:lnTo>
                  <a:pt x="464" y="144"/>
                </a:lnTo>
                <a:lnTo>
                  <a:pt x="464" y="146"/>
                </a:lnTo>
                <a:lnTo>
                  <a:pt x="466" y="146"/>
                </a:lnTo>
                <a:lnTo>
                  <a:pt x="465" y="148"/>
                </a:lnTo>
                <a:lnTo>
                  <a:pt x="464" y="149"/>
                </a:lnTo>
                <a:lnTo>
                  <a:pt x="463" y="150"/>
                </a:lnTo>
                <a:lnTo>
                  <a:pt x="465" y="149"/>
                </a:lnTo>
                <a:lnTo>
                  <a:pt x="466" y="147"/>
                </a:lnTo>
                <a:lnTo>
                  <a:pt x="468" y="146"/>
                </a:lnTo>
                <a:lnTo>
                  <a:pt x="472" y="144"/>
                </a:lnTo>
                <a:lnTo>
                  <a:pt x="474" y="146"/>
                </a:lnTo>
                <a:lnTo>
                  <a:pt x="481" y="148"/>
                </a:lnTo>
                <a:lnTo>
                  <a:pt x="483" y="149"/>
                </a:lnTo>
                <a:lnTo>
                  <a:pt x="483" y="149"/>
                </a:lnTo>
                <a:lnTo>
                  <a:pt x="488" y="150"/>
                </a:lnTo>
                <a:lnTo>
                  <a:pt x="489" y="151"/>
                </a:lnTo>
                <a:lnTo>
                  <a:pt x="496" y="152"/>
                </a:lnTo>
                <a:lnTo>
                  <a:pt x="494" y="153"/>
                </a:lnTo>
                <a:lnTo>
                  <a:pt x="493" y="154"/>
                </a:lnTo>
                <a:lnTo>
                  <a:pt x="491" y="156"/>
                </a:lnTo>
                <a:lnTo>
                  <a:pt x="488" y="158"/>
                </a:lnTo>
                <a:lnTo>
                  <a:pt x="489" y="157"/>
                </a:lnTo>
                <a:lnTo>
                  <a:pt x="492" y="156"/>
                </a:lnTo>
                <a:lnTo>
                  <a:pt x="496" y="154"/>
                </a:lnTo>
                <a:lnTo>
                  <a:pt x="496" y="156"/>
                </a:lnTo>
                <a:lnTo>
                  <a:pt x="494" y="158"/>
                </a:lnTo>
                <a:lnTo>
                  <a:pt x="495" y="157"/>
                </a:lnTo>
                <a:lnTo>
                  <a:pt x="497" y="156"/>
                </a:lnTo>
                <a:lnTo>
                  <a:pt x="499" y="156"/>
                </a:lnTo>
                <a:lnTo>
                  <a:pt x="501" y="156"/>
                </a:lnTo>
                <a:lnTo>
                  <a:pt x="499" y="157"/>
                </a:lnTo>
                <a:lnTo>
                  <a:pt x="495" y="159"/>
                </a:lnTo>
                <a:lnTo>
                  <a:pt x="494" y="162"/>
                </a:lnTo>
                <a:lnTo>
                  <a:pt x="496" y="161"/>
                </a:lnTo>
                <a:lnTo>
                  <a:pt x="497" y="159"/>
                </a:lnTo>
                <a:lnTo>
                  <a:pt x="499" y="160"/>
                </a:lnTo>
                <a:lnTo>
                  <a:pt x="502" y="159"/>
                </a:lnTo>
                <a:lnTo>
                  <a:pt x="504" y="159"/>
                </a:lnTo>
                <a:lnTo>
                  <a:pt x="503" y="161"/>
                </a:lnTo>
                <a:lnTo>
                  <a:pt x="502" y="162"/>
                </a:lnTo>
                <a:lnTo>
                  <a:pt x="502" y="163"/>
                </a:lnTo>
                <a:lnTo>
                  <a:pt x="502" y="164"/>
                </a:lnTo>
                <a:lnTo>
                  <a:pt x="498" y="166"/>
                </a:lnTo>
                <a:lnTo>
                  <a:pt x="501" y="164"/>
                </a:lnTo>
                <a:lnTo>
                  <a:pt x="502" y="166"/>
                </a:lnTo>
                <a:lnTo>
                  <a:pt x="502" y="167"/>
                </a:lnTo>
                <a:lnTo>
                  <a:pt x="502" y="168"/>
                </a:lnTo>
                <a:lnTo>
                  <a:pt x="501" y="169"/>
                </a:lnTo>
                <a:lnTo>
                  <a:pt x="502" y="170"/>
                </a:lnTo>
                <a:lnTo>
                  <a:pt x="501" y="172"/>
                </a:lnTo>
                <a:lnTo>
                  <a:pt x="503" y="172"/>
                </a:lnTo>
                <a:lnTo>
                  <a:pt x="502" y="174"/>
                </a:lnTo>
                <a:lnTo>
                  <a:pt x="499" y="174"/>
                </a:lnTo>
                <a:lnTo>
                  <a:pt x="498" y="173"/>
                </a:lnTo>
                <a:lnTo>
                  <a:pt x="494" y="173"/>
                </a:lnTo>
                <a:lnTo>
                  <a:pt x="494" y="171"/>
                </a:lnTo>
                <a:lnTo>
                  <a:pt x="494" y="169"/>
                </a:lnTo>
                <a:lnTo>
                  <a:pt x="493" y="169"/>
                </a:lnTo>
                <a:lnTo>
                  <a:pt x="492" y="170"/>
                </a:lnTo>
                <a:lnTo>
                  <a:pt x="491" y="174"/>
                </a:lnTo>
                <a:lnTo>
                  <a:pt x="486" y="174"/>
                </a:lnTo>
                <a:lnTo>
                  <a:pt x="482" y="173"/>
                </a:lnTo>
                <a:lnTo>
                  <a:pt x="477" y="172"/>
                </a:lnTo>
                <a:lnTo>
                  <a:pt x="475" y="170"/>
                </a:lnTo>
                <a:lnTo>
                  <a:pt x="474" y="167"/>
                </a:lnTo>
                <a:lnTo>
                  <a:pt x="474" y="164"/>
                </a:lnTo>
                <a:lnTo>
                  <a:pt x="472" y="163"/>
                </a:lnTo>
                <a:lnTo>
                  <a:pt x="471" y="161"/>
                </a:lnTo>
                <a:lnTo>
                  <a:pt x="469" y="161"/>
                </a:lnTo>
                <a:lnTo>
                  <a:pt x="465" y="161"/>
                </a:lnTo>
                <a:lnTo>
                  <a:pt x="463" y="159"/>
                </a:lnTo>
                <a:lnTo>
                  <a:pt x="458" y="158"/>
                </a:lnTo>
                <a:lnTo>
                  <a:pt x="455" y="158"/>
                </a:lnTo>
                <a:lnTo>
                  <a:pt x="452" y="157"/>
                </a:lnTo>
                <a:lnTo>
                  <a:pt x="450" y="158"/>
                </a:lnTo>
                <a:lnTo>
                  <a:pt x="446" y="158"/>
                </a:lnTo>
                <a:lnTo>
                  <a:pt x="443" y="156"/>
                </a:lnTo>
                <a:lnTo>
                  <a:pt x="438" y="153"/>
                </a:lnTo>
                <a:lnTo>
                  <a:pt x="438" y="156"/>
                </a:lnTo>
                <a:lnTo>
                  <a:pt x="440" y="157"/>
                </a:lnTo>
                <a:lnTo>
                  <a:pt x="436" y="157"/>
                </a:lnTo>
                <a:lnTo>
                  <a:pt x="440" y="157"/>
                </a:lnTo>
                <a:lnTo>
                  <a:pt x="442" y="158"/>
                </a:lnTo>
                <a:lnTo>
                  <a:pt x="441" y="159"/>
                </a:lnTo>
                <a:lnTo>
                  <a:pt x="445" y="158"/>
                </a:lnTo>
                <a:lnTo>
                  <a:pt x="448" y="159"/>
                </a:lnTo>
                <a:lnTo>
                  <a:pt x="452" y="159"/>
                </a:lnTo>
                <a:lnTo>
                  <a:pt x="457" y="159"/>
                </a:lnTo>
                <a:lnTo>
                  <a:pt x="460" y="160"/>
                </a:lnTo>
                <a:lnTo>
                  <a:pt x="460" y="162"/>
                </a:lnTo>
                <a:lnTo>
                  <a:pt x="456" y="162"/>
                </a:lnTo>
                <a:lnTo>
                  <a:pt x="457" y="163"/>
                </a:lnTo>
                <a:lnTo>
                  <a:pt x="454" y="164"/>
                </a:lnTo>
                <a:lnTo>
                  <a:pt x="446" y="167"/>
                </a:lnTo>
                <a:lnTo>
                  <a:pt x="437" y="167"/>
                </a:lnTo>
                <a:lnTo>
                  <a:pt x="435" y="166"/>
                </a:lnTo>
                <a:lnTo>
                  <a:pt x="434" y="167"/>
                </a:lnTo>
                <a:lnTo>
                  <a:pt x="432" y="167"/>
                </a:lnTo>
                <a:lnTo>
                  <a:pt x="428" y="167"/>
                </a:lnTo>
                <a:lnTo>
                  <a:pt x="427" y="168"/>
                </a:lnTo>
                <a:lnTo>
                  <a:pt x="430" y="169"/>
                </a:lnTo>
                <a:lnTo>
                  <a:pt x="427" y="171"/>
                </a:lnTo>
                <a:lnTo>
                  <a:pt x="425" y="172"/>
                </a:lnTo>
                <a:lnTo>
                  <a:pt x="418" y="174"/>
                </a:lnTo>
                <a:lnTo>
                  <a:pt x="422" y="174"/>
                </a:lnTo>
                <a:lnTo>
                  <a:pt x="424" y="176"/>
                </a:lnTo>
                <a:lnTo>
                  <a:pt x="430" y="176"/>
                </a:lnTo>
                <a:lnTo>
                  <a:pt x="441" y="174"/>
                </a:lnTo>
                <a:lnTo>
                  <a:pt x="444" y="174"/>
                </a:lnTo>
                <a:lnTo>
                  <a:pt x="445" y="176"/>
                </a:lnTo>
                <a:lnTo>
                  <a:pt x="443" y="177"/>
                </a:lnTo>
                <a:lnTo>
                  <a:pt x="438" y="177"/>
                </a:lnTo>
                <a:lnTo>
                  <a:pt x="432" y="179"/>
                </a:lnTo>
                <a:lnTo>
                  <a:pt x="428" y="180"/>
                </a:lnTo>
                <a:lnTo>
                  <a:pt x="425" y="179"/>
                </a:lnTo>
                <a:lnTo>
                  <a:pt x="421" y="180"/>
                </a:lnTo>
                <a:lnTo>
                  <a:pt x="427" y="181"/>
                </a:lnTo>
                <a:lnTo>
                  <a:pt x="435" y="181"/>
                </a:lnTo>
                <a:lnTo>
                  <a:pt x="437" y="179"/>
                </a:lnTo>
                <a:lnTo>
                  <a:pt x="443" y="178"/>
                </a:lnTo>
                <a:lnTo>
                  <a:pt x="446" y="178"/>
                </a:lnTo>
                <a:lnTo>
                  <a:pt x="450" y="177"/>
                </a:lnTo>
                <a:lnTo>
                  <a:pt x="458" y="176"/>
                </a:lnTo>
                <a:lnTo>
                  <a:pt x="460" y="177"/>
                </a:lnTo>
                <a:lnTo>
                  <a:pt x="462" y="176"/>
                </a:lnTo>
                <a:lnTo>
                  <a:pt x="464" y="176"/>
                </a:lnTo>
                <a:lnTo>
                  <a:pt x="463" y="177"/>
                </a:lnTo>
                <a:lnTo>
                  <a:pt x="465" y="177"/>
                </a:lnTo>
                <a:lnTo>
                  <a:pt x="476" y="179"/>
                </a:lnTo>
                <a:lnTo>
                  <a:pt x="487" y="180"/>
                </a:lnTo>
                <a:lnTo>
                  <a:pt x="491" y="180"/>
                </a:lnTo>
                <a:lnTo>
                  <a:pt x="496" y="179"/>
                </a:lnTo>
                <a:lnTo>
                  <a:pt x="496" y="179"/>
                </a:lnTo>
                <a:lnTo>
                  <a:pt x="495" y="180"/>
                </a:lnTo>
                <a:lnTo>
                  <a:pt x="492" y="182"/>
                </a:lnTo>
                <a:lnTo>
                  <a:pt x="491" y="181"/>
                </a:lnTo>
                <a:lnTo>
                  <a:pt x="489" y="182"/>
                </a:lnTo>
                <a:lnTo>
                  <a:pt x="488" y="182"/>
                </a:lnTo>
                <a:lnTo>
                  <a:pt x="486" y="181"/>
                </a:lnTo>
                <a:lnTo>
                  <a:pt x="485" y="182"/>
                </a:lnTo>
                <a:lnTo>
                  <a:pt x="484" y="182"/>
                </a:lnTo>
                <a:lnTo>
                  <a:pt x="483" y="183"/>
                </a:lnTo>
                <a:lnTo>
                  <a:pt x="482" y="183"/>
                </a:lnTo>
                <a:lnTo>
                  <a:pt x="483" y="183"/>
                </a:lnTo>
                <a:lnTo>
                  <a:pt x="484" y="183"/>
                </a:lnTo>
                <a:lnTo>
                  <a:pt x="485" y="184"/>
                </a:lnTo>
                <a:lnTo>
                  <a:pt x="481" y="183"/>
                </a:lnTo>
                <a:lnTo>
                  <a:pt x="481" y="184"/>
                </a:lnTo>
                <a:lnTo>
                  <a:pt x="476" y="184"/>
                </a:lnTo>
                <a:lnTo>
                  <a:pt x="474" y="186"/>
                </a:lnTo>
                <a:lnTo>
                  <a:pt x="476" y="187"/>
                </a:lnTo>
                <a:lnTo>
                  <a:pt x="475" y="187"/>
                </a:lnTo>
                <a:lnTo>
                  <a:pt x="476" y="187"/>
                </a:lnTo>
                <a:lnTo>
                  <a:pt x="475" y="188"/>
                </a:lnTo>
                <a:lnTo>
                  <a:pt x="473" y="188"/>
                </a:lnTo>
                <a:lnTo>
                  <a:pt x="472" y="187"/>
                </a:lnTo>
                <a:lnTo>
                  <a:pt x="471" y="188"/>
                </a:lnTo>
                <a:lnTo>
                  <a:pt x="469" y="188"/>
                </a:lnTo>
                <a:lnTo>
                  <a:pt x="467" y="188"/>
                </a:lnTo>
                <a:lnTo>
                  <a:pt x="469" y="188"/>
                </a:lnTo>
                <a:lnTo>
                  <a:pt x="471" y="189"/>
                </a:lnTo>
                <a:lnTo>
                  <a:pt x="468" y="189"/>
                </a:lnTo>
                <a:lnTo>
                  <a:pt x="469" y="190"/>
                </a:lnTo>
                <a:lnTo>
                  <a:pt x="467" y="189"/>
                </a:lnTo>
                <a:lnTo>
                  <a:pt x="467" y="190"/>
                </a:lnTo>
                <a:lnTo>
                  <a:pt x="464" y="190"/>
                </a:lnTo>
                <a:lnTo>
                  <a:pt x="464" y="191"/>
                </a:lnTo>
                <a:lnTo>
                  <a:pt x="462" y="192"/>
                </a:lnTo>
                <a:lnTo>
                  <a:pt x="461" y="192"/>
                </a:lnTo>
                <a:lnTo>
                  <a:pt x="462" y="192"/>
                </a:lnTo>
                <a:lnTo>
                  <a:pt x="462" y="193"/>
                </a:lnTo>
                <a:lnTo>
                  <a:pt x="460" y="192"/>
                </a:lnTo>
                <a:lnTo>
                  <a:pt x="458" y="192"/>
                </a:lnTo>
                <a:lnTo>
                  <a:pt x="455" y="193"/>
                </a:lnTo>
                <a:lnTo>
                  <a:pt x="458" y="193"/>
                </a:lnTo>
                <a:lnTo>
                  <a:pt x="458" y="193"/>
                </a:lnTo>
                <a:lnTo>
                  <a:pt x="458" y="194"/>
                </a:lnTo>
                <a:lnTo>
                  <a:pt x="458" y="194"/>
                </a:lnTo>
                <a:lnTo>
                  <a:pt x="456" y="194"/>
                </a:lnTo>
                <a:lnTo>
                  <a:pt x="455" y="194"/>
                </a:lnTo>
                <a:lnTo>
                  <a:pt x="455" y="196"/>
                </a:lnTo>
                <a:lnTo>
                  <a:pt x="452" y="194"/>
                </a:lnTo>
                <a:lnTo>
                  <a:pt x="451" y="196"/>
                </a:lnTo>
                <a:lnTo>
                  <a:pt x="452" y="197"/>
                </a:lnTo>
                <a:lnTo>
                  <a:pt x="453" y="197"/>
                </a:lnTo>
                <a:lnTo>
                  <a:pt x="451" y="197"/>
                </a:lnTo>
                <a:lnTo>
                  <a:pt x="450" y="198"/>
                </a:lnTo>
                <a:lnTo>
                  <a:pt x="448" y="198"/>
                </a:lnTo>
                <a:lnTo>
                  <a:pt x="447" y="199"/>
                </a:lnTo>
                <a:lnTo>
                  <a:pt x="447" y="199"/>
                </a:lnTo>
                <a:lnTo>
                  <a:pt x="443" y="200"/>
                </a:lnTo>
                <a:lnTo>
                  <a:pt x="442" y="201"/>
                </a:lnTo>
                <a:lnTo>
                  <a:pt x="442" y="201"/>
                </a:lnTo>
                <a:lnTo>
                  <a:pt x="440" y="201"/>
                </a:lnTo>
                <a:lnTo>
                  <a:pt x="438" y="201"/>
                </a:lnTo>
                <a:lnTo>
                  <a:pt x="437" y="201"/>
                </a:lnTo>
                <a:lnTo>
                  <a:pt x="435" y="201"/>
                </a:lnTo>
                <a:lnTo>
                  <a:pt x="434" y="201"/>
                </a:lnTo>
                <a:lnTo>
                  <a:pt x="434" y="203"/>
                </a:lnTo>
                <a:lnTo>
                  <a:pt x="433" y="202"/>
                </a:lnTo>
                <a:lnTo>
                  <a:pt x="431" y="202"/>
                </a:lnTo>
                <a:lnTo>
                  <a:pt x="431" y="203"/>
                </a:lnTo>
                <a:lnTo>
                  <a:pt x="430" y="203"/>
                </a:lnTo>
                <a:lnTo>
                  <a:pt x="428" y="203"/>
                </a:lnTo>
                <a:lnTo>
                  <a:pt x="427" y="203"/>
                </a:lnTo>
                <a:lnTo>
                  <a:pt x="426" y="203"/>
                </a:lnTo>
                <a:lnTo>
                  <a:pt x="425" y="203"/>
                </a:lnTo>
                <a:lnTo>
                  <a:pt x="425" y="204"/>
                </a:lnTo>
                <a:lnTo>
                  <a:pt x="424" y="204"/>
                </a:lnTo>
                <a:lnTo>
                  <a:pt x="423" y="203"/>
                </a:lnTo>
                <a:lnTo>
                  <a:pt x="422" y="203"/>
                </a:lnTo>
                <a:lnTo>
                  <a:pt x="421" y="204"/>
                </a:lnTo>
                <a:lnTo>
                  <a:pt x="420" y="204"/>
                </a:lnTo>
                <a:lnTo>
                  <a:pt x="417" y="204"/>
                </a:lnTo>
                <a:lnTo>
                  <a:pt x="417" y="206"/>
                </a:lnTo>
                <a:lnTo>
                  <a:pt x="416" y="204"/>
                </a:lnTo>
                <a:lnTo>
                  <a:pt x="413" y="206"/>
                </a:lnTo>
                <a:lnTo>
                  <a:pt x="407" y="206"/>
                </a:lnTo>
                <a:lnTo>
                  <a:pt x="407" y="208"/>
                </a:lnTo>
                <a:lnTo>
                  <a:pt x="405" y="207"/>
                </a:lnTo>
                <a:lnTo>
                  <a:pt x="404" y="208"/>
                </a:lnTo>
                <a:lnTo>
                  <a:pt x="404" y="208"/>
                </a:lnTo>
                <a:lnTo>
                  <a:pt x="403" y="208"/>
                </a:lnTo>
                <a:lnTo>
                  <a:pt x="401" y="207"/>
                </a:lnTo>
                <a:lnTo>
                  <a:pt x="400" y="206"/>
                </a:lnTo>
                <a:lnTo>
                  <a:pt x="400" y="206"/>
                </a:lnTo>
                <a:lnTo>
                  <a:pt x="397" y="206"/>
                </a:lnTo>
                <a:lnTo>
                  <a:pt x="397" y="207"/>
                </a:lnTo>
                <a:lnTo>
                  <a:pt x="397" y="208"/>
                </a:lnTo>
                <a:lnTo>
                  <a:pt x="395" y="208"/>
                </a:lnTo>
                <a:lnTo>
                  <a:pt x="394" y="208"/>
                </a:lnTo>
                <a:lnTo>
                  <a:pt x="396" y="209"/>
                </a:lnTo>
                <a:lnTo>
                  <a:pt x="394" y="210"/>
                </a:lnTo>
                <a:lnTo>
                  <a:pt x="393" y="209"/>
                </a:lnTo>
                <a:lnTo>
                  <a:pt x="393" y="208"/>
                </a:lnTo>
                <a:lnTo>
                  <a:pt x="390" y="208"/>
                </a:lnTo>
                <a:lnTo>
                  <a:pt x="388" y="208"/>
                </a:lnTo>
                <a:lnTo>
                  <a:pt x="388" y="209"/>
                </a:lnTo>
                <a:lnTo>
                  <a:pt x="391" y="210"/>
                </a:lnTo>
                <a:lnTo>
                  <a:pt x="391" y="211"/>
                </a:lnTo>
                <a:lnTo>
                  <a:pt x="388" y="211"/>
                </a:lnTo>
                <a:lnTo>
                  <a:pt x="385" y="209"/>
                </a:lnTo>
                <a:lnTo>
                  <a:pt x="385" y="209"/>
                </a:lnTo>
                <a:lnTo>
                  <a:pt x="384" y="209"/>
                </a:lnTo>
                <a:lnTo>
                  <a:pt x="384" y="210"/>
                </a:lnTo>
                <a:lnTo>
                  <a:pt x="383" y="210"/>
                </a:lnTo>
                <a:lnTo>
                  <a:pt x="384" y="211"/>
                </a:lnTo>
                <a:lnTo>
                  <a:pt x="382" y="210"/>
                </a:lnTo>
                <a:lnTo>
                  <a:pt x="380" y="210"/>
                </a:lnTo>
                <a:lnTo>
                  <a:pt x="377" y="211"/>
                </a:lnTo>
                <a:lnTo>
                  <a:pt x="377" y="210"/>
                </a:lnTo>
                <a:lnTo>
                  <a:pt x="375" y="210"/>
                </a:lnTo>
                <a:lnTo>
                  <a:pt x="375" y="209"/>
                </a:lnTo>
                <a:lnTo>
                  <a:pt x="376" y="209"/>
                </a:lnTo>
                <a:lnTo>
                  <a:pt x="377" y="208"/>
                </a:lnTo>
                <a:lnTo>
                  <a:pt x="373" y="208"/>
                </a:lnTo>
                <a:lnTo>
                  <a:pt x="373" y="207"/>
                </a:lnTo>
                <a:lnTo>
                  <a:pt x="373" y="206"/>
                </a:lnTo>
                <a:lnTo>
                  <a:pt x="373" y="204"/>
                </a:lnTo>
                <a:lnTo>
                  <a:pt x="372" y="204"/>
                </a:lnTo>
                <a:lnTo>
                  <a:pt x="371" y="206"/>
                </a:lnTo>
                <a:lnTo>
                  <a:pt x="371" y="204"/>
                </a:lnTo>
                <a:lnTo>
                  <a:pt x="371" y="203"/>
                </a:lnTo>
                <a:lnTo>
                  <a:pt x="369" y="202"/>
                </a:lnTo>
                <a:lnTo>
                  <a:pt x="369" y="203"/>
                </a:lnTo>
                <a:lnTo>
                  <a:pt x="366" y="203"/>
                </a:lnTo>
                <a:lnTo>
                  <a:pt x="366" y="204"/>
                </a:lnTo>
                <a:lnTo>
                  <a:pt x="369" y="206"/>
                </a:lnTo>
                <a:lnTo>
                  <a:pt x="370" y="208"/>
                </a:lnTo>
                <a:lnTo>
                  <a:pt x="369" y="209"/>
                </a:lnTo>
                <a:lnTo>
                  <a:pt x="372" y="210"/>
                </a:lnTo>
                <a:lnTo>
                  <a:pt x="373" y="211"/>
                </a:lnTo>
                <a:lnTo>
                  <a:pt x="371" y="211"/>
                </a:lnTo>
                <a:lnTo>
                  <a:pt x="371" y="212"/>
                </a:lnTo>
                <a:lnTo>
                  <a:pt x="370" y="213"/>
                </a:lnTo>
                <a:lnTo>
                  <a:pt x="370" y="213"/>
                </a:lnTo>
                <a:lnTo>
                  <a:pt x="369" y="213"/>
                </a:lnTo>
                <a:lnTo>
                  <a:pt x="367" y="214"/>
                </a:lnTo>
                <a:lnTo>
                  <a:pt x="366" y="213"/>
                </a:lnTo>
                <a:lnTo>
                  <a:pt x="365" y="214"/>
                </a:lnTo>
                <a:lnTo>
                  <a:pt x="365" y="214"/>
                </a:lnTo>
                <a:lnTo>
                  <a:pt x="362" y="216"/>
                </a:lnTo>
                <a:lnTo>
                  <a:pt x="359" y="217"/>
                </a:lnTo>
                <a:lnTo>
                  <a:pt x="356" y="217"/>
                </a:lnTo>
                <a:lnTo>
                  <a:pt x="357" y="218"/>
                </a:lnTo>
                <a:lnTo>
                  <a:pt x="356" y="219"/>
                </a:lnTo>
                <a:lnTo>
                  <a:pt x="355" y="219"/>
                </a:lnTo>
                <a:lnTo>
                  <a:pt x="353" y="221"/>
                </a:lnTo>
                <a:lnTo>
                  <a:pt x="353" y="221"/>
                </a:lnTo>
                <a:lnTo>
                  <a:pt x="351" y="221"/>
                </a:lnTo>
                <a:lnTo>
                  <a:pt x="352" y="222"/>
                </a:lnTo>
                <a:lnTo>
                  <a:pt x="352" y="223"/>
                </a:lnTo>
                <a:lnTo>
                  <a:pt x="352" y="223"/>
                </a:lnTo>
                <a:lnTo>
                  <a:pt x="350" y="227"/>
                </a:lnTo>
                <a:lnTo>
                  <a:pt x="347" y="228"/>
                </a:lnTo>
                <a:lnTo>
                  <a:pt x="346" y="228"/>
                </a:lnTo>
                <a:lnTo>
                  <a:pt x="344" y="229"/>
                </a:lnTo>
                <a:lnTo>
                  <a:pt x="344" y="229"/>
                </a:lnTo>
                <a:lnTo>
                  <a:pt x="345" y="230"/>
                </a:lnTo>
                <a:lnTo>
                  <a:pt x="343" y="230"/>
                </a:lnTo>
                <a:lnTo>
                  <a:pt x="343" y="231"/>
                </a:lnTo>
                <a:lnTo>
                  <a:pt x="342" y="230"/>
                </a:lnTo>
                <a:lnTo>
                  <a:pt x="342" y="231"/>
                </a:lnTo>
                <a:lnTo>
                  <a:pt x="341" y="232"/>
                </a:lnTo>
                <a:lnTo>
                  <a:pt x="341" y="233"/>
                </a:lnTo>
                <a:lnTo>
                  <a:pt x="341" y="232"/>
                </a:lnTo>
                <a:lnTo>
                  <a:pt x="339" y="233"/>
                </a:lnTo>
                <a:lnTo>
                  <a:pt x="339" y="231"/>
                </a:lnTo>
                <a:lnTo>
                  <a:pt x="337" y="233"/>
                </a:lnTo>
                <a:lnTo>
                  <a:pt x="336" y="234"/>
                </a:lnTo>
                <a:lnTo>
                  <a:pt x="335" y="236"/>
                </a:lnTo>
                <a:lnTo>
                  <a:pt x="334" y="237"/>
                </a:lnTo>
                <a:lnTo>
                  <a:pt x="333" y="238"/>
                </a:lnTo>
                <a:lnTo>
                  <a:pt x="332" y="238"/>
                </a:lnTo>
                <a:lnTo>
                  <a:pt x="331" y="238"/>
                </a:lnTo>
                <a:lnTo>
                  <a:pt x="330" y="238"/>
                </a:lnTo>
                <a:lnTo>
                  <a:pt x="330" y="236"/>
                </a:lnTo>
                <a:lnTo>
                  <a:pt x="327" y="238"/>
                </a:lnTo>
                <a:lnTo>
                  <a:pt x="329" y="239"/>
                </a:lnTo>
                <a:lnTo>
                  <a:pt x="326" y="239"/>
                </a:lnTo>
                <a:lnTo>
                  <a:pt x="322" y="238"/>
                </a:lnTo>
                <a:lnTo>
                  <a:pt x="321" y="237"/>
                </a:lnTo>
                <a:lnTo>
                  <a:pt x="320" y="238"/>
                </a:lnTo>
                <a:lnTo>
                  <a:pt x="320" y="238"/>
                </a:lnTo>
                <a:lnTo>
                  <a:pt x="322" y="240"/>
                </a:lnTo>
                <a:lnTo>
                  <a:pt x="320" y="241"/>
                </a:lnTo>
                <a:lnTo>
                  <a:pt x="320" y="242"/>
                </a:lnTo>
                <a:lnTo>
                  <a:pt x="317" y="241"/>
                </a:lnTo>
                <a:lnTo>
                  <a:pt x="316" y="243"/>
                </a:lnTo>
                <a:lnTo>
                  <a:pt x="315" y="244"/>
                </a:lnTo>
                <a:lnTo>
                  <a:pt x="314" y="243"/>
                </a:lnTo>
                <a:lnTo>
                  <a:pt x="313" y="244"/>
                </a:lnTo>
                <a:lnTo>
                  <a:pt x="312" y="243"/>
                </a:lnTo>
                <a:lnTo>
                  <a:pt x="311" y="244"/>
                </a:lnTo>
                <a:lnTo>
                  <a:pt x="312" y="242"/>
                </a:lnTo>
                <a:lnTo>
                  <a:pt x="311" y="242"/>
                </a:lnTo>
                <a:lnTo>
                  <a:pt x="310" y="243"/>
                </a:lnTo>
                <a:lnTo>
                  <a:pt x="307" y="245"/>
                </a:lnTo>
                <a:lnTo>
                  <a:pt x="307" y="244"/>
                </a:lnTo>
                <a:lnTo>
                  <a:pt x="304" y="244"/>
                </a:lnTo>
                <a:lnTo>
                  <a:pt x="304" y="242"/>
                </a:lnTo>
                <a:lnTo>
                  <a:pt x="302" y="241"/>
                </a:lnTo>
                <a:lnTo>
                  <a:pt x="302" y="243"/>
                </a:lnTo>
                <a:lnTo>
                  <a:pt x="301" y="244"/>
                </a:lnTo>
                <a:lnTo>
                  <a:pt x="300" y="244"/>
                </a:lnTo>
                <a:lnTo>
                  <a:pt x="301" y="245"/>
                </a:lnTo>
                <a:lnTo>
                  <a:pt x="300" y="245"/>
                </a:lnTo>
                <a:lnTo>
                  <a:pt x="299" y="244"/>
                </a:lnTo>
                <a:lnTo>
                  <a:pt x="296" y="244"/>
                </a:lnTo>
                <a:lnTo>
                  <a:pt x="295" y="244"/>
                </a:lnTo>
                <a:lnTo>
                  <a:pt x="295" y="244"/>
                </a:lnTo>
                <a:lnTo>
                  <a:pt x="295" y="243"/>
                </a:lnTo>
                <a:lnTo>
                  <a:pt x="294" y="243"/>
                </a:lnTo>
                <a:lnTo>
                  <a:pt x="298" y="242"/>
                </a:lnTo>
                <a:lnTo>
                  <a:pt x="298" y="240"/>
                </a:lnTo>
                <a:lnTo>
                  <a:pt x="304" y="238"/>
                </a:lnTo>
                <a:lnTo>
                  <a:pt x="301" y="238"/>
                </a:lnTo>
                <a:lnTo>
                  <a:pt x="300" y="238"/>
                </a:lnTo>
                <a:lnTo>
                  <a:pt x="299" y="238"/>
                </a:lnTo>
                <a:lnTo>
                  <a:pt x="296" y="237"/>
                </a:lnTo>
                <a:lnTo>
                  <a:pt x="295" y="238"/>
                </a:lnTo>
                <a:lnTo>
                  <a:pt x="293" y="238"/>
                </a:lnTo>
                <a:lnTo>
                  <a:pt x="293" y="238"/>
                </a:lnTo>
                <a:lnTo>
                  <a:pt x="295" y="239"/>
                </a:lnTo>
                <a:lnTo>
                  <a:pt x="294" y="239"/>
                </a:lnTo>
                <a:lnTo>
                  <a:pt x="293" y="240"/>
                </a:lnTo>
                <a:lnTo>
                  <a:pt x="293" y="241"/>
                </a:lnTo>
                <a:lnTo>
                  <a:pt x="291" y="241"/>
                </a:lnTo>
                <a:lnTo>
                  <a:pt x="292" y="242"/>
                </a:lnTo>
                <a:lnTo>
                  <a:pt x="291" y="244"/>
                </a:lnTo>
                <a:lnTo>
                  <a:pt x="290" y="244"/>
                </a:lnTo>
                <a:lnTo>
                  <a:pt x="290" y="243"/>
                </a:lnTo>
                <a:lnTo>
                  <a:pt x="289" y="244"/>
                </a:lnTo>
                <a:lnTo>
                  <a:pt x="286" y="243"/>
                </a:lnTo>
                <a:lnTo>
                  <a:pt x="286" y="244"/>
                </a:lnTo>
                <a:lnTo>
                  <a:pt x="288" y="245"/>
                </a:lnTo>
                <a:lnTo>
                  <a:pt x="289" y="245"/>
                </a:lnTo>
                <a:lnTo>
                  <a:pt x="289" y="247"/>
                </a:lnTo>
                <a:lnTo>
                  <a:pt x="289" y="247"/>
                </a:lnTo>
                <a:lnTo>
                  <a:pt x="289" y="248"/>
                </a:lnTo>
                <a:lnTo>
                  <a:pt x="288" y="248"/>
                </a:lnTo>
                <a:lnTo>
                  <a:pt x="286" y="249"/>
                </a:lnTo>
                <a:lnTo>
                  <a:pt x="284" y="248"/>
                </a:lnTo>
                <a:lnTo>
                  <a:pt x="281" y="248"/>
                </a:lnTo>
                <a:lnTo>
                  <a:pt x="282" y="249"/>
                </a:lnTo>
                <a:lnTo>
                  <a:pt x="279" y="250"/>
                </a:lnTo>
                <a:lnTo>
                  <a:pt x="276" y="250"/>
                </a:lnTo>
                <a:lnTo>
                  <a:pt x="276" y="249"/>
                </a:lnTo>
                <a:lnTo>
                  <a:pt x="274" y="248"/>
                </a:lnTo>
                <a:lnTo>
                  <a:pt x="273" y="250"/>
                </a:lnTo>
                <a:lnTo>
                  <a:pt x="271" y="250"/>
                </a:lnTo>
                <a:lnTo>
                  <a:pt x="271" y="249"/>
                </a:lnTo>
                <a:lnTo>
                  <a:pt x="270" y="249"/>
                </a:lnTo>
                <a:lnTo>
                  <a:pt x="268" y="251"/>
                </a:lnTo>
                <a:lnTo>
                  <a:pt x="265" y="250"/>
                </a:lnTo>
                <a:lnTo>
                  <a:pt x="264" y="251"/>
                </a:lnTo>
                <a:lnTo>
                  <a:pt x="263" y="251"/>
                </a:lnTo>
                <a:lnTo>
                  <a:pt x="265" y="252"/>
                </a:lnTo>
                <a:lnTo>
                  <a:pt x="266" y="253"/>
                </a:lnTo>
                <a:lnTo>
                  <a:pt x="265" y="253"/>
                </a:lnTo>
                <a:lnTo>
                  <a:pt x="266" y="254"/>
                </a:lnTo>
                <a:lnTo>
                  <a:pt x="263" y="257"/>
                </a:lnTo>
                <a:lnTo>
                  <a:pt x="262" y="258"/>
                </a:lnTo>
                <a:lnTo>
                  <a:pt x="261" y="259"/>
                </a:lnTo>
                <a:lnTo>
                  <a:pt x="260" y="258"/>
                </a:lnTo>
                <a:lnTo>
                  <a:pt x="259" y="258"/>
                </a:lnTo>
                <a:lnTo>
                  <a:pt x="258" y="258"/>
                </a:lnTo>
                <a:lnTo>
                  <a:pt x="255" y="257"/>
                </a:lnTo>
                <a:lnTo>
                  <a:pt x="255" y="259"/>
                </a:lnTo>
                <a:lnTo>
                  <a:pt x="253" y="258"/>
                </a:lnTo>
                <a:lnTo>
                  <a:pt x="251" y="258"/>
                </a:lnTo>
                <a:lnTo>
                  <a:pt x="250" y="258"/>
                </a:lnTo>
                <a:lnTo>
                  <a:pt x="246" y="260"/>
                </a:lnTo>
                <a:lnTo>
                  <a:pt x="250" y="260"/>
                </a:lnTo>
                <a:lnTo>
                  <a:pt x="249" y="261"/>
                </a:lnTo>
                <a:lnTo>
                  <a:pt x="251" y="262"/>
                </a:lnTo>
                <a:lnTo>
                  <a:pt x="251" y="263"/>
                </a:lnTo>
                <a:lnTo>
                  <a:pt x="253" y="264"/>
                </a:lnTo>
                <a:lnTo>
                  <a:pt x="252" y="268"/>
                </a:lnTo>
                <a:lnTo>
                  <a:pt x="254" y="268"/>
                </a:lnTo>
                <a:lnTo>
                  <a:pt x="255" y="269"/>
                </a:lnTo>
                <a:lnTo>
                  <a:pt x="255" y="269"/>
                </a:lnTo>
                <a:lnTo>
                  <a:pt x="253" y="269"/>
                </a:lnTo>
                <a:lnTo>
                  <a:pt x="249" y="269"/>
                </a:lnTo>
                <a:lnTo>
                  <a:pt x="243" y="270"/>
                </a:lnTo>
                <a:lnTo>
                  <a:pt x="241" y="270"/>
                </a:lnTo>
                <a:lnTo>
                  <a:pt x="241" y="272"/>
                </a:lnTo>
                <a:lnTo>
                  <a:pt x="250" y="272"/>
                </a:lnTo>
                <a:lnTo>
                  <a:pt x="251" y="273"/>
                </a:lnTo>
                <a:lnTo>
                  <a:pt x="250" y="274"/>
                </a:lnTo>
                <a:lnTo>
                  <a:pt x="249" y="274"/>
                </a:lnTo>
                <a:lnTo>
                  <a:pt x="250" y="279"/>
                </a:lnTo>
                <a:lnTo>
                  <a:pt x="246" y="279"/>
                </a:lnTo>
                <a:lnTo>
                  <a:pt x="240" y="278"/>
                </a:lnTo>
                <a:lnTo>
                  <a:pt x="240" y="279"/>
                </a:lnTo>
                <a:lnTo>
                  <a:pt x="246" y="280"/>
                </a:lnTo>
                <a:lnTo>
                  <a:pt x="246" y="281"/>
                </a:lnTo>
                <a:lnTo>
                  <a:pt x="246" y="282"/>
                </a:lnTo>
                <a:lnTo>
                  <a:pt x="245" y="282"/>
                </a:lnTo>
                <a:lnTo>
                  <a:pt x="244" y="283"/>
                </a:lnTo>
                <a:lnTo>
                  <a:pt x="244" y="284"/>
                </a:lnTo>
                <a:lnTo>
                  <a:pt x="242" y="284"/>
                </a:lnTo>
                <a:lnTo>
                  <a:pt x="241" y="284"/>
                </a:lnTo>
                <a:lnTo>
                  <a:pt x="241" y="285"/>
                </a:lnTo>
                <a:lnTo>
                  <a:pt x="241" y="285"/>
                </a:lnTo>
                <a:lnTo>
                  <a:pt x="239" y="287"/>
                </a:lnTo>
                <a:lnTo>
                  <a:pt x="239" y="288"/>
                </a:lnTo>
                <a:lnTo>
                  <a:pt x="236" y="287"/>
                </a:lnTo>
                <a:lnTo>
                  <a:pt x="235" y="285"/>
                </a:lnTo>
                <a:lnTo>
                  <a:pt x="234" y="287"/>
                </a:lnTo>
                <a:lnTo>
                  <a:pt x="235" y="288"/>
                </a:lnTo>
                <a:lnTo>
                  <a:pt x="234" y="288"/>
                </a:lnTo>
                <a:lnTo>
                  <a:pt x="233" y="288"/>
                </a:lnTo>
                <a:lnTo>
                  <a:pt x="233" y="289"/>
                </a:lnTo>
                <a:lnTo>
                  <a:pt x="236" y="289"/>
                </a:lnTo>
                <a:lnTo>
                  <a:pt x="236" y="290"/>
                </a:lnTo>
                <a:lnTo>
                  <a:pt x="232" y="290"/>
                </a:lnTo>
                <a:lnTo>
                  <a:pt x="230" y="290"/>
                </a:lnTo>
                <a:lnTo>
                  <a:pt x="229" y="289"/>
                </a:lnTo>
                <a:lnTo>
                  <a:pt x="228" y="289"/>
                </a:lnTo>
                <a:lnTo>
                  <a:pt x="230" y="290"/>
                </a:lnTo>
                <a:lnTo>
                  <a:pt x="232" y="291"/>
                </a:lnTo>
                <a:lnTo>
                  <a:pt x="234" y="291"/>
                </a:lnTo>
                <a:lnTo>
                  <a:pt x="234" y="292"/>
                </a:lnTo>
                <a:lnTo>
                  <a:pt x="232" y="292"/>
                </a:lnTo>
                <a:lnTo>
                  <a:pt x="231" y="293"/>
                </a:lnTo>
                <a:lnTo>
                  <a:pt x="226" y="294"/>
                </a:lnTo>
                <a:lnTo>
                  <a:pt x="224" y="294"/>
                </a:lnTo>
                <a:lnTo>
                  <a:pt x="223" y="294"/>
                </a:lnTo>
                <a:lnTo>
                  <a:pt x="222" y="294"/>
                </a:lnTo>
                <a:lnTo>
                  <a:pt x="221" y="294"/>
                </a:lnTo>
                <a:lnTo>
                  <a:pt x="221" y="295"/>
                </a:lnTo>
                <a:lnTo>
                  <a:pt x="220" y="295"/>
                </a:lnTo>
                <a:lnTo>
                  <a:pt x="217" y="297"/>
                </a:lnTo>
                <a:lnTo>
                  <a:pt x="220" y="298"/>
                </a:lnTo>
                <a:lnTo>
                  <a:pt x="221" y="300"/>
                </a:lnTo>
                <a:lnTo>
                  <a:pt x="220" y="300"/>
                </a:lnTo>
                <a:lnTo>
                  <a:pt x="221" y="301"/>
                </a:lnTo>
                <a:lnTo>
                  <a:pt x="220" y="307"/>
                </a:lnTo>
                <a:lnTo>
                  <a:pt x="221" y="308"/>
                </a:lnTo>
                <a:lnTo>
                  <a:pt x="221" y="309"/>
                </a:lnTo>
                <a:lnTo>
                  <a:pt x="220" y="310"/>
                </a:lnTo>
                <a:lnTo>
                  <a:pt x="221" y="311"/>
                </a:lnTo>
                <a:lnTo>
                  <a:pt x="219" y="311"/>
                </a:lnTo>
                <a:lnTo>
                  <a:pt x="215" y="314"/>
                </a:lnTo>
                <a:lnTo>
                  <a:pt x="214" y="317"/>
                </a:lnTo>
                <a:lnTo>
                  <a:pt x="215" y="317"/>
                </a:lnTo>
                <a:lnTo>
                  <a:pt x="213" y="318"/>
                </a:lnTo>
                <a:lnTo>
                  <a:pt x="211" y="319"/>
                </a:lnTo>
                <a:lnTo>
                  <a:pt x="211" y="319"/>
                </a:lnTo>
                <a:lnTo>
                  <a:pt x="211" y="320"/>
                </a:lnTo>
                <a:lnTo>
                  <a:pt x="211" y="321"/>
                </a:lnTo>
                <a:lnTo>
                  <a:pt x="209" y="324"/>
                </a:lnTo>
                <a:lnTo>
                  <a:pt x="207" y="325"/>
                </a:lnTo>
                <a:lnTo>
                  <a:pt x="207" y="327"/>
                </a:lnTo>
                <a:lnTo>
                  <a:pt x="205" y="328"/>
                </a:lnTo>
                <a:lnTo>
                  <a:pt x="204" y="331"/>
                </a:lnTo>
                <a:lnTo>
                  <a:pt x="203" y="331"/>
                </a:lnTo>
                <a:lnTo>
                  <a:pt x="202" y="331"/>
                </a:lnTo>
                <a:lnTo>
                  <a:pt x="201" y="332"/>
                </a:lnTo>
                <a:lnTo>
                  <a:pt x="199" y="332"/>
                </a:lnTo>
                <a:lnTo>
                  <a:pt x="194" y="331"/>
                </a:lnTo>
                <a:lnTo>
                  <a:pt x="198" y="333"/>
                </a:lnTo>
                <a:lnTo>
                  <a:pt x="199" y="333"/>
                </a:lnTo>
                <a:lnTo>
                  <a:pt x="200" y="334"/>
                </a:lnTo>
                <a:lnTo>
                  <a:pt x="200" y="337"/>
                </a:lnTo>
                <a:lnTo>
                  <a:pt x="199" y="337"/>
                </a:lnTo>
                <a:lnTo>
                  <a:pt x="200" y="338"/>
                </a:lnTo>
                <a:lnTo>
                  <a:pt x="200" y="338"/>
                </a:lnTo>
                <a:lnTo>
                  <a:pt x="195" y="339"/>
                </a:lnTo>
                <a:lnTo>
                  <a:pt x="188" y="338"/>
                </a:lnTo>
                <a:lnTo>
                  <a:pt x="188" y="337"/>
                </a:lnTo>
                <a:lnTo>
                  <a:pt x="188" y="335"/>
                </a:lnTo>
                <a:lnTo>
                  <a:pt x="185" y="338"/>
                </a:lnTo>
                <a:lnTo>
                  <a:pt x="182" y="340"/>
                </a:lnTo>
                <a:lnTo>
                  <a:pt x="179" y="340"/>
                </a:lnTo>
                <a:lnTo>
                  <a:pt x="178" y="339"/>
                </a:lnTo>
                <a:lnTo>
                  <a:pt x="174" y="339"/>
                </a:lnTo>
                <a:lnTo>
                  <a:pt x="174" y="339"/>
                </a:lnTo>
                <a:lnTo>
                  <a:pt x="173" y="338"/>
                </a:lnTo>
                <a:lnTo>
                  <a:pt x="173" y="338"/>
                </a:lnTo>
                <a:lnTo>
                  <a:pt x="173" y="337"/>
                </a:lnTo>
                <a:lnTo>
                  <a:pt x="175" y="335"/>
                </a:lnTo>
                <a:lnTo>
                  <a:pt x="177" y="334"/>
                </a:lnTo>
                <a:lnTo>
                  <a:pt x="179" y="332"/>
                </a:lnTo>
                <a:lnTo>
                  <a:pt x="179" y="331"/>
                </a:lnTo>
                <a:lnTo>
                  <a:pt x="177" y="332"/>
                </a:lnTo>
                <a:lnTo>
                  <a:pt x="173" y="333"/>
                </a:lnTo>
                <a:lnTo>
                  <a:pt x="173" y="332"/>
                </a:lnTo>
                <a:lnTo>
                  <a:pt x="174" y="331"/>
                </a:lnTo>
                <a:lnTo>
                  <a:pt x="175" y="330"/>
                </a:lnTo>
                <a:lnTo>
                  <a:pt x="174" y="330"/>
                </a:lnTo>
                <a:lnTo>
                  <a:pt x="173" y="330"/>
                </a:lnTo>
                <a:lnTo>
                  <a:pt x="171" y="332"/>
                </a:lnTo>
                <a:lnTo>
                  <a:pt x="170" y="332"/>
                </a:lnTo>
                <a:lnTo>
                  <a:pt x="170" y="332"/>
                </a:lnTo>
                <a:lnTo>
                  <a:pt x="169" y="331"/>
                </a:lnTo>
                <a:lnTo>
                  <a:pt x="169" y="330"/>
                </a:lnTo>
                <a:lnTo>
                  <a:pt x="169" y="329"/>
                </a:lnTo>
                <a:lnTo>
                  <a:pt x="170" y="328"/>
                </a:lnTo>
                <a:lnTo>
                  <a:pt x="173" y="327"/>
                </a:lnTo>
                <a:lnTo>
                  <a:pt x="174" y="325"/>
                </a:lnTo>
                <a:lnTo>
                  <a:pt x="174" y="324"/>
                </a:lnTo>
                <a:lnTo>
                  <a:pt x="172" y="327"/>
                </a:lnTo>
                <a:lnTo>
                  <a:pt x="169" y="328"/>
                </a:lnTo>
                <a:lnTo>
                  <a:pt x="168" y="328"/>
                </a:lnTo>
                <a:lnTo>
                  <a:pt x="165" y="328"/>
                </a:lnTo>
                <a:lnTo>
                  <a:pt x="164" y="329"/>
                </a:lnTo>
                <a:lnTo>
                  <a:pt x="163" y="328"/>
                </a:lnTo>
                <a:lnTo>
                  <a:pt x="167" y="327"/>
                </a:lnTo>
                <a:lnTo>
                  <a:pt x="164" y="327"/>
                </a:lnTo>
                <a:lnTo>
                  <a:pt x="171" y="324"/>
                </a:lnTo>
                <a:lnTo>
                  <a:pt x="172" y="324"/>
                </a:lnTo>
                <a:lnTo>
                  <a:pt x="168" y="325"/>
                </a:lnTo>
                <a:lnTo>
                  <a:pt x="167" y="324"/>
                </a:lnTo>
                <a:lnTo>
                  <a:pt x="168" y="323"/>
                </a:lnTo>
                <a:lnTo>
                  <a:pt x="169" y="323"/>
                </a:lnTo>
                <a:lnTo>
                  <a:pt x="164" y="323"/>
                </a:lnTo>
                <a:lnTo>
                  <a:pt x="164" y="323"/>
                </a:lnTo>
                <a:lnTo>
                  <a:pt x="159" y="325"/>
                </a:lnTo>
                <a:lnTo>
                  <a:pt x="153" y="324"/>
                </a:lnTo>
                <a:lnTo>
                  <a:pt x="151" y="325"/>
                </a:lnTo>
                <a:lnTo>
                  <a:pt x="149" y="324"/>
                </a:lnTo>
                <a:lnTo>
                  <a:pt x="149" y="324"/>
                </a:lnTo>
                <a:lnTo>
                  <a:pt x="148" y="325"/>
                </a:lnTo>
                <a:lnTo>
                  <a:pt x="149" y="327"/>
                </a:lnTo>
                <a:lnTo>
                  <a:pt x="143" y="327"/>
                </a:lnTo>
                <a:lnTo>
                  <a:pt x="141" y="327"/>
                </a:lnTo>
                <a:lnTo>
                  <a:pt x="139" y="327"/>
                </a:lnTo>
                <a:lnTo>
                  <a:pt x="140" y="325"/>
                </a:lnTo>
                <a:lnTo>
                  <a:pt x="142" y="325"/>
                </a:lnTo>
                <a:lnTo>
                  <a:pt x="147" y="323"/>
                </a:lnTo>
                <a:lnTo>
                  <a:pt x="148" y="323"/>
                </a:lnTo>
                <a:lnTo>
                  <a:pt x="147" y="322"/>
                </a:lnTo>
                <a:lnTo>
                  <a:pt x="145" y="323"/>
                </a:lnTo>
                <a:lnTo>
                  <a:pt x="143" y="322"/>
                </a:lnTo>
                <a:lnTo>
                  <a:pt x="142" y="322"/>
                </a:lnTo>
                <a:lnTo>
                  <a:pt x="141" y="321"/>
                </a:lnTo>
                <a:lnTo>
                  <a:pt x="141" y="320"/>
                </a:lnTo>
                <a:lnTo>
                  <a:pt x="141" y="320"/>
                </a:lnTo>
                <a:lnTo>
                  <a:pt x="138" y="321"/>
                </a:lnTo>
                <a:lnTo>
                  <a:pt x="137" y="320"/>
                </a:lnTo>
                <a:lnTo>
                  <a:pt x="136" y="320"/>
                </a:lnTo>
                <a:lnTo>
                  <a:pt x="137" y="319"/>
                </a:lnTo>
                <a:lnTo>
                  <a:pt x="137" y="318"/>
                </a:lnTo>
                <a:lnTo>
                  <a:pt x="137" y="318"/>
                </a:lnTo>
                <a:lnTo>
                  <a:pt x="133" y="318"/>
                </a:lnTo>
                <a:lnTo>
                  <a:pt x="132" y="318"/>
                </a:lnTo>
                <a:lnTo>
                  <a:pt x="131" y="318"/>
                </a:lnTo>
                <a:lnTo>
                  <a:pt x="142" y="315"/>
                </a:lnTo>
                <a:lnTo>
                  <a:pt x="140" y="314"/>
                </a:lnTo>
                <a:lnTo>
                  <a:pt x="139" y="314"/>
                </a:lnTo>
                <a:lnTo>
                  <a:pt x="134" y="315"/>
                </a:lnTo>
                <a:lnTo>
                  <a:pt x="132" y="317"/>
                </a:lnTo>
                <a:lnTo>
                  <a:pt x="129" y="315"/>
                </a:lnTo>
                <a:lnTo>
                  <a:pt x="129" y="314"/>
                </a:lnTo>
                <a:lnTo>
                  <a:pt x="132" y="314"/>
                </a:lnTo>
                <a:lnTo>
                  <a:pt x="133" y="313"/>
                </a:lnTo>
                <a:lnTo>
                  <a:pt x="132" y="312"/>
                </a:lnTo>
                <a:lnTo>
                  <a:pt x="132" y="312"/>
                </a:lnTo>
                <a:lnTo>
                  <a:pt x="131" y="311"/>
                </a:lnTo>
                <a:lnTo>
                  <a:pt x="130" y="310"/>
                </a:lnTo>
                <a:lnTo>
                  <a:pt x="130" y="309"/>
                </a:lnTo>
                <a:lnTo>
                  <a:pt x="132" y="308"/>
                </a:lnTo>
                <a:lnTo>
                  <a:pt x="136" y="307"/>
                </a:lnTo>
                <a:lnTo>
                  <a:pt x="136" y="305"/>
                </a:lnTo>
                <a:lnTo>
                  <a:pt x="136" y="305"/>
                </a:lnTo>
                <a:lnTo>
                  <a:pt x="130" y="308"/>
                </a:lnTo>
                <a:lnTo>
                  <a:pt x="127" y="308"/>
                </a:lnTo>
                <a:lnTo>
                  <a:pt x="127" y="307"/>
                </a:lnTo>
                <a:lnTo>
                  <a:pt x="127" y="305"/>
                </a:lnTo>
                <a:lnTo>
                  <a:pt x="129" y="305"/>
                </a:lnTo>
                <a:lnTo>
                  <a:pt x="131" y="305"/>
                </a:lnTo>
                <a:lnTo>
                  <a:pt x="128" y="305"/>
                </a:lnTo>
                <a:lnTo>
                  <a:pt x="128" y="304"/>
                </a:lnTo>
                <a:lnTo>
                  <a:pt x="130" y="303"/>
                </a:lnTo>
                <a:lnTo>
                  <a:pt x="128" y="303"/>
                </a:lnTo>
                <a:lnTo>
                  <a:pt x="126" y="303"/>
                </a:lnTo>
                <a:lnTo>
                  <a:pt x="127" y="302"/>
                </a:lnTo>
                <a:lnTo>
                  <a:pt x="128" y="301"/>
                </a:lnTo>
                <a:lnTo>
                  <a:pt x="126" y="300"/>
                </a:lnTo>
                <a:lnTo>
                  <a:pt x="123" y="300"/>
                </a:lnTo>
                <a:lnTo>
                  <a:pt x="123" y="299"/>
                </a:lnTo>
                <a:lnTo>
                  <a:pt x="124" y="297"/>
                </a:lnTo>
                <a:lnTo>
                  <a:pt x="127" y="294"/>
                </a:lnTo>
                <a:lnTo>
                  <a:pt x="126" y="294"/>
                </a:lnTo>
                <a:lnTo>
                  <a:pt x="123" y="295"/>
                </a:lnTo>
                <a:lnTo>
                  <a:pt x="123" y="294"/>
                </a:lnTo>
                <a:lnTo>
                  <a:pt x="123" y="293"/>
                </a:lnTo>
                <a:lnTo>
                  <a:pt x="123" y="292"/>
                </a:lnTo>
                <a:lnTo>
                  <a:pt x="120" y="291"/>
                </a:lnTo>
                <a:lnTo>
                  <a:pt x="120" y="291"/>
                </a:lnTo>
                <a:lnTo>
                  <a:pt x="120" y="290"/>
                </a:lnTo>
                <a:lnTo>
                  <a:pt x="119" y="290"/>
                </a:lnTo>
                <a:lnTo>
                  <a:pt x="117" y="287"/>
                </a:lnTo>
                <a:lnTo>
                  <a:pt x="118" y="284"/>
                </a:lnTo>
                <a:lnTo>
                  <a:pt x="116" y="284"/>
                </a:lnTo>
                <a:lnTo>
                  <a:pt x="116" y="283"/>
                </a:lnTo>
                <a:lnTo>
                  <a:pt x="114" y="281"/>
                </a:lnTo>
                <a:lnTo>
                  <a:pt x="118" y="279"/>
                </a:lnTo>
                <a:lnTo>
                  <a:pt x="114" y="280"/>
                </a:lnTo>
                <a:lnTo>
                  <a:pt x="117" y="277"/>
                </a:lnTo>
                <a:lnTo>
                  <a:pt x="117" y="273"/>
                </a:lnTo>
                <a:lnTo>
                  <a:pt x="118" y="272"/>
                </a:lnTo>
                <a:lnTo>
                  <a:pt x="121" y="272"/>
                </a:lnTo>
                <a:lnTo>
                  <a:pt x="124" y="271"/>
                </a:lnTo>
                <a:lnTo>
                  <a:pt x="126" y="269"/>
                </a:lnTo>
                <a:lnTo>
                  <a:pt x="129" y="269"/>
                </a:lnTo>
                <a:lnTo>
                  <a:pt x="136" y="268"/>
                </a:lnTo>
                <a:lnTo>
                  <a:pt x="131" y="268"/>
                </a:lnTo>
                <a:lnTo>
                  <a:pt x="129" y="267"/>
                </a:lnTo>
                <a:lnTo>
                  <a:pt x="130" y="265"/>
                </a:lnTo>
                <a:lnTo>
                  <a:pt x="132" y="264"/>
                </a:lnTo>
                <a:lnTo>
                  <a:pt x="139" y="264"/>
                </a:lnTo>
                <a:lnTo>
                  <a:pt x="138" y="263"/>
                </a:lnTo>
                <a:lnTo>
                  <a:pt x="136" y="263"/>
                </a:lnTo>
                <a:lnTo>
                  <a:pt x="131" y="262"/>
                </a:lnTo>
                <a:lnTo>
                  <a:pt x="129" y="264"/>
                </a:lnTo>
                <a:lnTo>
                  <a:pt x="126" y="264"/>
                </a:lnTo>
                <a:lnTo>
                  <a:pt x="124" y="264"/>
                </a:lnTo>
                <a:lnTo>
                  <a:pt x="120" y="268"/>
                </a:lnTo>
                <a:lnTo>
                  <a:pt x="116" y="271"/>
                </a:lnTo>
                <a:lnTo>
                  <a:pt x="112" y="271"/>
                </a:lnTo>
                <a:lnTo>
                  <a:pt x="111" y="271"/>
                </a:lnTo>
                <a:lnTo>
                  <a:pt x="111" y="269"/>
                </a:lnTo>
                <a:lnTo>
                  <a:pt x="112" y="268"/>
                </a:lnTo>
                <a:lnTo>
                  <a:pt x="113" y="267"/>
                </a:lnTo>
                <a:lnTo>
                  <a:pt x="113" y="264"/>
                </a:lnTo>
                <a:lnTo>
                  <a:pt x="114" y="263"/>
                </a:lnTo>
                <a:lnTo>
                  <a:pt x="118" y="262"/>
                </a:lnTo>
                <a:lnTo>
                  <a:pt x="117" y="261"/>
                </a:lnTo>
                <a:lnTo>
                  <a:pt x="117" y="261"/>
                </a:lnTo>
                <a:lnTo>
                  <a:pt x="114" y="262"/>
                </a:lnTo>
                <a:lnTo>
                  <a:pt x="114" y="260"/>
                </a:lnTo>
                <a:lnTo>
                  <a:pt x="116" y="259"/>
                </a:lnTo>
                <a:lnTo>
                  <a:pt x="113" y="259"/>
                </a:lnTo>
                <a:lnTo>
                  <a:pt x="114" y="257"/>
                </a:lnTo>
                <a:lnTo>
                  <a:pt x="116" y="255"/>
                </a:lnTo>
                <a:lnTo>
                  <a:pt x="116" y="254"/>
                </a:lnTo>
                <a:lnTo>
                  <a:pt x="113" y="255"/>
                </a:lnTo>
                <a:lnTo>
                  <a:pt x="113" y="254"/>
                </a:lnTo>
                <a:lnTo>
                  <a:pt x="118" y="252"/>
                </a:lnTo>
                <a:lnTo>
                  <a:pt x="114" y="252"/>
                </a:lnTo>
                <a:lnTo>
                  <a:pt x="116" y="251"/>
                </a:lnTo>
                <a:lnTo>
                  <a:pt x="112" y="251"/>
                </a:lnTo>
                <a:lnTo>
                  <a:pt x="113" y="248"/>
                </a:lnTo>
                <a:lnTo>
                  <a:pt x="111" y="248"/>
                </a:lnTo>
                <a:lnTo>
                  <a:pt x="108" y="249"/>
                </a:lnTo>
                <a:lnTo>
                  <a:pt x="110" y="247"/>
                </a:lnTo>
                <a:lnTo>
                  <a:pt x="110" y="247"/>
                </a:lnTo>
                <a:lnTo>
                  <a:pt x="111" y="245"/>
                </a:lnTo>
                <a:lnTo>
                  <a:pt x="113" y="244"/>
                </a:lnTo>
                <a:lnTo>
                  <a:pt x="109" y="245"/>
                </a:lnTo>
                <a:lnTo>
                  <a:pt x="109" y="244"/>
                </a:lnTo>
                <a:lnTo>
                  <a:pt x="107" y="244"/>
                </a:lnTo>
                <a:lnTo>
                  <a:pt x="107" y="243"/>
                </a:lnTo>
                <a:lnTo>
                  <a:pt x="113" y="240"/>
                </a:lnTo>
                <a:lnTo>
                  <a:pt x="111" y="241"/>
                </a:lnTo>
                <a:lnTo>
                  <a:pt x="108" y="241"/>
                </a:lnTo>
                <a:lnTo>
                  <a:pt x="107" y="240"/>
                </a:lnTo>
                <a:lnTo>
                  <a:pt x="110" y="239"/>
                </a:lnTo>
                <a:lnTo>
                  <a:pt x="107" y="239"/>
                </a:lnTo>
                <a:lnTo>
                  <a:pt x="107" y="238"/>
                </a:lnTo>
                <a:lnTo>
                  <a:pt x="108" y="236"/>
                </a:lnTo>
                <a:lnTo>
                  <a:pt x="109" y="234"/>
                </a:lnTo>
                <a:lnTo>
                  <a:pt x="113" y="236"/>
                </a:lnTo>
                <a:lnTo>
                  <a:pt x="111" y="233"/>
                </a:lnTo>
                <a:lnTo>
                  <a:pt x="114" y="232"/>
                </a:lnTo>
                <a:lnTo>
                  <a:pt x="116" y="231"/>
                </a:lnTo>
                <a:lnTo>
                  <a:pt x="118" y="229"/>
                </a:lnTo>
                <a:lnTo>
                  <a:pt x="113" y="229"/>
                </a:lnTo>
                <a:lnTo>
                  <a:pt x="110" y="229"/>
                </a:lnTo>
                <a:lnTo>
                  <a:pt x="111" y="228"/>
                </a:lnTo>
                <a:lnTo>
                  <a:pt x="108" y="226"/>
                </a:lnTo>
                <a:lnTo>
                  <a:pt x="110" y="223"/>
                </a:lnTo>
                <a:lnTo>
                  <a:pt x="111" y="222"/>
                </a:lnTo>
                <a:lnTo>
                  <a:pt x="112" y="222"/>
                </a:lnTo>
                <a:lnTo>
                  <a:pt x="112" y="221"/>
                </a:lnTo>
                <a:lnTo>
                  <a:pt x="118" y="219"/>
                </a:lnTo>
                <a:lnTo>
                  <a:pt x="117" y="219"/>
                </a:lnTo>
                <a:lnTo>
                  <a:pt x="114" y="219"/>
                </a:lnTo>
                <a:lnTo>
                  <a:pt x="118" y="217"/>
                </a:lnTo>
                <a:lnTo>
                  <a:pt x="117" y="217"/>
                </a:lnTo>
                <a:lnTo>
                  <a:pt x="118" y="216"/>
                </a:lnTo>
                <a:lnTo>
                  <a:pt x="119" y="213"/>
                </a:lnTo>
                <a:lnTo>
                  <a:pt x="122" y="212"/>
                </a:lnTo>
                <a:lnTo>
                  <a:pt x="124" y="212"/>
                </a:lnTo>
                <a:lnTo>
                  <a:pt x="123" y="211"/>
                </a:lnTo>
                <a:lnTo>
                  <a:pt x="127" y="212"/>
                </a:lnTo>
                <a:lnTo>
                  <a:pt x="128" y="212"/>
                </a:lnTo>
                <a:lnTo>
                  <a:pt x="126" y="210"/>
                </a:lnTo>
                <a:lnTo>
                  <a:pt x="121" y="210"/>
                </a:lnTo>
                <a:lnTo>
                  <a:pt x="123" y="209"/>
                </a:lnTo>
                <a:lnTo>
                  <a:pt x="128" y="210"/>
                </a:lnTo>
                <a:lnTo>
                  <a:pt x="128" y="210"/>
                </a:lnTo>
                <a:lnTo>
                  <a:pt x="131" y="209"/>
                </a:lnTo>
                <a:lnTo>
                  <a:pt x="139" y="211"/>
                </a:lnTo>
                <a:lnTo>
                  <a:pt x="142" y="211"/>
                </a:lnTo>
                <a:lnTo>
                  <a:pt x="147" y="210"/>
                </a:lnTo>
                <a:lnTo>
                  <a:pt x="149" y="211"/>
                </a:lnTo>
                <a:lnTo>
                  <a:pt x="150" y="210"/>
                </a:lnTo>
                <a:lnTo>
                  <a:pt x="147" y="209"/>
                </a:lnTo>
                <a:lnTo>
                  <a:pt x="147" y="209"/>
                </a:lnTo>
                <a:lnTo>
                  <a:pt x="149" y="209"/>
                </a:lnTo>
                <a:lnTo>
                  <a:pt x="144" y="208"/>
                </a:lnTo>
                <a:lnTo>
                  <a:pt x="149" y="207"/>
                </a:lnTo>
                <a:lnTo>
                  <a:pt x="150" y="206"/>
                </a:lnTo>
                <a:lnTo>
                  <a:pt x="150" y="204"/>
                </a:lnTo>
                <a:lnTo>
                  <a:pt x="145" y="204"/>
                </a:lnTo>
                <a:lnTo>
                  <a:pt x="147" y="207"/>
                </a:lnTo>
                <a:lnTo>
                  <a:pt x="134" y="209"/>
                </a:lnTo>
                <a:lnTo>
                  <a:pt x="132" y="208"/>
                </a:lnTo>
                <a:lnTo>
                  <a:pt x="129" y="208"/>
                </a:lnTo>
                <a:lnTo>
                  <a:pt x="129" y="207"/>
                </a:lnTo>
                <a:lnTo>
                  <a:pt x="130" y="207"/>
                </a:lnTo>
                <a:lnTo>
                  <a:pt x="129" y="206"/>
                </a:lnTo>
                <a:lnTo>
                  <a:pt x="133" y="204"/>
                </a:lnTo>
                <a:lnTo>
                  <a:pt x="134" y="203"/>
                </a:lnTo>
                <a:lnTo>
                  <a:pt x="140" y="202"/>
                </a:lnTo>
                <a:lnTo>
                  <a:pt x="142" y="202"/>
                </a:lnTo>
                <a:lnTo>
                  <a:pt x="145" y="203"/>
                </a:lnTo>
                <a:lnTo>
                  <a:pt x="151" y="202"/>
                </a:lnTo>
                <a:lnTo>
                  <a:pt x="153" y="201"/>
                </a:lnTo>
                <a:lnTo>
                  <a:pt x="154" y="200"/>
                </a:lnTo>
                <a:lnTo>
                  <a:pt x="152" y="200"/>
                </a:lnTo>
                <a:lnTo>
                  <a:pt x="151" y="200"/>
                </a:lnTo>
                <a:lnTo>
                  <a:pt x="154" y="198"/>
                </a:lnTo>
                <a:lnTo>
                  <a:pt x="153" y="198"/>
                </a:lnTo>
                <a:lnTo>
                  <a:pt x="153" y="196"/>
                </a:lnTo>
                <a:lnTo>
                  <a:pt x="154" y="194"/>
                </a:lnTo>
                <a:lnTo>
                  <a:pt x="157" y="193"/>
                </a:lnTo>
                <a:lnTo>
                  <a:pt x="160" y="194"/>
                </a:lnTo>
                <a:lnTo>
                  <a:pt x="160" y="196"/>
                </a:lnTo>
                <a:lnTo>
                  <a:pt x="163" y="196"/>
                </a:lnTo>
                <a:lnTo>
                  <a:pt x="162" y="194"/>
                </a:lnTo>
                <a:lnTo>
                  <a:pt x="165" y="193"/>
                </a:lnTo>
                <a:lnTo>
                  <a:pt x="164" y="191"/>
                </a:lnTo>
                <a:lnTo>
                  <a:pt x="161" y="193"/>
                </a:lnTo>
                <a:lnTo>
                  <a:pt x="158" y="192"/>
                </a:lnTo>
                <a:lnTo>
                  <a:pt x="159" y="189"/>
                </a:lnTo>
                <a:lnTo>
                  <a:pt x="162" y="189"/>
                </a:lnTo>
                <a:lnTo>
                  <a:pt x="162" y="188"/>
                </a:lnTo>
                <a:lnTo>
                  <a:pt x="162" y="187"/>
                </a:lnTo>
                <a:lnTo>
                  <a:pt x="165" y="186"/>
                </a:lnTo>
                <a:lnTo>
                  <a:pt x="165" y="184"/>
                </a:lnTo>
                <a:lnTo>
                  <a:pt x="169" y="183"/>
                </a:lnTo>
                <a:lnTo>
                  <a:pt x="169" y="182"/>
                </a:lnTo>
                <a:lnTo>
                  <a:pt x="170" y="181"/>
                </a:lnTo>
                <a:lnTo>
                  <a:pt x="163" y="181"/>
                </a:lnTo>
                <a:lnTo>
                  <a:pt x="162" y="180"/>
                </a:lnTo>
                <a:lnTo>
                  <a:pt x="159" y="180"/>
                </a:lnTo>
                <a:lnTo>
                  <a:pt x="157" y="181"/>
                </a:lnTo>
                <a:lnTo>
                  <a:pt x="147" y="180"/>
                </a:lnTo>
                <a:lnTo>
                  <a:pt x="143" y="177"/>
                </a:lnTo>
                <a:lnTo>
                  <a:pt x="138" y="176"/>
                </a:lnTo>
                <a:lnTo>
                  <a:pt x="132" y="176"/>
                </a:lnTo>
                <a:lnTo>
                  <a:pt x="128" y="171"/>
                </a:lnTo>
                <a:lnTo>
                  <a:pt x="131" y="169"/>
                </a:lnTo>
                <a:lnTo>
                  <a:pt x="134" y="169"/>
                </a:lnTo>
                <a:lnTo>
                  <a:pt x="147" y="170"/>
                </a:lnTo>
                <a:lnTo>
                  <a:pt x="151" y="171"/>
                </a:lnTo>
                <a:lnTo>
                  <a:pt x="158" y="174"/>
                </a:lnTo>
                <a:lnTo>
                  <a:pt x="163" y="176"/>
                </a:lnTo>
                <a:lnTo>
                  <a:pt x="169" y="176"/>
                </a:lnTo>
                <a:lnTo>
                  <a:pt x="170" y="174"/>
                </a:lnTo>
                <a:lnTo>
                  <a:pt x="170" y="173"/>
                </a:lnTo>
                <a:lnTo>
                  <a:pt x="165" y="174"/>
                </a:lnTo>
                <a:lnTo>
                  <a:pt x="163" y="173"/>
                </a:lnTo>
                <a:lnTo>
                  <a:pt x="163" y="172"/>
                </a:lnTo>
                <a:lnTo>
                  <a:pt x="167" y="172"/>
                </a:lnTo>
                <a:lnTo>
                  <a:pt x="167" y="172"/>
                </a:lnTo>
                <a:lnTo>
                  <a:pt x="169" y="171"/>
                </a:lnTo>
                <a:lnTo>
                  <a:pt x="170" y="171"/>
                </a:lnTo>
                <a:lnTo>
                  <a:pt x="167" y="170"/>
                </a:lnTo>
                <a:lnTo>
                  <a:pt x="171" y="171"/>
                </a:lnTo>
                <a:lnTo>
                  <a:pt x="170" y="169"/>
                </a:lnTo>
                <a:lnTo>
                  <a:pt x="168" y="168"/>
                </a:lnTo>
                <a:lnTo>
                  <a:pt x="162" y="167"/>
                </a:lnTo>
                <a:lnTo>
                  <a:pt x="160" y="166"/>
                </a:lnTo>
                <a:lnTo>
                  <a:pt x="165" y="167"/>
                </a:lnTo>
                <a:lnTo>
                  <a:pt x="167" y="166"/>
                </a:lnTo>
                <a:lnTo>
                  <a:pt x="164" y="164"/>
                </a:lnTo>
                <a:lnTo>
                  <a:pt x="167" y="163"/>
                </a:lnTo>
                <a:lnTo>
                  <a:pt x="157" y="164"/>
                </a:lnTo>
                <a:lnTo>
                  <a:pt x="164" y="161"/>
                </a:lnTo>
                <a:lnTo>
                  <a:pt x="153" y="163"/>
                </a:lnTo>
                <a:lnTo>
                  <a:pt x="157" y="162"/>
                </a:lnTo>
                <a:lnTo>
                  <a:pt x="158" y="160"/>
                </a:lnTo>
                <a:lnTo>
                  <a:pt x="163" y="159"/>
                </a:lnTo>
                <a:lnTo>
                  <a:pt x="155" y="160"/>
                </a:lnTo>
                <a:lnTo>
                  <a:pt x="150" y="160"/>
                </a:lnTo>
                <a:lnTo>
                  <a:pt x="153" y="159"/>
                </a:lnTo>
                <a:lnTo>
                  <a:pt x="161" y="158"/>
                </a:lnTo>
                <a:lnTo>
                  <a:pt x="164" y="156"/>
                </a:lnTo>
                <a:lnTo>
                  <a:pt x="157" y="157"/>
                </a:lnTo>
                <a:lnTo>
                  <a:pt x="154" y="157"/>
                </a:lnTo>
                <a:lnTo>
                  <a:pt x="154" y="157"/>
                </a:lnTo>
                <a:lnTo>
                  <a:pt x="151" y="156"/>
                </a:lnTo>
                <a:lnTo>
                  <a:pt x="152" y="154"/>
                </a:lnTo>
                <a:lnTo>
                  <a:pt x="154" y="152"/>
                </a:lnTo>
                <a:lnTo>
                  <a:pt x="150" y="154"/>
                </a:lnTo>
                <a:lnTo>
                  <a:pt x="149" y="152"/>
                </a:lnTo>
                <a:lnTo>
                  <a:pt x="149" y="151"/>
                </a:lnTo>
                <a:lnTo>
                  <a:pt x="147" y="153"/>
                </a:lnTo>
                <a:lnTo>
                  <a:pt x="143" y="154"/>
                </a:lnTo>
                <a:lnTo>
                  <a:pt x="143" y="156"/>
                </a:lnTo>
                <a:lnTo>
                  <a:pt x="141" y="157"/>
                </a:lnTo>
                <a:lnTo>
                  <a:pt x="140" y="156"/>
                </a:lnTo>
                <a:lnTo>
                  <a:pt x="139" y="157"/>
                </a:lnTo>
                <a:lnTo>
                  <a:pt x="140" y="158"/>
                </a:lnTo>
                <a:lnTo>
                  <a:pt x="139" y="159"/>
                </a:lnTo>
                <a:lnTo>
                  <a:pt x="132" y="161"/>
                </a:lnTo>
                <a:lnTo>
                  <a:pt x="129" y="160"/>
                </a:lnTo>
                <a:lnTo>
                  <a:pt x="126" y="159"/>
                </a:lnTo>
                <a:lnTo>
                  <a:pt x="123" y="160"/>
                </a:lnTo>
                <a:lnTo>
                  <a:pt x="121" y="157"/>
                </a:lnTo>
                <a:lnTo>
                  <a:pt x="121" y="156"/>
                </a:lnTo>
                <a:lnTo>
                  <a:pt x="123" y="154"/>
                </a:lnTo>
                <a:lnTo>
                  <a:pt x="128" y="153"/>
                </a:lnTo>
                <a:lnTo>
                  <a:pt x="134" y="151"/>
                </a:lnTo>
                <a:lnTo>
                  <a:pt x="129" y="152"/>
                </a:lnTo>
                <a:lnTo>
                  <a:pt x="127" y="150"/>
                </a:lnTo>
                <a:lnTo>
                  <a:pt x="129" y="150"/>
                </a:lnTo>
                <a:lnTo>
                  <a:pt x="133" y="149"/>
                </a:lnTo>
                <a:lnTo>
                  <a:pt x="134" y="148"/>
                </a:lnTo>
                <a:lnTo>
                  <a:pt x="136" y="147"/>
                </a:lnTo>
                <a:lnTo>
                  <a:pt x="138" y="146"/>
                </a:lnTo>
                <a:lnTo>
                  <a:pt x="138" y="144"/>
                </a:lnTo>
                <a:lnTo>
                  <a:pt x="140" y="144"/>
                </a:lnTo>
                <a:lnTo>
                  <a:pt x="140" y="143"/>
                </a:lnTo>
                <a:lnTo>
                  <a:pt x="140" y="141"/>
                </a:lnTo>
                <a:lnTo>
                  <a:pt x="141" y="140"/>
                </a:lnTo>
                <a:lnTo>
                  <a:pt x="142" y="140"/>
                </a:lnTo>
                <a:lnTo>
                  <a:pt x="143" y="139"/>
                </a:lnTo>
                <a:lnTo>
                  <a:pt x="143" y="137"/>
                </a:lnTo>
                <a:lnTo>
                  <a:pt x="140" y="137"/>
                </a:lnTo>
                <a:lnTo>
                  <a:pt x="133" y="136"/>
                </a:lnTo>
                <a:lnTo>
                  <a:pt x="136" y="134"/>
                </a:lnTo>
                <a:lnTo>
                  <a:pt x="137" y="134"/>
                </a:lnTo>
                <a:lnTo>
                  <a:pt x="140" y="133"/>
                </a:lnTo>
                <a:lnTo>
                  <a:pt x="138" y="132"/>
                </a:lnTo>
                <a:lnTo>
                  <a:pt x="139" y="132"/>
                </a:lnTo>
                <a:lnTo>
                  <a:pt x="140" y="131"/>
                </a:lnTo>
                <a:lnTo>
                  <a:pt x="142" y="130"/>
                </a:lnTo>
                <a:lnTo>
                  <a:pt x="138" y="131"/>
                </a:lnTo>
                <a:lnTo>
                  <a:pt x="137" y="131"/>
                </a:lnTo>
                <a:lnTo>
                  <a:pt x="138" y="130"/>
                </a:lnTo>
                <a:lnTo>
                  <a:pt x="139" y="129"/>
                </a:lnTo>
                <a:lnTo>
                  <a:pt x="138" y="129"/>
                </a:lnTo>
                <a:lnTo>
                  <a:pt x="134" y="127"/>
                </a:lnTo>
                <a:lnTo>
                  <a:pt x="134" y="127"/>
                </a:lnTo>
                <a:lnTo>
                  <a:pt x="136" y="126"/>
                </a:lnTo>
                <a:lnTo>
                  <a:pt x="137" y="127"/>
                </a:lnTo>
                <a:lnTo>
                  <a:pt x="137" y="126"/>
                </a:lnTo>
                <a:lnTo>
                  <a:pt x="139" y="125"/>
                </a:lnTo>
                <a:lnTo>
                  <a:pt x="136" y="122"/>
                </a:lnTo>
                <a:lnTo>
                  <a:pt x="138" y="122"/>
                </a:lnTo>
                <a:lnTo>
                  <a:pt x="137" y="121"/>
                </a:lnTo>
                <a:lnTo>
                  <a:pt x="134" y="121"/>
                </a:lnTo>
                <a:lnTo>
                  <a:pt x="136" y="120"/>
                </a:lnTo>
                <a:lnTo>
                  <a:pt x="138" y="118"/>
                </a:lnTo>
                <a:lnTo>
                  <a:pt x="137" y="118"/>
                </a:lnTo>
                <a:lnTo>
                  <a:pt x="133" y="117"/>
                </a:lnTo>
                <a:lnTo>
                  <a:pt x="138" y="117"/>
                </a:lnTo>
                <a:lnTo>
                  <a:pt x="138" y="116"/>
                </a:lnTo>
                <a:lnTo>
                  <a:pt x="136" y="116"/>
                </a:lnTo>
                <a:lnTo>
                  <a:pt x="132" y="116"/>
                </a:lnTo>
                <a:lnTo>
                  <a:pt x="137" y="116"/>
                </a:lnTo>
                <a:lnTo>
                  <a:pt x="139" y="115"/>
                </a:lnTo>
                <a:lnTo>
                  <a:pt x="134" y="112"/>
                </a:lnTo>
                <a:lnTo>
                  <a:pt x="132" y="112"/>
                </a:lnTo>
                <a:lnTo>
                  <a:pt x="131" y="111"/>
                </a:lnTo>
                <a:lnTo>
                  <a:pt x="132" y="110"/>
                </a:lnTo>
                <a:lnTo>
                  <a:pt x="134" y="110"/>
                </a:lnTo>
                <a:lnTo>
                  <a:pt x="134" y="110"/>
                </a:lnTo>
                <a:lnTo>
                  <a:pt x="126" y="107"/>
                </a:lnTo>
                <a:lnTo>
                  <a:pt x="124" y="106"/>
                </a:lnTo>
                <a:lnTo>
                  <a:pt x="124" y="105"/>
                </a:lnTo>
                <a:lnTo>
                  <a:pt x="123" y="103"/>
                </a:lnTo>
                <a:lnTo>
                  <a:pt x="124" y="103"/>
                </a:lnTo>
                <a:lnTo>
                  <a:pt x="124" y="102"/>
                </a:lnTo>
                <a:lnTo>
                  <a:pt x="121" y="102"/>
                </a:lnTo>
                <a:lnTo>
                  <a:pt x="122" y="102"/>
                </a:lnTo>
                <a:lnTo>
                  <a:pt x="126" y="101"/>
                </a:lnTo>
                <a:lnTo>
                  <a:pt x="127" y="100"/>
                </a:lnTo>
                <a:lnTo>
                  <a:pt x="126" y="100"/>
                </a:lnTo>
                <a:lnTo>
                  <a:pt x="126" y="99"/>
                </a:lnTo>
                <a:lnTo>
                  <a:pt x="124" y="98"/>
                </a:lnTo>
                <a:lnTo>
                  <a:pt x="124" y="98"/>
                </a:lnTo>
                <a:lnTo>
                  <a:pt x="121" y="98"/>
                </a:lnTo>
                <a:lnTo>
                  <a:pt x="120" y="97"/>
                </a:lnTo>
                <a:lnTo>
                  <a:pt x="119" y="97"/>
                </a:lnTo>
                <a:lnTo>
                  <a:pt x="119" y="96"/>
                </a:lnTo>
                <a:lnTo>
                  <a:pt x="116" y="97"/>
                </a:lnTo>
                <a:lnTo>
                  <a:pt x="113" y="97"/>
                </a:lnTo>
                <a:lnTo>
                  <a:pt x="114" y="96"/>
                </a:lnTo>
                <a:lnTo>
                  <a:pt x="114" y="95"/>
                </a:lnTo>
                <a:lnTo>
                  <a:pt x="112" y="95"/>
                </a:lnTo>
                <a:lnTo>
                  <a:pt x="109" y="95"/>
                </a:lnTo>
                <a:lnTo>
                  <a:pt x="106" y="92"/>
                </a:lnTo>
                <a:lnTo>
                  <a:pt x="106" y="92"/>
                </a:lnTo>
                <a:lnTo>
                  <a:pt x="104" y="95"/>
                </a:lnTo>
                <a:lnTo>
                  <a:pt x="104" y="93"/>
                </a:lnTo>
                <a:lnTo>
                  <a:pt x="103" y="93"/>
                </a:lnTo>
                <a:lnTo>
                  <a:pt x="103" y="92"/>
                </a:lnTo>
                <a:lnTo>
                  <a:pt x="91" y="91"/>
                </a:lnTo>
                <a:lnTo>
                  <a:pt x="89" y="91"/>
                </a:lnTo>
                <a:lnTo>
                  <a:pt x="88" y="91"/>
                </a:lnTo>
                <a:lnTo>
                  <a:pt x="86" y="91"/>
                </a:lnTo>
                <a:lnTo>
                  <a:pt x="84" y="89"/>
                </a:lnTo>
                <a:lnTo>
                  <a:pt x="81" y="89"/>
                </a:lnTo>
                <a:lnTo>
                  <a:pt x="78" y="91"/>
                </a:lnTo>
                <a:lnTo>
                  <a:pt x="73" y="92"/>
                </a:lnTo>
                <a:lnTo>
                  <a:pt x="72" y="91"/>
                </a:lnTo>
                <a:lnTo>
                  <a:pt x="72" y="90"/>
                </a:lnTo>
                <a:lnTo>
                  <a:pt x="70" y="90"/>
                </a:lnTo>
                <a:lnTo>
                  <a:pt x="67" y="91"/>
                </a:lnTo>
                <a:lnTo>
                  <a:pt x="66" y="92"/>
                </a:lnTo>
                <a:lnTo>
                  <a:pt x="63" y="91"/>
                </a:lnTo>
                <a:lnTo>
                  <a:pt x="61" y="92"/>
                </a:lnTo>
                <a:lnTo>
                  <a:pt x="58" y="93"/>
                </a:lnTo>
                <a:lnTo>
                  <a:pt x="56" y="93"/>
                </a:lnTo>
                <a:lnTo>
                  <a:pt x="53" y="93"/>
                </a:lnTo>
                <a:lnTo>
                  <a:pt x="55" y="91"/>
                </a:lnTo>
                <a:lnTo>
                  <a:pt x="57" y="90"/>
                </a:lnTo>
                <a:lnTo>
                  <a:pt x="51" y="90"/>
                </a:lnTo>
                <a:lnTo>
                  <a:pt x="49" y="91"/>
                </a:lnTo>
                <a:lnTo>
                  <a:pt x="47" y="92"/>
                </a:lnTo>
                <a:lnTo>
                  <a:pt x="45" y="92"/>
                </a:lnTo>
                <a:lnTo>
                  <a:pt x="43" y="90"/>
                </a:lnTo>
                <a:lnTo>
                  <a:pt x="40" y="90"/>
                </a:lnTo>
                <a:lnTo>
                  <a:pt x="37" y="92"/>
                </a:lnTo>
                <a:lnTo>
                  <a:pt x="39" y="92"/>
                </a:lnTo>
                <a:lnTo>
                  <a:pt x="43" y="96"/>
                </a:lnTo>
                <a:lnTo>
                  <a:pt x="39" y="95"/>
                </a:lnTo>
                <a:lnTo>
                  <a:pt x="33" y="95"/>
                </a:lnTo>
                <a:lnTo>
                  <a:pt x="31" y="93"/>
                </a:lnTo>
                <a:lnTo>
                  <a:pt x="26" y="93"/>
                </a:lnTo>
                <a:lnTo>
                  <a:pt x="20" y="91"/>
                </a:lnTo>
                <a:lnTo>
                  <a:pt x="19" y="90"/>
                </a:lnTo>
                <a:lnTo>
                  <a:pt x="17" y="89"/>
                </a:lnTo>
                <a:lnTo>
                  <a:pt x="15" y="88"/>
                </a:lnTo>
                <a:lnTo>
                  <a:pt x="23" y="86"/>
                </a:lnTo>
                <a:lnTo>
                  <a:pt x="28" y="86"/>
                </a:lnTo>
                <a:lnTo>
                  <a:pt x="32" y="86"/>
                </a:lnTo>
                <a:lnTo>
                  <a:pt x="32" y="85"/>
                </a:lnTo>
                <a:lnTo>
                  <a:pt x="27" y="85"/>
                </a:lnTo>
                <a:lnTo>
                  <a:pt x="21" y="85"/>
                </a:lnTo>
                <a:lnTo>
                  <a:pt x="15" y="83"/>
                </a:lnTo>
                <a:lnTo>
                  <a:pt x="15" y="82"/>
                </a:lnTo>
                <a:lnTo>
                  <a:pt x="20" y="80"/>
                </a:lnTo>
                <a:lnTo>
                  <a:pt x="19" y="80"/>
                </a:lnTo>
                <a:lnTo>
                  <a:pt x="12" y="82"/>
                </a:lnTo>
                <a:lnTo>
                  <a:pt x="9" y="83"/>
                </a:lnTo>
                <a:lnTo>
                  <a:pt x="6" y="82"/>
                </a:lnTo>
                <a:lnTo>
                  <a:pt x="7" y="81"/>
                </a:lnTo>
                <a:lnTo>
                  <a:pt x="7" y="81"/>
                </a:lnTo>
                <a:lnTo>
                  <a:pt x="2" y="80"/>
                </a:lnTo>
                <a:lnTo>
                  <a:pt x="1" y="80"/>
                </a:lnTo>
                <a:lnTo>
                  <a:pt x="3" y="80"/>
                </a:lnTo>
                <a:lnTo>
                  <a:pt x="8" y="78"/>
                </a:lnTo>
                <a:lnTo>
                  <a:pt x="10" y="78"/>
                </a:lnTo>
                <a:lnTo>
                  <a:pt x="11" y="78"/>
                </a:lnTo>
                <a:lnTo>
                  <a:pt x="17" y="77"/>
                </a:lnTo>
                <a:lnTo>
                  <a:pt x="28" y="77"/>
                </a:lnTo>
                <a:lnTo>
                  <a:pt x="38" y="78"/>
                </a:lnTo>
                <a:lnTo>
                  <a:pt x="43" y="77"/>
                </a:lnTo>
                <a:lnTo>
                  <a:pt x="55" y="78"/>
                </a:lnTo>
                <a:lnTo>
                  <a:pt x="57" y="78"/>
                </a:lnTo>
                <a:lnTo>
                  <a:pt x="58" y="78"/>
                </a:lnTo>
                <a:lnTo>
                  <a:pt x="59" y="78"/>
                </a:lnTo>
                <a:lnTo>
                  <a:pt x="63" y="78"/>
                </a:lnTo>
                <a:lnTo>
                  <a:pt x="64" y="77"/>
                </a:lnTo>
                <a:lnTo>
                  <a:pt x="66" y="77"/>
                </a:lnTo>
                <a:lnTo>
                  <a:pt x="64" y="77"/>
                </a:lnTo>
                <a:lnTo>
                  <a:pt x="60" y="76"/>
                </a:lnTo>
                <a:lnTo>
                  <a:pt x="59" y="75"/>
                </a:lnTo>
                <a:lnTo>
                  <a:pt x="59" y="75"/>
                </a:lnTo>
                <a:lnTo>
                  <a:pt x="61" y="73"/>
                </a:lnTo>
                <a:lnTo>
                  <a:pt x="64" y="73"/>
                </a:lnTo>
                <a:lnTo>
                  <a:pt x="67" y="73"/>
                </a:lnTo>
                <a:lnTo>
                  <a:pt x="68" y="72"/>
                </a:lnTo>
                <a:lnTo>
                  <a:pt x="66" y="71"/>
                </a:lnTo>
                <a:lnTo>
                  <a:pt x="66" y="71"/>
                </a:lnTo>
                <a:lnTo>
                  <a:pt x="66" y="70"/>
                </a:lnTo>
                <a:lnTo>
                  <a:pt x="62" y="71"/>
                </a:lnTo>
                <a:lnTo>
                  <a:pt x="61" y="71"/>
                </a:lnTo>
                <a:lnTo>
                  <a:pt x="59" y="71"/>
                </a:lnTo>
                <a:lnTo>
                  <a:pt x="59" y="71"/>
                </a:lnTo>
                <a:lnTo>
                  <a:pt x="61" y="70"/>
                </a:lnTo>
                <a:lnTo>
                  <a:pt x="62" y="70"/>
                </a:lnTo>
                <a:lnTo>
                  <a:pt x="60" y="70"/>
                </a:lnTo>
                <a:lnTo>
                  <a:pt x="57" y="71"/>
                </a:lnTo>
                <a:lnTo>
                  <a:pt x="53" y="72"/>
                </a:lnTo>
                <a:lnTo>
                  <a:pt x="48" y="72"/>
                </a:lnTo>
                <a:lnTo>
                  <a:pt x="41" y="72"/>
                </a:lnTo>
                <a:lnTo>
                  <a:pt x="41" y="71"/>
                </a:lnTo>
                <a:lnTo>
                  <a:pt x="40" y="71"/>
                </a:lnTo>
                <a:lnTo>
                  <a:pt x="38" y="71"/>
                </a:lnTo>
                <a:lnTo>
                  <a:pt x="38" y="72"/>
                </a:lnTo>
                <a:lnTo>
                  <a:pt x="38" y="72"/>
                </a:lnTo>
                <a:lnTo>
                  <a:pt x="32" y="73"/>
                </a:lnTo>
                <a:lnTo>
                  <a:pt x="29" y="73"/>
                </a:lnTo>
                <a:lnTo>
                  <a:pt x="23" y="72"/>
                </a:lnTo>
                <a:lnTo>
                  <a:pt x="22" y="71"/>
                </a:lnTo>
                <a:lnTo>
                  <a:pt x="29" y="70"/>
                </a:lnTo>
                <a:lnTo>
                  <a:pt x="29" y="70"/>
                </a:lnTo>
                <a:lnTo>
                  <a:pt x="25" y="71"/>
                </a:lnTo>
                <a:lnTo>
                  <a:pt x="19" y="71"/>
                </a:lnTo>
                <a:lnTo>
                  <a:pt x="21" y="70"/>
                </a:lnTo>
                <a:lnTo>
                  <a:pt x="26" y="68"/>
                </a:lnTo>
                <a:lnTo>
                  <a:pt x="18" y="69"/>
                </a:lnTo>
                <a:lnTo>
                  <a:pt x="13" y="69"/>
                </a:lnTo>
                <a:lnTo>
                  <a:pt x="13" y="69"/>
                </a:lnTo>
                <a:lnTo>
                  <a:pt x="15" y="68"/>
                </a:lnTo>
                <a:lnTo>
                  <a:pt x="11" y="68"/>
                </a:lnTo>
                <a:lnTo>
                  <a:pt x="10" y="68"/>
                </a:lnTo>
                <a:lnTo>
                  <a:pt x="8" y="68"/>
                </a:lnTo>
                <a:lnTo>
                  <a:pt x="6" y="67"/>
                </a:lnTo>
                <a:lnTo>
                  <a:pt x="5" y="67"/>
                </a:lnTo>
                <a:lnTo>
                  <a:pt x="6" y="67"/>
                </a:lnTo>
                <a:lnTo>
                  <a:pt x="6" y="66"/>
                </a:lnTo>
                <a:lnTo>
                  <a:pt x="3" y="66"/>
                </a:lnTo>
                <a:lnTo>
                  <a:pt x="1" y="65"/>
                </a:lnTo>
                <a:lnTo>
                  <a:pt x="0" y="65"/>
                </a:lnTo>
                <a:lnTo>
                  <a:pt x="2" y="63"/>
                </a:lnTo>
                <a:lnTo>
                  <a:pt x="5" y="63"/>
                </a:lnTo>
                <a:lnTo>
                  <a:pt x="5" y="62"/>
                </a:lnTo>
                <a:lnTo>
                  <a:pt x="7" y="62"/>
                </a:lnTo>
                <a:lnTo>
                  <a:pt x="3" y="62"/>
                </a:lnTo>
                <a:lnTo>
                  <a:pt x="3" y="62"/>
                </a:lnTo>
                <a:lnTo>
                  <a:pt x="7" y="61"/>
                </a:lnTo>
                <a:lnTo>
                  <a:pt x="7" y="60"/>
                </a:lnTo>
                <a:lnTo>
                  <a:pt x="8" y="60"/>
                </a:lnTo>
                <a:lnTo>
                  <a:pt x="11" y="59"/>
                </a:lnTo>
                <a:lnTo>
                  <a:pt x="16" y="59"/>
                </a:lnTo>
                <a:lnTo>
                  <a:pt x="18" y="58"/>
                </a:lnTo>
                <a:lnTo>
                  <a:pt x="22" y="58"/>
                </a:lnTo>
                <a:lnTo>
                  <a:pt x="26" y="58"/>
                </a:lnTo>
                <a:lnTo>
                  <a:pt x="29" y="57"/>
                </a:lnTo>
                <a:lnTo>
                  <a:pt x="33" y="57"/>
                </a:lnTo>
                <a:lnTo>
                  <a:pt x="37" y="56"/>
                </a:lnTo>
                <a:lnTo>
                  <a:pt x="42" y="56"/>
                </a:lnTo>
                <a:lnTo>
                  <a:pt x="43" y="56"/>
                </a:lnTo>
                <a:lnTo>
                  <a:pt x="45" y="55"/>
                </a:lnTo>
                <a:lnTo>
                  <a:pt x="47" y="55"/>
                </a:lnTo>
                <a:lnTo>
                  <a:pt x="49" y="56"/>
                </a:lnTo>
                <a:lnTo>
                  <a:pt x="50" y="55"/>
                </a:lnTo>
                <a:lnTo>
                  <a:pt x="47" y="55"/>
                </a:lnTo>
                <a:lnTo>
                  <a:pt x="47" y="53"/>
                </a:lnTo>
                <a:lnTo>
                  <a:pt x="49" y="53"/>
                </a:lnTo>
                <a:lnTo>
                  <a:pt x="55" y="52"/>
                </a:lnTo>
                <a:lnTo>
                  <a:pt x="60" y="52"/>
                </a:lnTo>
                <a:lnTo>
                  <a:pt x="62" y="52"/>
                </a:lnTo>
                <a:lnTo>
                  <a:pt x="63" y="52"/>
                </a:lnTo>
                <a:lnTo>
                  <a:pt x="70" y="51"/>
                </a:lnTo>
                <a:lnTo>
                  <a:pt x="71" y="52"/>
                </a:lnTo>
                <a:lnTo>
                  <a:pt x="74" y="52"/>
                </a:lnTo>
                <a:lnTo>
                  <a:pt x="77" y="52"/>
                </a:lnTo>
                <a:lnTo>
                  <a:pt x="79" y="52"/>
                </a:lnTo>
                <a:lnTo>
                  <a:pt x="80" y="52"/>
                </a:lnTo>
                <a:lnTo>
                  <a:pt x="81" y="52"/>
                </a:lnTo>
                <a:lnTo>
                  <a:pt x="83" y="51"/>
                </a:lnTo>
                <a:lnTo>
                  <a:pt x="90" y="49"/>
                </a:lnTo>
                <a:lnTo>
                  <a:pt x="92" y="49"/>
                </a:lnTo>
                <a:lnTo>
                  <a:pt x="94" y="48"/>
                </a:lnTo>
                <a:lnTo>
                  <a:pt x="99" y="47"/>
                </a:lnTo>
                <a:lnTo>
                  <a:pt x="99" y="47"/>
                </a:lnTo>
                <a:lnTo>
                  <a:pt x="99" y="46"/>
                </a:lnTo>
                <a:lnTo>
                  <a:pt x="99" y="46"/>
                </a:lnTo>
                <a:lnTo>
                  <a:pt x="98" y="45"/>
                </a:lnTo>
                <a:lnTo>
                  <a:pt x="97" y="45"/>
                </a:lnTo>
                <a:lnTo>
                  <a:pt x="99" y="43"/>
                </a:lnTo>
                <a:lnTo>
                  <a:pt x="102" y="43"/>
                </a:lnTo>
                <a:lnTo>
                  <a:pt x="104" y="43"/>
                </a:lnTo>
                <a:lnTo>
                  <a:pt x="107" y="42"/>
                </a:lnTo>
                <a:lnTo>
                  <a:pt x="106" y="41"/>
                </a:lnTo>
                <a:lnTo>
                  <a:pt x="103" y="41"/>
                </a:lnTo>
                <a:lnTo>
                  <a:pt x="101" y="41"/>
                </a:lnTo>
                <a:lnTo>
                  <a:pt x="109" y="40"/>
                </a:lnTo>
                <a:lnTo>
                  <a:pt x="111" y="39"/>
                </a:lnTo>
                <a:lnTo>
                  <a:pt x="113" y="39"/>
                </a:lnTo>
                <a:lnTo>
                  <a:pt x="117" y="39"/>
                </a:lnTo>
                <a:lnTo>
                  <a:pt x="113" y="39"/>
                </a:lnTo>
                <a:lnTo>
                  <a:pt x="113" y="38"/>
                </a:lnTo>
                <a:lnTo>
                  <a:pt x="113" y="38"/>
                </a:lnTo>
                <a:lnTo>
                  <a:pt x="114" y="37"/>
                </a:lnTo>
                <a:lnTo>
                  <a:pt x="113" y="37"/>
                </a:lnTo>
                <a:lnTo>
                  <a:pt x="111" y="38"/>
                </a:lnTo>
                <a:lnTo>
                  <a:pt x="109" y="39"/>
                </a:lnTo>
                <a:lnTo>
                  <a:pt x="107" y="39"/>
                </a:lnTo>
                <a:lnTo>
                  <a:pt x="102" y="40"/>
                </a:lnTo>
                <a:lnTo>
                  <a:pt x="100" y="40"/>
                </a:lnTo>
                <a:lnTo>
                  <a:pt x="100" y="39"/>
                </a:lnTo>
                <a:lnTo>
                  <a:pt x="98" y="40"/>
                </a:lnTo>
                <a:lnTo>
                  <a:pt x="92" y="41"/>
                </a:lnTo>
                <a:lnTo>
                  <a:pt x="89" y="39"/>
                </a:lnTo>
                <a:lnTo>
                  <a:pt x="82" y="40"/>
                </a:lnTo>
                <a:lnTo>
                  <a:pt x="81" y="40"/>
                </a:lnTo>
                <a:lnTo>
                  <a:pt x="80" y="39"/>
                </a:lnTo>
                <a:lnTo>
                  <a:pt x="79" y="39"/>
                </a:lnTo>
                <a:lnTo>
                  <a:pt x="78" y="39"/>
                </a:lnTo>
                <a:lnTo>
                  <a:pt x="78" y="38"/>
                </a:lnTo>
                <a:lnTo>
                  <a:pt x="79" y="38"/>
                </a:lnTo>
                <a:lnTo>
                  <a:pt x="79" y="37"/>
                </a:lnTo>
                <a:lnTo>
                  <a:pt x="79" y="37"/>
                </a:lnTo>
                <a:lnTo>
                  <a:pt x="80" y="37"/>
                </a:lnTo>
                <a:lnTo>
                  <a:pt x="88" y="36"/>
                </a:lnTo>
                <a:lnTo>
                  <a:pt x="91" y="35"/>
                </a:lnTo>
                <a:lnTo>
                  <a:pt x="90" y="33"/>
                </a:lnTo>
                <a:lnTo>
                  <a:pt x="91" y="33"/>
                </a:lnTo>
                <a:lnTo>
                  <a:pt x="93" y="33"/>
                </a:lnTo>
                <a:lnTo>
                  <a:pt x="99" y="32"/>
                </a:lnTo>
                <a:lnTo>
                  <a:pt x="101" y="32"/>
                </a:lnTo>
                <a:lnTo>
                  <a:pt x="104" y="33"/>
                </a:lnTo>
                <a:lnTo>
                  <a:pt x="104" y="33"/>
                </a:lnTo>
                <a:lnTo>
                  <a:pt x="103" y="32"/>
                </a:lnTo>
                <a:lnTo>
                  <a:pt x="102" y="32"/>
                </a:lnTo>
                <a:lnTo>
                  <a:pt x="103" y="32"/>
                </a:lnTo>
                <a:lnTo>
                  <a:pt x="110" y="31"/>
                </a:lnTo>
                <a:lnTo>
                  <a:pt x="110" y="30"/>
                </a:lnTo>
                <a:lnTo>
                  <a:pt x="112" y="30"/>
                </a:lnTo>
                <a:lnTo>
                  <a:pt x="113" y="29"/>
                </a:lnTo>
                <a:lnTo>
                  <a:pt x="113" y="29"/>
                </a:lnTo>
                <a:lnTo>
                  <a:pt x="116" y="29"/>
                </a:lnTo>
                <a:lnTo>
                  <a:pt x="118" y="28"/>
                </a:lnTo>
                <a:lnTo>
                  <a:pt x="120" y="28"/>
                </a:lnTo>
                <a:lnTo>
                  <a:pt x="121" y="28"/>
                </a:lnTo>
                <a:lnTo>
                  <a:pt x="122" y="27"/>
                </a:lnTo>
                <a:lnTo>
                  <a:pt x="126" y="27"/>
                </a:lnTo>
                <a:lnTo>
                  <a:pt x="129" y="26"/>
                </a:lnTo>
                <a:lnTo>
                  <a:pt x="131" y="26"/>
                </a:lnTo>
                <a:lnTo>
                  <a:pt x="138" y="27"/>
                </a:lnTo>
                <a:lnTo>
                  <a:pt x="139" y="27"/>
                </a:lnTo>
                <a:lnTo>
                  <a:pt x="142" y="28"/>
                </a:lnTo>
                <a:lnTo>
                  <a:pt x="149" y="27"/>
                </a:lnTo>
                <a:lnTo>
                  <a:pt x="149" y="27"/>
                </a:lnTo>
                <a:lnTo>
                  <a:pt x="148" y="26"/>
                </a:lnTo>
                <a:lnTo>
                  <a:pt x="148" y="25"/>
                </a:lnTo>
                <a:lnTo>
                  <a:pt x="149" y="25"/>
                </a:lnTo>
                <a:lnTo>
                  <a:pt x="151" y="24"/>
                </a:lnTo>
                <a:lnTo>
                  <a:pt x="153" y="24"/>
                </a:lnTo>
                <a:lnTo>
                  <a:pt x="154" y="22"/>
                </a:lnTo>
                <a:lnTo>
                  <a:pt x="152" y="22"/>
                </a:lnTo>
                <a:lnTo>
                  <a:pt x="152" y="22"/>
                </a:lnTo>
                <a:lnTo>
                  <a:pt x="152" y="22"/>
                </a:lnTo>
                <a:lnTo>
                  <a:pt x="151" y="21"/>
                </a:lnTo>
                <a:lnTo>
                  <a:pt x="150" y="21"/>
                </a:lnTo>
                <a:lnTo>
                  <a:pt x="150" y="21"/>
                </a:lnTo>
                <a:lnTo>
                  <a:pt x="150" y="20"/>
                </a:lnTo>
                <a:lnTo>
                  <a:pt x="151" y="20"/>
                </a:lnTo>
                <a:lnTo>
                  <a:pt x="153" y="19"/>
                </a:lnTo>
                <a:lnTo>
                  <a:pt x="163" y="18"/>
                </a:lnTo>
                <a:lnTo>
                  <a:pt x="174" y="19"/>
                </a:lnTo>
                <a:lnTo>
                  <a:pt x="175" y="19"/>
                </a:lnTo>
                <a:lnTo>
                  <a:pt x="175" y="20"/>
                </a:lnTo>
                <a:lnTo>
                  <a:pt x="175" y="21"/>
                </a:lnTo>
                <a:lnTo>
                  <a:pt x="177" y="21"/>
                </a:lnTo>
                <a:lnTo>
                  <a:pt x="180" y="22"/>
                </a:lnTo>
                <a:lnTo>
                  <a:pt x="184" y="22"/>
                </a:lnTo>
                <a:lnTo>
                  <a:pt x="188" y="24"/>
                </a:lnTo>
                <a:lnTo>
                  <a:pt x="188" y="24"/>
                </a:lnTo>
                <a:lnTo>
                  <a:pt x="189" y="25"/>
                </a:lnTo>
                <a:lnTo>
                  <a:pt x="190" y="24"/>
                </a:lnTo>
                <a:lnTo>
                  <a:pt x="190" y="24"/>
                </a:lnTo>
                <a:lnTo>
                  <a:pt x="189" y="22"/>
                </a:lnTo>
                <a:lnTo>
                  <a:pt x="183" y="21"/>
                </a:lnTo>
                <a:lnTo>
                  <a:pt x="183" y="21"/>
                </a:lnTo>
                <a:lnTo>
                  <a:pt x="181" y="21"/>
                </a:lnTo>
                <a:lnTo>
                  <a:pt x="180" y="19"/>
                </a:lnTo>
                <a:lnTo>
                  <a:pt x="179" y="19"/>
                </a:lnTo>
                <a:lnTo>
                  <a:pt x="177" y="18"/>
                </a:lnTo>
                <a:lnTo>
                  <a:pt x="174" y="18"/>
                </a:lnTo>
                <a:lnTo>
                  <a:pt x="171" y="18"/>
                </a:lnTo>
                <a:lnTo>
                  <a:pt x="173" y="17"/>
                </a:lnTo>
                <a:lnTo>
                  <a:pt x="178" y="17"/>
                </a:lnTo>
                <a:lnTo>
                  <a:pt x="182" y="16"/>
                </a:lnTo>
                <a:lnTo>
                  <a:pt x="194" y="16"/>
                </a:lnTo>
                <a:lnTo>
                  <a:pt x="201" y="15"/>
                </a:lnTo>
                <a:lnTo>
                  <a:pt x="202" y="15"/>
                </a:lnTo>
                <a:lnTo>
                  <a:pt x="202" y="16"/>
                </a:lnTo>
                <a:lnTo>
                  <a:pt x="203" y="15"/>
                </a:lnTo>
                <a:lnTo>
                  <a:pt x="204" y="15"/>
                </a:lnTo>
                <a:lnTo>
                  <a:pt x="208" y="15"/>
                </a:lnTo>
                <a:lnTo>
                  <a:pt x="211" y="15"/>
                </a:lnTo>
                <a:lnTo>
                  <a:pt x="211" y="15"/>
                </a:lnTo>
                <a:lnTo>
                  <a:pt x="219" y="14"/>
                </a:lnTo>
                <a:lnTo>
                  <a:pt x="221" y="14"/>
                </a:lnTo>
                <a:lnTo>
                  <a:pt x="223" y="14"/>
                </a:lnTo>
                <a:lnTo>
                  <a:pt x="224" y="15"/>
                </a:lnTo>
                <a:lnTo>
                  <a:pt x="224" y="15"/>
                </a:lnTo>
                <a:lnTo>
                  <a:pt x="228" y="16"/>
                </a:lnTo>
                <a:lnTo>
                  <a:pt x="228" y="18"/>
                </a:lnTo>
                <a:lnTo>
                  <a:pt x="229" y="18"/>
                </a:lnTo>
                <a:lnTo>
                  <a:pt x="228" y="19"/>
                </a:lnTo>
                <a:lnTo>
                  <a:pt x="228" y="19"/>
                </a:lnTo>
                <a:lnTo>
                  <a:pt x="224" y="21"/>
                </a:lnTo>
                <a:lnTo>
                  <a:pt x="223" y="21"/>
                </a:lnTo>
                <a:lnTo>
                  <a:pt x="223" y="22"/>
                </a:lnTo>
                <a:lnTo>
                  <a:pt x="225" y="22"/>
                </a:lnTo>
                <a:lnTo>
                  <a:pt x="226" y="22"/>
                </a:lnTo>
                <a:lnTo>
                  <a:pt x="228" y="20"/>
                </a:lnTo>
                <a:lnTo>
                  <a:pt x="231" y="20"/>
                </a:lnTo>
                <a:lnTo>
                  <a:pt x="233" y="19"/>
                </a:lnTo>
                <a:lnTo>
                  <a:pt x="234" y="19"/>
                </a:lnTo>
                <a:lnTo>
                  <a:pt x="234" y="17"/>
                </a:lnTo>
                <a:lnTo>
                  <a:pt x="242" y="18"/>
                </a:lnTo>
                <a:lnTo>
                  <a:pt x="246" y="18"/>
                </a:lnTo>
                <a:lnTo>
                  <a:pt x="253" y="20"/>
                </a:lnTo>
                <a:lnTo>
                  <a:pt x="260" y="21"/>
                </a:lnTo>
                <a:lnTo>
                  <a:pt x="260" y="20"/>
                </a:lnTo>
                <a:lnTo>
                  <a:pt x="255" y="19"/>
                </a:lnTo>
                <a:lnTo>
                  <a:pt x="252" y="18"/>
                </a:lnTo>
                <a:lnTo>
                  <a:pt x="259" y="18"/>
                </a:lnTo>
                <a:lnTo>
                  <a:pt x="261" y="19"/>
                </a:lnTo>
                <a:lnTo>
                  <a:pt x="263" y="19"/>
                </a:lnTo>
                <a:lnTo>
                  <a:pt x="265" y="18"/>
                </a:lnTo>
                <a:lnTo>
                  <a:pt x="265" y="18"/>
                </a:lnTo>
                <a:lnTo>
                  <a:pt x="261" y="17"/>
                </a:lnTo>
                <a:lnTo>
                  <a:pt x="260" y="17"/>
                </a:lnTo>
                <a:lnTo>
                  <a:pt x="260" y="17"/>
                </a:lnTo>
                <a:lnTo>
                  <a:pt x="255" y="15"/>
                </a:lnTo>
                <a:lnTo>
                  <a:pt x="255" y="15"/>
                </a:lnTo>
                <a:lnTo>
                  <a:pt x="256" y="14"/>
                </a:lnTo>
                <a:lnTo>
                  <a:pt x="256" y="14"/>
                </a:lnTo>
                <a:lnTo>
                  <a:pt x="254" y="12"/>
                </a:lnTo>
                <a:lnTo>
                  <a:pt x="255" y="11"/>
                </a:lnTo>
                <a:lnTo>
                  <a:pt x="262" y="11"/>
                </a:lnTo>
                <a:lnTo>
                  <a:pt x="271" y="12"/>
                </a:lnTo>
                <a:lnTo>
                  <a:pt x="273" y="12"/>
                </a:lnTo>
                <a:lnTo>
                  <a:pt x="274" y="12"/>
                </a:lnTo>
                <a:lnTo>
                  <a:pt x="275" y="14"/>
                </a:lnTo>
                <a:lnTo>
                  <a:pt x="282" y="15"/>
                </a:lnTo>
                <a:lnTo>
                  <a:pt x="284" y="15"/>
                </a:lnTo>
                <a:lnTo>
                  <a:pt x="284" y="16"/>
                </a:lnTo>
                <a:lnTo>
                  <a:pt x="294" y="17"/>
                </a:lnTo>
                <a:lnTo>
                  <a:pt x="298" y="17"/>
                </a:lnTo>
                <a:lnTo>
                  <a:pt x="299" y="18"/>
                </a:lnTo>
                <a:lnTo>
                  <a:pt x="300" y="18"/>
                </a:lnTo>
                <a:lnTo>
                  <a:pt x="302" y="19"/>
                </a:lnTo>
                <a:lnTo>
                  <a:pt x="307" y="20"/>
                </a:lnTo>
                <a:lnTo>
                  <a:pt x="311" y="20"/>
                </a:lnTo>
                <a:lnTo>
                  <a:pt x="311" y="20"/>
                </a:lnTo>
                <a:lnTo>
                  <a:pt x="314" y="19"/>
                </a:lnTo>
                <a:lnTo>
                  <a:pt x="314" y="19"/>
                </a:lnTo>
                <a:lnTo>
                  <a:pt x="311" y="18"/>
                </a:lnTo>
                <a:lnTo>
                  <a:pt x="309" y="17"/>
                </a:lnTo>
                <a:lnTo>
                  <a:pt x="313" y="17"/>
                </a:lnTo>
                <a:lnTo>
                  <a:pt x="317" y="17"/>
                </a:lnTo>
                <a:lnTo>
                  <a:pt x="322" y="17"/>
                </a:lnTo>
                <a:lnTo>
                  <a:pt x="315" y="16"/>
                </a:lnTo>
                <a:lnTo>
                  <a:pt x="313" y="16"/>
                </a:lnTo>
                <a:lnTo>
                  <a:pt x="312" y="16"/>
                </a:lnTo>
                <a:lnTo>
                  <a:pt x="311" y="16"/>
                </a:lnTo>
                <a:lnTo>
                  <a:pt x="314" y="15"/>
                </a:lnTo>
                <a:lnTo>
                  <a:pt x="316" y="14"/>
                </a:lnTo>
                <a:lnTo>
                  <a:pt x="321" y="15"/>
                </a:lnTo>
                <a:lnTo>
                  <a:pt x="329" y="15"/>
                </a:lnTo>
                <a:lnTo>
                  <a:pt x="331" y="15"/>
                </a:lnTo>
                <a:lnTo>
                  <a:pt x="333" y="15"/>
                </a:lnTo>
                <a:lnTo>
                  <a:pt x="333" y="15"/>
                </a:lnTo>
                <a:lnTo>
                  <a:pt x="331" y="15"/>
                </a:lnTo>
                <a:lnTo>
                  <a:pt x="325" y="15"/>
                </a:lnTo>
                <a:lnTo>
                  <a:pt x="321" y="14"/>
                </a:lnTo>
                <a:lnTo>
                  <a:pt x="323" y="14"/>
                </a:lnTo>
                <a:lnTo>
                  <a:pt x="317" y="12"/>
                </a:lnTo>
                <a:lnTo>
                  <a:pt x="314" y="11"/>
                </a:lnTo>
                <a:lnTo>
                  <a:pt x="313" y="11"/>
                </a:lnTo>
                <a:lnTo>
                  <a:pt x="312" y="10"/>
                </a:lnTo>
                <a:lnTo>
                  <a:pt x="309" y="10"/>
                </a:lnTo>
                <a:lnTo>
                  <a:pt x="307" y="9"/>
                </a:lnTo>
                <a:lnTo>
                  <a:pt x="307" y="9"/>
                </a:lnTo>
                <a:lnTo>
                  <a:pt x="337" y="9"/>
                </a:lnTo>
                <a:lnTo>
                  <a:pt x="340" y="9"/>
                </a:lnTo>
                <a:lnTo>
                  <a:pt x="341" y="10"/>
                </a:lnTo>
                <a:lnTo>
                  <a:pt x="340" y="11"/>
                </a:lnTo>
                <a:lnTo>
                  <a:pt x="341" y="12"/>
                </a:lnTo>
                <a:lnTo>
                  <a:pt x="342" y="12"/>
                </a:lnTo>
                <a:lnTo>
                  <a:pt x="342" y="12"/>
                </a:lnTo>
                <a:lnTo>
                  <a:pt x="342" y="11"/>
                </a:lnTo>
                <a:lnTo>
                  <a:pt x="342" y="10"/>
                </a:lnTo>
                <a:lnTo>
                  <a:pt x="342" y="10"/>
                </a:lnTo>
                <a:lnTo>
                  <a:pt x="342" y="9"/>
                </a:lnTo>
                <a:lnTo>
                  <a:pt x="343" y="9"/>
                </a:lnTo>
                <a:lnTo>
                  <a:pt x="346" y="9"/>
                </a:lnTo>
                <a:lnTo>
                  <a:pt x="350" y="10"/>
                </a:lnTo>
                <a:lnTo>
                  <a:pt x="353" y="11"/>
                </a:lnTo>
                <a:lnTo>
                  <a:pt x="355" y="11"/>
                </a:lnTo>
                <a:lnTo>
                  <a:pt x="356" y="12"/>
                </a:lnTo>
                <a:lnTo>
                  <a:pt x="357" y="12"/>
                </a:lnTo>
                <a:lnTo>
                  <a:pt x="359" y="14"/>
                </a:lnTo>
                <a:lnTo>
                  <a:pt x="359" y="12"/>
                </a:lnTo>
                <a:lnTo>
                  <a:pt x="360" y="12"/>
                </a:lnTo>
                <a:lnTo>
                  <a:pt x="357" y="11"/>
                </a:lnTo>
                <a:lnTo>
                  <a:pt x="360" y="11"/>
                </a:lnTo>
                <a:lnTo>
                  <a:pt x="360" y="10"/>
                </a:lnTo>
                <a:lnTo>
                  <a:pt x="360" y="10"/>
                </a:lnTo>
                <a:lnTo>
                  <a:pt x="354" y="9"/>
                </a:lnTo>
                <a:lnTo>
                  <a:pt x="352" y="9"/>
                </a:lnTo>
                <a:lnTo>
                  <a:pt x="350" y="9"/>
                </a:lnTo>
                <a:lnTo>
                  <a:pt x="337" y="8"/>
                </a:lnTo>
                <a:lnTo>
                  <a:pt x="317" y="8"/>
                </a:lnTo>
                <a:lnTo>
                  <a:pt x="316" y="8"/>
                </a:lnTo>
                <a:lnTo>
                  <a:pt x="315" y="8"/>
                </a:lnTo>
                <a:lnTo>
                  <a:pt x="316" y="7"/>
                </a:lnTo>
                <a:lnTo>
                  <a:pt x="323" y="8"/>
                </a:lnTo>
                <a:lnTo>
                  <a:pt x="330" y="8"/>
                </a:lnTo>
                <a:lnTo>
                  <a:pt x="329" y="7"/>
                </a:lnTo>
                <a:lnTo>
                  <a:pt x="322" y="8"/>
                </a:lnTo>
                <a:lnTo>
                  <a:pt x="312" y="7"/>
                </a:lnTo>
                <a:lnTo>
                  <a:pt x="313" y="6"/>
                </a:lnTo>
                <a:lnTo>
                  <a:pt x="311" y="6"/>
                </a:lnTo>
                <a:lnTo>
                  <a:pt x="311" y="6"/>
                </a:lnTo>
                <a:lnTo>
                  <a:pt x="312" y="5"/>
                </a:lnTo>
                <a:lnTo>
                  <a:pt x="312" y="6"/>
                </a:lnTo>
                <a:lnTo>
                  <a:pt x="315" y="5"/>
                </a:lnTo>
                <a:lnTo>
                  <a:pt x="315" y="6"/>
                </a:lnTo>
                <a:lnTo>
                  <a:pt x="319" y="6"/>
                </a:lnTo>
                <a:lnTo>
                  <a:pt x="317" y="5"/>
                </a:lnTo>
                <a:lnTo>
                  <a:pt x="319" y="5"/>
                </a:lnTo>
                <a:lnTo>
                  <a:pt x="322" y="5"/>
                </a:lnTo>
                <a:lnTo>
                  <a:pt x="326" y="6"/>
                </a:lnTo>
                <a:lnTo>
                  <a:pt x="327" y="6"/>
                </a:lnTo>
                <a:lnTo>
                  <a:pt x="329" y="6"/>
                </a:lnTo>
                <a:lnTo>
                  <a:pt x="329" y="6"/>
                </a:lnTo>
                <a:lnTo>
                  <a:pt x="332" y="6"/>
                </a:lnTo>
                <a:lnTo>
                  <a:pt x="334" y="6"/>
                </a:lnTo>
                <a:lnTo>
                  <a:pt x="330" y="5"/>
                </a:lnTo>
                <a:lnTo>
                  <a:pt x="327" y="5"/>
                </a:lnTo>
                <a:lnTo>
                  <a:pt x="325" y="5"/>
                </a:lnTo>
                <a:lnTo>
                  <a:pt x="329" y="5"/>
                </a:lnTo>
                <a:lnTo>
                  <a:pt x="332" y="5"/>
                </a:lnTo>
                <a:lnTo>
                  <a:pt x="334" y="5"/>
                </a:lnTo>
                <a:lnTo>
                  <a:pt x="332" y="4"/>
                </a:lnTo>
                <a:lnTo>
                  <a:pt x="333" y="4"/>
                </a:lnTo>
                <a:lnTo>
                  <a:pt x="336" y="4"/>
                </a:lnTo>
                <a:lnTo>
                  <a:pt x="339" y="5"/>
                </a:lnTo>
                <a:lnTo>
                  <a:pt x="341" y="5"/>
                </a:lnTo>
                <a:lnTo>
                  <a:pt x="344" y="5"/>
                </a:lnTo>
                <a:lnTo>
                  <a:pt x="345" y="5"/>
                </a:lnTo>
                <a:lnTo>
                  <a:pt x="345" y="5"/>
                </a:lnTo>
                <a:lnTo>
                  <a:pt x="343" y="6"/>
                </a:lnTo>
                <a:lnTo>
                  <a:pt x="343" y="6"/>
                </a:lnTo>
                <a:lnTo>
                  <a:pt x="347" y="6"/>
                </a:lnTo>
                <a:lnTo>
                  <a:pt x="352" y="6"/>
                </a:lnTo>
                <a:lnTo>
                  <a:pt x="355" y="7"/>
                </a:lnTo>
                <a:lnTo>
                  <a:pt x="360" y="7"/>
                </a:lnTo>
                <a:lnTo>
                  <a:pt x="366" y="7"/>
                </a:lnTo>
                <a:lnTo>
                  <a:pt x="370" y="8"/>
                </a:lnTo>
                <a:lnTo>
                  <a:pt x="371" y="9"/>
                </a:lnTo>
                <a:lnTo>
                  <a:pt x="372" y="9"/>
                </a:lnTo>
                <a:lnTo>
                  <a:pt x="373" y="9"/>
                </a:lnTo>
                <a:lnTo>
                  <a:pt x="371" y="8"/>
                </a:lnTo>
                <a:lnTo>
                  <a:pt x="370" y="8"/>
                </a:lnTo>
                <a:lnTo>
                  <a:pt x="369" y="7"/>
                </a:lnTo>
                <a:lnTo>
                  <a:pt x="369" y="7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45" name="Freeform 344"/>
          <p:cNvSpPr>
            <a:spLocks/>
          </p:cNvSpPr>
          <p:nvPr/>
        </p:nvSpPr>
        <p:spPr bwMode="auto">
          <a:xfrm>
            <a:off x="3708400" y="1336641"/>
            <a:ext cx="23812" cy="3175"/>
          </a:xfrm>
          <a:custGeom>
            <a:avLst/>
            <a:gdLst>
              <a:gd name="T0" fmla="*/ 0 w 15"/>
              <a:gd name="T1" fmla="*/ 0 h 2"/>
              <a:gd name="T2" fmla="*/ 6 w 15"/>
              <a:gd name="T3" fmla="*/ 0 h 2"/>
              <a:gd name="T4" fmla="*/ 8 w 15"/>
              <a:gd name="T5" fmla="*/ 1 h 2"/>
              <a:gd name="T6" fmla="*/ 13 w 15"/>
              <a:gd name="T7" fmla="*/ 1 h 2"/>
              <a:gd name="T8" fmla="*/ 15 w 15"/>
              <a:gd name="T9" fmla="*/ 2 h 2"/>
              <a:gd name="T10" fmla="*/ 13 w 15"/>
              <a:gd name="T11" fmla="*/ 2 h 2"/>
              <a:gd name="T12" fmla="*/ 9 w 15"/>
              <a:gd name="T13" fmla="*/ 2 h 2"/>
              <a:gd name="T14" fmla="*/ 4 w 15"/>
              <a:gd name="T15" fmla="*/ 1 h 2"/>
              <a:gd name="T16" fmla="*/ 2 w 15"/>
              <a:gd name="T17" fmla="*/ 0 h 2"/>
              <a:gd name="T18" fmla="*/ 0 w 15"/>
              <a:gd name="T1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2">
                <a:moveTo>
                  <a:pt x="0" y="0"/>
                </a:moveTo>
                <a:lnTo>
                  <a:pt x="6" y="0"/>
                </a:lnTo>
                <a:lnTo>
                  <a:pt x="8" y="1"/>
                </a:lnTo>
                <a:lnTo>
                  <a:pt x="13" y="1"/>
                </a:lnTo>
                <a:lnTo>
                  <a:pt x="15" y="2"/>
                </a:lnTo>
                <a:lnTo>
                  <a:pt x="13" y="2"/>
                </a:lnTo>
                <a:lnTo>
                  <a:pt x="9" y="2"/>
                </a:lnTo>
                <a:lnTo>
                  <a:pt x="4" y="1"/>
                </a:ln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46" name="Freeform 345"/>
          <p:cNvSpPr>
            <a:spLocks/>
          </p:cNvSpPr>
          <p:nvPr/>
        </p:nvSpPr>
        <p:spPr bwMode="auto">
          <a:xfrm>
            <a:off x="3708400" y="1336641"/>
            <a:ext cx="23812" cy="3175"/>
          </a:xfrm>
          <a:custGeom>
            <a:avLst/>
            <a:gdLst>
              <a:gd name="T0" fmla="*/ 0 w 15"/>
              <a:gd name="T1" fmla="*/ 0 h 2"/>
              <a:gd name="T2" fmla="*/ 6 w 15"/>
              <a:gd name="T3" fmla="*/ 0 h 2"/>
              <a:gd name="T4" fmla="*/ 8 w 15"/>
              <a:gd name="T5" fmla="*/ 1 h 2"/>
              <a:gd name="T6" fmla="*/ 13 w 15"/>
              <a:gd name="T7" fmla="*/ 1 h 2"/>
              <a:gd name="T8" fmla="*/ 15 w 15"/>
              <a:gd name="T9" fmla="*/ 2 h 2"/>
              <a:gd name="T10" fmla="*/ 13 w 15"/>
              <a:gd name="T11" fmla="*/ 2 h 2"/>
              <a:gd name="T12" fmla="*/ 9 w 15"/>
              <a:gd name="T13" fmla="*/ 2 h 2"/>
              <a:gd name="T14" fmla="*/ 4 w 15"/>
              <a:gd name="T15" fmla="*/ 1 h 2"/>
              <a:gd name="T16" fmla="*/ 2 w 15"/>
              <a:gd name="T17" fmla="*/ 0 h 2"/>
              <a:gd name="T18" fmla="*/ 0 w 15"/>
              <a:gd name="T1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5" h="2">
                <a:moveTo>
                  <a:pt x="0" y="0"/>
                </a:moveTo>
                <a:lnTo>
                  <a:pt x="6" y="0"/>
                </a:lnTo>
                <a:lnTo>
                  <a:pt x="8" y="1"/>
                </a:lnTo>
                <a:lnTo>
                  <a:pt x="13" y="1"/>
                </a:lnTo>
                <a:lnTo>
                  <a:pt x="15" y="2"/>
                </a:lnTo>
                <a:lnTo>
                  <a:pt x="13" y="2"/>
                </a:lnTo>
                <a:lnTo>
                  <a:pt x="9" y="2"/>
                </a:lnTo>
                <a:lnTo>
                  <a:pt x="4" y="1"/>
                </a:lnTo>
                <a:lnTo>
                  <a:pt x="2" y="0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47" name="Freeform 346"/>
          <p:cNvSpPr>
            <a:spLocks/>
          </p:cNvSpPr>
          <p:nvPr/>
        </p:nvSpPr>
        <p:spPr bwMode="auto">
          <a:xfrm>
            <a:off x="3722688" y="1336641"/>
            <a:ext cx="17462" cy="3175"/>
          </a:xfrm>
          <a:custGeom>
            <a:avLst/>
            <a:gdLst>
              <a:gd name="T0" fmla="*/ 0 w 11"/>
              <a:gd name="T1" fmla="*/ 0 h 2"/>
              <a:gd name="T2" fmla="*/ 0 w 11"/>
              <a:gd name="T3" fmla="*/ 0 h 2"/>
              <a:gd name="T4" fmla="*/ 5 w 11"/>
              <a:gd name="T5" fmla="*/ 0 h 2"/>
              <a:gd name="T6" fmla="*/ 11 w 11"/>
              <a:gd name="T7" fmla="*/ 1 h 2"/>
              <a:gd name="T8" fmla="*/ 10 w 11"/>
              <a:gd name="T9" fmla="*/ 2 h 2"/>
              <a:gd name="T10" fmla="*/ 8 w 11"/>
              <a:gd name="T11" fmla="*/ 2 h 2"/>
              <a:gd name="T12" fmla="*/ 5 w 11"/>
              <a:gd name="T13" fmla="*/ 1 h 2"/>
              <a:gd name="T14" fmla="*/ 1 w 11"/>
              <a:gd name="T15" fmla="*/ 1 h 2"/>
              <a:gd name="T16" fmla="*/ 0 w 11"/>
              <a:gd name="T17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2">
                <a:moveTo>
                  <a:pt x="0" y="0"/>
                </a:moveTo>
                <a:lnTo>
                  <a:pt x="0" y="0"/>
                </a:lnTo>
                <a:lnTo>
                  <a:pt x="5" y="0"/>
                </a:lnTo>
                <a:lnTo>
                  <a:pt x="11" y="1"/>
                </a:lnTo>
                <a:lnTo>
                  <a:pt x="10" y="2"/>
                </a:lnTo>
                <a:lnTo>
                  <a:pt x="8" y="2"/>
                </a:lnTo>
                <a:lnTo>
                  <a:pt x="5" y="1"/>
                </a:lnTo>
                <a:lnTo>
                  <a:pt x="1" y="1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48" name="Freeform 347"/>
          <p:cNvSpPr>
            <a:spLocks/>
          </p:cNvSpPr>
          <p:nvPr/>
        </p:nvSpPr>
        <p:spPr bwMode="auto">
          <a:xfrm>
            <a:off x="3722688" y="1336641"/>
            <a:ext cx="17462" cy="3175"/>
          </a:xfrm>
          <a:custGeom>
            <a:avLst/>
            <a:gdLst>
              <a:gd name="T0" fmla="*/ 0 w 11"/>
              <a:gd name="T1" fmla="*/ 0 h 2"/>
              <a:gd name="T2" fmla="*/ 0 w 11"/>
              <a:gd name="T3" fmla="*/ 0 h 2"/>
              <a:gd name="T4" fmla="*/ 5 w 11"/>
              <a:gd name="T5" fmla="*/ 0 h 2"/>
              <a:gd name="T6" fmla="*/ 11 w 11"/>
              <a:gd name="T7" fmla="*/ 1 h 2"/>
              <a:gd name="T8" fmla="*/ 10 w 11"/>
              <a:gd name="T9" fmla="*/ 2 h 2"/>
              <a:gd name="T10" fmla="*/ 8 w 11"/>
              <a:gd name="T11" fmla="*/ 2 h 2"/>
              <a:gd name="T12" fmla="*/ 5 w 11"/>
              <a:gd name="T13" fmla="*/ 1 h 2"/>
              <a:gd name="T14" fmla="*/ 1 w 11"/>
              <a:gd name="T15" fmla="*/ 1 h 2"/>
              <a:gd name="T16" fmla="*/ 0 w 11"/>
              <a:gd name="T17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1" h="2">
                <a:moveTo>
                  <a:pt x="0" y="0"/>
                </a:moveTo>
                <a:lnTo>
                  <a:pt x="0" y="0"/>
                </a:lnTo>
                <a:lnTo>
                  <a:pt x="5" y="0"/>
                </a:lnTo>
                <a:lnTo>
                  <a:pt x="11" y="1"/>
                </a:lnTo>
                <a:lnTo>
                  <a:pt x="10" y="2"/>
                </a:lnTo>
                <a:lnTo>
                  <a:pt x="8" y="2"/>
                </a:lnTo>
                <a:lnTo>
                  <a:pt x="5" y="1"/>
                </a:lnTo>
                <a:lnTo>
                  <a:pt x="1" y="1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49" name="Freeform 348"/>
          <p:cNvSpPr>
            <a:spLocks/>
          </p:cNvSpPr>
          <p:nvPr/>
        </p:nvSpPr>
        <p:spPr bwMode="auto">
          <a:xfrm>
            <a:off x="4033838" y="1389028"/>
            <a:ext cx="12700" cy="3175"/>
          </a:xfrm>
          <a:custGeom>
            <a:avLst/>
            <a:gdLst>
              <a:gd name="T0" fmla="*/ 4 w 8"/>
              <a:gd name="T1" fmla="*/ 0 h 2"/>
              <a:gd name="T2" fmla="*/ 5 w 8"/>
              <a:gd name="T3" fmla="*/ 0 h 2"/>
              <a:gd name="T4" fmla="*/ 8 w 8"/>
              <a:gd name="T5" fmla="*/ 1 h 2"/>
              <a:gd name="T6" fmla="*/ 8 w 8"/>
              <a:gd name="T7" fmla="*/ 1 h 2"/>
              <a:gd name="T8" fmla="*/ 5 w 8"/>
              <a:gd name="T9" fmla="*/ 1 h 2"/>
              <a:gd name="T10" fmla="*/ 0 w 8"/>
              <a:gd name="T11" fmla="*/ 2 h 2"/>
              <a:gd name="T12" fmla="*/ 0 w 8"/>
              <a:gd name="T13" fmla="*/ 1 h 2"/>
              <a:gd name="T14" fmla="*/ 1 w 8"/>
              <a:gd name="T15" fmla="*/ 0 h 2"/>
              <a:gd name="T16" fmla="*/ 4 w 8"/>
              <a:gd name="T17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" h="2">
                <a:moveTo>
                  <a:pt x="4" y="0"/>
                </a:moveTo>
                <a:lnTo>
                  <a:pt x="5" y="0"/>
                </a:lnTo>
                <a:lnTo>
                  <a:pt x="8" y="1"/>
                </a:lnTo>
                <a:lnTo>
                  <a:pt x="8" y="1"/>
                </a:lnTo>
                <a:lnTo>
                  <a:pt x="5" y="1"/>
                </a:lnTo>
                <a:lnTo>
                  <a:pt x="0" y="2"/>
                </a:lnTo>
                <a:lnTo>
                  <a:pt x="0" y="1"/>
                </a:lnTo>
                <a:lnTo>
                  <a:pt x="1" y="0"/>
                </a:lnTo>
                <a:lnTo>
                  <a:pt x="4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50" name="Freeform 349"/>
          <p:cNvSpPr>
            <a:spLocks/>
          </p:cNvSpPr>
          <p:nvPr/>
        </p:nvSpPr>
        <p:spPr bwMode="auto">
          <a:xfrm>
            <a:off x="4033838" y="1389028"/>
            <a:ext cx="12700" cy="3175"/>
          </a:xfrm>
          <a:custGeom>
            <a:avLst/>
            <a:gdLst>
              <a:gd name="T0" fmla="*/ 4 w 8"/>
              <a:gd name="T1" fmla="*/ 0 h 2"/>
              <a:gd name="T2" fmla="*/ 5 w 8"/>
              <a:gd name="T3" fmla="*/ 0 h 2"/>
              <a:gd name="T4" fmla="*/ 8 w 8"/>
              <a:gd name="T5" fmla="*/ 1 h 2"/>
              <a:gd name="T6" fmla="*/ 8 w 8"/>
              <a:gd name="T7" fmla="*/ 1 h 2"/>
              <a:gd name="T8" fmla="*/ 5 w 8"/>
              <a:gd name="T9" fmla="*/ 1 h 2"/>
              <a:gd name="T10" fmla="*/ 0 w 8"/>
              <a:gd name="T11" fmla="*/ 2 h 2"/>
              <a:gd name="T12" fmla="*/ 0 w 8"/>
              <a:gd name="T13" fmla="*/ 1 h 2"/>
              <a:gd name="T14" fmla="*/ 1 w 8"/>
              <a:gd name="T15" fmla="*/ 0 h 2"/>
              <a:gd name="T16" fmla="*/ 4 w 8"/>
              <a:gd name="T17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" h="2">
                <a:moveTo>
                  <a:pt x="4" y="0"/>
                </a:moveTo>
                <a:lnTo>
                  <a:pt x="5" y="0"/>
                </a:lnTo>
                <a:lnTo>
                  <a:pt x="8" y="1"/>
                </a:lnTo>
                <a:lnTo>
                  <a:pt x="8" y="1"/>
                </a:lnTo>
                <a:lnTo>
                  <a:pt x="5" y="1"/>
                </a:lnTo>
                <a:lnTo>
                  <a:pt x="0" y="2"/>
                </a:lnTo>
                <a:lnTo>
                  <a:pt x="0" y="1"/>
                </a:lnTo>
                <a:lnTo>
                  <a:pt x="1" y="0"/>
                </a:lnTo>
                <a:lnTo>
                  <a:pt x="4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51" name="Freeform 350"/>
          <p:cNvSpPr>
            <a:spLocks/>
          </p:cNvSpPr>
          <p:nvPr/>
        </p:nvSpPr>
        <p:spPr bwMode="auto">
          <a:xfrm>
            <a:off x="3206750" y="1447766"/>
            <a:ext cx="49212" cy="4763"/>
          </a:xfrm>
          <a:custGeom>
            <a:avLst/>
            <a:gdLst>
              <a:gd name="T0" fmla="*/ 0 w 31"/>
              <a:gd name="T1" fmla="*/ 2 h 3"/>
              <a:gd name="T2" fmla="*/ 0 w 31"/>
              <a:gd name="T3" fmla="*/ 1 h 3"/>
              <a:gd name="T4" fmla="*/ 4 w 31"/>
              <a:gd name="T5" fmla="*/ 1 h 3"/>
              <a:gd name="T6" fmla="*/ 7 w 31"/>
              <a:gd name="T7" fmla="*/ 0 h 3"/>
              <a:gd name="T8" fmla="*/ 19 w 31"/>
              <a:gd name="T9" fmla="*/ 0 h 3"/>
              <a:gd name="T10" fmla="*/ 24 w 31"/>
              <a:gd name="T11" fmla="*/ 0 h 3"/>
              <a:gd name="T12" fmla="*/ 26 w 31"/>
              <a:gd name="T13" fmla="*/ 1 h 3"/>
              <a:gd name="T14" fmla="*/ 27 w 31"/>
              <a:gd name="T15" fmla="*/ 1 h 3"/>
              <a:gd name="T16" fmla="*/ 31 w 31"/>
              <a:gd name="T17" fmla="*/ 2 h 3"/>
              <a:gd name="T18" fmla="*/ 31 w 31"/>
              <a:gd name="T19" fmla="*/ 2 h 3"/>
              <a:gd name="T20" fmla="*/ 28 w 31"/>
              <a:gd name="T21" fmla="*/ 3 h 3"/>
              <a:gd name="T22" fmla="*/ 22 w 31"/>
              <a:gd name="T23" fmla="*/ 3 h 3"/>
              <a:gd name="T24" fmla="*/ 12 w 31"/>
              <a:gd name="T25" fmla="*/ 2 h 3"/>
              <a:gd name="T26" fmla="*/ 8 w 31"/>
              <a:gd name="T27" fmla="*/ 2 h 3"/>
              <a:gd name="T28" fmla="*/ 5 w 31"/>
              <a:gd name="T29" fmla="*/ 2 h 3"/>
              <a:gd name="T30" fmla="*/ 0 w 31"/>
              <a:gd name="T31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1" h="3">
                <a:moveTo>
                  <a:pt x="0" y="2"/>
                </a:moveTo>
                <a:lnTo>
                  <a:pt x="0" y="1"/>
                </a:lnTo>
                <a:lnTo>
                  <a:pt x="4" y="1"/>
                </a:lnTo>
                <a:lnTo>
                  <a:pt x="7" y="0"/>
                </a:lnTo>
                <a:lnTo>
                  <a:pt x="19" y="0"/>
                </a:lnTo>
                <a:lnTo>
                  <a:pt x="24" y="0"/>
                </a:lnTo>
                <a:lnTo>
                  <a:pt x="26" y="1"/>
                </a:lnTo>
                <a:lnTo>
                  <a:pt x="27" y="1"/>
                </a:lnTo>
                <a:lnTo>
                  <a:pt x="31" y="2"/>
                </a:lnTo>
                <a:lnTo>
                  <a:pt x="31" y="2"/>
                </a:lnTo>
                <a:lnTo>
                  <a:pt x="28" y="3"/>
                </a:lnTo>
                <a:lnTo>
                  <a:pt x="22" y="3"/>
                </a:lnTo>
                <a:lnTo>
                  <a:pt x="12" y="2"/>
                </a:lnTo>
                <a:lnTo>
                  <a:pt x="8" y="2"/>
                </a:lnTo>
                <a:lnTo>
                  <a:pt x="5" y="2"/>
                </a:lnTo>
                <a:lnTo>
                  <a:pt x="0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52" name="Freeform 351"/>
          <p:cNvSpPr>
            <a:spLocks/>
          </p:cNvSpPr>
          <p:nvPr/>
        </p:nvSpPr>
        <p:spPr bwMode="auto">
          <a:xfrm>
            <a:off x="3206750" y="1447766"/>
            <a:ext cx="49212" cy="4763"/>
          </a:xfrm>
          <a:custGeom>
            <a:avLst/>
            <a:gdLst>
              <a:gd name="T0" fmla="*/ 0 w 31"/>
              <a:gd name="T1" fmla="*/ 2 h 3"/>
              <a:gd name="T2" fmla="*/ 0 w 31"/>
              <a:gd name="T3" fmla="*/ 1 h 3"/>
              <a:gd name="T4" fmla="*/ 4 w 31"/>
              <a:gd name="T5" fmla="*/ 1 h 3"/>
              <a:gd name="T6" fmla="*/ 7 w 31"/>
              <a:gd name="T7" fmla="*/ 0 h 3"/>
              <a:gd name="T8" fmla="*/ 19 w 31"/>
              <a:gd name="T9" fmla="*/ 0 h 3"/>
              <a:gd name="T10" fmla="*/ 24 w 31"/>
              <a:gd name="T11" fmla="*/ 0 h 3"/>
              <a:gd name="T12" fmla="*/ 26 w 31"/>
              <a:gd name="T13" fmla="*/ 1 h 3"/>
              <a:gd name="T14" fmla="*/ 27 w 31"/>
              <a:gd name="T15" fmla="*/ 1 h 3"/>
              <a:gd name="T16" fmla="*/ 31 w 31"/>
              <a:gd name="T17" fmla="*/ 2 h 3"/>
              <a:gd name="T18" fmla="*/ 31 w 31"/>
              <a:gd name="T19" fmla="*/ 2 h 3"/>
              <a:gd name="T20" fmla="*/ 28 w 31"/>
              <a:gd name="T21" fmla="*/ 3 h 3"/>
              <a:gd name="T22" fmla="*/ 22 w 31"/>
              <a:gd name="T23" fmla="*/ 3 h 3"/>
              <a:gd name="T24" fmla="*/ 12 w 31"/>
              <a:gd name="T25" fmla="*/ 2 h 3"/>
              <a:gd name="T26" fmla="*/ 8 w 31"/>
              <a:gd name="T27" fmla="*/ 2 h 3"/>
              <a:gd name="T28" fmla="*/ 5 w 31"/>
              <a:gd name="T29" fmla="*/ 2 h 3"/>
              <a:gd name="T30" fmla="*/ 0 w 31"/>
              <a:gd name="T31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1" h="3">
                <a:moveTo>
                  <a:pt x="0" y="2"/>
                </a:moveTo>
                <a:lnTo>
                  <a:pt x="0" y="1"/>
                </a:lnTo>
                <a:lnTo>
                  <a:pt x="4" y="1"/>
                </a:lnTo>
                <a:lnTo>
                  <a:pt x="7" y="0"/>
                </a:lnTo>
                <a:lnTo>
                  <a:pt x="19" y="0"/>
                </a:lnTo>
                <a:lnTo>
                  <a:pt x="24" y="0"/>
                </a:lnTo>
                <a:lnTo>
                  <a:pt x="26" y="1"/>
                </a:lnTo>
                <a:lnTo>
                  <a:pt x="27" y="1"/>
                </a:lnTo>
                <a:lnTo>
                  <a:pt x="31" y="2"/>
                </a:lnTo>
                <a:lnTo>
                  <a:pt x="31" y="2"/>
                </a:lnTo>
                <a:lnTo>
                  <a:pt x="28" y="3"/>
                </a:lnTo>
                <a:lnTo>
                  <a:pt x="22" y="3"/>
                </a:lnTo>
                <a:lnTo>
                  <a:pt x="12" y="2"/>
                </a:lnTo>
                <a:lnTo>
                  <a:pt x="8" y="2"/>
                </a:lnTo>
                <a:lnTo>
                  <a:pt x="5" y="2"/>
                </a:lnTo>
                <a:lnTo>
                  <a:pt x="0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53" name="Freeform 352"/>
          <p:cNvSpPr>
            <a:spLocks/>
          </p:cNvSpPr>
          <p:nvPr/>
        </p:nvSpPr>
        <p:spPr bwMode="auto">
          <a:xfrm>
            <a:off x="3451225" y="1870041"/>
            <a:ext cx="9525" cy="4763"/>
          </a:xfrm>
          <a:custGeom>
            <a:avLst/>
            <a:gdLst>
              <a:gd name="T0" fmla="*/ 2 w 6"/>
              <a:gd name="T1" fmla="*/ 0 h 3"/>
              <a:gd name="T2" fmla="*/ 0 w 6"/>
              <a:gd name="T3" fmla="*/ 3 h 3"/>
              <a:gd name="T4" fmla="*/ 2 w 6"/>
              <a:gd name="T5" fmla="*/ 0 h 3"/>
              <a:gd name="T6" fmla="*/ 0 w 6"/>
              <a:gd name="T7" fmla="*/ 2 h 3"/>
              <a:gd name="T8" fmla="*/ 0 w 6"/>
              <a:gd name="T9" fmla="*/ 2 h 3"/>
              <a:gd name="T10" fmla="*/ 0 w 6"/>
              <a:gd name="T11" fmla="*/ 2 h 3"/>
              <a:gd name="T12" fmla="*/ 4 w 6"/>
              <a:gd name="T13" fmla="*/ 2 h 3"/>
              <a:gd name="T14" fmla="*/ 5 w 6"/>
              <a:gd name="T15" fmla="*/ 2 h 3"/>
              <a:gd name="T16" fmla="*/ 6 w 6"/>
              <a:gd name="T17" fmla="*/ 1 h 3"/>
              <a:gd name="T18" fmla="*/ 4 w 6"/>
              <a:gd name="T19" fmla="*/ 0 h 3"/>
              <a:gd name="T20" fmla="*/ 2 w 6"/>
              <a:gd name="T21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" h="3">
                <a:moveTo>
                  <a:pt x="2" y="0"/>
                </a:moveTo>
                <a:lnTo>
                  <a:pt x="0" y="3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4" y="2"/>
                </a:lnTo>
                <a:lnTo>
                  <a:pt x="5" y="2"/>
                </a:lnTo>
                <a:lnTo>
                  <a:pt x="6" y="1"/>
                </a:lnTo>
                <a:lnTo>
                  <a:pt x="4" y="0"/>
                </a:lnTo>
                <a:lnTo>
                  <a:pt x="2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54" name="Freeform 353"/>
          <p:cNvSpPr>
            <a:spLocks/>
          </p:cNvSpPr>
          <p:nvPr/>
        </p:nvSpPr>
        <p:spPr bwMode="auto">
          <a:xfrm>
            <a:off x="3451225" y="1870041"/>
            <a:ext cx="9525" cy="4763"/>
          </a:xfrm>
          <a:custGeom>
            <a:avLst/>
            <a:gdLst>
              <a:gd name="T0" fmla="*/ 2 w 6"/>
              <a:gd name="T1" fmla="*/ 0 h 3"/>
              <a:gd name="T2" fmla="*/ 0 w 6"/>
              <a:gd name="T3" fmla="*/ 3 h 3"/>
              <a:gd name="T4" fmla="*/ 2 w 6"/>
              <a:gd name="T5" fmla="*/ 0 h 3"/>
              <a:gd name="T6" fmla="*/ 0 w 6"/>
              <a:gd name="T7" fmla="*/ 2 h 3"/>
              <a:gd name="T8" fmla="*/ 0 w 6"/>
              <a:gd name="T9" fmla="*/ 2 h 3"/>
              <a:gd name="T10" fmla="*/ 0 w 6"/>
              <a:gd name="T11" fmla="*/ 2 h 3"/>
              <a:gd name="T12" fmla="*/ 4 w 6"/>
              <a:gd name="T13" fmla="*/ 2 h 3"/>
              <a:gd name="T14" fmla="*/ 5 w 6"/>
              <a:gd name="T15" fmla="*/ 2 h 3"/>
              <a:gd name="T16" fmla="*/ 6 w 6"/>
              <a:gd name="T17" fmla="*/ 1 h 3"/>
              <a:gd name="T18" fmla="*/ 4 w 6"/>
              <a:gd name="T19" fmla="*/ 0 h 3"/>
              <a:gd name="T20" fmla="*/ 2 w 6"/>
              <a:gd name="T21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" h="3">
                <a:moveTo>
                  <a:pt x="2" y="0"/>
                </a:moveTo>
                <a:lnTo>
                  <a:pt x="0" y="3"/>
                </a:lnTo>
                <a:lnTo>
                  <a:pt x="2" y="0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4" y="2"/>
                </a:lnTo>
                <a:lnTo>
                  <a:pt x="5" y="2"/>
                </a:lnTo>
                <a:lnTo>
                  <a:pt x="6" y="1"/>
                </a:lnTo>
                <a:lnTo>
                  <a:pt x="4" y="0"/>
                </a:lnTo>
                <a:lnTo>
                  <a:pt x="2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55" name="Freeform 354"/>
          <p:cNvSpPr>
            <a:spLocks/>
          </p:cNvSpPr>
          <p:nvPr/>
        </p:nvSpPr>
        <p:spPr bwMode="auto">
          <a:xfrm>
            <a:off x="3455988" y="1866866"/>
            <a:ext cx="15875" cy="3175"/>
          </a:xfrm>
          <a:custGeom>
            <a:avLst/>
            <a:gdLst>
              <a:gd name="T0" fmla="*/ 10 w 10"/>
              <a:gd name="T1" fmla="*/ 1 h 2"/>
              <a:gd name="T2" fmla="*/ 10 w 10"/>
              <a:gd name="T3" fmla="*/ 1 h 2"/>
              <a:gd name="T4" fmla="*/ 3 w 10"/>
              <a:gd name="T5" fmla="*/ 0 h 2"/>
              <a:gd name="T6" fmla="*/ 1 w 10"/>
              <a:gd name="T7" fmla="*/ 0 h 2"/>
              <a:gd name="T8" fmla="*/ 0 w 10"/>
              <a:gd name="T9" fmla="*/ 0 h 2"/>
              <a:gd name="T10" fmla="*/ 0 w 10"/>
              <a:gd name="T11" fmla="*/ 1 h 2"/>
              <a:gd name="T12" fmla="*/ 1 w 10"/>
              <a:gd name="T13" fmla="*/ 2 h 2"/>
              <a:gd name="T14" fmla="*/ 3 w 10"/>
              <a:gd name="T15" fmla="*/ 2 h 2"/>
              <a:gd name="T16" fmla="*/ 5 w 10"/>
              <a:gd name="T17" fmla="*/ 2 h 2"/>
              <a:gd name="T18" fmla="*/ 5 w 10"/>
              <a:gd name="T19" fmla="*/ 1 h 2"/>
              <a:gd name="T20" fmla="*/ 6 w 10"/>
              <a:gd name="T21" fmla="*/ 1 h 2"/>
              <a:gd name="T22" fmla="*/ 10 w 10"/>
              <a:gd name="T23" fmla="*/ 1 h 2"/>
              <a:gd name="T24" fmla="*/ 10 w 10"/>
              <a:gd name="T25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" h="2">
                <a:moveTo>
                  <a:pt x="10" y="1"/>
                </a:moveTo>
                <a:lnTo>
                  <a:pt x="10" y="1"/>
                </a:lnTo>
                <a:lnTo>
                  <a:pt x="3" y="0"/>
                </a:lnTo>
                <a:lnTo>
                  <a:pt x="1" y="0"/>
                </a:lnTo>
                <a:lnTo>
                  <a:pt x="0" y="0"/>
                </a:lnTo>
                <a:lnTo>
                  <a:pt x="0" y="1"/>
                </a:lnTo>
                <a:lnTo>
                  <a:pt x="1" y="2"/>
                </a:lnTo>
                <a:lnTo>
                  <a:pt x="3" y="2"/>
                </a:lnTo>
                <a:lnTo>
                  <a:pt x="5" y="2"/>
                </a:lnTo>
                <a:lnTo>
                  <a:pt x="5" y="1"/>
                </a:lnTo>
                <a:lnTo>
                  <a:pt x="6" y="1"/>
                </a:lnTo>
                <a:lnTo>
                  <a:pt x="10" y="1"/>
                </a:lnTo>
                <a:lnTo>
                  <a:pt x="1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56" name="Freeform 355"/>
          <p:cNvSpPr>
            <a:spLocks/>
          </p:cNvSpPr>
          <p:nvPr/>
        </p:nvSpPr>
        <p:spPr bwMode="auto">
          <a:xfrm>
            <a:off x="3455988" y="1866866"/>
            <a:ext cx="15875" cy="3175"/>
          </a:xfrm>
          <a:custGeom>
            <a:avLst/>
            <a:gdLst>
              <a:gd name="T0" fmla="*/ 10 w 10"/>
              <a:gd name="T1" fmla="*/ 1 h 2"/>
              <a:gd name="T2" fmla="*/ 10 w 10"/>
              <a:gd name="T3" fmla="*/ 1 h 2"/>
              <a:gd name="T4" fmla="*/ 3 w 10"/>
              <a:gd name="T5" fmla="*/ 0 h 2"/>
              <a:gd name="T6" fmla="*/ 1 w 10"/>
              <a:gd name="T7" fmla="*/ 0 h 2"/>
              <a:gd name="T8" fmla="*/ 0 w 10"/>
              <a:gd name="T9" fmla="*/ 0 h 2"/>
              <a:gd name="T10" fmla="*/ 0 w 10"/>
              <a:gd name="T11" fmla="*/ 1 h 2"/>
              <a:gd name="T12" fmla="*/ 1 w 10"/>
              <a:gd name="T13" fmla="*/ 2 h 2"/>
              <a:gd name="T14" fmla="*/ 3 w 10"/>
              <a:gd name="T15" fmla="*/ 2 h 2"/>
              <a:gd name="T16" fmla="*/ 5 w 10"/>
              <a:gd name="T17" fmla="*/ 2 h 2"/>
              <a:gd name="T18" fmla="*/ 5 w 10"/>
              <a:gd name="T19" fmla="*/ 1 h 2"/>
              <a:gd name="T20" fmla="*/ 6 w 10"/>
              <a:gd name="T21" fmla="*/ 1 h 2"/>
              <a:gd name="T22" fmla="*/ 10 w 10"/>
              <a:gd name="T23" fmla="*/ 1 h 2"/>
              <a:gd name="T24" fmla="*/ 10 w 10"/>
              <a:gd name="T25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" h="2">
                <a:moveTo>
                  <a:pt x="10" y="1"/>
                </a:moveTo>
                <a:lnTo>
                  <a:pt x="10" y="1"/>
                </a:lnTo>
                <a:lnTo>
                  <a:pt x="3" y="0"/>
                </a:lnTo>
                <a:lnTo>
                  <a:pt x="1" y="0"/>
                </a:lnTo>
                <a:lnTo>
                  <a:pt x="0" y="0"/>
                </a:lnTo>
                <a:lnTo>
                  <a:pt x="0" y="1"/>
                </a:lnTo>
                <a:lnTo>
                  <a:pt x="1" y="2"/>
                </a:lnTo>
                <a:lnTo>
                  <a:pt x="3" y="2"/>
                </a:lnTo>
                <a:lnTo>
                  <a:pt x="5" y="2"/>
                </a:lnTo>
                <a:lnTo>
                  <a:pt x="5" y="1"/>
                </a:lnTo>
                <a:lnTo>
                  <a:pt x="6" y="1"/>
                </a:lnTo>
                <a:lnTo>
                  <a:pt x="10" y="1"/>
                </a:lnTo>
                <a:lnTo>
                  <a:pt x="1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57" name="Freeform 356"/>
          <p:cNvSpPr>
            <a:spLocks/>
          </p:cNvSpPr>
          <p:nvPr/>
        </p:nvSpPr>
        <p:spPr bwMode="auto">
          <a:xfrm>
            <a:off x="1449388" y="2738403"/>
            <a:ext cx="3175" cy="9525"/>
          </a:xfrm>
          <a:custGeom>
            <a:avLst/>
            <a:gdLst>
              <a:gd name="T0" fmla="*/ 0 w 2"/>
              <a:gd name="T1" fmla="*/ 2 h 6"/>
              <a:gd name="T2" fmla="*/ 0 w 2"/>
              <a:gd name="T3" fmla="*/ 1 h 6"/>
              <a:gd name="T4" fmla="*/ 1 w 2"/>
              <a:gd name="T5" fmla="*/ 0 h 6"/>
              <a:gd name="T6" fmla="*/ 2 w 2"/>
              <a:gd name="T7" fmla="*/ 0 h 6"/>
              <a:gd name="T8" fmla="*/ 2 w 2"/>
              <a:gd name="T9" fmla="*/ 1 h 6"/>
              <a:gd name="T10" fmla="*/ 1 w 2"/>
              <a:gd name="T11" fmla="*/ 6 h 6"/>
              <a:gd name="T12" fmla="*/ 0 w 2"/>
              <a:gd name="T13" fmla="*/ 3 h 6"/>
              <a:gd name="T14" fmla="*/ 0 w 2"/>
              <a:gd name="T15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6">
                <a:moveTo>
                  <a:pt x="0" y="2"/>
                </a:moveTo>
                <a:lnTo>
                  <a:pt x="0" y="1"/>
                </a:lnTo>
                <a:lnTo>
                  <a:pt x="1" y="0"/>
                </a:lnTo>
                <a:lnTo>
                  <a:pt x="2" y="0"/>
                </a:lnTo>
                <a:lnTo>
                  <a:pt x="2" y="1"/>
                </a:lnTo>
                <a:lnTo>
                  <a:pt x="1" y="6"/>
                </a:lnTo>
                <a:lnTo>
                  <a:pt x="0" y="3"/>
                </a:lnTo>
                <a:lnTo>
                  <a:pt x="0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58" name="Freeform 357"/>
          <p:cNvSpPr>
            <a:spLocks/>
          </p:cNvSpPr>
          <p:nvPr/>
        </p:nvSpPr>
        <p:spPr bwMode="auto">
          <a:xfrm>
            <a:off x="1449388" y="2738403"/>
            <a:ext cx="3175" cy="9525"/>
          </a:xfrm>
          <a:custGeom>
            <a:avLst/>
            <a:gdLst>
              <a:gd name="T0" fmla="*/ 0 w 2"/>
              <a:gd name="T1" fmla="*/ 2 h 6"/>
              <a:gd name="T2" fmla="*/ 0 w 2"/>
              <a:gd name="T3" fmla="*/ 1 h 6"/>
              <a:gd name="T4" fmla="*/ 1 w 2"/>
              <a:gd name="T5" fmla="*/ 0 h 6"/>
              <a:gd name="T6" fmla="*/ 2 w 2"/>
              <a:gd name="T7" fmla="*/ 0 h 6"/>
              <a:gd name="T8" fmla="*/ 2 w 2"/>
              <a:gd name="T9" fmla="*/ 1 h 6"/>
              <a:gd name="T10" fmla="*/ 1 w 2"/>
              <a:gd name="T11" fmla="*/ 6 h 6"/>
              <a:gd name="T12" fmla="*/ 0 w 2"/>
              <a:gd name="T13" fmla="*/ 3 h 6"/>
              <a:gd name="T14" fmla="*/ 0 w 2"/>
              <a:gd name="T15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6">
                <a:moveTo>
                  <a:pt x="0" y="2"/>
                </a:moveTo>
                <a:lnTo>
                  <a:pt x="0" y="1"/>
                </a:lnTo>
                <a:lnTo>
                  <a:pt x="1" y="0"/>
                </a:lnTo>
                <a:lnTo>
                  <a:pt x="2" y="0"/>
                </a:lnTo>
                <a:lnTo>
                  <a:pt x="2" y="1"/>
                </a:lnTo>
                <a:lnTo>
                  <a:pt x="1" y="6"/>
                </a:lnTo>
                <a:lnTo>
                  <a:pt x="0" y="3"/>
                </a:lnTo>
                <a:lnTo>
                  <a:pt x="0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59" name="Freeform 358"/>
          <p:cNvSpPr>
            <a:spLocks/>
          </p:cNvSpPr>
          <p:nvPr/>
        </p:nvSpPr>
        <p:spPr bwMode="auto">
          <a:xfrm>
            <a:off x="1516063" y="2762216"/>
            <a:ext cx="4762" cy="9525"/>
          </a:xfrm>
          <a:custGeom>
            <a:avLst/>
            <a:gdLst>
              <a:gd name="T0" fmla="*/ 2 w 3"/>
              <a:gd name="T1" fmla="*/ 5 h 6"/>
              <a:gd name="T2" fmla="*/ 1 w 3"/>
              <a:gd name="T3" fmla="*/ 5 h 6"/>
              <a:gd name="T4" fmla="*/ 1 w 3"/>
              <a:gd name="T5" fmla="*/ 5 h 6"/>
              <a:gd name="T6" fmla="*/ 1 w 3"/>
              <a:gd name="T7" fmla="*/ 5 h 6"/>
              <a:gd name="T8" fmla="*/ 0 w 3"/>
              <a:gd name="T9" fmla="*/ 4 h 6"/>
              <a:gd name="T10" fmla="*/ 1 w 3"/>
              <a:gd name="T11" fmla="*/ 3 h 6"/>
              <a:gd name="T12" fmla="*/ 3 w 3"/>
              <a:gd name="T13" fmla="*/ 0 h 6"/>
              <a:gd name="T14" fmla="*/ 3 w 3"/>
              <a:gd name="T15" fmla="*/ 0 h 6"/>
              <a:gd name="T16" fmla="*/ 3 w 3"/>
              <a:gd name="T17" fmla="*/ 4 h 6"/>
              <a:gd name="T18" fmla="*/ 2 w 3"/>
              <a:gd name="T19" fmla="*/ 6 h 6"/>
              <a:gd name="T20" fmla="*/ 2 w 3"/>
              <a:gd name="T21" fmla="*/ 5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" h="6">
                <a:moveTo>
                  <a:pt x="2" y="5"/>
                </a:moveTo>
                <a:lnTo>
                  <a:pt x="1" y="5"/>
                </a:lnTo>
                <a:lnTo>
                  <a:pt x="1" y="5"/>
                </a:lnTo>
                <a:lnTo>
                  <a:pt x="1" y="5"/>
                </a:lnTo>
                <a:lnTo>
                  <a:pt x="0" y="4"/>
                </a:lnTo>
                <a:lnTo>
                  <a:pt x="1" y="3"/>
                </a:lnTo>
                <a:lnTo>
                  <a:pt x="3" y="0"/>
                </a:lnTo>
                <a:lnTo>
                  <a:pt x="3" y="0"/>
                </a:lnTo>
                <a:lnTo>
                  <a:pt x="3" y="4"/>
                </a:lnTo>
                <a:lnTo>
                  <a:pt x="2" y="6"/>
                </a:lnTo>
                <a:lnTo>
                  <a:pt x="2" y="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60" name="Freeform 359"/>
          <p:cNvSpPr>
            <a:spLocks/>
          </p:cNvSpPr>
          <p:nvPr/>
        </p:nvSpPr>
        <p:spPr bwMode="auto">
          <a:xfrm>
            <a:off x="1516063" y="2762216"/>
            <a:ext cx="4762" cy="9525"/>
          </a:xfrm>
          <a:custGeom>
            <a:avLst/>
            <a:gdLst>
              <a:gd name="T0" fmla="*/ 2 w 3"/>
              <a:gd name="T1" fmla="*/ 5 h 6"/>
              <a:gd name="T2" fmla="*/ 1 w 3"/>
              <a:gd name="T3" fmla="*/ 5 h 6"/>
              <a:gd name="T4" fmla="*/ 1 w 3"/>
              <a:gd name="T5" fmla="*/ 5 h 6"/>
              <a:gd name="T6" fmla="*/ 1 w 3"/>
              <a:gd name="T7" fmla="*/ 5 h 6"/>
              <a:gd name="T8" fmla="*/ 0 w 3"/>
              <a:gd name="T9" fmla="*/ 4 h 6"/>
              <a:gd name="T10" fmla="*/ 1 w 3"/>
              <a:gd name="T11" fmla="*/ 3 h 6"/>
              <a:gd name="T12" fmla="*/ 3 w 3"/>
              <a:gd name="T13" fmla="*/ 0 h 6"/>
              <a:gd name="T14" fmla="*/ 3 w 3"/>
              <a:gd name="T15" fmla="*/ 0 h 6"/>
              <a:gd name="T16" fmla="*/ 3 w 3"/>
              <a:gd name="T17" fmla="*/ 4 h 6"/>
              <a:gd name="T18" fmla="*/ 2 w 3"/>
              <a:gd name="T19" fmla="*/ 6 h 6"/>
              <a:gd name="T20" fmla="*/ 2 w 3"/>
              <a:gd name="T21" fmla="*/ 5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" h="6">
                <a:moveTo>
                  <a:pt x="2" y="5"/>
                </a:moveTo>
                <a:lnTo>
                  <a:pt x="1" y="5"/>
                </a:lnTo>
                <a:lnTo>
                  <a:pt x="1" y="5"/>
                </a:lnTo>
                <a:lnTo>
                  <a:pt x="1" y="5"/>
                </a:lnTo>
                <a:lnTo>
                  <a:pt x="0" y="4"/>
                </a:lnTo>
                <a:lnTo>
                  <a:pt x="1" y="3"/>
                </a:lnTo>
                <a:lnTo>
                  <a:pt x="3" y="0"/>
                </a:lnTo>
                <a:lnTo>
                  <a:pt x="3" y="0"/>
                </a:lnTo>
                <a:lnTo>
                  <a:pt x="3" y="4"/>
                </a:lnTo>
                <a:lnTo>
                  <a:pt x="2" y="6"/>
                </a:lnTo>
                <a:lnTo>
                  <a:pt x="2" y="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61" name="Freeform 360"/>
          <p:cNvSpPr>
            <a:spLocks/>
          </p:cNvSpPr>
          <p:nvPr/>
        </p:nvSpPr>
        <p:spPr bwMode="auto">
          <a:xfrm>
            <a:off x="1570038" y="2727291"/>
            <a:ext cx="7937" cy="15875"/>
          </a:xfrm>
          <a:custGeom>
            <a:avLst/>
            <a:gdLst>
              <a:gd name="T0" fmla="*/ 5 w 5"/>
              <a:gd name="T1" fmla="*/ 9 h 10"/>
              <a:gd name="T2" fmla="*/ 4 w 5"/>
              <a:gd name="T3" fmla="*/ 10 h 10"/>
              <a:gd name="T4" fmla="*/ 4 w 5"/>
              <a:gd name="T5" fmla="*/ 7 h 10"/>
              <a:gd name="T6" fmla="*/ 2 w 5"/>
              <a:gd name="T7" fmla="*/ 4 h 10"/>
              <a:gd name="T8" fmla="*/ 0 w 5"/>
              <a:gd name="T9" fmla="*/ 2 h 10"/>
              <a:gd name="T10" fmla="*/ 0 w 5"/>
              <a:gd name="T11" fmla="*/ 0 h 10"/>
              <a:gd name="T12" fmla="*/ 2 w 5"/>
              <a:gd name="T13" fmla="*/ 0 h 10"/>
              <a:gd name="T14" fmla="*/ 3 w 5"/>
              <a:gd name="T15" fmla="*/ 3 h 10"/>
              <a:gd name="T16" fmla="*/ 4 w 5"/>
              <a:gd name="T17" fmla="*/ 5 h 10"/>
              <a:gd name="T18" fmla="*/ 5 w 5"/>
              <a:gd name="T19" fmla="*/ 6 h 10"/>
              <a:gd name="T20" fmla="*/ 5 w 5"/>
              <a:gd name="T21" fmla="*/ 8 h 10"/>
              <a:gd name="T22" fmla="*/ 5 w 5"/>
              <a:gd name="T23" fmla="*/ 9 h 10"/>
              <a:gd name="T24" fmla="*/ 5 w 5"/>
              <a:gd name="T25" fmla="*/ 9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" h="10">
                <a:moveTo>
                  <a:pt x="5" y="9"/>
                </a:moveTo>
                <a:lnTo>
                  <a:pt x="4" y="10"/>
                </a:lnTo>
                <a:lnTo>
                  <a:pt x="4" y="7"/>
                </a:lnTo>
                <a:lnTo>
                  <a:pt x="2" y="4"/>
                </a:lnTo>
                <a:lnTo>
                  <a:pt x="0" y="2"/>
                </a:lnTo>
                <a:lnTo>
                  <a:pt x="0" y="0"/>
                </a:lnTo>
                <a:lnTo>
                  <a:pt x="2" y="0"/>
                </a:lnTo>
                <a:lnTo>
                  <a:pt x="3" y="3"/>
                </a:lnTo>
                <a:lnTo>
                  <a:pt x="4" y="5"/>
                </a:lnTo>
                <a:lnTo>
                  <a:pt x="5" y="6"/>
                </a:lnTo>
                <a:lnTo>
                  <a:pt x="5" y="8"/>
                </a:lnTo>
                <a:lnTo>
                  <a:pt x="5" y="9"/>
                </a:lnTo>
                <a:lnTo>
                  <a:pt x="5" y="9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62" name="Freeform 361"/>
          <p:cNvSpPr>
            <a:spLocks/>
          </p:cNvSpPr>
          <p:nvPr/>
        </p:nvSpPr>
        <p:spPr bwMode="auto">
          <a:xfrm>
            <a:off x="1570038" y="2727291"/>
            <a:ext cx="7937" cy="15875"/>
          </a:xfrm>
          <a:custGeom>
            <a:avLst/>
            <a:gdLst>
              <a:gd name="T0" fmla="*/ 5 w 5"/>
              <a:gd name="T1" fmla="*/ 9 h 10"/>
              <a:gd name="T2" fmla="*/ 4 w 5"/>
              <a:gd name="T3" fmla="*/ 10 h 10"/>
              <a:gd name="T4" fmla="*/ 4 w 5"/>
              <a:gd name="T5" fmla="*/ 7 h 10"/>
              <a:gd name="T6" fmla="*/ 2 w 5"/>
              <a:gd name="T7" fmla="*/ 4 h 10"/>
              <a:gd name="T8" fmla="*/ 0 w 5"/>
              <a:gd name="T9" fmla="*/ 2 h 10"/>
              <a:gd name="T10" fmla="*/ 0 w 5"/>
              <a:gd name="T11" fmla="*/ 0 h 10"/>
              <a:gd name="T12" fmla="*/ 2 w 5"/>
              <a:gd name="T13" fmla="*/ 0 h 10"/>
              <a:gd name="T14" fmla="*/ 3 w 5"/>
              <a:gd name="T15" fmla="*/ 3 h 10"/>
              <a:gd name="T16" fmla="*/ 4 w 5"/>
              <a:gd name="T17" fmla="*/ 5 h 10"/>
              <a:gd name="T18" fmla="*/ 5 w 5"/>
              <a:gd name="T19" fmla="*/ 6 h 10"/>
              <a:gd name="T20" fmla="*/ 5 w 5"/>
              <a:gd name="T21" fmla="*/ 8 h 10"/>
              <a:gd name="T22" fmla="*/ 5 w 5"/>
              <a:gd name="T23" fmla="*/ 9 h 10"/>
              <a:gd name="T24" fmla="*/ 5 w 5"/>
              <a:gd name="T25" fmla="*/ 9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" h="10">
                <a:moveTo>
                  <a:pt x="5" y="9"/>
                </a:moveTo>
                <a:lnTo>
                  <a:pt x="4" y="10"/>
                </a:lnTo>
                <a:lnTo>
                  <a:pt x="4" y="7"/>
                </a:lnTo>
                <a:lnTo>
                  <a:pt x="2" y="4"/>
                </a:lnTo>
                <a:lnTo>
                  <a:pt x="0" y="2"/>
                </a:lnTo>
                <a:lnTo>
                  <a:pt x="0" y="0"/>
                </a:lnTo>
                <a:lnTo>
                  <a:pt x="2" y="0"/>
                </a:lnTo>
                <a:lnTo>
                  <a:pt x="3" y="3"/>
                </a:lnTo>
                <a:lnTo>
                  <a:pt x="4" y="5"/>
                </a:lnTo>
                <a:lnTo>
                  <a:pt x="5" y="6"/>
                </a:lnTo>
                <a:lnTo>
                  <a:pt x="5" y="8"/>
                </a:lnTo>
                <a:lnTo>
                  <a:pt x="5" y="9"/>
                </a:lnTo>
                <a:lnTo>
                  <a:pt x="5" y="9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63" name="Freeform 362"/>
          <p:cNvSpPr>
            <a:spLocks/>
          </p:cNvSpPr>
          <p:nvPr/>
        </p:nvSpPr>
        <p:spPr bwMode="auto">
          <a:xfrm>
            <a:off x="1592263" y="2736816"/>
            <a:ext cx="6350" cy="12700"/>
          </a:xfrm>
          <a:custGeom>
            <a:avLst/>
            <a:gdLst>
              <a:gd name="T0" fmla="*/ 1 w 4"/>
              <a:gd name="T1" fmla="*/ 3 h 8"/>
              <a:gd name="T2" fmla="*/ 2 w 4"/>
              <a:gd name="T3" fmla="*/ 0 h 8"/>
              <a:gd name="T4" fmla="*/ 3 w 4"/>
              <a:gd name="T5" fmla="*/ 0 h 8"/>
              <a:gd name="T6" fmla="*/ 4 w 4"/>
              <a:gd name="T7" fmla="*/ 1 h 8"/>
              <a:gd name="T8" fmla="*/ 4 w 4"/>
              <a:gd name="T9" fmla="*/ 4 h 8"/>
              <a:gd name="T10" fmla="*/ 3 w 4"/>
              <a:gd name="T11" fmla="*/ 8 h 8"/>
              <a:gd name="T12" fmla="*/ 1 w 4"/>
              <a:gd name="T13" fmla="*/ 8 h 8"/>
              <a:gd name="T14" fmla="*/ 0 w 4"/>
              <a:gd name="T15" fmla="*/ 7 h 8"/>
              <a:gd name="T16" fmla="*/ 0 w 4"/>
              <a:gd name="T17" fmla="*/ 6 h 8"/>
              <a:gd name="T18" fmla="*/ 1 w 4"/>
              <a:gd name="T19" fmla="*/ 3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" h="8">
                <a:moveTo>
                  <a:pt x="1" y="3"/>
                </a:moveTo>
                <a:lnTo>
                  <a:pt x="2" y="0"/>
                </a:lnTo>
                <a:lnTo>
                  <a:pt x="3" y="0"/>
                </a:lnTo>
                <a:lnTo>
                  <a:pt x="4" y="1"/>
                </a:lnTo>
                <a:lnTo>
                  <a:pt x="4" y="4"/>
                </a:lnTo>
                <a:lnTo>
                  <a:pt x="3" y="8"/>
                </a:lnTo>
                <a:lnTo>
                  <a:pt x="1" y="8"/>
                </a:lnTo>
                <a:lnTo>
                  <a:pt x="0" y="7"/>
                </a:lnTo>
                <a:lnTo>
                  <a:pt x="0" y="6"/>
                </a:lnTo>
                <a:lnTo>
                  <a:pt x="1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64" name="Freeform 363"/>
          <p:cNvSpPr>
            <a:spLocks/>
          </p:cNvSpPr>
          <p:nvPr/>
        </p:nvSpPr>
        <p:spPr bwMode="auto">
          <a:xfrm>
            <a:off x="1592263" y="2736816"/>
            <a:ext cx="6350" cy="12700"/>
          </a:xfrm>
          <a:custGeom>
            <a:avLst/>
            <a:gdLst>
              <a:gd name="T0" fmla="*/ 1 w 4"/>
              <a:gd name="T1" fmla="*/ 3 h 8"/>
              <a:gd name="T2" fmla="*/ 2 w 4"/>
              <a:gd name="T3" fmla="*/ 0 h 8"/>
              <a:gd name="T4" fmla="*/ 3 w 4"/>
              <a:gd name="T5" fmla="*/ 0 h 8"/>
              <a:gd name="T6" fmla="*/ 4 w 4"/>
              <a:gd name="T7" fmla="*/ 1 h 8"/>
              <a:gd name="T8" fmla="*/ 4 w 4"/>
              <a:gd name="T9" fmla="*/ 4 h 8"/>
              <a:gd name="T10" fmla="*/ 3 w 4"/>
              <a:gd name="T11" fmla="*/ 8 h 8"/>
              <a:gd name="T12" fmla="*/ 1 w 4"/>
              <a:gd name="T13" fmla="*/ 8 h 8"/>
              <a:gd name="T14" fmla="*/ 0 w 4"/>
              <a:gd name="T15" fmla="*/ 7 h 8"/>
              <a:gd name="T16" fmla="*/ 0 w 4"/>
              <a:gd name="T17" fmla="*/ 6 h 8"/>
              <a:gd name="T18" fmla="*/ 1 w 4"/>
              <a:gd name="T19" fmla="*/ 3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" h="8">
                <a:moveTo>
                  <a:pt x="1" y="3"/>
                </a:moveTo>
                <a:lnTo>
                  <a:pt x="2" y="0"/>
                </a:lnTo>
                <a:lnTo>
                  <a:pt x="3" y="0"/>
                </a:lnTo>
                <a:lnTo>
                  <a:pt x="4" y="1"/>
                </a:lnTo>
                <a:lnTo>
                  <a:pt x="4" y="4"/>
                </a:lnTo>
                <a:lnTo>
                  <a:pt x="3" y="8"/>
                </a:lnTo>
                <a:lnTo>
                  <a:pt x="1" y="8"/>
                </a:lnTo>
                <a:lnTo>
                  <a:pt x="0" y="7"/>
                </a:lnTo>
                <a:lnTo>
                  <a:pt x="0" y="6"/>
                </a:lnTo>
                <a:lnTo>
                  <a:pt x="1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65" name="Freeform 364"/>
          <p:cNvSpPr>
            <a:spLocks/>
          </p:cNvSpPr>
          <p:nvPr/>
        </p:nvSpPr>
        <p:spPr bwMode="auto">
          <a:xfrm>
            <a:off x="1935163" y="2849528"/>
            <a:ext cx="4762" cy="6350"/>
          </a:xfrm>
          <a:custGeom>
            <a:avLst/>
            <a:gdLst>
              <a:gd name="T0" fmla="*/ 2 w 3"/>
              <a:gd name="T1" fmla="*/ 0 h 4"/>
              <a:gd name="T2" fmla="*/ 3 w 3"/>
              <a:gd name="T3" fmla="*/ 0 h 4"/>
              <a:gd name="T4" fmla="*/ 2 w 3"/>
              <a:gd name="T5" fmla="*/ 2 h 4"/>
              <a:gd name="T6" fmla="*/ 2 w 3"/>
              <a:gd name="T7" fmla="*/ 3 h 4"/>
              <a:gd name="T8" fmla="*/ 1 w 3"/>
              <a:gd name="T9" fmla="*/ 4 h 4"/>
              <a:gd name="T10" fmla="*/ 0 w 3"/>
              <a:gd name="T11" fmla="*/ 3 h 4"/>
              <a:gd name="T12" fmla="*/ 1 w 3"/>
              <a:gd name="T13" fmla="*/ 2 h 4"/>
              <a:gd name="T14" fmla="*/ 1 w 3"/>
              <a:gd name="T15" fmla="*/ 1 h 4"/>
              <a:gd name="T16" fmla="*/ 2 w 3"/>
              <a:gd name="T1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4">
                <a:moveTo>
                  <a:pt x="2" y="0"/>
                </a:moveTo>
                <a:lnTo>
                  <a:pt x="3" y="0"/>
                </a:lnTo>
                <a:lnTo>
                  <a:pt x="2" y="2"/>
                </a:lnTo>
                <a:lnTo>
                  <a:pt x="2" y="3"/>
                </a:lnTo>
                <a:lnTo>
                  <a:pt x="1" y="4"/>
                </a:lnTo>
                <a:lnTo>
                  <a:pt x="0" y="3"/>
                </a:lnTo>
                <a:lnTo>
                  <a:pt x="1" y="2"/>
                </a:lnTo>
                <a:lnTo>
                  <a:pt x="1" y="1"/>
                </a:lnTo>
                <a:lnTo>
                  <a:pt x="2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66" name="Freeform 365"/>
          <p:cNvSpPr>
            <a:spLocks/>
          </p:cNvSpPr>
          <p:nvPr/>
        </p:nvSpPr>
        <p:spPr bwMode="auto">
          <a:xfrm>
            <a:off x="1935163" y="2849528"/>
            <a:ext cx="4762" cy="6350"/>
          </a:xfrm>
          <a:custGeom>
            <a:avLst/>
            <a:gdLst>
              <a:gd name="T0" fmla="*/ 2 w 3"/>
              <a:gd name="T1" fmla="*/ 0 h 4"/>
              <a:gd name="T2" fmla="*/ 3 w 3"/>
              <a:gd name="T3" fmla="*/ 0 h 4"/>
              <a:gd name="T4" fmla="*/ 2 w 3"/>
              <a:gd name="T5" fmla="*/ 2 h 4"/>
              <a:gd name="T6" fmla="*/ 2 w 3"/>
              <a:gd name="T7" fmla="*/ 3 h 4"/>
              <a:gd name="T8" fmla="*/ 1 w 3"/>
              <a:gd name="T9" fmla="*/ 4 h 4"/>
              <a:gd name="T10" fmla="*/ 0 w 3"/>
              <a:gd name="T11" fmla="*/ 3 h 4"/>
              <a:gd name="T12" fmla="*/ 1 w 3"/>
              <a:gd name="T13" fmla="*/ 2 h 4"/>
              <a:gd name="T14" fmla="*/ 1 w 3"/>
              <a:gd name="T15" fmla="*/ 1 h 4"/>
              <a:gd name="T16" fmla="*/ 2 w 3"/>
              <a:gd name="T1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4">
                <a:moveTo>
                  <a:pt x="2" y="0"/>
                </a:moveTo>
                <a:lnTo>
                  <a:pt x="3" y="0"/>
                </a:lnTo>
                <a:lnTo>
                  <a:pt x="2" y="2"/>
                </a:lnTo>
                <a:lnTo>
                  <a:pt x="2" y="3"/>
                </a:lnTo>
                <a:lnTo>
                  <a:pt x="1" y="4"/>
                </a:lnTo>
                <a:lnTo>
                  <a:pt x="0" y="3"/>
                </a:lnTo>
                <a:lnTo>
                  <a:pt x="1" y="2"/>
                </a:lnTo>
                <a:lnTo>
                  <a:pt x="1" y="1"/>
                </a:lnTo>
                <a:lnTo>
                  <a:pt x="2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67" name="Freeform 366"/>
          <p:cNvSpPr>
            <a:spLocks/>
          </p:cNvSpPr>
          <p:nvPr/>
        </p:nvSpPr>
        <p:spPr bwMode="auto">
          <a:xfrm>
            <a:off x="2173288" y="2982878"/>
            <a:ext cx="6350" cy="9525"/>
          </a:xfrm>
          <a:custGeom>
            <a:avLst/>
            <a:gdLst>
              <a:gd name="T0" fmla="*/ 4 w 4"/>
              <a:gd name="T1" fmla="*/ 0 h 6"/>
              <a:gd name="T2" fmla="*/ 2 w 4"/>
              <a:gd name="T3" fmla="*/ 0 h 6"/>
              <a:gd name="T4" fmla="*/ 0 w 4"/>
              <a:gd name="T5" fmla="*/ 4 h 6"/>
              <a:gd name="T6" fmla="*/ 0 w 4"/>
              <a:gd name="T7" fmla="*/ 6 h 6"/>
              <a:gd name="T8" fmla="*/ 2 w 4"/>
              <a:gd name="T9" fmla="*/ 4 h 6"/>
              <a:gd name="T10" fmla="*/ 4 w 4"/>
              <a:gd name="T11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6">
                <a:moveTo>
                  <a:pt x="4" y="0"/>
                </a:moveTo>
                <a:lnTo>
                  <a:pt x="2" y="0"/>
                </a:lnTo>
                <a:lnTo>
                  <a:pt x="0" y="4"/>
                </a:lnTo>
                <a:lnTo>
                  <a:pt x="0" y="6"/>
                </a:lnTo>
                <a:lnTo>
                  <a:pt x="2" y="4"/>
                </a:lnTo>
                <a:lnTo>
                  <a:pt x="4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68" name="Freeform 367"/>
          <p:cNvSpPr>
            <a:spLocks/>
          </p:cNvSpPr>
          <p:nvPr/>
        </p:nvSpPr>
        <p:spPr bwMode="auto">
          <a:xfrm>
            <a:off x="2173288" y="2982878"/>
            <a:ext cx="6350" cy="9525"/>
          </a:xfrm>
          <a:custGeom>
            <a:avLst/>
            <a:gdLst>
              <a:gd name="T0" fmla="*/ 4 w 4"/>
              <a:gd name="T1" fmla="*/ 0 h 6"/>
              <a:gd name="T2" fmla="*/ 2 w 4"/>
              <a:gd name="T3" fmla="*/ 0 h 6"/>
              <a:gd name="T4" fmla="*/ 0 w 4"/>
              <a:gd name="T5" fmla="*/ 4 h 6"/>
              <a:gd name="T6" fmla="*/ 0 w 4"/>
              <a:gd name="T7" fmla="*/ 6 h 6"/>
              <a:gd name="T8" fmla="*/ 2 w 4"/>
              <a:gd name="T9" fmla="*/ 4 h 6"/>
              <a:gd name="T10" fmla="*/ 4 w 4"/>
              <a:gd name="T11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6">
                <a:moveTo>
                  <a:pt x="4" y="0"/>
                </a:moveTo>
                <a:lnTo>
                  <a:pt x="2" y="0"/>
                </a:lnTo>
                <a:lnTo>
                  <a:pt x="0" y="4"/>
                </a:lnTo>
                <a:lnTo>
                  <a:pt x="0" y="6"/>
                </a:lnTo>
                <a:lnTo>
                  <a:pt x="2" y="4"/>
                </a:lnTo>
                <a:lnTo>
                  <a:pt x="4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69" name="Freeform 368"/>
          <p:cNvSpPr>
            <a:spLocks/>
          </p:cNvSpPr>
          <p:nvPr/>
        </p:nvSpPr>
        <p:spPr bwMode="auto">
          <a:xfrm>
            <a:off x="2400300" y="2803491"/>
            <a:ext cx="25400" cy="7938"/>
          </a:xfrm>
          <a:custGeom>
            <a:avLst/>
            <a:gdLst>
              <a:gd name="T0" fmla="*/ 15 w 16"/>
              <a:gd name="T1" fmla="*/ 0 h 5"/>
              <a:gd name="T2" fmla="*/ 13 w 16"/>
              <a:gd name="T3" fmla="*/ 0 h 5"/>
              <a:gd name="T4" fmla="*/ 15 w 16"/>
              <a:gd name="T5" fmla="*/ 1 h 5"/>
              <a:gd name="T6" fmla="*/ 15 w 16"/>
              <a:gd name="T7" fmla="*/ 1 h 5"/>
              <a:gd name="T8" fmla="*/ 16 w 16"/>
              <a:gd name="T9" fmla="*/ 2 h 5"/>
              <a:gd name="T10" fmla="*/ 16 w 16"/>
              <a:gd name="T11" fmla="*/ 5 h 5"/>
              <a:gd name="T12" fmla="*/ 15 w 16"/>
              <a:gd name="T13" fmla="*/ 3 h 5"/>
              <a:gd name="T14" fmla="*/ 13 w 16"/>
              <a:gd name="T15" fmla="*/ 2 h 5"/>
              <a:gd name="T16" fmla="*/ 11 w 16"/>
              <a:gd name="T17" fmla="*/ 2 h 5"/>
              <a:gd name="T18" fmla="*/ 5 w 16"/>
              <a:gd name="T19" fmla="*/ 5 h 5"/>
              <a:gd name="T20" fmla="*/ 0 w 16"/>
              <a:gd name="T21" fmla="*/ 5 h 5"/>
              <a:gd name="T22" fmla="*/ 0 w 16"/>
              <a:gd name="T23" fmla="*/ 2 h 5"/>
              <a:gd name="T24" fmla="*/ 3 w 16"/>
              <a:gd name="T25" fmla="*/ 2 h 5"/>
              <a:gd name="T26" fmla="*/ 10 w 16"/>
              <a:gd name="T27" fmla="*/ 0 h 5"/>
              <a:gd name="T28" fmla="*/ 12 w 16"/>
              <a:gd name="T29" fmla="*/ 0 h 5"/>
              <a:gd name="T30" fmla="*/ 15 w 16"/>
              <a:gd name="T31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6" h="5">
                <a:moveTo>
                  <a:pt x="15" y="0"/>
                </a:moveTo>
                <a:lnTo>
                  <a:pt x="13" y="0"/>
                </a:lnTo>
                <a:lnTo>
                  <a:pt x="15" y="1"/>
                </a:lnTo>
                <a:lnTo>
                  <a:pt x="15" y="1"/>
                </a:lnTo>
                <a:lnTo>
                  <a:pt x="16" y="2"/>
                </a:lnTo>
                <a:lnTo>
                  <a:pt x="16" y="5"/>
                </a:lnTo>
                <a:lnTo>
                  <a:pt x="15" y="3"/>
                </a:lnTo>
                <a:lnTo>
                  <a:pt x="13" y="2"/>
                </a:lnTo>
                <a:lnTo>
                  <a:pt x="11" y="2"/>
                </a:lnTo>
                <a:lnTo>
                  <a:pt x="5" y="5"/>
                </a:lnTo>
                <a:lnTo>
                  <a:pt x="0" y="5"/>
                </a:lnTo>
                <a:lnTo>
                  <a:pt x="0" y="2"/>
                </a:lnTo>
                <a:lnTo>
                  <a:pt x="3" y="2"/>
                </a:lnTo>
                <a:lnTo>
                  <a:pt x="10" y="0"/>
                </a:lnTo>
                <a:lnTo>
                  <a:pt x="12" y="0"/>
                </a:lnTo>
                <a:lnTo>
                  <a:pt x="15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70" name="Freeform 369"/>
          <p:cNvSpPr>
            <a:spLocks/>
          </p:cNvSpPr>
          <p:nvPr/>
        </p:nvSpPr>
        <p:spPr bwMode="auto">
          <a:xfrm>
            <a:off x="2400300" y="2803491"/>
            <a:ext cx="25400" cy="7938"/>
          </a:xfrm>
          <a:custGeom>
            <a:avLst/>
            <a:gdLst>
              <a:gd name="T0" fmla="*/ 15 w 16"/>
              <a:gd name="T1" fmla="*/ 0 h 5"/>
              <a:gd name="T2" fmla="*/ 13 w 16"/>
              <a:gd name="T3" fmla="*/ 0 h 5"/>
              <a:gd name="T4" fmla="*/ 15 w 16"/>
              <a:gd name="T5" fmla="*/ 1 h 5"/>
              <a:gd name="T6" fmla="*/ 15 w 16"/>
              <a:gd name="T7" fmla="*/ 1 h 5"/>
              <a:gd name="T8" fmla="*/ 16 w 16"/>
              <a:gd name="T9" fmla="*/ 2 h 5"/>
              <a:gd name="T10" fmla="*/ 16 w 16"/>
              <a:gd name="T11" fmla="*/ 5 h 5"/>
              <a:gd name="T12" fmla="*/ 15 w 16"/>
              <a:gd name="T13" fmla="*/ 3 h 5"/>
              <a:gd name="T14" fmla="*/ 13 w 16"/>
              <a:gd name="T15" fmla="*/ 2 h 5"/>
              <a:gd name="T16" fmla="*/ 11 w 16"/>
              <a:gd name="T17" fmla="*/ 2 h 5"/>
              <a:gd name="T18" fmla="*/ 5 w 16"/>
              <a:gd name="T19" fmla="*/ 5 h 5"/>
              <a:gd name="T20" fmla="*/ 0 w 16"/>
              <a:gd name="T21" fmla="*/ 5 h 5"/>
              <a:gd name="T22" fmla="*/ 0 w 16"/>
              <a:gd name="T23" fmla="*/ 2 h 5"/>
              <a:gd name="T24" fmla="*/ 3 w 16"/>
              <a:gd name="T25" fmla="*/ 2 h 5"/>
              <a:gd name="T26" fmla="*/ 10 w 16"/>
              <a:gd name="T27" fmla="*/ 0 h 5"/>
              <a:gd name="T28" fmla="*/ 12 w 16"/>
              <a:gd name="T29" fmla="*/ 0 h 5"/>
              <a:gd name="T30" fmla="*/ 15 w 16"/>
              <a:gd name="T31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6" h="5">
                <a:moveTo>
                  <a:pt x="15" y="0"/>
                </a:moveTo>
                <a:lnTo>
                  <a:pt x="13" y="0"/>
                </a:lnTo>
                <a:lnTo>
                  <a:pt x="15" y="1"/>
                </a:lnTo>
                <a:lnTo>
                  <a:pt x="15" y="1"/>
                </a:lnTo>
                <a:lnTo>
                  <a:pt x="16" y="2"/>
                </a:lnTo>
                <a:lnTo>
                  <a:pt x="16" y="5"/>
                </a:lnTo>
                <a:lnTo>
                  <a:pt x="15" y="3"/>
                </a:lnTo>
                <a:lnTo>
                  <a:pt x="13" y="2"/>
                </a:lnTo>
                <a:lnTo>
                  <a:pt x="11" y="2"/>
                </a:lnTo>
                <a:lnTo>
                  <a:pt x="5" y="5"/>
                </a:lnTo>
                <a:lnTo>
                  <a:pt x="0" y="5"/>
                </a:lnTo>
                <a:lnTo>
                  <a:pt x="0" y="2"/>
                </a:lnTo>
                <a:lnTo>
                  <a:pt x="3" y="2"/>
                </a:lnTo>
                <a:lnTo>
                  <a:pt x="10" y="0"/>
                </a:lnTo>
                <a:lnTo>
                  <a:pt x="12" y="0"/>
                </a:lnTo>
                <a:lnTo>
                  <a:pt x="15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71" name="Freeform 370"/>
          <p:cNvSpPr>
            <a:spLocks/>
          </p:cNvSpPr>
          <p:nvPr/>
        </p:nvSpPr>
        <p:spPr bwMode="auto">
          <a:xfrm>
            <a:off x="2436813" y="2811428"/>
            <a:ext cx="9525" cy="19050"/>
          </a:xfrm>
          <a:custGeom>
            <a:avLst/>
            <a:gdLst>
              <a:gd name="T0" fmla="*/ 5 w 6"/>
              <a:gd name="T1" fmla="*/ 4 h 12"/>
              <a:gd name="T2" fmla="*/ 6 w 6"/>
              <a:gd name="T3" fmla="*/ 1 h 12"/>
              <a:gd name="T4" fmla="*/ 5 w 6"/>
              <a:gd name="T5" fmla="*/ 3 h 12"/>
              <a:gd name="T6" fmla="*/ 3 w 6"/>
              <a:gd name="T7" fmla="*/ 7 h 12"/>
              <a:gd name="T8" fmla="*/ 1 w 6"/>
              <a:gd name="T9" fmla="*/ 12 h 12"/>
              <a:gd name="T10" fmla="*/ 0 w 6"/>
              <a:gd name="T11" fmla="*/ 8 h 12"/>
              <a:gd name="T12" fmla="*/ 0 w 6"/>
              <a:gd name="T13" fmla="*/ 8 h 12"/>
              <a:gd name="T14" fmla="*/ 1 w 6"/>
              <a:gd name="T15" fmla="*/ 7 h 12"/>
              <a:gd name="T16" fmla="*/ 1 w 6"/>
              <a:gd name="T17" fmla="*/ 5 h 12"/>
              <a:gd name="T18" fmla="*/ 4 w 6"/>
              <a:gd name="T19" fmla="*/ 1 h 12"/>
              <a:gd name="T20" fmla="*/ 4 w 6"/>
              <a:gd name="T21" fmla="*/ 0 h 12"/>
              <a:gd name="T22" fmla="*/ 5 w 6"/>
              <a:gd name="T23" fmla="*/ 2 h 12"/>
              <a:gd name="T24" fmla="*/ 5 w 6"/>
              <a:gd name="T25" fmla="*/ 4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" h="12">
                <a:moveTo>
                  <a:pt x="5" y="4"/>
                </a:moveTo>
                <a:lnTo>
                  <a:pt x="6" y="1"/>
                </a:lnTo>
                <a:lnTo>
                  <a:pt x="5" y="3"/>
                </a:lnTo>
                <a:lnTo>
                  <a:pt x="3" y="7"/>
                </a:lnTo>
                <a:lnTo>
                  <a:pt x="1" y="12"/>
                </a:lnTo>
                <a:lnTo>
                  <a:pt x="0" y="8"/>
                </a:lnTo>
                <a:lnTo>
                  <a:pt x="0" y="8"/>
                </a:lnTo>
                <a:lnTo>
                  <a:pt x="1" y="7"/>
                </a:lnTo>
                <a:lnTo>
                  <a:pt x="1" y="5"/>
                </a:lnTo>
                <a:lnTo>
                  <a:pt x="4" y="1"/>
                </a:lnTo>
                <a:lnTo>
                  <a:pt x="4" y="0"/>
                </a:lnTo>
                <a:lnTo>
                  <a:pt x="5" y="2"/>
                </a:lnTo>
                <a:lnTo>
                  <a:pt x="5" y="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72" name="Freeform 371"/>
          <p:cNvSpPr>
            <a:spLocks/>
          </p:cNvSpPr>
          <p:nvPr/>
        </p:nvSpPr>
        <p:spPr bwMode="auto">
          <a:xfrm>
            <a:off x="2436813" y="2811428"/>
            <a:ext cx="9525" cy="19050"/>
          </a:xfrm>
          <a:custGeom>
            <a:avLst/>
            <a:gdLst>
              <a:gd name="T0" fmla="*/ 5 w 6"/>
              <a:gd name="T1" fmla="*/ 4 h 12"/>
              <a:gd name="T2" fmla="*/ 6 w 6"/>
              <a:gd name="T3" fmla="*/ 1 h 12"/>
              <a:gd name="T4" fmla="*/ 5 w 6"/>
              <a:gd name="T5" fmla="*/ 3 h 12"/>
              <a:gd name="T6" fmla="*/ 3 w 6"/>
              <a:gd name="T7" fmla="*/ 7 h 12"/>
              <a:gd name="T8" fmla="*/ 1 w 6"/>
              <a:gd name="T9" fmla="*/ 12 h 12"/>
              <a:gd name="T10" fmla="*/ 0 w 6"/>
              <a:gd name="T11" fmla="*/ 8 h 12"/>
              <a:gd name="T12" fmla="*/ 0 w 6"/>
              <a:gd name="T13" fmla="*/ 8 h 12"/>
              <a:gd name="T14" fmla="*/ 1 w 6"/>
              <a:gd name="T15" fmla="*/ 7 h 12"/>
              <a:gd name="T16" fmla="*/ 1 w 6"/>
              <a:gd name="T17" fmla="*/ 5 h 12"/>
              <a:gd name="T18" fmla="*/ 4 w 6"/>
              <a:gd name="T19" fmla="*/ 1 h 12"/>
              <a:gd name="T20" fmla="*/ 4 w 6"/>
              <a:gd name="T21" fmla="*/ 0 h 12"/>
              <a:gd name="T22" fmla="*/ 5 w 6"/>
              <a:gd name="T23" fmla="*/ 2 h 12"/>
              <a:gd name="T24" fmla="*/ 5 w 6"/>
              <a:gd name="T25" fmla="*/ 4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" h="12">
                <a:moveTo>
                  <a:pt x="5" y="4"/>
                </a:moveTo>
                <a:lnTo>
                  <a:pt x="6" y="1"/>
                </a:lnTo>
                <a:lnTo>
                  <a:pt x="5" y="3"/>
                </a:lnTo>
                <a:lnTo>
                  <a:pt x="3" y="7"/>
                </a:lnTo>
                <a:lnTo>
                  <a:pt x="1" y="12"/>
                </a:lnTo>
                <a:lnTo>
                  <a:pt x="0" y="8"/>
                </a:lnTo>
                <a:lnTo>
                  <a:pt x="0" y="8"/>
                </a:lnTo>
                <a:lnTo>
                  <a:pt x="1" y="7"/>
                </a:lnTo>
                <a:lnTo>
                  <a:pt x="1" y="5"/>
                </a:lnTo>
                <a:lnTo>
                  <a:pt x="4" y="1"/>
                </a:lnTo>
                <a:lnTo>
                  <a:pt x="4" y="0"/>
                </a:lnTo>
                <a:lnTo>
                  <a:pt x="5" y="2"/>
                </a:lnTo>
                <a:lnTo>
                  <a:pt x="5" y="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73" name="Freeform 372"/>
          <p:cNvSpPr>
            <a:spLocks/>
          </p:cNvSpPr>
          <p:nvPr/>
        </p:nvSpPr>
        <p:spPr bwMode="auto">
          <a:xfrm>
            <a:off x="2427288" y="2852703"/>
            <a:ext cx="6350" cy="3175"/>
          </a:xfrm>
          <a:custGeom>
            <a:avLst/>
            <a:gdLst>
              <a:gd name="T0" fmla="*/ 3 w 4"/>
              <a:gd name="T1" fmla="*/ 2 h 2"/>
              <a:gd name="T2" fmla="*/ 4 w 4"/>
              <a:gd name="T3" fmla="*/ 1 h 2"/>
              <a:gd name="T4" fmla="*/ 4 w 4"/>
              <a:gd name="T5" fmla="*/ 0 h 2"/>
              <a:gd name="T6" fmla="*/ 3 w 4"/>
              <a:gd name="T7" fmla="*/ 0 h 2"/>
              <a:gd name="T8" fmla="*/ 1 w 4"/>
              <a:gd name="T9" fmla="*/ 1 h 2"/>
              <a:gd name="T10" fmla="*/ 0 w 4"/>
              <a:gd name="T11" fmla="*/ 2 h 2"/>
              <a:gd name="T12" fmla="*/ 3 w 4"/>
              <a:gd name="T13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" h="2">
                <a:moveTo>
                  <a:pt x="3" y="2"/>
                </a:moveTo>
                <a:lnTo>
                  <a:pt x="4" y="1"/>
                </a:lnTo>
                <a:lnTo>
                  <a:pt x="4" y="0"/>
                </a:lnTo>
                <a:lnTo>
                  <a:pt x="3" y="0"/>
                </a:lnTo>
                <a:lnTo>
                  <a:pt x="1" y="1"/>
                </a:lnTo>
                <a:lnTo>
                  <a:pt x="0" y="2"/>
                </a:lnTo>
                <a:lnTo>
                  <a:pt x="3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74" name="Freeform 373"/>
          <p:cNvSpPr>
            <a:spLocks/>
          </p:cNvSpPr>
          <p:nvPr/>
        </p:nvSpPr>
        <p:spPr bwMode="auto">
          <a:xfrm>
            <a:off x="2427288" y="2852703"/>
            <a:ext cx="6350" cy="3175"/>
          </a:xfrm>
          <a:custGeom>
            <a:avLst/>
            <a:gdLst>
              <a:gd name="T0" fmla="*/ 3 w 4"/>
              <a:gd name="T1" fmla="*/ 2 h 2"/>
              <a:gd name="T2" fmla="*/ 4 w 4"/>
              <a:gd name="T3" fmla="*/ 1 h 2"/>
              <a:gd name="T4" fmla="*/ 4 w 4"/>
              <a:gd name="T5" fmla="*/ 0 h 2"/>
              <a:gd name="T6" fmla="*/ 3 w 4"/>
              <a:gd name="T7" fmla="*/ 0 h 2"/>
              <a:gd name="T8" fmla="*/ 1 w 4"/>
              <a:gd name="T9" fmla="*/ 1 h 2"/>
              <a:gd name="T10" fmla="*/ 0 w 4"/>
              <a:gd name="T11" fmla="*/ 2 h 2"/>
              <a:gd name="T12" fmla="*/ 3 w 4"/>
              <a:gd name="T13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" h="2">
                <a:moveTo>
                  <a:pt x="3" y="2"/>
                </a:moveTo>
                <a:lnTo>
                  <a:pt x="4" y="1"/>
                </a:lnTo>
                <a:lnTo>
                  <a:pt x="4" y="0"/>
                </a:lnTo>
                <a:lnTo>
                  <a:pt x="3" y="0"/>
                </a:lnTo>
                <a:lnTo>
                  <a:pt x="1" y="1"/>
                </a:lnTo>
                <a:lnTo>
                  <a:pt x="0" y="2"/>
                </a:lnTo>
                <a:lnTo>
                  <a:pt x="3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75" name="Freeform 374"/>
          <p:cNvSpPr>
            <a:spLocks/>
          </p:cNvSpPr>
          <p:nvPr/>
        </p:nvSpPr>
        <p:spPr bwMode="auto">
          <a:xfrm>
            <a:off x="2405063" y="2851116"/>
            <a:ext cx="14287" cy="25400"/>
          </a:xfrm>
          <a:custGeom>
            <a:avLst/>
            <a:gdLst>
              <a:gd name="T0" fmla="*/ 6 w 9"/>
              <a:gd name="T1" fmla="*/ 2 h 16"/>
              <a:gd name="T2" fmla="*/ 6 w 9"/>
              <a:gd name="T3" fmla="*/ 2 h 16"/>
              <a:gd name="T4" fmla="*/ 6 w 9"/>
              <a:gd name="T5" fmla="*/ 5 h 16"/>
              <a:gd name="T6" fmla="*/ 9 w 9"/>
              <a:gd name="T7" fmla="*/ 8 h 16"/>
              <a:gd name="T8" fmla="*/ 8 w 9"/>
              <a:gd name="T9" fmla="*/ 12 h 16"/>
              <a:gd name="T10" fmla="*/ 8 w 9"/>
              <a:gd name="T11" fmla="*/ 13 h 16"/>
              <a:gd name="T12" fmla="*/ 6 w 9"/>
              <a:gd name="T13" fmla="*/ 15 h 16"/>
              <a:gd name="T14" fmla="*/ 5 w 9"/>
              <a:gd name="T15" fmla="*/ 16 h 16"/>
              <a:gd name="T16" fmla="*/ 3 w 9"/>
              <a:gd name="T17" fmla="*/ 12 h 16"/>
              <a:gd name="T18" fmla="*/ 0 w 9"/>
              <a:gd name="T19" fmla="*/ 11 h 16"/>
              <a:gd name="T20" fmla="*/ 0 w 9"/>
              <a:gd name="T21" fmla="*/ 9 h 16"/>
              <a:gd name="T22" fmla="*/ 3 w 9"/>
              <a:gd name="T23" fmla="*/ 5 h 16"/>
              <a:gd name="T24" fmla="*/ 3 w 9"/>
              <a:gd name="T25" fmla="*/ 2 h 16"/>
              <a:gd name="T26" fmla="*/ 3 w 9"/>
              <a:gd name="T27" fmla="*/ 0 h 16"/>
              <a:gd name="T28" fmla="*/ 5 w 9"/>
              <a:gd name="T29" fmla="*/ 0 h 16"/>
              <a:gd name="T30" fmla="*/ 6 w 9"/>
              <a:gd name="T31" fmla="*/ 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9" h="16">
                <a:moveTo>
                  <a:pt x="6" y="2"/>
                </a:moveTo>
                <a:lnTo>
                  <a:pt x="6" y="2"/>
                </a:lnTo>
                <a:lnTo>
                  <a:pt x="6" y="5"/>
                </a:lnTo>
                <a:lnTo>
                  <a:pt x="9" y="8"/>
                </a:lnTo>
                <a:lnTo>
                  <a:pt x="8" y="12"/>
                </a:lnTo>
                <a:lnTo>
                  <a:pt x="8" y="13"/>
                </a:lnTo>
                <a:lnTo>
                  <a:pt x="6" y="15"/>
                </a:lnTo>
                <a:lnTo>
                  <a:pt x="5" y="16"/>
                </a:lnTo>
                <a:lnTo>
                  <a:pt x="3" y="12"/>
                </a:lnTo>
                <a:lnTo>
                  <a:pt x="0" y="11"/>
                </a:lnTo>
                <a:lnTo>
                  <a:pt x="0" y="9"/>
                </a:lnTo>
                <a:lnTo>
                  <a:pt x="3" y="5"/>
                </a:lnTo>
                <a:lnTo>
                  <a:pt x="3" y="2"/>
                </a:lnTo>
                <a:lnTo>
                  <a:pt x="3" y="0"/>
                </a:lnTo>
                <a:lnTo>
                  <a:pt x="5" y="0"/>
                </a:lnTo>
                <a:lnTo>
                  <a:pt x="6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76" name="Freeform 375"/>
          <p:cNvSpPr>
            <a:spLocks/>
          </p:cNvSpPr>
          <p:nvPr/>
        </p:nvSpPr>
        <p:spPr bwMode="auto">
          <a:xfrm>
            <a:off x="2405063" y="2851116"/>
            <a:ext cx="14287" cy="25400"/>
          </a:xfrm>
          <a:custGeom>
            <a:avLst/>
            <a:gdLst>
              <a:gd name="T0" fmla="*/ 6 w 9"/>
              <a:gd name="T1" fmla="*/ 2 h 16"/>
              <a:gd name="T2" fmla="*/ 6 w 9"/>
              <a:gd name="T3" fmla="*/ 2 h 16"/>
              <a:gd name="T4" fmla="*/ 6 w 9"/>
              <a:gd name="T5" fmla="*/ 5 h 16"/>
              <a:gd name="T6" fmla="*/ 9 w 9"/>
              <a:gd name="T7" fmla="*/ 8 h 16"/>
              <a:gd name="T8" fmla="*/ 8 w 9"/>
              <a:gd name="T9" fmla="*/ 12 h 16"/>
              <a:gd name="T10" fmla="*/ 8 w 9"/>
              <a:gd name="T11" fmla="*/ 13 h 16"/>
              <a:gd name="T12" fmla="*/ 6 w 9"/>
              <a:gd name="T13" fmla="*/ 15 h 16"/>
              <a:gd name="T14" fmla="*/ 5 w 9"/>
              <a:gd name="T15" fmla="*/ 16 h 16"/>
              <a:gd name="T16" fmla="*/ 3 w 9"/>
              <a:gd name="T17" fmla="*/ 12 h 16"/>
              <a:gd name="T18" fmla="*/ 0 w 9"/>
              <a:gd name="T19" fmla="*/ 11 h 16"/>
              <a:gd name="T20" fmla="*/ 0 w 9"/>
              <a:gd name="T21" fmla="*/ 9 h 16"/>
              <a:gd name="T22" fmla="*/ 3 w 9"/>
              <a:gd name="T23" fmla="*/ 5 h 16"/>
              <a:gd name="T24" fmla="*/ 3 w 9"/>
              <a:gd name="T25" fmla="*/ 2 h 16"/>
              <a:gd name="T26" fmla="*/ 3 w 9"/>
              <a:gd name="T27" fmla="*/ 0 h 16"/>
              <a:gd name="T28" fmla="*/ 5 w 9"/>
              <a:gd name="T29" fmla="*/ 0 h 16"/>
              <a:gd name="T30" fmla="*/ 6 w 9"/>
              <a:gd name="T31" fmla="*/ 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9" h="16">
                <a:moveTo>
                  <a:pt x="6" y="2"/>
                </a:moveTo>
                <a:lnTo>
                  <a:pt x="6" y="2"/>
                </a:lnTo>
                <a:lnTo>
                  <a:pt x="6" y="5"/>
                </a:lnTo>
                <a:lnTo>
                  <a:pt x="9" y="8"/>
                </a:lnTo>
                <a:lnTo>
                  <a:pt x="8" y="12"/>
                </a:lnTo>
                <a:lnTo>
                  <a:pt x="8" y="13"/>
                </a:lnTo>
                <a:lnTo>
                  <a:pt x="6" y="15"/>
                </a:lnTo>
                <a:lnTo>
                  <a:pt x="5" y="16"/>
                </a:lnTo>
                <a:lnTo>
                  <a:pt x="3" y="12"/>
                </a:lnTo>
                <a:lnTo>
                  <a:pt x="0" y="11"/>
                </a:lnTo>
                <a:lnTo>
                  <a:pt x="0" y="9"/>
                </a:lnTo>
                <a:lnTo>
                  <a:pt x="3" y="5"/>
                </a:lnTo>
                <a:lnTo>
                  <a:pt x="3" y="2"/>
                </a:lnTo>
                <a:lnTo>
                  <a:pt x="3" y="0"/>
                </a:lnTo>
                <a:lnTo>
                  <a:pt x="5" y="0"/>
                </a:lnTo>
                <a:lnTo>
                  <a:pt x="6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77" name="Freeform 376"/>
          <p:cNvSpPr>
            <a:spLocks/>
          </p:cNvSpPr>
          <p:nvPr/>
        </p:nvSpPr>
        <p:spPr bwMode="auto">
          <a:xfrm>
            <a:off x="2416175" y="2879691"/>
            <a:ext cx="4762" cy="12700"/>
          </a:xfrm>
          <a:custGeom>
            <a:avLst/>
            <a:gdLst>
              <a:gd name="T0" fmla="*/ 0 w 3"/>
              <a:gd name="T1" fmla="*/ 3 h 8"/>
              <a:gd name="T2" fmla="*/ 3 w 3"/>
              <a:gd name="T3" fmla="*/ 0 h 8"/>
              <a:gd name="T4" fmla="*/ 3 w 3"/>
              <a:gd name="T5" fmla="*/ 7 h 8"/>
              <a:gd name="T6" fmla="*/ 2 w 3"/>
              <a:gd name="T7" fmla="*/ 8 h 8"/>
              <a:gd name="T8" fmla="*/ 1 w 3"/>
              <a:gd name="T9" fmla="*/ 7 h 8"/>
              <a:gd name="T10" fmla="*/ 0 w 3"/>
              <a:gd name="T11" fmla="*/ 3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8">
                <a:moveTo>
                  <a:pt x="0" y="3"/>
                </a:moveTo>
                <a:lnTo>
                  <a:pt x="3" y="0"/>
                </a:lnTo>
                <a:lnTo>
                  <a:pt x="3" y="7"/>
                </a:lnTo>
                <a:lnTo>
                  <a:pt x="2" y="8"/>
                </a:lnTo>
                <a:lnTo>
                  <a:pt x="1" y="7"/>
                </a:lnTo>
                <a:lnTo>
                  <a:pt x="0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78" name="Freeform 377"/>
          <p:cNvSpPr>
            <a:spLocks/>
          </p:cNvSpPr>
          <p:nvPr/>
        </p:nvSpPr>
        <p:spPr bwMode="auto">
          <a:xfrm>
            <a:off x="2416175" y="2879691"/>
            <a:ext cx="4762" cy="12700"/>
          </a:xfrm>
          <a:custGeom>
            <a:avLst/>
            <a:gdLst>
              <a:gd name="T0" fmla="*/ 0 w 3"/>
              <a:gd name="T1" fmla="*/ 3 h 8"/>
              <a:gd name="T2" fmla="*/ 3 w 3"/>
              <a:gd name="T3" fmla="*/ 0 h 8"/>
              <a:gd name="T4" fmla="*/ 3 w 3"/>
              <a:gd name="T5" fmla="*/ 7 h 8"/>
              <a:gd name="T6" fmla="*/ 2 w 3"/>
              <a:gd name="T7" fmla="*/ 8 h 8"/>
              <a:gd name="T8" fmla="*/ 1 w 3"/>
              <a:gd name="T9" fmla="*/ 7 h 8"/>
              <a:gd name="T10" fmla="*/ 0 w 3"/>
              <a:gd name="T11" fmla="*/ 3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8">
                <a:moveTo>
                  <a:pt x="0" y="3"/>
                </a:moveTo>
                <a:lnTo>
                  <a:pt x="3" y="0"/>
                </a:lnTo>
                <a:lnTo>
                  <a:pt x="3" y="7"/>
                </a:lnTo>
                <a:lnTo>
                  <a:pt x="2" y="8"/>
                </a:lnTo>
                <a:lnTo>
                  <a:pt x="1" y="7"/>
                </a:lnTo>
                <a:lnTo>
                  <a:pt x="0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79" name="Freeform 378"/>
          <p:cNvSpPr>
            <a:spLocks/>
          </p:cNvSpPr>
          <p:nvPr/>
        </p:nvSpPr>
        <p:spPr bwMode="auto">
          <a:xfrm>
            <a:off x="2457450" y="2849528"/>
            <a:ext cx="4762" cy="15875"/>
          </a:xfrm>
          <a:custGeom>
            <a:avLst/>
            <a:gdLst>
              <a:gd name="T0" fmla="*/ 2 w 3"/>
              <a:gd name="T1" fmla="*/ 1 h 10"/>
              <a:gd name="T2" fmla="*/ 2 w 3"/>
              <a:gd name="T3" fmla="*/ 0 h 10"/>
              <a:gd name="T4" fmla="*/ 3 w 3"/>
              <a:gd name="T5" fmla="*/ 2 h 10"/>
              <a:gd name="T6" fmla="*/ 2 w 3"/>
              <a:gd name="T7" fmla="*/ 10 h 10"/>
              <a:gd name="T8" fmla="*/ 0 w 3"/>
              <a:gd name="T9" fmla="*/ 9 h 10"/>
              <a:gd name="T10" fmla="*/ 0 w 3"/>
              <a:gd name="T11" fmla="*/ 7 h 10"/>
              <a:gd name="T12" fmla="*/ 1 w 3"/>
              <a:gd name="T13" fmla="*/ 6 h 10"/>
              <a:gd name="T14" fmla="*/ 2 w 3"/>
              <a:gd name="T15" fmla="*/ 1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10">
                <a:moveTo>
                  <a:pt x="2" y="1"/>
                </a:moveTo>
                <a:lnTo>
                  <a:pt x="2" y="0"/>
                </a:lnTo>
                <a:lnTo>
                  <a:pt x="3" y="2"/>
                </a:lnTo>
                <a:lnTo>
                  <a:pt x="2" y="10"/>
                </a:lnTo>
                <a:lnTo>
                  <a:pt x="0" y="9"/>
                </a:lnTo>
                <a:lnTo>
                  <a:pt x="0" y="7"/>
                </a:lnTo>
                <a:lnTo>
                  <a:pt x="1" y="6"/>
                </a:lnTo>
                <a:lnTo>
                  <a:pt x="2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80" name="Freeform 379"/>
          <p:cNvSpPr>
            <a:spLocks/>
          </p:cNvSpPr>
          <p:nvPr/>
        </p:nvSpPr>
        <p:spPr bwMode="auto">
          <a:xfrm>
            <a:off x="2457450" y="2849528"/>
            <a:ext cx="4762" cy="15875"/>
          </a:xfrm>
          <a:custGeom>
            <a:avLst/>
            <a:gdLst>
              <a:gd name="T0" fmla="*/ 2 w 3"/>
              <a:gd name="T1" fmla="*/ 1 h 10"/>
              <a:gd name="T2" fmla="*/ 2 w 3"/>
              <a:gd name="T3" fmla="*/ 0 h 10"/>
              <a:gd name="T4" fmla="*/ 3 w 3"/>
              <a:gd name="T5" fmla="*/ 2 h 10"/>
              <a:gd name="T6" fmla="*/ 2 w 3"/>
              <a:gd name="T7" fmla="*/ 10 h 10"/>
              <a:gd name="T8" fmla="*/ 0 w 3"/>
              <a:gd name="T9" fmla="*/ 9 h 10"/>
              <a:gd name="T10" fmla="*/ 0 w 3"/>
              <a:gd name="T11" fmla="*/ 7 h 10"/>
              <a:gd name="T12" fmla="*/ 1 w 3"/>
              <a:gd name="T13" fmla="*/ 6 h 10"/>
              <a:gd name="T14" fmla="*/ 2 w 3"/>
              <a:gd name="T15" fmla="*/ 1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10">
                <a:moveTo>
                  <a:pt x="2" y="1"/>
                </a:moveTo>
                <a:lnTo>
                  <a:pt x="2" y="0"/>
                </a:lnTo>
                <a:lnTo>
                  <a:pt x="3" y="2"/>
                </a:lnTo>
                <a:lnTo>
                  <a:pt x="2" y="10"/>
                </a:lnTo>
                <a:lnTo>
                  <a:pt x="0" y="9"/>
                </a:lnTo>
                <a:lnTo>
                  <a:pt x="0" y="7"/>
                </a:lnTo>
                <a:lnTo>
                  <a:pt x="1" y="6"/>
                </a:lnTo>
                <a:lnTo>
                  <a:pt x="2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81" name="Freeform 380"/>
          <p:cNvSpPr>
            <a:spLocks/>
          </p:cNvSpPr>
          <p:nvPr/>
        </p:nvSpPr>
        <p:spPr bwMode="auto">
          <a:xfrm>
            <a:off x="2468563" y="2863816"/>
            <a:ext cx="11112" cy="17463"/>
          </a:xfrm>
          <a:custGeom>
            <a:avLst/>
            <a:gdLst>
              <a:gd name="T0" fmla="*/ 6 w 7"/>
              <a:gd name="T1" fmla="*/ 8 h 11"/>
              <a:gd name="T2" fmla="*/ 6 w 7"/>
              <a:gd name="T3" fmla="*/ 8 h 11"/>
              <a:gd name="T4" fmla="*/ 7 w 7"/>
              <a:gd name="T5" fmla="*/ 11 h 11"/>
              <a:gd name="T6" fmla="*/ 6 w 7"/>
              <a:gd name="T7" fmla="*/ 11 h 11"/>
              <a:gd name="T8" fmla="*/ 4 w 7"/>
              <a:gd name="T9" fmla="*/ 11 h 11"/>
              <a:gd name="T10" fmla="*/ 5 w 7"/>
              <a:gd name="T11" fmla="*/ 8 h 11"/>
              <a:gd name="T12" fmla="*/ 3 w 7"/>
              <a:gd name="T13" fmla="*/ 4 h 11"/>
              <a:gd name="T14" fmla="*/ 0 w 7"/>
              <a:gd name="T15" fmla="*/ 0 h 11"/>
              <a:gd name="T16" fmla="*/ 3 w 7"/>
              <a:gd name="T17" fmla="*/ 0 h 11"/>
              <a:gd name="T18" fmla="*/ 4 w 7"/>
              <a:gd name="T19" fmla="*/ 2 h 11"/>
              <a:gd name="T20" fmla="*/ 6 w 7"/>
              <a:gd name="T21" fmla="*/ 8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" h="11">
                <a:moveTo>
                  <a:pt x="6" y="8"/>
                </a:moveTo>
                <a:lnTo>
                  <a:pt x="6" y="8"/>
                </a:lnTo>
                <a:lnTo>
                  <a:pt x="7" y="11"/>
                </a:lnTo>
                <a:lnTo>
                  <a:pt x="6" y="11"/>
                </a:lnTo>
                <a:lnTo>
                  <a:pt x="4" y="11"/>
                </a:lnTo>
                <a:lnTo>
                  <a:pt x="5" y="8"/>
                </a:lnTo>
                <a:lnTo>
                  <a:pt x="3" y="4"/>
                </a:lnTo>
                <a:lnTo>
                  <a:pt x="0" y="0"/>
                </a:lnTo>
                <a:lnTo>
                  <a:pt x="3" y="0"/>
                </a:lnTo>
                <a:lnTo>
                  <a:pt x="4" y="2"/>
                </a:lnTo>
                <a:lnTo>
                  <a:pt x="6" y="8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82" name="Freeform 381"/>
          <p:cNvSpPr>
            <a:spLocks/>
          </p:cNvSpPr>
          <p:nvPr/>
        </p:nvSpPr>
        <p:spPr bwMode="auto">
          <a:xfrm>
            <a:off x="2468563" y="2863816"/>
            <a:ext cx="11112" cy="17463"/>
          </a:xfrm>
          <a:custGeom>
            <a:avLst/>
            <a:gdLst>
              <a:gd name="T0" fmla="*/ 6 w 7"/>
              <a:gd name="T1" fmla="*/ 8 h 11"/>
              <a:gd name="T2" fmla="*/ 6 w 7"/>
              <a:gd name="T3" fmla="*/ 8 h 11"/>
              <a:gd name="T4" fmla="*/ 7 w 7"/>
              <a:gd name="T5" fmla="*/ 11 h 11"/>
              <a:gd name="T6" fmla="*/ 6 w 7"/>
              <a:gd name="T7" fmla="*/ 11 h 11"/>
              <a:gd name="T8" fmla="*/ 4 w 7"/>
              <a:gd name="T9" fmla="*/ 11 h 11"/>
              <a:gd name="T10" fmla="*/ 5 w 7"/>
              <a:gd name="T11" fmla="*/ 8 h 11"/>
              <a:gd name="T12" fmla="*/ 3 w 7"/>
              <a:gd name="T13" fmla="*/ 4 h 11"/>
              <a:gd name="T14" fmla="*/ 0 w 7"/>
              <a:gd name="T15" fmla="*/ 0 h 11"/>
              <a:gd name="T16" fmla="*/ 3 w 7"/>
              <a:gd name="T17" fmla="*/ 0 h 11"/>
              <a:gd name="T18" fmla="*/ 4 w 7"/>
              <a:gd name="T19" fmla="*/ 2 h 11"/>
              <a:gd name="T20" fmla="*/ 6 w 7"/>
              <a:gd name="T21" fmla="*/ 8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" h="11">
                <a:moveTo>
                  <a:pt x="6" y="8"/>
                </a:moveTo>
                <a:lnTo>
                  <a:pt x="6" y="8"/>
                </a:lnTo>
                <a:lnTo>
                  <a:pt x="7" y="11"/>
                </a:lnTo>
                <a:lnTo>
                  <a:pt x="6" y="11"/>
                </a:lnTo>
                <a:lnTo>
                  <a:pt x="4" y="11"/>
                </a:lnTo>
                <a:lnTo>
                  <a:pt x="5" y="8"/>
                </a:lnTo>
                <a:lnTo>
                  <a:pt x="3" y="4"/>
                </a:lnTo>
                <a:lnTo>
                  <a:pt x="0" y="0"/>
                </a:lnTo>
                <a:lnTo>
                  <a:pt x="3" y="0"/>
                </a:lnTo>
                <a:lnTo>
                  <a:pt x="4" y="2"/>
                </a:lnTo>
                <a:lnTo>
                  <a:pt x="6" y="8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83" name="Freeform 382"/>
          <p:cNvSpPr>
            <a:spLocks/>
          </p:cNvSpPr>
          <p:nvPr/>
        </p:nvSpPr>
        <p:spPr bwMode="auto">
          <a:xfrm>
            <a:off x="2497138" y="2881278"/>
            <a:ext cx="4762" cy="4763"/>
          </a:xfrm>
          <a:custGeom>
            <a:avLst/>
            <a:gdLst>
              <a:gd name="T0" fmla="*/ 1 w 3"/>
              <a:gd name="T1" fmla="*/ 0 h 3"/>
              <a:gd name="T2" fmla="*/ 0 w 3"/>
              <a:gd name="T3" fmla="*/ 1 h 3"/>
              <a:gd name="T4" fmla="*/ 0 w 3"/>
              <a:gd name="T5" fmla="*/ 3 h 3"/>
              <a:gd name="T6" fmla="*/ 2 w 3"/>
              <a:gd name="T7" fmla="*/ 2 h 3"/>
              <a:gd name="T8" fmla="*/ 3 w 3"/>
              <a:gd name="T9" fmla="*/ 0 h 3"/>
              <a:gd name="T10" fmla="*/ 1 w 3"/>
              <a:gd name="T11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3">
                <a:moveTo>
                  <a:pt x="1" y="0"/>
                </a:moveTo>
                <a:lnTo>
                  <a:pt x="0" y="1"/>
                </a:lnTo>
                <a:lnTo>
                  <a:pt x="0" y="3"/>
                </a:lnTo>
                <a:lnTo>
                  <a:pt x="2" y="2"/>
                </a:lnTo>
                <a:lnTo>
                  <a:pt x="3" y="0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84" name="Freeform 383"/>
          <p:cNvSpPr>
            <a:spLocks/>
          </p:cNvSpPr>
          <p:nvPr/>
        </p:nvSpPr>
        <p:spPr bwMode="auto">
          <a:xfrm>
            <a:off x="2497138" y="2881278"/>
            <a:ext cx="4762" cy="4763"/>
          </a:xfrm>
          <a:custGeom>
            <a:avLst/>
            <a:gdLst>
              <a:gd name="T0" fmla="*/ 1 w 3"/>
              <a:gd name="T1" fmla="*/ 0 h 3"/>
              <a:gd name="T2" fmla="*/ 0 w 3"/>
              <a:gd name="T3" fmla="*/ 1 h 3"/>
              <a:gd name="T4" fmla="*/ 0 w 3"/>
              <a:gd name="T5" fmla="*/ 3 h 3"/>
              <a:gd name="T6" fmla="*/ 2 w 3"/>
              <a:gd name="T7" fmla="*/ 2 h 3"/>
              <a:gd name="T8" fmla="*/ 3 w 3"/>
              <a:gd name="T9" fmla="*/ 0 h 3"/>
              <a:gd name="T10" fmla="*/ 1 w 3"/>
              <a:gd name="T11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3">
                <a:moveTo>
                  <a:pt x="1" y="0"/>
                </a:moveTo>
                <a:lnTo>
                  <a:pt x="0" y="1"/>
                </a:lnTo>
                <a:lnTo>
                  <a:pt x="0" y="3"/>
                </a:lnTo>
                <a:lnTo>
                  <a:pt x="2" y="2"/>
                </a:lnTo>
                <a:lnTo>
                  <a:pt x="3" y="0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85" name="Freeform 384"/>
          <p:cNvSpPr>
            <a:spLocks/>
          </p:cNvSpPr>
          <p:nvPr/>
        </p:nvSpPr>
        <p:spPr bwMode="auto">
          <a:xfrm>
            <a:off x="2478088" y="2897153"/>
            <a:ext cx="6350" cy="19050"/>
          </a:xfrm>
          <a:custGeom>
            <a:avLst/>
            <a:gdLst>
              <a:gd name="T0" fmla="*/ 0 w 4"/>
              <a:gd name="T1" fmla="*/ 0 h 12"/>
              <a:gd name="T2" fmla="*/ 0 w 4"/>
              <a:gd name="T3" fmla="*/ 1 h 12"/>
              <a:gd name="T4" fmla="*/ 1 w 4"/>
              <a:gd name="T5" fmla="*/ 6 h 12"/>
              <a:gd name="T6" fmla="*/ 2 w 4"/>
              <a:gd name="T7" fmla="*/ 8 h 12"/>
              <a:gd name="T8" fmla="*/ 3 w 4"/>
              <a:gd name="T9" fmla="*/ 8 h 12"/>
              <a:gd name="T10" fmla="*/ 4 w 4"/>
              <a:gd name="T11" fmla="*/ 11 h 12"/>
              <a:gd name="T12" fmla="*/ 4 w 4"/>
              <a:gd name="T13" fmla="*/ 12 h 12"/>
              <a:gd name="T14" fmla="*/ 3 w 4"/>
              <a:gd name="T15" fmla="*/ 10 h 12"/>
              <a:gd name="T16" fmla="*/ 1 w 4"/>
              <a:gd name="T17" fmla="*/ 9 h 12"/>
              <a:gd name="T18" fmla="*/ 1 w 4"/>
              <a:gd name="T19" fmla="*/ 7 h 12"/>
              <a:gd name="T20" fmla="*/ 1 w 4"/>
              <a:gd name="T21" fmla="*/ 2 h 12"/>
              <a:gd name="T22" fmla="*/ 0 w 4"/>
              <a:gd name="T23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" h="12">
                <a:moveTo>
                  <a:pt x="0" y="0"/>
                </a:moveTo>
                <a:lnTo>
                  <a:pt x="0" y="1"/>
                </a:lnTo>
                <a:lnTo>
                  <a:pt x="1" y="6"/>
                </a:lnTo>
                <a:lnTo>
                  <a:pt x="2" y="8"/>
                </a:lnTo>
                <a:lnTo>
                  <a:pt x="3" y="8"/>
                </a:lnTo>
                <a:lnTo>
                  <a:pt x="4" y="11"/>
                </a:lnTo>
                <a:lnTo>
                  <a:pt x="4" y="12"/>
                </a:lnTo>
                <a:lnTo>
                  <a:pt x="3" y="10"/>
                </a:lnTo>
                <a:lnTo>
                  <a:pt x="1" y="9"/>
                </a:lnTo>
                <a:lnTo>
                  <a:pt x="1" y="7"/>
                </a:lnTo>
                <a:lnTo>
                  <a:pt x="1" y="2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86" name="Freeform 385"/>
          <p:cNvSpPr>
            <a:spLocks/>
          </p:cNvSpPr>
          <p:nvPr/>
        </p:nvSpPr>
        <p:spPr bwMode="auto">
          <a:xfrm>
            <a:off x="2478088" y="2897153"/>
            <a:ext cx="6350" cy="19050"/>
          </a:xfrm>
          <a:custGeom>
            <a:avLst/>
            <a:gdLst>
              <a:gd name="T0" fmla="*/ 0 w 4"/>
              <a:gd name="T1" fmla="*/ 0 h 12"/>
              <a:gd name="T2" fmla="*/ 0 w 4"/>
              <a:gd name="T3" fmla="*/ 1 h 12"/>
              <a:gd name="T4" fmla="*/ 1 w 4"/>
              <a:gd name="T5" fmla="*/ 6 h 12"/>
              <a:gd name="T6" fmla="*/ 2 w 4"/>
              <a:gd name="T7" fmla="*/ 8 h 12"/>
              <a:gd name="T8" fmla="*/ 3 w 4"/>
              <a:gd name="T9" fmla="*/ 8 h 12"/>
              <a:gd name="T10" fmla="*/ 4 w 4"/>
              <a:gd name="T11" fmla="*/ 11 h 12"/>
              <a:gd name="T12" fmla="*/ 4 w 4"/>
              <a:gd name="T13" fmla="*/ 12 h 12"/>
              <a:gd name="T14" fmla="*/ 3 w 4"/>
              <a:gd name="T15" fmla="*/ 10 h 12"/>
              <a:gd name="T16" fmla="*/ 1 w 4"/>
              <a:gd name="T17" fmla="*/ 9 h 12"/>
              <a:gd name="T18" fmla="*/ 1 w 4"/>
              <a:gd name="T19" fmla="*/ 7 h 12"/>
              <a:gd name="T20" fmla="*/ 1 w 4"/>
              <a:gd name="T21" fmla="*/ 2 h 12"/>
              <a:gd name="T22" fmla="*/ 0 w 4"/>
              <a:gd name="T23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" h="12">
                <a:moveTo>
                  <a:pt x="0" y="0"/>
                </a:moveTo>
                <a:lnTo>
                  <a:pt x="0" y="1"/>
                </a:lnTo>
                <a:lnTo>
                  <a:pt x="1" y="6"/>
                </a:lnTo>
                <a:lnTo>
                  <a:pt x="2" y="8"/>
                </a:lnTo>
                <a:lnTo>
                  <a:pt x="3" y="8"/>
                </a:lnTo>
                <a:lnTo>
                  <a:pt x="4" y="11"/>
                </a:lnTo>
                <a:lnTo>
                  <a:pt x="4" y="12"/>
                </a:lnTo>
                <a:lnTo>
                  <a:pt x="3" y="10"/>
                </a:lnTo>
                <a:lnTo>
                  <a:pt x="1" y="9"/>
                </a:lnTo>
                <a:lnTo>
                  <a:pt x="1" y="7"/>
                </a:lnTo>
                <a:lnTo>
                  <a:pt x="1" y="2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87" name="Freeform 386"/>
          <p:cNvSpPr>
            <a:spLocks/>
          </p:cNvSpPr>
          <p:nvPr/>
        </p:nvSpPr>
        <p:spPr bwMode="auto">
          <a:xfrm>
            <a:off x="2497138" y="2917791"/>
            <a:ext cx="11112" cy="20638"/>
          </a:xfrm>
          <a:custGeom>
            <a:avLst/>
            <a:gdLst>
              <a:gd name="T0" fmla="*/ 5 w 7"/>
              <a:gd name="T1" fmla="*/ 5 h 13"/>
              <a:gd name="T2" fmla="*/ 5 w 7"/>
              <a:gd name="T3" fmla="*/ 3 h 13"/>
              <a:gd name="T4" fmla="*/ 5 w 7"/>
              <a:gd name="T5" fmla="*/ 4 h 13"/>
              <a:gd name="T6" fmla="*/ 5 w 7"/>
              <a:gd name="T7" fmla="*/ 3 h 13"/>
              <a:gd name="T8" fmla="*/ 1 w 7"/>
              <a:gd name="T9" fmla="*/ 3 h 13"/>
              <a:gd name="T10" fmla="*/ 0 w 7"/>
              <a:gd name="T11" fmla="*/ 1 h 13"/>
              <a:gd name="T12" fmla="*/ 0 w 7"/>
              <a:gd name="T13" fmla="*/ 1 h 13"/>
              <a:gd name="T14" fmla="*/ 1 w 7"/>
              <a:gd name="T15" fmla="*/ 0 h 13"/>
              <a:gd name="T16" fmla="*/ 2 w 7"/>
              <a:gd name="T17" fmla="*/ 1 h 13"/>
              <a:gd name="T18" fmla="*/ 5 w 7"/>
              <a:gd name="T19" fmla="*/ 3 h 13"/>
              <a:gd name="T20" fmla="*/ 6 w 7"/>
              <a:gd name="T21" fmla="*/ 3 h 13"/>
              <a:gd name="T22" fmla="*/ 7 w 7"/>
              <a:gd name="T23" fmla="*/ 4 h 13"/>
              <a:gd name="T24" fmla="*/ 7 w 7"/>
              <a:gd name="T25" fmla="*/ 7 h 13"/>
              <a:gd name="T26" fmla="*/ 5 w 7"/>
              <a:gd name="T27" fmla="*/ 9 h 13"/>
              <a:gd name="T28" fmla="*/ 1 w 7"/>
              <a:gd name="T29" fmla="*/ 13 h 13"/>
              <a:gd name="T30" fmla="*/ 1 w 7"/>
              <a:gd name="T31" fmla="*/ 10 h 13"/>
              <a:gd name="T32" fmla="*/ 5 w 7"/>
              <a:gd name="T33" fmla="*/ 6 h 13"/>
              <a:gd name="T34" fmla="*/ 5 w 7"/>
              <a:gd name="T35" fmla="*/ 5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" h="13">
                <a:moveTo>
                  <a:pt x="5" y="5"/>
                </a:moveTo>
                <a:lnTo>
                  <a:pt x="5" y="3"/>
                </a:lnTo>
                <a:lnTo>
                  <a:pt x="5" y="4"/>
                </a:lnTo>
                <a:lnTo>
                  <a:pt x="5" y="3"/>
                </a:lnTo>
                <a:lnTo>
                  <a:pt x="1" y="3"/>
                </a:lnTo>
                <a:lnTo>
                  <a:pt x="0" y="1"/>
                </a:lnTo>
                <a:lnTo>
                  <a:pt x="0" y="1"/>
                </a:lnTo>
                <a:lnTo>
                  <a:pt x="1" y="0"/>
                </a:lnTo>
                <a:lnTo>
                  <a:pt x="2" y="1"/>
                </a:lnTo>
                <a:lnTo>
                  <a:pt x="5" y="3"/>
                </a:lnTo>
                <a:lnTo>
                  <a:pt x="6" y="3"/>
                </a:lnTo>
                <a:lnTo>
                  <a:pt x="7" y="4"/>
                </a:lnTo>
                <a:lnTo>
                  <a:pt x="7" y="7"/>
                </a:lnTo>
                <a:lnTo>
                  <a:pt x="5" y="9"/>
                </a:lnTo>
                <a:lnTo>
                  <a:pt x="1" y="13"/>
                </a:lnTo>
                <a:lnTo>
                  <a:pt x="1" y="10"/>
                </a:lnTo>
                <a:lnTo>
                  <a:pt x="5" y="6"/>
                </a:lnTo>
                <a:lnTo>
                  <a:pt x="5" y="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88" name="Freeform 387"/>
          <p:cNvSpPr>
            <a:spLocks/>
          </p:cNvSpPr>
          <p:nvPr/>
        </p:nvSpPr>
        <p:spPr bwMode="auto">
          <a:xfrm>
            <a:off x="2497138" y="2917791"/>
            <a:ext cx="11112" cy="20638"/>
          </a:xfrm>
          <a:custGeom>
            <a:avLst/>
            <a:gdLst>
              <a:gd name="T0" fmla="*/ 5 w 7"/>
              <a:gd name="T1" fmla="*/ 5 h 13"/>
              <a:gd name="T2" fmla="*/ 5 w 7"/>
              <a:gd name="T3" fmla="*/ 3 h 13"/>
              <a:gd name="T4" fmla="*/ 5 w 7"/>
              <a:gd name="T5" fmla="*/ 4 h 13"/>
              <a:gd name="T6" fmla="*/ 5 w 7"/>
              <a:gd name="T7" fmla="*/ 3 h 13"/>
              <a:gd name="T8" fmla="*/ 1 w 7"/>
              <a:gd name="T9" fmla="*/ 3 h 13"/>
              <a:gd name="T10" fmla="*/ 0 w 7"/>
              <a:gd name="T11" fmla="*/ 1 h 13"/>
              <a:gd name="T12" fmla="*/ 0 w 7"/>
              <a:gd name="T13" fmla="*/ 1 h 13"/>
              <a:gd name="T14" fmla="*/ 1 w 7"/>
              <a:gd name="T15" fmla="*/ 0 h 13"/>
              <a:gd name="T16" fmla="*/ 2 w 7"/>
              <a:gd name="T17" fmla="*/ 1 h 13"/>
              <a:gd name="T18" fmla="*/ 5 w 7"/>
              <a:gd name="T19" fmla="*/ 3 h 13"/>
              <a:gd name="T20" fmla="*/ 6 w 7"/>
              <a:gd name="T21" fmla="*/ 3 h 13"/>
              <a:gd name="T22" fmla="*/ 7 w 7"/>
              <a:gd name="T23" fmla="*/ 4 h 13"/>
              <a:gd name="T24" fmla="*/ 7 w 7"/>
              <a:gd name="T25" fmla="*/ 7 h 13"/>
              <a:gd name="T26" fmla="*/ 5 w 7"/>
              <a:gd name="T27" fmla="*/ 9 h 13"/>
              <a:gd name="T28" fmla="*/ 1 w 7"/>
              <a:gd name="T29" fmla="*/ 13 h 13"/>
              <a:gd name="T30" fmla="*/ 1 w 7"/>
              <a:gd name="T31" fmla="*/ 10 h 13"/>
              <a:gd name="T32" fmla="*/ 5 w 7"/>
              <a:gd name="T33" fmla="*/ 6 h 13"/>
              <a:gd name="T34" fmla="*/ 5 w 7"/>
              <a:gd name="T35" fmla="*/ 5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" h="13">
                <a:moveTo>
                  <a:pt x="5" y="5"/>
                </a:moveTo>
                <a:lnTo>
                  <a:pt x="5" y="3"/>
                </a:lnTo>
                <a:lnTo>
                  <a:pt x="5" y="4"/>
                </a:lnTo>
                <a:lnTo>
                  <a:pt x="5" y="3"/>
                </a:lnTo>
                <a:lnTo>
                  <a:pt x="1" y="3"/>
                </a:lnTo>
                <a:lnTo>
                  <a:pt x="0" y="1"/>
                </a:lnTo>
                <a:lnTo>
                  <a:pt x="0" y="1"/>
                </a:lnTo>
                <a:lnTo>
                  <a:pt x="1" y="0"/>
                </a:lnTo>
                <a:lnTo>
                  <a:pt x="2" y="1"/>
                </a:lnTo>
                <a:lnTo>
                  <a:pt x="5" y="3"/>
                </a:lnTo>
                <a:lnTo>
                  <a:pt x="6" y="3"/>
                </a:lnTo>
                <a:lnTo>
                  <a:pt x="7" y="4"/>
                </a:lnTo>
                <a:lnTo>
                  <a:pt x="7" y="7"/>
                </a:lnTo>
                <a:lnTo>
                  <a:pt x="5" y="9"/>
                </a:lnTo>
                <a:lnTo>
                  <a:pt x="1" y="13"/>
                </a:lnTo>
                <a:lnTo>
                  <a:pt x="1" y="10"/>
                </a:lnTo>
                <a:lnTo>
                  <a:pt x="5" y="6"/>
                </a:lnTo>
                <a:lnTo>
                  <a:pt x="5" y="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89" name="Freeform 388"/>
          <p:cNvSpPr>
            <a:spLocks/>
          </p:cNvSpPr>
          <p:nvPr/>
        </p:nvSpPr>
        <p:spPr bwMode="auto">
          <a:xfrm>
            <a:off x="2527300" y="2930491"/>
            <a:ext cx="9525" cy="3175"/>
          </a:xfrm>
          <a:custGeom>
            <a:avLst/>
            <a:gdLst>
              <a:gd name="T0" fmla="*/ 6 w 6"/>
              <a:gd name="T1" fmla="*/ 2 h 2"/>
              <a:gd name="T2" fmla="*/ 6 w 6"/>
              <a:gd name="T3" fmla="*/ 0 h 2"/>
              <a:gd name="T4" fmla="*/ 3 w 6"/>
              <a:gd name="T5" fmla="*/ 0 h 2"/>
              <a:gd name="T6" fmla="*/ 0 w 6"/>
              <a:gd name="T7" fmla="*/ 1 h 2"/>
              <a:gd name="T8" fmla="*/ 2 w 6"/>
              <a:gd name="T9" fmla="*/ 1 h 2"/>
              <a:gd name="T10" fmla="*/ 4 w 6"/>
              <a:gd name="T11" fmla="*/ 2 h 2"/>
              <a:gd name="T12" fmla="*/ 6 w 6"/>
              <a:gd name="T13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2">
                <a:moveTo>
                  <a:pt x="6" y="2"/>
                </a:moveTo>
                <a:lnTo>
                  <a:pt x="6" y="0"/>
                </a:lnTo>
                <a:lnTo>
                  <a:pt x="3" y="0"/>
                </a:lnTo>
                <a:lnTo>
                  <a:pt x="0" y="1"/>
                </a:lnTo>
                <a:lnTo>
                  <a:pt x="2" y="1"/>
                </a:lnTo>
                <a:lnTo>
                  <a:pt x="4" y="2"/>
                </a:lnTo>
                <a:lnTo>
                  <a:pt x="6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90" name="Freeform 389"/>
          <p:cNvSpPr>
            <a:spLocks/>
          </p:cNvSpPr>
          <p:nvPr/>
        </p:nvSpPr>
        <p:spPr bwMode="auto">
          <a:xfrm>
            <a:off x="2527300" y="2930491"/>
            <a:ext cx="9525" cy="3175"/>
          </a:xfrm>
          <a:custGeom>
            <a:avLst/>
            <a:gdLst>
              <a:gd name="T0" fmla="*/ 6 w 6"/>
              <a:gd name="T1" fmla="*/ 2 h 2"/>
              <a:gd name="T2" fmla="*/ 6 w 6"/>
              <a:gd name="T3" fmla="*/ 0 h 2"/>
              <a:gd name="T4" fmla="*/ 3 w 6"/>
              <a:gd name="T5" fmla="*/ 0 h 2"/>
              <a:gd name="T6" fmla="*/ 0 w 6"/>
              <a:gd name="T7" fmla="*/ 1 h 2"/>
              <a:gd name="T8" fmla="*/ 2 w 6"/>
              <a:gd name="T9" fmla="*/ 1 h 2"/>
              <a:gd name="T10" fmla="*/ 4 w 6"/>
              <a:gd name="T11" fmla="*/ 2 h 2"/>
              <a:gd name="T12" fmla="*/ 6 w 6"/>
              <a:gd name="T13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2">
                <a:moveTo>
                  <a:pt x="6" y="2"/>
                </a:moveTo>
                <a:lnTo>
                  <a:pt x="6" y="0"/>
                </a:lnTo>
                <a:lnTo>
                  <a:pt x="3" y="0"/>
                </a:lnTo>
                <a:lnTo>
                  <a:pt x="0" y="1"/>
                </a:lnTo>
                <a:lnTo>
                  <a:pt x="2" y="1"/>
                </a:lnTo>
                <a:lnTo>
                  <a:pt x="4" y="2"/>
                </a:lnTo>
                <a:lnTo>
                  <a:pt x="6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91" name="Freeform 390"/>
          <p:cNvSpPr>
            <a:spLocks/>
          </p:cNvSpPr>
          <p:nvPr/>
        </p:nvSpPr>
        <p:spPr bwMode="auto">
          <a:xfrm>
            <a:off x="2544763" y="2943191"/>
            <a:ext cx="19050" cy="7938"/>
          </a:xfrm>
          <a:custGeom>
            <a:avLst/>
            <a:gdLst>
              <a:gd name="T0" fmla="*/ 2 w 12"/>
              <a:gd name="T1" fmla="*/ 1 h 5"/>
              <a:gd name="T2" fmla="*/ 5 w 12"/>
              <a:gd name="T3" fmla="*/ 0 h 5"/>
              <a:gd name="T4" fmla="*/ 6 w 12"/>
              <a:gd name="T5" fmla="*/ 1 h 5"/>
              <a:gd name="T6" fmla="*/ 10 w 12"/>
              <a:gd name="T7" fmla="*/ 3 h 5"/>
              <a:gd name="T8" fmla="*/ 12 w 12"/>
              <a:gd name="T9" fmla="*/ 4 h 5"/>
              <a:gd name="T10" fmla="*/ 12 w 12"/>
              <a:gd name="T11" fmla="*/ 5 h 5"/>
              <a:gd name="T12" fmla="*/ 10 w 12"/>
              <a:gd name="T13" fmla="*/ 5 h 5"/>
              <a:gd name="T14" fmla="*/ 8 w 12"/>
              <a:gd name="T15" fmla="*/ 2 h 5"/>
              <a:gd name="T16" fmla="*/ 6 w 12"/>
              <a:gd name="T17" fmla="*/ 1 h 5"/>
              <a:gd name="T18" fmla="*/ 2 w 12"/>
              <a:gd name="T19" fmla="*/ 3 h 5"/>
              <a:gd name="T20" fmla="*/ 0 w 12"/>
              <a:gd name="T21" fmla="*/ 3 h 5"/>
              <a:gd name="T22" fmla="*/ 1 w 12"/>
              <a:gd name="T23" fmla="*/ 2 h 5"/>
              <a:gd name="T24" fmla="*/ 2 w 12"/>
              <a:gd name="T25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2" h="5">
                <a:moveTo>
                  <a:pt x="2" y="1"/>
                </a:moveTo>
                <a:lnTo>
                  <a:pt x="5" y="0"/>
                </a:lnTo>
                <a:lnTo>
                  <a:pt x="6" y="1"/>
                </a:lnTo>
                <a:lnTo>
                  <a:pt x="10" y="3"/>
                </a:lnTo>
                <a:lnTo>
                  <a:pt x="12" y="4"/>
                </a:lnTo>
                <a:lnTo>
                  <a:pt x="12" y="5"/>
                </a:lnTo>
                <a:lnTo>
                  <a:pt x="10" y="5"/>
                </a:lnTo>
                <a:lnTo>
                  <a:pt x="8" y="2"/>
                </a:lnTo>
                <a:lnTo>
                  <a:pt x="6" y="1"/>
                </a:lnTo>
                <a:lnTo>
                  <a:pt x="2" y="3"/>
                </a:lnTo>
                <a:lnTo>
                  <a:pt x="0" y="3"/>
                </a:lnTo>
                <a:lnTo>
                  <a:pt x="1" y="2"/>
                </a:lnTo>
                <a:lnTo>
                  <a:pt x="2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92" name="Freeform 391"/>
          <p:cNvSpPr>
            <a:spLocks/>
          </p:cNvSpPr>
          <p:nvPr/>
        </p:nvSpPr>
        <p:spPr bwMode="auto">
          <a:xfrm>
            <a:off x="2544763" y="2943191"/>
            <a:ext cx="19050" cy="7938"/>
          </a:xfrm>
          <a:custGeom>
            <a:avLst/>
            <a:gdLst>
              <a:gd name="T0" fmla="*/ 2 w 12"/>
              <a:gd name="T1" fmla="*/ 1 h 5"/>
              <a:gd name="T2" fmla="*/ 5 w 12"/>
              <a:gd name="T3" fmla="*/ 0 h 5"/>
              <a:gd name="T4" fmla="*/ 6 w 12"/>
              <a:gd name="T5" fmla="*/ 1 h 5"/>
              <a:gd name="T6" fmla="*/ 10 w 12"/>
              <a:gd name="T7" fmla="*/ 3 h 5"/>
              <a:gd name="T8" fmla="*/ 12 w 12"/>
              <a:gd name="T9" fmla="*/ 4 h 5"/>
              <a:gd name="T10" fmla="*/ 12 w 12"/>
              <a:gd name="T11" fmla="*/ 5 h 5"/>
              <a:gd name="T12" fmla="*/ 10 w 12"/>
              <a:gd name="T13" fmla="*/ 5 h 5"/>
              <a:gd name="T14" fmla="*/ 8 w 12"/>
              <a:gd name="T15" fmla="*/ 2 h 5"/>
              <a:gd name="T16" fmla="*/ 6 w 12"/>
              <a:gd name="T17" fmla="*/ 1 h 5"/>
              <a:gd name="T18" fmla="*/ 2 w 12"/>
              <a:gd name="T19" fmla="*/ 3 h 5"/>
              <a:gd name="T20" fmla="*/ 0 w 12"/>
              <a:gd name="T21" fmla="*/ 3 h 5"/>
              <a:gd name="T22" fmla="*/ 1 w 12"/>
              <a:gd name="T23" fmla="*/ 2 h 5"/>
              <a:gd name="T24" fmla="*/ 2 w 12"/>
              <a:gd name="T25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2" h="5">
                <a:moveTo>
                  <a:pt x="2" y="1"/>
                </a:moveTo>
                <a:lnTo>
                  <a:pt x="5" y="0"/>
                </a:lnTo>
                <a:lnTo>
                  <a:pt x="6" y="1"/>
                </a:lnTo>
                <a:lnTo>
                  <a:pt x="10" y="3"/>
                </a:lnTo>
                <a:lnTo>
                  <a:pt x="12" y="4"/>
                </a:lnTo>
                <a:lnTo>
                  <a:pt x="12" y="5"/>
                </a:lnTo>
                <a:lnTo>
                  <a:pt x="10" y="5"/>
                </a:lnTo>
                <a:lnTo>
                  <a:pt x="8" y="2"/>
                </a:lnTo>
                <a:lnTo>
                  <a:pt x="6" y="1"/>
                </a:lnTo>
                <a:lnTo>
                  <a:pt x="2" y="3"/>
                </a:lnTo>
                <a:lnTo>
                  <a:pt x="0" y="3"/>
                </a:lnTo>
                <a:lnTo>
                  <a:pt x="1" y="2"/>
                </a:lnTo>
                <a:lnTo>
                  <a:pt x="2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93" name="Freeform 392"/>
          <p:cNvSpPr>
            <a:spLocks/>
          </p:cNvSpPr>
          <p:nvPr/>
        </p:nvSpPr>
        <p:spPr bwMode="auto">
          <a:xfrm>
            <a:off x="2509838" y="2960653"/>
            <a:ext cx="17462" cy="12700"/>
          </a:xfrm>
          <a:custGeom>
            <a:avLst/>
            <a:gdLst>
              <a:gd name="T0" fmla="*/ 11 w 11"/>
              <a:gd name="T1" fmla="*/ 0 h 8"/>
              <a:gd name="T2" fmla="*/ 10 w 11"/>
              <a:gd name="T3" fmla="*/ 0 h 8"/>
              <a:gd name="T4" fmla="*/ 10 w 11"/>
              <a:gd name="T5" fmla="*/ 3 h 8"/>
              <a:gd name="T6" fmla="*/ 9 w 11"/>
              <a:gd name="T7" fmla="*/ 5 h 8"/>
              <a:gd name="T8" fmla="*/ 7 w 11"/>
              <a:gd name="T9" fmla="*/ 8 h 8"/>
              <a:gd name="T10" fmla="*/ 0 w 11"/>
              <a:gd name="T11" fmla="*/ 8 h 8"/>
              <a:gd name="T12" fmla="*/ 1 w 11"/>
              <a:gd name="T13" fmla="*/ 4 h 8"/>
              <a:gd name="T14" fmla="*/ 4 w 11"/>
              <a:gd name="T15" fmla="*/ 3 h 8"/>
              <a:gd name="T16" fmla="*/ 7 w 11"/>
              <a:gd name="T17" fmla="*/ 3 h 8"/>
              <a:gd name="T18" fmla="*/ 11 w 11"/>
              <a:gd name="T19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" h="8">
                <a:moveTo>
                  <a:pt x="11" y="0"/>
                </a:moveTo>
                <a:lnTo>
                  <a:pt x="10" y="0"/>
                </a:lnTo>
                <a:lnTo>
                  <a:pt x="10" y="3"/>
                </a:lnTo>
                <a:lnTo>
                  <a:pt x="9" y="5"/>
                </a:lnTo>
                <a:lnTo>
                  <a:pt x="7" y="8"/>
                </a:lnTo>
                <a:lnTo>
                  <a:pt x="0" y="8"/>
                </a:lnTo>
                <a:lnTo>
                  <a:pt x="1" y="4"/>
                </a:lnTo>
                <a:lnTo>
                  <a:pt x="4" y="3"/>
                </a:lnTo>
                <a:lnTo>
                  <a:pt x="7" y="3"/>
                </a:lnTo>
                <a:lnTo>
                  <a:pt x="1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94" name="Freeform 393"/>
          <p:cNvSpPr>
            <a:spLocks/>
          </p:cNvSpPr>
          <p:nvPr/>
        </p:nvSpPr>
        <p:spPr bwMode="auto">
          <a:xfrm>
            <a:off x="2509838" y="2960653"/>
            <a:ext cx="17462" cy="12700"/>
          </a:xfrm>
          <a:custGeom>
            <a:avLst/>
            <a:gdLst>
              <a:gd name="T0" fmla="*/ 11 w 11"/>
              <a:gd name="T1" fmla="*/ 0 h 8"/>
              <a:gd name="T2" fmla="*/ 10 w 11"/>
              <a:gd name="T3" fmla="*/ 0 h 8"/>
              <a:gd name="T4" fmla="*/ 10 w 11"/>
              <a:gd name="T5" fmla="*/ 3 h 8"/>
              <a:gd name="T6" fmla="*/ 9 w 11"/>
              <a:gd name="T7" fmla="*/ 5 h 8"/>
              <a:gd name="T8" fmla="*/ 7 w 11"/>
              <a:gd name="T9" fmla="*/ 8 h 8"/>
              <a:gd name="T10" fmla="*/ 0 w 11"/>
              <a:gd name="T11" fmla="*/ 8 h 8"/>
              <a:gd name="T12" fmla="*/ 1 w 11"/>
              <a:gd name="T13" fmla="*/ 4 h 8"/>
              <a:gd name="T14" fmla="*/ 4 w 11"/>
              <a:gd name="T15" fmla="*/ 3 h 8"/>
              <a:gd name="T16" fmla="*/ 7 w 11"/>
              <a:gd name="T17" fmla="*/ 3 h 8"/>
              <a:gd name="T18" fmla="*/ 11 w 11"/>
              <a:gd name="T19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1" h="8">
                <a:moveTo>
                  <a:pt x="11" y="0"/>
                </a:moveTo>
                <a:lnTo>
                  <a:pt x="10" y="0"/>
                </a:lnTo>
                <a:lnTo>
                  <a:pt x="10" y="3"/>
                </a:lnTo>
                <a:lnTo>
                  <a:pt x="9" y="5"/>
                </a:lnTo>
                <a:lnTo>
                  <a:pt x="7" y="8"/>
                </a:lnTo>
                <a:lnTo>
                  <a:pt x="0" y="8"/>
                </a:lnTo>
                <a:lnTo>
                  <a:pt x="1" y="4"/>
                </a:lnTo>
                <a:lnTo>
                  <a:pt x="4" y="3"/>
                </a:lnTo>
                <a:lnTo>
                  <a:pt x="7" y="3"/>
                </a:lnTo>
                <a:lnTo>
                  <a:pt x="1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95" name="Freeform 394"/>
          <p:cNvSpPr>
            <a:spLocks/>
          </p:cNvSpPr>
          <p:nvPr/>
        </p:nvSpPr>
        <p:spPr bwMode="auto">
          <a:xfrm>
            <a:off x="2414588" y="2876516"/>
            <a:ext cx="6350" cy="6350"/>
          </a:xfrm>
          <a:custGeom>
            <a:avLst/>
            <a:gdLst>
              <a:gd name="T0" fmla="*/ 3 w 4"/>
              <a:gd name="T1" fmla="*/ 0 h 4"/>
              <a:gd name="T2" fmla="*/ 0 w 4"/>
              <a:gd name="T3" fmla="*/ 3 h 4"/>
              <a:gd name="T4" fmla="*/ 0 w 4"/>
              <a:gd name="T5" fmla="*/ 4 h 4"/>
              <a:gd name="T6" fmla="*/ 2 w 4"/>
              <a:gd name="T7" fmla="*/ 3 h 4"/>
              <a:gd name="T8" fmla="*/ 4 w 4"/>
              <a:gd name="T9" fmla="*/ 1 h 4"/>
              <a:gd name="T10" fmla="*/ 3 w 4"/>
              <a:gd name="T1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4">
                <a:moveTo>
                  <a:pt x="3" y="0"/>
                </a:moveTo>
                <a:lnTo>
                  <a:pt x="0" y="3"/>
                </a:lnTo>
                <a:lnTo>
                  <a:pt x="0" y="4"/>
                </a:lnTo>
                <a:lnTo>
                  <a:pt x="2" y="3"/>
                </a:lnTo>
                <a:lnTo>
                  <a:pt x="4" y="1"/>
                </a:lnTo>
                <a:lnTo>
                  <a:pt x="3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96" name="Freeform 395"/>
          <p:cNvSpPr>
            <a:spLocks/>
          </p:cNvSpPr>
          <p:nvPr/>
        </p:nvSpPr>
        <p:spPr bwMode="auto">
          <a:xfrm>
            <a:off x="2414588" y="2876516"/>
            <a:ext cx="6350" cy="6350"/>
          </a:xfrm>
          <a:custGeom>
            <a:avLst/>
            <a:gdLst>
              <a:gd name="T0" fmla="*/ 3 w 4"/>
              <a:gd name="T1" fmla="*/ 0 h 4"/>
              <a:gd name="T2" fmla="*/ 0 w 4"/>
              <a:gd name="T3" fmla="*/ 3 h 4"/>
              <a:gd name="T4" fmla="*/ 0 w 4"/>
              <a:gd name="T5" fmla="*/ 4 h 4"/>
              <a:gd name="T6" fmla="*/ 2 w 4"/>
              <a:gd name="T7" fmla="*/ 3 h 4"/>
              <a:gd name="T8" fmla="*/ 4 w 4"/>
              <a:gd name="T9" fmla="*/ 1 h 4"/>
              <a:gd name="T10" fmla="*/ 3 w 4"/>
              <a:gd name="T1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4">
                <a:moveTo>
                  <a:pt x="3" y="0"/>
                </a:moveTo>
                <a:lnTo>
                  <a:pt x="0" y="3"/>
                </a:lnTo>
                <a:lnTo>
                  <a:pt x="0" y="4"/>
                </a:lnTo>
                <a:lnTo>
                  <a:pt x="2" y="3"/>
                </a:lnTo>
                <a:lnTo>
                  <a:pt x="4" y="1"/>
                </a:lnTo>
                <a:lnTo>
                  <a:pt x="3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97" name="Freeform 396"/>
          <p:cNvSpPr>
            <a:spLocks/>
          </p:cNvSpPr>
          <p:nvPr/>
        </p:nvSpPr>
        <p:spPr bwMode="auto">
          <a:xfrm>
            <a:off x="3013075" y="5062503"/>
            <a:ext cx="11112" cy="7938"/>
          </a:xfrm>
          <a:custGeom>
            <a:avLst/>
            <a:gdLst>
              <a:gd name="T0" fmla="*/ 5 w 7"/>
              <a:gd name="T1" fmla="*/ 2 h 5"/>
              <a:gd name="T2" fmla="*/ 6 w 7"/>
              <a:gd name="T3" fmla="*/ 1 h 5"/>
              <a:gd name="T4" fmla="*/ 6 w 7"/>
              <a:gd name="T5" fmla="*/ 2 h 5"/>
              <a:gd name="T6" fmla="*/ 7 w 7"/>
              <a:gd name="T7" fmla="*/ 2 h 5"/>
              <a:gd name="T8" fmla="*/ 7 w 7"/>
              <a:gd name="T9" fmla="*/ 5 h 5"/>
              <a:gd name="T10" fmla="*/ 7 w 7"/>
              <a:gd name="T11" fmla="*/ 5 h 5"/>
              <a:gd name="T12" fmla="*/ 5 w 7"/>
              <a:gd name="T13" fmla="*/ 5 h 5"/>
              <a:gd name="T14" fmla="*/ 1 w 7"/>
              <a:gd name="T15" fmla="*/ 2 h 5"/>
              <a:gd name="T16" fmla="*/ 0 w 7"/>
              <a:gd name="T17" fmla="*/ 0 h 5"/>
              <a:gd name="T18" fmla="*/ 1 w 7"/>
              <a:gd name="T19" fmla="*/ 0 h 5"/>
              <a:gd name="T20" fmla="*/ 1 w 7"/>
              <a:gd name="T21" fmla="*/ 0 h 5"/>
              <a:gd name="T22" fmla="*/ 1 w 7"/>
              <a:gd name="T23" fmla="*/ 1 h 5"/>
              <a:gd name="T24" fmla="*/ 1 w 7"/>
              <a:gd name="T25" fmla="*/ 2 h 5"/>
              <a:gd name="T26" fmla="*/ 2 w 7"/>
              <a:gd name="T27" fmla="*/ 2 h 5"/>
              <a:gd name="T28" fmla="*/ 2 w 7"/>
              <a:gd name="T29" fmla="*/ 2 h 5"/>
              <a:gd name="T30" fmla="*/ 2 w 7"/>
              <a:gd name="T31" fmla="*/ 1 h 5"/>
              <a:gd name="T32" fmla="*/ 5 w 7"/>
              <a:gd name="T33" fmla="*/ 1 h 5"/>
              <a:gd name="T34" fmla="*/ 5 w 7"/>
              <a:gd name="T35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" h="5">
                <a:moveTo>
                  <a:pt x="5" y="2"/>
                </a:moveTo>
                <a:lnTo>
                  <a:pt x="6" y="1"/>
                </a:lnTo>
                <a:lnTo>
                  <a:pt x="6" y="2"/>
                </a:lnTo>
                <a:lnTo>
                  <a:pt x="7" y="2"/>
                </a:lnTo>
                <a:lnTo>
                  <a:pt x="7" y="5"/>
                </a:lnTo>
                <a:lnTo>
                  <a:pt x="7" y="5"/>
                </a:lnTo>
                <a:lnTo>
                  <a:pt x="5" y="5"/>
                </a:lnTo>
                <a:lnTo>
                  <a:pt x="1" y="2"/>
                </a:ln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lnTo>
                  <a:pt x="1" y="1"/>
                </a:lnTo>
                <a:lnTo>
                  <a:pt x="1" y="2"/>
                </a:lnTo>
                <a:lnTo>
                  <a:pt x="2" y="2"/>
                </a:lnTo>
                <a:lnTo>
                  <a:pt x="2" y="2"/>
                </a:lnTo>
                <a:lnTo>
                  <a:pt x="2" y="1"/>
                </a:lnTo>
                <a:lnTo>
                  <a:pt x="5" y="1"/>
                </a:lnTo>
                <a:lnTo>
                  <a:pt x="5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98" name="Freeform 397"/>
          <p:cNvSpPr>
            <a:spLocks/>
          </p:cNvSpPr>
          <p:nvPr/>
        </p:nvSpPr>
        <p:spPr bwMode="auto">
          <a:xfrm>
            <a:off x="3013075" y="5062503"/>
            <a:ext cx="11112" cy="7938"/>
          </a:xfrm>
          <a:custGeom>
            <a:avLst/>
            <a:gdLst>
              <a:gd name="T0" fmla="*/ 5 w 7"/>
              <a:gd name="T1" fmla="*/ 2 h 5"/>
              <a:gd name="T2" fmla="*/ 6 w 7"/>
              <a:gd name="T3" fmla="*/ 1 h 5"/>
              <a:gd name="T4" fmla="*/ 6 w 7"/>
              <a:gd name="T5" fmla="*/ 2 h 5"/>
              <a:gd name="T6" fmla="*/ 7 w 7"/>
              <a:gd name="T7" fmla="*/ 2 h 5"/>
              <a:gd name="T8" fmla="*/ 7 w 7"/>
              <a:gd name="T9" fmla="*/ 5 h 5"/>
              <a:gd name="T10" fmla="*/ 7 w 7"/>
              <a:gd name="T11" fmla="*/ 5 h 5"/>
              <a:gd name="T12" fmla="*/ 5 w 7"/>
              <a:gd name="T13" fmla="*/ 5 h 5"/>
              <a:gd name="T14" fmla="*/ 1 w 7"/>
              <a:gd name="T15" fmla="*/ 2 h 5"/>
              <a:gd name="T16" fmla="*/ 0 w 7"/>
              <a:gd name="T17" fmla="*/ 0 h 5"/>
              <a:gd name="T18" fmla="*/ 1 w 7"/>
              <a:gd name="T19" fmla="*/ 0 h 5"/>
              <a:gd name="T20" fmla="*/ 1 w 7"/>
              <a:gd name="T21" fmla="*/ 0 h 5"/>
              <a:gd name="T22" fmla="*/ 1 w 7"/>
              <a:gd name="T23" fmla="*/ 1 h 5"/>
              <a:gd name="T24" fmla="*/ 1 w 7"/>
              <a:gd name="T25" fmla="*/ 2 h 5"/>
              <a:gd name="T26" fmla="*/ 2 w 7"/>
              <a:gd name="T27" fmla="*/ 2 h 5"/>
              <a:gd name="T28" fmla="*/ 2 w 7"/>
              <a:gd name="T29" fmla="*/ 2 h 5"/>
              <a:gd name="T30" fmla="*/ 2 w 7"/>
              <a:gd name="T31" fmla="*/ 1 h 5"/>
              <a:gd name="T32" fmla="*/ 5 w 7"/>
              <a:gd name="T33" fmla="*/ 1 h 5"/>
              <a:gd name="T34" fmla="*/ 5 w 7"/>
              <a:gd name="T35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" h="5">
                <a:moveTo>
                  <a:pt x="5" y="2"/>
                </a:moveTo>
                <a:lnTo>
                  <a:pt x="6" y="1"/>
                </a:lnTo>
                <a:lnTo>
                  <a:pt x="6" y="2"/>
                </a:lnTo>
                <a:lnTo>
                  <a:pt x="7" y="2"/>
                </a:lnTo>
                <a:lnTo>
                  <a:pt x="7" y="5"/>
                </a:lnTo>
                <a:lnTo>
                  <a:pt x="7" y="5"/>
                </a:lnTo>
                <a:lnTo>
                  <a:pt x="5" y="5"/>
                </a:lnTo>
                <a:lnTo>
                  <a:pt x="1" y="2"/>
                </a:ln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lnTo>
                  <a:pt x="1" y="1"/>
                </a:lnTo>
                <a:lnTo>
                  <a:pt x="1" y="2"/>
                </a:lnTo>
                <a:lnTo>
                  <a:pt x="2" y="2"/>
                </a:lnTo>
                <a:lnTo>
                  <a:pt x="2" y="2"/>
                </a:lnTo>
                <a:lnTo>
                  <a:pt x="2" y="1"/>
                </a:lnTo>
                <a:lnTo>
                  <a:pt x="5" y="1"/>
                </a:lnTo>
                <a:lnTo>
                  <a:pt x="5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399" name="Freeform 398"/>
          <p:cNvSpPr>
            <a:spLocks/>
          </p:cNvSpPr>
          <p:nvPr/>
        </p:nvSpPr>
        <p:spPr bwMode="auto">
          <a:xfrm>
            <a:off x="3024188" y="5054566"/>
            <a:ext cx="31750" cy="22225"/>
          </a:xfrm>
          <a:custGeom>
            <a:avLst/>
            <a:gdLst>
              <a:gd name="T0" fmla="*/ 18 w 20"/>
              <a:gd name="T1" fmla="*/ 0 h 14"/>
              <a:gd name="T2" fmla="*/ 18 w 20"/>
              <a:gd name="T3" fmla="*/ 0 h 14"/>
              <a:gd name="T4" fmla="*/ 18 w 20"/>
              <a:gd name="T5" fmla="*/ 0 h 14"/>
              <a:gd name="T6" fmla="*/ 20 w 20"/>
              <a:gd name="T7" fmla="*/ 1 h 14"/>
              <a:gd name="T8" fmla="*/ 20 w 20"/>
              <a:gd name="T9" fmla="*/ 1 h 14"/>
              <a:gd name="T10" fmla="*/ 20 w 20"/>
              <a:gd name="T11" fmla="*/ 2 h 14"/>
              <a:gd name="T12" fmla="*/ 20 w 20"/>
              <a:gd name="T13" fmla="*/ 3 h 14"/>
              <a:gd name="T14" fmla="*/ 19 w 20"/>
              <a:gd name="T15" fmla="*/ 4 h 14"/>
              <a:gd name="T16" fmla="*/ 16 w 20"/>
              <a:gd name="T17" fmla="*/ 7 h 14"/>
              <a:gd name="T18" fmla="*/ 15 w 20"/>
              <a:gd name="T19" fmla="*/ 7 h 14"/>
              <a:gd name="T20" fmla="*/ 15 w 20"/>
              <a:gd name="T21" fmla="*/ 10 h 14"/>
              <a:gd name="T22" fmla="*/ 13 w 20"/>
              <a:gd name="T23" fmla="*/ 10 h 14"/>
              <a:gd name="T24" fmla="*/ 12 w 20"/>
              <a:gd name="T25" fmla="*/ 10 h 14"/>
              <a:gd name="T26" fmla="*/ 10 w 20"/>
              <a:gd name="T27" fmla="*/ 11 h 14"/>
              <a:gd name="T28" fmla="*/ 10 w 20"/>
              <a:gd name="T29" fmla="*/ 11 h 14"/>
              <a:gd name="T30" fmla="*/ 9 w 20"/>
              <a:gd name="T31" fmla="*/ 11 h 14"/>
              <a:gd name="T32" fmla="*/ 10 w 20"/>
              <a:gd name="T33" fmla="*/ 12 h 14"/>
              <a:gd name="T34" fmla="*/ 9 w 20"/>
              <a:gd name="T35" fmla="*/ 13 h 14"/>
              <a:gd name="T36" fmla="*/ 8 w 20"/>
              <a:gd name="T37" fmla="*/ 13 h 14"/>
              <a:gd name="T38" fmla="*/ 5 w 20"/>
              <a:gd name="T39" fmla="*/ 14 h 14"/>
              <a:gd name="T40" fmla="*/ 4 w 20"/>
              <a:gd name="T41" fmla="*/ 13 h 14"/>
              <a:gd name="T42" fmla="*/ 3 w 20"/>
              <a:gd name="T43" fmla="*/ 13 h 14"/>
              <a:gd name="T44" fmla="*/ 3 w 20"/>
              <a:gd name="T45" fmla="*/ 13 h 14"/>
              <a:gd name="T46" fmla="*/ 3 w 20"/>
              <a:gd name="T47" fmla="*/ 13 h 14"/>
              <a:gd name="T48" fmla="*/ 0 w 20"/>
              <a:gd name="T49" fmla="*/ 11 h 14"/>
              <a:gd name="T50" fmla="*/ 0 w 20"/>
              <a:gd name="T51" fmla="*/ 11 h 14"/>
              <a:gd name="T52" fmla="*/ 2 w 20"/>
              <a:gd name="T53" fmla="*/ 11 h 14"/>
              <a:gd name="T54" fmla="*/ 2 w 20"/>
              <a:gd name="T55" fmla="*/ 10 h 14"/>
              <a:gd name="T56" fmla="*/ 3 w 20"/>
              <a:gd name="T57" fmla="*/ 10 h 14"/>
              <a:gd name="T58" fmla="*/ 5 w 20"/>
              <a:gd name="T59" fmla="*/ 10 h 14"/>
              <a:gd name="T60" fmla="*/ 6 w 20"/>
              <a:gd name="T61" fmla="*/ 10 h 14"/>
              <a:gd name="T62" fmla="*/ 4 w 20"/>
              <a:gd name="T63" fmla="*/ 10 h 14"/>
              <a:gd name="T64" fmla="*/ 4 w 20"/>
              <a:gd name="T65" fmla="*/ 8 h 14"/>
              <a:gd name="T66" fmla="*/ 5 w 20"/>
              <a:gd name="T67" fmla="*/ 7 h 14"/>
              <a:gd name="T68" fmla="*/ 8 w 20"/>
              <a:gd name="T69" fmla="*/ 7 h 14"/>
              <a:gd name="T70" fmla="*/ 8 w 20"/>
              <a:gd name="T71" fmla="*/ 5 h 14"/>
              <a:gd name="T72" fmla="*/ 10 w 20"/>
              <a:gd name="T73" fmla="*/ 5 h 14"/>
              <a:gd name="T74" fmla="*/ 5 w 20"/>
              <a:gd name="T75" fmla="*/ 2 h 14"/>
              <a:gd name="T76" fmla="*/ 4 w 20"/>
              <a:gd name="T77" fmla="*/ 3 h 14"/>
              <a:gd name="T78" fmla="*/ 3 w 20"/>
              <a:gd name="T79" fmla="*/ 2 h 14"/>
              <a:gd name="T80" fmla="*/ 4 w 20"/>
              <a:gd name="T81" fmla="*/ 2 h 14"/>
              <a:gd name="T82" fmla="*/ 4 w 20"/>
              <a:gd name="T83" fmla="*/ 2 h 14"/>
              <a:gd name="T84" fmla="*/ 3 w 20"/>
              <a:gd name="T85" fmla="*/ 1 h 14"/>
              <a:gd name="T86" fmla="*/ 1 w 20"/>
              <a:gd name="T87" fmla="*/ 1 h 14"/>
              <a:gd name="T88" fmla="*/ 1 w 20"/>
              <a:gd name="T89" fmla="*/ 0 h 14"/>
              <a:gd name="T90" fmla="*/ 4 w 20"/>
              <a:gd name="T91" fmla="*/ 1 h 14"/>
              <a:gd name="T92" fmla="*/ 8 w 20"/>
              <a:gd name="T93" fmla="*/ 2 h 14"/>
              <a:gd name="T94" fmla="*/ 10 w 20"/>
              <a:gd name="T95" fmla="*/ 1 h 14"/>
              <a:gd name="T96" fmla="*/ 14 w 20"/>
              <a:gd name="T97" fmla="*/ 1 h 14"/>
              <a:gd name="T98" fmla="*/ 18 w 20"/>
              <a:gd name="T99" fmla="*/ 1 h 14"/>
              <a:gd name="T100" fmla="*/ 18 w 20"/>
              <a:gd name="T101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0" h="14">
                <a:moveTo>
                  <a:pt x="18" y="0"/>
                </a:moveTo>
                <a:lnTo>
                  <a:pt x="18" y="0"/>
                </a:lnTo>
                <a:lnTo>
                  <a:pt x="18" y="0"/>
                </a:lnTo>
                <a:lnTo>
                  <a:pt x="20" y="1"/>
                </a:lnTo>
                <a:lnTo>
                  <a:pt x="20" y="1"/>
                </a:lnTo>
                <a:lnTo>
                  <a:pt x="20" y="2"/>
                </a:lnTo>
                <a:lnTo>
                  <a:pt x="20" y="3"/>
                </a:lnTo>
                <a:lnTo>
                  <a:pt x="19" y="4"/>
                </a:lnTo>
                <a:lnTo>
                  <a:pt x="16" y="7"/>
                </a:lnTo>
                <a:lnTo>
                  <a:pt x="15" y="7"/>
                </a:lnTo>
                <a:lnTo>
                  <a:pt x="15" y="10"/>
                </a:lnTo>
                <a:lnTo>
                  <a:pt x="13" y="10"/>
                </a:lnTo>
                <a:lnTo>
                  <a:pt x="12" y="10"/>
                </a:lnTo>
                <a:lnTo>
                  <a:pt x="10" y="11"/>
                </a:lnTo>
                <a:lnTo>
                  <a:pt x="10" y="11"/>
                </a:lnTo>
                <a:lnTo>
                  <a:pt x="9" y="11"/>
                </a:lnTo>
                <a:lnTo>
                  <a:pt x="10" y="12"/>
                </a:lnTo>
                <a:lnTo>
                  <a:pt x="9" y="13"/>
                </a:lnTo>
                <a:lnTo>
                  <a:pt x="8" y="13"/>
                </a:lnTo>
                <a:lnTo>
                  <a:pt x="5" y="14"/>
                </a:lnTo>
                <a:lnTo>
                  <a:pt x="4" y="13"/>
                </a:lnTo>
                <a:lnTo>
                  <a:pt x="3" y="13"/>
                </a:lnTo>
                <a:lnTo>
                  <a:pt x="3" y="13"/>
                </a:lnTo>
                <a:lnTo>
                  <a:pt x="3" y="13"/>
                </a:lnTo>
                <a:lnTo>
                  <a:pt x="0" y="11"/>
                </a:lnTo>
                <a:lnTo>
                  <a:pt x="0" y="11"/>
                </a:lnTo>
                <a:lnTo>
                  <a:pt x="2" y="11"/>
                </a:lnTo>
                <a:lnTo>
                  <a:pt x="2" y="10"/>
                </a:lnTo>
                <a:lnTo>
                  <a:pt x="3" y="10"/>
                </a:lnTo>
                <a:lnTo>
                  <a:pt x="5" y="10"/>
                </a:lnTo>
                <a:lnTo>
                  <a:pt x="6" y="10"/>
                </a:lnTo>
                <a:lnTo>
                  <a:pt x="4" y="10"/>
                </a:lnTo>
                <a:lnTo>
                  <a:pt x="4" y="8"/>
                </a:lnTo>
                <a:lnTo>
                  <a:pt x="5" y="7"/>
                </a:lnTo>
                <a:lnTo>
                  <a:pt x="8" y="7"/>
                </a:lnTo>
                <a:lnTo>
                  <a:pt x="8" y="5"/>
                </a:lnTo>
                <a:lnTo>
                  <a:pt x="10" y="5"/>
                </a:lnTo>
                <a:lnTo>
                  <a:pt x="5" y="2"/>
                </a:lnTo>
                <a:lnTo>
                  <a:pt x="4" y="3"/>
                </a:lnTo>
                <a:lnTo>
                  <a:pt x="3" y="2"/>
                </a:lnTo>
                <a:lnTo>
                  <a:pt x="4" y="2"/>
                </a:lnTo>
                <a:lnTo>
                  <a:pt x="4" y="2"/>
                </a:lnTo>
                <a:lnTo>
                  <a:pt x="3" y="1"/>
                </a:lnTo>
                <a:lnTo>
                  <a:pt x="1" y="1"/>
                </a:lnTo>
                <a:lnTo>
                  <a:pt x="1" y="0"/>
                </a:lnTo>
                <a:lnTo>
                  <a:pt x="4" y="1"/>
                </a:lnTo>
                <a:lnTo>
                  <a:pt x="8" y="2"/>
                </a:lnTo>
                <a:lnTo>
                  <a:pt x="10" y="1"/>
                </a:lnTo>
                <a:lnTo>
                  <a:pt x="14" y="1"/>
                </a:lnTo>
                <a:lnTo>
                  <a:pt x="18" y="1"/>
                </a:lnTo>
                <a:lnTo>
                  <a:pt x="18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00" name="Freeform 399"/>
          <p:cNvSpPr>
            <a:spLocks/>
          </p:cNvSpPr>
          <p:nvPr/>
        </p:nvSpPr>
        <p:spPr bwMode="auto">
          <a:xfrm>
            <a:off x="3024188" y="5054566"/>
            <a:ext cx="31750" cy="22225"/>
          </a:xfrm>
          <a:custGeom>
            <a:avLst/>
            <a:gdLst>
              <a:gd name="T0" fmla="*/ 18 w 20"/>
              <a:gd name="T1" fmla="*/ 0 h 14"/>
              <a:gd name="T2" fmla="*/ 18 w 20"/>
              <a:gd name="T3" fmla="*/ 0 h 14"/>
              <a:gd name="T4" fmla="*/ 18 w 20"/>
              <a:gd name="T5" fmla="*/ 0 h 14"/>
              <a:gd name="T6" fmla="*/ 20 w 20"/>
              <a:gd name="T7" fmla="*/ 1 h 14"/>
              <a:gd name="T8" fmla="*/ 20 w 20"/>
              <a:gd name="T9" fmla="*/ 1 h 14"/>
              <a:gd name="T10" fmla="*/ 20 w 20"/>
              <a:gd name="T11" fmla="*/ 2 h 14"/>
              <a:gd name="T12" fmla="*/ 20 w 20"/>
              <a:gd name="T13" fmla="*/ 3 h 14"/>
              <a:gd name="T14" fmla="*/ 19 w 20"/>
              <a:gd name="T15" fmla="*/ 4 h 14"/>
              <a:gd name="T16" fmla="*/ 16 w 20"/>
              <a:gd name="T17" fmla="*/ 7 h 14"/>
              <a:gd name="T18" fmla="*/ 15 w 20"/>
              <a:gd name="T19" fmla="*/ 7 h 14"/>
              <a:gd name="T20" fmla="*/ 15 w 20"/>
              <a:gd name="T21" fmla="*/ 10 h 14"/>
              <a:gd name="T22" fmla="*/ 13 w 20"/>
              <a:gd name="T23" fmla="*/ 10 h 14"/>
              <a:gd name="T24" fmla="*/ 12 w 20"/>
              <a:gd name="T25" fmla="*/ 10 h 14"/>
              <a:gd name="T26" fmla="*/ 10 w 20"/>
              <a:gd name="T27" fmla="*/ 11 h 14"/>
              <a:gd name="T28" fmla="*/ 10 w 20"/>
              <a:gd name="T29" fmla="*/ 11 h 14"/>
              <a:gd name="T30" fmla="*/ 9 w 20"/>
              <a:gd name="T31" fmla="*/ 11 h 14"/>
              <a:gd name="T32" fmla="*/ 10 w 20"/>
              <a:gd name="T33" fmla="*/ 12 h 14"/>
              <a:gd name="T34" fmla="*/ 9 w 20"/>
              <a:gd name="T35" fmla="*/ 13 h 14"/>
              <a:gd name="T36" fmla="*/ 8 w 20"/>
              <a:gd name="T37" fmla="*/ 13 h 14"/>
              <a:gd name="T38" fmla="*/ 5 w 20"/>
              <a:gd name="T39" fmla="*/ 14 h 14"/>
              <a:gd name="T40" fmla="*/ 4 w 20"/>
              <a:gd name="T41" fmla="*/ 13 h 14"/>
              <a:gd name="T42" fmla="*/ 3 w 20"/>
              <a:gd name="T43" fmla="*/ 13 h 14"/>
              <a:gd name="T44" fmla="*/ 3 w 20"/>
              <a:gd name="T45" fmla="*/ 13 h 14"/>
              <a:gd name="T46" fmla="*/ 3 w 20"/>
              <a:gd name="T47" fmla="*/ 13 h 14"/>
              <a:gd name="T48" fmla="*/ 0 w 20"/>
              <a:gd name="T49" fmla="*/ 11 h 14"/>
              <a:gd name="T50" fmla="*/ 0 w 20"/>
              <a:gd name="T51" fmla="*/ 11 h 14"/>
              <a:gd name="T52" fmla="*/ 2 w 20"/>
              <a:gd name="T53" fmla="*/ 11 h 14"/>
              <a:gd name="T54" fmla="*/ 2 w 20"/>
              <a:gd name="T55" fmla="*/ 10 h 14"/>
              <a:gd name="T56" fmla="*/ 3 w 20"/>
              <a:gd name="T57" fmla="*/ 10 h 14"/>
              <a:gd name="T58" fmla="*/ 5 w 20"/>
              <a:gd name="T59" fmla="*/ 10 h 14"/>
              <a:gd name="T60" fmla="*/ 6 w 20"/>
              <a:gd name="T61" fmla="*/ 10 h 14"/>
              <a:gd name="T62" fmla="*/ 4 w 20"/>
              <a:gd name="T63" fmla="*/ 10 h 14"/>
              <a:gd name="T64" fmla="*/ 4 w 20"/>
              <a:gd name="T65" fmla="*/ 8 h 14"/>
              <a:gd name="T66" fmla="*/ 5 w 20"/>
              <a:gd name="T67" fmla="*/ 7 h 14"/>
              <a:gd name="T68" fmla="*/ 8 w 20"/>
              <a:gd name="T69" fmla="*/ 7 h 14"/>
              <a:gd name="T70" fmla="*/ 8 w 20"/>
              <a:gd name="T71" fmla="*/ 5 h 14"/>
              <a:gd name="T72" fmla="*/ 10 w 20"/>
              <a:gd name="T73" fmla="*/ 5 h 14"/>
              <a:gd name="T74" fmla="*/ 5 w 20"/>
              <a:gd name="T75" fmla="*/ 2 h 14"/>
              <a:gd name="T76" fmla="*/ 4 w 20"/>
              <a:gd name="T77" fmla="*/ 3 h 14"/>
              <a:gd name="T78" fmla="*/ 3 w 20"/>
              <a:gd name="T79" fmla="*/ 2 h 14"/>
              <a:gd name="T80" fmla="*/ 4 w 20"/>
              <a:gd name="T81" fmla="*/ 2 h 14"/>
              <a:gd name="T82" fmla="*/ 4 w 20"/>
              <a:gd name="T83" fmla="*/ 2 h 14"/>
              <a:gd name="T84" fmla="*/ 3 w 20"/>
              <a:gd name="T85" fmla="*/ 1 h 14"/>
              <a:gd name="T86" fmla="*/ 1 w 20"/>
              <a:gd name="T87" fmla="*/ 1 h 14"/>
              <a:gd name="T88" fmla="*/ 1 w 20"/>
              <a:gd name="T89" fmla="*/ 0 h 14"/>
              <a:gd name="T90" fmla="*/ 4 w 20"/>
              <a:gd name="T91" fmla="*/ 1 h 14"/>
              <a:gd name="T92" fmla="*/ 8 w 20"/>
              <a:gd name="T93" fmla="*/ 2 h 14"/>
              <a:gd name="T94" fmla="*/ 10 w 20"/>
              <a:gd name="T95" fmla="*/ 1 h 14"/>
              <a:gd name="T96" fmla="*/ 14 w 20"/>
              <a:gd name="T97" fmla="*/ 1 h 14"/>
              <a:gd name="T98" fmla="*/ 18 w 20"/>
              <a:gd name="T99" fmla="*/ 1 h 14"/>
              <a:gd name="T100" fmla="*/ 18 w 20"/>
              <a:gd name="T101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0" h="14">
                <a:moveTo>
                  <a:pt x="18" y="0"/>
                </a:moveTo>
                <a:lnTo>
                  <a:pt x="18" y="0"/>
                </a:lnTo>
                <a:lnTo>
                  <a:pt x="18" y="0"/>
                </a:lnTo>
                <a:lnTo>
                  <a:pt x="20" y="1"/>
                </a:lnTo>
                <a:lnTo>
                  <a:pt x="20" y="1"/>
                </a:lnTo>
                <a:lnTo>
                  <a:pt x="20" y="2"/>
                </a:lnTo>
                <a:lnTo>
                  <a:pt x="20" y="3"/>
                </a:lnTo>
                <a:lnTo>
                  <a:pt x="19" y="4"/>
                </a:lnTo>
                <a:lnTo>
                  <a:pt x="16" y="7"/>
                </a:lnTo>
                <a:lnTo>
                  <a:pt x="15" y="7"/>
                </a:lnTo>
                <a:lnTo>
                  <a:pt x="15" y="10"/>
                </a:lnTo>
                <a:lnTo>
                  <a:pt x="13" y="10"/>
                </a:lnTo>
                <a:lnTo>
                  <a:pt x="12" y="10"/>
                </a:lnTo>
                <a:lnTo>
                  <a:pt x="10" y="11"/>
                </a:lnTo>
                <a:lnTo>
                  <a:pt x="10" y="11"/>
                </a:lnTo>
                <a:lnTo>
                  <a:pt x="9" y="11"/>
                </a:lnTo>
                <a:lnTo>
                  <a:pt x="10" y="12"/>
                </a:lnTo>
                <a:lnTo>
                  <a:pt x="9" y="13"/>
                </a:lnTo>
                <a:lnTo>
                  <a:pt x="8" y="13"/>
                </a:lnTo>
                <a:lnTo>
                  <a:pt x="5" y="14"/>
                </a:lnTo>
                <a:lnTo>
                  <a:pt x="4" y="13"/>
                </a:lnTo>
                <a:lnTo>
                  <a:pt x="3" y="13"/>
                </a:lnTo>
                <a:lnTo>
                  <a:pt x="3" y="13"/>
                </a:lnTo>
                <a:lnTo>
                  <a:pt x="3" y="13"/>
                </a:lnTo>
                <a:lnTo>
                  <a:pt x="0" y="11"/>
                </a:lnTo>
                <a:lnTo>
                  <a:pt x="0" y="11"/>
                </a:lnTo>
                <a:lnTo>
                  <a:pt x="2" y="11"/>
                </a:lnTo>
                <a:lnTo>
                  <a:pt x="2" y="10"/>
                </a:lnTo>
                <a:lnTo>
                  <a:pt x="3" y="10"/>
                </a:lnTo>
                <a:lnTo>
                  <a:pt x="5" y="10"/>
                </a:lnTo>
                <a:lnTo>
                  <a:pt x="6" y="10"/>
                </a:lnTo>
                <a:lnTo>
                  <a:pt x="4" y="10"/>
                </a:lnTo>
                <a:lnTo>
                  <a:pt x="4" y="8"/>
                </a:lnTo>
                <a:lnTo>
                  <a:pt x="5" y="7"/>
                </a:lnTo>
                <a:lnTo>
                  <a:pt x="8" y="7"/>
                </a:lnTo>
                <a:lnTo>
                  <a:pt x="8" y="5"/>
                </a:lnTo>
                <a:lnTo>
                  <a:pt x="10" y="5"/>
                </a:lnTo>
                <a:lnTo>
                  <a:pt x="5" y="2"/>
                </a:lnTo>
                <a:lnTo>
                  <a:pt x="4" y="3"/>
                </a:lnTo>
                <a:lnTo>
                  <a:pt x="3" y="2"/>
                </a:lnTo>
                <a:lnTo>
                  <a:pt x="4" y="2"/>
                </a:lnTo>
                <a:lnTo>
                  <a:pt x="4" y="2"/>
                </a:lnTo>
                <a:lnTo>
                  <a:pt x="3" y="1"/>
                </a:lnTo>
                <a:lnTo>
                  <a:pt x="1" y="1"/>
                </a:lnTo>
                <a:lnTo>
                  <a:pt x="1" y="0"/>
                </a:lnTo>
                <a:lnTo>
                  <a:pt x="4" y="1"/>
                </a:lnTo>
                <a:lnTo>
                  <a:pt x="8" y="2"/>
                </a:lnTo>
                <a:lnTo>
                  <a:pt x="10" y="1"/>
                </a:lnTo>
                <a:lnTo>
                  <a:pt x="14" y="1"/>
                </a:lnTo>
                <a:lnTo>
                  <a:pt x="18" y="1"/>
                </a:lnTo>
                <a:lnTo>
                  <a:pt x="18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01" name="Freeform 400"/>
          <p:cNvSpPr>
            <a:spLocks/>
          </p:cNvSpPr>
          <p:nvPr/>
        </p:nvSpPr>
        <p:spPr bwMode="auto">
          <a:xfrm>
            <a:off x="3052763" y="5051391"/>
            <a:ext cx="36512" cy="28575"/>
          </a:xfrm>
          <a:custGeom>
            <a:avLst/>
            <a:gdLst>
              <a:gd name="T0" fmla="*/ 22 w 23"/>
              <a:gd name="T1" fmla="*/ 8 h 18"/>
              <a:gd name="T2" fmla="*/ 21 w 23"/>
              <a:gd name="T3" fmla="*/ 8 h 18"/>
              <a:gd name="T4" fmla="*/ 20 w 23"/>
              <a:gd name="T5" fmla="*/ 9 h 18"/>
              <a:gd name="T6" fmla="*/ 17 w 23"/>
              <a:gd name="T7" fmla="*/ 10 h 18"/>
              <a:gd name="T8" fmla="*/ 14 w 23"/>
              <a:gd name="T9" fmla="*/ 10 h 18"/>
              <a:gd name="T10" fmla="*/ 11 w 23"/>
              <a:gd name="T11" fmla="*/ 9 h 18"/>
              <a:gd name="T12" fmla="*/ 10 w 23"/>
              <a:gd name="T13" fmla="*/ 10 h 18"/>
              <a:gd name="T14" fmla="*/ 10 w 23"/>
              <a:gd name="T15" fmla="*/ 10 h 18"/>
              <a:gd name="T16" fmla="*/ 13 w 23"/>
              <a:gd name="T17" fmla="*/ 13 h 18"/>
              <a:gd name="T18" fmla="*/ 14 w 23"/>
              <a:gd name="T19" fmla="*/ 14 h 18"/>
              <a:gd name="T20" fmla="*/ 12 w 23"/>
              <a:gd name="T21" fmla="*/ 13 h 18"/>
              <a:gd name="T22" fmla="*/ 10 w 23"/>
              <a:gd name="T23" fmla="*/ 14 h 18"/>
              <a:gd name="T24" fmla="*/ 8 w 23"/>
              <a:gd name="T25" fmla="*/ 13 h 18"/>
              <a:gd name="T26" fmla="*/ 7 w 23"/>
              <a:gd name="T27" fmla="*/ 13 h 18"/>
              <a:gd name="T28" fmla="*/ 8 w 23"/>
              <a:gd name="T29" fmla="*/ 15 h 18"/>
              <a:gd name="T30" fmla="*/ 10 w 23"/>
              <a:gd name="T31" fmla="*/ 16 h 18"/>
              <a:gd name="T32" fmla="*/ 11 w 23"/>
              <a:gd name="T33" fmla="*/ 16 h 18"/>
              <a:gd name="T34" fmla="*/ 7 w 23"/>
              <a:gd name="T35" fmla="*/ 16 h 18"/>
              <a:gd name="T36" fmla="*/ 5 w 23"/>
              <a:gd name="T37" fmla="*/ 15 h 18"/>
              <a:gd name="T38" fmla="*/ 5 w 23"/>
              <a:gd name="T39" fmla="*/ 16 h 18"/>
              <a:gd name="T40" fmla="*/ 5 w 23"/>
              <a:gd name="T41" fmla="*/ 18 h 18"/>
              <a:gd name="T42" fmla="*/ 4 w 23"/>
              <a:gd name="T43" fmla="*/ 17 h 18"/>
              <a:gd name="T44" fmla="*/ 1 w 23"/>
              <a:gd name="T45" fmla="*/ 15 h 18"/>
              <a:gd name="T46" fmla="*/ 0 w 23"/>
              <a:gd name="T47" fmla="*/ 14 h 18"/>
              <a:gd name="T48" fmla="*/ 0 w 23"/>
              <a:gd name="T49" fmla="*/ 9 h 18"/>
              <a:gd name="T50" fmla="*/ 1 w 23"/>
              <a:gd name="T51" fmla="*/ 9 h 18"/>
              <a:gd name="T52" fmla="*/ 2 w 23"/>
              <a:gd name="T53" fmla="*/ 9 h 18"/>
              <a:gd name="T54" fmla="*/ 2 w 23"/>
              <a:gd name="T55" fmla="*/ 8 h 18"/>
              <a:gd name="T56" fmla="*/ 3 w 23"/>
              <a:gd name="T57" fmla="*/ 7 h 18"/>
              <a:gd name="T58" fmla="*/ 5 w 23"/>
              <a:gd name="T59" fmla="*/ 7 h 18"/>
              <a:gd name="T60" fmla="*/ 6 w 23"/>
              <a:gd name="T61" fmla="*/ 8 h 18"/>
              <a:gd name="T62" fmla="*/ 7 w 23"/>
              <a:gd name="T63" fmla="*/ 8 h 18"/>
              <a:gd name="T64" fmla="*/ 6 w 23"/>
              <a:gd name="T65" fmla="*/ 8 h 18"/>
              <a:gd name="T66" fmla="*/ 5 w 23"/>
              <a:gd name="T67" fmla="*/ 5 h 18"/>
              <a:gd name="T68" fmla="*/ 3 w 23"/>
              <a:gd name="T69" fmla="*/ 3 h 18"/>
              <a:gd name="T70" fmla="*/ 4 w 23"/>
              <a:gd name="T71" fmla="*/ 2 h 18"/>
              <a:gd name="T72" fmla="*/ 5 w 23"/>
              <a:gd name="T73" fmla="*/ 2 h 18"/>
              <a:gd name="T74" fmla="*/ 5 w 23"/>
              <a:gd name="T75" fmla="*/ 0 h 18"/>
              <a:gd name="T76" fmla="*/ 6 w 23"/>
              <a:gd name="T77" fmla="*/ 0 h 18"/>
              <a:gd name="T78" fmla="*/ 8 w 23"/>
              <a:gd name="T79" fmla="*/ 0 h 18"/>
              <a:gd name="T80" fmla="*/ 11 w 23"/>
              <a:gd name="T81" fmla="*/ 0 h 18"/>
              <a:gd name="T82" fmla="*/ 14 w 23"/>
              <a:gd name="T83" fmla="*/ 3 h 18"/>
              <a:gd name="T84" fmla="*/ 17 w 23"/>
              <a:gd name="T85" fmla="*/ 2 h 18"/>
              <a:gd name="T86" fmla="*/ 20 w 23"/>
              <a:gd name="T87" fmla="*/ 3 h 18"/>
              <a:gd name="T88" fmla="*/ 22 w 23"/>
              <a:gd name="T89" fmla="*/ 4 h 18"/>
              <a:gd name="T90" fmla="*/ 22 w 23"/>
              <a:gd name="T91" fmla="*/ 4 h 18"/>
              <a:gd name="T92" fmla="*/ 21 w 23"/>
              <a:gd name="T93" fmla="*/ 4 h 18"/>
              <a:gd name="T94" fmla="*/ 21 w 23"/>
              <a:gd name="T95" fmla="*/ 5 h 18"/>
              <a:gd name="T96" fmla="*/ 22 w 23"/>
              <a:gd name="T97" fmla="*/ 5 h 18"/>
              <a:gd name="T98" fmla="*/ 23 w 23"/>
              <a:gd name="T99" fmla="*/ 6 h 18"/>
              <a:gd name="T100" fmla="*/ 23 w 23"/>
              <a:gd name="T101" fmla="*/ 7 h 18"/>
              <a:gd name="T102" fmla="*/ 22 w 23"/>
              <a:gd name="T103" fmla="*/ 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3" h="18">
                <a:moveTo>
                  <a:pt x="22" y="8"/>
                </a:moveTo>
                <a:lnTo>
                  <a:pt x="21" y="8"/>
                </a:lnTo>
                <a:lnTo>
                  <a:pt x="20" y="9"/>
                </a:lnTo>
                <a:lnTo>
                  <a:pt x="17" y="10"/>
                </a:lnTo>
                <a:lnTo>
                  <a:pt x="14" y="10"/>
                </a:lnTo>
                <a:lnTo>
                  <a:pt x="11" y="9"/>
                </a:lnTo>
                <a:lnTo>
                  <a:pt x="10" y="10"/>
                </a:lnTo>
                <a:lnTo>
                  <a:pt x="10" y="10"/>
                </a:lnTo>
                <a:lnTo>
                  <a:pt x="13" y="13"/>
                </a:lnTo>
                <a:lnTo>
                  <a:pt x="14" y="14"/>
                </a:lnTo>
                <a:lnTo>
                  <a:pt x="12" y="13"/>
                </a:lnTo>
                <a:lnTo>
                  <a:pt x="10" y="14"/>
                </a:lnTo>
                <a:lnTo>
                  <a:pt x="8" y="13"/>
                </a:lnTo>
                <a:lnTo>
                  <a:pt x="7" y="13"/>
                </a:lnTo>
                <a:lnTo>
                  <a:pt x="8" y="15"/>
                </a:lnTo>
                <a:lnTo>
                  <a:pt x="10" y="16"/>
                </a:lnTo>
                <a:lnTo>
                  <a:pt x="11" y="16"/>
                </a:lnTo>
                <a:lnTo>
                  <a:pt x="7" y="16"/>
                </a:lnTo>
                <a:lnTo>
                  <a:pt x="5" y="15"/>
                </a:lnTo>
                <a:lnTo>
                  <a:pt x="5" y="16"/>
                </a:lnTo>
                <a:lnTo>
                  <a:pt x="5" y="18"/>
                </a:lnTo>
                <a:lnTo>
                  <a:pt x="4" y="17"/>
                </a:lnTo>
                <a:lnTo>
                  <a:pt x="1" y="15"/>
                </a:lnTo>
                <a:lnTo>
                  <a:pt x="0" y="14"/>
                </a:lnTo>
                <a:lnTo>
                  <a:pt x="0" y="9"/>
                </a:lnTo>
                <a:lnTo>
                  <a:pt x="1" y="9"/>
                </a:lnTo>
                <a:lnTo>
                  <a:pt x="2" y="9"/>
                </a:lnTo>
                <a:lnTo>
                  <a:pt x="2" y="8"/>
                </a:lnTo>
                <a:lnTo>
                  <a:pt x="3" y="7"/>
                </a:lnTo>
                <a:lnTo>
                  <a:pt x="5" y="7"/>
                </a:lnTo>
                <a:lnTo>
                  <a:pt x="6" y="8"/>
                </a:lnTo>
                <a:lnTo>
                  <a:pt x="7" y="8"/>
                </a:lnTo>
                <a:lnTo>
                  <a:pt x="6" y="8"/>
                </a:lnTo>
                <a:lnTo>
                  <a:pt x="5" y="5"/>
                </a:lnTo>
                <a:lnTo>
                  <a:pt x="3" y="3"/>
                </a:lnTo>
                <a:lnTo>
                  <a:pt x="4" y="2"/>
                </a:lnTo>
                <a:lnTo>
                  <a:pt x="5" y="2"/>
                </a:lnTo>
                <a:lnTo>
                  <a:pt x="5" y="0"/>
                </a:lnTo>
                <a:lnTo>
                  <a:pt x="6" y="0"/>
                </a:lnTo>
                <a:lnTo>
                  <a:pt x="8" y="0"/>
                </a:lnTo>
                <a:lnTo>
                  <a:pt x="11" y="0"/>
                </a:lnTo>
                <a:lnTo>
                  <a:pt x="14" y="3"/>
                </a:lnTo>
                <a:lnTo>
                  <a:pt x="17" y="2"/>
                </a:lnTo>
                <a:lnTo>
                  <a:pt x="20" y="3"/>
                </a:lnTo>
                <a:lnTo>
                  <a:pt x="22" y="4"/>
                </a:lnTo>
                <a:lnTo>
                  <a:pt x="22" y="4"/>
                </a:lnTo>
                <a:lnTo>
                  <a:pt x="21" y="4"/>
                </a:lnTo>
                <a:lnTo>
                  <a:pt x="21" y="5"/>
                </a:lnTo>
                <a:lnTo>
                  <a:pt x="22" y="5"/>
                </a:lnTo>
                <a:lnTo>
                  <a:pt x="23" y="6"/>
                </a:lnTo>
                <a:lnTo>
                  <a:pt x="23" y="7"/>
                </a:lnTo>
                <a:lnTo>
                  <a:pt x="22" y="8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02" name="Freeform 401"/>
          <p:cNvSpPr>
            <a:spLocks/>
          </p:cNvSpPr>
          <p:nvPr/>
        </p:nvSpPr>
        <p:spPr bwMode="auto">
          <a:xfrm>
            <a:off x="3052763" y="5051391"/>
            <a:ext cx="36512" cy="28575"/>
          </a:xfrm>
          <a:custGeom>
            <a:avLst/>
            <a:gdLst>
              <a:gd name="T0" fmla="*/ 22 w 23"/>
              <a:gd name="T1" fmla="*/ 8 h 18"/>
              <a:gd name="T2" fmla="*/ 21 w 23"/>
              <a:gd name="T3" fmla="*/ 8 h 18"/>
              <a:gd name="T4" fmla="*/ 20 w 23"/>
              <a:gd name="T5" fmla="*/ 9 h 18"/>
              <a:gd name="T6" fmla="*/ 17 w 23"/>
              <a:gd name="T7" fmla="*/ 10 h 18"/>
              <a:gd name="T8" fmla="*/ 14 w 23"/>
              <a:gd name="T9" fmla="*/ 10 h 18"/>
              <a:gd name="T10" fmla="*/ 11 w 23"/>
              <a:gd name="T11" fmla="*/ 9 h 18"/>
              <a:gd name="T12" fmla="*/ 10 w 23"/>
              <a:gd name="T13" fmla="*/ 10 h 18"/>
              <a:gd name="T14" fmla="*/ 10 w 23"/>
              <a:gd name="T15" fmla="*/ 10 h 18"/>
              <a:gd name="T16" fmla="*/ 13 w 23"/>
              <a:gd name="T17" fmla="*/ 13 h 18"/>
              <a:gd name="T18" fmla="*/ 14 w 23"/>
              <a:gd name="T19" fmla="*/ 14 h 18"/>
              <a:gd name="T20" fmla="*/ 12 w 23"/>
              <a:gd name="T21" fmla="*/ 13 h 18"/>
              <a:gd name="T22" fmla="*/ 10 w 23"/>
              <a:gd name="T23" fmla="*/ 14 h 18"/>
              <a:gd name="T24" fmla="*/ 8 w 23"/>
              <a:gd name="T25" fmla="*/ 13 h 18"/>
              <a:gd name="T26" fmla="*/ 7 w 23"/>
              <a:gd name="T27" fmla="*/ 13 h 18"/>
              <a:gd name="T28" fmla="*/ 8 w 23"/>
              <a:gd name="T29" fmla="*/ 15 h 18"/>
              <a:gd name="T30" fmla="*/ 10 w 23"/>
              <a:gd name="T31" fmla="*/ 16 h 18"/>
              <a:gd name="T32" fmla="*/ 11 w 23"/>
              <a:gd name="T33" fmla="*/ 16 h 18"/>
              <a:gd name="T34" fmla="*/ 7 w 23"/>
              <a:gd name="T35" fmla="*/ 16 h 18"/>
              <a:gd name="T36" fmla="*/ 5 w 23"/>
              <a:gd name="T37" fmla="*/ 15 h 18"/>
              <a:gd name="T38" fmla="*/ 5 w 23"/>
              <a:gd name="T39" fmla="*/ 16 h 18"/>
              <a:gd name="T40" fmla="*/ 5 w 23"/>
              <a:gd name="T41" fmla="*/ 18 h 18"/>
              <a:gd name="T42" fmla="*/ 4 w 23"/>
              <a:gd name="T43" fmla="*/ 17 h 18"/>
              <a:gd name="T44" fmla="*/ 1 w 23"/>
              <a:gd name="T45" fmla="*/ 15 h 18"/>
              <a:gd name="T46" fmla="*/ 0 w 23"/>
              <a:gd name="T47" fmla="*/ 14 h 18"/>
              <a:gd name="T48" fmla="*/ 0 w 23"/>
              <a:gd name="T49" fmla="*/ 9 h 18"/>
              <a:gd name="T50" fmla="*/ 1 w 23"/>
              <a:gd name="T51" fmla="*/ 9 h 18"/>
              <a:gd name="T52" fmla="*/ 2 w 23"/>
              <a:gd name="T53" fmla="*/ 9 h 18"/>
              <a:gd name="T54" fmla="*/ 2 w 23"/>
              <a:gd name="T55" fmla="*/ 8 h 18"/>
              <a:gd name="T56" fmla="*/ 3 w 23"/>
              <a:gd name="T57" fmla="*/ 7 h 18"/>
              <a:gd name="T58" fmla="*/ 5 w 23"/>
              <a:gd name="T59" fmla="*/ 7 h 18"/>
              <a:gd name="T60" fmla="*/ 6 w 23"/>
              <a:gd name="T61" fmla="*/ 8 h 18"/>
              <a:gd name="T62" fmla="*/ 7 w 23"/>
              <a:gd name="T63" fmla="*/ 8 h 18"/>
              <a:gd name="T64" fmla="*/ 6 w 23"/>
              <a:gd name="T65" fmla="*/ 8 h 18"/>
              <a:gd name="T66" fmla="*/ 5 w 23"/>
              <a:gd name="T67" fmla="*/ 5 h 18"/>
              <a:gd name="T68" fmla="*/ 3 w 23"/>
              <a:gd name="T69" fmla="*/ 3 h 18"/>
              <a:gd name="T70" fmla="*/ 4 w 23"/>
              <a:gd name="T71" fmla="*/ 2 h 18"/>
              <a:gd name="T72" fmla="*/ 5 w 23"/>
              <a:gd name="T73" fmla="*/ 2 h 18"/>
              <a:gd name="T74" fmla="*/ 5 w 23"/>
              <a:gd name="T75" fmla="*/ 0 h 18"/>
              <a:gd name="T76" fmla="*/ 6 w 23"/>
              <a:gd name="T77" fmla="*/ 0 h 18"/>
              <a:gd name="T78" fmla="*/ 8 w 23"/>
              <a:gd name="T79" fmla="*/ 0 h 18"/>
              <a:gd name="T80" fmla="*/ 11 w 23"/>
              <a:gd name="T81" fmla="*/ 0 h 18"/>
              <a:gd name="T82" fmla="*/ 14 w 23"/>
              <a:gd name="T83" fmla="*/ 3 h 18"/>
              <a:gd name="T84" fmla="*/ 17 w 23"/>
              <a:gd name="T85" fmla="*/ 2 h 18"/>
              <a:gd name="T86" fmla="*/ 20 w 23"/>
              <a:gd name="T87" fmla="*/ 3 h 18"/>
              <a:gd name="T88" fmla="*/ 22 w 23"/>
              <a:gd name="T89" fmla="*/ 4 h 18"/>
              <a:gd name="T90" fmla="*/ 22 w 23"/>
              <a:gd name="T91" fmla="*/ 4 h 18"/>
              <a:gd name="T92" fmla="*/ 21 w 23"/>
              <a:gd name="T93" fmla="*/ 4 h 18"/>
              <a:gd name="T94" fmla="*/ 21 w 23"/>
              <a:gd name="T95" fmla="*/ 5 h 18"/>
              <a:gd name="T96" fmla="*/ 22 w 23"/>
              <a:gd name="T97" fmla="*/ 5 h 18"/>
              <a:gd name="T98" fmla="*/ 23 w 23"/>
              <a:gd name="T99" fmla="*/ 6 h 18"/>
              <a:gd name="T100" fmla="*/ 23 w 23"/>
              <a:gd name="T101" fmla="*/ 7 h 18"/>
              <a:gd name="T102" fmla="*/ 22 w 23"/>
              <a:gd name="T103" fmla="*/ 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3" h="18">
                <a:moveTo>
                  <a:pt x="22" y="8"/>
                </a:moveTo>
                <a:lnTo>
                  <a:pt x="21" y="8"/>
                </a:lnTo>
                <a:lnTo>
                  <a:pt x="20" y="9"/>
                </a:lnTo>
                <a:lnTo>
                  <a:pt x="17" y="10"/>
                </a:lnTo>
                <a:lnTo>
                  <a:pt x="14" y="10"/>
                </a:lnTo>
                <a:lnTo>
                  <a:pt x="11" y="9"/>
                </a:lnTo>
                <a:lnTo>
                  <a:pt x="10" y="10"/>
                </a:lnTo>
                <a:lnTo>
                  <a:pt x="10" y="10"/>
                </a:lnTo>
                <a:lnTo>
                  <a:pt x="13" y="13"/>
                </a:lnTo>
                <a:lnTo>
                  <a:pt x="14" y="14"/>
                </a:lnTo>
                <a:lnTo>
                  <a:pt x="12" y="13"/>
                </a:lnTo>
                <a:lnTo>
                  <a:pt x="10" y="14"/>
                </a:lnTo>
                <a:lnTo>
                  <a:pt x="8" y="13"/>
                </a:lnTo>
                <a:lnTo>
                  <a:pt x="7" y="13"/>
                </a:lnTo>
                <a:lnTo>
                  <a:pt x="8" y="15"/>
                </a:lnTo>
                <a:lnTo>
                  <a:pt x="10" y="16"/>
                </a:lnTo>
                <a:lnTo>
                  <a:pt x="11" y="16"/>
                </a:lnTo>
                <a:lnTo>
                  <a:pt x="7" y="16"/>
                </a:lnTo>
                <a:lnTo>
                  <a:pt x="5" y="15"/>
                </a:lnTo>
                <a:lnTo>
                  <a:pt x="5" y="16"/>
                </a:lnTo>
                <a:lnTo>
                  <a:pt x="5" y="18"/>
                </a:lnTo>
                <a:lnTo>
                  <a:pt x="4" y="17"/>
                </a:lnTo>
                <a:lnTo>
                  <a:pt x="1" y="15"/>
                </a:lnTo>
                <a:lnTo>
                  <a:pt x="0" y="14"/>
                </a:lnTo>
                <a:lnTo>
                  <a:pt x="0" y="9"/>
                </a:lnTo>
                <a:lnTo>
                  <a:pt x="1" y="9"/>
                </a:lnTo>
                <a:lnTo>
                  <a:pt x="2" y="9"/>
                </a:lnTo>
                <a:lnTo>
                  <a:pt x="2" y="8"/>
                </a:lnTo>
                <a:lnTo>
                  <a:pt x="3" y="7"/>
                </a:lnTo>
                <a:lnTo>
                  <a:pt x="5" y="7"/>
                </a:lnTo>
                <a:lnTo>
                  <a:pt x="6" y="8"/>
                </a:lnTo>
                <a:lnTo>
                  <a:pt x="7" y="8"/>
                </a:lnTo>
                <a:lnTo>
                  <a:pt x="6" y="8"/>
                </a:lnTo>
                <a:lnTo>
                  <a:pt x="5" y="5"/>
                </a:lnTo>
                <a:lnTo>
                  <a:pt x="3" y="3"/>
                </a:lnTo>
                <a:lnTo>
                  <a:pt x="4" y="2"/>
                </a:lnTo>
                <a:lnTo>
                  <a:pt x="5" y="2"/>
                </a:lnTo>
                <a:lnTo>
                  <a:pt x="5" y="0"/>
                </a:lnTo>
                <a:lnTo>
                  <a:pt x="6" y="0"/>
                </a:lnTo>
                <a:lnTo>
                  <a:pt x="8" y="0"/>
                </a:lnTo>
                <a:lnTo>
                  <a:pt x="11" y="0"/>
                </a:lnTo>
                <a:lnTo>
                  <a:pt x="14" y="3"/>
                </a:lnTo>
                <a:lnTo>
                  <a:pt x="17" y="2"/>
                </a:lnTo>
                <a:lnTo>
                  <a:pt x="20" y="3"/>
                </a:lnTo>
                <a:lnTo>
                  <a:pt x="22" y="4"/>
                </a:lnTo>
                <a:lnTo>
                  <a:pt x="22" y="4"/>
                </a:lnTo>
                <a:lnTo>
                  <a:pt x="21" y="4"/>
                </a:lnTo>
                <a:lnTo>
                  <a:pt x="21" y="5"/>
                </a:lnTo>
                <a:lnTo>
                  <a:pt x="22" y="5"/>
                </a:lnTo>
                <a:lnTo>
                  <a:pt x="23" y="6"/>
                </a:lnTo>
                <a:lnTo>
                  <a:pt x="23" y="7"/>
                </a:lnTo>
                <a:lnTo>
                  <a:pt x="22" y="8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03" name="Freeform 402"/>
          <p:cNvSpPr>
            <a:spLocks/>
          </p:cNvSpPr>
          <p:nvPr/>
        </p:nvSpPr>
        <p:spPr bwMode="auto">
          <a:xfrm>
            <a:off x="1449388" y="2738403"/>
            <a:ext cx="3175" cy="9525"/>
          </a:xfrm>
          <a:custGeom>
            <a:avLst/>
            <a:gdLst>
              <a:gd name="T0" fmla="*/ 0 w 2"/>
              <a:gd name="T1" fmla="*/ 2 h 6"/>
              <a:gd name="T2" fmla="*/ 0 w 2"/>
              <a:gd name="T3" fmla="*/ 1 h 6"/>
              <a:gd name="T4" fmla="*/ 1 w 2"/>
              <a:gd name="T5" fmla="*/ 0 h 6"/>
              <a:gd name="T6" fmla="*/ 2 w 2"/>
              <a:gd name="T7" fmla="*/ 0 h 6"/>
              <a:gd name="T8" fmla="*/ 2 w 2"/>
              <a:gd name="T9" fmla="*/ 1 h 6"/>
              <a:gd name="T10" fmla="*/ 1 w 2"/>
              <a:gd name="T11" fmla="*/ 6 h 6"/>
              <a:gd name="T12" fmla="*/ 0 w 2"/>
              <a:gd name="T13" fmla="*/ 3 h 6"/>
              <a:gd name="T14" fmla="*/ 0 w 2"/>
              <a:gd name="T15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6">
                <a:moveTo>
                  <a:pt x="0" y="2"/>
                </a:moveTo>
                <a:lnTo>
                  <a:pt x="0" y="1"/>
                </a:lnTo>
                <a:lnTo>
                  <a:pt x="1" y="0"/>
                </a:lnTo>
                <a:lnTo>
                  <a:pt x="2" y="0"/>
                </a:lnTo>
                <a:lnTo>
                  <a:pt x="2" y="1"/>
                </a:lnTo>
                <a:lnTo>
                  <a:pt x="1" y="6"/>
                </a:lnTo>
                <a:lnTo>
                  <a:pt x="0" y="3"/>
                </a:lnTo>
                <a:lnTo>
                  <a:pt x="0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04" name="Freeform 403"/>
          <p:cNvSpPr>
            <a:spLocks/>
          </p:cNvSpPr>
          <p:nvPr/>
        </p:nvSpPr>
        <p:spPr bwMode="auto">
          <a:xfrm>
            <a:off x="1449388" y="2738403"/>
            <a:ext cx="3175" cy="9525"/>
          </a:xfrm>
          <a:custGeom>
            <a:avLst/>
            <a:gdLst>
              <a:gd name="T0" fmla="*/ 0 w 2"/>
              <a:gd name="T1" fmla="*/ 2 h 6"/>
              <a:gd name="T2" fmla="*/ 0 w 2"/>
              <a:gd name="T3" fmla="*/ 1 h 6"/>
              <a:gd name="T4" fmla="*/ 1 w 2"/>
              <a:gd name="T5" fmla="*/ 0 h 6"/>
              <a:gd name="T6" fmla="*/ 2 w 2"/>
              <a:gd name="T7" fmla="*/ 0 h 6"/>
              <a:gd name="T8" fmla="*/ 2 w 2"/>
              <a:gd name="T9" fmla="*/ 1 h 6"/>
              <a:gd name="T10" fmla="*/ 1 w 2"/>
              <a:gd name="T11" fmla="*/ 6 h 6"/>
              <a:gd name="T12" fmla="*/ 0 w 2"/>
              <a:gd name="T13" fmla="*/ 3 h 6"/>
              <a:gd name="T14" fmla="*/ 0 w 2"/>
              <a:gd name="T15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6">
                <a:moveTo>
                  <a:pt x="0" y="2"/>
                </a:moveTo>
                <a:lnTo>
                  <a:pt x="0" y="1"/>
                </a:lnTo>
                <a:lnTo>
                  <a:pt x="1" y="0"/>
                </a:lnTo>
                <a:lnTo>
                  <a:pt x="2" y="0"/>
                </a:lnTo>
                <a:lnTo>
                  <a:pt x="2" y="1"/>
                </a:lnTo>
                <a:lnTo>
                  <a:pt x="1" y="6"/>
                </a:lnTo>
                <a:lnTo>
                  <a:pt x="0" y="3"/>
                </a:lnTo>
                <a:lnTo>
                  <a:pt x="0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05" name="Freeform 404"/>
          <p:cNvSpPr>
            <a:spLocks/>
          </p:cNvSpPr>
          <p:nvPr/>
        </p:nvSpPr>
        <p:spPr bwMode="auto">
          <a:xfrm>
            <a:off x="3525838" y="1350928"/>
            <a:ext cx="30162" cy="6350"/>
          </a:xfrm>
          <a:custGeom>
            <a:avLst/>
            <a:gdLst>
              <a:gd name="T0" fmla="*/ 3 w 19"/>
              <a:gd name="T1" fmla="*/ 0 h 4"/>
              <a:gd name="T2" fmla="*/ 8 w 19"/>
              <a:gd name="T3" fmla="*/ 1 h 4"/>
              <a:gd name="T4" fmla="*/ 7 w 19"/>
              <a:gd name="T5" fmla="*/ 1 h 4"/>
              <a:gd name="T6" fmla="*/ 8 w 19"/>
              <a:gd name="T7" fmla="*/ 2 h 4"/>
              <a:gd name="T8" fmla="*/ 12 w 19"/>
              <a:gd name="T9" fmla="*/ 2 h 4"/>
              <a:gd name="T10" fmla="*/ 16 w 19"/>
              <a:gd name="T11" fmla="*/ 3 h 4"/>
              <a:gd name="T12" fmla="*/ 19 w 19"/>
              <a:gd name="T13" fmla="*/ 4 h 4"/>
              <a:gd name="T14" fmla="*/ 18 w 19"/>
              <a:gd name="T15" fmla="*/ 4 h 4"/>
              <a:gd name="T16" fmla="*/ 16 w 19"/>
              <a:gd name="T17" fmla="*/ 4 h 4"/>
              <a:gd name="T18" fmla="*/ 12 w 19"/>
              <a:gd name="T19" fmla="*/ 4 h 4"/>
              <a:gd name="T20" fmla="*/ 9 w 19"/>
              <a:gd name="T21" fmla="*/ 4 h 4"/>
              <a:gd name="T22" fmla="*/ 6 w 19"/>
              <a:gd name="T23" fmla="*/ 3 h 4"/>
              <a:gd name="T24" fmla="*/ 2 w 19"/>
              <a:gd name="T25" fmla="*/ 3 h 4"/>
              <a:gd name="T26" fmla="*/ 1 w 19"/>
              <a:gd name="T27" fmla="*/ 2 h 4"/>
              <a:gd name="T28" fmla="*/ 0 w 19"/>
              <a:gd name="T29" fmla="*/ 1 h 4"/>
              <a:gd name="T30" fmla="*/ 0 w 19"/>
              <a:gd name="T31" fmla="*/ 1 h 4"/>
              <a:gd name="T32" fmla="*/ 1 w 19"/>
              <a:gd name="T33" fmla="*/ 0 h 4"/>
              <a:gd name="T34" fmla="*/ 3 w 19"/>
              <a:gd name="T35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9" h="4">
                <a:moveTo>
                  <a:pt x="3" y="0"/>
                </a:moveTo>
                <a:lnTo>
                  <a:pt x="8" y="1"/>
                </a:lnTo>
                <a:lnTo>
                  <a:pt x="7" y="1"/>
                </a:lnTo>
                <a:lnTo>
                  <a:pt x="8" y="2"/>
                </a:lnTo>
                <a:lnTo>
                  <a:pt x="12" y="2"/>
                </a:lnTo>
                <a:lnTo>
                  <a:pt x="16" y="3"/>
                </a:lnTo>
                <a:lnTo>
                  <a:pt x="19" y="4"/>
                </a:lnTo>
                <a:lnTo>
                  <a:pt x="18" y="4"/>
                </a:lnTo>
                <a:lnTo>
                  <a:pt x="16" y="4"/>
                </a:lnTo>
                <a:lnTo>
                  <a:pt x="12" y="4"/>
                </a:lnTo>
                <a:lnTo>
                  <a:pt x="9" y="4"/>
                </a:lnTo>
                <a:lnTo>
                  <a:pt x="6" y="3"/>
                </a:lnTo>
                <a:lnTo>
                  <a:pt x="2" y="3"/>
                </a:lnTo>
                <a:lnTo>
                  <a:pt x="1" y="2"/>
                </a:lnTo>
                <a:lnTo>
                  <a:pt x="0" y="1"/>
                </a:lnTo>
                <a:lnTo>
                  <a:pt x="0" y="1"/>
                </a:lnTo>
                <a:lnTo>
                  <a:pt x="1" y="0"/>
                </a:lnTo>
                <a:lnTo>
                  <a:pt x="3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06" name="Freeform 405"/>
          <p:cNvSpPr>
            <a:spLocks/>
          </p:cNvSpPr>
          <p:nvPr/>
        </p:nvSpPr>
        <p:spPr bwMode="auto">
          <a:xfrm>
            <a:off x="3525838" y="1350928"/>
            <a:ext cx="30162" cy="6350"/>
          </a:xfrm>
          <a:custGeom>
            <a:avLst/>
            <a:gdLst>
              <a:gd name="T0" fmla="*/ 3 w 19"/>
              <a:gd name="T1" fmla="*/ 0 h 4"/>
              <a:gd name="T2" fmla="*/ 8 w 19"/>
              <a:gd name="T3" fmla="*/ 1 h 4"/>
              <a:gd name="T4" fmla="*/ 7 w 19"/>
              <a:gd name="T5" fmla="*/ 1 h 4"/>
              <a:gd name="T6" fmla="*/ 8 w 19"/>
              <a:gd name="T7" fmla="*/ 2 h 4"/>
              <a:gd name="T8" fmla="*/ 12 w 19"/>
              <a:gd name="T9" fmla="*/ 2 h 4"/>
              <a:gd name="T10" fmla="*/ 16 w 19"/>
              <a:gd name="T11" fmla="*/ 3 h 4"/>
              <a:gd name="T12" fmla="*/ 19 w 19"/>
              <a:gd name="T13" fmla="*/ 4 h 4"/>
              <a:gd name="T14" fmla="*/ 18 w 19"/>
              <a:gd name="T15" fmla="*/ 4 h 4"/>
              <a:gd name="T16" fmla="*/ 16 w 19"/>
              <a:gd name="T17" fmla="*/ 4 h 4"/>
              <a:gd name="T18" fmla="*/ 12 w 19"/>
              <a:gd name="T19" fmla="*/ 4 h 4"/>
              <a:gd name="T20" fmla="*/ 9 w 19"/>
              <a:gd name="T21" fmla="*/ 4 h 4"/>
              <a:gd name="T22" fmla="*/ 6 w 19"/>
              <a:gd name="T23" fmla="*/ 3 h 4"/>
              <a:gd name="T24" fmla="*/ 2 w 19"/>
              <a:gd name="T25" fmla="*/ 3 h 4"/>
              <a:gd name="T26" fmla="*/ 1 w 19"/>
              <a:gd name="T27" fmla="*/ 2 h 4"/>
              <a:gd name="T28" fmla="*/ 0 w 19"/>
              <a:gd name="T29" fmla="*/ 1 h 4"/>
              <a:gd name="T30" fmla="*/ 0 w 19"/>
              <a:gd name="T31" fmla="*/ 1 h 4"/>
              <a:gd name="T32" fmla="*/ 1 w 19"/>
              <a:gd name="T33" fmla="*/ 0 h 4"/>
              <a:gd name="T34" fmla="*/ 3 w 19"/>
              <a:gd name="T35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9" h="4">
                <a:moveTo>
                  <a:pt x="3" y="0"/>
                </a:moveTo>
                <a:lnTo>
                  <a:pt x="8" y="1"/>
                </a:lnTo>
                <a:lnTo>
                  <a:pt x="7" y="1"/>
                </a:lnTo>
                <a:lnTo>
                  <a:pt x="8" y="2"/>
                </a:lnTo>
                <a:lnTo>
                  <a:pt x="12" y="2"/>
                </a:lnTo>
                <a:lnTo>
                  <a:pt x="16" y="3"/>
                </a:lnTo>
                <a:lnTo>
                  <a:pt x="19" y="4"/>
                </a:lnTo>
                <a:lnTo>
                  <a:pt x="18" y="4"/>
                </a:lnTo>
                <a:lnTo>
                  <a:pt x="16" y="4"/>
                </a:lnTo>
                <a:lnTo>
                  <a:pt x="12" y="4"/>
                </a:lnTo>
                <a:lnTo>
                  <a:pt x="9" y="4"/>
                </a:lnTo>
                <a:lnTo>
                  <a:pt x="6" y="3"/>
                </a:lnTo>
                <a:lnTo>
                  <a:pt x="2" y="3"/>
                </a:lnTo>
                <a:lnTo>
                  <a:pt x="1" y="2"/>
                </a:lnTo>
                <a:lnTo>
                  <a:pt x="0" y="1"/>
                </a:lnTo>
                <a:lnTo>
                  <a:pt x="0" y="1"/>
                </a:lnTo>
                <a:lnTo>
                  <a:pt x="1" y="0"/>
                </a:lnTo>
                <a:lnTo>
                  <a:pt x="3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08" name="Freeform 407"/>
          <p:cNvSpPr>
            <a:spLocks/>
          </p:cNvSpPr>
          <p:nvPr/>
        </p:nvSpPr>
        <p:spPr bwMode="auto">
          <a:xfrm>
            <a:off x="4689475" y="1938303"/>
            <a:ext cx="12700" cy="30163"/>
          </a:xfrm>
          <a:custGeom>
            <a:avLst/>
            <a:gdLst>
              <a:gd name="T0" fmla="*/ 0 w 8"/>
              <a:gd name="T1" fmla="*/ 19 h 19"/>
              <a:gd name="T2" fmla="*/ 3 w 8"/>
              <a:gd name="T3" fmla="*/ 18 h 19"/>
              <a:gd name="T4" fmla="*/ 4 w 8"/>
              <a:gd name="T5" fmla="*/ 16 h 19"/>
              <a:gd name="T6" fmla="*/ 4 w 8"/>
              <a:gd name="T7" fmla="*/ 12 h 19"/>
              <a:gd name="T8" fmla="*/ 6 w 8"/>
              <a:gd name="T9" fmla="*/ 7 h 19"/>
              <a:gd name="T10" fmla="*/ 7 w 8"/>
              <a:gd name="T11" fmla="*/ 2 h 19"/>
              <a:gd name="T12" fmla="*/ 7 w 8"/>
              <a:gd name="T13" fmla="*/ 1 h 19"/>
              <a:gd name="T14" fmla="*/ 8 w 8"/>
              <a:gd name="T15" fmla="*/ 0 h 19"/>
              <a:gd name="T16" fmla="*/ 7 w 8"/>
              <a:gd name="T17" fmla="*/ 1 h 19"/>
              <a:gd name="T18" fmla="*/ 6 w 8"/>
              <a:gd name="T19" fmla="*/ 2 h 19"/>
              <a:gd name="T20" fmla="*/ 4 w 8"/>
              <a:gd name="T21" fmla="*/ 8 h 19"/>
              <a:gd name="T22" fmla="*/ 3 w 8"/>
              <a:gd name="T23" fmla="*/ 9 h 19"/>
              <a:gd name="T24" fmla="*/ 2 w 8"/>
              <a:gd name="T25" fmla="*/ 12 h 19"/>
              <a:gd name="T26" fmla="*/ 0 w 8"/>
              <a:gd name="T27" fmla="*/ 15 h 19"/>
              <a:gd name="T28" fmla="*/ 0 w 8"/>
              <a:gd name="T29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8" h="19">
                <a:moveTo>
                  <a:pt x="0" y="19"/>
                </a:moveTo>
                <a:lnTo>
                  <a:pt x="3" y="18"/>
                </a:lnTo>
                <a:lnTo>
                  <a:pt x="4" y="16"/>
                </a:lnTo>
                <a:lnTo>
                  <a:pt x="4" y="12"/>
                </a:lnTo>
                <a:lnTo>
                  <a:pt x="6" y="7"/>
                </a:lnTo>
                <a:lnTo>
                  <a:pt x="7" y="2"/>
                </a:lnTo>
                <a:lnTo>
                  <a:pt x="7" y="1"/>
                </a:lnTo>
                <a:lnTo>
                  <a:pt x="8" y="0"/>
                </a:lnTo>
                <a:lnTo>
                  <a:pt x="7" y="1"/>
                </a:lnTo>
                <a:lnTo>
                  <a:pt x="6" y="2"/>
                </a:lnTo>
                <a:lnTo>
                  <a:pt x="4" y="8"/>
                </a:lnTo>
                <a:lnTo>
                  <a:pt x="3" y="9"/>
                </a:lnTo>
                <a:lnTo>
                  <a:pt x="2" y="12"/>
                </a:lnTo>
                <a:lnTo>
                  <a:pt x="0" y="15"/>
                </a:lnTo>
                <a:lnTo>
                  <a:pt x="0" y="19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09" name="Freeform 408"/>
          <p:cNvSpPr>
            <a:spLocks/>
          </p:cNvSpPr>
          <p:nvPr/>
        </p:nvSpPr>
        <p:spPr bwMode="auto">
          <a:xfrm>
            <a:off x="4689475" y="1938303"/>
            <a:ext cx="12700" cy="30163"/>
          </a:xfrm>
          <a:custGeom>
            <a:avLst/>
            <a:gdLst>
              <a:gd name="T0" fmla="*/ 0 w 8"/>
              <a:gd name="T1" fmla="*/ 19 h 19"/>
              <a:gd name="T2" fmla="*/ 3 w 8"/>
              <a:gd name="T3" fmla="*/ 18 h 19"/>
              <a:gd name="T4" fmla="*/ 4 w 8"/>
              <a:gd name="T5" fmla="*/ 16 h 19"/>
              <a:gd name="T6" fmla="*/ 4 w 8"/>
              <a:gd name="T7" fmla="*/ 12 h 19"/>
              <a:gd name="T8" fmla="*/ 6 w 8"/>
              <a:gd name="T9" fmla="*/ 7 h 19"/>
              <a:gd name="T10" fmla="*/ 7 w 8"/>
              <a:gd name="T11" fmla="*/ 2 h 19"/>
              <a:gd name="T12" fmla="*/ 7 w 8"/>
              <a:gd name="T13" fmla="*/ 1 h 19"/>
              <a:gd name="T14" fmla="*/ 8 w 8"/>
              <a:gd name="T15" fmla="*/ 0 h 19"/>
              <a:gd name="T16" fmla="*/ 7 w 8"/>
              <a:gd name="T17" fmla="*/ 1 h 19"/>
              <a:gd name="T18" fmla="*/ 6 w 8"/>
              <a:gd name="T19" fmla="*/ 2 h 19"/>
              <a:gd name="T20" fmla="*/ 4 w 8"/>
              <a:gd name="T21" fmla="*/ 8 h 19"/>
              <a:gd name="T22" fmla="*/ 3 w 8"/>
              <a:gd name="T23" fmla="*/ 9 h 19"/>
              <a:gd name="T24" fmla="*/ 2 w 8"/>
              <a:gd name="T25" fmla="*/ 12 h 19"/>
              <a:gd name="T26" fmla="*/ 0 w 8"/>
              <a:gd name="T27" fmla="*/ 15 h 19"/>
              <a:gd name="T28" fmla="*/ 0 w 8"/>
              <a:gd name="T29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8" h="19">
                <a:moveTo>
                  <a:pt x="0" y="19"/>
                </a:moveTo>
                <a:lnTo>
                  <a:pt x="3" y="18"/>
                </a:lnTo>
                <a:lnTo>
                  <a:pt x="4" y="16"/>
                </a:lnTo>
                <a:lnTo>
                  <a:pt x="4" y="12"/>
                </a:lnTo>
                <a:lnTo>
                  <a:pt x="6" y="7"/>
                </a:lnTo>
                <a:lnTo>
                  <a:pt x="7" y="2"/>
                </a:lnTo>
                <a:lnTo>
                  <a:pt x="7" y="1"/>
                </a:lnTo>
                <a:lnTo>
                  <a:pt x="8" y="0"/>
                </a:lnTo>
                <a:lnTo>
                  <a:pt x="7" y="1"/>
                </a:lnTo>
                <a:lnTo>
                  <a:pt x="6" y="2"/>
                </a:lnTo>
                <a:lnTo>
                  <a:pt x="4" y="8"/>
                </a:lnTo>
                <a:lnTo>
                  <a:pt x="3" y="9"/>
                </a:lnTo>
                <a:lnTo>
                  <a:pt x="2" y="12"/>
                </a:lnTo>
                <a:lnTo>
                  <a:pt x="0" y="15"/>
                </a:lnTo>
                <a:lnTo>
                  <a:pt x="0" y="19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10" name="Freeform 409"/>
          <p:cNvSpPr>
            <a:spLocks/>
          </p:cNvSpPr>
          <p:nvPr/>
        </p:nvSpPr>
        <p:spPr bwMode="auto">
          <a:xfrm>
            <a:off x="4724400" y="1924015"/>
            <a:ext cx="17462" cy="26988"/>
          </a:xfrm>
          <a:custGeom>
            <a:avLst/>
            <a:gdLst>
              <a:gd name="T0" fmla="*/ 1 w 11"/>
              <a:gd name="T1" fmla="*/ 17 h 17"/>
              <a:gd name="T2" fmla="*/ 3 w 11"/>
              <a:gd name="T3" fmla="*/ 16 h 17"/>
              <a:gd name="T4" fmla="*/ 4 w 11"/>
              <a:gd name="T5" fmla="*/ 14 h 17"/>
              <a:gd name="T6" fmla="*/ 7 w 11"/>
              <a:gd name="T7" fmla="*/ 10 h 17"/>
              <a:gd name="T8" fmla="*/ 7 w 11"/>
              <a:gd name="T9" fmla="*/ 10 h 17"/>
              <a:gd name="T10" fmla="*/ 10 w 11"/>
              <a:gd name="T11" fmla="*/ 8 h 17"/>
              <a:gd name="T12" fmla="*/ 10 w 11"/>
              <a:gd name="T13" fmla="*/ 7 h 17"/>
              <a:gd name="T14" fmla="*/ 8 w 11"/>
              <a:gd name="T15" fmla="*/ 4 h 17"/>
              <a:gd name="T16" fmla="*/ 8 w 11"/>
              <a:gd name="T17" fmla="*/ 3 h 17"/>
              <a:gd name="T18" fmla="*/ 11 w 11"/>
              <a:gd name="T19" fmla="*/ 3 h 17"/>
              <a:gd name="T20" fmla="*/ 11 w 11"/>
              <a:gd name="T21" fmla="*/ 0 h 17"/>
              <a:gd name="T22" fmla="*/ 8 w 11"/>
              <a:gd name="T23" fmla="*/ 0 h 17"/>
              <a:gd name="T24" fmla="*/ 7 w 11"/>
              <a:gd name="T25" fmla="*/ 1 h 17"/>
              <a:gd name="T26" fmla="*/ 5 w 11"/>
              <a:gd name="T27" fmla="*/ 0 h 17"/>
              <a:gd name="T28" fmla="*/ 2 w 11"/>
              <a:gd name="T29" fmla="*/ 5 h 17"/>
              <a:gd name="T30" fmla="*/ 1 w 11"/>
              <a:gd name="T31" fmla="*/ 6 h 17"/>
              <a:gd name="T32" fmla="*/ 0 w 11"/>
              <a:gd name="T33" fmla="*/ 8 h 17"/>
              <a:gd name="T34" fmla="*/ 1 w 11"/>
              <a:gd name="T35" fmla="*/ 9 h 17"/>
              <a:gd name="T36" fmla="*/ 0 w 11"/>
              <a:gd name="T37" fmla="*/ 10 h 17"/>
              <a:gd name="T38" fmla="*/ 0 w 11"/>
              <a:gd name="T39" fmla="*/ 11 h 17"/>
              <a:gd name="T40" fmla="*/ 1 w 11"/>
              <a:gd name="T41" fmla="*/ 13 h 17"/>
              <a:gd name="T42" fmla="*/ 1 w 11"/>
              <a:gd name="T43" fmla="*/ 14 h 17"/>
              <a:gd name="T44" fmla="*/ 2 w 11"/>
              <a:gd name="T45" fmla="*/ 14 h 17"/>
              <a:gd name="T46" fmla="*/ 2 w 11"/>
              <a:gd name="T47" fmla="*/ 15 h 17"/>
              <a:gd name="T48" fmla="*/ 1 w 11"/>
              <a:gd name="T49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1" h="17">
                <a:moveTo>
                  <a:pt x="1" y="17"/>
                </a:moveTo>
                <a:lnTo>
                  <a:pt x="3" y="16"/>
                </a:lnTo>
                <a:lnTo>
                  <a:pt x="4" y="14"/>
                </a:lnTo>
                <a:lnTo>
                  <a:pt x="7" y="10"/>
                </a:lnTo>
                <a:lnTo>
                  <a:pt x="7" y="10"/>
                </a:lnTo>
                <a:lnTo>
                  <a:pt x="10" y="8"/>
                </a:lnTo>
                <a:lnTo>
                  <a:pt x="10" y="7"/>
                </a:lnTo>
                <a:lnTo>
                  <a:pt x="8" y="4"/>
                </a:lnTo>
                <a:lnTo>
                  <a:pt x="8" y="3"/>
                </a:lnTo>
                <a:lnTo>
                  <a:pt x="11" y="3"/>
                </a:lnTo>
                <a:lnTo>
                  <a:pt x="11" y="0"/>
                </a:lnTo>
                <a:lnTo>
                  <a:pt x="8" y="0"/>
                </a:lnTo>
                <a:lnTo>
                  <a:pt x="7" y="1"/>
                </a:lnTo>
                <a:lnTo>
                  <a:pt x="5" y="0"/>
                </a:lnTo>
                <a:lnTo>
                  <a:pt x="2" y="5"/>
                </a:lnTo>
                <a:lnTo>
                  <a:pt x="1" y="6"/>
                </a:lnTo>
                <a:lnTo>
                  <a:pt x="0" y="8"/>
                </a:lnTo>
                <a:lnTo>
                  <a:pt x="1" y="9"/>
                </a:lnTo>
                <a:lnTo>
                  <a:pt x="0" y="10"/>
                </a:lnTo>
                <a:lnTo>
                  <a:pt x="0" y="11"/>
                </a:lnTo>
                <a:lnTo>
                  <a:pt x="1" y="13"/>
                </a:lnTo>
                <a:lnTo>
                  <a:pt x="1" y="14"/>
                </a:lnTo>
                <a:lnTo>
                  <a:pt x="2" y="14"/>
                </a:lnTo>
                <a:lnTo>
                  <a:pt x="2" y="15"/>
                </a:lnTo>
                <a:lnTo>
                  <a:pt x="1" y="17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11" name="Freeform 410"/>
          <p:cNvSpPr>
            <a:spLocks/>
          </p:cNvSpPr>
          <p:nvPr/>
        </p:nvSpPr>
        <p:spPr bwMode="auto">
          <a:xfrm>
            <a:off x="4724400" y="1924015"/>
            <a:ext cx="17462" cy="26988"/>
          </a:xfrm>
          <a:custGeom>
            <a:avLst/>
            <a:gdLst>
              <a:gd name="T0" fmla="*/ 1 w 11"/>
              <a:gd name="T1" fmla="*/ 17 h 17"/>
              <a:gd name="T2" fmla="*/ 3 w 11"/>
              <a:gd name="T3" fmla="*/ 16 h 17"/>
              <a:gd name="T4" fmla="*/ 4 w 11"/>
              <a:gd name="T5" fmla="*/ 14 h 17"/>
              <a:gd name="T6" fmla="*/ 7 w 11"/>
              <a:gd name="T7" fmla="*/ 10 h 17"/>
              <a:gd name="T8" fmla="*/ 7 w 11"/>
              <a:gd name="T9" fmla="*/ 10 h 17"/>
              <a:gd name="T10" fmla="*/ 10 w 11"/>
              <a:gd name="T11" fmla="*/ 8 h 17"/>
              <a:gd name="T12" fmla="*/ 10 w 11"/>
              <a:gd name="T13" fmla="*/ 7 h 17"/>
              <a:gd name="T14" fmla="*/ 8 w 11"/>
              <a:gd name="T15" fmla="*/ 4 h 17"/>
              <a:gd name="T16" fmla="*/ 8 w 11"/>
              <a:gd name="T17" fmla="*/ 3 h 17"/>
              <a:gd name="T18" fmla="*/ 11 w 11"/>
              <a:gd name="T19" fmla="*/ 3 h 17"/>
              <a:gd name="T20" fmla="*/ 11 w 11"/>
              <a:gd name="T21" fmla="*/ 0 h 17"/>
              <a:gd name="T22" fmla="*/ 8 w 11"/>
              <a:gd name="T23" fmla="*/ 0 h 17"/>
              <a:gd name="T24" fmla="*/ 7 w 11"/>
              <a:gd name="T25" fmla="*/ 1 h 17"/>
              <a:gd name="T26" fmla="*/ 5 w 11"/>
              <a:gd name="T27" fmla="*/ 0 h 17"/>
              <a:gd name="T28" fmla="*/ 2 w 11"/>
              <a:gd name="T29" fmla="*/ 5 h 17"/>
              <a:gd name="T30" fmla="*/ 1 w 11"/>
              <a:gd name="T31" fmla="*/ 6 h 17"/>
              <a:gd name="T32" fmla="*/ 0 w 11"/>
              <a:gd name="T33" fmla="*/ 8 h 17"/>
              <a:gd name="T34" fmla="*/ 1 w 11"/>
              <a:gd name="T35" fmla="*/ 9 h 17"/>
              <a:gd name="T36" fmla="*/ 0 w 11"/>
              <a:gd name="T37" fmla="*/ 10 h 17"/>
              <a:gd name="T38" fmla="*/ 0 w 11"/>
              <a:gd name="T39" fmla="*/ 11 h 17"/>
              <a:gd name="T40" fmla="*/ 1 w 11"/>
              <a:gd name="T41" fmla="*/ 13 h 17"/>
              <a:gd name="T42" fmla="*/ 1 w 11"/>
              <a:gd name="T43" fmla="*/ 14 h 17"/>
              <a:gd name="T44" fmla="*/ 2 w 11"/>
              <a:gd name="T45" fmla="*/ 14 h 17"/>
              <a:gd name="T46" fmla="*/ 2 w 11"/>
              <a:gd name="T47" fmla="*/ 15 h 17"/>
              <a:gd name="T48" fmla="*/ 1 w 11"/>
              <a:gd name="T49" fmla="*/ 1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1" h="17">
                <a:moveTo>
                  <a:pt x="1" y="17"/>
                </a:moveTo>
                <a:lnTo>
                  <a:pt x="3" y="16"/>
                </a:lnTo>
                <a:lnTo>
                  <a:pt x="4" y="14"/>
                </a:lnTo>
                <a:lnTo>
                  <a:pt x="7" y="10"/>
                </a:lnTo>
                <a:lnTo>
                  <a:pt x="7" y="10"/>
                </a:lnTo>
                <a:lnTo>
                  <a:pt x="10" y="8"/>
                </a:lnTo>
                <a:lnTo>
                  <a:pt x="10" y="7"/>
                </a:lnTo>
                <a:lnTo>
                  <a:pt x="8" y="4"/>
                </a:lnTo>
                <a:lnTo>
                  <a:pt x="8" y="3"/>
                </a:lnTo>
                <a:lnTo>
                  <a:pt x="11" y="3"/>
                </a:lnTo>
                <a:lnTo>
                  <a:pt x="11" y="0"/>
                </a:lnTo>
                <a:lnTo>
                  <a:pt x="8" y="0"/>
                </a:lnTo>
                <a:lnTo>
                  <a:pt x="7" y="1"/>
                </a:lnTo>
                <a:lnTo>
                  <a:pt x="5" y="0"/>
                </a:lnTo>
                <a:lnTo>
                  <a:pt x="2" y="5"/>
                </a:lnTo>
                <a:lnTo>
                  <a:pt x="1" y="6"/>
                </a:lnTo>
                <a:lnTo>
                  <a:pt x="0" y="8"/>
                </a:lnTo>
                <a:lnTo>
                  <a:pt x="1" y="9"/>
                </a:lnTo>
                <a:lnTo>
                  <a:pt x="0" y="10"/>
                </a:lnTo>
                <a:lnTo>
                  <a:pt x="0" y="11"/>
                </a:lnTo>
                <a:lnTo>
                  <a:pt x="1" y="13"/>
                </a:lnTo>
                <a:lnTo>
                  <a:pt x="1" y="14"/>
                </a:lnTo>
                <a:lnTo>
                  <a:pt x="2" y="14"/>
                </a:lnTo>
                <a:lnTo>
                  <a:pt x="2" y="15"/>
                </a:lnTo>
                <a:lnTo>
                  <a:pt x="1" y="17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12" name="Freeform 411"/>
          <p:cNvSpPr>
            <a:spLocks/>
          </p:cNvSpPr>
          <p:nvPr/>
        </p:nvSpPr>
        <p:spPr bwMode="auto">
          <a:xfrm>
            <a:off x="4452938" y="2051015"/>
            <a:ext cx="6350" cy="9525"/>
          </a:xfrm>
          <a:custGeom>
            <a:avLst/>
            <a:gdLst>
              <a:gd name="T0" fmla="*/ 3 w 4"/>
              <a:gd name="T1" fmla="*/ 2 h 6"/>
              <a:gd name="T2" fmla="*/ 4 w 4"/>
              <a:gd name="T3" fmla="*/ 0 h 6"/>
              <a:gd name="T4" fmla="*/ 4 w 4"/>
              <a:gd name="T5" fmla="*/ 0 h 6"/>
              <a:gd name="T6" fmla="*/ 2 w 4"/>
              <a:gd name="T7" fmla="*/ 2 h 6"/>
              <a:gd name="T8" fmla="*/ 1 w 4"/>
              <a:gd name="T9" fmla="*/ 4 h 6"/>
              <a:gd name="T10" fmla="*/ 0 w 4"/>
              <a:gd name="T11" fmla="*/ 6 h 6"/>
              <a:gd name="T12" fmla="*/ 2 w 4"/>
              <a:gd name="T13" fmla="*/ 5 h 6"/>
              <a:gd name="T14" fmla="*/ 3 w 4"/>
              <a:gd name="T15" fmla="*/ 2 h 6"/>
              <a:gd name="T16" fmla="*/ 3 w 4"/>
              <a:gd name="T17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6">
                <a:moveTo>
                  <a:pt x="3" y="2"/>
                </a:moveTo>
                <a:lnTo>
                  <a:pt x="4" y="0"/>
                </a:lnTo>
                <a:lnTo>
                  <a:pt x="4" y="0"/>
                </a:lnTo>
                <a:lnTo>
                  <a:pt x="2" y="2"/>
                </a:lnTo>
                <a:lnTo>
                  <a:pt x="1" y="4"/>
                </a:lnTo>
                <a:lnTo>
                  <a:pt x="0" y="6"/>
                </a:lnTo>
                <a:lnTo>
                  <a:pt x="2" y="5"/>
                </a:lnTo>
                <a:lnTo>
                  <a:pt x="3" y="2"/>
                </a:lnTo>
                <a:lnTo>
                  <a:pt x="3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13" name="Freeform 412"/>
          <p:cNvSpPr>
            <a:spLocks/>
          </p:cNvSpPr>
          <p:nvPr/>
        </p:nvSpPr>
        <p:spPr bwMode="auto">
          <a:xfrm>
            <a:off x="4452938" y="2051015"/>
            <a:ext cx="6350" cy="9525"/>
          </a:xfrm>
          <a:custGeom>
            <a:avLst/>
            <a:gdLst>
              <a:gd name="T0" fmla="*/ 3 w 4"/>
              <a:gd name="T1" fmla="*/ 2 h 6"/>
              <a:gd name="T2" fmla="*/ 4 w 4"/>
              <a:gd name="T3" fmla="*/ 0 h 6"/>
              <a:gd name="T4" fmla="*/ 4 w 4"/>
              <a:gd name="T5" fmla="*/ 0 h 6"/>
              <a:gd name="T6" fmla="*/ 2 w 4"/>
              <a:gd name="T7" fmla="*/ 2 h 6"/>
              <a:gd name="T8" fmla="*/ 1 w 4"/>
              <a:gd name="T9" fmla="*/ 4 h 6"/>
              <a:gd name="T10" fmla="*/ 0 w 4"/>
              <a:gd name="T11" fmla="*/ 6 h 6"/>
              <a:gd name="T12" fmla="*/ 2 w 4"/>
              <a:gd name="T13" fmla="*/ 5 h 6"/>
              <a:gd name="T14" fmla="*/ 3 w 4"/>
              <a:gd name="T15" fmla="*/ 2 h 6"/>
              <a:gd name="T16" fmla="*/ 3 w 4"/>
              <a:gd name="T17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6">
                <a:moveTo>
                  <a:pt x="3" y="2"/>
                </a:moveTo>
                <a:lnTo>
                  <a:pt x="4" y="0"/>
                </a:lnTo>
                <a:lnTo>
                  <a:pt x="4" y="0"/>
                </a:lnTo>
                <a:lnTo>
                  <a:pt x="2" y="2"/>
                </a:lnTo>
                <a:lnTo>
                  <a:pt x="1" y="4"/>
                </a:lnTo>
                <a:lnTo>
                  <a:pt x="0" y="6"/>
                </a:lnTo>
                <a:lnTo>
                  <a:pt x="2" y="5"/>
                </a:lnTo>
                <a:lnTo>
                  <a:pt x="3" y="2"/>
                </a:lnTo>
                <a:lnTo>
                  <a:pt x="3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14" name="Freeform 413"/>
          <p:cNvSpPr>
            <a:spLocks/>
          </p:cNvSpPr>
          <p:nvPr/>
        </p:nvSpPr>
        <p:spPr bwMode="auto">
          <a:xfrm>
            <a:off x="4437063" y="2092290"/>
            <a:ext cx="6350" cy="3175"/>
          </a:xfrm>
          <a:custGeom>
            <a:avLst/>
            <a:gdLst>
              <a:gd name="T0" fmla="*/ 1 w 4"/>
              <a:gd name="T1" fmla="*/ 0 h 2"/>
              <a:gd name="T2" fmla="*/ 0 w 4"/>
              <a:gd name="T3" fmla="*/ 0 h 2"/>
              <a:gd name="T4" fmla="*/ 2 w 4"/>
              <a:gd name="T5" fmla="*/ 0 h 2"/>
              <a:gd name="T6" fmla="*/ 4 w 4"/>
              <a:gd name="T7" fmla="*/ 1 h 2"/>
              <a:gd name="T8" fmla="*/ 4 w 4"/>
              <a:gd name="T9" fmla="*/ 2 h 2"/>
              <a:gd name="T10" fmla="*/ 1 w 4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2">
                <a:moveTo>
                  <a:pt x="1" y="0"/>
                </a:moveTo>
                <a:lnTo>
                  <a:pt x="0" y="0"/>
                </a:lnTo>
                <a:lnTo>
                  <a:pt x="2" y="0"/>
                </a:lnTo>
                <a:lnTo>
                  <a:pt x="4" y="1"/>
                </a:lnTo>
                <a:lnTo>
                  <a:pt x="4" y="2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15" name="Freeform 414"/>
          <p:cNvSpPr>
            <a:spLocks/>
          </p:cNvSpPr>
          <p:nvPr/>
        </p:nvSpPr>
        <p:spPr bwMode="auto">
          <a:xfrm>
            <a:off x="4437063" y="2092290"/>
            <a:ext cx="6350" cy="3175"/>
          </a:xfrm>
          <a:custGeom>
            <a:avLst/>
            <a:gdLst>
              <a:gd name="T0" fmla="*/ 1 w 4"/>
              <a:gd name="T1" fmla="*/ 0 h 2"/>
              <a:gd name="T2" fmla="*/ 0 w 4"/>
              <a:gd name="T3" fmla="*/ 0 h 2"/>
              <a:gd name="T4" fmla="*/ 2 w 4"/>
              <a:gd name="T5" fmla="*/ 0 h 2"/>
              <a:gd name="T6" fmla="*/ 4 w 4"/>
              <a:gd name="T7" fmla="*/ 1 h 2"/>
              <a:gd name="T8" fmla="*/ 4 w 4"/>
              <a:gd name="T9" fmla="*/ 2 h 2"/>
              <a:gd name="T10" fmla="*/ 1 w 4"/>
              <a:gd name="T1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2">
                <a:moveTo>
                  <a:pt x="1" y="0"/>
                </a:moveTo>
                <a:lnTo>
                  <a:pt x="0" y="0"/>
                </a:lnTo>
                <a:lnTo>
                  <a:pt x="2" y="0"/>
                </a:lnTo>
                <a:lnTo>
                  <a:pt x="4" y="1"/>
                </a:lnTo>
                <a:lnTo>
                  <a:pt x="4" y="2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16" name="Freeform 415"/>
          <p:cNvSpPr>
            <a:spLocks/>
          </p:cNvSpPr>
          <p:nvPr/>
        </p:nvSpPr>
        <p:spPr bwMode="auto">
          <a:xfrm>
            <a:off x="4432300" y="2093878"/>
            <a:ext cx="6350" cy="1588"/>
          </a:xfrm>
          <a:custGeom>
            <a:avLst/>
            <a:gdLst>
              <a:gd name="T0" fmla="*/ 0 w 4"/>
              <a:gd name="T1" fmla="*/ 0 h 1"/>
              <a:gd name="T2" fmla="*/ 2 w 4"/>
              <a:gd name="T3" fmla="*/ 0 h 1"/>
              <a:gd name="T4" fmla="*/ 4 w 4"/>
              <a:gd name="T5" fmla="*/ 1 h 1"/>
              <a:gd name="T6" fmla="*/ 4 w 4"/>
              <a:gd name="T7" fmla="*/ 1 h 1"/>
              <a:gd name="T8" fmla="*/ 0 w 4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1">
                <a:moveTo>
                  <a:pt x="0" y="0"/>
                </a:moveTo>
                <a:lnTo>
                  <a:pt x="2" y="0"/>
                </a:lnTo>
                <a:lnTo>
                  <a:pt x="4" y="1"/>
                </a:lnTo>
                <a:lnTo>
                  <a:pt x="4" y="1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17" name="Freeform 416"/>
          <p:cNvSpPr>
            <a:spLocks/>
          </p:cNvSpPr>
          <p:nvPr/>
        </p:nvSpPr>
        <p:spPr bwMode="auto">
          <a:xfrm>
            <a:off x="4432300" y="2093878"/>
            <a:ext cx="6350" cy="1588"/>
          </a:xfrm>
          <a:custGeom>
            <a:avLst/>
            <a:gdLst>
              <a:gd name="T0" fmla="*/ 0 w 4"/>
              <a:gd name="T1" fmla="*/ 0 h 1"/>
              <a:gd name="T2" fmla="*/ 2 w 4"/>
              <a:gd name="T3" fmla="*/ 0 h 1"/>
              <a:gd name="T4" fmla="*/ 4 w 4"/>
              <a:gd name="T5" fmla="*/ 1 h 1"/>
              <a:gd name="T6" fmla="*/ 4 w 4"/>
              <a:gd name="T7" fmla="*/ 1 h 1"/>
              <a:gd name="T8" fmla="*/ 0 w 4"/>
              <a:gd name="T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1">
                <a:moveTo>
                  <a:pt x="0" y="0"/>
                </a:moveTo>
                <a:lnTo>
                  <a:pt x="2" y="0"/>
                </a:lnTo>
                <a:lnTo>
                  <a:pt x="4" y="1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18" name="Freeform 417"/>
          <p:cNvSpPr>
            <a:spLocks/>
          </p:cNvSpPr>
          <p:nvPr/>
        </p:nvSpPr>
        <p:spPr bwMode="auto">
          <a:xfrm>
            <a:off x="4429125" y="2098640"/>
            <a:ext cx="1587" cy="1588"/>
          </a:xfrm>
          <a:custGeom>
            <a:avLst/>
            <a:gdLst>
              <a:gd name="T0" fmla="*/ 0 w 1"/>
              <a:gd name="T1" fmla="*/ 0 h 1"/>
              <a:gd name="T2" fmla="*/ 0 w 1"/>
              <a:gd name="T3" fmla="*/ 1 h 1"/>
              <a:gd name="T4" fmla="*/ 0 w 1"/>
              <a:gd name="T5" fmla="*/ 1 h 1"/>
              <a:gd name="T6" fmla="*/ 1 w 1"/>
              <a:gd name="T7" fmla="*/ 1 h 1"/>
              <a:gd name="T8" fmla="*/ 1 w 1"/>
              <a:gd name="T9" fmla="*/ 0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1"/>
                </a:lnTo>
                <a:lnTo>
                  <a:pt x="0" y="1"/>
                </a:lnTo>
                <a:lnTo>
                  <a:pt x="1" y="1"/>
                </a:lnTo>
                <a:lnTo>
                  <a:pt x="1" y="0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19" name="Freeform 418"/>
          <p:cNvSpPr>
            <a:spLocks/>
          </p:cNvSpPr>
          <p:nvPr/>
        </p:nvSpPr>
        <p:spPr bwMode="auto">
          <a:xfrm>
            <a:off x="4429125" y="2098640"/>
            <a:ext cx="1587" cy="1588"/>
          </a:xfrm>
          <a:custGeom>
            <a:avLst/>
            <a:gdLst>
              <a:gd name="T0" fmla="*/ 0 w 1"/>
              <a:gd name="T1" fmla="*/ 0 h 1"/>
              <a:gd name="T2" fmla="*/ 0 w 1"/>
              <a:gd name="T3" fmla="*/ 1 h 1"/>
              <a:gd name="T4" fmla="*/ 0 w 1"/>
              <a:gd name="T5" fmla="*/ 1 h 1"/>
              <a:gd name="T6" fmla="*/ 1 w 1"/>
              <a:gd name="T7" fmla="*/ 1 h 1"/>
              <a:gd name="T8" fmla="*/ 1 w 1"/>
              <a:gd name="T9" fmla="*/ 0 h 1"/>
              <a:gd name="T10" fmla="*/ 0 w 1"/>
              <a:gd name="T1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1">
                <a:moveTo>
                  <a:pt x="0" y="0"/>
                </a:moveTo>
                <a:lnTo>
                  <a:pt x="0" y="1"/>
                </a:lnTo>
                <a:lnTo>
                  <a:pt x="0" y="1"/>
                </a:lnTo>
                <a:lnTo>
                  <a:pt x="1" y="1"/>
                </a:lnTo>
                <a:lnTo>
                  <a:pt x="1" y="0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20" name="Freeform 419"/>
          <p:cNvSpPr>
            <a:spLocks/>
          </p:cNvSpPr>
          <p:nvPr/>
        </p:nvSpPr>
        <p:spPr bwMode="auto">
          <a:xfrm>
            <a:off x="4549775" y="2338353"/>
            <a:ext cx="20637" cy="46038"/>
          </a:xfrm>
          <a:custGeom>
            <a:avLst/>
            <a:gdLst>
              <a:gd name="T0" fmla="*/ 10 w 13"/>
              <a:gd name="T1" fmla="*/ 0 h 29"/>
              <a:gd name="T2" fmla="*/ 11 w 13"/>
              <a:gd name="T3" fmla="*/ 0 h 29"/>
              <a:gd name="T4" fmla="*/ 12 w 13"/>
              <a:gd name="T5" fmla="*/ 8 h 29"/>
              <a:gd name="T6" fmla="*/ 13 w 13"/>
              <a:gd name="T7" fmla="*/ 15 h 29"/>
              <a:gd name="T8" fmla="*/ 13 w 13"/>
              <a:gd name="T9" fmla="*/ 17 h 29"/>
              <a:gd name="T10" fmla="*/ 12 w 13"/>
              <a:gd name="T11" fmla="*/ 19 h 29"/>
              <a:gd name="T12" fmla="*/ 12 w 13"/>
              <a:gd name="T13" fmla="*/ 21 h 29"/>
              <a:gd name="T14" fmla="*/ 11 w 13"/>
              <a:gd name="T15" fmla="*/ 25 h 29"/>
              <a:gd name="T16" fmla="*/ 9 w 13"/>
              <a:gd name="T17" fmla="*/ 28 h 29"/>
              <a:gd name="T18" fmla="*/ 9 w 13"/>
              <a:gd name="T19" fmla="*/ 29 h 29"/>
              <a:gd name="T20" fmla="*/ 7 w 13"/>
              <a:gd name="T21" fmla="*/ 28 h 29"/>
              <a:gd name="T22" fmla="*/ 6 w 13"/>
              <a:gd name="T23" fmla="*/ 27 h 29"/>
              <a:gd name="T24" fmla="*/ 4 w 13"/>
              <a:gd name="T25" fmla="*/ 27 h 29"/>
              <a:gd name="T26" fmla="*/ 3 w 13"/>
              <a:gd name="T27" fmla="*/ 25 h 29"/>
              <a:gd name="T28" fmla="*/ 3 w 13"/>
              <a:gd name="T29" fmla="*/ 22 h 29"/>
              <a:gd name="T30" fmla="*/ 2 w 13"/>
              <a:gd name="T31" fmla="*/ 22 h 29"/>
              <a:gd name="T32" fmla="*/ 1 w 13"/>
              <a:gd name="T33" fmla="*/ 21 h 29"/>
              <a:gd name="T34" fmla="*/ 1 w 13"/>
              <a:gd name="T35" fmla="*/ 16 h 29"/>
              <a:gd name="T36" fmla="*/ 0 w 13"/>
              <a:gd name="T37" fmla="*/ 15 h 29"/>
              <a:gd name="T38" fmla="*/ 0 w 13"/>
              <a:gd name="T39" fmla="*/ 10 h 29"/>
              <a:gd name="T40" fmla="*/ 1 w 13"/>
              <a:gd name="T41" fmla="*/ 7 h 29"/>
              <a:gd name="T42" fmla="*/ 2 w 13"/>
              <a:gd name="T43" fmla="*/ 8 h 29"/>
              <a:gd name="T44" fmla="*/ 3 w 13"/>
              <a:gd name="T45" fmla="*/ 7 h 29"/>
              <a:gd name="T46" fmla="*/ 6 w 13"/>
              <a:gd name="T47" fmla="*/ 5 h 29"/>
              <a:gd name="T48" fmla="*/ 9 w 13"/>
              <a:gd name="T49" fmla="*/ 5 h 29"/>
              <a:gd name="T50" fmla="*/ 10 w 13"/>
              <a:gd name="T51" fmla="*/ 4 h 29"/>
              <a:gd name="T52" fmla="*/ 10 w 13"/>
              <a:gd name="T53" fmla="*/ 0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3" h="29">
                <a:moveTo>
                  <a:pt x="10" y="0"/>
                </a:moveTo>
                <a:lnTo>
                  <a:pt x="11" y="0"/>
                </a:lnTo>
                <a:lnTo>
                  <a:pt x="12" y="8"/>
                </a:lnTo>
                <a:lnTo>
                  <a:pt x="13" y="15"/>
                </a:lnTo>
                <a:lnTo>
                  <a:pt x="13" y="17"/>
                </a:lnTo>
                <a:lnTo>
                  <a:pt x="12" y="19"/>
                </a:lnTo>
                <a:lnTo>
                  <a:pt x="12" y="21"/>
                </a:lnTo>
                <a:lnTo>
                  <a:pt x="11" y="25"/>
                </a:lnTo>
                <a:lnTo>
                  <a:pt x="9" y="28"/>
                </a:lnTo>
                <a:lnTo>
                  <a:pt x="9" y="29"/>
                </a:lnTo>
                <a:lnTo>
                  <a:pt x="7" y="28"/>
                </a:lnTo>
                <a:lnTo>
                  <a:pt x="6" y="27"/>
                </a:lnTo>
                <a:lnTo>
                  <a:pt x="4" y="27"/>
                </a:lnTo>
                <a:lnTo>
                  <a:pt x="3" y="25"/>
                </a:lnTo>
                <a:lnTo>
                  <a:pt x="3" y="22"/>
                </a:lnTo>
                <a:lnTo>
                  <a:pt x="2" y="22"/>
                </a:lnTo>
                <a:lnTo>
                  <a:pt x="1" y="21"/>
                </a:lnTo>
                <a:lnTo>
                  <a:pt x="1" y="16"/>
                </a:lnTo>
                <a:lnTo>
                  <a:pt x="0" y="15"/>
                </a:lnTo>
                <a:lnTo>
                  <a:pt x="0" y="10"/>
                </a:lnTo>
                <a:lnTo>
                  <a:pt x="1" y="7"/>
                </a:lnTo>
                <a:lnTo>
                  <a:pt x="2" y="8"/>
                </a:lnTo>
                <a:lnTo>
                  <a:pt x="3" y="7"/>
                </a:lnTo>
                <a:lnTo>
                  <a:pt x="6" y="5"/>
                </a:lnTo>
                <a:lnTo>
                  <a:pt x="9" y="5"/>
                </a:lnTo>
                <a:lnTo>
                  <a:pt x="10" y="4"/>
                </a:lnTo>
                <a:lnTo>
                  <a:pt x="1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21" name="Freeform 420"/>
          <p:cNvSpPr>
            <a:spLocks/>
          </p:cNvSpPr>
          <p:nvPr/>
        </p:nvSpPr>
        <p:spPr bwMode="auto">
          <a:xfrm>
            <a:off x="4549775" y="2338353"/>
            <a:ext cx="20637" cy="46038"/>
          </a:xfrm>
          <a:custGeom>
            <a:avLst/>
            <a:gdLst>
              <a:gd name="T0" fmla="*/ 10 w 13"/>
              <a:gd name="T1" fmla="*/ 0 h 29"/>
              <a:gd name="T2" fmla="*/ 11 w 13"/>
              <a:gd name="T3" fmla="*/ 0 h 29"/>
              <a:gd name="T4" fmla="*/ 12 w 13"/>
              <a:gd name="T5" fmla="*/ 8 h 29"/>
              <a:gd name="T6" fmla="*/ 13 w 13"/>
              <a:gd name="T7" fmla="*/ 15 h 29"/>
              <a:gd name="T8" fmla="*/ 13 w 13"/>
              <a:gd name="T9" fmla="*/ 17 h 29"/>
              <a:gd name="T10" fmla="*/ 12 w 13"/>
              <a:gd name="T11" fmla="*/ 19 h 29"/>
              <a:gd name="T12" fmla="*/ 12 w 13"/>
              <a:gd name="T13" fmla="*/ 21 h 29"/>
              <a:gd name="T14" fmla="*/ 11 w 13"/>
              <a:gd name="T15" fmla="*/ 25 h 29"/>
              <a:gd name="T16" fmla="*/ 9 w 13"/>
              <a:gd name="T17" fmla="*/ 28 h 29"/>
              <a:gd name="T18" fmla="*/ 9 w 13"/>
              <a:gd name="T19" fmla="*/ 29 h 29"/>
              <a:gd name="T20" fmla="*/ 7 w 13"/>
              <a:gd name="T21" fmla="*/ 28 h 29"/>
              <a:gd name="T22" fmla="*/ 6 w 13"/>
              <a:gd name="T23" fmla="*/ 27 h 29"/>
              <a:gd name="T24" fmla="*/ 4 w 13"/>
              <a:gd name="T25" fmla="*/ 27 h 29"/>
              <a:gd name="T26" fmla="*/ 3 w 13"/>
              <a:gd name="T27" fmla="*/ 25 h 29"/>
              <a:gd name="T28" fmla="*/ 3 w 13"/>
              <a:gd name="T29" fmla="*/ 22 h 29"/>
              <a:gd name="T30" fmla="*/ 2 w 13"/>
              <a:gd name="T31" fmla="*/ 22 h 29"/>
              <a:gd name="T32" fmla="*/ 1 w 13"/>
              <a:gd name="T33" fmla="*/ 21 h 29"/>
              <a:gd name="T34" fmla="*/ 1 w 13"/>
              <a:gd name="T35" fmla="*/ 16 h 29"/>
              <a:gd name="T36" fmla="*/ 0 w 13"/>
              <a:gd name="T37" fmla="*/ 15 h 29"/>
              <a:gd name="T38" fmla="*/ 0 w 13"/>
              <a:gd name="T39" fmla="*/ 10 h 29"/>
              <a:gd name="T40" fmla="*/ 1 w 13"/>
              <a:gd name="T41" fmla="*/ 7 h 29"/>
              <a:gd name="T42" fmla="*/ 2 w 13"/>
              <a:gd name="T43" fmla="*/ 8 h 29"/>
              <a:gd name="T44" fmla="*/ 3 w 13"/>
              <a:gd name="T45" fmla="*/ 7 h 29"/>
              <a:gd name="T46" fmla="*/ 6 w 13"/>
              <a:gd name="T47" fmla="*/ 5 h 29"/>
              <a:gd name="T48" fmla="*/ 9 w 13"/>
              <a:gd name="T49" fmla="*/ 5 h 29"/>
              <a:gd name="T50" fmla="*/ 10 w 13"/>
              <a:gd name="T51" fmla="*/ 4 h 29"/>
              <a:gd name="T52" fmla="*/ 10 w 13"/>
              <a:gd name="T53" fmla="*/ 0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3" h="29">
                <a:moveTo>
                  <a:pt x="10" y="0"/>
                </a:moveTo>
                <a:lnTo>
                  <a:pt x="11" y="0"/>
                </a:lnTo>
                <a:lnTo>
                  <a:pt x="12" y="8"/>
                </a:lnTo>
                <a:lnTo>
                  <a:pt x="13" y="15"/>
                </a:lnTo>
                <a:lnTo>
                  <a:pt x="13" y="17"/>
                </a:lnTo>
                <a:lnTo>
                  <a:pt x="12" y="19"/>
                </a:lnTo>
                <a:lnTo>
                  <a:pt x="12" y="21"/>
                </a:lnTo>
                <a:lnTo>
                  <a:pt x="11" y="25"/>
                </a:lnTo>
                <a:lnTo>
                  <a:pt x="9" y="28"/>
                </a:lnTo>
                <a:lnTo>
                  <a:pt x="9" y="29"/>
                </a:lnTo>
                <a:lnTo>
                  <a:pt x="7" y="28"/>
                </a:lnTo>
                <a:lnTo>
                  <a:pt x="6" y="27"/>
                </a:lnTo>
                <a:lnTo>
                  <a:pt x="4" y="27"/>
                </a:lnTo>
                <a:lnTo>
                  <a:pt x="3" y="25"/>
                </a:lnTo>
                <a:lnTo>
                  <a:pt x="3" y="22"/>
                </a:lnTo>
                <a:lnTo>
                  <a:pt x="2" y="22"/>
                </a:lnTo>
                <a:lnTo>
                  <a:pt x="1" y="21"/>
                </a:lnTo>
                <a:lnTo>
                  <a:pt x="1" y="16"/>
                </a:lnTo>
                <a:lnTo>
                  <a:pt x="0" y="15"/>
                </a:lnTo>
                <a:lnTo>
                  <a:pt x="0" y="10"/>
                </a:lnTo>
                <a:lnTo>
                  <a:pt x="1" y="7"/>
                </a:lnTo>
                <a:lnTo>
                  <a:pt x="2" y="8"/>
                </a:lnTo>
                <a:lnTo>
                  <a:pt x="3" y="7"/>
                </a:lnTo>
                <a:lnTo>
                  <a:pt x="6" y="5"/>
                </a:lnTo>
                <a:lnTo>
                  <a:pt x="9" y="5"/>
                </a:lnTo>
                <a:lnTo>
                  <a:pt x="10" y="4"/>
                </a:lnTo>
                <a:lnTo>
                  <a:pt x="1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22" name="Freeform 421"/>
          <p:cNvSpPr>
            <a:spLocks/>
          </p:cNvSpPr>
          <p:nvPr/>
        </p:nvSpPr>
        <p:spPr bwMode="auto">
          <a:xfrm>
            <a:off x="5680075" y="2878103"/>
            <a:ext cx="7937" cy="3175"/>
          </a:xfrm>
          <a:custGeom>
            <a:avLst/>
            <a:gdLst>
              <a:gd name="T0" fmla="*/ 0 w 5"/>
              <a:gd name="T1" fmla="*/ 2 h 2"/>
              <a:gd name="T2" fmla="*/ 2 w 5"/>
              <a:gd name="T3" fmla="*/ 2 h 2"/>
              <a:gd name="T4" fmla="*/ 3 w 5"/>
              <a:gd name="T5" fmla="*/ 2 h 2"/>
              <a:gd name="T6" fmla="*/ 3 w 5"/>
              <a:gd name="T7" fmla="*/ 2 h 2"/>
              <a:gd name="T8" fmla="*/ 5 w 5"/>
              <a:gd name="T9" fmla="*/ 1 h 2"/>
              <a:gd name="T10" fmla="*/ 3 w 5"/>
              <a:gd name="T11" fmla="*/ 1 h 2"/>
              <a:gd name="T12" fmla="*/ 3 w 5"/>
              <a:gd name="T13" fmla="*/ 1 h 2"/>
              <a:gd name="T14" fmla="*/ 2 w 5"/>
              <a:gd name="T15" fmla="*/ 0 h 2"/>
              <a:gd name="T16" fmla="*/ 2 w 5"/>
              <a:gd name="T17" fmla="*/ 0 h 2"/>
              <a:gd name="T18" fmla="*/ 0 w 5"/>
              <a:gd name="T19" fmla="*/ 0 h 2"/>
              <a:gd name="T20" fmla="*/ 0 w 5"/>
              <a:gd name="T2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" h="2">
                <a:moveTo>
                  <a:pt x="0" y="2"/>
                </a:moveTo>
                <a:lnTo>
                  <a:pt x="2" y="2"/>
                </a:lnTo>
                <a:lnTo>
                  <a:pt x="3" y="2"/>
                </a:lnTo>
                <a:lnTo>
                  <a:pt x="3" y="2"/>
                </a:lnTo>
                <a:lnTo>
                  <a:pt x="5" y="1"/>
                </a:lnTo>
                <a:lnTo>
                  <a:pt x="3" y="1"/>
                </a:lnTo>
                <a:lnTo>
                  <a:pt x="3" y="1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23" name="Freeform 422"/>
          <p:cNvSpPr>
            <a:spLocks/>
          </p:cNvSpPr>
          <p:nvPr/>
        </p:nvSpPr>
        <p:spPr bwMode="auto">
          <a:xfrm>
            <a:off x="5680075" y="2878103"/>
            <a:ext cx="7937" cy="3175"/>
          </a:xfrm>
          <a:custGeom>
            <a:avLst/>
            <a:gdLst>
              <a:gd name="T0" fmla="*/ 0 w 5"/>
              <a:gd name="T1" fmla="*/ 2 h 2"/>
              <a:gd name="T2" fmla="*/ 2 w 5"/>
              <a:gd name="T3" fmla="*/ 2 h 2"/>
              <a:gd name="T4" fmla="*/ 3 w 5"/>
              <a:gd name="T5" fmla="*/ 2 h 2"/>
              <a:gd name="T6" fmla="*/ 3 w 5"/>
              <a:gd name="T7" fmla="*/ 2 h 2"/>
              <a:gd name="T8" fmla="*/ 5 w 5"/>
              <a:gd name="T9" fmla="*/ 1 h 2"/>
              <a:gd name="T10" fmla="*/ 3 w 5"/>
              <a:gd name="T11" fmla="*/ 1 h 2"/>
              <a:gd name="T12" fmla="*/ 3 w 5"/>
              <a:gd name="T13" fmla="*/ 1 h 2"/>
              <a:gd name="T14" fmla="*/ 2 w 5"/>
              <a:gd name="T15" fmla="*/ 0 h 2"/>
              <a:gd name="T16" fmla="*/ 2 w 5"/>
              <a:gd name="T17" fmla="*/ 0 h 2"/>
              <a:gd name="T18" fmla="*/ 0 w 5"/>
              <a:gd name="T19" fmla="*/ 0 h 2"/>
              <a:gd name="T20" fmla="*/ 0 w 5"/>
              <a:gd name="T2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" h="2">
                <a:moveTo>
                  <a:pt x="0" y="2"/>
                </a:moveTo>
                <a:lnTo>
                  <a:pt x="2" y="2"/>
                </a:lnTo>
                <a:lnTo>
                  <a:pt x="3" y="2"/>
                </a:lnTo>
                <a:lnTo>
                  <a:pt x="3" y="2"/>
                </a:lnTo>
                <a:lnTo>
                  <a:pt x="5" y="1"/>
                </a:lnTo>
                <a:lnTo>
                  <a:pt x="3" y="1"/>
                </a:lnTo>
                <a:lnTo>
                  <a:pt x="3" y="1"/>
                </a:lnTo>
                <a:lnTo>
                  <a:pt x="2" y="0"/>
                </a:ln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24" name="Freeform 423"/>
          <p:cNvSpPr>
            <a:spLocks/>
          </p:cNvSpPr>
          <p:nvPr/>
        </p:nvSpPr>
        <p:spPr bwMode="auto">
          <a:xfrm>
            <a:off x="5426075" y="3182903"/>
            <a:ext cx="1587" cy="3175"/>
          </a:xfrm>
          <a:custGeom>
            <a:avLst/>
            <a:gdLst>
              <a:gd name="T0" fmla="*/ 1 w 1"/>
              <a:gd name="T1" fmla="*/ 0 h 2"/>
              <a:gd name="T2" fmla="*/ 0 w 1"/>
              <a:gd name="T3" fmla="*/ 1 h 2"/>
              <a:gd name="T4" fmla="*/ 0 w 1"/>
              <a:gd name="T5" fmla="*/ 2 h 2"/>
              <a:gd name="T6" fmla="*/ 1 w 1"/>
              <a:gd name="T7" fmla="*/ 1 h 2"/>
              <a:gd name="T8" fmla="*/ 1 w 1"/>
              <a:gd name="T9" fmla="*/ 0 h 2"/>
              <a:gd name="T10" fmla="*/ 1 w 1"/>
              <a:gd name="T11" fmla="*/ 0 h 2"/>
              <a:gd name="T12" fmla="*/ 1 w 1"/>
              <a:gd name="T13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2">
                <a:moveTo>
                  <a:pt x="1" y="0"/>
                </a:moveTo>
                <a:lnTo>
                  <a:pt x="0" y="1"/>
                </a:lnTo>
                <a:lnTo>
                  <a:pt x="0" y="2"/>
                </a:lnTo>
                <a:lnTo>
                  <a:pt x="1" y="1"/>
                </a:lnTo>
                <a:lnTo>
                  <a:pt x="1" y="0"/>
                </a:lnTo>
                <a:lnTo>
                  <a:pt x="1" y="0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25" name="Freeform 424"/>
          <p:cNvSpPr>
            <a:spLocks/>
          </p:cNvSpPr>
          <p:nvPr/>
        </p:nvSpPr>
        <p:spPr bwMode="auto">
          <a:xfrm>
            <a:off x="5426075" y="3182903"/>
            <a:ext cx="1587" cy="3175"/>
          </a:xfrm>
          <a:custGeom>
            <a:avLst/>
            <a:gdLst>
              <a:gd name="T0" fmla="*/ 1 w 1"/>
              <a:gd name="T1" fmla="*/ 0 h 2"/>
              <a:gd name="T2" fmla="*/ 0 w 1"/>
              <a:gd name="T3" fmla="*/ 1 h 2"/>
              <a:gd name="T4" fmla="*/ 0 w 1"/>
              <a:gd name="T5" fmla="*/ 2 h 2"/>
              <a:gd name="T6" fmla="*/ 1 w 1"/>
              <a:gd name="T7" fmla="*/ 1 h 2"/>
              <a:gd name="T8" fmla="*/ 1 w 1"/>
              <a:gd name="T9" fmla="*/ 0 h 2"/>
              <a:gd name="T10" fmla="*/ 1 w 1"/>
              <a:gd name="T11" fmla="*/ 0 h 2"/>
              <a:gd name="T12" fmla="*/ 1 w 1"/>
              <a:gd name="T13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2">
                <a:moveTo>
                  <a:pt x="1" y="0"/>
                </a:moveTo>
                <a:lnTo>
                  <a:pt x="0" y="1"/>
                </a:lnTo>
                <a:lnTo>
                  <a:pt x="0" y="2"/>
                </a:lnTo>
                <a:lnTo>
                  <a:pt x="1" y="1"/>
                </a:lnTo>
                <a:lnTo>
                  <a:pt x="1" y="0"/>
                </a:lnTo>
                <a:lnTo>
                  <a:pt x="1" y="0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26" name="Freeform 425"/>
          <p:cNvSpPr>
            <a:spLocks/>
          </p:cNvSpPr>
          <p:nvPr/>
        </p:nvSpPr>
        <p:spPr bwMode="auto">
          <a:xfrm>
            <a:off x="5426075" y="3174965"/>
            <a:ext cx="1587" cy="4763"/>
          </a:xfrm>
          <a:custGeom>
            <a:avLst/>
            <a:gdLst>
              <a:gd name="T0" fmla="*/ 0 w 1"/>
              <a:gd name="T1" fmla="*/ 1 h 3"/>
              <a:gd name="T2" fmla="*/ 0 w 1"/>
              <a:gd name="T3" fmla="*/ 1 h 3"/>
              <a:gd name="T4" fmla="*/ 1 w 1"/>
              <a:gd name="T5" fmla="*/ 3 h 3"/>
              <a:gd name="T6" fmla="*/ 1 w 1"/>
              <a:gd name="T7" fmla="*/ 1 h 3"/>
              <a:gd name="T8" fmla="*/ 1 w 1"/>
              <a:gd name="T9" fmla="*/ 0 h 3"/>
              <a:gd name="T10" fmla="*/ 1 w 1"/>
              <a:gd name="T11" fmla="*/ 0 h 3"/>
              <a:gd name="T12" fmla="*/ 0 w 1"/>
              <a:gd name="T13" fmla="*/ 0 h 3"/>
              <a:gd name="T14" fmla="*/ 0 w 1"/>
              <a:gd name="T15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" h="3">
                <a:moveTo>
                  <a:pt x="0" y="1"/>
                </a:moveTo>
                <a:lnTo>
                  <a:pt x="0" y="1"/>
                </a:lnTo>
                <a:lnTo>
                  <a:pt x="1" y="3"/>
                </a:lnTo>
                <a:lnTo>
                  <a:pt x="1" y="1"/>
                </a:ln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  <a:lnTo>
                  <a:pt x="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27" name="Freeform 426"/>
          <p:cNvSpPr>
            <a:spLocks/>
          </p:cNvSpPr>
          <p:nvPr/>
        </p:nvSpPr>
        <p:spPr bwMode="auto">
          <a:xfrm>
            <a:off x="5426075" y="3174965"/>
            <a:ext cx="1587" cy="4763"/>
          </a:xfrm>
          <a:custGeom>
            <a:avLst/>
            <a:gdLst>
              <a:gd name="T0" fmla="*/ 0 w 1"/>
              <a:gd name="T1" fmla="*/ 1 h 3"/>
              <a:gd name="T2" fmla="*/ 0 w 1"/>
              <a:gd name="T3" fmla="*/ 1 h 3"/>
              <a:gd name="T4" fmla="*/ 1 w 1"/>
              <a:gd name="T5" fmla="*/ 3 h 3"/>
              <a:gd name="T6" fmla="*/ 1 w 1"/>
              <a:gd name="T7" fmla="*/ 1 h 3"/>
              <a:gd name="T8" fmla="*/ 1 w 1"/>
              <a:gd name="T9" fmla="*/ 0 h 3"/>
              <a:gd name="T10" fmla="*/ 1 w 1"/>
              <a:gd name="T11" fmla="*/ 0 h 3"/>
              <a:gd name="T12" fmla="*/ 0 w 1"/>
              <a:gd name="T13" fmla="*/ 0 h 3"/>
              <a:gd name="T14" fmla="*/ 0 w 1"/>
              <a:gd name="T15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" h="3">
                <a:moveTo>
                  <a:pt x="0" y="1"/>
                </a:moveTo>
                <a:lnTo>
                  <a:pt x="0" y="1"/>
                </a:lnTo>
                <a:lnTo>
                  <a:pt x="1" y="3"/>
                </a:lnTo>
                <a:lnTo>
                  <a:pt x="1" y="1"/>
                </a:lnTo>
                <a:lnTo>
                  <a:pt x="1" y="0"/>
                </a:lnTo>
                <a:lnTo>
                  <a:pt x="1" y="0"/>
                </a:lnTo>
                <a:lnTo>
                  <a:pt x="0" y="0"/>
                </a:lnTo>
                <a:lnTo>
                  <a:pt x="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28" name="Freeform 427"/>
          <p:cNvSpPr>
            <a:spLocks/>
          </p:cNvSpPr>
          <p:nvPr/>
        </p:nvSpPr>
        <p:spPr bwMode="auto">
          <a:xfrm>
            <a:off x="5419725" y="3133690"/>
            <a:ext cx="1587" cy="3175"/>
          </a:xfrm>
          <a:custGeom>
            <a:avLst/>
            <a:gdLst>
              <a:gd name="T0" fmla="*/ 0 w 1"/>
              <a:gd name="T1" fmla="*/ 2 h 2"/>
              <a:gd name="T2" fmla="*/ 1 w 1"/>
              <a:gd name="T3" fmla="*/ 2 h 2"/>
              <a:gd name="T4" fmla="*/ 1 w 1"/>
              <a:gd name="T5" fmla="*/ 1 h 2"/>
              <a:gd name="T6" fmla="*/ 1 w 1"/>
              <a:gd name="T7" fmla="*/ 0 h 2"/>
              <a:gd name="T8" fmla="*/ 0 w 1"/>
              <a:gd name="T9" fmla="*/ 0 h 2"/>
              <a:gd name="T10" fmla="*/ 0 w 1"/>
              <a:gd name="T11" fmla="*/ 1 h 2"/>
              <a:gd name="T12" fmla="*/ 0 w 1"/>
              <a:gd name="T13" fmla="*/ 2 h 2"/>
              <a:gd name="T14" fmla="*/ 0 w 1"/>
              <a:gd name="T1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" h="2">
                <a:moveTo>
                  <a:pt x="0" y="2"/>
                </a:moveTo>
                <a:lnTo>
                  <a:pt x="1" y="2"/>
                </a:lnTo>
                <a:lnTo>
                  <a:pt x="1" y="1"/>
                </a:lnTo>
                <a:lnTo>
                  <a:pt x="1" y="0"/>
                </a:lnTo>
                <a:lnTo>
                  <a:pt x="0" y="0"/>
                </a:lnTo>
                <a:lnTo>
                  <a:pt x="0" y="1"/>
                </a:lnTo>
                <a:lnTo>
                  <a:pt x="0" y="2"/>
                </a:lnTo>
                <a:lnTo>
                  <a:pt x="0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29" name="Freeform 428"/>
          <p:cNvSpPr>
            <a:spLocks/>
          </p:cNvSpPr>
          <p:nvPr/>
        </p:nvSpPr>
        <p:spPr bwMode="auto">
          <a:xfrm>
            <a:off x="5419725" y="3133690"/>
            <a:ext cx="1587" cy="3175"/>
          </a:xfrm>
          <a:custGeom>
            <a:avLst/>
            <a:gdLst>
              <a:gd name="T0" fmla="*/ 0 w 1"/>
              <a:gd name="T1" fmla="*/ 2 h 2"/>
              <a:gd name="T2" fmla="*/ 1 w 1"/>
              <a:gd name="T3" fmla="*/ 2 h 2"/>
              <a:gd name="T4" fmla="*/ 1 w 1"/>
              <a:gd name="T5" fmla="*/ 1 h 2"/>
              <a:gd name="T6" fmla="*/ 1 w 1"/>
              <a:gd name="T7" fmla="*/ 0 h 2"/>
              <a:gd name="T8" fmla="*/ 0 w 1"/>
              <a:gd name="T9" fmla="*/ 0 h 2"/>
              <a:gd name="T10" fmla="*/ 0 w 1"/>
              <a:gd name="T11" fmla="*/ 1 h 2"/>
              <a:gd name="T12" fmla="*/ 0 w 1"/>
              <a:gd name="T13" fmla="*/ 2 h 2"/>
              <a:gd name="T14" fmla="*/ 0 w 1"/>
              <a:gd name="T1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" h="2">
                <a:moveTo>
                  <a:pt x="0" y="2"/>
                </a:moveTo>
                <a:lnTo>
                  <a:pt x="1" y="2"/>
                </a:lnTo>
                <a:lnTo>
                  <a:pt x="1" y="1"/>
                </a:lnTo>
                <a:lnTo>
                  <a:pt x="1" y="0"/>
                </a:lnTo>
                <a:lnTo>
                  <a:pt x="0" y="0"/>
                </a:lnTo>
                <a:lnTo>
                  <a:pt x="0" y="1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30" name="Freeform 429"/>
          <p:cNvSpPr>
            <a:spLocks/>
          </p:cNvSpPr>
          <p:nvPr/>
        </p:nvSpPr>
        <p:spPr bwMode="auto">
          <a:xfrm>
            <a:off x="6837363" y="3236878"/>
            <a:ext cx="7937" cy="7938"/>
          </a:xfrm>
          <a:custGeom>
            <a:avLst/>
            <a:gdLst>
              <a:gd name="T0" fmla="*/ 3 w 5"/>
              <a:gd name="T1" fmla="*/ 0 h 5"/>
              <a:gd name="T2" fmla="*/ 3 w 5"/>
              <a:gd name="T3" fmla="*/ 1 h 5"/>
              <a:gd name="T4" fmla="*/ 2 w 5"/>
              <a:gd name="T5" fmla="*/ 0 h 5"/>
              <a:gd name="T6" fmla="*/ 0 w 5"/>
              <a:gd name="T7" fmla="*/ 5 h 5"/>
              <a:gd name="T8" fmla="*/ 3 w 5"/>
              <a:gd name="T9" fmla="*/ 5 h 5"/>
              <a:gd name="T10" fmla="*/ 5 w 5"/>
              <a:gd name="T11" fmla="*/ 5 h 5"/>
              <a:gd name="T12" fmla="*/ 5 w 5"/>
              <a:gd name="T13" fmla="*/ 2 h 5"/>
              <a:gd name="T14" fmla="*/ 3 w 5"/>
              <a:gd name="T15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5">
                <a:moveTo>
                  <a:pt x="3" y="0"/>
                </a:moveTo>
                <a:lnTo>
                  <a:pt x="3" y="1"/>
                </a:lnTo>
                <a:lnTo>
                  <a:pt x="2" y="0"/>
                </a:lnTo>
                <a:lnTo>
                  <a:pt x="0" y="5"/>
                </a:lnTo>
                <a:lnTo>
                  <a:pt x="3" y="5"/>
                </a:lnTo>
                <a:lnTo>
                  <a:pt x="5" y="5"/>
                </a:lnTo>
                <a:lnTo>
                  <a:pt x="5" y="2"/>
                </a:lnTo>
                <a:lnTo>
                  <a:pt x="3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31" name="Freeform 430"/>
          <p:cNvSpPr>
            <a:spLocks/>
          </p:cNvSpPr>
          <p:nvPr/>
        </p:nvSpPr>
        <p:spPr bwMode="auto">
          <a:xfrm>
            <a:off x="6837363" y="3236878"/>
            <a:ext cx="7937" cy="7938"/>
          </a:xfrm>
          <a:custGeom>
            <a:avLst/>
            <a:gdLst>
              <a:gd name="T0" fmla="*/ 3 w 5"/>
              <a:gd name="T1" fmla="*/ 0 h 5"/>
              <a:gd name="T2" fmla="*/ 3 w 5"/>
              <a:gd name="T3" fmla="*/ 1 h 5"/>
              <a:gd name="T4" fmla="*/ 2 w 5"/>
              <a:gd name="T5" fmla="*/ 0 h 5"/>
              <a:gd name="T6" fmla="*/ 0 w 5"/>
              <a:gd name="T7" fmla="*/ 5 h 5"/>
              <a:gd name="T8" fmla="*/ 3 w 5"/>
              <a:gd name="T9" fmla="*/ 5 h 5"/>
              <a:gd name="T10" fmla="*/ 5 w 5"/>
              <a:gd name="T11" fmla="*/ 5 h 5"/>
              <a:gd name="T12" fmla="*/ 5 w 5"/>
              <a:gd name="T13" fmla="*/ 2 h 5"/>
              <a:gd name="T14" fmla="*/ 3 w 5"/>
              <a:gd name="T15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5">
                <a:moveTo>
                  <a:pt x="3" y="0"/>
                </a:moveTo>
                <a:lnTo>
                  <a:pt x="3" y="1"/>
                </a:lnTo>
                <a:lnTo>
                  <a:pt x="2" y="0"/>
                </a:lnTo>
                <a:lnTo>
                  <a:pt x="0" y="5"/>
                </a:lnTo>
                <a:lnTo>
                  <a:pt x="3" y="5"/>
                </a:lnTo>
                <a:lnTo>
                  <a:pt x="5" y="5"/>
                </a:lnTo>
                <a:lnTo>
                  <a:pt x="5" y="2"/>
                </a:lnTo>
                <a:lnTo>
                  <a:pt x="3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32" name="Freeform 431"/>
          <p:cNvSpPr>
            <a:spLocks/>
          </p:cNvSpPr>
          <p:nvPr/>
        </p:nvSpPr>
        <p:spPr bwMode="auto">
          <a:xfrm>
            <a:off x="6837363" y="3238465"/>
            <a:ext cx="1587" cy="7938"/>
          </a:xfrm>
          <a:custGeom>
            <a:avLst/>
            <a:gdLst>
              <a:gd name="T0" fmla="*/ 0 w 1"/>
              <a:gd name="T1" fmla="*/ 0 h 5"/>
              <a:gd name="T2" fmla="*/ 0 w 1"/>
              <a:gd name="T3" fmla="*/ 0 h 5"/>
              <a:gd name="T4" fmla="*/ 0 w 1"/>
              <a:gd name="T5" fmla="*/ 5 h 5"/>
              <a:gd name="T6" fmla="*/ 0 w 1"/>
              <a:gd name="T7" fmla="*/ 4 h 5"/>
              <a:gd name="T8" fmla="*/ 1 w 1"/>
              <a:gd name="T9" fmla="*/ 0 h 5"/>
              <a:gd name="T10" fmla="*/ 0 w 1"/>
              <a:gd name="T11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5">
                <a:moveTo>
                  <a:pt x="0" y="0"/>
                </a:moveTo>
                <a:lnTo>
                  <a:pt x="0" y="0"/>
                </a:lnTo>
                <a:lnTo>
                  <a:pt x="0" y="5"/>
                </a:lnTo>
                <a:lnTo>
                  <a:pt x="0" y="4"/>
                </a:lnTo>
                <a:lnTo>
                  <a:pt x="1" y="0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33" name="Freeform 432"/>
          <p:cNvSpPr>
            <a:spLocks/>
          </p:cNvSpPr>
          <p:nvPr/>
        </p:nvSpPr>
        <p:spPr bwMode="auto">
          <a:xfrm>
            <a:off x="6837363" y="3238465"/>
            <a:ext cx="1587" cy="7938"/>
          </a:xfrm>
          <a:custGeom>
            <a:avLst/>
            <a:gdLst>
              <a:gd name="T0" fmla="*/ 0 w 1"/>
              <a:gd name="T1" fmla="*/ 0 h 5"/>
              <a:gd name="T2" fmla="*/ 0 w 1"/>
              <a:gd name="T3" fmla="*/ 0 h 5"/>
              <a:gd name="T4" fmla="*/ 0 w 1"/>
              <a:gd name="T5" fmla="*/ 5 h 5"/>
              <a:gd name="T6" fmla="*/ 0 w 1"/>
              <a:gd name="T7" fmla="*/ 4 h 5"/>
              <a:gd name="T8" fmla="*/ 1 w 1"/>
              <a:gd name="T9" fmla="*/ 0 h 5"/>
              <a:gd name="T10" fmla="*/ 0 w 1"/>
              <a:gd name="T11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5">
                <a:moveTo>
                  <a:pt x="0" y="0"/>
                </a:moveTo>
                <a:lnTo>
                  <a:pt x="0" y="0"/>
                </a:lnTo>
                <a:lnTo>
                  <a:pt x="0" y="5"/>
                </a:lnTo>
                <a:lnTo>
                  <a:pt x="0" y="4"/>
                </a:lnTo>
                <a:lnTo>
                  <a:pt x="1" y="0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34" name="Freeform 433"/>
          <p:cNvSpPr>
            <a:spLocks/>
          </p:cNvSpPr>
          <p:nvPr/>
        </p:nvSpPr>
        <p:spPr bwMode="auto">
          <a:xfrm>
            <a:off x="6835775" y="3213065"/>
            <a:ext cx="3175" cy="7938"/>
          </a:xfrm>
          <a:custGeom>
            <a:avLst/>
            <a:gdLst>
              <a:gd name="T0" fmla="*/ 0 w 2"/>
              <a:gd name="T1" fmla="*/ 0 h 5"/>
              <a:gd name="T2" fmla="*/ 1 w 2"/>
              <a:gd name="T3" fmla="*/ 4 h 5"/>
              <a:gd name="T4" fmla="*/ 1 w 2"/>
              <a:gd name="T5" fmla="*/ 5 h 5"/>
              <a:gd name="T6" fmla="*/ 2 w 2"/>
              <a:gd name="T7" fmla="*/ 4 h 5"/>
              <a:gd name="T8" fmla="*/ 0 w 2"/>
              <a:gd name="T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5">
                <a:moveTo>
                  <a:pt x="0" y="0"/>
                </a:moveTo>
                <a:lnTo>
                  <a:pt x="1" y="4"/>
                </a:lnTo>
                <a:lnTo>
                  <a:pt x="1" y="5"/>
                </a:lnTo>
                <a:lnTo>
                  <a:pt x="2" y="4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35" name="Freeform 434"/>
          <p:cNvSpPr>
            <a:spLocks/>
          </p:cNvSpPr>
          <p:nvPr/>
        </p:nvSpPr>
        <p:spPr bwMode="auto">
          <a:xfrm>
            <a:off x="6835775" y="3213065"/>
            <a:ext cx="3175" cy="7938"/>
          </a:xfrm>
          <a:custGeom>
            <a:avLst/>
            <a:gdLst>
              <a:gd name="T0" fmla="*/ 0 w 2"/>
              <a:gd name="T1" fmla="*/ 0 h 5"/>
              <a:gd name="T2" fmla="*/ 1 w 2"/>
              <a:gd name="T3" fmla="*/ 4 h 5"/>
              <a:gd name="T4" fmla="*/ 1 w 2"/>
              <a:gd name="T5" fmla="*/ 5 h 5"/>
              <a:gd name="T6" fmla="*/ 2 w 2"/>
              <a:gd name="T7" fmla="*/ 4 h 5"/>
              <a:gd name="T8" fmla="*/ 0 w 2"/>
              <a:gd name="T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5">
                <a:moveTo>
                  <a:pt x="0" y="0"/>
                </a:moveTo>
                <a:lnTo>
                  <a:pt x="1" y="4"/>
                </a:lnTo>
                <a:lnTo>
                  <a:pt x="1" y="5"/>
                </a:lnTo>
                <a:lnTo>
                  <a:pt x="2" y="4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36" name="Freeform 435"/>
          <p:cNvSpPr>
            <a:spLocks/>
          </p:cNvSpPr>
          <p:nvPr/>
        </p:nvSpPr>
        <p:spPr bwMode="auto">
          <a:xfrm>
            <a:off x="7324725" y="3249578"/>
            <a:ext cx="55562" cy="85725"/>
          </a:xfrm>
          <a:custGeom>
            <a:avLst/>
            <a:gdLst>
              <a:gd name="T0" fmla="*/ 30 w 35"/>
              <a:gd name="T1" fmla="*/ 1 h 54"/>
              <a:gd name="T2" fmla="*/ 31 w 35"/>
              <a:gd name="T3" fmla="*/ 0 h 54"/>
              <a:gd name="T4" fmla="*/ 31 w 35"/>
              <a:gd name="T5" fmla="*/ 1 h 54"/>
              <a:gd name="T6" fmla="*/ 33 w 35"/>
              <a:gd name="T7" fmla="*/ 6 h 54"/>
              <a:gd name="T8" fmla="*/ 33 w 35"/>
              <a:gd name="T9" fmla="*/ 7 h 54"/>
              <a:gd name="T10" fmla="*/ 33 w 35"/>
              <a:gd name="T11" fmla="*/ 8 h 54"/>
              <a:gd name="T12" fmla="*/ 33 w 35"/>
              <a:gd name="T13" fmla="*/ 11 h 54"/>
              <a:gd name="T14" fmla="*/ 35 w 35"/>
              <a:gd name="T15" fmla="*/ 16 h 54"/>
              <a:gd name="T16" fmla="*/ 34 w 35"/>
              <a:gd name="T17" fmla="*/ 18 h 54"/>
              <a:gd name="T18" fmla="*/ 31 w 35"/>
              <a:gd name="T19" fmla="*/ 20 h 54"/>
              <a:gd name="T20" fmla="*/ 30 w 35"/>
              <a:gd name="T21" fmla="*/ 22 h 54"/>
              <a:gd name="T22" fmla="*/ 28 w 35"/>
              <a:gd name="T23" fmla="*/ 25 h 54"/>
              <a:gd name="T24" fmla="*/ 25 w 35"/>
              <a:gd name="T25" fmla="*/ 27 h 54"/>
              <a:gd name="T26" fmla="*/ 23 w 35"/>
              <a:gd name="T27" fmla="*/ 28 h 54"/>
              <a:gd name="T28" fmla="*/ 23 w 35"/>
              <a:gd name="T29" fmla="*/ 32 h 54"/>
              <a:gd name="T30" fmla="*/ 19 w 35"/>
              <a:gd name="T31" fmla="*/ 37 h 54"/>
              <a:gd name="T32" fmla="*/ 14 w 35"/>
              <a:gd name="T33" fmla="*/ 43 h 54"/>
              <a:gd name="T34" fmla="*/ 10 w 35"/>
              <a:gd name="T35" fmla="*/ 47 h 54"/>
              <a:gd name="T36" fmla="*/ 8 w 35"/>
              <a:gd name="T37" fmla="*/ 50 h 54"/>
              <a:gd name="T38" fmla="*/ 6 w 35"/>
              <a:gd name="T39" fmla="*/ 50 h 54"/>
              <a:gd name="T40" fmla="*/ 4 w 35"/>
              <a:gd name="T41" fmla="*/ 52 h 54"/>
              <a:gd name="T42" fmla="*/ 3 w 35"/>
              <a:gd name="T43" fmla="*/ 54 h 54"/>
              <a:gd name="T44" fmla="*/ 0 w 35"/>
              <a:gd name="T45" fmla="*/ 53 h 54"/>
              <a:gd name="T46" fmla="*/ 0 w 35"/>
              <a:gd name="T47" fmla="*/ 50 h 54"/>
              <a:gd name="T48" fmla="*/ 3 w 35"/>
              <a:gd name="T49" fmla="*/ 45 h 54"/>
              <a:gd name="T50" fmla="*/ 5 w 35"/>
              <a:gd name="T51" fmla="*/ 43 h 54"/>
              <a:gd name="T52" fmla="*/ 8 w 35"/>
              <a:gd name="T53" fmla="*/ 39 h 54"/>
              <a:gd name="T54" fmla="*/ 10 w 35"/>
              <a:gd name="T55" fmla="*/ 39 h 54"/>
              <a:gd name="T56" fmla="*/ 18 w 35"/>
              <a:gd name="T57" fmla="*/ 28 h 54"/>
              <a:gd name="T58" fmla="*/ 20 w 35"/>
              <a:gd name="T59" fmla="*/ 24 h 54"/>
              <a:gd name="T60" fmla="*/ 22 w 35"/>
              <a:gd name="T61" fmla="*/ 23 h 54"/>
              <a:gd name="T62" fmla="*/ 24 w 35"/>
              <a:gd name="T63" fmla="*/ 21 h 54"/>
              <a:gd name="T64" fmla="*/ 26 w 35"/>
              <a:gd name="T65" fmla="*/ 19 h 54"/>
              <a:gd name="T66" fmla="*/ 27 w 35"/>
              <a:gd name="T67" fmla="*/ 18 h 54"/>
              <a:gd name="T68" fmla="*/ 29 w 35"/>
              <a:gd name="T69" fmla="*/ 13 h 54"/>
              <a:gd name="T70" fmla="*/ 29 w 35"/>
              <a:gd name="T71" fmla="*/ 10 h 54"/>
              <a:gd name="T72" fmla="*/ 29 w 35"/>
              <a:gd name="T73" fmla="*/ 11 h 54"/>
              <a:gd name="T74" fmla="*/ 30 w 35"/>
              <a:gd name="T75" fmla="*/ 10 h 54"/>
              <a:gd name="T76" fmla="*/ 30 w 35"/>
              <a:gd name="T77" fmla="*/ 9 h 54"/>
              <a:gd name="T78" fmla="*/ 29 w 35"/>
              <a:gd name="T79" fmla="*/ 8 h 54"/>
              <a:gd name="T80" fmla="*/ 29 w 35"/>
              <a:gd name="T81" fmla="*/ 7 h 54"/>
              <a:gd name="T82" fmla="*/ 30 w 35"/>
              <a:gd name="T83" fmla="*/ 4 h 54"/>
              <a:gd name="T84" fmla="*/ 30 w 35"/>
              <a:gd name="T85" fmla="*/ 2 h 54"/>
              <a:gd name="T86" fmla="*/ 30 w 35"/>
              <a:gd name="T87" fmla="*/ 1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5" h="54">
                <a:moveTo>
                  <a:pt x="30" y="1"/>
                </a:moveTo>
                <a:lnTo>
                  <a:pt x="31" y="0"/>
                </a:lnTo>
                <a:lnTo>
                  <a:pt x="31" y="1"/>
                </a:lnTo>
                <a:lnTo>
                  <a:pt x="33" y="6"/>
                </a:lnTo>
                <a:lnTo>
                  <a:pt x="33" y="7"/>
                </a:lnTo>
                <a:lnTo>
                  <a:pt x="33" y="8"/>
                </a:lnTo>
                <a:lnTo>
                  <a:pt x="33" y="11"/>
                </a:lnTo>
                <a:lnTo>
                  <a:pt x="35" y="16"/>
                </a:lnTo>
                <a:lnTo>
                  <a:pt x="34" y="18"/>
                </a:lnTo>
                <a:lnTo>
                  <a:pt x="31" y="20"/>
                </a:lnTo>
                <a:lnTo>
                  <a:pt x="30" y="22"/>
                </a:lnTo>
                <a:lnTo>
                  <a:pt x="28" y="25"/>
                </a:lnTo>
                <a:lnTo>
                  <a:pt x="25" y="27"/>
                </a:lnTo>
                <a:lnTo>
                  <a:pt x="23" y="28"/>
                </a:lnTo>
                <a:lnTo>
                  <a:pt x="23" y="32"/>
                </a:lnTo>
                <a:lnTo>
                  <a:pt x="19" y="37"/>
                </a:lnTo>
                <a:lnTo>
                  <a:pt x="14" y="43"/>
                </a:lnTo>
                <a:lnTo>
                  <a:pt x="10" y="47"/>
                </a:lnTo>
                <a:lnTo>
                  <a:pt x="8" y="50"/>
                </a:lnTo>
                <a:lnTo>
                  <a:pt x="6" y="50"/>
                </a:lnTo>
                <a:lnTo>
                  <a:pt x="4" y="52"/>
                </a:lnTo>
                <a:lnTo>
                  <a:pt x="3" y="54"/>
                </a:lnTo>
                <a:lnTo>
                  <a:pt x="0" y="53"/>
                </a:lnTo>
                <a:lnTo>
                  <a:pt x="0" y="50"/>
                </a:lnTo>
                <a:lnTo>
                  <a:pt x="3" y="45"/>
                </a:lnTo>
                <a:lnTo>
                  <a:pt x="5" y="43"/>
                </a:lnTo>
                <a:lnTo>
                  <a:pt x="8" y="39"/>
                </a:lnTo>
                <a:lnTo>
                  <a:pt x="10" y="39"/>
                </a:lnTo>
                <a:lnTo>
                  <a:pt x="18" y="28"/>
                </a:lnTo>
                <a:lnTo>
                  <a:pt x="20" y="24"/>
                </a:lnTo>
                <a:lnTo>
                  <a:pt x="22" y="23"/>
                </a:lnTo>
                <a:lnTo>
                  <a:pt x="24" y="21"/>
                </a:lnTo>
                <a:lnTo>
                  <a:pt x="26" y="19"/>
                </a:lnTo>
                <a:lnTo>
                  <a:pt x="27" y="18"/>
                </a:lnTo>
                <a:lnTo>
                  <a:pt x="29" y="13"/>
                </a:lnTo>
                <a:lnTo>
                  <a:pt x="29" y="10"/>
                </a:lnTo>
                <a:lnTo>
                  <a:pt x="29" y="11"/>
                </a:lnTo>
                <a:lnTo>
                  <a:pt x="30" y="10"/>
                </a:lnTo>
                <a:lnTo>
                  <a:pt x="30" y="9"/>
                </a:lnTo>
                <a:lnTo>
                  <a:pt x="29" y="8"/>
                </a:lnTo>
                <a:lnTo>
                  <a:pt x="29" y="7"/>
                </a:lnTo>
                <a:lnTo>
                  <a:pt x="30" y="4"/>
                </a:lnTo>
                <a:lnTo>
                  <a:pt x="30" y="2"/>
                </a:lnTo>
                <a:lnTo>
                  <a:pt x="30" y="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37" name="Freeform 436"/>
          <p:cNvSpPr>
            <a:spLocks/>
          </p:cNvSpPr>
          <p:nvPr/>
        </p:nvSpPr>
        <p:spPr bwMode="auto">
          <a:xfrm>
            <a:off x="7324725" y="3249578"/>
            <a:ext cx="55562" cy="85725"/>
          </a:xfrm>
          <a:custGeom>
            <a:avLst/>
            <a:gdLst>
              <a:gd name="T0" fmla="*/ 30 w 35"/>
              <a:gd name="T1" fmla="*/ 1 h 54"/>
              <a:gd name="T2" fmla="*/ 31 w 35"/>
              <a:gd name="T3" fmla="*/ 0 h 54"/>
              <a:gd name="T4" fmla="*/ 31 w 35"/>
              <a:gd name="T5" fmla="*/ 1 h 54"/>
              <a:gd name="T6" fmla="*/ 33 w 35"/>
              <a:gd name="T7" fmla="*/ 6 h 54"/>
              <a:gd name="T8" fmla="*/ 33 w 35"/>
              <a:gd name="T9" fmla="*/ 7 h 54"/>
              <a:gd name="T10" fmla="*/ 33 w 35"/>
              <a:gd name="T11" fmla="*/ 8 h 54"/>
              <a:gd name="T12" fmla="*/ 33 w 35"/>
              <a:gd name="T13" fmla="*/ 11 h 54"/>
              <a:gd name="T14" fmla="*/ 35 w 35"/>
              <a:gd name="T15" fmla="*/ 16 h 54"/>
              <a:gd name="T16" fmla="*/ 34 w 35"/>
              <a:gd name="T17" fmla="*/ 18 h 54"/>
              <a:gd name="T18" fmla="*/ 31 w 35"/>
              <a:gd name="T19" fmla="*/ 20 h 54"/>
              <a:gd name="T20" fmla="*/ 30 w 35"/>
              <a:gd name="T21" fmla="*/ 22 h 54"/>
              <a:gd name="T22" fmla="*/ 28 w 35"/>
              <a:gd name="T23" fmla="*/ 25 h 54"/>
              <a:gd name="T24" fmla="*/ 25 w 35"/>
              <a:gd name="T25" fmla="*/ 27 h 54"/>
              <a:gd name="T26" fmla="*/ 23 w 35"/>
              <a:gd name="T27" fmla="*/ 28 h 54"/>
              <a:gd name="T28" fmla="*/ 23 w 35"/>
              <a:gd name="T29" fmla="*/ 32 h 54"/>
              <a:gd name="T30" fmla="*/ 19 w 35"/>
              <a:gd name="T31" fmla="*/ 37 h 54"/>
              <a:gd name="T32" fmla="*/ 14 w 35"/>
              <a:gd name="T33" fmla="*/ 43 h 54"/>
              <a:gd name="T34" fmla="*/ 10 w 35"/>
              <a:gd name="T35" fmla="*/ 47 h 54"/>
              <a:gd name="T36" fmla="*/ 8 w 35"/>
              <a:gd name="T37" fmla="*/ 50 h 54"/>
              <a:gd name="T38" fmla="*/ 6 w 35"/>
              <a:gd name="T39" fmla="*/ 50 h 54"/>
              <a:gd name="T40" fmla="*/ 4 w 35"/>
              <a:gd name="T41" fmla="*/ 52 h 54"/>
              <a:gd name="T42" fmla="*/ 3 w 35"/>
              <a:gd name="T43" fmla="*/ 54 h 54"/>
              <a:gd name="T44" fmla="*/ 0 w 35"/>
              <a:gd name="T45" fmla="*/ 53 h 54"/>
              <a:gd name="T46" fmla="*/ 0 w 35"/>
              <a:gd name="T47" fmla="*/ 50 h 54"/>
              <a:gd name="T48" fmla="*/ 3 w 35"/>
              <a:gd name="T49" fmla="*/ 45 h 54"/>
              <a:gd name="T50" fmla="*/ 5 w 35"/>
              <a:gd name="T51" fmla="*/ 43 h 54"/>
              <a:gd name="T52" fmla="*/ 8 w 35"/>
              <a:gd name="T53" fmla="*/ 39 h 54"/>
              <a:gd name="T54" fmla="*/ 10 w 35"/>
              <a:gd name="T55" fmla="*/ 39 h 54"/>
              <a:gd name="T56" fmla="*/ 18 w 35"/>
              <a:gd name="T57" fmla="*/ 28 h 54"/>
              <a:gd name="T58" fmla="*/ 20 w 35"/>
              <a:gd name="T59" fmla="*/ 24 h 54"/>
              <a:gd name="T60" fmla="*/ 22 w 35"/>
              <a:gd name="T61" fmla="*/ 23 h 54"/>
              <a:gd name="T62" fmla="*/ 24 w 35"/>
              <a:gd name="T63" fmla="*/ 21 h 54"/>
              <a:gd name="T64" fmla="*/ 26 w 35"/>
              <a:gd name="T65" fmla="*/ 19 h 54"/>
              <a:gd name="T66" fmla="*/ 27 w 35"/>
              <a:gd name="T67" fmla="*/ 18 h 54"/>
              <a:gd name="T68" fmla="*/ 29 w 35"/>
              <a:gd name="T69" fmla="*/ 13 h 54"/>
              <a:gd name="T70" fmla="*/ 29 w 35"/>
              <a:gd name="T71" fmla="*/ 10 h 54"/>
              <a:gd name="T72" fmla="*/ 29 w 35"/>
              <a:gd name="T73" fmla="*/ 11 h 54"/>
              <a:gd name="T74" fmla="*/ 30 w 35"/>
              <a:gd name="T75" fmla="*/ 10 h 54"/>
              <a:gd name="T76" fmla="*/ 30 w 35"/>
              <a:gd name="T77" fmla="*/ 9 h 54"/>
              <a:gd name="T78" fmla="*/ 29 w 35"/>
              <a:gd name="T79" fmla="*/ 8 h 54"/>
              <a:gd name="T80" fmla="*/ 29 w 35"/>
              <a:gd name="T81" fmla="*/ 7 h 54"/>
              <a:gd name="T82" fmla="*/ 30 w 35"/>
              <a:gd name="T83" fmla="*/ 4 h 54"/>
              <a:gd name="T84" fmla="*/ 30 w 35"/>
              <a:gd name="T85" fmla="*/ 2 h 54"/>
              <a:gd name="T86" fmla="*/ 30 w 35"/>
              <a:gd name="T87" fmla="*/ 1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5" h="54">
                <a:moveTo>
                  <a:pt x="30" y="1"/>
                </a:moveTo>
                <a:lnTo>
                  <a:pt x="31" y="0"/>
                </a:lnTo>
                <a:lnTo>
                  <a:pt x="31" y="1"/>
                </a:lnTo>
                <a:lnTo>
                  <a:pt x="33" y="6"/>
                </a:lnTo>
                <a:lnTo>
                  <a:pt x="33" y="7"/>
                </a:lnTo>
                <a:lnTo>
                  <a:pt x="33" y="8"/>
                </a:lnTo>
                <a:lnTo>
                  <a:pt x="33" y="11"/>
                </a:lnTo>
                <a:lnTo>
                  <a:pt x="35" y="16"/>
                </a:lnTo>
                <a:lnTo>
                  <a:pt x="34" y="18"/>
                </a:lnTo>
                <a:lnTo>
                  <a:pt x="31" y="20"/>
                </a:lnTo>
                <a:lnTo>
                  <a:pt x="30" y="22"/>
                </a:lnTo>
                <a:lnTo>
                  <a:pt x="28" y="25"/>
                </a:lnTo>
                <a:lnTo>
                  <a:pt x="25" y="27"/>
                </a:lnTo>
                <a:lnTo>
                  <a:pt x="23" y="28"/>
                </a:lnTo>
                <a:lnTo>
                  <a:pt x="23" y="32"/>
                </a:lnTo>
                <a:lnTo>
                  <a:pt x="19" y="37"/>
                </a:lnTo>
                <a:lnTo>
                  <a:pt x="14" y="43"/>
                </a:lnTo>
                <a:lnTo>
                  <a:pt x="10" y="47"/>
                </a:lnTo>
                <a:lnTo>
                  <a:pt x="8" y="50"/>
                </a:lnTo>
                <a:lnTo>
                  <a:pt x="6" y="50"/>
                </a:lnTo>
                <a:lnTo>
                  <a:pt x="4" y="52"/>
                </a:lnTo>
                <a:lnTo>
                  <a:pt x="3" y="54"/>
                </a:lnTo>
                <a:lnTo>
                  <a:pt x="0" y="53"/>
                </a:lnTo>
                <a:lnTo>
                  <a:pt x="0" y="50"/>
                </a:lnTo>
                <a:lnTo>
                  <a:pt x="3" y="45"/>
                </a:lnTo>
                <a:lnTo>
                  <a:pt x="5" y="43"/>
                </a:lnTo>
                <a:lnTo>
                  <a:pt x="8" y="39"/>
                </a:lnTo>
                <a:lnTo>
                  <a:pt x="10" y="39"/>
                </a:lnTo>
                <a:lnTo>
                  <a:pt x="18" y="28"/>
                </a:lnTo>
                <a:lnTo>
                  <a:pt x="20" y="24"/>
                </a:lnTo>
                <a:lnTo>
                  <a:pt x="22" y="23"/>
                </a:lnTo>
                <a:lnTo>
                  <a:pt x="24" y="21"/>
                </a:lnTo>
                <a:lnTo>
                  <a:pt x="26" y="19"/>
                </a:lnTo>
                <a:lnTo>
                  <a:pt x="27" y="18"/>
                </a:lnTo>
                <a:lnTo>
                  <a:pt x="29" y="13"/>
                </a:lnTo>
                <a:lnTo>
                  <a:pt x="29" y="10"/>
                </a:lnTo>
                <a:lnTo>
                  <a:pt x="29" y="11"/>
                </a:lnTo>
                <a:lnTo>
                  <a:pt x="30" y="10"/>
                </a:lnTo>
                <a:lnTo>
                  <a:pt x="30" y="9"/>
                </a:lnTo>
                <a:lnTo>
                  <a:pt x="29" y="8"/>
                </a:lnTo>
                <a:lnTo>
                  <a:pt x="29" y="7"/>
                </a:lnTo>
                <a:lnTo>
                  <a:pt x="30" y="4"/>
                </a:lnTo>
                <a:lnTo>
                  <a:pt x="30" y="2"/>
                </a:lnTo>
                <a:lnTo>
                  <a:pt x="30" y="1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38" name="Freeform 437"/>
          <p:cNvSpPr>
            <a:spLocks/>
          </p:cNvSpPr>
          <p:nvPr/>
        </p:nvSpPr>
        <p:spPr bwMode="auto">
          <a:xfrm>
            <a:off x="7381875" y="3233703"/>
            <a:ext cx="4762" cy="6350"/>
          </a:xfrm>
          <a:custGeom>
            <a:avLst/>
            <a:gdLst>
              <a:gd name="T0" fmla="*/ 0 w 3"/>
              <a:gd name="T1" fmla="*/ 0 h 4"/>
              <a:gd name="T2" fmla="*/ 2 w 3"/>
              <a:gd name="T3" fmla="*/ 1 h 4"/>
              <a:gd name="T4" fmla="*/ 3 w 3"/>
              <a:gd name="T5" fmla="*/ 2 h 4"/>
              <a:gd name="T6" fmla="*/ 3 w 3"/>
              <a:gd name="T7" fmla="*/ 3 h 4"/>
              <a:gd name="T8" fmla="*/ 3 w 3"/>
              <a:gd name="T9" fmla="*/ 4 h 4"/>
              <a:gd name="T10" fmla="*/ 2 w 3"/>
              <a:gd name="T11" fmla="*/ 3 h 4"/>
              <a:gd name="T12" fmla="*/ 0 w 3"/>
              <a:gd name="T13" fmla="*/ 1 h 4"/>
              <a:gd name="T14" fmla="*/ 0 w 3"/>
              <a:gd name="T15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2" y="1"/>
                </a:lnTo>
                <a:lnTo>
                  <a:pt x="3" y="2"/>
                </a:lnTo>
                <a:lnTo>
                  <a:pt x="3" y="3"/>
                </a:lnTo>
                <a:lnTo>
                  <a:pt x="3" y="4"/>
                </a:lnTo>
                <a:lnTo>
                  <a:pt x="2" y="3"/>
                </a:ln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39" name="Freeform 438"/>
          <p:cNvSpPr>
            <a:spLocks/>
          </p:cNvSpPr>
          <p:nvPr/>
        </p:nvSpPr>
        <p:spPr bwMode="auto">
          <a:xfrm>
            <a:off x="7381875" y="3233703"/>
            <a:ext cx="4762" cy="6350"/>
          </a:xfrm>
          <a:custGeom>
            <a:avLst/>
            <a:gdLst>
              <a:gd name="T0" fmla="*/ 0 w 3"/>
              <a:gd name="T1" fmla="*/ 0 h 4"/>
              <a:gd name="T2" fmla="*/ 2 w 3"/>
              <a:gd name="T3" fmla="*/ 1 h 4"/>
              <a:gd name="T4" fmla="*/ 3 w 3"/>
              <a:gd name="T5" fmla="*/ 2 h 4"/>
              <a:gd name="T6" fmla="*/ 3 w 3"/>
              <a:gd name="T7" fmla="*/ 3 h 4"/>
              <a:gd name="T8" fmla="*/ 3 w 3"/>
              <a:gd name="T9" fmla="*/ 4 h 4"/>
              <a:gd name="T10" fmla="*/ 2 w 3"/>
              <a:gd name="T11" fmla="*/ 3 h 4"/>
              <a:gd name="T12" fmla="*/ 0 w 3"/>
              <a:gd name="T13" fmla="*/ 1 h 4"/>
              <a:gd name="T14" fmla="*/ 0 w 3"/>
              <a:gd name="T15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2" y="1"/>
                </a:lnTo>
                <a:lnTo>
                  <a:pt x="3" y="2"/>
                </a:lnTo>
                <a:lnTo>
                  <a:pt x="3" y="3"/>
                </a:lnTo>
                <a:lnTo>
                  <a:pt x="3" y="4"/>
                </a:lnTo>
                <a:lnTo>
                  <a:pt x="2" y="3"/>
                </a:lnTo>
                <a:lnTo>
                  <a:pt x="0" y="1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40" name="Freeform 439"/>
          <p:cNvSpPr>
            <a:spLocks/>
          </p:cNvSpPr>
          <p:nvPr/>
        </p:nvSpPr>
        <p:spPr bwMode="auto">
          <a:xfrm>
            <a:off x="7381875" y="3222590"/>
            <a:ext cx="11112" cy="9525"/>
          </a:xfrm>
          <a:custGeom>
            <a:avLst/>
            <a:gdLst>
              <a:gd name="T0" fmla="*/ 0 w 7"/>
              <a:gd name="T1" fmla="*/ 0 h 6"/>
              <a:gd name="T2" fmla="*/ 0 w 7"/>
              <a:gd name="T3" fmla="*/ 0 h 6"/>
              <a:gd name="T4" fmla="*/ 2 w 7"/>
              <a:gd name="T5" fmla="*/ 3 h 6"/>
              <a:gd name="T6" fmla="*/ 4 w 7"/>
              <a:gd name="T7" fmla="*/ 3 h 6"/>
              <a:gd name="T8" fmla="*/ 5 w 7"/>
              <a:gd name="T9" fmla="*/ 5 h 6"/>
              <a:gd name="T10" fmla="*/ 7 w 7"/>
              <a:gd name="T11" fmla="*/ 5 h 6"/>
              <a:gd name="T12" fmla="*/ 4 w 7"/>
              <a:gd name="T13" fmla="*/ 6 h 6"/>
              <a:gd name="T14" fmla="*/ 2 w 7"/>
              <a:gd name="T15" fmla="*/ 5 h 6"/>
              <a:gd name="T16" fmla="*/ 0 w 7"/>
              <a:gd name="T17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" h="6">
                <a:moveTo>
                  <a:pt x="0" y="0"/>
                </a:moveTo>
                <a:lnTo>
                  <a:pt x="0" y="0"/>
                </a:lnTo>
                <a:lnTo>
                  <a:pt x="2" y="3"/>
                </a:lnTo>
                <a:lnTo>
                  <a:pt x="4" y="3"/>
                </a:lnTo>
                <a:lnTo>
                  <a:pt x="5" y="5"/>
                </a:lnTo>
                <a:lnTo>
                  <a:pt x="7" y="5"/>
                </a:lnTo>
                <a:lnTo>
                  <a:pt x="4" y="6"/>
                </a:lnTo>
                <a:lnTo>
                  <a:pt x="2" y="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41" name="Freeform 440"/>
          <p:cNvSpPr>
            <a:spLocks/>
          </p:cNvSpPr>
          <p:nvPr/>
        </p:nvSpPr>
        <p:spPr bwMode="auto">
          <a:xfrm>
            <a:off x="7381875" y="3222590"/>
            <a:ext cx="11112" cy="9525"/>
          </a:xfrm>
          <a:custGeom>
            <a:avLst/>
            <a:gdLst>
              <a:gd name="T0" fmla="*/ 0 w 7"/>
              <a:gd name="T1" fmla="*/ 0 h 6"/>
              <a:gd name="T2" fmla="*/ 0 w 7"/>
              <a:gd name="T3" fmla="*/ 0 h 6"/>
              <a:gd name="T4" fmla="*/ 2 w 7"/>
              <a:gd name="T5" fmla="*/ 3 h 6"/>
              <a:gd name="T6" fmla="*/ 4 w 7"/>
              <a:gd name="T7" fmla="*/ 3 h 6"/>
              <a:gd name="T8" fmla="*/ 5 w 7"/>
              <a:gd name="T9" fmla="*/ 5 h 6"/>
              <a:gd name="T10" fmla="*/ 7 w 7"/>
              <a:gd name="T11" fmla="*/ 5 h 6"/>
              <a:gd name="T12" fmla="*/ 4 w 7"/>
              <a:gd name="T13" fmla="*/ 6 h 6"/>
              <a:gd name="T14" fmla="*/ 2 w 7"/>
              <a:gd name="T15" fmla="*/ 5 h 6"/>
              <a:gd name="T16" fmla="*/ 0 w 7"/>
              <a:gd name="T17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" h="6">
                <a:moveTo>
                  <a:pt x="0" y="0"/>
                </a:moveTo>
                <a:lnTo>
                  <a:pt x="0" y="0"/>
                </a:lnTo>
                <a:lnTo>
                  <a:pt x="2" y="3"/>
                </a:lnTo>
                <a:lnTo>
                  <a:pt x="4" y="3"/>
                </a:lnTo>
                <a:lnTo>
                  <a:pt x="5" y="5"/>
                </a:lnTo>
                <a:lnTo>
                  <a:pt x="7" y="5"/>
                </a:lnTo>
                <a:lnTo>
                  <a:pt x="4" y="6"/>
                </a:lnTo>
                <a:lnTo>
                  <a:pt x="2" y="5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42" name="Freeform 441"/>
          <p:cNvSpPr>
            <a:spLocks/>
          </p:cNvSpPr>
          <p:nvPr/>
        </p:nvSpPr>
        <p:spPr bwMode="auto">
          <a:xfrm>
            <a:off x="7388225" y="3189253"/>
            <a:ext cx="33337" cy="38100"/>
          </a:xfrm>
          <a:custGeom>
            <a:avLst/>
            <a:gdLst>
              <a:gd name="T0" fmla="*/ 1 w 21"/>
              <a:gd name="T1" fmla="*/ 1 h 24"/>
              <a:gd name="T2" fmla="*/ 0 w 21"/>
              <a:gd name="T3" fmla="*/ 0 h 24"/>
              <a:gd name="T4" fmla="*/ 1 w 21"/>
              <a:gd name="T5" fmla="*/ 0 h 24"/>
              <a:gd name="T6" fmla="*/ 9 w 21"/>
              <a:gd name="T7" fmla="*/ 0 h 24"/>
              <a:gd name="T8" fmla="*/ 11 w 21"/>
              <a:gd name="T9" fmla="*/ 0 h 24"/>
              <a:gd name="T10" fmla="*/ 14 w 21"/>
              <a:gd name="T11" fmla="*/ 1 h 24"/>
              <a:gd name="T12" fmla="*/ 17 w 21"/>
              <a:gd name="T13" fmla="*/ 4 h 24"/>
              <a:gd name="T14" fmla="*/ 18 w 21"/>
              <a:gd name="T15" fmla="*/ 6 h 24"/>
              <a:gd name="T16" fmla="*/ 19 w 21"/>
              <a:gd name="T17" fmla="*/ 6 h 24"/>
              <a:gd name="T18" fmla="*/ 20 w 21"/>
              <a:gd name="T19" fmla="*/ 9 h 24"/>
              <a:gd name="T20" fmla="*/ 20 w 21"/>
              <a:gd name="T21" fmla="*/ 12 h 24"/>
              <a:gd name="T22" fmla="*/ 21 w 21"/>
              <a:gd name="T23" fmla="*/ 17 h 24"/>
              <a:gd name="T24" fmla="*/ 20 w 21"/>
              <a:gd name="T25" fmla="*/ 18 h 24"/>
              <a:gd name="T26" fmla="*/ 21 w 21"/>
              <a:gd name="T27" fmla="*/ 20 h 24"/>
              <a:gd name="T28" fmla="*/ 17 w 21"/>
              <a:gd name="T29" fmla="*/ 24 h 24"/>
              <a:gd name="T30" fmla="*/ 16 w 21"/>
              <a:gd name="T31" fmla="*/ 21 h 24"/>
              <a:gd name="T32" fmla="*/ 14 w 21"/>
              <a:gd name="T33" fmla="*/ 19 h 24"/>
              <a:gd name="T34" fmla="*/ 9 w 21"/>
              <a:gd name="T35" fmla="*/ 12 h 24"/>
              <a:gd name="T36" fmla="*/ 8 w 21"/>
              <a:gd name="T37" fmla="*/ 8 h 24"/>
              <a:gd name="T38" fmla="*/ 7 w 21"/>
              <a:gd name="T39" fmla="*/ 6 h 24"/>
              <a:gd name="T40" fmla="*/ 5 w 21"/>
              <a:gd name="T41" fmla="*/ 4 h 24"/>
              <a:gd name="T42" fmla="*/ 4 w 21"/>
              <a:gd name="T43" fmla="*/ 1 h 24"/>
              <a:gd name="T44" fmla="*/ 1 w 21"/>
              <a:gd name="T45" fmla="*/ 1 h 24"/>
              <a:gd name="T46" fmla="*/ 1 w 21"/>
              <a:gd name="T47" fmla="*/ 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1" h="24">
                <a:moveTo>
                  <a:pt x="1" y="1"/>
                </a:moveTo>
                <a:lnTo>
                  <a:pt x="0" y="0"/>
                </a:lnTo>
                <a:lnTo>
                  <a:pt x="1" y="0"/>
                </a:lnTo>
                <a:lnTo>
                  <a:pt x="9" y="0"/>
                </a:lnTo>
                <a:lnTo>
                  <a:pt x="11" y="0"/>
                </a:lnTo>
                <a:lnTo>
                  <a:pt x="14" y="1"/>
                </a:lnTo>
                <a:lnTo>
                  <a:pt x="17" y="4"/>
                </a:lnTo>
                <a:lnTo>
                  <a:pt x="18" y="6"/>
                </a:lnTo>
                <a:lnTo>
                  <a:pt x="19" y="6"/>
                </a:lnTo>
                <a:lnTo>
                  <a:pt x="20" y="9"/>
                </a:lnTo>
                <a:lnTo>
                  <a:pt x="20" y="12"/>
                </a:lnTo>
                <a:lnTo>
                  <a:pt x="21" y="17"/>
                </a:lnTo>
                <a:lnTo>
                  <a:pt x="20" y="18"/>
                </a:lnTo>
                <a:lnTo>
                  <a:pt x="21" y="20"/>
                </a:lnTo>
                <a:lnTo>
                  <a:pt x="17" y="24"/>
                </a:lnTo>
                <a:lnTo>
                  <a:pt x="16" y="21"/>
                </a:lnTo>
                <a:lnTo>
                  <a:pt x="14" y="19"/>
                </a:lnTo>
                <a:lnTo>
                  <a:pt x="9" y="12"/>
                </a:lnTo>
                <a:lnTo>
                  <a:pt x="8" y="8"/>
                </a:lnTo>
                <a:lnTo>
                  <a:pt x="7" y="6"/>
                </a:lnTo>
                <a:lnTo>
                  <a:pt x="5" y="4"/>
                </a:lnTo>
                <a:lnTo>
                  <a:pt x="4" y="1"/>
                </a:lnTo>
                <a:lnTo>
                  <a:pt x="1" y="1"/>
                </a:lnTo>
                <a:lnTo>
                  <a:pt x="1" y="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43" name="Freeform 442"/>
          <p:cNvSpPr>
            <a:spLocks/>
          </p:cNvSpPr>
          <p:nvPr/>
        </p:nvSpPr>
        <p:spPr bwMode="auto">
          <a:xfrm>
            <a:off x="7388225" y="3189253"/>
            <a:ext cx="33337" cy="38100"/>
          </a:xfrm>
          <a:custGeom>
            <a:avLst/>
            <a:gdLst>
              <a:gd name="T0" fmla="*/ 1 w 21"/>
              <a:gd name="T1" fmla="*/ 1 h 24"/>
              <a:gd name="T2" fmla="*/ 0 w 21"/>
              <a:gd name="T3" fmla="*/ 0 h 24"/>
              <a:gd name="T4" fmla="*/ 1 w 21"/>
              <a:gd name="T5" fmla="*/ 0 h 24"/>
              <a:gd name="T6" fmla="*/ 9 w 21"/>
              <a:gd name="T7" fmla="*/ 0 h 24"/>
              <a:gd name="T8" fmla="*/ 11 w 21"/>
              <a:gd name="T9" fmla="*/ 0 h 24"/>
              <a:gd name="T10" fmla="*/ 14 w 21"/>
              <a:gd name="T11" fmla="*/ 1 h 24"/>
              <a:gd name="T12" fmla="*/ 17 w 21"/>
              <a:gd name="T13" fmla="*/ 4 h 24"/>
              <a:gd name="T14" fmla="*/ 18 w 21"/>
              <a:gd name="T15" fmla="*/ 6 h 24"/>
              <a:gd name="T16" fmla="*/ 19 w 21"/>
              <a:gd name="T17" fmla="*/ 6 h 24"/>
              <a:gd name="T18" fmla="*/ 20 w 21"/>
              <a:gd name="T19" fmla="*/ 9 h 24"/>
              <a:gd name="T20" fmla="*/ 20 w 21"/>
              <a:gd name="T21" fmla="*/ 12 h 24"/>
              <a:gd name="T22" fmla="*/ 21 w 21"/>
              <a:gd name="T23" fmla="*/ 17 h 24"/>
              <a:gd name="T24" fmla="*/ 20 w 21"/>
              <a:gd name="T25" fmla="*/ 18 h 24"/>
              <a:gd name="T26" fmla="*/ 21 w 21"/>
              <a:gd name="T27" fmla="*/ 20 h 24"/>
              <a:gd name="T28" fmla="*/ 17 w 21"/>
              <a:gd name="T29" fmla="*/ 24 h 24"/>
              <a:gd name="T30" fmla="*/ 16 w 21"/>
              <a:gd name="T31" fmla="*/ 21 h 24"/>
              <a:gd name="T32" fmla="*/ 14 w 21"/>
              <a:gd name="T33" fmla="*/ 19 h 24"/>
              <a:gd name="T34" fmla="*/ 9 w 21"/>
              <a:gd name="T35" fmla="*/ 12 h 24"/>
              <a:gd name="T36" fmla="*/ 8 w 21"/>
              <a:gd name="T37" fmla="*/ 8 h 24"/>
              <a:gd name="T38" fmla="*/ 7 w 21"/>
              <a:gd name="T39" fmla="*/ 6 h 24"/>
              <a:gd name="T40" fmla="*/ 5 w 21"/>
              <a:gd name="T41" fmla="*/ 4 h 24"/>
              <a:gd name="T42" fmla="*/ 4 w 21"/>
              <a:gd name="T43" fmla="*/ 1 h 24"/>
              <a:gd name="T44" fmla="*/ 1 w 21"/>
              <a:gd name="T45" fmla="*/ 1 h 24"/>
              <a:gd name="T46" fmla="*/ 1 w 21"/>
              <a:gd name="T47" fmla="*/ 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1" h="24">
                <a:moveTo>
                  <a:pt x="1" y="1"/>
                </a:moveTo>
                <a:lnTo>
                  <a:pt x="0" y="0"/>
                </a:lnTo>
                <a:lnTo>
                  <a:pt x="1" y="0"/>
                </a:lnTo>
                <a:lnTo>
                  <a:pt x="9" y="0"/>
                </a:lnTo>
                <a:lnTo>
                  <a:pt x="11" y="0"/>
                </a:lnTo>
                <a:lnTo>
                  <a:pt x="14" y="1"/>
                </a:lnTo>
                <a:lnTo>
                  <a:pt x="17" y="4"/>
                </a:lnTo>
                <a:lnTo>
                  <a:pt x="18" y="6"/>
                </a:lnTo>
                <a:lnTo>
                  <a:pt x="19" y="6"/>
                </a:lnTo>
                <a:lnTo>
                  <a:pt x="20" y="9"/>
                </a:lnTo>
                <a:lnTo>
                  <a:pt x="20" y="12"/>
                </a:lnTo>
                <a:lnTo>
                  <a:pt x="21" y="17"/>
                </a:lnTo>
                <a:lnTo>
                  <a:pt x="20" y="18"/>
                </a:lnTo>
                <a:lnTo>
                  <a:pt x="21" y="20"/>
                </a:lnTo>
                <a:lnTo>
                  <a:pt x="17" y="24"/>
                </a:lnTo>
                <a:lnTo>
                  <a:pt x="16" y="21"/>
                </a:lnTo>
                <a:lnTo>
                  <a:pt x="14" y="19"/>
                </a:lnTo>
                <a:lnTo>
                  <a:pt x="9" y="12"/>
                </a:lnTo>
                <a:lnTo>
                  <a:pt x="8" y="8"/>
                </a:lnTo>
                <a:lnTo>
                  <a:pt x="7" y="6"/>
                </a:lnTo>
                <a:lnTo>
                  <a:pt x="5" y="4"/>
                </a:lnTo>
                <a:lnTo>
                  <a:pt x="4" y="1"/>
                </a:lnTo>
                <a:lnTo>
                  <a:pt x="1" y="1"/>
                </a:lnTo>
                <a:lnTo>
                  <a:pt x="1" y="1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44" name="Freeform 443"/>
          <p:cNvSpPr>
            <a:spLocks/>
          </p:cNvSpPr>
          <p:nvPr/>
        </p:nvSpPr>
        <p:spPr bwMode="auto">
          <a:xfrm>
            <a:off x="7364413" y="3041615"/>
            <a:ext cx="123825" cy="176213"/>
          </a:xfrm>
          <a:custGeom>
            <a:avLst/>
            <a:gdLst>
              <a:gd name="T0" fmla="*/ 34 w 78"/>
              <a:gd name="T1" fmla="*/ 6 h 111"/>
              <a:gd name="T2" fmla="*/ 32 w 78"/>
              <a:gd name="T3" fmla="*/ 14 h 111"/>
              <a:gd name="T4" fmla="*/ 38 w 78"/>
              <a:gd name="T5" fmla="*/ 24 h 111"/>
              <a:gd name="T6" fmla="*/ 41 w 78"/>
              <a:gd name="T7" fmla="*/ 31 h 111"/>
              <a:gd name="T8" fmla="*/ 39 w 78"/>
              <a:gd name="T9" fmla="*/ 42 h 111"/>
              <a:gd name="T10" fmla="*/ 35 w 78"/>
              <a:gd name="T11" fmla="*/ 45 h 111"/>
              <a:gd name="T12" fmla="*/ 30 w 78"/>
              <a:gd name="T13" fmla="*/ 52 h 111"/>
              <a:gd name="T14" fmla="*/ 28 w 78"/>
              <a:gd name="T15" fmla="*/ 60 h 111"/>
              <a:gd name="T16" fmla="*/ 32 w 78"/>
              <a:gd name="T17" fmla="*/ 69 h 111"/>
              <a:gd name="T18" fmla="*/ 34 w 78"/>
              <a:gd name="T19" fmla="*/ 77 h 111"/>
              <a:gd name="T20" fmla="*/ 41 w 78"/>
              <a:gd name="T21" fmla="*/ 85 h 111"/>
              <a:gd name="T22" fmla="*/ 44 w 78"/>
              <a:gd name="T23" fmla="*/ 83 h 111"/>
              <a:gd name="T24" fmla="*/ 46 w 78"/>
              <a:gd name="T25" fmla="*/ 79 h 111"/>
              <a:gd name="T26" fmla="*/ 53 w 78"/>
              <a:gd name="T27" fmla="*/ 79 h 111"/>
              <a:gd name="T28" fmla="*/ 59 w 78"/>
              <a:gd name="T29" fmla="*/ 88 h 111"/>
              <a:gd name="T30" fmla="*/ 61 w 78"/>
              <a:gd name="T31" fmla="*/ 83 h 111"/>
              <a:gd name="T32" fmla="*/ 66 w 78"/>
              <a:gd name="T33" fmla="*/ 85 h 111"/>
              <a:gd name="T34" fmla="*/ 69 w 78"/>
              <a:gd name="T35" fmla="*/ 89 h 111"/>
              <a:gd name="T36" fmla="*/ 70 w 78"/>
              <a:gd name="T37" fmla="*/ 95 h 111"/>
              <a:gd name="T38" fmla="*/ 72 w 78"/>
              <a:gd name="T39" fmla="*/ 100 h 111"/>
              <a:gd name="T40" fmla="*/ 75 w 78"/>
              <a:gd name="T41" fmla="*/ 101 h 111"/>
              <a:gd name="T42" fmla="*/ 76 w 78"/>
              <a:gd name="T43" fmla="*/ 111 h 111"/>
              <a:gd name="T44" fmla="*/ 74 w 78"/>
              <a:gd name="T45" fmla="*/ 104 h 111"/>
              <a:gd name="T46" fmla="*/ 66 w 78"/>
              <a:gd name="T47" fmla="*/ 101 h 111"/>
              <a:gd name="T48" fmla="*/ 61 w 78"/>
              <a:gd name="T49" fmla="*/ 94 h 111"/>
              <a:gd name="T50" fmla="*/ 54 w 78"/>
              <a:gd name="T51" fmla="*/ 90 h 111"/>
              <a:gd name="T52" fmla="*/ 50 w 78"/>
              <a:gd name="T53" fmla="*/ 90 h 111"/>
              <a:gd name="T54" fmla="*/ 52 w 78"/>
              <a:gd name="T55" fmla="*/ 98 h 111"/>
              <a:gd name="T56" fmla="*/ 42 w 78"/>
              <a:gd name="T57" fmla="*/ 88 h 111"/>
              <a:gd name="T58" fmla="*/ 34 w 78"/>
              <a:gd name="T59" fmla="*/ 85 h 111"/>
              <a:gd name="T60" fmla="*/ 29 w 78"/>
              <a:gd name="T61" fmla="*/ 91 h 111"/>
              <a:gd name="T62" fmla="*/ 22 w 78"/>
              <a:gd name="T63" fmla="*/ 87 h 111"/>
              <a:gd name="T64" fmla="*/ 19 w 78"/>
              <a:gd name="T65" fmla="*/ 81 h 111"/>
              <a:gd name="T66" fmla="*/ 22 w 78"/>
              <a:gd name="T67" fmla="*/ 74 h 111"/>
              <a:gd name="T68" fmla="*/ 18 w 78"/>
              <a:gd name="T69" fmla="*/ 70 h 111"/>
              <a:gd name="T70" fmla="*/ 14 w 78"/>
              <a:gd name="T71" fmla="*/ 73 h 111"/>
              <a:gd name="T72" fmla="*/ 8 w 78"/>
              <a:gd name="T73" fmla="*/ 64 h 111"/>
              <a:gd name="T74" fmla="*/ 0 w 78"/>
              <a:gd name="T75" fmla="*/ 43 h 111"/>
              <a:gd name="T76" fmla="*/ 5 w 78"/>
              <a:gd name="T77" fmla="*/ 47 h 111"/>
              <a:gd name="T78" fmla="*/ 6 w 78"/>
              <a:gd name="T79" fmla="*/ 31 h 111"/>
              <a:gd name="T80" fmla="*/ 5 w 78"/>
              <a:gd name="T81" fmla="*/ 17 h 111"/>
              <a:gd name="T82" fmla="*/ 6 w 78"/>
              <a:gd name="T83" fmla="*/ 2 h 111"/>
              <a:gd name="T84" fmla="*/ 12 w 78"/>
              <a:gd name="T85" fmla="*/ 0 h 111"/>
              <a:gd name="T86" fmla="*/ 26 w 78"/>
              <a:gd name="T87" fmla="*/ 6 h 111"/>
              <a:gd name="T88" fmla="*/ 31 w 78"/>
              <a:gd name="T89" fmla="*/ 1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78" h="111">
                <a:moveTo>
                  <a:pt x="32" y="3"/>
                </a:moveTo>
                <a:lnTo>
                  <a:pt x="33" y="4"/>
                </a:lnTo>
                <a:lnTo>
                  <a:pt x="34" y="6"/>
                </a:lnTo>
                <a:lnTo>
                  <a:pt x="33" y="7"/>
                </a:lnTo>
                <a:lnTo>
                  <a:pt x="32" y="11"/>
                </a:lnTo>
                <a:lnTo>
                  <a:pt x="32" y="14"/>
                </a:lnTo>
                <a:lnTo>
                  <a:pt x="34" y="21"/>
                </a:lnTo>
                <a:lnTo>
                  <a:pt x="35" y="23"/>
                </a:lnTo>
                <a:lnTo>
                  <a:pt x="38" y="24"/>
                </a:lnTo>
                <a:lnTo>
                  <a:pt x="39" y="26"/>
                </a:lnTo>
                <a:lnTo>
                  <a:pt x="40" y="28"/>
                </a:lnTo>
                <a:lnTo>
                  <a:pt x="41" y="31"/>
                </a:lnTo>
                <a:lnTo>
                  <a:pt x="40" y="34"/>
                </a:lnTo>
                <a:lnTo>
                  <a:pt x="39" y="39"/>
                </a:lnTo>
                <a:lnTo>
                  <a:pt x="39" y="42"/>
                </a:lnTo>
                <a:lnTo>
                  <a:pt x="38" y="45"/>
                </a:lnTo>
                <a:lnTo>
                  <a:pt x="36" y="47"/>
                </a:lnTo>
                <a:lnTo>
                  <a:pt x="35" y="45"/>
                </a:lnTo>
                <a:lnTo>
                  <a:pt x="33" y="48"/>
                </a:lnTo>
                <a:lnTo>
                  <a:pt x="31" y="50"/>
                </a:lnTo>
                <a:lnTo>
                  <a:pt x="30" y="52"/>
                </a:lnTo>
                <a:lnTo>
                  <a:pt x="31" y="55"/>
                </a:lnTo>
                <a:lnTo>
                  <a:pt x="30" y="59"/>
                </a:lnTo>
                <a:lnTo>
                  <a:pt x="28" y="60"/>
                </a:lnTo>
                <a:lnTo>
                  <a:pt x="29" y="63"/>
                </a:lnTo>
                <a:lnTo>
                  <a:pt x="31" y="67"/>
                </a:lnTo>
                <a:lnTo>
                  <a:pt x="32" y="69"/>
                </a:lnTo>
                <a:lnTo>
                  <a:pt x="34" y="71"/>
                </a:lnTo>
                <a:lnTo>
                  <a:pt x="33" y="72"/>
                </a:lnTo>
                <a:lnTo>
                  <a:pt x="34" y="77"/>
                </a:lnTo>
                <a:lnTo>
                  <a:pt x="35" y="79"/>
                </a:lnTo>
                <a:lnTo>
                  <a:pt x="36" y="81"/>
                </a:lnTo>
                <a:lnTo>
                  <a:pt x="41" y="85"/>
                </a:lnTo>
                <a:lnTo>
                  <a:pt x="42" y="85"/>
                </a:lnTo>
                <a:lnTo>
                  <a:pt x="44" y="84"/>
                </a:lnTo>
                <a:lnTo>
                  <a:pt x="44" y="83"/>
                </a:lnTo>
                <a:lnTo>
                  <a:pt x="44" y="80"/>
                </a:lnTo>
                <a:lnTo>
                  <a:pt x="45" y="81"/>
                </a:lnTo>
                <a:lnTo>
                  <a:pt x="46" y="79"/>
                </a:lnTo>
                <a:lnTo>
                  <a:pt x="50" y="79"/>
                </a:lnTo>
                <a:lnTo>
                  <a:pt x="51" y="78"/>
                </a:lnTo>
                <a:lnTo>
                  <a:pt x="53" y="79"/>
                </a:lnTo>
                <a:lnTo>
                  <a:pt x="55" y="81"/>
                </a:lnTo>
                <a:lnTo>
                  <a:pt x="58" y="84"/>
                </a:lnTo>
                <a:lnTo>
                  <a:pt x="59" y="88"/>
                </a:lnTo>
                <a:lnTo>
                  <a:pt x="60" y="89"/>
                </a:lnTo>
                <a:lnTo>
                  <a:pt x="61" y="87"/>
                </a:lnTo>
                <a:lnTo>
                  <a:pt x="61" y="83"/>
                </a:lnTo>
                <a:lnTo>
                  <a:pt x="62" y="83"/>
                </a:lnTo>
                <a:lnTo>
                  <a:pt x="63" y="84"/>
                </a:lnTo>
                <a:lnTo>
                  <a:pt x="66" y="85"/>
                </a:lnTo>
                <a:lnTo>
                  <a:pt x="71" y="88"/>
                </a:lnTo>
                <a:lnTo>
                  <a:pt x="71" y="89"/>
                </a:lnTo>
                <a:lnTo>
                  <a:pt x="69" y="89"/>
                </a:lnTo>
                <a:lnTo>
                  <a:pt x="66" y="91"/>
                </a:lnTo>
                <a:lnTo>
                  <a:pt x="68" y="94"/>
                </a:lnTo>
                <a:lnTo>
                  <a:pt x="70" y="95"/>
                </a:lnTo>
                <a:lnTo>
                  <a:pt x="72" y="97"/>
                </a:lnTo>
                <a:lnTo>
                  <a:pt x="71" y="99"/>
                </a:lnTo>
                <a:lnTo>
                  <a:pt x="72" y="100"/>
                </a:lnTo>
                <a:lnTo>
                  <a:pt x="73" y="100"/>
                </a:lnTo>
                <a:lnTo>
                  <a:pt x="73" y="101"/>
                </a:lnTo>
                <a:lnTo>
                  <a:pt x="75" y="101"/>
                </a:lnTo>
                <a:lnTo>
                  <a:pt x="76" y="103"/>
                </a:lnTo>
                <a:lnTo>
                  <a:pt x="78" y="109"/>
                </a:lnTo>
                <a:lnTo>
                  <a:pt x="76" y="111"/>
                </a:lnTo>
                <a:lnTo>
                  <a:pt x="74" y="109"/>
                </a:lnTo>
                <a:lnTo>
                  <a:pt x="73" y="105"/>
                </a:lnTo>
                <a:lnTo>
                  <a:pt x="74" y="104"/>
                </a:lnTo>
                <a:lnTo>
                  <a:pt x="73" y="104"/>
                </a:lnTo>
                <a:lnTo>
                  <a:pt x="70" y="104"/>
                </a:lnTo>
                <a:lnTo>
                  <a:pt x="66" y="101"/>
                </a:lnTo>
                <a:lnTo>
                  <a:pt x="64" y="101"/>
                </a:lnTo>
                <a:lnTo>
                  <a:pt x="63" y="97"/>
                </a:lnTo>
                <a:lnTo>
                  <a:pt x="61" y="94"/>
                </a:lnTo>
                <a:lnTo>
                  <a:pt x="58" y="92"/>
                </a:lnTo>
                <a:lnTo>
                  <a:pt x="55" y="91"/>
                </a:lnTo>
                <a:lnTo>
                  <a:pt x="54" y="90"/>
                </a:lnTo>
                <a:lnTo>
                  <a:pt x="52" y="87"/>
                </a:lnTo>
                <a:lnTo>
                  <a:pt x="49" y="85"/>
                </a:lnTo>
                <a:lnTo>
                  <a:pt x="50" y="90"/>
                </a:lnTo>
                <a:lnTo>
                  <a:pt x="53" y="97"/>
                </a:lnTo>
                <a:lnTo>
                  <a:pt x="53" y="98"/>
                </a:lnTo>
                <a:lnTo>
                  <a:pt x="52" y="98"/>
                </a:lnTo>
                <a:lnTo>
                  <a:pt x="50" y="94"/>
                </a:lnTo>
                <a:lnTo>
                  <a:pt x="46" y="92"/>
                </a:lnTo>
                <a:lnTo>
                  <a:pt x="42" y="88"/>
                </a:lnTo>
                <a:lnTo>
                  <a:pt x="40" y="85"/>
                </a:lnTo>
                <a:lnTo>
                  <a:pt x="38" y="85"/>
                </a:lnTo>
                <a:lnTo>
                  <a:pt x="34" y="85"/>
                </a:lnTo>
                <a:lnTo>
                  <a:pt x="33" y="89"/>
                </a:lnTo>
                <a:lnTo>
                  <a:pt x="31" y="90"/>
                </a:lnTo>
                <a:lnTo>
                  <a:pt x="29" y="91"/>
                </a:lnTo>
                <a:lnTo>
                  <a:pt x="26" y="89"/>
                </a:lnTo>
                <a:lnTo>
                  <a:pt x="24" y="89"/>
                </a:lnTo>
                <a:lnTo>
                  <a:pt x="22" y="87"/>
                </a:lnTo>
                <a:lnTo>
                  <a:pt x="21" y="88"/>
                </a:lnTo>
                <a:lnTo>
                  <a:pt x="20" y="84"/>
                </a:lnTo>
                <a:lnTo>
                  <a:pt x="19" y="81"/>
                </a:lnTo>
                <a:lnTo>
                  <a:pt x="20" y="79"/>
                </a:lnTo>
                <a:lnTo>
                  <a:pt x="21" y="77"/>
                </a:lnTo>
                <a:lnTo>
                  <a:pt x="22" y="74"/>
                </a:lnTo>
                <a:lnTo>
                  <a:pt x="22" y="72"/>
                </a:lnTo>
                <a:lnTo>
                  <a:pt x="20" y="70"/>
                </a:lnTo>
                <a:lnTo>
                  <a:pt x="18" y="70"/>
                </a:lnTo>
                <a:lnTo>
                  <a:pt x="18" y="74"/>
                </a:lnTo>
                <a:lnTo>
                  <a:pt x="16" y="77"/>
                </a:lnTo>
                <a:lnTo>
                  <a:pt x="14" y="73"/>
                </a:lnTo>
                <a:lnTo>
                  <a:pt x="12" y="70"/>
                </a:lnTo>
                <a:lnTo>
                  <a:pt x="10" y="70"/>
                </a:lnTo>
                <a:lnTo>
                  <a:pt x="8" y="64"/>
                </a:lnTo>
                <a:lnTo>
                  <a:pt x="6" y="60"/>
                </a:lnTo>
                <a:lnTo>
                  <a:pt x="2" y="49"/>
                </a:lnTo>
                <a:lnTo>
                  <a:pt x="0" y="43"/>
                </a:lnTo>
                <a:lnTo>
                  <a:pt x="0" y="42"/>
                </a:lnTo>
                <a:lnTo>
                  <a:pt x="3" y="43"/>
                </a:lnTo>
                <a:lnTo>
                  <a:pt x="5" y="47"/>
                </a:lnTo>
                <a:lnTo>
                  <a:pt x="9" y="45"/>
                </a:lnTo>
                <a:lnTo>
                  <a:pt x="8" y="36"/>
                </a:lnTo>
                <a:lnTo>
                  <a:pt x="6" y="31"/>
                </a:lnTo>
                <a:lnTo>
                  <a:pt x="8" y="27"/>
                </a:lnTo>
                <a:lnTo>
                  <a:pt x="6" y="21"/>
                </a:lnTo>
                <a:lnTo>
                  <a:pt x="5" y="17"/>
                </a:lnTo>
                <a:lnTo>
                  <a:pt x="5" y="12"/>
                </a:lnTo>
                <a:lnTo>
                  <a:pt x="5" y="6"/>
                </a:lnTo>
                <a:lnTo>
                  <a:pt x="6" y="2"/>
                </a:lnTo>
                <a:lnTo>
                  <a:pt x="8" y="0"/>
                </a:lnTo>
                <a:lnTo>
                  <a:pt x="9" y="0"/>
                </a:lnTo>
                <a:lnTo>
                  <a:pt x="12" y="0"/>
                </a:lnTo>
                <a:lnTo>
                  <a:pt x="16" y="1"/>
                </a:lnTo>
                <a:lnTo>
                  <a:pt x="23" y="6"/>
                </a:lnTo>
                <a:lnTo>
                  <a:pt x="26" y="6"/>
                </a:lnTo>
                <a:lnTo>
                  <a:pt x="29" y="4"/>
                </a:lnTo>
                <a:lnTo>
                  <a:pt x="29" y="1"/>
                </a:lnTo>
                <a:lnTo>
                  <a:pt x="31" y="1"/>
                </a:lnTo>
                <a:lnTo>
                  <a:pt x="32" y="3"/>
                </a:lnTo>
                <a:close/>
              </a:path>
            </a:pathLst>
          </a:custGeom>
          <a:solidFill>
            <a:srgbClr val="008A9B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45" name="Freeform 444"/>
          <p:cNvSpPr>
            <a:spLocks/>
          </p:cNvSpPr>
          <p:nvPr/>
        </p:nvSpPr>
        <p:spPr bwMode="auto">
          <a:xfrm>
            <a:off x="7364413" y="3041615"/>
            <a:ext cx="123825" cy="176213"/>
          </a:xfrm>
          <a:custGeom>
            <a:avLst/>
            <a:gdLst>
              <a:gd name="T0" fmla="*/ 34 w 78"/>
              <a:gd name="T1" fmla="*/ 6 h 111"/>
              <a:gd name="T2" fmla="*/ 32 w 78"/>
              <a:gd name="T3" fmla="*/ 14 h 111"/>
              <a:gd name="T4" fmla="*/ 38 w 78"/>
              <a:gd name="T5" fmla="*/ 24 h 111"/>
              <a:gd name="T6" fmla="*/ 41 w 78"/>
              <a:gd name="T7" fmla="*/ 31 h 111"/>
              <a:gd name="T8" fmla="*/ 39 w 78"/>
              <a:gd name="T9" fmla="*/ 42 h 111"/>
              <a:gd name="T10" fmla="*/ 35 w 78"/>
              <a:gd name="T11" fmla="*/ 45 h 111"/>
              <a:gd name="T12" fmla="*/ 30 w 78"/>
              <a:gd name="T13" fmla="*/ 52 h 111"/>
              <a:gd name="T14" fmla="*/ 28 w 78"/>
              <a:gd name="T15" fmla="*/ 60 h 111"/>
              <a:gd name="T16" fmla="*/ 32 w 78"/>
              <a:gd name="T17" fmla="*/ 69 h 111"/>
              <a:gd name="T18" fmla="*/ 34 w 78"/>
              <a:gd name="T19" fmla="*/ 77 h 111"/>
              <a:gd name="T20" fmla="*/ 41 w 78"/>
              <a:gd name="T21" fmla="*/ 85 h 111"/>
              <a:gd name="T22" fmla="*/ 44 w 78"/>
              <a:gd name="T23" fmla="*/ 83 h 111"/>
              <a:gd name="T24" fmla="*/ 46 w 78"/>
              <a:gd name="T25" fmla="*/ 79 h 111"/>
              <a:gd name="T26" fmla="*/ 53 w 78"/>
              <a:gd name="T27" fmla="*/ 79 h 111"/>
              <a:gd name="T28" fmla="*/ 59 w 78"/>
              <a:gd name="T29" fmla="*/ 88 h 111"/>
              <a:gd name="T30" fmla="*/ 61 w 78"/>
              <a:gd name="T31" fmla="*/ 83 h 111"/>
              <a:gd name="T32" fmla="*/ 66 w 78"/>
              <a:gd name="T33" fmla="*/ 85 h 111"/>
              <a:gd name="T34" fmla="*/ 69 w 78"/>
              <a:gd name="T35" fmla="*/ 89 h 111"/>
              <a:gd name="T36" fmla="*/ 70 w 78"/>
              <a:gd name="T37" fmla="*/ 95 h 111"/>
              <a:gd name="T38" fmla="*/ 72 w 78"/>
              <a:gd name="T39" fmla="*/ 100 h 111"/>
              <a:gd name="T40" fmla="*/ 75 w 78"/>
              <a:gd name="T41" fmla="*/ 101 h 111"/>
              <a:gd name="T42" fmla="*/ 76 w 78"/>
              <a:gd name="T43" fmla="*/ 111 h 111"/>
              <a:gd name="T44" fmla="*/ 74 w 78"/>
              <a:gd name="T45" fmla="*/ 104 h 111"/>
              <a:gd name="T46" fmla="*/ 66 w 78"/>
              <a:gd name="T47" fmla="*/ 101 h 111"/>
              <a:gd name="T48" fmla="*/ 61 w 78"/>
              <a:gd name="T49" fmla="*/ 94 h 111"/>
              <a:gd name="T50" fmla="*/ 54 w 78"/>
              <a:gd name="T51" fmla="*/ 90 h 111"/>
              <a:gd name="T52" fmla="*/ 50 w 78"/>
              <a:gd name="T53" fmla="*/ 90 h 111"/>
              <a:gd name="T54" fmla="*/ 52 w 78"/>
              <a:gd name="T55" fmla="*/ 98 h 111"/>
              <a:gd name="T56" fmla="*/ 42 w 78"/>
              <a:gd name="T57" fmla="*/ 88 h 111"/>
              <a:gd name="T58" fmla="*/ 34 w 78"/>
              <a:gd name="T59" fmla="*/ 85 h 111"/>
              <a:gd name="T60" fmla="*/ 29 w 78"/>
              <a:gd name="T61" fmla="*/ 91 h 111"/>
              <a:gd name="T62" fmla="*/ 22 w 78"/>
              <a:gd name="T63" fmla="*/ 87 h 111"/>
              <a:gd name="T64" fmla="*/ 19 w 78"/>
              <a:gd name="T65" fmla="*/ 81 h 111"/>
              <a:gd name="T66" fmla="*/ 22 w 78"/>
              <a:gd name="T67" fmla="*/ 74 h 111"/>
              <a:gd name="T68" fmla="*/ 18 w 78"/>
              <a:gd name="T69" fmla="*/ 70 h 111"/>
              <a:gd name="T70" fmla="*/ 14 w 78"/>
              <a:gd name="T71" fmla="*/ 73 h 111"/>
              <a:gd name="T72" fmla="*/ 8 w 78"/>
              <a:gd name="T73" fmla="*/ 64 h 111"/>
              <a:gd name="T74" fmla="*/ 0 w 78"/>
              <a:gd name="T75" fmla="*/ 43 h 111"/>
              <a:gd name="T76" fmla="*/ 5 w 78"/>
              <a:gd name="T77" fmla="*/ 47 h 111"/>
              <a:gd name="T78" fmla="*/ 6 w 78"/>
              <a:gd name="T79" fmla="*/ 31 h 111"/>
              <a:gd name="T80" fmla="*/ 5 w 78"/>
              <a:gd name="T81" fmla="*/ 17 h 111"/>
              <a:gd name="T82" fmla="*/ 6 w 78"/>
              <a:gd name="T83" fmla="*/ 2 h 111"/>
              <a:gd name="T84" fmla="*/ 12 w 78"/>
              <a:gd name="T85" fmla="*/ 0 h 111"/>
              <a:gd name="T86" fmla="*/ 26 w 78"/>
              <a:gd name="T87" fmla="*/ 6 h 111"/>
              <a:gd name="T88" fmla="*/ 31 w 78"/>
              <a:gd name="T89" fmla="*/ 1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78" h="111">
                <a:moveTo>
                  <a:pt x="32" y="3"/>
                </a:moveTo>
                <a:lnTo>
                  <a:pt x="33" y="4"/>
                </a:lnTo>
                <a:lnTo>
                  <a:pt x="34" y="6"/>
                </a:lnTo>
                <a:lnTo>
                  <a:pt x="33" y="7"/>
                </a:lnTo>
                <a:lnTo>
                  <a:pt x="32" y="11"/>
                </a:lnTo>
                <a:lnTo>
                  <a:pt x="32" y="14"/>
                </a:lnTo>
                <a:lnTo>
                  <a:pt x="34" y="21"/>
                </a:lnTo>
                <a:lnTo>
                  <a:pt x="35" y="23"/>
                </a:lnTo>
                <a:lnTo>
                  <a:pt x="38" y="24"/>
                </a:lnTo>
                <a:lnTo>
                  <a:pt x="39" y="26"/>
                </a:lnTo>
                <a:lnTo>
                  <a:pt x="40" y="28"/>
                </a:lnTo>
                <a:lnTo>
                  <a:pt x="41" y="31"/>
                </a:lnTo>
                <a:lnTo>
                  <a:pt x="40" y="34"/>
                </a:lnTo>
                <a:lnTo>
                  <a:pt x="39" y="39"/>
                </a:lnTo>
                <a:lnTo>
                  <a:pt x="39" y="42"/>
                </a:lnTo>
                <a:lnTo>
                  <a:pt x="38" y="45"/>
                </a:lnTo>
                <a:lnTo>
                  <a:pt x="36" y="47"/>
                </a:lnTo>
                <a:lnTo>
                  <a:pt x="35" y="45"/>
                </a:lnTo>
                <a:lnTo>
                  <a:pt x="33" y="48"/>
                </a:lnTo>
                <a:lnTo>
                  <a:pt x="31" y="50"/>
                </a:lnTo>
                <a:lnTo>
                  <a:pt x="30" y="52"/>
                </a:lnTo>
                <a:lnTo>
                  <a:pt x="31" y="55"/>
                </a:lnTo>
                <a:lnTo>
                  <a:pt x="30" y="59"/>
                </a:lnTo>
                <a:lnTo>
                  <a:pt x="28" y="60"/>
                </a:lnTo>
                <a:lnTo>
                  <a:pt x="29" y="63"/>
                </a:lnTo>
                <a:lnTo>
                  <a:pt x="31" y="67"/>
                </a:lnTo>
                <a:lnTo>
                  <a:pt x="32" y="69"/>
                </a:lnTo>
                <a:lnTo>
                  <a:pt x="34" y="71"/>
                </a:lnTo>
                <a:lnTo>
                  <a:pt x="33" y="72"/>
                </a:lnTo>
                <a:lnTo>
                  <a:pt x="34" y="77"/>
                </a:lnTo>
                <a:lnTo>
                  <a:pt x="35" y="79"/>
                </a:lnTo>
                <a:lnTo>
                  <a:pt x="36" y="81"/>
                </a:lnTo>
                <a:lnTo>
                  <a:pt x="41" y="85"/>
                </a:lnTo>
                <a:lnTo>
                  <a:pt x="42" y="85"/>
                </a:lnTo>
                <a:lnTo>
                  <a:pt x="44" y="84"/>
                </a:lnTo>
                <a:lnTo>
                  <a:pt x="44" y="83"/>
                </a:lnTo>
                <a:lnTo>
                  <a:pt x="44" y="80"/>
                </a:lnTo>
                <a:lnTo>
                  <a:pt x="45" y="81"/>
                </a:lnTo>
                <a:lnTo>
                  <a:pt x="46" y="79"/>
                </a:lnTo>
                <a:lnTo>
                  <a:pt x="50" y="79"/>
                </a:lnTo>
                <a:lnTo>
                  <a:pt x="51" y="78"/>
                </a:lnTo>
                <a:lnTo>
                  <a:pt x="53" y="79"/>
                </a:lnTo>
                <a:lnTo>
                  <a:pt x="55" y="81"/>
                </a:lnTo>
                <a:lnTo>
                  <a:pt x="58" y="84"/>
                </a:lnTo>
                <a:lnTo>
                  <a:pt x="59" y="88"/>
                </a:lnTo>
                <a:lnTo>
                  <a:pt x="60" y="89"/>
                </a:lnTo>
                <a:lnTo>
                  <a:pt x="61" y="87"/>
                </a:lnTo>
                <a:lnTo>
                  <a:pt x="61" y="83"/>
                </a:lnTo>
                <a:lnTo>
                  <a:pt x="62" y="83"/>
                </a:lnTo>
                <a:lnTo>
                  <a:pt x="63" y="84"/>
                </a:lnTo>
                <a:lnTo>
                  <a:pt x="66" y="85"/>
                </a:lnTo>
                <a:lnTo>
                  <a:pt x="71" y="88"/>
                </a:lnTo>
                <a:lnTo>
                  <a:pt x="71" y="89"/>
                </a:lnTo>
                <a:lnTo>
                  <a:pt x="69" y="89"/>
                </a:lnTo>
                <a:lnTo>
                  <a:pt x="66" y="91"/>
                </a:lnTo>
                <a:lnTo>
                  <a:pt x="68" y="94"/>
                </a:lnTo>
                <a:lnTo>
                  <a:pt x="70" y="95"/>
                </a:lnTo>
                <a:lnTo>
                  <a:pt x="72" y="97"/>
                </a:lnTo>
                <a:lnTo>
                  <a:pt x="71" y="99"/>
                </a:lnTo>
                <a:lnTo>
                  <a:pt x="72" y="100"/>
                </a:lnTo>
                <a:lnTo>
                  <a:pt x="73" y="100"/>
                </a:lnTo>
                <a:lnTo>
                  <a:pt x="73" y="101"/>
                </a:lnTo>
                <a:lnTo>
                  <a:pt x="75" y="101"/>
                </a:lnTo>
                <a:lnTo>
                  <a:pt x="76" y="103"/>
                </a:lnTo>
                <a:lnTo>
                  <a:pt x="78" y="109"/>
                </a:lnTo>
                <a:lnTo>
                  <a:pt x="76" y="111"/>
                </a:lnTo>
                <a:lnTo>
                  <a:pt x="74" y="109"/>
                </a:lnTo>
                <a:lnTo>
                  <a:pt x="73" y="105"/>
                </a:lnTo>
                <a:lnTo>
                  <a:pt x="74" y="104"/>
                </a:lnTo>
                <a:lnTo>
                  <a:pt x="73" y="104"/>
                </a:lnTo>
                <a:lnTo>
                  <a:pt x="70" y="104"/>
                </a:lnTo>
                <a:lnTo>
                  <a:pt x="66" y="101"/>
                </a:lnTo>
                <a:lnTo>
                  <a:pt x="64" y="101"/>
                </a:lnTo>
                <a:lnTo>
                  <a:pt x="63" y="97"/>
                </a:lnTo>
                <a:lnTo>
                  <a:pt x="61" y="94"/>
                </a:lnTo>
                <a:lnTo>
                  <a:pt x="58" y="92"/>
                </a:lnTo>
                <a:lnTo>
                  <a:pt x="55" y="91"/>
                </a:lnTo>
                <a:lnTo>
                  <a:pt x="54" y="90"/>
                </a:lnTo>
                <a:lnTo>
                  <a:pt x="52" y="87"/>
                </a:lnTo>
                <a:lnTo>
                  <a:pt x="49" y="85"/>
                </a:lnTo>
                <a:lnTo>
                  <a:pt x="50" y="90"/>
                </a:lnTo>
                <a:lnTo>
                  <a:pt x="53" y="97"/>
                </a:lnTo>
                <a:lnTo>
                  <a:pt x="53" y="98"/>
                </a:lnTo>
                <a:lnTo>
                  <a:pt x="52" y="98"/>
                </a:lnTo>
                <a:lnTo>
                  <a:pt x="50" y="94"/>
                </a:lnTo>
                <a:lnTo>
                  <a:pt x="46" y="92"/>
                </a:lnTo>
                <a:lnTo>
                  <a:pt x="42" y="88"/>
                </a:lnTo>
                <a:lnTo>
                  <a:pt x="40" y="85"/>
                </a:lnTo>
                <a:lnTo>
                  <a:pt x="38" y="85"/>
                </a:lnTo>
                <a:lnTo>
                  <a:pt x="34" y="85"/>
                </a:lnTo>
                <a:lnTo>
                  <a:pt x="33" y="89"/>
                </a:lnTo>
                <a:lnTo>
                  <a:pt x="31" y="90"/>
                </a:lnTo>
                <a:lnTo>
                  <a:pt x="29" y="91"/>
                </a:lnTo>
                <a:lnTo>
                  <a:pt x="26" y="89"/>
                </a:lnTo>
                <a:lnTo>
                  <a:pt x="24" y="89"/>
                </a:lnTo>
                <a:lnTo>
                  <a:pt x="22" y="87"/>
                </a:lnTo>
                <a:lnTo>
                  <a:pt x="21" y="88"/>
                </a:lnTo>
                <a:lnTo>
                  <a:pt x="20" y="84"/>
                </a:lnTo>
                <a:lnTo>
                  <a:pt x="19" y="81"/>
                </a:lnTo>
                <a:lnTo>
                  <a:pt x="20" y="79"/>
                </a:lnTo>
                <a:lnTo>
                  <a:pt x="21" y="77"/>
                </a:lnTo>
                <a:lnTo>
                  <a:pt x="22" y="74"/>
                </a:lnTo>
                <a:lnTo>
                  <a:pt x="22" y="72"/>
                </a:lnTo>
                <a:lnTo>
                  <a:pt x="20" y="70"/>
                </a:lnTo>
                <a:lnTo>
                  <a:pt x="18" y="70"/>
                </a:lnTo>
                <a:lnTo>
                  <a:pt x="18" y="74"/>
                </a:lnTo>
                <a:lnTo>
                  <a:pt x="16" y="77"/>
                </a:lnTo>
                <a:lnTo>
                  <a:pt x="14" y="73"/>
                </a:lnTo>
                <a:lnTo>
                  <a:pt x="12" y="70"/>
                </a:lnTo>
                <a:lnTo>
                  <a:pt x="10" y="70"/>
                </a:lnTo>
                <a:lnTo>
                  <a:pt x="8" y="64"/>
                </a:lnTo>
                <a:lnTo>
                  <a:pt x="6" y="60"/>
                </a:lnTo>
                <a:lnTo>
                  <a:pt x="2" y="49"/>
                </a:lnTo>
                <a:lnTo>
                  <a:pt x="0" y="43"/>
                </a:lnTo>
                <a:lnTo>
                  <a:pt x="0" y="42"/>
                </a:lnTo>
                <a:lnTo>
                  <a:pt x="3" y="43"/>
                </a:lnTo>
                <a:lnTo>
                  <a:pt x="5" y="47"/>
                </a:lnTo>
                <a:lnTo>
                  <a:pt x="9" y="45"/>
                </a:lnTo>
                <a:lnTo>
                  <a:pt x="8" y="36"/>
                </a:lnTo>
                <a:lnTo>
                  <a:pt x="6" y="31"/>
                </a:lnTo>
                <a:lnTo>
                  <a:pt x="8" y="27"/>
                </a:lnTo>
                <a:lnTo>
                  <a:pt x="6" y="21"/>
                </a:lnTo>
                <a:lnTo>
                  <a:pt x="5" y="17"/>
                </a:lnTo>
                <a:lnTo>
                  <a:pt x="5" y="12"/>
                </a:lnTo>
                <a:lnTo>
                  <a:pt x="5" y="6"/>
                </a:lnTo>
                <a:lnTo>
                  <a:pt x="6" y="2"/>
                </a:lnTo>
                <a:lnTo>
                  <a:pt x="8" y="0"/>
                </a:lnTo>
                <a:lnTo>
                  <a:pt x="9" y="0"/>
                </a:lnTo>
                <a:lnTo>
                  <a:pt x="12" y="0"/>
                </a:lnTo>
                <a:lnTo>
                  <a:pt x="16" y="1"/>
                </a:lnTo>
                <a:lnTo>
                  <a:pt x="23" y="6"/>
                </a:lnTo>
                <a:lnTo>
                  <a:pt x="26" y="6"/>
                </a:lnTo>
                <a:lnTo>
                  <a:pt x="29" y="4"/>
                </a:lnTo>
                <a:lnTo>
                  <a:pt x="29" y="1"/>
                </a:lnTo>
                <a:lnTo>
                  <a:pt x="31" y="1"/>
                </a:lnTo>
                <a:lnTo>
                  <a:pt x="32" y="3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46" name="Freeform 445"/>
          <p:cNvSpPr>
            <a:spLocks/>
          </p:cNvSpPr>
          <p:nvPr/>
        </p:nvSpPr>
        <p:spPr bwMode="auto">
          <a:xfrm>
            <a:off x="7421563" y="3143215"/>
            <a:ext cx="6350" cy="11113"/>
          </a:xfrm>
          <a:custGeom>
            <a:avLst/>
            <a:gdLst>
              <a:gd name="T0" fmla="*/ 0 w 4"/>
              <a:gd name="T1" fmla="*/ 1 h 7"/>
              <a:gd name="T2" fmla="*/ 0 w 4"/>
              <a:gd name="T3" fmla="*/ 0 h 7"/>
              <a:gd name="T4" fmla="*/ 2 w 4"/>
              <a:gd name="T5" fmla="*/ 0 h 7"/>
              <a:gd name="T6" fmla="*/ 4 w 4"/>
              <a:gd name="T7" fmla="*/ 7 h 7"/>
              <a:gd name="T8" fmla="*/ 2 w 4"/>
              <a:gd name="T9" fmla="*/ 7 h 7"/>
              <a:gd name="T10" fmla="*/ 0 w 4"/>
              <a:gd name="T11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7">
                <a:moveTo>
                  <a:pt x="0" y="1"/>
                </a:moveTo>
                <a:lnTo>
                  <a:pt x="0" y="0"/>
                </a:lnTo>
                <a:lnTo>
                  <a:pt x="2" y="0"/>
                </a:lnTo>
                <a:lnTo>
                  <a:pt x="4" y="7"/>
                </a:lnTo>
                <a:lnTo>
                  <a:pt x="2" y="7"/>
                </a:lnTo>
                <a:lnTo>
                  <a:pt x="0" y="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47" name="Freeform 446"/>
          <p:cNvSpPr>
            <a:spLocks/>
          </p:cNvSpPr>
          <p:nvPr/>
        </p:nvSpPr>
        <p:spPr bwMode="auto">
          <a:xfrm>
            <a:off x="7421563" y="3143215"/>
            <a:ext cx="6350" cy="11113"/>
          </a:xfrm>
          <a:custGeom>
            <a:avLst/>
            <a:gdLst>
              <a:gd name="T0" fmla="*/ 0 w 4"/>
              <a:gd name="T1" fmla="*/ 1 h 7"/>
              <a:gd name="T2" fmla="*/ 0 w 4"/>
              <a:gd name="T3" fmla="*/ 0 h 7"/>
              <a:gd name="T4" fmla="*/ 2 w 4"/>
              <a:gd name="T5" fmla="*/ 0 h 7"/>
              <a:gd name="T6" fmla="*/ 4 w 4"/>
              <a:gd name="T7" fmla="*/ 7 h 7"/>
              <a:gd name="T8" fmla="*/ 2 w 4"/>
              <a:gd name="T9" fmla="*/ 7 h 7"/>
              <a:gd name="T10" fmla="*/ 0 w 4"/>
              <a:gd name="T11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7">
                <a:moveTo>
                  <a:pt x="0" y="1"/>
                </a:moveTo>
                <a:lnTo>
                  <a:pt x="0" y="0"/>
                </a:lnTo>
                <a:lnTo>
                  <a:pt x="2" y="0"/>
                </a:lnTo>
                <a:lnTo>
                  <a:pt x="4" y="7"/>
                </a:lnTo>
                <a:lnTo>
                  <a:pt x="2" y="7"/>
                </a:lnTo>
                <a:lnTo>
                  <a:pt x="0" y="1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48" name="Freeform 447"/>
          <p:cNvSpPr>
            <a:spLocks/>
          </p:cNvSpPr>
          <p:nvPr/>
        </p:nvSpPr>
        <p:spPr bwMode="auto">
          <a:xfrm>
            <a:off x="7426325" y="3187665"/>
            <a:ext cx="7937" cy="9525"/>
          </a:xfrm>
          <a:custGeom>
            <a:avLst/>
            <a:gdLst>
              <a:gd name="T0" fmla="*/ 1 w 5"/>
              <a:gd name="T1" fmla="*/ 3 h 6"/>
              <a:gd name="T2" fmla="*/ 1 w 5"/>
              <a:gd name="T3" fmla="*/ 3 h 6"/>
              <a:gd name="T4" fmla="*/ 0 w 5"/>
              <a:gd name="T5" fmla="*/ 0 h 6"/>
              <a:gd name="T6" fmla="*/ 3 w 5"/>
              <a:gd name="T7" fmla="*/ 0 h 6"/>
              <a:gd name="T8" fmla="*/ 4 w 5"/>
              <a:gd name="T9" fmla="*/ 1 h 6"/>
              <a:gd name="T10" fmla="*/ 5 w 5"/>
              <a:gd name="T11" fmla="*/ 3 h 6"/>
              <a:gd name="T12" fmla="*/ 5 w 5"/>
              <a:gd name="T13" fmla="*/ 6 h 6"/>
              <a:gd name="T14" fmla="*/ 3 w 5"/>
              <a:gd name="T15" fmla="*/ 6 h 6"/>
              <a:gd name="T16" fmla="*/ 1 w 5"/>
              <a:gd name="T17" fmla="*/ 3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" h="6">
                <a:moveTo>
                  <a:pt x="1" y="3"/>
                </a:moveTo>
                <a:lnTo>
                  <a:pt x="1" y="3"/>
                </a:lnTo>
                <a:lnTo>
                  <a:pt x="0" y="0"/>
                </a:lnTo>
                <a:lnTo>
                  <a:pt x="3" y="0"/>
                </a:lnTo>
                <a:lnTo>
                  <a:pt x="4" y="1"/>
                </a:lnTo>
                <a:lnTo>
                  <a:pt x="5" y="3"/>
                </a:lnTo>
                <a:lnTo>
                  <a:pt x="5" y="6"/>
                </a:lnTo>
                <a:lnTo>
                  <a:pt x="3" y="6"/>
                </a:lnTo>
                <a:lnTo>
                  <a:pt x="1" y="3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49" name="Freeform 448"/>
          <p:cNvSpPr>
            <a:spLocks/>
          </p:cNvSpPr>
          <p:nvPr/>
        </p:nvSpPr>
        <p:spPr bwMode="auto">
          <a:xfrm>
            <a:off x="7426325" y="3187665"/>
            <a:ext cx="7937" cy="9525"/>
          </a:xfrm>
          <a:custGeom>
            <a:avLst/>
            <a:gdLst>
              <a:gd name="T0" fmla="*/ 1 w 5"/>
              <a:gd name="T1" fmla="*/ 3 h 6"/>
              <a:gd name="T2" fmla="*/ 1 w 5"/>
              <a:gd name="T3" fmla="*/ 3 h 6"/>
              <a:gd name="T4" fmla="*/ 0 w 5"/>
              <a:gd name="T5" fmla="*/ 0 h 6"/>
              <a:gd name="T6" fmla="*/ 3 w 5"/>
              <a:gd name="T7" fmla="*/ 0 h 6"/>
              <a:gd name="T8" fmla="*/ 4 w 5"/>
              <a:gd name="T9" fmla="*/ 1 h 6"/>
              <a:gd name="T10" fmla="*/ 5 w 5"/>
              <a:gd name="T11" fmla="*/ 3 h 6"/>
              <a:gd name="T12" fmla="*/ 5 w 5"/>
              <a:gd name="T13" fmla="*/ 6 h 6"/>
              <a:gd name="T14" fmla="*/ 3 w 5"/>
              <a:gd name="T15" fmla="*/ 6 h 6"/>
              <a:gd name="T16" fmla="*/ 1 w 5"/>
              <a:gd name="T17" fmla="*/ 3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" h="6">
                <a:moveTo>
                  <a:pt x="1" y="3"/>
                </a:moveTo>
                <a:lnTo>
                  <a:pt x="1" y="3"/>
                </a:lnTo>
                <a:lnTo>
                  <a:pt x="0" y="0"/>
                </a:lnTo>
                <a:lnTo>
                  <a:pt x="3" y="0"/>
                </a:lnTo>
                <a:lnTo>
                  <a:pt x="4" y="1"/>
                </a:lnTo>
                <a:lnTo>
                  <a:pt x="5" y="3"/>
                </a:lnTo>
                <a:lnTo>
                  <a:pt x="5" y="6"/>
                </a:lnTo>
                <a:lnTo>
                  <a:pt x="3" y="6"/>
                </a:lnTo>
                <a:lnTo>
                  <a:pt x="1" y="3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50" name="Freeform 449"/>
          <p:cNvSpPr>
            <a:spLocks/>
          </p:cNvSpPr>
          <p:nvPr/>
        </p:nvSpPr>
        <p:spPr bwMode="auto">
          <a:xfrm>
            <a:off x="7434263" y="3214653"/>
            <a:ext cx="1587" cy="14288"/>
          </a:xfrm>
          <a:custGeom>
            <a:avLst/>
            <a:gdLst>
              <a:gd name="T0" fmla="*/ 0 w 1"/>
              <a:gd name="T1" fmla="*/ 3 h 9"/>
              <a:gd name="T2" fmla="*/ 0 w 1"/>
              <a:gd name="T3" fmla="*/ 0 h 9"/>
              <a:gd name="T4" fmla="*/ 1 w 1"/>
              <a:gd name="T5" fmla="*/ 0 h 9"/>
              <a:gd name="T6" fmla="*/ 1 w 1"/>
              <a:gd name="T7" fmla="*/ 8 h 9"/>
              <a:gd name="T8" fmla="*/ 1 w 1"/>
              <a:gd name="T9" fmla="*/ 9 h 9"/>
              <a:gd name="T10" fmla="*/ 0 w 1"/>
              <a:gd name="T11" fmla="*/ 6 h 9"/>
              <a:gd name="T12" fmla="*/ 0 w 1"/>
              <a:gd name="T13" fmla="*/ 3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9">
                <a:moveTo>
                  <a:pt x="0" y="3"/>
                </a:moveTo>
                <a:lnTo>
                  <a:pt x="0" y="0"/>
                </a:lnTo>
                <a:lnTo>
                  <a:pt x="1" y="0"/>
                </a:lnTo>
                <a:lnTo>
                  <a:pt x="1" y="8"/>
                </a:lnTo>
                <a:lnTo>
                  <a:pt x="1" y="9"/>
                </a:lnTo>
                <a:lnTo>
                  <a:pt x="0" y="6"/>
                </a:lnTo>
                <a:lnTo>
                  <a:pt x="0" y="3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51" name="Freeform 450"/>
          <p:cNvSpPr>
            <a:spLocks/>
          </p:cNvSpPr>
          <p:nvPr/>
        </p:nvSpPr>
        <p:spPr bwMode="auto">
          <a:xfrm>
            <a:off x="7434263" y="3214653"/>
            <a:ext cx="1587" cy="14288"/>
          </a:xfrm>
          <a:custGeom>
            <a:avLst/>
            <a:gdLst>
              <a:gd name="T0" fmla="*/ 0 w 1"/>
              <a:gd name="T1" fmla="*/ 3 h 9"/>
              <a:gd name="T2" fmla="*/ 0 w 1"/>
              <a:gd name="T3" fmla="*/ 0 h 9"/>
              <a:gd name="T4" fmla="*/ 1 w 1"/>
              <a:gd name="T5" fmla="*/ 0 h 9"/>
              <a:gd name="T6" fmla="*/ 1 w 1"/>
              <a:gd name="T7" fmla="*/ 8 h 9"/>
              <a:gd name="T8" fmla="*/ 1 w 1"/>
              <a:gd name="T9" fmla="*/ 9 h 9"/>
              <a:gd name="T10" fmla="*/ 0 w 1"/>
              <a:gd name="T11" fmla="*/ 6 h 9"/>
              <a:gd name="T12" fmla="*/ 0 w 1"/>
              <a:gd name="T13" fmla="*/ 3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9">
                <a:moveTo>
                  <a:pt x="0" y="3"/>
                </a:moveTo>
                <a:lnTo>
                  <a:pt x="0" y="0"/>
                </a:lnTo>
                <a:lnTo>
                  <a:pt x="1" y="0"/>
                </a:lnTo>
                <a:lnTo>
                  <a:pt x="1" y="8"/>
                </a:lnTo>
                <a:lnTo>
                  <a:pt x="1" y="9"/>
                </a:lnTo>
                <a:lnTo>
                  <a:pt x="0" y="6"/>
                </a:lnTo>
                <a:lnTo>
                  <a:pt x="0" y="3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52" name="Freeform 451"/>
          <p:cNvSpPr>
            <a:spLocks/>
          </p:cNvSpPr>
          <p:nvPr/>
        </p:nvSpPr>
        <p:spPr bwMode="auto">
          <a:xfrm>
            <a:off x="7445375" y="3217828"/>
            <a:ext cx="6350" cy="4763"/>
          </a:xfrm>
          <a:custGeom>
            <a:avLst/>
            <a:gdLst>
              <a:gd name="T0" fmla="*/ 0 w 4"/>
              <a:gd name="T1" fmla="*/ 1 h 3"/>
              <a:gd name="T2" fmla="*/ 0 w 4"/>
              <a:gd name="T3" fmla="*/ 0 h 3"/>
              <a:gd name="T4" fmla="*/ 2 w 4"/>
              <a:gd name="T5" fmla="*/ 0 h 3"/>
              <a:gd name="T6" fmla="*/ 3 w 4"/>
              <a:gd name="T7" fmla="*/ 1 h 3"/>
              <a:gd name="T8" fmla="*/ 4 w 4"/>
              <a:gd name="T9" fmla="*/ 2 h 3"/>
              <a:gd name="T10" fmla="*/ 4 w 4"/>
              <a:gd name="T11" fmla="*/ 3 h 3"/>
              <a:gd name="T12" fmla="*/ 1 w 4"/>
              <a:gd name="T13" fmla="*/ 2 h 3"/>
              <a:gd name="T14" fmla="*/ 0 w 4"/>
              <a:gd name="T15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3">
                <a:moveTo>
                  <a:pt x="0" y="1"/>
                </a:moveTo>
                <a:lnTo>
                  <a:pt x="0" y="0"/>
                </a:lnTo>
                <a:lnTo>
                  <a:pt x="2" y="0"/>
                </a:lnTo>
                <a:lnTo>
                  <a:pt x="3" y="1"/>
                </a:lnTo>
                <a:lnTo>
                  <a:pt x="4" y="2"/>
                </a:lnTo>
                <a:lnTo>
                  <a:pt x="4" y="3"/>
                </a:lnTo>
                <a:lnTo>
                  <a:pt x="1" y="2"/>
                </a:lnTo>
                <a:lnTo>
                  <a:pt x="0" y="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53" name="Freeform 452"/>
          <p:cNvSpPr>
            <a:spLocks/>
          </p:cNvSpPr>
          <p:nvPr/>
        </p:nvSpPr>
        <p:spPr bwMode="auto">
          <a:xfrm>
            <a:off x="7445375" y="3217828"/>
            <a:ext cx="6350" cy="4763"/>
          </a:xfrm>
          <a:custGeom>
            <a:avLst/>
            <a:gdLst>
              <a:gd name="T0" fmla="*/ 0 w 4"/>
              <a:gd name="T1" fmla="*/ 1 h 3"/>
              <a:gd name="T2" fmla="*/ 0 w 4"/>
              <a:gd name="T3" fmla="*/ 0 h 3"/>
              <a:gd name="T4" fmla="*/ 2 w 4"/>
              <a:gd name="T5" fmla="*/ 0 h 3"/>
              <a:gd name="T6" fmla="*/ 3 w 4"/>
              <a:gd name="T7" fmla="*/ 1 h 3"/>
              <a:gd name="T8" fmla="*/ 4 w 4"/>
              <a:gd name="T9" fmla="*/ 2 h 3"/>
              <a:gd name="T10" fmla="*/ 4 w 4"/>
              <a:gd name="T11" fmla="*/ 3 h 3"/>
              <a:gd name="T12" fmla="*/ 1 w 4"/>
              <a:gd name="T13" fmla="*/ 2 h 3"/>
              <a:gd name="T14" fmla="*/ 0 w 4"/>
              <a:gd name="T15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3">
                <a:moveTo>
                  <a:pt x="0" y="1"/>
                </a:moveTo>
                <a:lnTo>
                  <a:pt x="0" y="0"/>
                </a:lnTo>
                <a:lnTo>
                  <a:pt x="2" y="0"/>
                </a:lnTo>
                <a:lnTo>
                  <a:pt x="3" y="1"/>
                </a:lnTo>
                <a:lnTo>
                  <a:pt x="4" y="2"/>
                </a:lnTo>
                <a:lnTo>
                  <a:pt x="4" y="3"/>
                </a:lnTo>
                <a:lnTo>
                  <a:pt x="1" y="2"/>
                </a:lnTo>
                <a:lnTo>
                  <a:pt x="0" y="1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54" name="Freeform 453"/>
          <p:cNvSpPr>
            <a:spLocks/>
          </p:cNvSpPr>
          <p:nvPr/>
        </p:nvSpPr>
        <p:spPr bwMode="auto">
          <a:xfrm>
            <a:off x="7458075" y="3198778"/>
            <a:ext cx="9525" cy="12700"/>
          </a:xfrm>
          <a:custGeom>
            <a:avLst/>
            <a:gdLst>
              <a:gd name="T0" fmla="*/ 0 w 6"/>
              <a:gd name="T1" fmla="*/ 1 h 8"/>
              <a:gd name="T2" fmla="*/ 0 w 6"/>
              <a:gd name="T3" fmla="*/ 0 h 8"/>
              <a:gd name="T4" fmla="*/ 1 w 6"/>
              <a:gd name="T5" fmla="*/ 2 h 8"/>
              <a:gd name="T6" fmla="*/ 3 w 6"/>
              <a:gd name="T7" fmla="*/ 4 h 8"/>
              <a:gd name="T8" fmla="*/ 4 w 6"/>
              <a:gd name="T9" fmla="*/ 4 h 8"/>
              <a:gd name="T10" fmla="*/ 5 w 6"/>
              <a:gd name="T11" fmla="*/ 6 h 8"/>
              <a:gd name="T12" fmla="*/ 6 w 6"/>
              <a:gd name="T13" fmla="*/ 8 h 8"/>
              <a:gd name="T14" fmla="*/ 5 w 6"/>
              <a:gd name="T15" fmla="*/ 6 h 8"/>
              <a:gd name="T16" fmla="*/ 4 w 6"/>
              <a:gd name="T17" fmla="*/ 6 h 8"/>
              <a:gd name="T18" fmla="*/ 0 w 6"/>
              <a:gd name="T19" fmla="*/ 2 h 8"/>
              <a:gd name="T20" fmla="*/ 0 w 6"/>
              <a:gd name="T21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" h="8">
                <a:moveTo>
                  <a:pt x="0" y="1"/>
                </a:moveTo>
                <a:lnTo>
                  <a:pt x="0" y="0"/>
                </a:lnTo>
                <a:lnTo>
                  <a:pt x="1" y="2"/>
                </a:lnTo>
                <a:lnTo>
                  <a:pt x="3" y="4"/>
                </a:lnTo>
                <a:lnTo>
                  <a:pt x="4" y="4"/>
                </a:lnTo>
                <a:lnTo>
                  <a:pt x="5" y="6"/>
                </a:lnTo>
                <a:lnTo>
                  <a:pt x="6" y="8"/>
                </a:lnTo>
                <a:lnTo>
                  <a:pt x="5" y="6"/>
                </a:lnTo>
                <a:lnTo>
                  <a:pt x="4" y="6"/>
                </a:lnTo>
                <a:lnTo>
                  <a:pt x="0" y="2"/>
                </a:lnTo>
                <a:lnTo>
                  <a:pt x="0" y="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55" name="Freeform 454"/>
          <p:cNvSpPr>
            <a:spLocks/>
          </p:cNvSpPr>
          <p:nvPr/>
        </p:nvSpPr>
        <p:spPr bwMode="auto">
          <a:xfrm>
            <a:off x="7458075" y="3198778"/>
            <a:ext cx="9525" cy="12700"/>
          </a:xfrm>
          <a:custGeom>
            <a:avLst/>
            <a:gdLst>
              <a:gd name="T0" fmla="*/ 0 w 6"/>
              <a:gd name="T1" fmla="*/ 1 h 8"/>
              <a:gd name="T2" fmla="*/ 0 w 6"/>
              <a:gd name="T3" fmla="*/ 0 h 8"/>
              <a:gd name="T4" fmla="*/ 1 w 6"/>
              <a:gd name="T5" fmla="*/ 2 h 8"/>
              <a:gd name="T6" fmla="*/ 3 w 6"/>
              <a:gd name="T7" fmla="*/ 4 h 8"/>
              <a:gd name="T8" fmla="*/ 4 w 6"/>
              <a:gd name="T9" fmla="*/ 4 h 8"/>
              <a:gd name="T10" fmla="*/ 5 w 6"/>
              <a:gd name="T11" fmla="*/ 6 h 8"/>
              <a:gd name="T12" fmla="*/ 6 w 6"/>
              <a:gd name="T13" fmla="*/ 8 h 8"/>
              <a:gd name="T14" fmla="*/ 5 w 6"/>
              <a:gd name="T15" fmla="*/ 6 h 8"/>
              <a:gd name="T16" fmla="*/ 4 w 6"/>
              <a:gd name="T17" fmla="*/ 6 h 8"/>
              <a:gd name="T18" fmla="*/ 0 w 6"/>
              <a:gd name="T19" fmla="*/ 2 h 8"/>
              <a:gd name="T20" fmla="*/ 0 w 6"/>
              <a:gd name="T21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" h="8">
                <a:moveTo>
                  <a:pt x="0" y="1"/>
                </a:moveTo>
                <a:lnTo>
                  <a:pt x="0" y="0"/>
                </a:lnTo>
                <a:lnTo>
                  <a:pt x="1" y="2"/>
                </a:lnTo>
                <a:lnTo>
                  <a:pt x="3" y="4"/>
                </a:lnTo>
                <a:lnTo>
                  <a:pt x="4" y="4"/>
                </a:lnTo>
                <a:lnTo>
                  <a:pt x="5" y="6"/>
                </a:lnTo>
                <a:lnTo>
                  <a:pt x="6" y="8"/>
                </a:lnTo>
                <a:lnTo>
                  <a:pt x="5" y="6"/>
                </a:lnTo>
                <a:lnTo>
                  <a:pt x="4" y="6"/>
                </a:lnTo>
                <a:lnTo>
                  <a:pt x="0" y="2"/>
                </a:lnTo>
                <a:lnTo>
                  <a:pt x="0" y="1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56" name="Freeform 455"/>
          <p:cNvSpPr>
            <a:spLocks/>
          </p:cNvSpPr>
          <p:nvPr/>
        </p:nvSpPr>
        <p:spPr bwMode="auto">
          <a:xfrm>
            <a:off x="7475538" y="3213065"/>
            <a:ext cx="3175" cy="6350"/>
          </a:xfrm>
          <a:custGeom>
            <a:avLst/>
            <a:gdLst>
              <a:gd name="T0" fmla="*/ 0 w 2"/>
              <a:gd name="T1" fmla="*/ 1 h 4"/>
              <a:gd name="T2" fmla="*/ 1 w 2"/>
              <a:gd name="T3" fmla="*/ 0 h 4"/>
              <a:gd name="T4" fmla="*/ 2 w 2"/>
              <a:gd name="T5" fmla="*/ 3 h 4"/>
              <a:gd name="T6" fmla="*/ 2 w 2"/>
              <a:gd name="T7" fmla="*/ 4 h 4"/>
              <a:gd name="T8" fmla="*/ 2 w 2"/>
              <a:gd name="T9" fmla="*/ 4 h 4"/>
              <a:gd name="T10" fmla="*/ 0 w 2"/>
              <a:gd name="T11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4">
                <a:moveTo>
                  <a:pt x="0" y="1"/>
                </a:moveTo>
                <a:lnTo>
                  <a:pt x="1" y="0"/>
                </a:lnTo>
                <a:lnTo>
                  <a:pt x="2" y="3"/>
                </a:lnTo>
                <a:lnTo>
                  <a:pt x="2" y="4"/>
                </a:lnTo>
                <a:lnTo>
                  <a:pt x="2" y="4"/>
                </a:lnTo>
                <a:lnTo>
                  <a:pt x="0" y="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57" name="Freeform 456"/>
          <p:cNvSpPr>
            <a:spLocks/>
          </p:cNvSpPr>
          <p:nvPr/>
        </p:nvSpPr>
        <p:spPr bwMode="auto">
          <a:xfrm>
            <a:off x="7475538" y="3213065"/>
            <a:ext cx="3175" cy="6350"/>
          </a:xfrm>
          <a:custGeom>
            <a:avLst/>
            <a:gdLst>
              <a:gd name="T0" fmla="*/ 0 w 2"/>
              <a:gd name="T1" fmla="*/ 1 h 4"/>
              <a:gd name="T2" fmla="*/ 1 w 2"/>
              <a:gd name="T3" fmla="*/ 0 h 4"/>
              <a:gd name="T4" fmla="*/ 2 w 2"/>
              <a:gd name="T5" fmla="*/ 3 h 4"/>
              <a:gd name="T6" fmla="*/ 2 w 2"/>
              <a:gd name="T7" fmla="*/ 4 h 4"/>
              <a:gd name="T8" fmla="*/ 2 w 2"/>
              <a:gd name="T9" fmla="*/ 4 h 4"/>
              <a:gd name="T10" fmla="*/ 0 w 2"/>
              <a:gd name="T11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4">
                <a:moveTo>
                  <a:pt x="0" y="1"/>
                </a:moveTo>
                <a:lnTo>
                  <a:pt x="1" y="0"/>
                </a:lnTo>
                <a:lnTo>
                  <a:pt x="2" y="3"/>
                </a:lnTo>
                <a:lnTo>
                  <a:pt x="2" y="4"/>
                </a:lnTo>
                <a:lnTo>
                  <a:pt x="2" y="4"/>
                </a:lnTo>
                <a:lnTo>
                  <a:pt x="0" y="1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58" name="Freeform 457"/>
          <p:cNvSpPr>
            <a:spLocks/>
          </p:cNvSpPr>
          <p:nvPr/>
        </p:nvSpPr>
        <p:spPr bwMode="auto">
          <a:xfrm>
            <a:off x="7466013" y="3216240"/>
            <a:ext cx="22225" cy="22225"/>
          </a:xfrm>
          <a:custGeom>
            <a:avLst/>
            <a:gdLst>
              <a:gd name="T0" fmla="*/ 0 w 14"/>
              <a:gd name="T1" fmla="*/ 0 h 14"/>
              <a:gd name="T2" fmla="*/ 1 w 14"/>
              <a:gd name="T3" fmla="*/ 0 h 14"/>
              <a:gd name="T4" fmla="*/ 1 w 14"/>
              <a:gd name="T5" fmla="*/ 1 h 14"/>
              <a:gd name="T6" fmla="*/ 2 w 14"/>
              <a:gd name="T7" fmla="*/ 1 h 14"/>
              <a:gd name="T8" fmla="*/ 4 w 14"/>
              <a:gd name="T9" fmla="*/ 1 h 14"/>
              <a:gd name="T10" fmla="*/ 12 w 14"/>
              <a:gd name="T11" fmla="*/ 9 h 14"/>
              <a:gd name="T12" fmla="*/ 14 w 14"/>
              <a:gd name="T13" fmla="*/ 11 h 14"/>
              <a:gd name="T14" fmla="*/ 14 w 14"/>
              <a:gd name="T15" fmla="*/ 14 h 14"/>
              <a:gd name="T16" fmla="*/ 11 w 14"/>
              <a:gd name="T17" fmla="*/ 13 h 14"/>
              <a:gd name="T18" fmla="*/ 8 w 14"/>
              <a:gd name="T19" fmla="*/ 11 h 14"/>
              <a:gd name="T20" fmla="*/ 7 w 14"/>
              <a:gd name="T21" fmla="*/ 8 h 14"/>
              <a:gd name="T22" fmla="*/ 5 w 14"/>
              <a:gd name="T23" fmla="*/ 7 h 14"/>
              <a:gd name="T24" fmla="*/ 4 w 14"/>
              <a:gd name="T25" fmla="*/ 9 h 14"/>
              <a:gd name="T26" fmla="*/ 1 w 14"/>
              <a:gd name="T27" fmla="*/ 11 h 14"/>
              <a:gd name="T28" fmla="*/ 0 w 14"/>
              <a:gd name="T29" fmla="*/ 10 h 14"/>
              <a:gd name="T30" fmla="*/ 0 w 14"/>
              <a:gd name="T31" fmla="*/ 5 h 14"/>
              <a:gd name="T32" fmla="*/ 0 w 14"/>
              <a:gd name="T33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4" h="14">
                <a:moveTo>
                  <a:pt x="0" y="0"/>
                </a:moveTo>
                <a:lnTo>
                  <a:pt x="1" y="0"/>
                </a:lnTo>
                <a:lnTo>
                  <a:pt x="1" y="1"/>
                </a:lnTo>
                <a:lnTo>
                  <a:pt x="2" y="1"/>
                </a:lnTo>
                <a:lnTo>
                  <a:pt x="4" y="1"/>
                </a:lnTo>
                <a:lnTo>
                  <a:pt x="12" y="9"/>
                </a:lnTo>
                <a:lnTo>
                  <a:pt x="14" y="11"/>
                </a:lnTo>
                <a:lnTo>
                  <a:pt x="14" y="14"/>
                </a:lnTo>
                <a:lnTo>
                  <a:pt x="11" y="13"/>
                </a:lnTo>
                <a:lnTo>
                  <a:pt x="8" y="11"/>
                </a:lnTo>
                <a:lnTo>
                  <a:pt x="7" y="8"/>
                </a:lnTo>
                <a:lnTo>
                  <a:pt x="5" y="7"/>
                </a:lnTo>
                <a:lnTo>
                  <a:pt x="4" y="9"/>
                </a:lnTo>
                <a:lnTo>
                  <a:pt x="1" y="11"/>
                </a:lnTo>
                <a:lnTo>
                  <a:pt x="0" y="10"/>
                </a:lnTo>
                <a:lnTo>
                  <a:pt x="0" y="5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59" name="Freeform 458"/>
          <p:cNvSpPr>
            <a:spLocks/>
          </p:cNvSpPr>
          <p:nvPr/>
        </p:nvSpPr>
        <p:spPr bwMode="auto">
          <a:xfrm>
            <a:off x="7466013" y="3216240"/>
            <a:ext cx="22225" cy="22225"/>
          </a:xfrm>
          <a:custGeom>
            <a:avLst/>
            <a:gdLst>
              <a:gd name="T0" fmla="*/ 0 w 14"/>
              <a:gd name="T1" fmla="*/ 0 h 14"/>
              <a:gd name="T2" fmla="*/ 1 w 14"/>
              <a:gd name="T3" fmla="*/ 0 h 14"/>
              <a:gd name="T4" fmla="*/ 1 w 14"/>
              <a:gd name="T5" fmla="*/ 1 h 14"/>
              <a:gd name="T6" fmla="*/ 2 w 14"/>
              <a:gd name="T7" fmla="*/ 1 h 14"/>
              <a:gd name="T8" fmla="*/ 4 w 14"/>
              <a:gd name="T9" fmla="*/ 1 h 14"/>
              <a:gd name="T10" fmla="*/ 12 w 14"/>
              <a:gd name="T11" fmla="*/ 9 h 14"/>
              <a:gd name="T12" fmla="*/ 14 w 14"/>
              <a:gd name="T13" fmla="*/ 11 h 14"/>
              <a:gd name="T14" fmla="*/ 14 w 14"/>
              <a:gd name="T15" fmla="*/ 14 h 14"/>
              <a:gd name="T16" fmla="*/ 11 w 14"/>
              <a:gd name="T17" fmla="*/ 13 h 14"/>
              <a:gd name="T18" fmla="*/ 8 w 14"/>
              <a:gd name="T19" fmla="*/ 11 h 14"/>
              <a:gd name="T20" fmla="*/ 7 w 14"/>
              <a:gd name="T21" fmla="*/ 8 h 14"/>
              <a:gd name="T22" fmla="*/ 5 w 14"/>
              <a:gd name="T23" fmla="*/ 7 h 14"/>
              <a:gd name="T24" fmla="*/ 4 w 14"/>
              <a:gd name="T25" fmla="*/ 9 h 14"/>
              <a:gd name="T26" fmla="*/ 1 w 14"/>
              <a:gd name="T27" fmla="*/ 11 h 14"/>
              <a:gd name="T28" fmla="*/ 0 w 14"/>
              <a:gd name="T29" fmla="*/ 10 h 14"/>
              <a:gd name="T30" fmla="*/ 0 w 14"/>
              <a:gd name="T31" fmla="*/ 5 h 14"/>
              <a:gd name="T32" fmla="*/ 0 w 14"/>
              <a:gd name="T33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4" h="14">
                <a:moveTo>
                  <a:pt x="0" y="0"/>
                </a:moveTo>
                <a:lnTo>
                  <a:pt x="1" y="0"/>
                </a:lnTo>
                <a:lnTo>
                  <a:pt x="1" y="1"/>
                </a:lnTo>
                <a:lnTo>
                  <a:pt x="2" y="1"/>
                </a:lnTo>
                <a:lnTo>
                  <a:pt x="4" y="1"/>
                </a:lnTo>
                <a:lnTo>
                  <a:pt x="12" y="9"/>
                </a:lnTo>
                <a:lnTo>
                  <a:pt x="14" y="11"/>
                </a:lnTo>
                <a:lnTo>
                  <a:pt x="14" y="14"/>
                </a:lnTo>
                <a:lnTo>
                  <a:pt x="11" y="13"/>
                </a:lnTo>
                <a:lnTo>
                  <a:pt x="8" y="11"/>
                </a:lnTo>
                <a:lnTo>
                  <a:pt x="7" y="8"/>
                </a:lnTo>
                <a:lnTo>
                  <a:pt x="5" y="7"/>
                </a:lnTo>
                <a:lnTo>
                  <a:pt x="4" y="9"/>
                </a:lnTo>
                <a:lnTo>
                  <a:pt x="1" y="11"/>
                </a:lnTo>
                <a:lnTo>
                  <a:pt x="0" y="10"/>
                </a:lnTo>
                <a:lnTo>
                  <a:pt x="0" y="5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60" name="Freeform 459"/>
          <p:cNvSpPr>
            <a:spLocks/>
          </p:cNvSpPr>
          <p:nvPr/>
        </p:nvSpPr>
        <p:spPr bwMode="auto">
          <a:xfrm>
            <a:off x="7493000" y="3214653"/>
            <a:ext cx="39687" cy="44450"/>
          </a:xfrm>
          <a:custGeom>
            <a:avLst/>
            <a:gdLst>
              <a:gd name="T0" fmla="*/ 0 w 25"/>
              <a:gd name="T1" fmla="*/ 2 h 28"/>
              <a:gd name="T2" fmla="*/ 1 w 25"/>
              <a:gd name="T3" fmla="*/ 1 h 28"/>
              <a:gd name="T4" fmla="*/ 8 w 25"/>
              <a:gd name="T5" fmla="*/ 2 h 28"/>
              <a:gd name="T6" fmla="*/ 11 w 25"/>
              <a:gd name="T7" fmla="*/ 0 h 28"/>
              <a:gd name="T8" fmla="*/ 12 w 25"/>
              <a:gd name="T9" fmla="*/ 1 h 28"/>
              <a:gd name="T10" fmla="*/ 15 w 25"/>
              <a:gd name="T11" fmla="*/ 2 h 28"/>
              <a:gd name="T12" fmla="*/ 16 w 25"/>
              <a:gd name="T13" fmla="*/ 5 h 28"/>
              <a:gd name="T14" fmla="*/ 19 w 25"/>
              <a:gd name="T15" fmla="*/ 6 h 28"/>
              <a:gd name="T16" fmla="*/ 20 w 25"/>
              <a:gd name="T17" fmla="*/ 11 h 28"/>
              <a:gd name="T18" fmla="*/ 20 w 25"/>
              <a:gd name="T19" fmla="*/ 15 h 28"/>
              <a:gd name="T20" fmla="*/ 21 w 25"/>
              <a:gd name="T21" fmla="*/ 19 h 28"/>
              <a:gd name="T22" fmla="*/ 23 w 25"/>
              <a:gd name="T23" fmla="*/ 25 h 28"/>
              <a:gd name="T24" fmla="*/ 25 w 25"/>
              <a:gd name="T25" fmla="*/ 28 h 28"/>
              <a:gd name="T26" fmla="*/ 21 w 25"/>
              <a:gd name="T27" fmla="*/ 28 h 28"/>
              <a:gd name="T28" fmla="*/ 18 w 25"/>
              <a:gd name="T29" fmla="*/ 28 h 28"/>
              <a:gd name="T30" fmla="*/ 16 w 25"/>
              <a:gd name="T31" fmla="*/ 24 h 28"/>
              <a:gd name="T32" fmla="*/ 14 w 25"/>
              <a:gd name="T33" fmla="*/ 23 h 28"/>
              <a:gd name="T34" fmla="*/ 12 w 25"/>
              <a:gd name="T35" fmla="*/ 21 h 28"/>
              <a:gd name="T36" fmla="*/ 12 w 25"/>
              <a:gd name="T37" fmla="*/ 20 h 28"/>
              <a:gd name="T38" fmla="*/ 12 w 25"/>
              <a:gd name="T39" fmla="*/ 16 h 28"/>
              <a:gd name="T40" fmla="*/ 12 w 25"/>
              <a:gd name="T41" fmla="*/ 15 h 28"/>
              <a:gd name="T42" fmla="*/ 6 w 25"/>
              <a:gd name="T43" fmla="*/ 11 h 28"/>
              <a:gd name="T44" fmla="*/ 4 w 25"/>
              <a:gd name="T45" fmla="*/ 10 h 28"/>
              <a:gd name="T46" fmla="*/ 2 w 25"/>
              <a:gd name="T47" fmla="*/ 6 h 28"/>
              <a:gd name="T48" fmla="*/ 0 w 25"/>
              <a:gd name="T49" fmla="*/ 2 h 28"/>
              <a:gd name="T50" fmla="*/ 0 w 25"/>
              <a:gd name="T51" fmla="*/ 2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5" h="28">
                <a:moveTo>
                  <a:pt x="0" y="2"/>
                </a:moveTo>
                <a:lnTo>
                  <a:pt x="1" y="1"/>
                </a:lnTo>
                <a:lnTo>
                  <a:pt x="8" y="2"/>
                </a:lnTo>
                <a:lnTo>
                  <a:pt x="11" y="0"/>
                </a:lnTo>
                <a:lnTo>
                  <a:pt x="12" y="1"/>
                </a:lnTo>
                <a:lnTo>
                  <a:pt x="15" y="2"/>
                </a:lnTo>
                <a:lnTo>
                  <a:pt x="16" y="5"/>
                </a:lnTo>
                <a:lnTo>
                  <a:pt x="19" y="6"/>
                </a:lnTo>
                <a:lnTo>
                  <a:pt x="20" y="11"/>
                </a:lnTo>
                <a:lnTo>
                  <a:pt x="20" y="15"/>
                </a:lnTo>
                <a:lnTo>
                  <a:pt x="21" y="19"/>
                </a:lnTo>
                <a:lnTo>
                  <a:pt x="23" y="25"/>
                </a:lnTo>
                <a:lnTo>
                  <a:pt x="25" y="28"/>
                </a:lnTo>
                <a:lnTo>
                  <a:pt x="21" y="28"/>
                </a:lnTo>
                <a:lnTo>
                  <a:pt x="18" y="28"/>
                </a:lnTo>
                <a:lnTo>
                  <a:pt x="16" y="24"/>
                </a:lnTo>
                <a:lnTo>
                  <a:pt x="14" y="23"/>
                </a:lnTo>
                <a:lnTo>
                  <a:pt x="12" y="21"/>
                </a:lnTo>
                <a:lnTo>
                  <a:pt x="12" y="20"/>
                </a:lnTo>
                <a:lnTo>
                  <a:pt x="12" y="16"/>
                </a:lnTo>
                <a:lnTo>
                  <a:pt x="12" y="15"/>
                </a:lnTo>
                <a:lnTo>
                  <a:pt x="6" y="11"/>
                </a:lnTo>
                <a:lnTo>
                  <a:pt x="4" y="10"/>
                </a:lnTo>
                <a:lnTo>
                  <a:pt x="2" y="6"/>
                </a:lnTo>
                <a:lnTo>
                  <a:pt x="0" y="2"/>
                </a:lnTo>
                <a:lnTo>
                  <a:pt x="0" y="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61" name="Freeform 460"/>
          <p:cNvSpPr>
            <a:spLocks/>
          </p:cNvSpPr>
          <p:nvPr/>
        </p:nvSpPr>
        <p:spPr bwMode="auto">
          <a:xfrm>
            <a:off x="7493000" y="3214653"/>
            <a:ext cx="39687" cy="44450"/>
          </a:xfrm>
          <a:custGeom>
            <a:avLst/>
            <a:gdLst>
              <a:gd name="T0" fmla="*/ 0 w 25"/>
              <a:gd name="T1" fmla="*/ 2 h 28"/>
              <a:gd name="T2" fmla="*/ 1 w 25"/>
              <a:gd name="T3" fmla="*/ 1 h 28"/>
              <a:gd name="T4" fmla="*/ 8 w 25"/>
              <a:gd name="T5" fmla="*/ 2 h 28"/>
              <a:gd name="T6" fmla="*/ 11 w 25"/>
              <a:gd name="T7" fmla="*/ 0 h 28"/>
              <a:gd name="T8" fmla="*/ 12 w 25"/>
              <a:gd name="T9" fmla="*/ 1 h 28"/>
              <a:gd name="T10" fmla="*/ 15 w 25"/>
              <a:gd name="T11" fmla="*/ 2 h 28"/>
              <a:gd name="T12" fmla="*/ 16 w 25"/>
              <a:gd name="T13" fmla="*/ 5 h 28"/>
              <a:gd name="T14" fmla="*/ 19 w 25"/>
              <a:gd name="T15" fmla="*/ 6 h 28"/>
              <a:gd name="T16" fmla="*/ 20 w 25"/>
              <a:gd name="T17" fmla="*/ 11 h 28"/>
              <a:gd name="T18" fmla="*/ 20 w 25"/>
              <a:gd name="T19" fmla="*/ 15 h 28"/>
              <a:gd name="T20" fmla="*/ 21 w 25"/>
              <a:gd name="T21" fmla="*/ 19 h 28"/>
              <a:gd name="T22" fmla="*/ 23 w 25"/>
              <a:gd name="T23" fmla="*/ 25 h 28"/>
              <a:gd name="T24" fmla="*/ 25 w 25"/>
              <a:gd name="T25" fmla="*/ 28 h 28"/>
              <a:gd name="T26" fmla="*/ 21 w 25"/>
              <a:gd name="T27" fmla="*/ 28 h 28"/>
              <a:gd name="T28" fmla="*/ 18 w 25"/>
              <a:gd name="T29" fmla="*/ 28 h 28"/>
              <a:gd name="T30" fmla="*/ 16 w 25"/>
              <a:gd name="T31" fmla="*/ 24 h 28"/>
              <a:gd name="T32" fmla="*/ 14 w 25"/>
              <a:gd name="T33" fmla="*/ 23 h 28"/>
              <a:gd name="T34" fmla="*/ 12 w 25"/>
              <a:gd name="T35" fmla="*/ 21 h 28"/>
              <a:gd name="T36" fmla="*/ 12 w 25"/>
              <a:gd name="T37" fmla="*/ 20 h 28"/>
              <a:gd name="T38" fmla="*/ 12 w 25"/>
              <a:gd name="T39" fmla="*/ 16 h 28"/>
              <a:gd name="T40" fmla="*/ 12 w 25"/>
              <a:gd name="T41" fmla="*/ 15 h 28"/>
              <a:gd name="T42" fmla="*/ 6 w 25"/>
              <a:gd name="T43" fmla="*/ 11 h 28"/>
              <a:gd name="T44" fmla="*/ 4 w 25"/>
              <a:gd name="T45" fmla="*/ 10 h 28"/>
              <a:gd name="T46" fmla="*/ 2 w 25"/>
              <a:gd name="T47" fmla="*/ 6 h 28"/>
              <a:gd name="T48" fmla="*/ 0 w 25"/>
              <a:gd name="T49" fmla="*/ 2 h 28"/>
              <a:gd name="T50" fmla="*/ 0 w 25"/>
              <a:gd name="T51" fmla="*/ 2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5" h="28">
                <a:moveTo>
                  <a:pt x="0" y="2"/>
                </a:moveTo>
                <a:lnTo>
                  <a:pt x="1" y="1"/>
                </a:lnTo>
                <a:lnTo>
                  <a:pt x="8" y="2"/>
                </a:lnTo>
                <a:lnTo>
                  <a:pt x="11" y="0"/>
                </a:lnTo>
                <a:lnTo>
                  <a:pt x="12" y="1"/>
                </a:lnTo>
                <a:lnTo>
                  <a:pt x="15" y="2"/>
                </a:lnTo>
                <a:lnTo>
                  <a:pt x="16" y="5"/>
                </a:lnTo>
                <a:lnTo>
                  <a:pt x="19" y="6"/>
                </a:lnTo>
                <a:lnTo>
                  <a:pt x="20" y="11"/>
                </a:lnTo>
                <a:lnTo>
                  <a:pt x="20" y="15"/>
                </a:lnTo>
                <a:lnTo>
                  <a:pt x="21" y="19"/>
                </a:lnTo>
                <a:lnTo>
                  <a:pt x="23" y="25"/>
                </a:lnTo>
                <a:lnTo>
                  <a:pt x="25" y="28"/>
                </a:lnTo>
                <a:lnTo>
                  <a:pt x="21" y="28"/>
                </a:lnTo>
                <a:lnTo>
                  <a:pt x="18" y="28"/>
                </a:lnTo>
                <a:lnTo>
                  <a:pt x="16" y="24"/>
                </a:lnTo>
                <a:lnTo>
                  <a:pt x="14" y="23"/>
                </a:lnTo>
                <a:lnTo>
                  <a:pt x="12" y="21"/>
                </a:lnTo>
                <a:lnTo>
                  <a:pt x="12" y="20"/>
                </a:lnTo>
                <a:lnTo>
                  <a:pt x="12" y="16"/>
                </a:lnTo>
                <a:lnTo>
                  <a:pt x="12" y="15"/>
                </a:lnTo>
                <a:lnTo>
                  <a:pt x="6" y="11"/>
                </a:lnTo>
                <a:lnTo>
                  <a:pt x="4" y="10"/>
                </a:lnTo>
                <a:lnTo>
                  <a:pt x="2" y="6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62" name="Freeform 461"/>
          <p:cNvSpPr>
            <a:spLocks/>
          </p:cNvSpPr>
          <p:nvPr/>
        </p:nvSpPr>
        <p:spPr bwMode="auto">
          <a:xfrm>
            <a:off x="7434263" y="3235290"/>
            <a:ext cx="31750" cy="42863"/>
          </a:xfrm>
          <a:custGeom>
            <a:avLst/>
            <a:gdLst>
              <a:gd name="T0" fmla="*/ 0 w 20"/>
              <a:gd name="T1" fmla="*/ 0 h 27"/>
              <a:gd name="T2" fmla="*/ 1 w 20"/>
              <a:gd name="T3" fmla="*/ 0 h 27"/>
              <a:gd name="T4" fmla="*/ 4 w 20"/>
              <a:gd name="T5" fmla="*/ 1 h 27"/>
              <a:gd name="T6" fmla="*/ 8 w 20"/>
              <a:gd name="T7" fmla="*/ 3 h 27"/>
              <a:gd name="T8" fmla="*/ 9 w 20"/>
              <a:gd name="T9" fmla="*/ 6 h 27"/>
              <a:gd name="T10" fmla="*/ 10 w 20"/>
              <a:gd name="T11" fmla="*/ 6 h 27"/>
              <a:gd name="T12" fmla="*/ 15 w 20"/>
              <a:gd name="T13" fmla="*/ 6 h 27"/>
              <a:gd name="T14" fmla="*/ 16 w 20"/>
              <a:gd name="T15" fmla="*/ 8 h 27"/>
              <a:gd name="T16" fmla="*/ 18 w 20"/>
              <a:gd name="T17" fmla="*/ 7 h 27"/>
              <a:gd name="T18" fmla="*/ 19 w 20"/>
              <a:gd name="T19" fmla="*/ 7 h 27"/>
              <a:gd name="T20" fmla="*/ 20 w 20"/>
              <a:gd name="T21" fmla="*/ 11 h 27"/>
              <a:gd name="T22" fmla="*/ 19 w 20"/>
              <a:gd name="T23" fmla="*/ 15 h 27"/>
              <a:gd name="T24" fmla="*/ 17 w 20"/>
              <a:gd name="T25" fmla="*/ 16 h 27"/>
              <a:gd name="T26" fmla="*/ 16 w 20"/>
              <a:gd name="T27" fmla="*/ 19 h 27"/>
              <a:gd name="T28" fmla="*/ 14 w 20"/>
              <a:gd name="T29" fmla="*/ 21 h 27"/>
              <a:gd name="T30" fmla="*/ 11 w 20"/>
              <a:gd name="T31" fmla="*/ 22 h 27"/>
              <a:gd name="T32" fmla="*/ 9 w 20"/>
              <a:gd name="T33" fmla="*/ 22 h 27"/>
              <a:gd name="T34" fmla="*/ 6 w 20"/>
              <a:gd name="T35" fmla="*/ 25 h 27"/>
              <a:gd name="T36" fmla="*/ 5 w 20"/>
              <a:gd name="T37" fmla="*/ 27 h 27"/>
              <a:gd name="T38" fmla="*/ 2 w 20"/>
              <a:gd name="T39" fmla="*/ 23 h 27"/>
              <a:gd name="T40" fmla="*/ 2 w 20"/>
              <a:gd name="T41" fmla="*/ 19 h 27"/>
              <a:gd name="T42" fmla="*/ 2 w 20"/>
              <a:gd name="T43" fmla="*/ 15 h 27"/>
              <a:gd name="T44" fmla="*/ 2 w 20"/>
              <a:gd name="T45" fmla="*/ 6 h 27"/>
              <a:gd name="T46" fmla="*/ 2 w 20"/>
              <a:gd name="T47" fmla="*/ 3 h 27"/>
              <a:gd name="T48" fmla="*/ 0 w 20"/>
              <a:gd name="T49" fmla="*/ 2 h 27"/>
              <a:gd name="T50" fmla="*/ 0 w 20"/>
              <a:gd name="T51" fmla="*/ 0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0" h="27">
                <a:moveTo>
                  <a:pt x="0" y="0"/>
                </a:moveTo>
                <a:lnTo>
                  <a:pt x="1" y="0"/>
                </a:lnTo>
                <a:lnTo>
                  <a:pt x="4" y="1"/>
                </a:lnTo>
                <a:lnTo>
                  <a:pt x="8" y="3"/>
                </a:lnTo>
                <a:lnTo>
                  <a:pt x="9" y="6"/>
                </a:lnTo>
                <a:lnTo>
                  <a:pt x="10" y="6"/>
                </a:lnTo>
                <a:lnTo>
                  <a:pt x="15" y="6"/>
                </a:lnTo>
                <a:lnTo>
                  <a:pt x="16" y="8"/>
                </a:lnTo>
                <a:lnTo>
                  <a:pt x="18" y="7"/>
                </a:lnTo>
                <a:lnTo>
                  <a:pt x="19" y="7"/>
                </a:lnTo>
                <a:lnTo>
                  <a:pt x="20" y="11"/>
                </a:lnTo>
                <a:lnTo>
                  <a:pt x="19" y="15"/>
                </a:lnTo>
                <a:lnTo>
                  <a:pt x="17" y="16"/>
                </a:lnTo>
                <a:lnTo>
                  <a:pt x="16" y="19"/>
                </a:lnTo>
                <a:lnTo>
                  <a:pt x="14" y="21"/>
                </a:lnTo>
                <a:lnTo>
                  <a:pt x="11" y="22"/>
                </a:lnTo>
                <a:lnTo>
                  <a:pt x="9" y="22"/>
                </a:lnTo>
                <a:lnTo>
                  <a:pt x="6" y="25"/>
                </a:lnTo>
                <a:lnTo>
                  <a:pt x="5" y="27"/>
                </a:lnTo>
                <a:lnTo>
                  <a:pt x="2" y="23"/>
                </a:lnTo>
                <a:lnTo>
                  <a:pt x="2" y="19"/>
                </a:lnTo>
                <a:lnTo>
                  <a:pt x="2" y="15"/>
                </a:lnTo>
                <a:lnTo>
                  <a:pt x="2" y="6"/>
                </a:lnTo>
                <a:lnTo>
                  <a:pt x="2" y="3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63" name="Freeform 462"/>
          <p:cNvSpPr>
            <a:spLocks/>
          </p:cNvSpPr>
          <p:nvPr/>
        </p:nvSpPr>
        <p:spPr bwMode="auto">
          <a:xfrm>
            <a:off x="7434263" y="3235290"/>
            <a:ext cx="31750" cy="42863"/>
          </a:xfrm>
          <a:custGeom>
            <a:avLst/>
            <a:gdLst>
              <a:gd name="T0" fmla="*/ 0 w 20"/>
              <a:gd name="T1" fmla="*/ 0 h 27"/>
              <a:gd name="T2" fmla="*/ 1 w 20"/>
              <a:gd name="T3" fmla="*/ 0 h 27"/>
              <a:gd name="T4" fmla="*/ 4 w 20"/>
              <a:gd name="T5" fmla="*/ 1 h 27"/>
              <a:gd name="T6" fmla="*/ 8 w 20"/>
              <a:gd name="T7" fmla="*/ 3 h 27"/>
              <a:gd name="T8" fmla="*/ 9 w 20"/>
              <a:gd name="T9" fmla="*/ 6 h 27"/>
              <a:gd name="T10" fmla="*/ 10 w 20"/>
              <a:gd name="T11" fmla="*/ 6 h 27"/>
              <a:gd name="T12" fmla="*/ 15 w 20"/>
              <a:gd name="T13" fmla="*/ 6 h 27"/>
              <a:gd name="T14" fmla="*/ 16 w 20"/>
              <a:gd name="T15" fmla="*/ 8 h 27"/>
              <a:gd name="T16" fmla="*/ 18 w 20"/>
              <a:gd name="T17" fmla="*/ 7 h 27"/>
              <a:gd name="T18" fmla="*/ 19 w 20"/>
              <a:gd name="T19" fmla="*/ 7 h 27"/>
              <a:gd name="T20" fmla="*/ 20 w 20"/>
              <a:gd name="T21" fmla="*/ 11 h 27"/>
              <a:gd name="T22" fmla="*/ 19 w 20"/>
              <a:gd name="T23" fmla="*/ 15 h 27"/>
              <a:gd name="T24" fmla="*/ 17 w 20"/>
              <a:gd name="T25" fmla="*/ 16 h 27"/>
              <a:gd name="T26" fmla="*/ 16 w 20"/>
              <a:gd name="T27" fmla="*/ 19 h 27"/>
              <a:gd name="T28" fmla="*/ 14 w 20"/>
              <a:gd name="T29" fmla="*/ 21 h 27"/>
              <a:gd name="T30" fmla="*/ 11 w 20"/>
              <a:gd name="T31" fmla="*/ 22 h 27"/>
              <a:gd name="T32" fmla="*/ 9 w 20"/>
              <a:gd name="T33" fmla="*/ 22 h 27"/>
              <a:gd name="T34" fmla="*/ 6 w 20"/>
              <a:gd name="T35" fmla="*/ 25 h 27"/>
              <a:gd name="T36" fmla="*/ 5 w 20"/>
              <a:gd name="T37" fmla="*/ 27 h 27"/>
              <a:gd name="T38" fmla="*/ 2 w 20"/>
              <a:gd name="T39" fmla="*/ 23 h 27"/>
              <a:gd name="T40" fmla="*/ 2 w 20"/>
              <a:gd name="T41" fmla="*/ 19 h 27"/>
              <a:gd name="T42" fmla="*/ 2 w 20"/>
              <a:gd name="T43" fmla="*/ 15 h 27"/>
              <a:gd name="T44" fmla="*/ 2 w 20"/>
              <a:gd name="T45" fmla="*/ 6 h 27"/>
              <a:gd name="T46" fmla="*/ 2 w 20"/>
              <a:gd name="T47" fmla="*/ 3 h 27"/>
              <a:gd name="T48" fmla="*/ 0 w 20"/>
              <a:gd name="T49" fmla="*/ 2 h 27"/>
              <a:gd name="T50" fmla="*/ 0 w 20"/>
              <a:gd name="T51" fmla="*/ 0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0" h="27">
                <a:moveTo>
                  <a:pt x="0" y="0"/>
                </a:moveTo>
                <a:lnTo>
                  <a:pt x="1" y="0"/>
                </a:lnTo>
                <a:lnTo>
                  <a:pt x="4" y="1"/>
                </a:lnTo>
                <a:lnTo>
                  <a:pt x="8" y="3"/>
                </a:lnTo>
                <a:lnTo>
                  <a:pt x="9" y="6"/>
                </a:lnTo>
                <a:lnTo>
                  <a:pt x="10" y="6"/>
                </a:lnTo>
                <a:lnTo>
                  <a:pt x="15" y="6"/>
                </a:lnTo>
                <a:lnTo>
                  <a:pt x="16" y="8"/>
                </a:lnTo>
                <a:lnTo>
                  <a:pt x="18" y="7"/>
                </a:lnTo>
                <a:lnTo>
                  <a:pt x="19" y="7"/>
                </a:lnTo>
                <a:lnTo>
                  <a:pt x="20" y="11"/>
                </a:lnTo>
                <a:lnTo>
                  <a:pt x="19" y="15"/>
                </a:lnTo>
                <a:lnTo>
                  <a:pt x="17" y="16"/>
                </a:lnTo>
                <a:lnTo>
                  <a:pt x="16" y="19"/>
                </a:lnTo>
                <a:lnTo>
                  <a:pt x="14" y="21"/>
                </a:lnTo>
                <a:lnTo>
                  <a:pt x="11" y="22"/>
                </a:lnTo>
                <a:lnTo>
                  <a:pt x="9" y="22"/>
                </a:lnTo>
                <a:lnTo>
                  <a:pt x="6" y="25"/>
                </a:lnTo>
                <a:lnTo>
                  <a:pt x="5" y="27"/>
                </a:lnTo>
                <a:lnTo>
                  <a:pt x="2" y="23"/>
                </a:lnTo>
                <a:lnTo>
                  <a:pt x="2" y="19"/>
                </a:lnTo>
                <a:lnTo>
                  <a:pt x="2" y="15"/>
                </a:lnTo>
                <a:lnTo>
                  <a:pt x="2" y="6"/>
                </a:lnTo>
                <a:lnTo>
                  <a:pt x="2" y="3"/>
                </a:lnTo>
                <a:lnTo>
                  <a:pt x="0" y="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64" name="Freeform 463"/>
          <p:cNvSpPr>
            <a:spLocks/>
          </p:cNvSpPr>
          <p:nvPr/>
        </p:nvSpPr>
        <p:spPr bwMode="auto">
          <a:xfrm>
            <a:off x="7453313" y="3270215"/>
            <a:ext cx="4762" cy="7938"/>
          </a:xfrm>
          <a:custGeom>
            <a:avLst/>
            <a:gdLst>
              <a:gd name="T0" fmla="*/ 2 w 3"/>
              <a:gd name="T1" fmla="*/ 0 h 5"/>
              <a:gd name="T2" fmla="*/ 3 w 3"/>
              <a:gd name="T3" fmla="*/ 0 h 5"/>
              <a:gd name="T4" fmla="*/ 3 w 3"/>
              <a:gd name="T5" fmla="*/ 4 h 5"/>
              <a:gd name="T6" fmla="*/ 2 w 3"/>
              <a:gd name="T7" fmla="*/ 5 h 5"/>
              <a:gd name="T8" fmla="*/ 0 w 3"/>
              <a:gd name="T9" fmla="*/ 5 h 5"/>
              <a:gd name="T10" fmla="*/ 0 w 3"/>
              <a:gd name="T11" fmla="*/ 3 h 5"/>
              <a:gd name="T12" fmla="*/ 0 w 3"/>
              <a:gd name="T13" fmla="*/ 0 h 5"/>
              <a:gd name="T14" fmla="*/ 2 w 3"/>
              <a:gd name="T15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5">
                <a:moveTo>
                  <a:pt x="2" y="0"/>
                </a:moveTo>
                <a:lnTo>
                  <a:pt x="3" y="0"/>
                </a:lnTo>
                <a:lnTo>
                  <a:pt x="3" y="4"/>
                </a:lnTo>
                <a:lnTo>
                  <a:pt x="2" y="5"/>
                </a:lnTo>
                <a:lnTo>
                  <a:pt x="0" y="5"/>
                </a:lnTo>
                <a:lnTo>
                  <a:pt x="0" y="3"/>
                </a:lnTo>
                <a:lnTo>
                  <a:pt x="0" y="0"/>
                </a:lnTo>
                <a:lnTo>
                  <a:pt x="2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65" name="Freeform 464"/>
          <p:cNvSpPr>
            <a:spLocks/>
          </p:cNvSpPr>
          <p:nvPr/>
        </p:nvSpPr>
        <p:spPr bwMode="auto">
          <a:xfrm>
            <a:off x="7453313" y="3270215"/>
            <a:ext cx="4762" cy="7938"/>
          </a:xfrm>
          <a:custGeom>
            <a:avLst/>
            <a:gdLst>
              <a:gd name="T0" fmla="*/ 2 w 3"/>
              <a:gd name="T1" fmla="*/ 0 h 5"/>
              <a:gd name="T2" fmla="*/ 3 w 3"/>
              <a:gd name="T3" fmla="*/ 0 h 5"/>
              <a:gd name="T4" fmla="*/ 3 w 3"/>
              <a:gd name="T5" fmla="*/ 4 h 5"/>
              <a:gd name="T6" fmla="*/ 2 w 3"/>
              <a:gd name="T7" fmla="*/ 5 h 5"/>
              <a:gd name="T8" fmla="*/ 0 w 3"/>
              <a:gd name="T9" fmla="*/ 5 h 5"/>
              <a:gd name="T10" fmla="*/ 0 w 3"/>
              <a:gd name="T11" fmla="*/ 3 h 5"/>
              <a:gd name="T12" fmla="*/ 0 w 3"/>
              <a:gd name="T13" fmla="*/ 0 h 5"/>
              <a:gd name="T14" fmla="*/ 2 w 3"/>
              <a:gd name="T15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5">
                <a:moveTo>
                  <a:pt x="2" y="0"/>
                </a:moveTo>
                <a:lnTo>
                  <a:pt x="3" y="0"/>
                </a:lnTo>
                <a:lnTo>
                  <a:pt x="3" y="4"/>
                </a:lnTo>
                <a:lnTo>
                  <a:pt x="2" y="5"/>
                </a:lnTo>
                <a:lnTo>
                  <a:pt x="0" y="5"/>
                </a:lnTo>
                <a:lnTo>
                  <a:pt x="0" y="3"/>
                </a:lnTo>
                <a:lnTo>
                  <a:pt x="0" y="0"/>
                </a:lnTo>
                <a:lnTo>
                  <a:pt x="2" y="0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66" name="Freeform 465"/>
          <p:cNvSpPr>
            <a:spLocks/>
          </p:cNvSpPr>
          <p:nvPr/>
        </p:nvSpPr>
        <p:spPr bwMode="auto">
          <a:xfrm>
            <a:off x="7453313" y="3262278"/>
            <a:ext cx="25400" cy="55563"/>
          </a:xfrm>
          <a:custGeom>
            <a:avLst/>
            <a:gdLst>
              <a:gd name="T0" fmla="*/ 7 w 16"/>
              <a:gd name="T1" fmla="*/ 2 h 35"/>
              <a:gd name="T2" fmla="*/ 9 w 16"/>
              <a:gd name="T3" fmla="*/ 0 h 35"/>
              <a:gd name="T4" fmla="*/ 10 w 16"/>
              <a:gd name="T5" fmla="*/ 1 h 35"/>
              <a:gd name="T6" fmla="*/ 15 w 16"/>
              <a:gd name="T7" fmla="*/ 2 h 35"/>
              <a:gd name="T8" fmla="*/ 16 w 16"/>
              <a:gd name="T9" fmla="*/ 4 h 35"/>
              <a:gd name="T10" fmla="*/ 16 w 16"/>
              <a:gd name="T11" fmla="*/ 9 h 35"/>
              <a:gd name="T12" fmla="*/ 14 w 16"/>
              <a:gd name="T13" fmla="*/ 10 h 35"/>
              <a:gd name="T14" fmla="*/ 14 w 16"/>
              <a:gd name="T15" fmla="*/ 13 h 35"/>
              <a:gd name="T16" fmla="*/ 12 w 16"/>
              <a:gd name="T17" fmla="*/ 20 h 35"/>
              <a:gd name="T18" fmla="*/ 12 w 16"/>
              <a:gd name="T19" fmla="*/ 24 h 35"/>
              <a:gd name="T20" fmla="*/ 13 w 16"/>
              <a:gd name="T21" fmla="*/ 27 h 35"/>
              <a:gd name="T22" fmla="*/ 14 w 16"/>
              <a:gd name="T23" fmla="*/ 30 h 35"/>
              <a:gd name="T24" fmla="*/ 14 w 16"/>
              <a:gd name="T25" fmla="*/ 33 h 35"/>
              <a:gd name="T26" fmla="*/ 12 w 16"/>
              <a:gd name="T27" fmla="*/ 35 h 35"/>
              <a:gd name="T28" fmla="*/ 8 w 16"/>
              <a:gd name="T29" fmla="*/ 32 h 35"/>
              <a:gd name="T30" fmla="*/ 6 w 16"/>
              <a:gd name="T31" fmla="*/ 29 h 35"/>
              <a:gd name="T32" fmla="*/ 5 w 16"/>
              <a:gd name="T33" fmla="*/ 27 h 35"/>
              <a:gd name="T34" fmla="*/ 2 w 16"/>
              <a:gd name="T35" fmla="*/ 25 h 35"/>
              <a:gd name="T36" fmla="*/ 0 w 16"/>
              <a:gd name="T37" fmla="*/ 23 h 35"/>
              <a:gd name="T38" fmla="*/ 0 w 16"/>
              <a:gd name="T39" fmla="*/ 19 h 35"/>
              <a:gd name="T40" fmla="*/ 5 w 16"/>
              <a:gd name="T41" fmla="*/ 16 h 35"/>
              <a:gd name="T42" fmla="*/ 6 w 16"/>
              <a:gd name="T43" fmla="*/ 14 h 35"/>
              <a:gd name="T44" fmla="*/ 5 w 16"/>
              <a:gd name="T45" fmla="*/ 9 h 35"/>
              <a:gd name="T46" fmla="*/ 6 w 16"/>
              <a:gd name="T47" fmla="*/ 3 h 35"/>
              <a:gd name="T48" fmla="*/ 7 w 16"/>
              <a:gd name="T49" fmla="*/ 2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6" h="35">
                <a:moveTo>
                  <a:pt x="7" y="2"/>
                </a:moveTo>
                <a:lnTo>
                  <a:pt x="9" y="0"/>
                </a:lnTo>
                <a:lnTo>
                  <a:pt x="10" y="1"/>
                </a:lnTo>
                <a:lnTo>
                  <a:pt x="15" y="2"/>
                </a:lnTo>
                <a:lnTo>
                  <a:pt x="16" y="4"/>
                </a:lnTo>
                <a:lnTo>
                  <a:pt x="16" y="9"/>
                </a:lnTo>
                <a:lnTo>
                  <a:pt x="14" y="10"/>
                </a:lnTo>
                <a:lnTo>
                  <a:pt x="14" y="13"/>
                </a:lnTo>
                <a:lnTo>
                  <a:pt x="12" y="20"/>
                </a:lnTo>
                <a:lnTo>
                  <a:pt x="12" y="24"/>
                </a:lnTo>
                <a:lnTo>
                  <a:pt x="13" y="27"/>
                </a:lnTo>
                <a:lnTo>
                  <a:pt x="14" y="30"/>
                </a:lnTo>
                <a:lnTo>
                  <a:pt x="14" y="33"/>
                </a:lnTo>
                <a:lnTo>
                  <a:pt x="12" y="35"/>
                </a:lnTo>
                <a:lnTo>
                  <a:pt x="8" y="32"/>
                </a:lnTo>
                <a:lnTo>
                  <a:pt x="6" y="29"/>
                </a:lnTo>
                <a:lnTo>
                  <a:pt x="5" y="27"/>
                </a:lnTo>
                <a:lnTo>
                  <a:pt x="2" y="25"/>
                </a:lnTo>
                <a:lnTo>
                  <a:pt x="0" y="23"/>
                </a:lnTo>
                <a:lnTo>
                  <a:pt x="0" y="19"/>
                </a:lnTo>
                <a:lnTo>
                  <a:pt x="5" y="16"/>
                </a:lnTo>
                <a:lnTo>
                  <a:pt x="6" y="14"/>
                </a:lnTo>
                <a:lnTo>
                  <a:pt x="5" y="9"/>
                </a:lnTo>
                <a:lnTo>
                  <a:pt x="6" y="3"/>
                </a:lnTo>
                <a:lnTo>
                  <a:pt x="7" y="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67" name="Freeform 466"/>
          <p:cNvSpPr>
            <a:spLocks/>
          </p:cNvSpPr>
          <p:nvPr/>
        </p:nvSpPr>
        <p:spPr bwMode="auto">
          <a:xfrm>
            <a:off x="7453313" y="3262278"/>
            <a:ext cx="25400" cy="55563"/>
          </a:xfrm>
          <a:custGeom>
            <a:avLst/>
            <a:gdLst>
              <a:gd name="T0" fmla="*/ 7 w 16"/>
              <a:gd name="T1" fmla="*/ 2 h 35"/>
              <a:gd name="T2" fmla="*/ 9 w 16"/>
              <a:gd name="T3" fmla="*/ 0 h 35"/>
              <a:gd name="T4" fmla="*/ 10 w 16"/>
              <a:gd name="T5" fmla="*/ 1 h 35"/>
              <a:gd name="T6" fmla="*/ 15 w 16"/>
              <a:gd name="T7" fmla="*/ 2 h 35"/>
              <a:gd name="T8" fmla="*/ 16 w 16"/>
              <a:gd name="T9" fmla="*/ 4 h 35"/>
              <a:gd name="T10" fmla="*/ 16 w 16"/>
              <a:gd name="T11" fmla="*/ 9 h 35"/>
              <a:gd name="T12" fmla="*/ 14 w 16"/>
              <a:gd name="T13" fmla="*/ 10 h 35"/>
              <a:gd name="T14" fmla="*/ 14 w 16"/>
              <a:gd name="T15" fmla="*/ 13 h 35"/>
              <a:gd name="T16" fmla="*/ 12 w 16"/>
              <a:gd name="T17" fmla="*/ 20 h 35"/>
              <a:gd name="T18" fmla="*/ 12 w 16"/>
              <a:gd name="T19" fmla="*/ 24 h 35"/>
              <a:gd name="T20" fmla="*/ 13 w 16"/>
              <a:gd name="T21" fmla="*/ 27 h 35"/>
              <a:gd name="T22" fmla="*/ 14 w 16"/>
              <a:gd name="T23" fmla="*/ 30 h 35"/>
              <a:gd name="T24" fmla="*/ 14 w 16"/>
              <a:gd name="T25" fmla="*/ 33 h 35"/>
              <a:gd name="T26" fmla="*/ 12 w 16"/>
              <a:gd name="T27" fmla="*/ 35 h 35"/>
              <a:gd name="T28" fmla="*/ 8 w 16"/>
              <a:gd name="T29" fmla="*/ 32 h 35"/>
              <a:gd name="T30" fmla="*/ 6 w 16"/>
              <a:gd name="T31" fmla="*/ 29 h 35"/>
              <a:gd name="T32" fmla="*/ 5 w 16"/>
              <a:gd name="T33" fmla="*/ 27 h 35"/>
              <a:gd name="T34" fmla="*/ 2 w 16"/>
              <a:gd name="T35" fmla="*/ 25 h 35"/>
              <a:gd name="T36" fmla="*/ 0 w 16"/>
              <a:gd name="T37" fmla="*/ 23 h 35"/>
              <a:gd name="T38" fmla="*/ 0 w 16"/>
              <a:gd name="T39" fmla="*/ 19 h 35"/>
              <a:gd name="T40" fmla="*/ 5 w 16"/>
              <a:gd name="T41" fmla="*/ 16 h 35"/>
              <a:gd name="T42" fmla="*/ 6 w 16"/>
              <a:gd name="T43" fmla="*/ 14 h 35"/>
              <a:gd name="T44" fmla="*/ 5 w 16"/>
              <a:gd name="T45" fmla="*/ 9 h 35"/>
              <a:gd name="T46" fmla="*/ 6 w 16"/>
              <a:gd name="T47" fmla="*/ 3 h 35"/>
              <a:gd name="T48" fmla="*/ 7 w 16"/>
              <a:gd name="T49" fmla="*/ 2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6" h="35">
                <a:moveTo>
                  <a:pt x="7" y="2"/>
                </a:moveTo>
                <a:lnTo>
                  <a:pt x="9" y="0"/>
                </a:lnTo>
                <a:lnTo>
                  <a:pt x="10" y="1"/>
                </a:lnTo>
                <a:lnTo>
                  <a:pt x="15" y="2"/>
                </a:lnTo>
                <a:lnTo>
                  <a:pt x="16" y="4"/>
                </a:lnTo>
                <a:lnTo>
                  <a:pt x="16" y="9"/>
                </a:lnTo>
                <a:lnTo>
                  <a:pt x="14" y="10"/>
                </a:lnTo>
                <a:lnTo>
                  <a:pt x="14" y="13"/>
                </a:lnTo>
                <a:lnTo>
                  <a:pt x="12" y="20"/>
                </a:lnTo>
                <a:lnTo>
                  <a:pt x="12" y="24"/>
                </a:lnTo>
                <a:lnTo>
                  <a:pt x="13" y="27"/>
                </a:lnTo>
                <a:lnTo>
                  <a:pt x="14" y="30"/>
                </a:lnTo>
                <a:lnTo>
                  <a:pt x="14" y="33"/>
                </a:lnTo>
                <a:lnTo>
                  <a:pt x="12" y="35"/>
                </a:lnTo>
                <a:lnTo>
                  <a:pt x="8" y="32"/>
                </a:lnTo>
                <a:lnTo>
                  <a:pt x="6" y="29"/>
                </a:lnTo>
                <a:lnTo>
                  <a:pt x="5" y="27"/>
                </a:lnTo>
                <a:lnTo>
                  <a:pt x="2" y="25"/>
                </a:lnTo>
                <a:lnTo>
                  <a:pt x="0" y="23"/>
                </a:lnTo>
                <a:lnTo>
                  <a:pt x="0" y="19"/>
                </a:lnTo>
                <a:lnTo>
                  <a:pt x="5" y="16"/>
                </a:lnTo>
                <a:lnTo>
                  <a:pt x="6" y="14"/>
                </a:lnTo>
                <a:lnTo>
                  <a:pt x="5" y="9"/>
                </a:lnTo>
                <a:lnTo>
                  <a:pt x="6" y="3"/>
                </a:lnTo>
                <a:lnTo>
                  <a:pt x="7" y="2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68" name="Freeform 467"/>
          <p:cNvSpPr>
            <a:spLocks/>
          </p:cNvSpPr>
          <p:nvPr/>
        </p:nvSpPr>
        <p:spPr bwMode="auto">
          <a:xfrm>
            <a:off x="7497763" y="3240053"/>
            <a:ext cx="4762" cy="6350"/>
          </a:xfrm>
          <a:custGeom>
            <a:avLst/>
            <a:gdLst>
              <a:gd name="T0" fmla="*/ 0 w 3"/>
              <a:gd name="T1" fmla="*/ 2 h 4"/>
              <a:gd name="T2" fmla="*/ 0 w 3"/>
              <a:gd name="T3" fmla="*/ 0 h 4"/>
              <a:gd name="T4" fmla="*/ 2 w 3"/>
              <a:gd name="T5" fmla="*/ 2 h 4"/>
              <a:gd name="T6" fmla="*/ 2 w 3"/>
              <a:gd name="T7" fmla="*/ 3 h 4"/>
              <a:gd name="T8" fmla="*/ 3 w 3"/>
              <a:gd name="T9" fmla="*/ 4 h 4"/>
              <a:gd name="T10" fmla="*/ 2 w 3"/>
              <a:gd name="T11" fmla="*/ 4 h 4"/>
              <a:gd name="T12" fmla="*/ 1 w 3"/>
              <a:gd name="T13" fmla="*/ 4 h 4"/>
              <a:gd name="T14" fmla="*/ 0 w 3"/>
              <a:gd name="T15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4">
                <a:moveTo>
                  <a:pt x="0" y="2"/>
                </a:moveTo>
                <a:lnTo>
                  <a:pt x="0" y="0"/>
                </a:lnTo>
                <a:lnTo>
                  <a:pt x="2" y="2"/>
                </a:lnTo>
                <a:lnTo>
                  <a:pt x="2" y="3"/>
                </a:lnTo>
                <a:lnTo>
                  <a:pt x="3" y="4"/>
                </a:lnTo>
                <a:lnTo>
                  <a:pt x="2" y="4"/>
                </a:lnTo>
                <a:lnTo>
                  <a:pt x="1" y="4"/>
                </a:lnTo>
                <a:lnTo>
                  <a:pt x="0" y="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69" name="Freeform 468"/>
          <p:cNvSpPr>
            <a:spLocks/>
          </p:cNvSpPr>
          <p:nvPr/>
        </p:nvSpPr>
        <p:spPr bwMode="auto">
          <a:xfrm>
            <a:off x="7497763" y="3240053"/>
            <a:ext cx="4762" cy="6350"/>
          </a:xfrm>
          <a:custGeom>
            <a:avLst/>
            <a:gdLst>
              <a:gd name="T0" fmla="*/ 0 w 3"/>
              <a:gd name="T1" fmla="*/ 2 h 4"/>
              <a:gd name="T2" fmla="*/ 0 w 3"/>
              <a:gd name="T3" fmla="*/ 0 h 4"/>
              <a:gd name="T4" fmla="*/ 2 w 3"/>
              <a:gd name="T5" fmla="*/ 2 h 4"/>
              <a:gd name="T6" fmla="*/ 2 w 3"/>
              <a:gd name="T7" fmla="*/ 3 h 4"/>
              <a:gd name="T8" fmla="*/ 3 w 3"/>
              <a:gd name="T9" fmla="*/ 4 h 4"/>
              <a:gd name="T10" fmla="*/ 2 w 3"/>
              <a:gd name="T11" fmla="*/ 4 h 4"/>
              <a:gd name="T12" fmla="*/ 1 w 3"/>
              <a:gd name="T13" fmla="*/ 4 h 4"/>
              <a:gd name="T14" fmla="*/ 0 w 3"/>
              <a:gd name="T15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4">
                <a:moveTo>
                  <a:pt x="0" y="2"/>
                </a:moveTo>
                <a:lnTo>
                  <a:pt x="0" y="0"/>
                </a:lnTo>
                <a:lnTo>
                  <a:pt x="2" y="2"/>
                </a:lnTo>
                <a:lnTo>
                  <a:pt x="2" y="3"/>
                </a:lnTo>
                <a:lnTo>
                  <a:pt x="3" y="4"/>
                </a:lnTo>
                <a:lnTo>
                  <a:pt x="2" y="4"/>
                </a:lnTo>
                <a:lnTo>
                  <a:pt x="1" y="4"/>
                </a:lnTo>
                <a:lnTo>
                  <a:pt x="0" y="2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70" name="Freeform 469"/>
          <p:cNvSpPr>
            <a:spLocks/>
          </p:cNvSpPr>
          <p:nvPr/>
        </p:nvSpPr>
        <p:spPr bwMode="auto">
          <a:xfrm>
            <a:off x="7496175" y="3246403"/>
            <a:ext cx="26987" cy="41275"/>
          </a:xfrm>
          <a:custGeom>
            <a:avLst/>
            <a:gdLst>
              <a:gd name="T0" fmla="*/ 0 w 17"/>
              <a:gd name="T1" fmla="*/ 0 h 26"/>
              <a:gd name="T2" fmla="*/ 1 w 17"/>
              <a:gd name="T3" fmla="*/ 2 h 26"/>
              <a:gd name="T4" fmla="*/ 2 w 17"/>
              <a:gd name="T5" fmla="*/ 3 h 26"/>
              <a:gd name="T6" fmla="*/ 3 w 17"/>
              <a:gd name="T7" fmla="*/ 2 h 26"/>
              <a:gd name="T8" fmla="*/ 4 w 17"/>
              <a:gd name="T9" fmla="*/ 3 h 26"/>
              <a:gd name="T10" fmla="*/ 9 w 17"/>
              <a:gd name="T11" fmla="*/ 3 h 26"/>
              <a:gd name="T12" fmla="*/ 11 w 17"/>
              <a:gd name="T13" fmla="*/ 6 h 26"/>
              <a:gd name="T14" fmla="*/ 12 w 17"/>
              <a:gd name="T15" fmla="*/ 14 h 26"/>
              <a:gd name="T16" fmla="*/ 14 w 17"/>
              <a:gd name="T17" fmla="*/ 18 h 26"/>
              <a:gd name="T18" fmla="*/ 16 w 17"/>
              <a:gd name="T19" fmla="*/ 21 h 26"/>
              <a:gd name="T20" fmla="*/ 17 w 17"/>
              <a:gd name="T21" fmla="*/ 23 h 26"/>
              <a:gd name="T22" fmla="*/ 16 w 17"/>
              <a:gd name="T23" fmla="*/ 24 h 26"/>
              <a:gd name="T24" fmla="*/ 13 w 17"/>
              <a:gd name="T25" fmla="*/ 23 h 26"/>
              <a:gd name="T26" fmla="*/ 13 w 17"/>
              <a:gd name="T27" fmla="*/ 26 h 26"/>
              <a:gd name="T28" fmla="*/ 11 w 17"/>
              <a:gd name="T29" fmla="*/ 26 h 26"/>
              <a:gd name="T30" fmla="*/ 10 w 17"/>
              <a:gd name="T31" fmla="*/ 23 h 26"/>
              <a:gd name="T32" fmla="*/ 9 w 17"/>
              <a:gd name="T33" fmla="*/ 14 h 26"/>
              <a:gd name="T34" fmla="*/ 7 w 17"/>
              <a:gd name="T35" fmla="*/ 11 h 26"/>
              <a:gd name="T36" fmla="*/ 3 w 17"/>
              <a:gd name="T37" fmla="*/ 12 h 26"/>
              <a:gd name="T38" fmla="*/ 2 w 17"/>
              <a:gd name="T39" fmla="*/ 8 h 26"/>
              <a:gd name="T40" fmla="*/ 1 w 17"/>
              <a:gd name="T41" fmla="*/ 3 h 26"/>
              <a:gd name="T42" fmla="*/ 0 w 17"/>
              <a:gd name="T43" fmla="*/ 2 h 26"/>
              <a:gd name="T44" fmla="*/ 0 w 17"/>
              <a:gd name="T45" fmla="*/ 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7" h="26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3" y="2"/>
                </a:lnTo>
                <a:lnTo>
                  <a:pt x="4" y="3"/>
                </a:lnTo>
                <a:lnTo>
                  <a:pt x="9" y="3"/>
                </a:lnTo>
                <a:lnTo>
                  <a:pt x="11" y="6"/>
                </a:lnTo>
                <a:lnTo>
                  <a:pt x="12" y="14"/>
                </a:lnTo>
                <a:lnTo>
                  <a:pt x="14" y="18"/>
                </a:lnTo>
                <a:lnTo>
                  <a:pt x="16" y="21"/>
                </a:lnTo>
                <a:lnTo>
                  <a:pt x="17" y="23"/>
                </a:lnTo>
                <a:lnTo>
                  <a:pt x="16" y="24"/>
                </a:lnTo>
                <a:lnTo>
                  <a:pt x="13" y="23"/>
                </a:lnTo>
                <a:lnTo>
                  <a:pt x="13" y="26"/>
                </a:lnTo>
                <a:lnTo>
                  <a:pt x="11" y="26"/>
                </a:lnTo>
                <a:lnTo>
                  <a:pt x="10" y="23"/>
                </a:lnTo>
                <a:lnTo>
                  <a:pt x="9" y="14"/>
                </a:lnTo>
                <a:lnTo>
                  <a:pt x="7" y="11"/>
                </a:lnTo>
                <a:lnTo>
                  <a:pt x="3" y="12"/>
                </a:lnTo>
                <a:lnTo>
                  <a:pt x="2" y="8"/>
                </a:lnTo>
                <a:lnTo>
                  <a:pt x="1" y="3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71" name="Freeform 470"/>
          <p:cNvSpPr>
            <a:spLocks/>
          </p:cNvSpPr>
          <p:nvPr/>
        </p:nvSpPr>
        <p:spPr bwMode="auto">
          <a:xfrm>
            <a:off x="7496175" y="3246403"/>
            <a:ext cx="26987" cy="41275"/>
          </a:xfrm>
          <a:custGeom>
            <a:avLst/>
            <a:gdLst>
              <a:gd name="T0" fmla="*/ 0 w 17"/>
              <a:gd name="T1" fmla="*/ 0 h 26"/>
              <a:gd name="T2" fmla="*/ 1 w 17"/>
              <a:gd name="T3" fmla="*/ 2 h 26"/>
              <a:gd name="T4" fmla="*/ 2 w 17"/>
              <a:gd name="T5" fmla="*/ 3 h 26"/>
              <a:gd name="T6" fmla="*/ 3 w 17"/>
              <a:gd name="T7" fmla="*/ 2 h 26"/>
              <a:gd name="T8" fmla="*/ 4 w 17"/>
              <a:gd name="T9" fmla="*/ 3 h 26"/>
              <a:gd name="T10" fmla="*/ 9 w 17"/>
              <a:gd name="T11" fmla="*/ 3 h 26"/>
              <a:gd name="T12" fmla="*/ 11 w 17"/>
              <a:gd name="T13" fmla="*/ 6 h 26"/>
              <a:gd name="T14" fmla="*/ 12 w 17"/>
              <a:gd name="T15" fmla="*/ 14 h 26"/>
              <a:gd name="T16" fmla="*/ 14 w 17"/>
              <a:gd name="T17" fmla="*/ 18 h 26"/>
              <a:gd name="T18" fmla="*/ 16 w 17"/>
              <a:gd name="T19" fmla="*/ 21 h 26"/>
              <a:gd name="T20" fmla="*/ 17 w 17"/>
              <a:gd name="T21" fmla="*/ 23 h 26"/>
              <a:gd name="T22" fmla="*/ 16 w 17"/>
              <a:gd name="T23" fmla="*/ 24 h 26"/>
              <a:gd name="T24" fmla="*/ 13 w 17"/>
              <a:gd name="T25" fmla="*/ 23 h 26"/>
              <a:gd name="T26" fmla="*/ 13 w 17"/>
              <a:gd name="T27" fmla="*/ 26 h 26"/>
              <a:gd name="T28" fmla="*/ 11 w 17"/>
              <a:gd name="T29" fmla="*/ 26 h 26"/>
              <a:gd name="T30" fmla="*/ 10 w 17"/>
              <a:gd name="T31" fmla="*/ 23 h 26"/>
              <a:gd name="T32" fmla="*/ 9 w 17"/>
              <a:gd name="T33" fmla="*/ 14 h 26"/>
              <a:gd name="T34" fmla="*/ 7 w 17"/>
              <a:gd name="T35" fmla="*/ 11 h 26"/>
              <a:gd name="T36" fmla="*/ 3 w 17"/>
              <a:gd name="T37" fmla="*/ 12 h 26"/>
              <a:gd name="T38" fmla="*/ 2 w 17"/>
              <a:gd name="T39" fmla="*/ 8 h 26"/>
              <a:gd name="T40" fmla="*/ 1 w 17"/>
              <a:gd name="T41" fmla="*/ 3 h 26"/>
              <a:gd name="T42" fmla="*/ 0 w 17"/>
              <a:gd name="T43" fmla="*/ 2 h 26"/>
              <a:gd name="T44" fmla="*/ 0 w 17"/>
              <a:gd name="T45" fmla="*/ 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7" h="26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3" y="2"/>
                </a:lnTo>
                <a:lnTo>
                  <a:pt x="4" y="3"/>
                </a:lnTo>
                <a:lnTo>
                  <a:pt x="9" y="3"/>
                </a:lnTo>
                <a:lnTo>
                  <a:pt x="11" y="6"/>
                </a:lnTo>
                <a:lnTo>
                  <a:pt x="12" y="14"/>
                </a:lnTo>
                <a:lnTo>
                  <a:pt x="14" y="18"/>
                </a:lnTo>
                <a:lnTo>
                  <a:pt x="16" y="21"/>
                </a:lnTo>
                <a:lnTo>
                  <a:pt x="17" y="23"/>
                </a:lnTo>
                <a:lnTo>
                  <a:pt x="16" y="24"/>
                </a:lnTo>
                <a:lnTo>
                  <a:pt x="13" y="23"/>
                </a:lnTo>
                <a:lnTo>
                  <a:pt x="13" y="26"/>
                </a:lnTo>
                <a:lnTo>
                  <a:pt x="11" y="26"/>
                </a:lnTo>
                <a:lnTo>
                  <a:pt x="10" y="23"/>
                </a:lnTo>
                <a:lnTo>
                  <a:pt x="9" y="14"/>
                </a:lnTo>
                <a:lnTo>
                  <a:pt x="7" y="11"/>
                </a:lnTo>
                <a:lnTo>
                  <a:pt x="3" y="12"/>
                </a:lnTo>
                <a:lnTo>
                  <a:pt x="2" y="8"/>
                </a:lnTo>
                <a:lnTo>
                  <a:pt x="1" y="3"/>
                </a:lnTo>
                <a:lnTo>
                  <a:pt x="0" y="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72" name="Freeform 471"/>
          <p:cNvSpPr>
            <a:spLocks/>
          </p:cNvSpPr>
          <p:nvPr/>
        </p:nvSpPr>
        <p:spPr bwMode="auto">
          <a:xfrm>
            <a:off x="7531100" y="3276565"/>
            <a:ext cx="6350" cy="19050"/>
          </a:xfrm>
          <a:custGeom>
            <a:avLst/>
            <a:gdLst>
              <a:gd name="T0" fmla="*/ 0 w 4"/>
              <a:gd name="T1" fmla="*/ 5 h 12"/>
              <a:gd name="T2" fmla="*/ 0 w 4"/>
              <a:gd name="T3" fmla="*/ 3 h 12"/>
              <a:gd name="T4" fmla="*/ 0 w 4"/>
              <a:gd name="T5" fmla="*/ 0 h 12"/>
              <a:gd name="T6" fmla="*/ 1 w 4"/>
              <a:gd name="T7" fmla="*/ 2 h 12"/>
              <a:gd name="T8" fmla="*/ 4 w 4"/>
              <a:gd name="T9" fmla="*/ 11 h 12"/>
              <a:gd name="T10" fmla="*/ 2 w 4"/>
              <a:gd name="T11" fmla="*/ 12 h 12"/>
              <a:gd name="T12" fmla="*/ 2 w 4"/>
              <a:gd name="T13" fmla="*/ 10 h 12"/>
              <a:gd name="T14" fmla="*/ 1 w 4"/>
              <a:gd name="T15" fmla="*/ 7 h 12"/>
              <a:gd name="T16" fmla="*/ 0 w 4"/>
              <a:gd name="T17" fmla="*/ 5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12">
                <a:moveTo>
                  <a:pt x="0" y="5"/>
                </a:moveTo>
                <a:lnTo>
                  <a:pt x="0" y="3"/>
                </a:lnTo>
                <a:lnTo>
                  <a:pt x="0" y="0"/>
                </a:lnTo>
                <a:lnTo>
                  <a:pt x="1" y="2"/>
                </a:lnTo>
                <a:lnTo>
                  <a:pt x="4" y="11"/>
                </a:lnTo>
                <a:lnTo>
                  <a:pt x="2" y="12"/>
                </a:lnTo>
                <a:lnTo>
                  <a:pt x="2" y="10"/>
                </a:lnTo>
                <a:lnTo>
                  <a:pt x="1" y="7"/>
                </a:lnTo>
                <a:lnTo>
                  <a:pt x="0" y="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73" name="Freeform 472"/>
          <p:cNvSpPr>
            <a:spLocks/>
          </p:cNvSpPr>
          <p:nvPr/>
        </p:nvSpPr>
        <p:spPr bwMode="auto">
          <a:xfrm>
            <a:off x="7531100" y="3276565"/>
            <a:ext cx="6350" cy="19050"/>
          </a:xfrm>
          <a:custGeom>
            <a:avLst/>
            <a:gdLst>
              <a:gd name="T0" fmla="*/ 0 w 4"/>
              <a:gd name="T1" fmla="*/ 5 h 12"/>
              <a:gd name="T2" fmla="*/ 0 w 4"/>
              <a:gd name="T3" fmla="*/ 3 h 12"/>
              <a:gd name="T4" fmla="*/ 0 w 4"/>
              <a:gd name="T5" fmla="*/ 0 h 12"/>
              <a:gd name="T6" fmla="*/ 1 w 4"/>
              <a:gd name="T7" fmla="*/ 2 h 12"/>
              <a:gd name="T8" fmla="*/ 4 w 4"/>
              <a:gd name="T9" fmla="*/ 11 h 12"/>
              <a:gd name="T10" fmla="*/ 2 w 4"/>
              <a:gd name="T11" fmla="*/ 12 h 12"/>
              <a:gd name="T12" fmla="*/ 2 w 4"/>
              <a:gd name="T13" fmla="*/ 10 h 12"/>
              <a:gd name="T14" fmla="*/ 1 w 4"/>
              <a:gd name="T15" fmla="*/ 7 h 12"/>
              <a:gd name="T16" fmla="*/ 0 w 4"/>
              <a:gd name="T17" fmla="*/ 5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12">
                <a:moveTo>
                  <a:pt x="0" y="5"/>
                </a:moveTo>
                <a:lnTo>
                  <a:pt x="0" y="3"/>
                </a:lnTo>
                <a:lnTo>
                  <a:pt x="0" y="0"/>
                </a:lnTo>
                <a:lnTo>
                  <a:pt x="1" y="2"/>
                </a:lnTo>
                <a:lnTo>
                  <a:pt x="4" y="11"/>
                </a:lnTo>
                <a:lnTo>
                  <a:pt x="2" y="12"/>
                </a:lnTo>
                <a:lnTo>
                  <a:pt x="2" y="10"/>
                </a:lnTo>
                <a:lnTo>
                  <a:pt x="1" y="7"/>
                </a:lnTo>
                <a:lnTo>
                  <a:pt x="0" y="5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74" name="Freeform 473"/>
          <p:cNvSpPr>
            <a:spLocks/>
          </p:cNvSpPr>
          <p:nvPr/>
        </p:nvSpPr>
        <p:spPr bwMode="auto">
          <a:xfrm>
            <a:off x="7543800" y="3289265"/>
            <a:ext cx="3175" cy="6350"/>
          </a:xfrm>
          <a:custGeom>
            <a:avLst/>
            <a:gdLst>
              <a:gd name="T0" fmla="*/ 0 w 2"/>
              <a:gd name="T1" fmla="*/ 0 h 4"/>
              <a:gd name="T2" fmla="*/ 1 w 2"/>
              <a:gd name="T3" fmla="*/ 3 h 4"/>
              <a:gd name="T4" fmla="*/ 2 w 2"/>
              <a:gd name="T5" fmla="*/ 4 h 4"/>
              <a:gd name="T6" fmla="*/ 1 w 2"/>
              <a:gd name="T7" fmla="*/ 4 h 4"/>
              <a:gd name="T8" fmla="*/ 0 w 2"/>
              <a:gd name="T9" fmla="*/ 3 h 4"/>
              <a:gd name="T10" fmla="*/ 0 w 2"/>
              <a:gd name="T1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4">
                <a:moveTo>
                  <a:pt x="0" y="0"/>
                </a:moveTo>
                <a:lnTo>
                  <a:pt x="1" y="3"/>
                </a:lnTo>
                <a:lnTo>
                  <a:pt x="2" y="4"/>
                </a:lnTo>
                <a:lnTo>
                  <a:pt x="1" y="4"/>
                </a:lnTo>
                <a:lnTo>
                  <a:pt x="0" y="3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75" name="Freeform 474"/>
          <p:cNvSpPr>
            <a:spLocks/>
          </p:cNvSpPr>
          <p:nvPr/>
        </p:nvSpPr>
        <p:spPr bwMode="auto">
          <a:xfrm>
            <a:off x="7543800" y="3289265"/>
            <a:ext cx="3175" cy="6350"/>
          </a:xfrm>
          <a:custGeom>
            <a:avLst/>
            <a:gdLst>
              <a:gd name="T0" fmla="*/ 0 w 2"/>
              <a:gd name="T1" fmla="*/ 0 h 4"/>
              <a:gd name="T2" fmla="*/ 1 w 2"/>
              <a:gd name="T3" fmla="*/ 3 h 4"/>
              <a:gd name="T4" fmla="*/ 2 w 2"/>
              <a:gd name="T5" fmla="*/ 4 h 4"/>
              <a:gd name="T6" fmla="*/ 1 w 2"/>
              <a:gd name="T7" fmla="*/ 4 h 4"/>
              <a:gd name="T8" fmla="*/ 0 w 2"/>
              <a:gd name="T9" fmla="*/ 3 h 4"/>
              <a:gd name="T10" fmla="*/ 0 w 2"/>
              <a:gd name="T1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4">
                <a:moveTo>
                  <a:pt x="0" y="0"/>
                </a:moveTo>
                <a:lnTo>
                  <a:pt x="1" y="3"/>
                </a:lnTo>
                <a:lnTo>
                  <a:pt x="2" y="4"/>
                </a:lnTo>
                <a:lnTo>
                  <a:pt x="1" y="4"/>
                </a:lnTo>
                <a:lnTo>
                  <a:pt x="0" y="3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76" name="Freeform 475"/>
          <p:cNvSpPr>
            <a:spLocks/>
          </p:cNvSpPr>
          <p:nvPr/>
        </p:nvSpPr>
        <p:spPr bwMode="auto">
          <a:xfrm>
            <a:off x="7477125" y="3252753"/>
            <a:ext cx="15875" cy="52388"/>
          </a:xfrm>
          <a:custGeom>
            <a:avLst/>
            <a:gdLst>
              <a:gd name="T0" fmla="*/ 8 w 10"/>
              <a:gd name="T1" fmla="*/ 1 h 33"/>
              <a:gd name="T2" fmla="*/ 8 w 10"/>
              <a:gd name="T3" fmla="*/ 0 h 33"/>
              <a:gd name="T4" fmla="*/ 9 w 10"/>
              <a:gd name="T5" fmla="*/ 2 h 33"/>
              <a:gd name="T6" fmla="*/ 9 w 10"/>
              <a:gd name="T7" fmla="*/ 4 h 33"/>
              <a:gd name="T8" fmla="*/ 9 w 10"/>
              <a:gd name="T9" fmla="*/ 11 h 33"/>
              <a:gd name="T10" fmla="*/ 10 w 10"/>
              <a:gd name="T11" fmla="*/ 16 h 33"/>
              <a:gd name="T12" fmla="*/ 7 w 10"/>
              <a:gd name="T13" fmla="*/ 19 h 33"/>
              <a:gd name="T14" fmla="*/ 4 w 10"/>
              <a:gd name="T15" fmla="*/ 26 h 33"/>
              <a:gd name="T16" fmla="*/ 3 w 10"/>
              <a:gd name="T17" fmla="*/ 29 h 33"/>
              <a:gd name="T18" fmla="*/ 2 w 10"/>
              <a:gd name="T19" fmla="*/ 32 h 33"/>
              <a:gd name="T20" fmla="*/ 1 w 10"/>
              <a:gd name="T21" fmla="*/ 33 h 33"/>
              <a:gd name="T22" fmla="*/ 0 w 10"/>
              <a:gd name="T23" fmla="*/ 29 h 33"/>
              <a:gd name="T24" fmla="*/ 0 w 10"/>
              <a:gd name="T25" fmla="*/ 26 h 33"/>
              <a:gd name="T26" fmla="*/ 1 w 10"/>
              <a:gd name="T27" fmla="*/ 19 h 33"/>
              <a:gd name="T28" fmla="*/ 4 w 10"/>
              <a:gd name="T29" fmla="*/ 14 h 33"/>
              <a:gd name="T30" fmla="*/ 5 w 10"/>
              <a:gd name="T31" fmla="*/ 8 h 33"/>
              <a:gd name="T32" fmla="*/ 7 w 10"/>
              <a:gd name="T33" fmla="*/ 2 h 33"/>
              <a:gd name="T34" fmla="*/ 8 w 10"/>
              <a:gd name="T35" fmla="*/ 1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0" h="33">
                <a:moveTo>
                  <a:pt x="8" y="1"/>
                </a:moveTo>
                <a:lnTo>
                  <a:pt x="8" y="0"/>
                </a:lnTo>
                <a:lnTo>
                  <a:pt x="9" y="2"/>
                </a:lnTo>
                <a:lnTo>
                  <a:pt x="9" y="4"/>
                </a:lnTo>
                <a:lnTo>
                  <a:pt x="9" y="11"/>
                </a:lnTo>
                <a:lnTo>
                  <a:pt x="10" y="16"/>
                </a:lnTo>
                <a:lnTo>
                  <a:pt x="7" y="19"/>
                </a:lnTo>
                <a:lnTo>
                  <a:pt x="4" y="26"/>
                </a:lnTo>
                <a:lnTo>
                  <a:pt x="3" y="29"/>
                </a:lnTo>
                <a:lnTo>
                  <a:pt x="2" y="32"/>
                </a:lnTo>
                <a:lnTo>
                  <a:pt x="1" y="33"/>
                </a:lnTo>
                <a:lnTo>
                  <a:pt x="0" y="29"/>
                </a:lnTo>
                <a:lnTo>
                  <a:pt x="0" y="26"/>
                </a:lnTo>
                <a:lnTo>
                  <a:pt x="1" y="19"/>
                </a:lnTo>
                <a:lnTo>
                  <a:pt x="4" y="14"/>
                </a:lnTo>
                <a:lnTo>
                  <a:pt x="5" y="8"/>
                </a:lnTo>
                <a:lnTo>
                  <a:pt x="7" y="2"/>
                </a:lnTo>
                <a:lnTo>
                  <a:pt x="8" y="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77" name="Freeform 476"/>
          <p:cNvSpPr>
            <a:spLocks/>
          </p:cNvSpPr>
          <p:nvPr/>
        </p:nvSpPr>
        <p:spPr bwMode="auto">
          <a:xfrm>
            <a:off x="7477125" y="3252753"/>
            <a:ext cx="15875" cy="52388"/>
          </a:xfrm>
          <a:custGeom>
            <a:avLst/>
            <a:gdLst>
              <a:gd name="T0" fmla="*/ 8 w 10"/>
              <a:gd name="T1" fmla="*/ 1 h 33"/>
              <a:gd name="T2" fmla="*/ 8 w 10"/>
              <a:gd name="T3" fmla="*/ 0 h 33"/>
              <a:gd name="T4" fmla="*/ 9 w 10"/>
              <a:gd name="T5" fmla="*/ 2 h 33"/>
              <a:gd name="T6" fmla="*/ 9 w 10"/>
              <a:gd name="T7" fmla="*/ 4 h 33"/>
              <a:gd name="T8" fmla="*/ 9 w 10"/>
              <a:gd name="T9" fmla="*/ 11 h 33"/>
              <a:gd name="T10" fmla="*/ 10 w 10"/>
              <a:gd name="T11" fmla="*/ 16 h 33"/>
              <a:gd name="T12" fmla="*/ 7 w 10"/>
              <a:gd name="T13" fmla="*/ 19 h 33"/>
              <a:gd name="T14" fmla="*/ 4 w 10"/>
              <a:gd name="T15" fmla="*/ 26 h 33"/>
              <a:gd name="T16" fmla="*/ 3 w 10"/>
              <a:gd name="T17" fmla="*/ 29 h 33"/>
              <a:gd name="T18" fmla="*/ 2 w 10"/>
              <a:gd name="T19" fmla="*/ 32 h 33"/>
              <a:gd name="T20" fmla="*/ 1 w 10"/>
              <a:gd name="T21" fmla="*/ 33 h 33"/>
              <a:gd name="T22" fmla="*/ 0 w 10"/>
              <a:gd name="T23" fmla="*/ 29 h 33"/>
              <a:gd name="T24" fmla="*/ 0 w 10"/>
              <a:gd name="T25" fmla="*/ 26 h 33"/>
              <a:gd name="T26" fmla="*/ 1 w 10"/>
              <a:gd name="T27" fmla="*/ 19 h 33"/>
              <a:gd name="T28" fmla="*/ 4 w 10"/>
              <a:gd name="T29" fmla="*/ 14 h 33"/>
              <a:gd name="T30" fmla="*/ 5 w 10"/>
              <a:gd name="T31" fmla="*/ 8 h 33"/>
              <a:gd name="T32" fmla="*/ 7 w 10"/>
              <a:gd name="T33" fmla="*/ 2 h 33"/>
              <a:gd name="T34" fmla="*/ 8 w 10"/>
              <a:gd name="T35" fmla="*/ 1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0" h="33">
                <a:moveTo>
                  <a:pt x="8" y="1"/>
                </a:moveTo>
                <a:lnTo>
                  <a:pt x="8" y="0"/>
                </a:lnTo>
                <a:lnTo>
                  <a:pt x="9" y="2"/>
                </a:lnTo>
                <a:lnTo>
                  <a:pt x="9" y="4"/>
                </a:lnTo>
                <a:lnTo>
                  <a:pt x="9" y="11"/>
                </a:lnTo>
                <a:lnTo>
                  <a:pt x="10" y="16"/>
                </a:lnTo>
                <a:lnTo>
                  <a:pt x="7" y="19"/>
                </a:lnTo>
                <a:lnTo>
                  <a:pt x="4" y="26"/>
                </a:lnTo>
                <a:lnTo>
                  <a:pt x="3" y="29"/>
                </a:lnTo>
                <a:lnTo>
                  <a:pt x="2" y="32"/>
                </a:lnTo>
                <a:lnTo>
                  <a:pt x="1" y="33"/>
                </a:lnTo>
                <a:lnTo>
                  <a:pt x="0" y="29"/>
                </a:lnTo>
                <a:lnTo>
                  <a:pt x="0" y="26"/>
                </a:lnTo>
                <a:lnTo>
                  <a:pt x="1" y="19"/>
                </a:lnTo>
                <a:lnTo>
                  <a:pt x="4" y="14"/>
                </a:lnTo>
                <a:lnTo>
                  <a:pt x="5" y="8"/>
                </a:lnTo>
                <a:lnTo>
                  <a:pt x="7" y="2"/>
                </a:lnTo>
                <a:lnTo>
                  <a:pt x="8" y="1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78" name="Freeform 477"/>
          <p:cNvSpPr>
            <a:spLocks/>
          </p:cNvSpPr>
          <p:nvPr/>
        </p:nvSpPr>
        <p:spPr bwMode="auto">
          <a:xfrm>
            <a:off x="7489825" y="3284503"/>
            <a:ext cx="17462" cy="15875"/>
          </a:xfrm>
          <a:custGeom>
            <a:avLst/>
            <a:gdLst>
              <a:gd name="T0" fmla="*/ 0 w 11"/>
              <a:gd name="T1" fmla="*/ 6 h 10"/>
              <a:gd name="T2" fmla="*/ 0 w 11"/>
              <a:gd name="T3" fmla="*/ 6 h 10"/>
              <a:gd name="T4" fmla="*/ 0 w 11"/>
              <a:gd name="T5" fmla="*/ 6 h 10"/>
              <a:gd name="T6" fmla="*/ 2 w 11"/>
              <a:gd name="T7" fmla="*/ 3 h 10"/>
              <a:gd name="T8" fmla="*/ 3 w 11"/>
              <a:gd name="T9" fmla="*/ 2 h 10"/>
              <a:gd name="T10" fmla="*/ 5 w 11"/>
              <a:gd name="T11" fmla="*/ 0 h 10"/>
              <a:gd name="T12" fmla="*/ 8 w 11"/>
              <a:gd name="T13" fmla="*/ 2 h 10"/>
              <a:gd name="T14" fmla="*/ 11 w 11"/>
              <a:gd name="T15" fmla="*/ 1 h 10"/>
              <a:gd name="T16" fmla="*/ 11 w 11"/>
              <a:gd name="T17" fmla="*/ 5 h 10"/>
              <a:gd name="T18" fmla="*/ 11 w 11"/>
              <a:gd name="T19" fmla="*/ 6 h 10"/>
              <a:gd name="T20" fmla="*/ 11 w 11"/>
              <a:gd name="T21" fmla="*/ 8 h 10"/>
              <a:gd name="T22" fmla="*/ 11 w 11"/>
              <a:gd name="T23" fmla="*/ 9 h 10"/>
              <a:gd name="T24" fmla="*/ 6 w 11"/>
              <a:gd name="T25" fmla="*/ 10 h 10"/>
              <a:gd name="T26" fmla="*/ 2 w 11"/>
              <a:gd name="T27" fmla="*/ 10 h 10"/>
              <a:gd name="T28" fmla="*/ 1 w 11"/>
              <a:gd name="T29" fmla="*/ 9 h 10"/>
              <a:gd name="T30" fmla="*/ 0 w 11"/>
              <a:gd name="T31" fmla="*/ 6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" h="10">
                <a:moveTo>
                  <a:pt x="0" y="6"/>
                </a:moveTo>
                <a:lnTo>
                  <a:pt x="0" y="6"/>
                </a:lnTo>
                <a:lnTo>
                  <a:pt x="0" y="6"/>
                </a:lnTo>
                <a:lnTo>
                  <a:pt x="2" y="3"/>
                </a:lnTo>
                <a:lnTo>
                  <a:pt x="3" y="2"/>
                </a:lnTo>
                <a:lnTo>
                  <a:pt x="5" y="0"/>
                </a:lnTo>
                <a:lnTo>
                  <a:pt x="8" y="2"/>
                </a:lnTo>
                <a:lnTo>
                  <a:pt x="11" y="1"/>
                </a:lnTo>
                <a:lnTo>
                  <a:pt x="11" y="5"/>
                </a:lnTo>
                <a:lnTo>
                  <a:pt x="11" y="6"/>
                </a:lnTo>
                <a:lnTo>
                  <a:pt x="11" y="8"/>
                </a:lnTo>
                <a:lnTo>
                  <a:pt x="11" y="9"/>
                </a:lnTo>
                <a:lnTo>
                  <a:pt x="6" y="10"/>
                </a:lnTo>
                <a:lnTo>
                  <a:pt x="2" y="10"/>
                </a:lnTo>
                <a:lnTo>
                  <a:pt x="1" y="9"/>
                </a:lnTo>
                <a:lnTo>
                  <a:pt x="0" y="6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79" name="Freeform 478"/>
          <p:cNvSpPr>
            <a:spLocks/>
          </p:cNvSpPr>
          <p:nvPr/>
        </p:nvSpPr>
        <p:spPr bwMode="auto">
          <a:xfrm>
            <a:off x="7489825" y="3284503"/>
            <a:ext cx="17462" cy="15875"/>
          </a:xfrm>
          <a:custGeom>
            <a:avLst/>
            <a:gdLst>
              <a:gd name="T0" fmla="*/ 0 w 11"/>
              <a:gd name="T1" fmla="*/ 6 h 10"/>
              <a:gd name="T2" fmla="*/ 0 w 11"/>
              <a:gd name="T3" fmla="*/ 6 h 10"/>
              <a:gd name="T4" fmla="*/ 0 w 11"/>
              <a:gd name="T5" fmla="*/ 6 h 10"/>
              <a:gd name="T6" fmla="*/ 2 w 11"/>
              <a:gd name="T7" fmla="*/ 3 h 10"/>
              <a:gd name="T8" fmla="*/ 3 w 11"/>
              <a:gd name="T9" fmla="*/ 2 h 10"/>
              <a:gd name="T10" fmla="*/ 5 w 11"/>
              <a:gd name="T11" fmla="*/ 0 h 10"/>
              <a:gd name="T12" fmla="*/ 8 w 11"/>
              <a:gd name="T13" fmla="*/ 2 h 10"/>
              <a:gd name="T14" fmla="*/ 11 w 11"/>
              <a:gd name="T15" fmla="*/ 1 h 10"/>
              <a:gd name="T16" fmla="*/ 11 w 11"/>
              <a:gd name="T17" fmla="*/ 5 h 10"/>
              <a:gd name="T18" fmla="*/ 11 w 11"/>
              <a:gd name="T19" fmla="*/ 6 h 10"/>
              <a:gd name="T20" fmla="*/ 11 w 11"/>
              <a:gd name="T21" fmla="*/ 8 h 10"/>
              <a:gd name="T22" fmla="*/ 11 w 11"/>
              <a:gd name="T23" fmla="*/ 9 h 10"/>
              <a:gd name="T24" fmla="*/ 6 w 11"/>
              <a:gd name="T25" fmla="*/ 10 h 10"/>
              <a:gd name="T26" fmla="*/ 2 w 11"/>
              <a:gd name="T27" fmla="*/ 10 h 10"/>
              <a:gd name="T28" fmla="*/ 1 w 11"/>
              <a:gd name="T29" fmla="*/ 9 h 10"/>
              <a:gd name="T30" fmla="*/ 0 w 11"/>
              <a:gd name="T31" fmla="*/ 6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" h="10">
                <a:moveTo>
                  <a:pt x="0" y="6"/>
                </a:moveTo>
                <a:lnTo>
                  <a:pt x="0" y="6"/>
                </a:lnTo>
                <a:lnTo>
                  <a:pt x="0" y="6"/>
                </a:lnTo>
                <a:lnTo>
                  <a:pt x="2" y="3"/>
                </a:lnTo>
                <a:lnTo>
                  <a:pt x="3" y="2"/>
                </a:lnTo>
                <a:lnTo>
                  <a:pt x="5" y="0"/>
                </a:lnTo>
                <a:lnTo>
                  <a:pt x="8" y="2"/>
                </a:lnTo>
                <a:lnTo>
                  <a:pt x="11" y="1"/>
                </a:lnTo>
                <a:lnTo>
                  <a:pt x="11" y="5"/>
                </a:lnTo>
                <a:lnTo>
                  <a:pt x="11" y="6"/>
                </a:lnTo>
                <a:lnTo>
                  <a:pt x="11" y="8"/>
                </a:lnTo>
                <a:lnTo>
                  <a:pt x="11" y="9"/>
                </a:lnTo>
                <a:lnTo>
                  <a:pt x="6" y="10"/>
                </a:lnTo>
                <a:lnTo>
                  <a:pt x="2" y="10"/>
                </a:lnTo>
                <a:lnTo>
                  <a:pt x="1" y="9"/>
                </a:lnTo>
                <a:lnTo>
                  <a:pt x="0" y="6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80" name="Freeform 479"/>
          <p:cNvSpPr>
            <a:spLocks/>
          </p:cNvSpPr>
          <p:nvPr/>
        </p:nvSpPr>
        <p:spPr bwMode="auto">
          <a:xfrm>
            <a:off x="7446963" y="3297203"/>
            <a:ext cx="117475" cy="119063"/>
          </a:xfrm>
          <a:custGeom>
            <a:avLst/>
            <a:gdLst>
              <a:gd name="T0" fmla="*/ 52 w 74"/>
              <a:gd name="T1" fmla="*/ 0 h 75"/>
              <a:gd name="T2" fmla="*/ 57 w 74"/>
              <a:gd name="T3" fmla="*/ 3 h 75"/>
              <a:gd name="T4" fmla="*/ 62 w 74"/>
              <a:gd name="T5" fmla="*/ 9 h 75"/>
              <a:gd name="T6" fmla="*/ 65 w 74"/>
              <a:gd name="T7" fmla="*/ 11 h 75"/>
              <a:gd name="T8" fmla="*/ 68 w 74"/>
              <a:gd name="T9" fmla="*/ 18 h 75"/>
              <a:gd name="T10" fmla="*/ 69 w 74"/>
              <a:gd name="T11" fmla="*/ 23 h 75"/>
              <a:gd name="T12" fmla="*/ 70 w 74"/>
              <a:gd name="T13" fmla="*/ 29 h 75"/>
              <a:gd name="T14" fmla="*/ 72 w 74"/>
              <a:gd name="T15" fmla="*/ 37 h 75"/>
              <a:gd name="T16" fmla="*/ 74 w 74"/>
              <a:gd name="T17" fmla="*/ 47 h 75"/>
              <a:gd name="T18" fmla="*/ 71 w 74"/>
              <a:gd name="T19" fmla="*/ 51 h 75"/>
              <a:gd name="T20" fmla="*/ 70 w 74"/>
              <a:gd name="T21" fmla="*/ 61 h 75"/>
              <a:gd name="T22" fmla="*/ 67 w 74"/>
              <a:gd name="T23" fmla="*/ 55 h 75"/>
              <a:gd name="T24" fmla="*/ 64 w 74"/>
              <a:gd name="T25" fmla="*/ 48 h 75"/>
              <a:gd name="T26" fmla="*/ 62 w 74"/>
              <a:gd name="T27" fmla="*/ 43 h 75"/>
              <a:gd name="T28" fmla="*/ 57 w 74"/>
              <a:gd name="T29" fmla="*/ 52 h 75"/>
              <a:gd name="T30" fmla="*/ 59 w 74"/>
              <a:gd name="T31" fmla="*/ 59 h 75"/>
              <a:gd name="T32" fmla="*/ 61 w 74"/>
              <a:gd name="T33" fmla="*/ 67 h 75"/>
              <a:gd name="T34" fmla="*/ 58 w 74"/>
              <a:gd name="T35" fmla="*/ 75 h 75"/>
              <a:gd name="T36" fmla="*/ 54 w 74"/>
              <a:gd name="T37" fmla="*/ 70 h 75"/>
              <a:gd name="T38" fmla="*/ 52 w 74"/>
              <a:gd name="T39" fmla="*/ 70 h 75"/>
              <a:gd name="T40" fmla="*/ 47 w 74"/>
              <a:gd name="T41" fmla="*/ 70 h 75"/>
              <a:gd name="T42" fmla="*/ 38 w 74"/>
              <a:gd name="T43" fmla="*/ 62 h 75"/>
              <a:gd name="T44" fmla="*/ 35 w 74"/>
              <a:gd name="T45" fmla="*/ 57 h 75"/>
              <a:gd name="T46" fmla="*/ 33 w 74"/>
              <a:gd name="T47" fmla="*/ 50 h 75"/>
              <a:gd name="T48" fmla="*/ 35 w 74"/>
              <a:gd name="T49" fmla="*/ 42 h 75"/>
              <a:gd name="T50" fmla="*/ 30 w 74"/>
              <a:gd name="T51" fmla="*/ 35 h 75"/>
              <a:gd name="T52" fmla="*/ 26 w 74"/>
              <a:gd name="T53" fmla="*/ 34 h 75"/>
              <a:gd name="T54" fmla="*/ 23 w 74"/>
              <a:gd name="T55" fmla="*/ 41 h 75"/>
              <a:gd name="T56" fmla="*/ 19 w 74"/>
              <a:gd name="T57" fmla="*/ 40 h 75"/>
              <a:gd name="T58" fmla="*/ 16 w 74"/>
              <a:gd name="T59" fmla="*/ 42 h 75"/>
              <a:gd name="T60" fmla="*/ 14 w 74"/>
              <a:gd name="T61" fmla="*/ 41 h 75"/>
              <a:gd name="T62" fmla="*/ 11 w 74"/>
              <a:gd name="T63" fmla="*/ 37 h 75"/>
              <a:gd name="T64" fmla="*/ 4 w 74"/>
              <a:gd name="T65" fmla="*/ 51 h 75"/>
              <a:gd name="T66" fmla="*/ 1 w 74"/>
              <a:gd name="T67" fmla="*/ 51 h 75"/>
              <a:gd name="T68" fmla="*/ 1 w 74"/>
              <a:gd name="T69" fmla="*/ 40 h 75"/>
              <a:gd name="T70" fmla="*/ 4 w 74"/>
              <a:gd name="T71" fmla="*/ 31 h 75"/>
              <a:gd name="T72" fmla="*/ 14 w 74"/>
              <a:gd name="T73" fmla="*/ 25 h 75"/>
              <a:gd name="T74" fmla="*/ 19 w 74"/>
              <a:gd name="T75" fmla="*/ 21 h 75"/>
              <a:gd name="T76" fmla="*/ 27 w 74"/>
              <a:gd name="T77" fmla="*/ 21 h 75"/>
              <a:gd name="T78" fmla="*/ 28 w 74"/>
              <a:gd name="T79" fmla="*/ 31 h 75"/>
              <a:gd name="T80" fmla="*/ 35 w 74"/>
              <a:gd name="T81" fmla="*/ 22 h 75"/>
              <a:gd name="T82" fmla="*/ 40 w 74"/>
              <a:gd name="T83" fmla="*/ 22 h 75"/>
              <a:gd name="T84" fmla="*/ 42 w 74"/>
              <a:gd name="T85" fmla="*/ 17 h 75"/>
              <a:gd name="T86" fmla="*/ 47 w 74"/>
              <a:gd name="T87" fmla="*/ 15 h 75"/>
              <a:gd name="T88" fmla="*/ 52 w 74"/>
              <a:gd name="T89" fmla="*/ 14 h 75"/>
              <a:gd name="T90" fmla="*/ 53 w 74"/>
              <a:gd name="T91" fmla="*/ 9 h 75"/>
              <a:gd name="T92" fmla="*/ 52 w 74"/>
              <a:gd name="T93" fmla="*/ 0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74" h="75">
                <a:moveTo>
                  <a:pt x="52" y="0"/>
                </a:moveTo>
                <a:lnTo>
                  <a:pt x="52" y="0"/>
                </a:lnTo>
                <a:lnTo>
                  <a:pt x="54" y="0"/>
                </a:lnTo>
                <a:lnTo>
                  <a:pt x="57" y="3"/>
                </a:lnTo>
                <a:lnTo>
                  <a:pt x="59" y="4"/>
                </a:lnTo>
                <a:lnTo>
                  <a:pt x="62" y="9"/>
                </a:lnTo>
                <a:lnTo>
                  <a:pt x="64" y="9"/>
                </a:lnTo>
                <a:lnTo>
                  <a:pt x="65" y="11"/>
                </a:lnTo>
                <a:lnTo>
                  <a:pt x="68" y="15"/>
                </a:lnTo>
                <a:lnTo>
                  <a:pt x="68" y="18"/>
                </a:lnTo>
                <a:lnTo>
                  <a:pt x="65" y="21"/>
                </a:lnTo>
                <a:lnTo>
                  <a:pt x="69" y="23"/>
                </a:lnTo>
                <a:lnTo>
                  <a:pt x="69" y="27"/>
                </a:lnTo>
                <a:lnTo>
                  <a:pt x="70" y="29"/>
                </a:lnTo>
                <a:lnTo>
                  <a:pt x="71" y="34"/>
                </a:lnTo>
                <a:lnTo>
                  <a:pt x="72" y="37"/>
                </a:lnTo>
                <a:lnTo>
                  <a:pt x="73" y="41"/>
                </a:lnTo>
                <a:lnTo>
                  <a:pt x="74" y="47"/>
                </a:lnTo>
                <a:lnTo>
                  <a:pt x="72" y="50"/>
                </a:lnTo>
                <a:lnTo>
                  <a:pt x="71" y="51"/>
                </a:lnTo>
                <a:lnTo>
                  <a:pt x="70" y="53"/>
                </a:lnTo>
                <a:lnTo>
                  <a:pt x="70" y="61"/>
                </a:lnTo>
                <a:lnTo>
                  <a:pt x="68" y="59"/>
                </a:lnTo>
                <a:lnTo>
                  <a:pt x="67" y="55"/>
                </a:lnTo>
                <a:lnTo>
                  <a:pt x="67" y="50"/>
                </a:lnTo>
                <a:lnTo>
                  <a:pt x="64" y="48"/>
                </a:lnTo>
                <a:lnTo>
                  <a:pt x="63" y="44"/>
                </a:lnTo>
                <a:lnTo>
                  <a:pt x="62" y="43"/>
                </a:lnTo>
                <a:lnTo>
                  <a:pt x="60" y="44"/>
                </a:lnTo>
                <a:lnTo>
                  <a:pt x="57" y="52"/>
                </a:lnTo>
                <a:lnTo>
                  <a:pt x="57" y="57"/>
                </a:lnTo>
                <a:lnTo>
                  <a:pt x="59" y="59"/>
                </a:lnTo>
                <a:lnTo>
                  <a:pt x="60" y="62"/>
                </a:lnTo>
                <a:lnTo>
                  <a:pt x="61" y="67"/>
                </a:lnTo>
                <a:lnTo>
                  <a:pt x="61" y="69"/>
                </a:lnTo>
                <a:lnTo>
                  <a:pt x="58" y="75"/>
                </a:lnTo>
                <a:lnTo>
                  <a:pt x="55" y="74"/>
                </a:lnTo>
                <a:lnTo>
                  <a:pt x="54" y="70"/>
                </a:lnTo>
                <a:lnTo>
                  <a:pt x="54" y="68"/>
                </a:lnTo>
                <a:lnTo>
                  <a:pt x="52" y="70"/>
                </a:lnTo>
                <a:lnTo>
                  <a:pt x="49" y="70"/>
                </a:lnTo>
                <a:lnTo>
                  <a:pt x="47" y="70"/>
                </a:lnTo>
                <a:lnTo>
                  <a:pt x="40" y="65"/>
                </a:lnTo>
                <a:lnTo>
                  <a:pt x="38" y="62"/>
                </a:lnTo>
                <a:lnTo>
                  <a:pt x="35" y="60"/>
                </a:lnTo>
                <a:lnTo>
                  <a:pt x="35" y="57"/>
                </a:lnTo>
                <a:lnTo>
                  <a:pt x="34" y="53"/>
                </a:lnTo>
                <a:lnTo>
                  <a:pt x="33" y="50"/>
                </a:lnTo>
                <a:lnTo>
                  <a:pt x="37" y="44"/>
                </a:lnTo>
                <a:lnTo>
                  <a:pt x="35" y="42"/>
                </a:lnTo>
                <a:lnTo>
                  <a:pt x="33" y="39"/>
                </a:lnTo>
                <a:lnTo>
                  <a:pt x="30" y="35"/>
                </a:lnTo>
                <a:lnTo>
                  <a:pt x="27" y="34"/>
                </a:lnTo>
                <a:lnTo>
                  <a:pt x="26" y="34"/>
                </a:lnTo>
                <a:lnTo>
                  <a:pt x="23" y="40"/>
                </a:lnTo>
                <a:lnTo>
                  <a:pt x="23" y="41"/>
                </a:lnTo>
                <a:lnTo>
                  <a:pt x="21" y="40"/>
                </a:lnTo>
                <a:lnTo>
                  <a:pt x="19" y="40"/>
                </a:lnTo>
                <a:lnTo>
                  <a:pt x="19" y="38"/>
                </a:lnTo>
                <a:lnTo>
                  <a:pt x="16" y="42"/>
                </a:lnTo>
                <a:lnTo>
                  <a:pt x="16" y="43"/>
                </a:lnTo>
                <a:lnTo>
                  <a:pt x="14" y="41"/>
                </a:lnTo>
                <a:lnTo>
                  <a:pt x="13" y="37"/>
                </a:lnTo>
                <a:lnTo>
                  <a:pt x="11" y="37"/>
                </a:lnTo>
                <a:lnTo>
                  <a:pt x="8" y="41"/>
                </a:lnTo>
                <a:lnTo>
                  <a:pt x="4" y="51"/>
                </a:lnTo>
                <a:lnTo>
                  <a:pt x="3" y="51"/>
                </a:lnTo>
                <a:lnTo>
                  <a:pt x="1" y="51"/>
                </a:lnTo>
                <a:lnTo>
                  <a:pt x="0" y="48"/>
                </a:lnTo>
                <a:lnTo>
                  <a:pt x="1" y="40"/>
                </a:lnTo>
                <a:lnTo>
                  <a:pt x="2" y="34"/>
                </a:lnTo>
                <a:lnTo>
                  <a:pt x="4" y="31"/>
                </a:lnTo>
                <a:lnTo>
                  <a:pt x="14" y="28"/>
                </a:lnTo>
                <a:lnTo>
                  <a:pt x="14" y="25"/>
                </a:lnTo>
                <a:lnTo>
                  <a:pt x="17" y="22"/>
                </a:lnTo>
                <a:lnTo>
                  <a:pt x="19" y="21"/>
                </a:lnTo>
                <a:lnTo>
                  <a:pt x="21" y="19"/>
                </a:lnTo>
                <a:lnTo>
                  <a:pt x="27" y="21"/>
                </a:lnTo>
                <a:lnTo>
                  <a:pt x="29" y="25"/>
                </a:lnTo>
                <a:lnTo>
                  <a:pt x="28" y="31"/>
                </a:lnTo>
                <a:lnTo>
                  <a:pt x="33" y="28"/>
                </a:lnTo>
                <a:lnTo>
                  <a:pt x="35" y="22"/>
                </a:lnTo>
                <a:lnTo>
                  <a:pt x="38" y="21"/>
                </a:lnTo>
                <a:lnTo>
                  <a:pt x="40" y="22"/>
                </a:lnTo>
                <a:lnTo>
                  <a:pt x="42" y="20"/>
                </a:lnTo>
                <a:lnTo>
                  <a:pt x="42" y="17"/>
                </a:lnTo>
                <a:lnTo>
                  <a:pt x="43" y="14"/>
                </a:lnTo>
                <a:lnTo>
                  <a:pt x="47" y="15"/>
                </a:lnTo>
                <a:lnTo>
                  <a:pt x="50" y="13"/>
                </a:lnTo>
                <a:lnTo>
                  <a:pt x="52" y="14"/>
                </a:lnTo>
                <a:lnTo>
                  <a:pt x="53" y="13"/>
                </a:lnTo>
                <a:lnTo>
                  <a:pt x="53" y="9"/>
                </a:lnTo>
                <a:lnTo>
                  <a:pt x="52" y="2"/>
                </a:lnTo>
                <a:lnTo>
                  <a:pt x="52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81" name="Freeform 480"/>
          <p:cNvSpPr>
            <a:spLocks/>
          </p:cNvSpPr>
          <p:nvPr/>
        </p:nvSpPr>
        <p:spPr bwMode="auto">
          <a:xfrm>
            <a:off x="7446963" y="3297203"/>
            <a:ext cx="117475" cy="119063"/>
          </a:xfrm>
          <a:custGeom>
            <a:avLst/>
            <a:gdLst>
              <a:gd name="T0" fmla="*/ 52 w 74"/>
              <a:gd name="T1" fmla="*/ 0 h 75"/>
              <a:gd name="T2" fmla="*/ 57 w 74"/>
              <a:gd name="T3" fmla="*/ 3 h 75"/>
              <a:gd name="T4" fmla="*/ 62 w 74"/>
              <a:gd name="T5" fmla="*/ 9 h 75"/>
              <a:gd name="T6" fmla="*/ 65 w 74"/>
              <a:gd name="T7" fmla="*/ 11 h 75"/>
              <a:gd name="T8" fmla="*/ 68 w 74"/>
              <a:gd name="T9" fmla="*/ 18 h 75"/>
              <a:gd name="T10" fmla="*/ 69 w 74"/>
              <a:gd name="T11" fmla="*/ 23 h 75"/>
              <a:gd name="T12" fmla="*/ 70 w 74"/>
              <a:gd name="T13" fmla="*/ 29 h 75"/>
              <a:gd name="T14" fmla="*/ 72 w 74"/>
              <a:gd name="T15" fmla="*/ 37 h 75"/>
              <a:gd name="T16" fmla="*/ 74 w 74"/>
              <a:gd name="T17" fmla="*/ 47 h 75"/>
              <a:gd name="T18" fmla="*/ 71 w 74"/>
              <a:gd name="T19" fmla="*/ 51 h 75"/>
              <a:gd name="T20" fmla="*/ 70 w 74"/>
              <a:gd name="T21" fmla="*/ 61 h 75"/>
              <a:gd name="T22" fmla="*/ 67 w 74"/>
              <a:gd name="T23" fmla="*/ 55 h 75"/>
              <a:gd name="T24" fmla="*/ 64 w 74"/>
              <a:gd name="T25" fmla="*/ 48 h 75"/>
              <a:gd name="T26" fmla="*/ 62 w 74"/>
              <a:gd name="T27" fmla="*/ 43 h 75"/>
              <a:gd name="T28" fmla="*/ 57 w 74"/>
              <a:gd name="T29" fmla="*/ 52 h 75"/>
              <a:gd name="T30" fmla="*/ 59 w 74"/>
              <a:gd name="T31" fmla="*/ 59 h 75"/>
              <a:gd name="T32" fmla="*/ 61 w 74"/>
              <a:gd name="T33" fmla="*/ 67 h 75"/>
              <a:gd name="T34" fmla="*/ 58 w 74"/>
              <a:gd name="T35" fmla="*/ 75 h 75"/>
              <a:gd name="T36" fmla="*/ 54 w 74"/>
              <a:gd name="T37" fmla="*/ 70 h 75"/>
              <a:gd name="T38" fmla="*/ 52 w 74"/>
              <a:gd name="T39" fmla="*/ 70 h 75"/>
              <a:gd name="T40" fmla="*/ 47 w 74"/>
              <a:gd name="T41" fmla="*/ 70 h 75"/>
              <a:gd name="T42" fmla="*/ 38 w 74"/>
              <a:gd name="T43" fmla="*/ 62 h 75"/>
              <a:gd name="T44" fmla="*/ 35 w 74"/>
              <a:gd name="T45" fmla="*/ 57 h 75"/>
              <a:gd name="T46" fmla="*/ 33 w 74"/>
              <a:gd name="T47" fmla="*/ 50 h 75"/>
              <a:gd name="T48" fmla="*/ 35 w 74"/>
              <a:gd name="T49" fmla="*/ 42 h 75"/>
              <a:gd name="T50" fmla="*/ 30 w 74"/>
              <a:gd name="T51" fmla="*/ 35 h 75"/>
              <a:gd name="T52" fmla="*/ 26 w 74"/>
              <a:gd name="T53" fmla="*/ 34 h 75"/>
              <a:gd name="T54" fmla="*/ 23 w 74"/>
              <a:gd name="T55" fmla="*/ 41 h 75"/>
              <a:gd name="T56" fmla="*/ 19 w 74"/>
              <a:gd name="T57" fmla="*/ 40 h 75"/>
              <a:gd name="T58" fmla="*/ 16 w 74"/>
              <a:gd name="T59" fmla="*/ 42 h 75"/>
              <a:gd name="T60" fmla="*/ 14 w 74"/>
              <a:gd name="T61" fmla="*/ 41 h 75"/>
              <a:gd name="T62" fmla="*/ 11 w 74"/>
              <a:gd name="T63" fmla="*/ 37 h 75"/>
              <a:gd name="T64" fmla="*/ 4 w 74"/>
              <a:gd name="T65" fmla="*/ 51 h 75"/>
              <a:gd name="T66" fmla="*/ 1 w 74"/>
              <a:gd name="T67" fmla="*/ 51 h 75"/>
              <a:gd name="T68" fmla="*/ 1 w 74"/>
              <a:gd name="T69" fmla="*/ 40 h 75"/>
              <a:gd name="T70" fmla="*/ 4 w 74"/>
              <a:gd name="T71" fmla="*/ 31 h 75"/>
              <a:gd name="T72" fmla="*/ 14 w 74"/>
              <a:gd name="T73" fmla="*/ 25 h 75"/>
              <a:gd name="T74" fmla="*/ 19 w 74"/>
              <a:gd name="T75" fmla="*/ 21 h 75"/>
              <a:gd name="T76" fmla="*/ 27 w 74"/>
              <a:gd name="T77" fmla="*/ 21 h 75"/>
              <a:gd name="T78" fmla="*/ 28 w 74"/>
              <a:gd name="T79" fmla="*/ 31 h 75"/>
              <a:gd name="T80" fmla="*/ 35 w 74"/>
              <a:gd name="T81" fmla="*/ 22 h 75"/>
              <a:gd name="T82" fmla="*/ 40 w 74"/>
              <a:gd name="T83" fmla="*/ 22 h 75"/>
              <a:gd name="T84" fmla="*/ 42 w 74"/>
              <a:gd name="T85" fmla="*/ 17 h 75"/>
              <a:gd name="T86" fmla="*/ 47 w 74"/>
              <a:gd name="T87" fmla="*/ 15 h 75"/>
              <a:gd name="T88" fmla="*/ 52 w 74"/>
              <a:gd name="T89" fmla="*/ 14 h 75"/>
              <a:gd name="T90" fmla="*/ 53 w 74"/>
              <a:gd name="T91" fmla="*/ 9 h 75"/>
              <a:gd name="T92" fmla="*/ 52 w 74"/>
              <a:gd name="T93" fmla="*/ 0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74" h="75">
                <a:moveTo>
                  <a:pt x="52" y="0"/>
                </a:moveTo>
                <a:lnTo>
                  <a:pt x="52" y="0"/>
                </a:lnTo>
                <a:lnTo>
                  <a:pt x="54" y="0"/>
                </a:lnTo>
                <a:lnTo>
                  <a:pt x="57" y="3"/>
                </a:lnTo>
                <a:lnTo>
                  <a:pt x="59" y="4"/>
                </a:lnTo>
                <a:lnTo>
                  <a:pt x="62" y="9"/>
                </a:lnTo>
                <a:lnTo>
                  <a:pt x="64" y="9"/>
                </a:lnTo>
                <a:lnTo>
                  <a:pt x="65" y="11"/>
                </a:lnTo>
                <a:lnTo>
                  <a:pt x="68" y="15"/>
                </a:lnTo>
                <a:lnTo>
                  <a:pt x="68" y="18"/>
                </a:lnTo>
                <a:lnTo>
                  <a:pt x="65" y="21"/>
                </a:lnTo>
                <a:lnTo>
                  <a:pt x="69" y="23"/>
                </a:lnTo>
                <a:lnTo>
                  <a:pt x="69" y="27"/>
                </a:lnTo>
                <a:lnTo>
                  <a:pt x="70" y="29"/>
                </a:lnTo>
                <a:lnTo>
                  <a:pt x="71" y="34"/>
                </a:lnTo>
                <a:lnTo>
                  <a:pt x="72" y="37"/>
                </a:lnTo>
                <a:lnTo>
                  <a:pt x="73" y="41"/>
                </a:lnTo>
                <a:lnTo>
                  <a:pt x="74" y="47"/>
                </a:lnTo>
                <a:lnTo>
                  <a:pt x="72" y="50"/>
                </a:lnTo>
                <a:lnTo>
                  <a:pt x="71" y="51"/>
                </a:lnTo>
                <a:lnTo>
                  <a:pt x="70" y="53"/>
                </a:lnTo>
                <a:lnTo>
                  <a:pt x="70" y="61"/>
                </a:lnTo>
                <a:lnTo>
                  <a:pt x="68" y="59"/>
                </a:lnTo>
                <a:lnTo>
                  <a:pt x="67" y="55"/>
                </a:lnTo>
                <a:lnTo>
                  <a:pt x="67" y="50"/>
                </a:lnTo>
                <a:lnTo>
                  <a:pt x="64" y="48"/>
                </a:lnTo>
                <a:lnTo>
                  <a:pt x="63" y="44"/>
                </a:lnTo>
                <a:lnTo>
                  <a:pt x="62" y="43"/>
                </a:lnTo>
                <a:lnTo>
                  <a:pt x="60" y="44"/>
                </a:lnTo>
                <a:lnTo>
                  <a:pt x="57" y="52"/>
                </a:lnTo>
                <a:lnTo>
                  <a:pt x="57" y="57"/>
                </a:lnTo>
                <a:lnTo>
                  <a:pt x="59" y="59"/>
                </a:lnTo>
                <a:lnTo>
                  <a:pt x="60" y="62"/>
                </a:lnTo>
                <a:lnTo>
                  <a:pt x="61" y="67"/>
                </a:lnTo>
                <a:lnTo>
                  <a:pt x="61" y="69"/>
                </a:lnTo>
                <a:lnTo>
                  <a:pt x="58" y="75"/>
                </a:lnTo>
                <a:lnTo>
                  <a:pt x="55" y="74"/>
                </a:lnTo>
                <a:lnTo>
                  <a:pt x="54" y="70"/>
                </a:lnTo>
                <a:lnTo>
                  <a:pt x="54" y="68"/>
                </a:lnTo>
                <a:lnTo>
                  <a:pt x="52" y="70"/>
                </a:lnTo>
                <a:lnTo>
                  <a:pt x="49" y="70"/>
                </a:lnTo>
                <a:lnTo>
                  <a:pt x="47" y="70"/>
                </a:lnTo>
                <a:lnTo>
                  <a:pt x="40" y="65"/>
                </a:lnTo>
                <a:lnTo>
                  <a:pt x="38" y="62"/>
                </a:lnTo>
                <a:lnTo>
                  <a:pt x="35" y="60"/>
                </a:lnTo>
                <a:lnTo>
                  <a:pt x="35" y="57"/>
                </a:lnTo>
                <a:lnTo>
                  <a:pt x="34" y="53"/>
                </a:lnTo>
                <a:lnTo>
                  <a:pt x="33" y="50"/>
                </a:lnTo>
                <a:lnTo>
                  <a:pt x="37" y="44"/>
                </a:lnTo>
                <a:lnTo>
                  <a:pt x="35" y="42"/>
                </a:lnTo>
                <a:lnTo>
                  <a:pt x="33" y="39"/>
                </a:lnTo>
                <a:lnTo>
                  <a:pt x="30" y="35"/>
                </a:lnTo>
                <a:lnTo>
                  <a:pt x="27" y="34"/>
                </a:lnTo>
                <a:lnTo>
                  <a:pt x="26" y="34"/>
                </a:lnTo>
                <a:lnTo>
                  <a:pt x="23" y="40"/>
                </a:lnTo>
                <a:lnTo>
                  <a:pt x="23" y="41"/>
                </a:lnTo>
                <a:lnTo>
                  <a:pt x="21" y="40"/>
                </a:lnTo>
                <a:lnTo>
                  <a:pt x="19" y="40"/>
                </a:lnTo>
                <a:lnTo>
                  <a:pt x="19" y="38"/>
                </a:lnTo>
                <a:lnTo>
                  <a:pt x="16" y="42"/>
                </a:lnTo>
                <a:lnTo>
                  <a:pt x="16" y="43"/>
                </a:lnTo>
                <a:lnTo>
                  <a:pt x="14" y="41"/>
                </a:lnTo>
                <a:lnTo>
                  <a:pt x="13" y="37"/>
                </a:lnTo>
                <a:lnTo>
                  <a:pt x="11" y="37"/>
                </a:lnTo>
                <a:lnTo>
                  <a:pt x="8" y="41"/>
                </a:lnTo>
                <a:lnTo>
                  <a:pt x="4" y="51"/>
                </a:lnTo>
                <a:lnTo>
                  <a:pt x="3" y="51"/>
                </a:lnTo>
                <a:lnTo>
                  <a:pt x="1" y="51"/>
                </a:lnTo>
                <a:lnTo>
                  <a:pt x="0" y="48"/>
                </a:lnTo>
                <a:lnTo>
                  <a:pt x="1" y="40"/>
                </a:lnTo>
                <a:lnTo>
                  <a:pt x="2" y="34"/>
                </a:lnTo>
                <a:lnTo>
                  <a:pt x="4" y="31"/>
                </a:lnTo>
                <a:lnTo>
                  <a:pt x="14" y="28"/>
                </a:lnTo>
                <a:lnTo>
                  <a:pt x="14" y="25"/>
                </a:lnTo>
                <a:lnTo>
                  <a:pt x="17" y="22"/>
                </a:lnTo>
                <a:lnTo>
                  <a:pt x="19" y="21"/>
                </a:lnTo>
                <a:lnTo>
                  <a:pt x="21" y="19"/>
                </a:lnTo>
                <a:lnTo>
                  <a:pt x="27" y="21"/>
                </a:lnTo>
                <a:lnTo>
                  <a:pt x="29" y="25"/>
                </a:lnTo>
                <a:lnTo>
                  <a:pt x="28" y="31"/>
                </a:lnTo>
                <a:lnTo>
                  <a:pt x="33" y="28"/>
                </a:lnTo>
                <a:lnTo>
                  <a:pt x="35" y="22"/>
                </a:lnTo>
                <a:lnTo>
                  <a:pt x="38" y="21"/>
                </a:lnTo>
                <a:lnTo>
                  <a:pt x="40" y="22"/>
                </a:lnTo>
                <a:lnTo>
                  <a:pt x="42" y="20"/>
                </a:lnTo>
                <a:lnTo>
                  <a:pt x="42" y="17"/>
                </a:lnTo>
                <a:lnTo>
                  <a:pt x="43" y="14"/>
                </a:lnTo>
                <a:lnTo>
                  <a:pt x="47" y="15"/>
                </a:lnTo>
                <a:lnTo>
                  <a:pt x="50" y="13"/>
                </a:lnTo>
                <a:lnTo>
                  <a:pt x="52" y="14"/>
                </a:lnTo>
                <a:lnTo>
                  <a:pt x="53" y="13"/>
                </a:lnTo>
                <a:lnTo>
                  <a:pt x="53" y="9"/>
                </a:lnTo>
                <a:lnTo>
                  <a:pt x="52" y="2"/>
                </a:lnTo>
                <a:lnTo>
                  <a:pt x="52" y="0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82" name="Freeform 481"/>
          <p:cNvSpPr>
            <a:spLocks/>
          </p:cNvSpPr>
          <p:nvPr/>
        </p:nvSpPr>
        <p:spPr bwMode="auto">
          <a:xfrm>
            <a:off x="7445375" y="3384515"/>
            <a:ext cx="12700" cy="7938"/>
          </a:xfrm>
          <a:custGeom>
            <a:avLst/>
            <a:gdLst>
              <a:gd name="T0" fmla="*/ 0 w 8"/>
              <a:gd name="T1" fmla="*/ 2 h 5"/>
              <a:gd name="T2" fmla="*/ 1 w 8"/>
              <a:gd name="T3" fmla="*/ 0 h 5"/>
              <a:gd name="T4" fmla="*/ 3 w 8"/>
              <a:gd name="T5" fmla="*/ 0 h 5"/>
              <a:gd name="T6" fmla="*/ 7 w 8"/>
              <a:gd name="T7" fmla="*/ 2 h 5"/>
              <a:gd name="T8" fmla="*/ 8 w 8"/>
              <a:gd name="T9" fmla="*/ 3 h 5"/>
              <a:gd name="T10" fmla="*/ 5 w 8"/>
              <a:gd name="T11" fmla="*/ 5 h 5"/>
              <a:gd name="T12" fmla="*/ 2 w 8"/>
              <a:gd name="T13" fmla="*/ 5 h 5"/>
              <a:gd name="T14" fmla="*/ 1 w 8"/>
              <a:gd name="T15" fmla="*/ 4 h 5"/>
              <a:gd name="T16" fmla="*/ 0 w 8"/>
              <a:gd name="T17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" h="5">
                <a:moveTo>
                  <a:pt x="0" y="2"/>
                </a:moveTo>
                <a:lnTo>
                  <a:pt x="1" y="0"/>
                </a:lnTo>
                <a:lnTo>
                  <a:pt x="3" y="0"/>
                </a:lnTo>
                <a:lnTo>
                  <a:pt x="7" y="2"/>
                </a:lnTo>
                <a:lnTo>
                  <a:pt x="8" y="3"/>
                </a:lnTo>
                <a:lnTo>
                  <a:pt x="5" y="5"/>
                </a:lnTo>
                <a:lnTo>
                  <a:pt x="2" y="5"/>
                </a:lnTo>
                <a:lnTo>
                  <a:pt x="1" y="4"/>
                </a:lnTo>
                <a:lnTo>
                  <a:pt x="0" y="2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83" name="Freeform 482"/>
          <p:cNvSpPr>
            <a:spLocks/>
          </p:cNvSpPr>
          <p:nvPr/>
        </p:nvSpPr>
        <p:spPr bwMode="auto">
          <a:xfrm>
            <a:off x="7445375" y="3384515"/>
            <a:ext cx="12700" cy="7938"/>
          </a:xfrm>
          <a:custGeom>
            <a:avLst/>
            <a:gdLst>
              <a:gd name="T0" fmla="*/ 0 w 8"/>
              <a:gd name="T1" fmla="*/ 2 h 5"/>
              <a:gd name="T2" fmla="*/ 1 w 8"/>
              <a:gd name="T3" fmla="*/ 0 h 5"/>
              <a:gd name="T4" fmla="*/ 3 w 8"/>
              <a:gd name="T5" fmla="*/ 0 h 5"/>
              <a:gd name="T6" fmla="*/ 7 w 8"/>
              <a:gd name="T7" fmla="*/ 2 h 5"/>
              <a:gd name="T8" fmla="*/ 8 w 8"/>
              <a:gd name="T9" fmla="*/ 3 h 5"/>
              <a:gd name="T10" fmla="*/ 5 w 8"/>
              <a:gd name="T11" fmla="*/ 5 h 5"/>
              <a:gd name="T12" fmla="*/ 2 w 8"/>
              <a:gd name="T13" fmla="*/ 5 h 5"/>
              <a:gd name="T14" fmla="*/ 1 w 8"/>
              <a:gd name="T15" fmla="*/ 4 h 5"/>
              <a:gd name="T16" fmla="*/ 0 w 8"/>
              <a:gd name="T17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" h="5">
                <a:moveTo>
                  <a:pt x="0" y="2"/>
                </a:moveTo>
                <a:lnTo>
                  <a:pt x="1" y="0"/>
                </a:lnTo>
                <a:lnTo>
                  <a:pt x="3" y="0"/>
                </a:lnTo>
                <a:lnTo>
                  <a:pt x="7" y="2"/>
                </a:lnTo>
                <a:lnTo>
                  <a:pt x="8" y="3"/>
                </a:lnTo>
                <a:lnTo>
                  <a:pt x="5" y="5"/>
                </a:lnTo>
                <a:lnTo>
                  <a:pt x="2" y="5"/>
                </a:lnTo>
                <a:lnTo>
                  <a:pt x="1" y="4"/>
                </a:lnTo>
                <a:lnTo>
                  <a:pt x="0" y="2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84" name="Freeform 483"/>
          <p:cNvSpPr>
            <a:spLocks/>
          </p:cNvSpPr>
          <p:nvPr/>
        </p:nvSpPr>
        <p:spPr bwMode="auto">
          <a:xfrm>
            <a:off x="7424738" y="3405153"/>
            <a:ext cx="11112" cy="4763"/>
          </a:xfrm>
          <a:custGeom>
            <a:avLst/>
            <a:gdLst>
              <a:gd name="T0" fmla="*/ 0 w 7"/>
              <a:gd name="T1" fmla="*/ 2 h 3"/>
              <a:gd name="T2" fmla="*/ 0 w 7"/>
              <a:gd name="T3" fmla="*/ 1 h 3"/>
              <a:gd name="T4" fmla="*/ 0 w 7"/>
              <a:gd name="T5" fmla="*/ 0 h 3"/>
              <a:gd name="T6" fmla="*/ 2 w 7"/>
              <a:gd name="T7" fmla="*/ 0 h 3"/>
              <a:gd name="T8" fmla="*/ 7 w 7"/>
              <a:gd name="T9" fmla="*/ 1 h 3"/>
              <a:gd name="T10" fmla="*/ 6 w 7"/>
              <a:gd name="T11" fmla="*/ 3 h 3"/>
              <a:gd name="T12" fmla="*/ 3 w 7"/>
              <a:gd name="T13" fmla="*/ 2 h 3"/>
              <a:gd name="T14" fmla="*/ 1 w 7"/>
              <a:gd name="T15" fmla="*/ 3 h 3"/>
              <a:gd name="T16" fmla="*/ 0 w 7"/>
              <a:gd name="T17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" h="3">
                <a:moveTo>
                  <a:pt x="0" y="2"/>
                </a:moveTo>
                <a:lnTo>
                  <a:pt x="0" y="1"/>
                </a:lnTo>
                <a:lnTo>
                  <a:pt x="0" y="0"/>
                </a:lnTo>
                <a:lnTo>
                  <a:pt x="2" y="0"/>
                </a:lnTo>
                <a:lnTo>
                  <a:pt x="7" y="1"/>
                </a:lnTo>
                <a:lnTo>
                  <a:pt x="6" y="3"/>
                </a:lnTo>
                <a:lnTo>
                  <a:pt x="3" y="2"/>
                </a:lnTo>
                <a:lnTo>
                  <a:pt x="1" y="3"/>
                </a:lnTo>
                <a:lnTo>
                  <a:pt x="0" y="2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85" name="Freeform 484"/>
          <p:cNvSpPr>
            <a:spLocks/>
          </p:cNvSpPr>
          <p:nvPr/>
        </p:nvSpPr>
        <p:spPr bwMode="auto">
          <a:xfrm>
            <a:off x="7424738" y="3405153"/>
            <a:ext cx="11112" cy="4763"/>
          </a:xfrm>
          <a:custGeom>
            <a:avLst/>
            <a:gdLst>
              <a:gd name="T0" fmla="*/ 0 w 7"/>
              <a:gd name="T1" fmla="*/ 2 h 3"/>
              <a:gd name="T2" fmla="*/ 0 w 7"/>
              <a:gd name="T3" fmla="*/ 1 h 3"/>
              <a:gd name="T4" fmla="*/ 0 w 7"/>
              <a:gd name="T5" fmla="*/ 0 h 3"/>
              <a:gd name="T6" fmla="*/ 2 w 7"/>
              <a:gd name="T7" fmla="*/ 0 h 3"/>
              <a:gd name="T8" fmla="*/ 7 w 7"/>
              <a:gd name="T9" fmla="*/ 1 h 3"/>
              <a:gd name="T10" fmla="*/ 6 w 7"/>
              <a:gd name="T11" fmla="*/ 3 h 3"/>
              <a:gd name="T12" fmla="*/ 3 w 7"/>
              <a:gd name="T13" fmla="*/ 2 h 3"/>
              <a:gd name="T14" fmla="*/ 1 w 7"/>
              <a:gd name="T15" fmla="*/ 3 h 3"/>
              <a:gd name="T16" fmla="*/ 0 w 7"/>
              <a:gd name="T17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" h="3">
                <a:moveTo>
                  <a:pt x="0" y="2"/>
                </a:moveTo>
                <a:lnTo>
                  <a:pt x="0" y="1"/>
                </a:lnTo>
                <a:lnTo>
                  <a:pt x="0" y="0"/>
                </a:lnTo>
                <a:lnTo>
                  <a:pt x="2" y="0"/>
                </a:lnTo>
                <a:lnTo>
                  <a:pt x="7" y="1"/>
                </a:lnTo>
                <a:lnTo>
                  <a:pt x="6" y="3"/>
                </a:lnTo>
                <a:lnTo>
                  <a:pt x="3" y="2"/>
                </a:lnTo>
                <a:lnTo>
                  <a:pt x="1" y="3"/>
                </a:lnTo>
                <a:lnTo>
                  <a:pt x="0" y="2"/>
                </a:lnTo>
              </a:path>
            </a:pathLst>
          </a:custGeom>
          <a:solidFill>
            <a:schemeClr val="bg1">
              <a:lumMod val="65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86" name="Freeform 485"/>
          <p:cNvSpPr>
            <a:spLocks/>
          </p:cNvSpPr>
          <p:nvPr/>
        </p:nvSpPr>
        <p:spPr bwMode="auto">
          <a:xfrm>
            <a:off x="7397750" y="3425790"/>
            <a:ext cx="7937" cy="9525"/>
          </a:xfrm>
          <a:custGeom>
            <a:avLst/>
            <a:gdLst>
              <a:gd name="T0" fmla="*/ 0 w 5"/>
              <a:gd name="T1" fmla="*/ 6 h 6"/>
              <a:gd name="T2" fmla="*/ 0 w 5"/>
              <a:gd name="T3" fmla="*/ 4 h 6"/>
              <a:gd name="T4" fmla="*/ 0 w 5"/>
              <a:gd name="T5" fmla="*/ 2 h 6"/>
              <a:gd name="T6" fmla="*/ 1 w 5"/>
              <a:gd name="T7" fmla="*/ 2 h 6"/>
              <a:gd name="T8" fmla="*/ 3 w 5"/>
              <a:gd name="T9" fmla="*/ 0 h 6"/>
              <a:gd name="T10" fmla="*/ 5 w 5"/>
              <a:gd name="T11" fmla="*/ 1 h 6"/>
              <a:gd name="T12" fmla="*/ 5 w 5"/>
              <a:gd name="T13" fmla="*/ 2 h 6"/>
              <a:gd name="T14" fmla="*/ 1 w 5"/>
              <a:gd name="T15" fmla="*/ 4 h 6"/>
              <a:gd name="T16" fmla="*/ 0 w 5"/>
              <a:gd name="T17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" h="6">
                <a:moveTo>
                  <a:pt x="0" y="6"/>
                </a:moveTo>
                <a:lnTo>
                  <a:pt x="0" y="4"/>
                </a:lnTo>
                <a:lnTo>
                  <a:pt x="0" y="2"/>
                </a:lnTo>
                <a:lnTo>
                  <a:pt x="1" y="2"/>
                </a:lnTo>
                <a:lnTo>
                  <a:pt x="3" y="0"/>
                </a:lnTo>
                <a:lnTo>
                  <a:pt x="5" y="1"/>
                </a:lnTo>
                <a:lnTo>
                  <a:pt x="5" y="2"/>
                </a:lnTo>
                <a:lnTo>
                  <a:pt x="1" y="4"/>
                </a:lnTo>
                <a:lnTo>
                  <a:pt x="0" y="6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88" name="Freeform 487"/>
          <p:cNvSpPr>
            <a:spLocks/>
          </p:cNvSpPr>
          <p:nvPr/>
        </p:nvSpPr>
        <p:spPr bwMode="auto">
          <a:xfrm>
            <a:off x="8394700" y="3917915"/>
            <a:ext cx="11112" cy="3175"/>
          </a:xfrm>
          <a:custGeom>
            <a:avLst/>
            <a:gdLst>
              <a:gd name="T0" fmla="*/ 2 w 7"/>
              <a:gd name="T1" fmla="*/ 1 h 2"/>
              <a:gd name="T2" fmla="*/ 0 w 7"/>
              <a:gd name="T3" fmla="*/ 1 h 2"/>
              <a:gd name="T4" fmla="*/ 1 w 7"/>
              <a:gd name="T5" fmla="*/ 0 h 2"/>
              <a:gd name="T6" fmla="*/ 2 w 7"/>
              <a:gd name="T7" fmla="*/ 0 h 2"/>
              <a:gd name="T8" fmla="*/ 3 w 7"/>
              <a:gd name="T9" fmla="*/ 0 h 2"/>
              <a:gd name="T10" fmla="*/ 5 w 7"/>
              <a:gd name="T11" fmla="*/ 0 h 2"/>
              <a:gd name="T12" fmla="*/ 7 w 7"/>
              <a:gd name="T13" fmla="*/ 1 h 2"/>
              <a:gd name="T14" fmla="*/ 7 w 7"/>
              <a:gd name="T15" fmla="*/ 2 h 2"/>
              <a:gd name="T16" fmla="*/ 5 w 7"/>
              <a:gd name="T17" fmla="*/ 2 h 2"/>
              <a:gd name="T18" fmla="*/ 3 w 7"/>
              <a:gd name="T19" fmla="*/ 1 h 2"/>
              <a:gd name="T20" fmla="*/ 2 w 7"/>
              <a:gd name="T21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" h="2">
                <a:moveTo>
                  <a:pt x="2" y="1"/>
                </a:moveTo>
                <a:lnTo>
                  <a:pt x="0" y="1"/>
                </a:lnTo>
                <a:lnTo>
                  <a:pt x="1" y="0"/>
                </a:lnTo>
                <a:lnTo>
                  <a:pt x="2" y="0"/>
                </a:lnTo>
                <a:lnTo>
                  <a:pt x="3" y="0"/>
                </a:lnTo>
                <a:lnTo>
                  <a:pt x="5" y="0"/>
                </a:lnTo>
                <a:lnTo>
                  <a:pt x="7" y="1"/>
                </a:lnTo>
                <a:lnTo>
                  <a:pt x="7" y="2"/>
                </a:lnTo>
                <a:lnTo>
                  <a:pt x="5" y="2"/>
                </a:lnTo>
                <a:lnTo>
                  <a:pt x="3" y="1"/>
                </a:lnTo>
                <a:lnTo>
                  <a:pt x="2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89" name="Freeform 488"/>
          <p:cNvSpPr>
            <a:spLocks/>
          </p:cNvSpPr>
          <p:nvPr/>
        </p:nvSpPr>
        <p:spPr bwMode="auto">
          <a:xfrm>
            <a:off x="8394700" y="3917915"/>
            <a:ext cx="11112" cy="3175"/>
          </a:xfrm>
          <a:custGeom>
            <a:avLst/>
            <a:gdLst>
              <a:gd name="T0" fmla="*/ 2 w 7"/>
              <a:gd name="T1" fmla="*/ 1 h 2"/>
              <a:gd name="T2" fmla="*/ 0 w 7"/>
              <a:gd name="T3" fmla="*/ 1 h 2"/>
              <a:gd name="T4" fmla="*/ 1 w 7"/>
              <a:gd name="T5" fmla="*/ 0 h 2"/>
              <a:gd name="T6" fmla="*/ 2 w 7"/>
              <a:gd name="T7" fmla="*/ 0 h 2"/>
              <a:gd name="T8" fmla="*/ 3 w 7"/>
              <a:gd name="T9" fmla="*/ 0 h 2"/>
              <a:gd name="T10" fmla="*/ 5 w 7"/>
              <a:gd name="T11" fmla="*/ 0 h 2"/>
              <a:gd name="T12" fmla="*/ 7 w 7"/>
              <a:gd name="T13" fmla="*/ 1 h 2"/>
              <a:gd name="T14" fmla="*/ 7 w 7"/>
              <a:gd name="T15" fmla="*/ 2 h 2"/>
              <a:gd name="T16" fmla="*/ 5 w 7"/>
              <a:gd name="T17" fmla="*/ 2 h 2"/>
              <a:gd name="T18" fmla="*/ 3 w 7"/>
              <a:gd name="T19" fmla="*/ 1 h 2"/>
              <a:gd name="T20" fmla="*/ 2 w 7"/>
              <a:gd name="T21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" h="2">
                <a:moveTo>
                  <a:pt x="2" y="1"/>
                </a:moveTo>
                <a:lnTo>
                  <a:pt x="0" y="1"/>
                </a:lnTo>
                <a:lnTo>
                  <a:pt x="1" y="0"/>
                </a:lnTo>
                <a:lnTo>
                  <a:pt x="2" y="0"/>
                </a:lnTo>
                <a:lnTo>
                  <a:pt x="3" y="0"/>
                </a:lnTo>
                <a:lnTo>
                  <a:pt x="5" y="0"/>
                </a:lnTo>
                <a:lnTo>
                  <a:pt x="7" y="1"/>
                </a:lnTo>
                <a:lnTo>
                  <a:pt x="7" y="2"/>
                </a:lnTo>
                <a:lnTo>
                  <a:pt x="5" y="2"/>
                </a:lnTo>
                <a:lnTo>
                  <a:pt x="3" y="1"/>
                </a:lnTo>
                <a:lnTo>
                  <a:pt x="2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90" name="Freeform 489"/>
          <p:cNvSpPr>
            <a:spLocks/>
          </p:cNvSpPr>
          <p:nvPr/>
        </p:nvSpPr>
        <p:spPr bwMode="auto">
          <a:xfrm>
            <a:off x="8118475" y="4921215"/>
            <a:ext cx="22225" cy="17463"/>
          </a:xfrm>
          <a:custGeom>
            <a:avLst/>
            <a:gdLst>
              <a:gd name="T0" fmla="*/ 13 w 14"/>
              <a:gd name="T1" fmla="*/ 1 h 11"/>
              <a:gd name="T2" fmla="*/ 14 w 14"/>
              <a:gd name="T3" fmla="*/ 0 h 11"/>
              <a:gd name="T4" fmla="*/ 13 w 14"/>
              <a:gd name="T5" fmla="*/ 1 h 11"/>
              <a:gd name="T6" fmla="*/ 14 w 14"/>
              <a:gd name="T7" fmla="*/ 4 h 11"/>
              <a:gd name="T8" fmla="*/ 13 w 14"/>
              <a:gd name="T9" fmla="*/ 5 h 11"/>
              <a:gd name="T10" fmla="*/ 11 w 14"/>
              <a:gd name="T11" fmla="*/ 5 h 11"/>
              <a:gd name="T12" fmla="*/ 12 w 14"/>
              <a:gd name="T13" fmla="*/ 6 h 11"/>
              <a:gd name="T14" fmla="*/ 11 w 14"/>
              <a:gd name="T15" fmla="*/ 7 h 11"/>
              <a:gd name="T16" fmla="*/ 10 w 14"/>
              <a:gd name="T17" fmla="*/ 8 h 11"/>
              <a:gd name="T18" fmla="*/ 8 w 14"/>
              <a:gd name="T19" fmla="*/ 9 h 11"/>
              <a:gd name="T20" fmla="*/ 5 w 14"/>
              <a:gd name="T21" fmla="*/ 9 h 11"/>
              <a:gd name="T22" fmla="*/ 5 w 14"/>
              <a:gd name="T23" fmla="*/ 9 h 11"/>
              <a:gd name="T24" fmla="*/ 4 w 14"/>
              <a:gd name="T25" fmla="*/ 9 h 11"/>
              <a:gd name="T26" fmla="*/ 1 w 14"/>
              <a:gd name="T27" fmla="*/ 11 h 11"/>
              <a:gd name="T28" fmla="*/ 0 w 14"/>
              <a:gd name="T29" fmla="*/ 11 h 11"/>
              <a:gd name="T30" fmla="*/ 0 w 14"/>
              <a:gd name="T31" fmla="*/ 10 h 11"/>
              <a:gd name="T32" fmla="*/ 3 w 14"/>
              <a:gd name="T33" fmla="*/ 8 h 11"/>
              <a:gd name="T34" fmla="*/ 5 w 14"/>
              <a:gd name="T35" fmla="*/ 6 h 11"/>
              <a:gd name="T36" fmla="*/ 9 w 14"/>
              <a:gd name="T37" fmla="*/ 4 h 11"/>
              <a:gd name="T38" fmla="*/ 11 w 14"/>
              <a:gd name="T39" fmla="*/ 1 h 11"/>
              <a:gd name="T40" fmla="*/ 12 w 14"/>
              <a:gd name="T41" fmla="*/ 1 h 11"/>
              <a:gd name="T42" fmla="*/ 13 w 14"/>
              <a:gd name="T43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4" h="11">
                <a:moveTo>
                  <a:pt x="13" y="1"/>
                </a:moveTo>
                <a:lnTo>
                  <a:pt x="14" y="0"/>
                </a:lnTo>
                <a:lnTo>
                  <a:pt x="13" y="1"/>
                </a:lnTo>
                <a:lnTo>
                  <a:pt x="14" y="4"/>
                </a:lnTo>
                <a:lnTo>
                  <a:pt x="13" y="5"/>
                </a:lnTo>
                <a:lnTo>
                  <a:pt x="11" y="5"/>
                </a:lnTo>
                <a:lnTo>
                  <a:pt x="12" y="6"/>
                </a:lnTo>
                <a:lnTo>
                  <a:pt x="11" y="7"/>
                </a:lnTo>
                <a:lnTo>
                  <a:pt x="10" y="8"/>
                </a:lnTo>
                <a:lnTo>
                  <a:pt x="8" y="9"/>
                </a:lnTo>
                <a:lnTo>
                  <a:pt x="5" y="9"/>
                </a:lnTo>
                <a:lnTo>
                  <a:pt x="5" y="9"/>
                </a:lnTo>
                <a:lnTo>
                  <a:pt x="4" y="9"/>
                </a:lnTo>
                <a:lnTo>
                  <a:pt x="1" y="11"/>
                </a:lnTo>
                <a:lnTo>
                  <a:pt x="0" y="11"/>
                </a:lnTo>
                <a:lnTo>
                  <a:pt x="0" y="10"/>
                </a:lnTo>
                <a:lnTo>
                  <a:pt x="3" y="8"/>
                </a:lnTo>
                <a:lnTo>
                  <a:pt x="5" y="6"/>
                </a:lnTo>
                <a:lnTo>
                  <a:pt x="9" y="4"/>
                </a:lnTo>
                <a:lnTo>
                  <a:pt x="11" y="1"/>
                </a:lnTo>
                <a:lnTo>
                  <a:pt x="12" y="1"/>
                </a:lnTo>
                <a:lnTo>
                  <a:pt x="13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91" name="Freeform 490"/>
          <p:cNvSpPr>
            <a:spLocks/>
          </p:cNvSpPr>
          <p:nvPr/>
        </p:nvSpPr>
        <p:spPr bwMode="auto">
          <a:xfrm>
            <a:off x="8118475" y="4921215"/>
            <a:ext cx="22225" cy="17463"/>
          </a:xfrm>
          <a:custGeom>
            <a:avLst/>
            <a:gdLst>
              <a:gd name="T0" fmla="*/ 13 w 14"/>
              <a:gd name="T1" fmla="*/ 1 h 11"/>
              <a:gd name="T2" fmla="*/ 14 w 14"/>
              <a:gd name="T3" fmla="*/ 0 h 11"/>
              <a:gd name="T4" fmla="*/ 13 w 14"/>
              <a:gd name="T5" fmla="*/ 1 h 11"/>
              <a:gd name="T6" fmla="*/ 14 w 14"/>
              <a:gd name="T7" fmla="*/ 4 h 11"/>
              <a:gd name="T8" fmla="*/ 13 w 14"/>
              <a:gd name="T9" fmla="*/ 5 h 11"/>
              <a:gd name="T10" fmla="*/ 11 w 14"/>
              <a:gd name="T11" fmla="*/ 5 h 11"/>
              <a:gd name="T12" fmla="*/ 12 w 14"/>
              <a:gd name="T13" fmla="*/ 6 h 11"/>
              <a:gd name="T14" fmla="*/ 11 w 14"/>
              <a:gd name="T15" fmla="*/ 7 h 11"/>
              <a:gd name="T16" fmla="*/ 10 w 14"/>
              <a:gd name="T17" fmla="*/ 8 h 11"/>
              <a:gd name="T18" fmla="*/ 8 w 14"/>
              <a:gd name="T19" fmla="*/ 9 h 11"/>
              <a:gd name="T20" fmla="*/ 5 w 14"/>
              <a:gd name="T21" fmla="*/ 9 h 11"/>
              <a:gd name="T22" fmla="*/ 5 w 14"/>
              <a:gd name="T23" fmla="*/ 9 h 11"/>
              <a:gd name="T24" fmla="*/ 4 w 14"/>
              <a:gd name="T25" fmla="*/ 9 h 11"/>
              <a:gd name="T26" fmla="*/ 1 w 14"/>
              <a:gd name="T27" fmla="*/ 11 h 11"/>
              <a:gd name="T28" fmla="*/ 0 w 14"/>
              <a:gd name="T29" fmla="*/ 11 h 11"/>
              <a:gd name="T30" fmla="*/ 0 w 14"/>
              <a:gd name="T31" fmla="*/ 10 h 11"/>
              <a:gd name="T32" fmla="*/ 3 w 14"/>
              <a:gd name="T33" fmla="*/ 8 h 11"/>
              <a:gd name="T34" fmla="*/ 5 w 14"/>
              <a:gd name="T35" fmla="*/ 6 h 11"/>
              <a:gd name="T36" fmla="*/ 9 w 14"/>
              <a:gd name="T37" fmla="*/ 4 h 11"/>
              <a:gd name="T38" fmla="*/ 11 w 14"/>
              <a:gd name="T39" fmla="*/ 1 h 11"/>
              <a:gd name="T40" fmla="*/ 12 w 14"/>
              <a:gd name="T41" fmla="*/ 1 h 11"/>
              <a:gd name="T42" fmla="*/ 13 w 14"/>
              <a:gd name="T43" fmla="*/ 1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4" h="11">
                <a:moveTo>
                  <a:pt x="13" y="1"/>
                </a:moveTo>
                <a:lnTo>
                  <a:pt x="14" y="0"/>
                </a:lnTo>
                <a:lnTo>
                  <a:pt x="13" y="1"/>
                </a:lnTo>
                <a:lnTo>
                  <a:pt x="14" y="4"/>
                </a:lnTo>
                <a:lnTo>
                  <a:pt x="13" y="5"/>
                </a:lnTo>
                <a:lnTo>
                  <a:pt x="11" y="5"/>
                </a:lnTo>
                <a:lnTo>
                  <a:pt x="12" y="6"/>
                </a:lnTo>
                <a:lnTo>
                  <a:pt x="11" y="7"/>
                </a:lnTo>
                <a:lnTo>
                  <a:pt x="10" y="8"/>
                </a:lnTo>
                <a:lnTo>
                  <a:pt x="8" y="9"/>
                </a:lnTo>
                <a:lnTo>
                  <a:pt x="5" y="9"/>
                </a:lnTo>
                <a:lnTo>
                  <a:pt x="5" y="9"/>
                </a:lnTo>
                <a:lnTo>
                  <a:pt x="4" y="9"/>
                </a:lnTo>
                <a:lnTo>
                  <a:pt x="1" y="11"/>
                </a:lnTo>
                <a:lnTo>
                  <a:pt x="0" y="11"/>
                </a:lnTo>
                <a:lnTo>
                  <a:pt x="0" y="10"/>
                </a:lnTo>
                <a:lnTo>
                  <a:pt x="3" y="8"/>
                </a:lnTo>
                <a:lnTo>
                  <a:pt x="5" y="6"/>
                </a:lnTo>
                <a:lnTo>
                  <a:pt x="9" y="4"/>
                </a:lnTo>
                <a:lnTo>
                  <a:pt x="11" y="1"/>
                </a:lnTo>
                <a:lnTo>
                  <a:pt x="12" y="1"/>
                </a:lnTo>
                <a:lnTo>
                  <a:pt x="13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92" name="Freeform 491"/>
          <p:cNvSpPr>
            <a:spLocks/>
          </p:cNvSpPr>
          <p:nvPr/>
        </p:nvSpPr>
        <p:spPr bwMode="auto">
          <a:xfrm>
            <a:off x="8124825" y="4746590"/>
            <a:ext cx="287337" cy="174625"/>
          </a:xfrm>
          <a:custGeom>
            <a:avLst/>
            <a:gdLst>
              <a:gd name="T0" fmla="*/ 158 w 181"/>
              <a:gd name="T1" fmla="*/ 5 h 110"/>
              <a:gd name="T2" fmla="*/ 166 w 181"/>
              <a:gd name="T3" fmla="*/ 0 h 110"/>
              <a:gd name="T4" fmla="*/ 164 w 181"/>
              <a:gd name="T5" fmla="*/ 7 h 110"/>
              <a:gd name="T6" fmla="*/ 162 w 181"/>
              <a:gd name="T7" fmla="*/ 14 h 110"/>
              <a:gd name="T8" fmla="*/ 173 w 181"/>
              <a:gd name="T9" fmla="*/ 9 h 110"/>
              <a:gd name="T10" fmla="*/ 177 w 181"/>
              <a:gd name="T11" fmla="*/ 9 h 110"/>
              <a:gd name="T12" fmla="*/ 177 w 181"/>
              <a:gd name="T13" fmla="*/ 13 h 110"/>
              <a:gd name="T14" fmla="*/ 181 w 181"/>
              <a:gd name="T15" fmla="*/ 12 h 110"/>
              <a:gd name="T16" fmla="*/ 174 w 181"/>
              <a:gd name="T17" fmla="*/ 18 h 110"/>
              <a:gd name="T18" fmla="*/ 164 w 181"/>
              <a:gd name="T19" fmla="*/ 29 h 110"/>
              <a:gd name="T20" fmla="*/ 152 w 181"/>
              <a:gd name="T21" fmla="*/ 36 h 110"/>
              <a:gd name="T22" fmla="*/ 138 w 181"/>
              <a:gd name="T23" fmla="*/ 45 h 110"/>
              <a:gd name="T24" fmla="*/ 123 w 181"/>
              <a:gd name="T25" fmla="*/ 57 h 110"/>
              <a:gd name="T26" fmla="*/ 124 w 181"/>
              <a:gd name="T27" fmla="*/ 61 h 110"/>
              <a:gd name="T28" fmla="*/ 118 w 181"/>
              <a:gd name="T29" fmla="*/ 58 h 110"/>
              <a:gd name="T30" fmla="*/ 113 w 181"/>
              <a:gd name="T31" fmla="*/ 60 h 110"/>
              <a:gd name="T32" fmla="*/ 102 w 181"/>
              <a:gd name="T33" fmla="*/ 65 h 110"/>
              <a:gd name="T34" fmla="*/ 99 w 181"/>
              <a:gd name="T35" fmla="*/ 65 h 110"/>
              <a:gd name="T36" fmla="*/ 85 w 181"/>
              <a:gd name="T37" fmla="*/ 78 h 110"/>
              <a:gd name="T38" fmla="*/ 72 w 181"/>
              <a:gd name="T39" fmla="*/ 87 h 110"/>
              <a:gd name="T40" fmla="*/ 63 w 181"/>
              <a:gd name="T41" fmla="*/ 94 h 110"/>
              <a:gd name="T42" fmla="*/ 59 w 181"/>
              <a:gd name="T43" fmla="*/ 98 h 110"/>
              <a:gd name="T44" fmla="*/ 43 w 181"/>
              <a:gd name="T45" fmla="*/ 105 h 110"/>
              <a:gd name="T46" fmla="*/ 38 w 181"/>
              <a:gd name="T47" fmla="*/ 108 h 110"/>
              <a:gd name="T48" fmla="*/ 26 w 181"/>
              <a:gd name="T49" fmla="*/ 110 h 110"/>
              <a:gd name="T50" fmla="*/ 22 w 181"/>
              <a:gd name="T51" fmla="*/ 108 h 110"/>
              <a:gd name="T52" fmla="*/ 18 w 181"/>
              <a:gd name="T53" fmla="*/ 109 h 110"/>
              <a:gd name="T54" fmla="*/ 18 w 181"/>
              <a:gd name="T55" fmla="*/ 106 h 110"/>
              <a:gd name="T56" fmla="*/ 11 w 181"/>
              <a:gd name="T57" fmla="*/ 101 h 110"/>
              <a:gd name="T58" fmla="*/ 0 w 181"/>
              <a:gd name="T59" fmla="*/ 101 h 110"/>
              <a:gd name="T60" fmla="*/ 2 w 181"/>
              <a:gd name="T61" fmla="*/ 99 h 110"/>
              <a:gd name="T62" fmla="*/ 2 w 181"/>
              <a:gd name="T63" fmla="*/ 98 h 110"/>
              <a:gd name="T64" fmla="*/ 7 w 181"/>
              <a:gd name="T65" fmla="*/ 95 h 110"/>
              <a:gd name="T66" fmla="*/ 11 w 181"/>
              <a:gd name="T67" fmla="*/ 91 h 110"/>
              <a:gd name="T68" fmla="*/ 11 w 181"/>
              <a:gd name="T69" fmla="*/ 88 h 110"/>
              <a:gd name="T70" fmla="*/ 16 w 181"/>
              <a:gd name="T71" fmla="*/ 86 h 110"/>
              <a:gd name="T72" fmla="*/ 19 w 181"/>
              <a:gd name="T73" fmla="*/ 86 h 110"/>
              <a:gd name="T74" fmla="*/ 19 w 181"/>
              <a:gd name="T75" fmla="*/ 85 h 110"/>
              <a:gd name="T76" fmla="*/ 28 w 181"/>
              <a:gd name="T77" fmla="*/ 79 h 110"/>
              <a:gd name="T78" fmla="*/ 29 w 181"/>
              <a:gd name="T79" fmla="*/ 80 h 110"/>
              <a:gd name="T80" fmla="*/ 35 w 181"/>
              <a:gd name="T81" fmla="*/ 75 h 110"/>
              <a:gd name="T82" fmla="*/ 46 w 181"/>
              <a:gd name="T83" fmla="*/ 68 h 110"/>
              <a:gd name="T84" fmla="*/ 56 w 181"/>
              <a:gd name="T85" fmla="*/ 63 h 110"/>
              <a:gd name="T86" fmla="*/ 65 w 181"/>
              <a:gd name="T87" fmla="*/ 61 h 110"/>
              <a:gd name="T88" fmla="*/ 87 w 181"/>
              <a:gd name="T89" fmla="*/ 51 h 110"/>
              <a:gd name="T90" fmla="*/ 101 w 181"/>
              <a:gd name="T91" fmla="*/ 45 h 110"/>
              <a:gd name="T92" fmla="*/ 117 w 181"/>
              <a:gd name="T93" fmla="*/ 37 h 110"/>
              <a:gd name="T94" fmla="*/ 138 w 181"/>
              <a:gd name="T95" fmla="*/ 20 h 110"/>
              <a:gd name="T96" fmla="*/ 151 w 181"/>
              <a:gd name="T97" fmla="*/ 9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81" h="110">
                <a:moveTo>
                  <a:pt x="151" y="9"/>
                </a:moveTo>
                <a:lnTo>
                  <a:pt x="152" y="9"/>
                </a:lnTo>
                <a:lnTo>
                  <a:pt x="154" y="6"/>
                </a:lnTo>
                <a:lnTo>
                  <a:pt x="158" y="5"/>
                </a:lnTo>
                <a:lnTo>
                  <a:pt x="162" y="3"/>
                </a:lnTo>
                <a:lnTo>
                  <a:pt x="163" y="3"/>
                </a:lnTo>
                <a:lnTo>
                  <a:pt x="164" y="2"/>
                </a:lnTo>
                <a:lnTo>
                  <a:pt x="166" y="0"/>
                </a:lnTo>
                <a:lnTo>
                  <a:pt x="166" y="2"/>
                </a:lnTo>
                <a:lnTo>
                  <a:pt x="163" y="5"/>
                </a:lnTo>
                <a:lnTo>
                  <a:pt x="163" y="6"/>
                </a:lnTo>
                <a:lnTo>
                  <a:pt x="164" y="7"/>
                </a:lnTo>
                <a:lnTo>
                  <a:pt x="167" y="6"/>
                </a:lnTo>
                <a:lnTo>
                  <a:pt x="167" y="8"/>
                </a:lnTo>
                <a:lnTo>
                  <a:pt x="163" y="13"/>
                </a:lnTo>
                <a:lnTo>
                  <a:pt x="162" y="14"/>
                </a:lnTo>
                <a:lnTo>
                  <a:pt x="163" y="15"/>
                </a:lnTo>
                <a:lnTo>
                  <a:pt x="170" y="12"/>
                </a:lnTo>
                <a:lnTo>
                  <a:pt x="171" y="12"/>
                </a:lnTo>
                <a:lnTo>
                  <a:pt x="173" y="9"/>
                </a:lnTo>
                <a:lnTo>
                  <a:pt x="178" y="8"/>
                </a:lnTo>
                <a:lnTo>
                  <a:pt x="179" y="8"/>
                </a:lnTo>
                <a:lnTo>
                  <a:pt x="179" y="8"/>
                </a:lnTo>
                <a:lnTo>
                  <a:pt x="177" y="9"/>
                </a:lnTo>
                <a:lnTo>
                  <a:pt x="177" y="10"/>
                </a:lnTo>
                <a:lnTo>
                  <a:pt x="175" y="12"/>
                </a:lnTo>
                <a:lnTo>
                  <a:pt x="173" y="14"/>
                </a:lnTo>
                <a:lnTo>
                  <a:pt x="177" y="13"/>
                </a:lnTo>
                <a:lnTo>
                  <a:pt x="177" y="12"/>
                </a:lnTo>
                <a:lnTo>
                  <a:pt x="180" y="9"/>
                </a:lnTo>
                <a:lnTo>
                  <a:pt x="181" y="9"/>
                </a:lnTo>
                <a:lnTo>
                  <a:pt x="181" y="12"/>
                </a:lnTo>
                <a:lnTo>
                  <a:pt x="177" y="14"/>
                </a:lnTo>
                <a:lnTo>
                  <a:pt x="178" y="14"/>
                </a:lnTo>
                <a:lnTo>
                  <a:pt x="178" y="15"/>
                </a:lnTo>
                <a:lnTo>
                  <a:pt x="174" y="18"/>
                </a:lnTo>
                <a:lnTo>
                  <a:pt x="172" y="23"/>
                </a:lnTo>
                <a:lnTo>
                  <a:pt x="171" y="24"/>
                </a:lnTo>
                <a:lnTo>
                  <a:pt x="166" y="27"/>
                </a:lnTo>
                <a:lnTo>
                  <a:pt x="164" y="29"/>
                </a:lnTo>
                <a:lnTo>
                  <a:pt x="161" y="31"/>
                </a:lnTo>
                <a:lnTo>
                  <a:pt x="159" y="31"/>
                </a:lnTo>
                <a:lnTo>
                  <a:pt x="158" y="33"/>
                </a:lnTo>
                <a:lnTo>
                  <a:pt x="152" y="36"/>
                </a:lnTo>
                <a:lnTo>
                  <a:pt x="144" y="43"/>
                </a:lnTo>
                <a:lnTo>
                  <a:pt x="141" y="44"/>
                </a:lnTo>
                <a:lnTo>
                  <a:pt x="140" y="44"/>
                </a:lnTo>
                <a:lnTo>
                  <a:pt x="138" y="45"/>
                </a:lnTo>
                <a:lnTo>
                  <a:pt x="133" y="47"/>
                </a:lnTo>
                <a:lnTo>
                  <a:pt x="132" y="48"/>
                </a:lnTo>
                <a:lnTo>
                  <a:pt x="127" y="54"/>
                </a:lnTo>
                <a:lnTo>
                  <a:pt x="123" y="57"/>
                </a:lnTo>
                <a:lnTo>
                  <a:pt x="126" y="57"/>
                </a:lnTo>
                <a:lnTo>
                  <a:pt x="127" y="58"/>
                </a:lnTo>
                <a:lnTo>
                  <a:pt x="126" y="60"/>
                </a:lnTo>
                <a:lnTo>
                  <a:pt x="124" y="61"/>
                </a:lnTo>
                <a:lnTo>
                  <a:pt x="124" y="59"/>
                </a:lnTo>
                <a:lnTo>
                  <a:pt x="123" y="61"/>
                </a:lnTo>
                <a:lnTo>
                  <a:pt x="119" y="59"/>
                </a:lnTo>
                <a:lnTo>
                  <a:pt x="118" y="58"/>
                </a:lnTo>
                <a:lnTo>
                  <a:pt x="117" y="59"/>
                </a:lnTo>
                <a:lnTo>
                  <a:pt x="116" y="60"/>
                </a:lnTo>
                <a:lnTo>
                  <a:pt x="114" y="61"/>
                </a:lnTo>
                <a:lnTo>
                  <a:pt x="113" y="60"/>
                </a:lnTo>
                <a:lnTo>
                  <a:pt x="113" y="60"/>
                </a:lnTo>
                <a:lnTo>
                  <a:pt x="111" y="61"/>
                </a:lnTo>
                <a:lnTo>
                  <a:pt x="106" y="64"/>
                </a:lnTo>
                <a:lnTo>
                  <a:pt x="102" y="65"/>
                </a:lnTo>
                <a:lnTo>
                  <a:pt x="101" y="65"/>
                </a:lnTo>
                <a:lnTo>
                  <a:pt x="102" y="64"/>
                </a:lnTo>
                <a:lnTo>
                  <a:pt x="101" y="64"/>
                </a:lnTo>
                <a:lnTo>
                  <a:pt x="99" y="65"/>
                </a:lnTo>
                <a:lnTo>
                  <a:pt x="96" y="68"/>
                </a:lnTo>
                <a:lnTo>
                  <a:pt x="91" y="71"/>
                </a:lnTo>
                <a:lnTo>
                  <a:pt x="89" y="74"/>
                </a:lnTo>
                <a:lnTo>
                  <a:pt x="85" y="78"/>
                </a:lnTo>
                <a:lnTo>
                  <a:pt x="82" y="79"/>
                </a:lnTo>
                <a:lnTo>
                  <a:pt x="80" y="81"/>
                </a:lnTo>
                <a:lnTo>
                  <a:pt x="76" y="85"/>
                </a:lnTo>
                <a:lnTo>
                  <a:pt x="72" y="87"/>
                </a:lnTo>
                <a:lnTo>
                  <a:pt x="71" y="89"/>
                </a:lnTo>
                <a:lnTo>
                  <a:pt x="68" y="91"/>
                </a:lnTo>
                <a:lnTo>
                  <a:pt x="65" y="93"/>
                </a:lnTo>
                <a:lnTo>
                  <a:pt x="63" y="94"/>
                </a:lnTo>
                <a:lnTo>
                  <a:pt x="62" y="96"/>
                </a:lnTo>
                <a:lnTo>
                  <a:pt x="60" y="97"/>
                </a:lnTo>
                <a:lnTo>
                  <a:pt x="61" y="97"/>
                </a:lnTo>
                <a:lnTo>
                  <a:pt x="59" y="98"/>
                </a:lnTo>
                <a:lnTo>
                  <a:pt x="58" y="98"/>
                </a:lnTo>
                <a:lnTo>
                  <a:pt x="55" y="100"/>
                </a:lnTo>
                <a:lnTo>
                  <a:pt x="49" y="103"/>
                </a:lnTo>
                <a:lnTo>
                  <a:pt x="43" y="105"/>
                </a:lnTo>
                <a:lnTo>
                  <a:pt x="42" y="105"/>
                </a:lnTo>
                <a:lnTo>
                  <a:pt x="41" y="106"/>
                </a:lnTo>
                <a:lnTo>
                  <a:pt x="40" y="106"/>
                </a:lnTo>
                <a:lnTo>
                  <a:pt x="38" y="108"/>
                </a:lnTo>
                <a:lnTo>
                  <a:pt x="36" y="108"/>
                </a:lnTo>
                <a:lnTo>
                  <a:pt x="30" y="110"/>
                </a:lnTo>
                <a:lnTo>
                  <a:pt x="29" y="109"/>
                </a:lnTo>
                <a:lnTo>
                  <a:pt x="26" y="110"/>
                </a:lnTo>
                <a:lnTo>
                  <a:pt x="25" y="110"/>
                </a:lnTo>
                <a:lnTo>
                  <a:pt x="26" y="108"/>
                </a:lnTo>
                <a:lnTo>
                  <a:pt x="25" y="108"/>
                </a:lnTo>
                <a:lnTo>
                  <a:pt x="22" y="108"/>
                </a:lnTo>
                <a:lnTo>
                  <a:pt x="20" y="109"/>
                </a:lnTo>
                <a:lnTo>
                  <a:pt x="19" y="109"/>
                </a:lnTo>
                <a:lnTo>
                  <a:pt x="20" y="108"/>
                </a:lnTo>
                <a:lnTo>
                  <a:pt x="18" y="109"/>
                </a:lnTo>
                <a:lnTo>
                  <a:pt x="19" y="108"/>
                </a:lnTo>
                <a:lnTo>
                  <a:pt x="20" y="106"/>
                </a:lnTo>
                <a:lnTo>
                  <a:pt x="18" y="107"/>
                </a:lnTo>
                <a:lnTo>
                  <a:pt x="18" y="106"/>
                </a:lnTo>
                <a:lnTo>
                  <a:pt x="12" y="106"/>
                </a:lnTo>
                <a:lnTo>
                  <a:pt x="15" y="103"/>
                </a:lnTo>
                <a:lnTo>
                  <a:pt x="13" y="101"/>
                </a:lnTo>
                <a:lnTo>
                  <a:pt x="11" y="101"/>
                </a:lnTo>
                <a:lnTo>
                  <a:pt x="8" y="103"/>
                </a:lnTo>
                <a:lnTo>
                  <a:pt x="6" y="104"/>
                </a:lnTo>
                <a:lnTo>
                  <a:pt x="1" y="103"/>
                </a:lnTo>
                <a:lnTo>
                  <a:pt x="0" y="101"/>
                </a:lnTo>
                <a:lnTo>
                  <a:pt x="2" y="100"/>
                </a:lnTo>
                <a:lnTo>
                  <a:pt x="5" y="98"/>
                </a:lnTo>
                <a:lnTo>
                  <a:pt x="7" y="97"/>
                </a:lnTo>
                <a:lnTo>
                  <a:pt x="2" y="99"/>
                </a:lnTo>
                <a:lnTo>
                  <a:pt x="1" y="99"/>
                </a:lnTo>
                <a:lnTo>
                  <a:pt x="5" y="97"/>
                </a:lnTo>
                <a:lnTo>
                  <a:pt x="5" y="97"/>
                </a:lnTo>
                <a:lnTo>
                  <a:pt x="2" y="98"/>
                </a:lnTo>
                <a:lnTo>
                  <a:pt x="0" y="98"/>
                </a:lnTo>
                <a:lnTo>
                  <a:pt x="1" y="97"/>
                </a:lnTo>
                <a:lnTo>
                  <a:pt x="4" y="96"/>
                </a:lnTo>
                <a:lnTo>
                  <a:pt x="7" y="95"/>
                </a:lnTo>
                <a:lnTo>
                  <a:pt x="10" y="94"/>
                </a:lnTo>
                <a:lnTo>
                  <a:pt x="9" y="93"/>
                </a:lnTo>
                <a:lnTo>
                  <a:pt x="9" y="93"/>
                </a:lnTo>
                <a:lnTo>
                  <a:pt x="11" y="91"/>
                </a:lnTo>
                <a:lnTo>
                  <a:pt x="13" y="90"/>
                </a:lnTo>
                <a:lnTo>
                  <a:pt x="12" y="90"/>
                </a:lnTo>
                <a:lnTo>
                  <a:pt x="11" y="90"/>
                </a:lnTo>
                <a:lnTo>
                  <a:pt x="11" y="88"/>
                </a:lnTo>
                <a:lnTo>
                  <a:pt x="13" y="88"/>
                </a:lnTo>
                <a:lnTo>
                  <a:pt x="15" y="87"/>
                </a:lnTo>
                <a:lnTo>
                  <a:pt x="15" y="87"/>
                </a:lnTo>
                <a:lnTo>
                  <a:pt x="16" y="86"/>
                </a:lnTo>
                <a:lnTo>
                  <a:pt x="17" y="86"/>
                </a:lnTo>
                <a:lnTo>
                  <a:pt x="17" y="87"/>
                </a:lnTo>
                <a:lnTo>
                  <a:pt x="18" y="86"/>
                </a:lnTo>
                <a:lnTo>
                  <a:pt x="19" y="86"/>
                </a:lnTo>
                <a:lnTo>
                  <a:pt x="20" y="86"/>
                </a:lnTo>
                <a:lnTo>
                  <a:pt x="20" y="86"/>
                </a:lnTo>
                <a:lnTo>
                  <a:pt x="19" y="85"/>
                </a:lnTo>
                <a:lnTo>
                  <a:pt x="19" y="85"/>
                </a:lnTo>
                <a:lnTo>
                  <a:pt x="23" y="80"/>
                </a:lnTo>
                <a:lnTo>
                  <a:pt x="27" y="79"/>
                </a:lnTo>
                <a:lnTo>
                  <a:pt x="28" y="78"/>
                </a:lnTo>
                <a:lnTo>
                  <a:pt x="28" y="79"/>
                </a:lnTo>
                <a:lnTo>
                  <a:pt x="27" y="80"/>
                </a:lnTo>
                <a:lnTo>
                  <a:pt x="27" y="81"/>
                </a:lnTo>
                <a:lnTo>
                  <a:pt x="28" y="81"/>
                </a:lnTo>
                <a:lnTo>
                  <a:pt x="29" y="80"/>
                </a:lnTo>
                <a:lnTo>
                  <a:pt x="30" y="78"/>
                </a:lnTo>
                <a:lnTo>
                  <a:pt x="31" y="77"/>
                </a:lnTo>
                <a:lnTo>
                  <a:pt x="32" y="77"/>
                </a:lnTo>
                <a:lnTo>
                  <a:pt x="35" y="75"/>
                </a:lnTo>
                <a:lnTo>
                  <a:pt x="38" y="74"/>
                </a:lnTo>
                <a:lnTo>
                  <a:pt x="40" y="73"/>
                </a:lnTo>
                <a:lnTo>
                  <a:pt x="42" y="70"/>
                </a:lnTo>
                <a:lnTo>
                  <a:pt x="46" y="68"/>
                </a:lnTo>
                <a:lnTo>
                  <a:pt x="48" y="67"/>
                </a:lnTo>
                <a:lnTo>
                  <a:pt x="51" y="64"/>
                </a:lnTo>
                <a:lnTo>
                  <a:pt x="53" y="64"/>
                </a:lnTo>
                <a:lnTo>
                  <a:pt x="56" y="63"/>
                </a:lnTo>
                <a:lnTo>
                  <a:pt x="57" y="63"/>
                </a:lnTo>
                <a:lnTo>
                  <a:pt x="60" y="63"/>
                </a:lnTo>
                <a:lnTo>
                  <a:pt x="61" y="63"/>
                </a:lnTo>
                <a:lnTo>
                  <a:pt x="65" y="61"/>
                </a:lnTo>
                <a:lnTo>
                  <a:pt x="68" y="60"/>
                </a:lnTo>
                <a:lnTo>
                  <a:pt x="73" y="57"/>
                </a:lnTo>
                <a:lnTo>
                  <a:pt x="79" y="55"/>
                </a:lnTo>
                <a:lnTo>
                  <a:pt x="87" y="51"/>
                </a:lnTo>
                <a:lnTo>
                  <a:pt x="92" y="50"/>
                </a:lnTo>
                <a:lnTo>
                  <a:pt x="93" y="48"/>
                </a:lnTo>
                <a:lnTo>
                  <a:pt x="99" y="46"/>
                </a:lnTo>
                <a:lnTo>
                  <a:pt x="101" y="45"/>
                </a:lnTo>
                <a:lnTo>
                  <a:pt x="102" y="45"/>
                </a:lnTo>
                <a:lnTo>
                  <a:pt x="107" y="43"/>
                </a:lnTo>
                <a:lnTo>
                  <a:pt x="110" y="41"/>
                </a:lnTo>
                <a:lnTo>
                  <a:pt x="117" y="37"/>
                </a:lnTo>
                <a:lnTo>
                  <a:pt x="121" y="33"/>
                </a:lnTo>
                <a:lnTo>
                  <a:pt x="127" y="27"/>
                </a:lnTo>
                <a:lnTo>
                  <a:pt x="130" y="24"/>
                </a:lnTo>
                <a:lnTo>
                  <a:pt x="138" y="20"/>
                </a:lnTo>
                <a:lnTo>
                  <a:pt x="140" y="20"/>
                </a:lnTo>
                <a:lnTo>
                  <a:pt x="142" y="19"/>
                </a:lnTo>
                <a:lnTo>
                  <a:pt x="146" y="16"/>
                </a:lnTo>
                <a:lnTo>
                  <a:pt x="151" y="9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93" name="Freeform 492"/>
          <p:cNvSpPr>
            <a:spLocks/>
          </p:cNvSpPr>
          <p:nvPr/>
        </p:nvSpPr>
        <p:spPr bwMode="auto">
          <a:xfrm>
            <a:off x="8124825" y="4746590"/>
            <a:ext cx="287337" cy="174625"/>
          </a:xfrm>
          <a:custGeom>
            <a:avLst/>
            <a:gdLst>
              <a:gd name="T0" fmla="*/ 158 w 181"/>
              <a:gd name="T1" fmla="*/ 5 h 110"/>
              <a:gd name="T2" fmla="*/ 166 w 181"/>
              <a:gd name="T3" fmla="*/ 0 h 110"/>
              <a:gd name="T4" fmla="*/ 164 w 181"/>
              <a:gd name="T5" fmla="*/ 7 h 110"/>
              <a:gd name="T6" fmla="*/ 162 w 181"/>
              <a:gd name="T7" fmla="*/ 14 h 110"/>
              <a:gd name="T8" fmla="*/ 173 w 181"/>
              <a:gd name="T9" fmla="*/ 9 h 110"/>
              <a:gd name="T10" fmla="*/ 177 w 181"/>
              <a:gd name="T11" fmla="*/ 9 h 110"/>
              <a:gd name="T12" fmla="*/ 177 w 181"/>
              <a:gd name="T13" fmla="*/ 13 h 110"/>
              <a:gd name="T14" fmla="*/ 181 w 181"/>
              <a:gd name="T15" fmla="*/ 12 h 110"/>
              <a:gd name="T16" fmla="*/ 174 w 181"/>
              <a:gd name="T17" fmla="*/ 18 h 110"/>
              <a:gd name="T18" fmla="*/ 164 w 181"/>
              <a:gd name="T19" fmla="*/ 29 h 110"/>
              <a:gd name="T20" fmla="*/ 152 w 181"/>
              <a:gd name="T21" fmla="*/ 36 h 110"/>
              <a:gd name="T22" fmla="*/ 138 w 181"/>
              <a:gd name="T23" fmla="*/ 45 h 110"/>
              <a:gd name="T24" fmla="*/ 123 w 181"/>
              <a:gd name="T25" fmla="*/ 57 h 110"/>
              <a:gd name="T26" fmla="*/ 124 w 181"/>
              <a:gd name="T27" fmla="*/ 61 h 110"/>
              <a:gd name="T28" fmla="*/ 118 w 181"/>
              <a:gd name="T29" fmla="*/ 58 h 110"/>
              <a:gd name="T30" fmla="*/ 113 w 181"/>
              <a:gd name="T31" fmla="*/ 60 h 110"/>
              <a:gd name="T32" fmla="*/ 102 w 181"/>
              <a:gd name="T33" fmla="*/ 65 h 110"/>
              <a:gd name="T34" fmla="*/ 99 w 181"/>
              <a:gd name="T35" fmla="*/ 65 h 110"/>
              <a:gd name="T36" fmla="*/ 85 w 181"/>
              <a:gd name="T37" fmla="*/ 78 h 110"/>
              <a:gd name="T38" fmla="*/ 72 w 181"/>
              <a:gd name="T39" fmla="*/ 87 h 110"/>
              <a:gd name="T40" fmla="*/ 63 w 181"/>
              <a:gd name="T41" fmla="*/ 94 h 110"/>
              <a:gd name="T42" fmla="*/ 59 w 181"/>
              <a:gd name="T43" fmla="*/ 98 h 110"/>
              <a:gd name="T44" fmla="*/ 43 w 181"/>
              <a:gd name="T45" fmla="*/ 105 h 110"/>
              <a:gd name="T46" fmla="*/ 38 w 181"/>
              <a:gd name="T47" fmla="*/ 108 h 110"/>
              <a:gd name="T48" fmla="*/ 26 w 181"/>
              <a:gd name="T49" fmla="*/ 110 h 110"/>
              <a:gd name="T50" fmla="*/ 22 w 181"/>
              <a:gd name="T51" fmla="*/ 108 h 110"/>
              <a:gd name="T52" fmla="*/ 18 w 181"/>
              <a:gd name="T53" fmla="*/ 109 h 110"/>
              <a:gd name="T54" fmla="*/ 18 w 181"/>
              <a:gd name="T55" fmla="*/ 106 h 110"/>
              <a:gd name="T56" fmla="*/ 11 w 181"/>
              <a:gd name="T57" fmla="*/ 101 h 110"/>
              <a:gd name="T58" fmla="*/ 0 w 181"/>
              <a:gd name="T59" fmla="*/ 101 h 110"/>
              <a:gd name="T60" fmla="*/ 2 w 181"/>
              <a:gd name="T61" fmla="*/ 99 h 110"/>
              <a:gd name="T62" fmla="*/ 2 w 181"/>
              <a:gd name="T63" fmla="*/ 98 h 110"/>
              <a:gd name="T64" fmla="*/ 7 w 181"/>
              <a:gd name="T65" fmla="*/ 95 h 110"/>
              <a:gd name="T66" fmla="*/ 11 w 181"/>
              <a:gd name="T67" fmla="*/ 91 h 110"/>
              <a:gd name="T68" fmla="*/ 11 w 181"/>
              <a:gd name="T69" fmla="*/ 88 h 110"/>
              <a:gd name="T70" fmla="*/ 16 w 181"/>
              <a:gd name="T71" fmla="*/ 86 h 110"/>
              <a:gd name="T72" fmla="*/ 19 w 181"/>
              <a:gd name="T73" fmla="*/ 86 h 110"/>
              <a:gd name="T74" fmla="*/ 19 w 181"/>
              <a:gd name="T75" fmla="*/ 85 h 110"/>
              <a:gd name="T76" fmla="*/ 28 w 181"/>
              <a:gd name="T77" fmla="*/ 79 h 110"/>
              <a:gd name="T78" fmla="*/ 29 w 181"/>
              <a:gd name="T79" fmla="*/ 80 h 110"/>
              <a:gd name="T80" fmla="*/ 35 w 181"/>
              <a:gd name="T81" fmla="*/ 75 h 110"/>
              <a:gd name="T82" fmla="*/ 46 w 181"/>
              <a:gd name="T83" fmla="*/ 68 h 110"/>
              <a:gd name="T84" fmla="*/ 56 w 181"/>
              <a:gd name="T85" fmla="*/ 63 h 110"/>
              <a:gd name="T86" fmla="*/ 65 w 181"/>
              <a:gd name="T87" fmla="*/ 61 h 110"/>
              <a:gd name="T88" fmla="*/ 87 w 181"/>
              <a:gd name="T89" fmla="*/ 51 h 110"/>
              <a:gd name="T90" fmla="*/ 101 w 181"/>
              <a:gd name="T91" fmla="*/ 45 h 110"/>
              <a:gd name="T92" fmla="*/ 117 w 181"/>
              <a:gd name="T93" fmla="*/ 37 h 110"/>
              <a:gd name="T94" fmla="*/ 138 w 181"/>
              <a:gd name="T95" fmla="*/ 20 h 110"/>
              <a:gd name="T96" fmla="*/ 151 w 181"/>
              <a:gd name="T97" fmla="*/ 9 h 1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81" h="110">
                <a:moveTo>
                  <a:pt x="151" y="9"/>
                </a:moveTo>
                <a:lnTo>
                  <a:pt x="152" y="9"/>
                </a:lnTo>
                <a:lnTo>
                  <a:pt x="154" y="6"/>
                </a:lnTo>
                <a:lnTo>
                  <a:pt x="158" y="5"/>
                </a:lnTo>
                <a:lnTo>
                  <a:pt x="162" y="3"/>
                </a:lnTo>
                <a:lnTo>
                  <a:pt x="163" y="3"/>
                </a:lnTo>
                <a:lnTo>
                  <a:pt x="164" y="2"/>
                </a:lnTo>
                <a:lnTo>
                  <a:pt x="166" y="0"/>
                </a:lnTo>
                <a:lnTo>
                  <a:pt x="166" y="2"/>
                </a:lnTo>
                <a:lnTo>
                  <a:pt x="163" y="5"/>
                </a:lnTo>
                <a:lnTo>
                  <a:pt x="163" y="6"/>
                </a:lnTo>
                <a:lnTo>
                  <a:pt x="164" y="7"/>
                </a:lnTo>
                <a:lnTo>
                  <a:pt x="167" y="6"/>
                </a:lnTo>
                <a:lnTo>
                  <a:pt x="167" y="8"/>
                </a:lnTo>
                <a:lnTo>
                  <a:pt x="163" y="13"/>
                </a:lnTo>
                <a:lnTo>
                  <a:pt x="162" y="14"/>
                </a:lnTo>
                <a:lnTo>
                  <a:pt x="163" y="15"/>
                </a:lnTo>
                <a:lnTo>
                  <a:pt x="170" y="12"/>
                </a:lnTo>
                <a:lnTo>
                  <a:pt x="171" y="12"/>
                </a:lnTo>
                <a:lnTo>
                  <a:pt x="173" y="9"/>
                </a:lnTo>
                <a:lnTo>
                  <a:pt x="178" y="8"/>
                </a:lnTo>
                <a:lnTo>
                  <a:pt x="179" y="8"/>
                </a:lnTo>
                <a:lnTo>
                  <a:pt x="179" y="8"/>
                </a:lnTo>
                <a:lnTo>
                  <a:pt x="177" y="9"/>
                </a:lnTo>
                <a:lnTo>
                  <a:pt x="177" y="10"/>
                </a:lnTo>
                <a:lnTo>
                  <a:pt x="175" y="12"/>
                </a:lnTo>
                <a:lnTo>
                  <a:pt x="173" y="14"/>
                </a:lnTo>
                <a:lnTo>
                  <a:pt x="177" y="13"/>
                </a:lnTo>
                <a:lnTo>
                  <a:pt x="177" y="12"/>
                </a:lnTo>
                <a:lnTo>
                  <a:pt x="180" y="9"/>
                </a:lnTo>
                <a:lnTo>
                  <a:pt x="181" y="9"/>
                </a:lnTo>
                <a:lnTo>
                  <a:pt x="181" y="12"/>
                </a:lnTo>
                <a:lnTo>
                  <a:pt x="177" y="14"/>
                </a:lnTo>
                <a:lnTo>
                  <a:pt x="178" y="14"/>
                </a:lnTo>
                <a:lnTo>
                  <a:pt x="178" y="15"/>
                </a:lnTo>
                <a:lnTo>
                  <a:pt x="174" y="18"/>
                </a:lnTo>
                <a:lnTo>
                  <a:pt x="172" y="23"/>
                </a:lnTo>
                <a:lnTo>
                  <a:pt x="171" y="24"/>
                </a:lnTo>
                <a:lnTo>
                  <a:pt x="166" y="27"/>
                </a:lnTo>
                <a:lnTo>
                  <a:pt x="164" y="29"/>
                </a:lnTo>
                <a:lnTo>
                  <a:pt x="161" y="31"/>
                </a:lnTo>
                <a:lnTo>
                  <a:pt x="159" y="31"/>
                </a:lnTo>
                <a:lnTo>
                  <a:pt x="158" y="33"/>
                </a:lnTo>
                <a:lnTo>
                  <a:pt x="152" y="36"/>
                </a:lnTo>
                <a:lnTo>
                  <a:pt x="144" y="43"/>
                </a:lnTo>
                <a:lnTo>
                  <a:pt x="141" y="44"/>
                </a:lnTo>
                <a:lnTo>
                  <a:pt x="140" y="44"/>
                </a:lnTo>
                <a:lnTo>
                  <a:pt x="138" y="45"/>
                </a:lnTo>
                <a:lnTo>
                  <a:pt x="133" y="47"/>
                </a:lnTo>
                <a:lnTo>
                  <a:pt x="132" y="48"/>
                </a:lnTo>
                <a:lnTo>
                  <a:pt x="127" y="54"/>
                </a:lnTo>
                <a:lnTo>
                  <a:pt x="123" y="57"/>
                </a:lnTo>
                <a:lnTo>
                  <a:pt x="126" y="57"/>
                </a:lnTo>
                <a:lnTo>
                  <a:pt x="127" y="58"/>
                </a:lnTo>
                <a:lnTo>
                  <a:pt x="126" y="60"/>
                </a:lnTo>
                <a:lnTo>
                  <a:pt x="124" y="61"/>
                </a:lnTo>
                <a:lnTo>
                  <a:pt x="124" y="59"/>
                </a:lnTo>
                <a:lnTo>
                  <a:pt x="123" y="61"/>
                </a:lnTo>
                <a:lnTo>
                  <a:pt x="119" y="59"/>
                </a:lnTo>
                <a:lnTo>
                  <a:pt x="118" y="58"/>
                </a:lnTo>
                <a:lnTo>
                  <a:pt x="117" y="59"/>
                </a:lnTo>
                <a:lnTo>
                  <a:pt x="116" y="60"/>
                </a:lnTo>
                <a:lnTo>
                  <a:pt x="114" y="61"/>
                </a:lnTo>
                <a:lnTo>
                  <a:pt x="113" y="60"/>
                </a:lnTo>
                <a:lnTo>
                  <a:pt x="113" y="60"/>
                </a:lnTo>
                <a:lnTo>
                  <a:pt x="111" y="61"/>
                </a:lnTo>
                <a:lnTo>
                  <a:pt x="106" y="64"/>
                </a:lnTo>
                <a:lnTo>
                  <a:pt x="102" y="65"/>
                </a:lnTo>
                <a:lnTo>
                  <a:pt x="101" y="65"/>
                </a:lnTo>
                <a:lnTo>
                  <a:pt x="102" y="64"/>
                </a:lnTo>
                <a:lnTo>
                  <a:pt x="101" y="64"/>
                </a:lnTo>
                <a:lnTo>
                  <a:pt x="99" y="65"/>
                </a:lnTo>
                <a:lnTo>
                  <a:pt x="96" y="68"/>
                </a:lnTo>
                <a:lnTo>
                  <a:pt x="91" y="71"/>
                </a:lnTo>
                <a:lnTo>
                  <a:pt x="89" y="74"/>
                </a:lnTo>
                <a:lnTo>
                  <a:pt x="85" y="78"/>
                </a:lnTo>
                <a:lnTo>
                  <a:pt x="82" y="79"/>
                </a:lnTo>
                <a:lnTo>
                  <a:pt x="80" y="81"/>
                </a:lnTo>
                <a:lnTo>
                  <a:pt x="76" y="85"/>
                </a:lnTo>
                <a:lnTo>
                  <a:pt x="72" y="87"/>
                </a:lnTo>
                <a:lnTo>
                  <a:pt x="71" y="89"/>
                </a:lnTo>
                <a:lnTo>
                  <a:pt x="68" y="91"/>
                </a:lnTo>
                <a:lnTo>
                  <a:pt x="65" y="93"/>
                </a:lnTo>
                <a:lnTo>
                  <a:pt x="63" y="94"/>
                </a:lnTo>
                <a:lnTo>
                  <a:pt x="62" y="96"/>
                </a:lnTo>
                <a:lnTo>
                  <a:pt x="60" y="97"/>
                </a:lnTo>
                <a:lnTo>
                  <a:pt x="61" y="97"/>
                </a:lnTo>
                <a:lnTo>
                  <a:pt x="59" y="98"/>
                </a:lnTo>
                <a:lnTo>
                  <a:pt x="58" y="98"/>
                </a:lnTo>
                <a:lnTo>
                  <a:pt x="55" y="100"/>
                </a:lnTo>
                <a:lnTo>
                  <a:pt x="49" y="103"/>
                </a:lnTo>
                <a:lnTo>
                  <a:pt x="43" y="105"/>
                </a:lnTo>
                <a:lnTo>
                  <a:pt x="42" y="105"/>
                </a:lnTo>
                <a:lnTo>
                  <a:pt x="41" y="106"/>
                </a:lnTo>
                <a:lnTo>
                  <a:pt x="40" y="106"/>
                </a:lnTo>
                <a:lnTo>
                  <a:pt x="38" y="108"/>
                </a:lnTo>
                <a:lnTo>
                  <a:pt x="36" y="108"/>
                </a:lnTo>
                <a:lnTo>
                  <a:pt x="30" y="110"/>
                </a:lnTo>
                <a:lnTo>
                  <a:pt x="29" y="109"/>
                </a:lnTo>
                <a:lnTo>
                  <a:pt x="26" y="110"/>
                </a:lnTo>
                <a:lnTo>
                  <a:pt x="25" y="110"/>
                </a:lnTo>
                <a:lnTo>
                  <a:pt x="26" y="108"/>
                </a:lnTo>
                <a:lnTo>
                  <a:pt x="25" y="108"/>
                </a:lnTo>
                <a:lnTo>
                  <a:pt x="22" y="108"/>
                </a:lnTo>
                <a:lnTo>
                  <a:pt x="20" y="109"/>
                </a:lnTo>
                <a:lnTo>
                  <a:pt x="19" y="109"/>
                </a:lnTo>
                <a:lnTo>
                  <a:pt x="20" y="108"/>
                </a:lnTo>
                <a:lnTo>
                  <a:pt x="18" y="109"/>
                </a:lnTo>
                <a:lnTo>
                  <a:pt x="19" y="108"/>
                </a:lnTo>
                <a:lnTo>
                  <a:pt x="20" y="106"/>
                </a:lnTo>
                <a:lnTo>
                  <a:pt x="18" y="107"/>
                </a:lnTo>
                <a:lnTo>
                  <a:pt x="18" y="106"/>
                </a:lnTo>
                <a:lnTo>
                  <a:pt x="12" y="106"/>
                </a:lnTo>
                <a:lnTo>
                  <a:pt x="15" y="103"/>
                </a:lnTo>
                <a:lnTo>
                  <a:pt x="13" y="101"/>
                </a:lnTo>
                <a:lnTo>
                  <a:pt x="11" y="101"/>
                </a:lnTo>
                <a:lnTo>
                  <a:pt x="8" y="103"/>
                </a:lnTo>
                <a:lnTo>
                  <a:pt x="6" y="104"/>
                </a:lnTo>
                <a:lnTo>
                  <a:pt x="1" y="103"/>
                </a:lnTo>
                <a:lnTo>
                  <a:pt x="0" y="101"/>
                </a:lnTo>
                <a:lnTo>
                  <a:pt x="2" y="100"/>
                </a:lnTo>
                <a:lnTo>
                  <a:pt x="5" y="98"/>
                </a:lnTo>
                <a:lnTo>
                  <a:pt x="7" y="97"/>
                </a:lnTo>
                <a:lnTo>
                  <a:pt x="2" y="99"/>
                </a:lnTo>
                <a:lnTo>
                  <a:pt x="1" y="99"/>
                </a:lnTo>
                <a:lnTo>
                  <a:pt x="5" y="97"/>
                </a:lnTo>
                <a:lnTo>
                  <a:pt x="5" y="97"/>
                </a:lnTo>
                <a:lnTo>
                  <a:pt x="2" y="98"/>
                </a:lnTo>
                <a:lnTo>
                  <a:pt x="0" y="98"/>
                </a:lnTo>
                <a:lnTo>
                  <a:pt x="1" y="97"/>
                </a:lnTo>
                <a:lnTo>
                  <a:pt x="4" y="96"/>
                </a:lnTo>
                <a:lnTo>
                  <a:pt x="7" y="95"/>
                </a:lnTo>
                <a:lnTo>
                  <a:pt x="10" y="94"/>
                </a:lnTo>
                <a:lnTo>
                  <a:pt x="9" y="93"/>
                </a:lnTo>
                <a:lnTo>
                  <a:pt x="9" y="93"/>
                </a:lnTo>
                <a:lnTo>
                  <a:pt x="11" y="91"/>
                </a:lnTo>
                <a:lnTo>
                  <a:pt x="13" y="90"/>
                </a:lnTo>
                <a:lnTo>
                  <a:pt x="12" y="90"/>
                </a:lnTo>
                <a:lnTo>
                  <a:pt x="11" y="90"/>
                </a:lnTo>
                <a:lnTo>
                  <a:pt x="11" y="88"/>
                </a:lnTo>
                <a:lnTo>
                  <a:pt x="13" y="88"/>
                </a:lnTo>
                <a:lnTo>
                  <a:pt x="15" y="87"/>
                </a:lnTo>
                <a:lnTo>
                  <a:pt x="15" y="87"/>
                </a:lnTo>
                <a:lnTo>
                  <a:pt x="16" y="86"/>
                </a:lnTo>
                <a:lnTo>
                  <a:pt x="17" y="86"/>
                </a:lnTo>
                <a:lnTo>
                  <a:pt x="17" y="87"/>
                </a:lnTo>
                <a:lnTo>
                  <a:pt x="18" y="86"/>
                </a:lnTo>
                <a:lnTo>
                  <a:pt x="19" y="86"/>
                </a:lnTo>
                <a:lnTo>
                  <a:pt x="20" y="86"/>
                </a:lnTo>
                <a:lnTo>
                  <a:pt x="20" y="86"/>
                </a:lnTo>
                <a:lnTo>
                  <a:pt x="19" y="85"/>
                </a:lnTo>
                <a:lnTo>
                  <a:pt x="19" y="85"/>
                </a:lnTo>
                <a:lnTo>
                  <a:pt x="23" y="80"/>
                </a:lnTo>
                <a:lnTo>
                  <a:pt x="27" y="79"/>
                </a:lnTo>
                <a:lnTo>
                  <a:pt x="28" y="78"/>
                </a:lnTo>
                <a:lnTo>
                  <a:pt x="28" y="79"/>
                </a:lnTo>
                <a:lnTo>
                  <a:pt x="27" y="80"/>
                </a:lnTo>
                <a:lnTo>
                  <a:pt x="27" y="81"/>
                </a:lnTo>
                <a:lnTo>
                  <a:pt x="28" y="81"/>
                </a:lnTo>
                <a:lnTo>
                  <a:pt x="29" y="80"/>
                </a:lnTo>
                <a:lnTo>
                  <a:pt x="30" y="78"/>
                </a:lnTo>
                <a:lnTo>
                  <a:pt x="31" y="77"/>
                </a:lnTo>
                <a:lnTo>
                  <a:pt x="32" y="77"/>
                </a:lnTo>
                <a:lnTo>
                  <a:pt x="35" y="75"/>
                </a:lnTo>
                <a:lnTo>
                  <a:pt x="38" y="74"/>
                </a:lnTo>
                <a:lnTo>
                  <a:pt x="40" y="73"/>
                </a:lnTo>
                <a:lnTo>
                  <a:pt x="42" y="70"/>
                </a:lnTo>
                <a:lnTo>
                  <a:pt x="46" y="68"/>
                </a:lnTo>
                <a:lnTo>
                  <a:pt x="48" y="67"/>
                </a:lnTo>
                <a:lnTo>
                  <a:pt x="51" y="64"/>
                </a:lnTo>
                <a:lnTo>
                  <a:pt x="53" y="64"/>
                </a:lnTo>
                <a:lnTo>
                  <a:pt x="56" y="63"/>
                </a:lnTo>
                <a:lnTo>
                  <a:pt x="57" y="63"/>
                </a:lnTo>
                <a:lnTo>
                  <a:pt x="60" y="63"/>
                </a:lnTo>
                <a:lnTo>
                  <a:pt x="61" y="63"/>
                </a:lnTo>
                <a:lnTo>
                  <a:pt x="65" y="61"/>
                </a:lnTo>
                <a:lnTo>
                  <a:pt x="68" y="60"/>
                </a:lnTo>
                <a:lnTo>
                  <a:pt x="73" y="57"/>
                </a:lnTo>
                <a:lnTo>
                  <a:pt x="79" y="55"/>
                </a:lnTo>
                <a:lnTo>
                  <a:pt x="87" y="51"/>
                </a:lnTo>
                <a:lnTo>
                  <a:pt x="92" y="50"/>
                </a:lnTo>
                <a:lnTo>
                  <a:pt x="93" y="48"/>
                </a:lnTo>
                <a:lnTo>
                  <a:pt x="99" y="46"/>
                </a:lnTo>
                <a:lnTo>
                  <a:pt x="101" y="45"/>
                </a:lnTo>
                <a:lnTo>
                  <a:pt x="102" y="45"/>
                </a:lnTo>
                <a:lnTo>
                  <a:pt x="107" y="43"/>
                </a:lnTo>
                <a:lnTo>
                  <a:pt x="110" y="41"/>
                </a:lnTo>
                <a:lnTo>
                  <a:pt x="117" y="37"/>
                </a:lnTo>
                <a:lnTo>
                  <a:pt x="121" y="33"/>
                </a:lnTo>
                <a:lnTo>
                  <a:pt x="127" y="27"/>
                </a:lnTo>
                <a:lnTo>
                  <a:pt x="130" y="24"/>
                </a:lnTo>
                <a:lnTo>
                  <a:pt x="138" y="20"/>
                </a:lnTo>
                <a:lnTo>
                  <a:pt x="140" y="20"/>
                </a:lnTo>
                <a:lnTo>
                  <a:pt x="142" y="19"/>
                </a:lnTo>
                <a:lnTo>
                  <a:pt x="146" y="16"/>
                </a:lnTo>
                <a:lnTo>
                  <a:pt x="151" y="9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94" name="Freeform 493"/>
          <p:cNvSpPr>
            <a:spLocks/>
          </p:cNvSpPr>
          <p:nvPr/>
        </p:nvSpPr>
        <p:spPr bwMode="auto">
          <a:xfrm>
            <a:off x="8418513" y="4573553"/>
            <a:ext cx="163512" cy="203200"/>
          </a:xfrm>
          <a:custGeom>
            <a:avLst/>
            <a:gdLst>
              <a:gd name="T0" fmla="*/ 13 w 103"/>
              <a:gd name="T1" fmla="*/ 115 h 128"/>
              <a:gd name="T2" fmla="*/ 23 w 103"/>
              <a:gd name="T3" fmla="*/ 104 h 128"/>
              <a:gd name="T4" fmla="*/ 17 w 103"/>
              <a:gd name="T5" fmla="*/ 96 h 128"/>
              <a:gd name="T6" fmla="*/ 15 w 103"/>
              <a:gd name="T7" fmla="*/ 85 h 128"/>
              <a:gd name="T8" fmla="*/ 32 w 103"/>
              <a:gd name="T9" fmla="*/ 78 h 128"/>
              <a:gd name="T10" fmla="*/ 44 w 103"/>
              <a:gd name="T11" fmla="*/ 66 h 128"/>
              <a:gd name="T12" fmla="*/ 49 w 103"/>
              <a:gd name="T13" fmla="*/ 59 h 128"/>
              <a:gd name="T14" fmla="*/ 52 w 103"/>
              <a:gd name="T15" fmla="*/ 52 h 128"/>
              <a:gd name="T16" fmla="*/ 55 w 103"/>
              <a:gd name="T17" fmla="*/ 47 h 128"/>
              <a:gd name="T18" fmla="*/ 52 w 103"/>
              <a:gd name="T19" fmla="*/ 45 h 128"/>
              <a:gd name="T20" fmla="*/ 55 w 103"/>
              <a:gd name="T21" fmla="*/ 38 h 128"/>
              <a:gd name="T22" fmla="*/ 56 w 103"/>
              <a:gd name="T23" fmla="*/ 34 h 128"/>
              <a:gd name="T24" fmla="*/ 55 w 103"/>
              <a:gd name="T25" fmla="*/ 31 h 128"/>
              <a:gd name="T26" fmla="*/ 52 w 103"/>
              <a:gd name="T27" fmla="*/ 23 h 128"/>
              <a:gd name="T28" fmla="*/ 56 w 103"/>
              <a:gd name="T29" fmla="*/ 15 h 128"/>
              <a:gd name="T30" fmla="*/ 50 w 103"/>
              <a:gd name="T31" fmla="*/ 15 h 128"/>
              <a:gd name="T32" fmla="*/ 54 w 103"/>
              <a:gd name="T33" fmla="*/ 3 h 128"/>
              <a:gd name="T34" fmla="*/ 56 w 103"/>
              <a:gd name="T35" fmla="*/ 0 h 128"/>
              <a:gd name="T36" fmla="*/ 54 w 103"/>
              <a:gd name="T37" fmla="*/ 7 h 128"/>
              <a:gd name="T38" fmla="*/ 58 w 103"/>
              <a:gd name="T39" fmla="*/ 7 h 128"/>
              <a:gd name="T40" fmla="*/ 63 w 103"/>
              <a:gd name="T41" fmla="*/ 11 h 128"/>
              <a:gd name="T42" fmla="*/ 65 w 103"/>
              <a:gd name="T43" fmla="*/ 15 h 128"/>
              <a:gd name="T44" fmla="*/ 66 w 103"/>
              <a:gd name="T45" fmla="*/ 18 h 128"/>
              <a:gd name="T46" fmla="*/ 66 w 103"/>
              <a:gd name="T47" fmla="*/ 25 h 128"/>
              <a:gd name="T48" fmla="*/ 62 w 103"/>
              <a:gd name="T49" fmla="*/ 25 h 128"/>
              <a:gd name="T50" fmla="*/ 63 w 103"/>
              <a:gd name="T51" fmla="*/ 28 h 128"/>
              <a:gd name="T52" fmla="*/ 60 w 103"/>
              <a:gd name="T53" fmla="*/ 37 h 128"/>
              <a:gd name="T54" fmla="*/ 57 w 103"/>
              <a:gd name="T55" fmla="*/ 42 h 128"/>
              <a:gd name="T56" fmla="*/ 57 w 103"/>
              <a:gd name="T57" fmla="*/ 45 h 128"/>
              <a:gd name="T58" fmla="*/ 63 w 103"/>
              <a:gd name="T59" fmla="*/ 45 h 128"/>
              <a:gd name="T60" fmla="*/ 65 w 103"/>
              <a:gd name="T61" fmla="*/ 48 h 128"/>
              <a:gd name="T62" fmla="*/ 70 w 103"/>
              <a:gd name="T63" fmla="*/ 37 h 128"/>
              <a:gd name="T64" fmla="*/ 73 w 103"/>
              <a:gd name="T65" fmla="*/ 43 h 128"/>
              <a:gd name="T66" fmla="*/ 68 w 103"/>
              <a:gd name="T67" fmla="*/ 51 h 128"/>
              <a:gd name="T68" fmla="*/ 68 w 103"/>
              <a:gd name="T69" fmla="*/ 57 h 128"/>
              <a:gd name="T70" fmla="*/ 79 w 103"/>
              <a:gd name="T71" fmla="*/ 64 h 128"/>
              <a:gd name="T72" fmla="*/ 89 w 103"/>
              <a:gd name="T73" fmla="*/ 59 h 128"/>
              <a:gd name="T74" fmla="*/ 97 w 103"/>
              <a:gd name="T75" fmla="*/ 55 h 128"/>
              <a:gd name="T76" fmla="*/ 100 w 103"/>
              <a:gd name="T77" fmla="*/ 62 h 128"/>
              <a:gd name="T78" fmla="*/ 91 w 103"/>
              <a:gd name="T79" fmla="*/ 72 h 128"/>
              <a:gd name="T80" fmla="*/ 80 w 103"/>
              <a:gd name="T81" fmla="*/ 79 h 128"/>
              <a:gd name="T82" fmla="*/ 77 w 103"/>
              <a:gd name="T83" fmla="*/ 84 h 128"/>
              <a:gd name="T84" fmla="*/ 74 w 103"/>
              <a:gd name="T85" fmla="*/ 83 h 128"/>
              <a:gd name="T86" fmla="*/ 65 w 103"/>
              <a:gd name="T87" fmla="*/ 85 h 128"/>
              <a:gd name="T88" fmla="*/ 56 w 103"/>
              <a:gd name="T89" fmla="*/ 94 h 128"/>
              <a:gd name="T90" fmla="*/ 43 w 103"/>
              <a:gd name="T91" fmla="*/ 105 h 128"/>
              <a:gd name="T92" fmla="*/ 16 w 103"/>
              <a:gd name="T93" fmla="*/ 124 h 128"/>
              <a:gd name="T94" fmla="*/ 6 w 103"/>
              <a:gd name="T95" fmla="*/ 125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03" h="128">
                <a:moveTo>
                  <a:pt x="3" y="122"/>
                </a:moveTo>
                <a:lnTo>
                  <a:pt x="6" y="119"/>
                </a:lnTo>
                <a:lnTo>
                  <a:pt x="9" y="116"/>
                </a:lnTo>
                <a:lnTo>
                  <a:pt x="13" y="115"/>
                </a:lnTo>
                <a:lnTo>
                  <a:pt x="16" y="112"/>
                </a:lnTo>
                <a:lnTo>
                  <a:pt x="19" y="108"/>
                </a:lnTo>
                <a:lnTo>
                  <a:pt x="22" y="106"/>
                </a:lnTo>
                <a:lnTo>
                  <a:pt x="23" y="104"/>
                </a:lnTo>
                <a:lnTo>
                  <a:pt x="24" y="102"/>
                </a:lnTo>
                <a:lnTo>
                  <a:pt x="23" y="98"/>
                </a:lnTo>
                <a:lnTo>
                  <a:pt x="19" y="97"/>
                </a:lnTo>
                <a:lnTo>
                  <a:pt x="17" y="96"/>
                </a:lnTo>
                <a:lnTo>
                  <a:pt x="16" y="92"/>
                </a:lnTo>
                <a:lnTo>
                  <a:pt x="13" y="92"/>
                </a:lnTo>
                <a:lnTo>
                  <a:pt x="13" y="88"/>
                </a:lnTo>
                <a:lnTo>
                  <a:pt x="15" y="85"/>
                </a:lnTo>
                <a:lnTo>
                  <a:pt x="19" y="83"/>
                </a:lnTo>
                <a:lnTo>
                  <a:pt x="23" y="82"/>
                </a:lnTo>
                <a:lnTo>
                  <a:pt x="27" y="81"/>
                </a:lnTo>
                <a:lnTo>
                  <a:pt x="32" y="78"/>
                </a:lnTo>
                <a:lnTo>
                  <a:pt x="35" y="74"/>
                </a:lnTo>
                <a:lnTo>
                  <a:pt x="39" y="68"/>
                </a:lnTo>
                <a:lnTo>
                  <a:pt x="42" y="66"/>
                </a:lnTo>
                <a:lnTo>
                  <a:pt x="44" y="66"/>
                </a:lnTo>
                <a:lnTo>
                  <a:pt x="45" y="65"/>
                </a:lnTo>
                <a:lnTo>
                  <a:pt x="46" y="63"/>
                </a:lnTo>
                <a:lnTo>
                  <a:pt x="47" y="61"/>
                </a:lnTo>
                <a:lnTo>
                  <a:pt x="49" y="59"/>
                </a:lnTo>
                <a:lnTo>
                  <a:pt x="49" y="58"/>
                </a:lnTo>
                <a:lnTo>
                  <a:pt x="50" y="55"/>
                </a:lnTo>
                <a:lnTo>
                  <a:pt x="53" y="52"/>
                </a:lnTo>
                <a:lnTo>
                  <a:pt x="52" y="52"/>
                </a:lnTo>
                <a:lnTo>
                  <a:pt x="50" y="49"/>
                </a:lnTo>
                <a:lnTo>
                  <a:pt x="52" y="48"/>
                </a:lnTo>
                <a:lnTo>
                  <a:pt x="54" y="48"/>
                </a:lnTo>
                <a:lnTo>
                  <a:pt x="55" y="47"/>
                </a:lnTo>
                <a:lnTo>
                  <a:pt x="56" y="46"/>
                </a:lnTo>
                <a:lnTo>
                  <a:pt x="56" y="45"/>
                </a:lnTo>
                <a:lnTo>
                  <a:pt x="55" y="45"/>
                </a:lnTo>
                <a:lnTo>
                  <a:pt x="52" y="45"/>
                </a:lnTo>
                <a:lnTo>
                  <a:pt x="53" y="39"/>
                </a:lnTo>
                <a:lnTo>
                  <a:pt x="54" y="36"/>
                </a:lnTo>
                <a:lnTo>
                  <a:pt x="53" y="39"/>
                </a:lnTo>
                <a:lnTo>
                  <a:pt x="55" y="38"/>
                </a:lnTo>
                <a:lnTo>
                  <a:pt x="57" y="35"/>
                </a:lnTo>
                <a:lnTo>
                  <a:pt x="56" y="35"/>
                </a:lnTo>
                <a:lnTo>
                  <a:pt x="55" y="34"/>
                </a:lnTo>
                <a:lnTo>
                  <a:pt x="56" y="34"/>
                </a:lnTo>
                <a:lnTo>
                  <a:pt x="58" y="31"/>
                </a:lnTo>
                <a:lnTo>
                  <a:pt x="57" y="29"/>
                </a:lnTo>
                <a:lnTo>
                  <a:pt x="56" y="31"/>
                </a:lnTo>
                <a:lnTo>
                  <a:pt x="55" y="31"/>
                </a:lnTo>
                <a:lnTo>
                  <a:pt x="54" y="32"/>
                </a:lnTo>
                <a:lnTo>
                  <a:pt x="53" y="34"/>
                </a:lnTo>
                <a:lnTo>
                  <a:pt x="53" y="28"/>
                </a:lnTo>
                <a:lnTo>
                  <a:pt x="52" y="23"/>
                </a:lnTo>
                <a:lnTo>
                  <a:pt x="52" y="20"/>
                </a:lnTo>
                <a:lnTo>
                  <a:pt x="52" y="18"/>
                </a:lnTo>
                <a:lnTo>
                  <a:pt x="54" y="17"/>
                </a:lnTo>
                <a:lnTo>
                  <a:pt x="56" y="15"/>
                </a:lnTo>
                <a:lnTo>
                  <a:pt x="56" y="15"/>
                </a:lnTo>
                <a:lnTo>
                  <a:pt x="55" y="16"/>
                </a:lnTo>
                <a:lnTo>
                  <a:pt x="52" y="17"/>
                </a:lnTo>
                <a:lnTo>
                  <a:pt x="50" y="15"/>
                </a:lnTo>
                <a:lnTo>
                  <a:pt x="52" y="13"/>
                </a:lnTo>
                <a:lnTo>
                  <a:pt x="53" y="11"/>
                </a:lnTo>
                <a:lnTo>
                  <a:pt x="54" y="8"/>
                </a:lnTo>
                <a:lnTo>
                  <a:pt x="54" y="3"/>
                </a:lnTo>
                <a:lnTo>
                  <a:pt x="53" y="1"/>
                </a:lnTo>
                <a:lnTo>
                  <a:pt x="53" y="0"/>
                </a:lnTo>
                <a:lnTo>
                  <a:pt x="56" y="0"/>
                </a:lnTo>
                <a:lnTo>
                  <a:pt x="56" y="0"/>
                </a:lnTo>
                <a:lnTo>
                  <a:pt x="57" y="0"/>
                </a:lnTo>
                <a:lnTo>
                  <a:pt x="56" y="2"/>
                </a:lnTo>
                <a:lnTo>
                  <a:pt x="55" y="5"/>
                </a:lnTo>
                <a:lnTo>
                  <a:pt x="54" y="7"/>
                </a:lnTo>
                <a:lnTo>
                  <a:pt x="55" y="8"/>
                </a:lnTo>
                <a:lnTo>
                  <a:pt x="56" y="8"/>
                </a:lnTo>
                <a:lnTo>
                  <a:pt x="58" y="6"/>
                </a:lnTo>
                <a:lnTo>
                  <a:pt x="58" y="7"/>
                </a:lnTo>
                <a:lnTo>
                  <a:pt x="57" y="8"/>
                </a:lnTo>
                <a:lnTo>
                  <a:pt x="60" y="8"/>
                </a:lnTo>
                <a:lnTo>
                  <a:pt x="62" y="10"/>
                </a:lnTo>
                <a:lnTo>
                  <a:pt x="63" y="11"/>
                </a:lnTo>
                <a:lnTo>
                  <a:pt x="65" y="10"/>
                </a:lnTo>
                <a:lnTo>
                  <a:pt x="66" y="12"/>
                </a:lnTo>
                <a:lnTo>
                  <a:pt x="64" y="13"/>
                </a:lnTo>
                <a:lnTo>
                  <a:pt x="65" y="15"/>
                </a:lnTo>
                <a:lnTo>
                  <a:pt x="66" y="14"/>
                </a:lnTo>
                <a:lnTo>
                  <a:pt x="67" y="15"/>
                </a:lnTo>
                <a:lnTo>
                  <a:pt x="66" y="16"/>
                </a:lnTo>
                <a:lnTo>
                  <a:pt x="66" y="18"/>
                </a:lnTo>
                <a:lnTo>
                  <a:pt x="67" y="21"/>
                </a:lnTo>
                <a:lnTo>
                  <a:pt x="67" y="22"/>
                </a:lnTo>
                <a:lnTo>
                  <a:pt x="66" y="23"/>
                </a:lnTo>
                <a:lnTo>
                  <a:pt x="66" y="25"/>
                </a:lnTo>
                <a:lnTo>
                  <a:pt x="65" y="25"/>
                </a:lnTo>
                <a:lnTo>
                  <a:pt x="64" y="23"/>
                </a:lnTo>
                <a:lnTo>
                  <a:pt x="63" y="23"/>
                </a:lnTo>
                <a:lnTo>
                  <a:pt x="62" y="25"/>
                </a:lnTo>
                <a:lnTo>
                  <a:pt x="62" y="25"/>
                </a:lnTo>
                <a:lnTo>
                  <a:pt x="63" y="25"/>
                </a:lnTo>
                <a:lnTo>
                  <a:pt x="63" y="26"/>
                </a:lnTo>
                <a:lnTo>
                  <a:pt x="63" y="28"/>
                </a:lnTo>
                <a:lnTo>
                  <a:pt x="63" y="31"/>
                </a:lnTo>
                <a:lnTo>
                  <a:pt x="63" y="33"/>
                </a:lnTo>
                <a:lnTo>
                  <a:pt x="64" y="35"/>
                </a:lnTo>
                <a:lnTo>
                  <a:pt x="60" y="37"/>
                </a:lnTo>
                <a:lnTo>
                  <a:pt x="59" y="39"/>
                </a:lnTo>
                <a:lnTo>
                  <a:pt x="59" y="39"/>
                </a:lnTo>
                <a:lnTo>
                  <a:pt x="58" y="42"/>
                </a:lnTo>
                <a:lnTo>
                  <a:pt x="57" y="42"/>
                </a:lnTo>
                <a:lnTo>
                  <a:pt x="56" y="43"/>
                </a:lnTo>
                <a:lnTo>
                  <a:pt x="56" y="44"/>
                </a:lnTo>
                <a:lnTo>
                  <a:pt x="57" y="44"/>
                </a:lnTo>
                <a:lnTo>
                  <a:pt x="57" y="45"/>
                </a:lnTo>
                <a:lnTo>
                  <a:pt x="59" y="45"/>
                </a:lnTo>
                <a:lnTo>
                  <a:pt x="60" y="44"/>
                </a:lnTo>
                <a:lnTo>
                  <a:pt x="63" y="44"/>
                </a:lnTo>
                <a:lnTo>
                  <a:pt x="63" y="45"/>
                </a:lnTo>
                <a:lnTo>
                  <a:pt x="63" y="47"/>
                </a:lnTo>
                <a:lnTo>
                  <a:pt x="62" y="49"/>
                </a:lnTo>
                <a:lnTo>
                  <a:pt x="63" y="49"/>
                </a:lnTo>
                <a:lnTo>
                  <a:pt x="65" y="48"/>
                </a:lnTo>
                <a:lnTo>
                  <a:pt x="69" y="42"/>
                </a:lnTo>
                <a:lnTo>
                  <a:pt x="69" y="39"/>
                </a:lnTo>
                <a:lnTo>
                  <a:pt x="69" y="37"/>
                </a:lnTo>
                <a:lnTo>
                  <a:pt x="70" y="37"/>
                </a:lnTo>
                <a:lnTo>
                  <a:pt x="70" y="38"/>
                </a:lnTo>
                <a:lnTo>
                  <a:pt x="74" y="39"/>
                </a:lnTo>
                <a:lnTo>
                  <a:pt x="73" y="43"/>
                </a:lnTo>
                <a:lnTo>
                  <a:pt x="73" y="43"/>
                </a:lnTo>
                <a:lnTo>
                  <a:pt x="71" y="45"/>
                </a:lnTo>
                <a:lnTo>
                  <a:pt x="70" y="46"/>
                </a:lnTo>
                <a:lnTo>
                  <a:pt x="69" y="49"/>
                </a:lnTo>
                <a:lnTo>
                  <a:pt x="68" y="51"/>
                </a:lnTo>
                <a:lnTo>
                  <a:pt x="68" y="52"/>
                </a:lnTo>
                <a:lnTo>
                  <a:pt x="68" y="54"/>
                </a:lnTo>
                <a:lnTo>
                  <a:pt x="67" y="56"/>
                </a:lnTo>
                <a:lnTo>
                  <a:pt x="68" y="57"/>
                </a:lnTo>
                <a:lnTo>
                  <a:pt x="70" y="57"/>
                </a:lnTo>
                <a:lnTo>
                  <a:pt x="71" y="61"/>
                </a:lnTo>
                <a:lnTo>
                  <a:pt x="78" y="62"/>
                </a:lnTo>
                <a:lnTo>
                  <a:pt x="79" y="64"/>
                </a:lnTo>
                <a:lnTo>
                  <a:pt x="81" y="64"/>
                </a:lnTo>
                <a:lnTo>
                  <a:pt x="84" y="62"/>
                </a:lnTo>
                <a:lnTo>
                  <a:pt x="85" y="62"/>
                </a:lnTo>
                <a:lnTo>
                  <a:pt x="89" y="59"/>
                </a:lnTo>
                <a:lnTo>
                  <a:pt x="90" y="58"/>
                </a:lnTo>
                <a:lnTo>
                  <a:pt x="93" y="57"/>
                </a:lnTo>
                <a:lnTo>
                  <a:pt x="96" y="56"/>
                </a:lnTo>
                <a:lnTo>
                  <a:pt x="97" y="55"/>
                </a:lnTo>
                <a:lnTo>
                  <a:pt x="99" y="55"/>
                </a:lnTo>
                <a:lnTo>
                  <a:pt x="100" y="55"/>
                </a:lnTo>
                <a:lnTo>
                  <a:pt x="103" y="57"/>
                </a:lnTo>
                <a:lnTo>
                  <a:pt x="100" y="62"/>
                </a:lnTo>
                <a:lnTo>
                  <a:pt x="97" y="65"/>
                </a:lnTo>
                <a:lnTo>
                  <a:pt x="94" y="69"/>
                </a:lnTo>
                <a:lnTo>
                  <a:pt x="93" y="69"/>
                </a:lnTo>
                <a:lnTo>
                  <a:pt x="91" y="72"/>
                </a:lnTo>
                <a:lnTo>
                  <a:pt x="89" y="74"/>
                </a:lnTo>
                <a:lnTo>
                  <a:pt x="86" y="75"/>
                </a:lnTo>
                <a:lnTo>
                  <a:pt x="84" y="76"/>
                </a:lnTo>
                <a:lnTo>
                  <a:pt x="80" y="79"/>
                </a:lnTo>
                <a:lnTo>
                  <a:pt x="79" y="81"/>
                </a:lnTo>
                <a:lnTo>
                  <a:pt x="78" y="83"/>
                </a:lnTo>
                <a:lnTo>
                  <a:pt x="78" y="84"/>
                </a:lnTo>
                <a:lnTo>
                  <a:pt x="77" y="84"/>
                </a:lnTo>
                <a:lnTo>
                  <a:pt x="75" y="86"/>
                </a:lnTo>
                <a:lnTo>
                  <a:pt x="76" y="83"/>
                </a:lnTo>
                <a:lnTo>
                  <a:pt x="75" y="83"/>
                </a:lnTo>
                <a:lnTo>
                  <a:pt x="74" y="83"/>
                </a:lnTo>
                <a:lnTo>
                  <a:pt x="71" y="83"/>
                </a:lnTo>
                <a:lnTo>
                  <a:pt x="69" y="83"/>
                </a:lnTo>
                <a:lnTo>
                  <a:pt x="67" y="84"/>
                </a:lnTo>
                <a:lnTo>
                  <a:pt x="65" y="85"/>
                </a:lnTo>
                <a:lnTo>
                  <a:pt x="56" y="91"/>
                </a:lnTo>
                <a:lnTo>
                  <a:pt x="56" y="92"/>
                </a:lnTo>
                <a:lnTo>
                  <a:pt x="57" y="92"/>
                </a:lnTo>
                <a:lnTo>
                  <a:pt x="56" y="94"/>
                </a:lnTo>
                <a:lnTo>
                  <a:pt x="57" y="94"/>
                </a:lnTo>
                <a:lnTo>
                  <a:pt x="55" y="96"/>
                </a:lnTo>
                <a:lnTo>
                  <a:pt x="52" y="99"/>
                </a:lnTo>
                <a:lnTo>
                  <a:pt x="43" y="105"/>
                </a:lnTo>
                <a:lnTo>
                  <a:pt x="42" y="107"/>
                </a:lnTo>
                <a:lnTo>
                  <a:pt x="35" y="112"/>
                </a:lnTo>
                <a:lnTo>
                  <a:pt x="23" y="121"/>
                </a:lnTo>
                <a:lnTo>
                  <a:pt x="16" y="124"/>
                </a:lnTo>
                <a:lnTo>
                  <a:pt x="9" y="127"/>
                </a:lnTo>
                <a:lnTo>
                  <a:pt x="7" y="128"/>
                </a:lnTo>
                <a:lnTo>
                  <a:pt x="6" y="126"/>
                </a:lnTo>
                <a:lnTo>
                  <a:pt x="6" y="125"/>
                </a:lnTo>
                <a:lnTo>
                  <a:pt x="0" y="125"/>
                </a:lnTo>
                <a:lnTo>
                  <a:pt x="2" y="123"/>
                </a:lnTo>
                <a:lnTo>
                  <a:pt x="3" y="12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95" name="Freeform 494"/>
          <p:cNvSpPr>
            <a:spLocks/>
          </p:cNvSpPr>
          <p:nvPr/>
        </p:nvSpPr>
        <p:spPr bwMode="auto">
          <a:xfrm>
            <a:off x="8418513" y="4573553"/>
            <a:ext cx="163512" cy="203200"/>
          </a:xfrm>
          <a:custGeom>
            <a:avLst/>
            <a:gdLst>
              <a:gd name="T0" fmla="*/ 13 w 103"/>
              <a:gd name="T1" fmla="*/ 115 h 128"/>
              <a:gd name="T2" fmla="*/ 23 w 103"/>
              <a:gd name="T3" fmla="*/ 104 h 128"/>
              <a:gd name="T4" fmla="*/ 17 w 103"/>
              <a:gd name="T5" fmla="*/ 96 h 128"/>
              <a:gd name="T6" fmla="*/ 15 w 103"/>
              <a:gd name="T7" fmla="*/ 85 h 128"/>
              <a:gd name="T8" fmla="*/ 32 w 103"/>
              <a:gd name="T9" fmla="*/ 78 h 128"/>
              <a:gd name="T10" fmla="*/ 44 w 103"/>
              <a:gd name="T11" fmla="*/ 66 h 128"/>
              <a:gd name="T12" fmla="*/ 49 w 103"/>
              <a:gd name="T13" fmla="*/ 59 h 128"/>
              <a:gd name="T14" fmla="*/ 52 w 103"/>
              <a:gd name="T15" fmla="*/ 52 h 128"/>
              <a:gd name="T16" fmla="*/ 55 w 103"/>
              <a:gd name="T17" fmla="*/ 47 h 128"/>
              <a:gd name="T18" fmla="*/ 52 w 103"/>
              <a:gd name="T19" fmla="*/ 45 h 128"/>
              <a:gd name="T20" fmla="*/ 55 w 103"/>
              <a:gd name="T21" fmla="*/ 38 h 128"/>
              <a:gd name="T22" fmla="*/ 56 w 103"/>
              <a:gd name="T23" fmla="*/ 34 h 128"/>
              <a:gd name="T24" fmla="*/ 55 w 103"/>
              <a:gd name="T25" fmla="*/ 31 h 128"/>
              <a:gd name="T26" fmla="*/ 52 w 103"/>
              <a:gd name="T27" fmla="*/ 23 h 128"/>
              <a:gd name="T28" fmla="*/ 56 w 103"/>
              <a:gd name="T29" fmla="*/ 15 h 128"/>
              <a:gd name="T30" fmla="*/ 50 w 103"/>
              <a:gd name="T31" fmla="*/ 15 h 128"/>
              <a:gd name="T32" fmla="*/ 54 w 103"/>
              <a:gd name="T33" fmla="*/ 3 h 128"/>
              <a:gd name="T34" fmla="*/ 56 w 103"/>
              <a:gd name="T35" fmla="*/ 0 h 128"/>
              <a:gd name="T36" fmla="*/ 54 w 103"/>
              <a:gd name="T37" fmla="*/ 7 h 128"/>
              <a:gd name="T38" fmla="*/ 58 w 103"/>
              <a:gd name="T39" fmla="*/ 7 h 128"/>
              <a:gd name="T40" fmla="*/ 63 w 103"/>
              <a:gd name="T41" fmla="*/ 11 h 128"/>
              <a:gd name="T42" fmla="*/ 65 w 103"/>
              <a:gd name="T43" fmla="*/ 15 h 128"/>
              <a:gd name="T44" fmla="*/ 66 w 103"/>
              <a:gd name="T45" fmla="*/ 18 h 128"/>
              <a:gd name="T46" fmla="*/ 66 w 103"/>
              <a:gd name="T47" fmla="*/ 25 h 128"/>
              <a:gd name="T48" fmla="*/ 62 w 103"/>
              <a:gd name="T49" fmla="*/ 25 h 128"/>
              <a:gd name="T50" fmla="*/ 63 w 103"/>
              <a:gd name="T51" fmla="*/ 28 h 128"/>
              <a:gd name="T52" fmla="*/ 60 w 103"/>
              <a:gd name="T53" fmla="*/ 37 h 128"/>
              <a:gd name="T54" fmla="*/ 57 w 103"/>
              <a:gd name="T55" fmla="*/ 42 h 128"/>
              <a:gd name="T56" fmla="*/ 57 w 103"/>
              <a:gd name="T57" fmla="*/ 45 h 128"/>
              <a:gd name="T58" fmla="*/ 63 w 103"/>
              <a:gd name="T59" fmla="*/ 45 h 128"/>
              <a:gd name="T60" fmla="*/ 65 w 103"/>
              <a:gd name="T61" fmla="*/ 48 h 128"/>
              <a:gd name="T62" fmla="*/ 70 w 103"/>
              <a:gd name="T63" fmla="*/ 37 h 128"/>
              <a:gd name="T64" fmla="*/ 73 w 103"/>
              <a:gd name="T65" fmla="*/ 43 h 128"/>
              <a:gd name="T66" fmla="*/ 68 w 103"/>
              <a:gd name="T67" fmla="*/ 51 h 128"/>
              <a:gd name="T68" fmla="*/ 68 w 103"/>
              <a:gd name="T69" fmla="*/ 57 h 128"/>
              <a:gd name="T70" fmla="*/ 79 w 103"/>
              <a:gd name="T71" fmla="*/ 64 h 128"/>
              <a:gd name="T72" fmla="*/ 89 w 103"/>
              <a:gd name="T73" fmla="*/ 59 h 128"/>
              <a:gd name="T74" fmla="*/ 97 w 103"/>
              <a:gd name="T75" fmla="*/ 55 h 128"/>
              <a:gd name="T76" fmla="*/ 100 w 103"/>
              <a:gd name="T77" fmla="*/ 62 h 128"/>
              <a:gd name="T78" fmla="*/ 91 w 103"/>
              <a:gd name="T79" fmla="*/ 72 h 128"/>
              <a:gd name="T80" fmla="*/ 80 w 103"/>
              <a:gd name="T81" fmla="*/ 79 h 128"/>
              <a:gd name="T82" fmla="*/ 77 w 103"/>
              <a:gd name="T83" fmla="*/ 84 h 128"/>
              <a:gd name="T84" fmla="*/ 74 w 103"/>
              <a:gd name="T85" fmla="*/ 83 h 128"/>
              <a:gd name="T86" fmla="*/ 65 w 103"/>
              <a:gd name="T87" fmla="*/ 85 h 128"/>
              <a:gd name="T88" fmla="*/ 56 w 103"/>
              <a:gd name="T89" fmla="*/ 94 h 128"/>
              <a:gd name="T90" fmla="*/ 43 w 103"/>
              <a:gd name="T91" fmla="*/ 105 h 128"/>
              <a:gd name="T92" fmla="*/ 16 w 103"/>
              <a:gd name="T93" fmla="*/ 124 h 128"/>
              <a:gd name="T94" fmla="*/ 6 w 103"/>
              <a:gd name="T95" fmla="*/ 125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03" h="128">
                <a:moveTo>
                  <a:pt x="3" y="122"/>
                </a:moveTo>
                <a:lnTo>
                  <a:pt x="6" y="119"/>
                </a:lnTo>
                <a:lnTo>
                  <a:pt x="9" y="116"/>
                </a:lnTo>
                <a:lnTo>
                  <a:pt x="13" y="115"/>
                </a:lnTo>
                <a:lnTo>
                  <a:pt x="16" y="112"/>
                </a:lnTo>
                <a:lnTo>
                  <a:pt x="19" y="108"/>
                </a:lnTo>
                <a:lnTo>
                  <a:pt x="22" y="106"/>
                </a:lnTo>
                <a:lnTo>
                  <a:pt x="23" y="104"/>
                </a:lnTo>
                <a:lnTo>
                  <a:pt x="24" y="102"/>
                </a:lnTo>
                <a:lnTo>
                  <a:pt x="23" y="98"/>
                </a:lnTo>
                <a:lnTo>
                  <a:pt x="19" y="97"/>
                </a:lnTo>
                <a:lnTo>
                  <a:pt x="17" y="96"/>
                </a:lnTo>
                <a:lnTo>
                  <a:pt x="16" y="92"/>
                </a:lnTo>
                <a:lnTo>
                  <a:pt x="13" y="92"/>
                </a:lnTo>
                <a:lnTo>
                  <a:pt x="13" y="88"/>
                </a:lnTo>
                <a:lnTo>
                  <a:pt x="15" y="85"/>
                </a:lnTo>
                <a:lnTo>
                  <a:pt x="19" y="83"/>
                </a:lnTo>
                <a:lnTo>
                  <a:pt x="23" y="82"/>
                </a:lnTo>
                <a:lnTo>
                  <a:pt x="27" y="81"/>
                </a:lnTo>
                <a:lnTo>
                  <a:pt x="32" y="78"/>
                </a:lnTo>
                <a:lnTo>
                  <a:pt x="35" y="74"/>
                </a:lnTo>
                <a:lnTo>
                  <a:pt x="39" y="68"/>
                </a:lnTo>
                <a:lnTo>
                  <a:pt x="42" y="66"/>
                </a:lnTo>
                <a:lnTo>
                  <a:pt x="44" y="66"/>
                </a:lnTo>
                <a:lnTo>
                  <a:pt x="45" y="65"/>
                </a:lnTo>
                <a:lnTo>
                  <a:pt x="46" y="63"/>
                </a:lnTo>
                <a:lnTo>
                  <a:pt x="47" y="61"/>
                </a:lnTo>
                <a:lnTo>
                  <a:pt x="49" y="59"/>
                </a:lnTo>
                <a:lnTo>
                  <a:pt x="49" y="58"/>
                </a:lnTo>
                <a:lnTo>
                  <a:pt x="50" y="55"/>
                </a:lnTo>
                <a:lnTo>
                  <a:pt x="53" y="52"/>
                </a:lnTo>
                <a:lnTo>
                  <a:pt x="52" y="52"/>
                </a:lnTo>
                <a:lnTo>
                  <a:pt x="50" y="49"/>
                </a:lnTo>
                <a:lnTo>
                  <a:pt x="52" y="48"/>
                </a:lnTo>
                <a:lnTo>
                  <a:pt x="54" y="48"/>
                </a:lnTo>
                <a:lnTo>
                  <a:pt x="55" y="47"/>
                </a:lnTo>
                <a:lnTo>
                  <a:pt x="56" y="46"/>
                </a:lnTo>
                <a:lnTo>
                  <a:pt x="56" y="45"/>
                </a:lnTo>
                <a:lnTo>
                  <a:pt x="55" y="45"/>
                </a:lnTo>
                <a:lnTo>
                  <a:pt x="52" y="45"/>
                </a:lnTo>
                <a:lnTo>
                  <a:pt x="53" y="39"/>
                </a:lnTo>
                <a:lnTo>
                  <a:pt x="54" y="36"/>
                </a:lnTo>
                <a:lnTo>
                  <a:pt x="53" y="39"/>
                </a:lnTo>
                <a:lnTo>
                  <a:pt x="55" y="38"/>
                </a:lnTo>
                <a:lnTo>
                  <a:pt x="57" y="35"/>
                </a:lnTo>
                <a:lnTo>
                  <a:pt x="56" y="35"/>
                </a:lnTo>
                <a:lnTo>
                  <a:pt x="55" y="34"/>
                </a:lnTo>
                <a:lnTo>
                  <a:pt x="56" y="34"/>
                </a:lnTo>
                <a:lnTo>
                  <a:pt x="58" y="31"/>
                </a:lnTo>
                <a:lnTo>
                  <a:pt x="57" y="29"/>
                </a:lnTo>
                <a:lnTo>
                  <a:pt x="56" y="31"/>
                </a:lnTo>
                <a:lnTo>
                  <a:pt x="55" y="31"/>
                </a:lnTo>
                <a:lnTo>
                  <a:pt x="54" y="32"/>
                </a:lnTo>
                <a:lnTo>
                  <a:pt x="53" y="34"/>
                </a:lnTo>
                <a:lnTo>
                  <a:pt x="53" y="28"/>
                </a:lnTo>
                <a:lnTo>
                  <a:pt x="52" y="23"/>
                </a:lnTo>
                <a:lnTo>
                  <a:pt x="52" y="20"/>
                </a:lnTo>
                <a:lnTo>
                  <a:pt x="52" y="18"/>
                </a:lnTo>
                <a:lnTo>
                  <a:pt x="54" y="17"/>
                </a:lnTo>
                <a:lnTo>
                  <a:pt x="56" y="15"/>
                </a:lnTo>
                <a:lnTo>
                  <a:pt x="56" y="15"/>
                </a:lnTo>
                <a:lnTo>
                  <a:pt x="55" y="16"/>
                </a:lnTo>
                <a:lnTo>
                  <a:pt x="52" y="17"/>
                </a:lnTo>
                <a:lnTo>
                  <a:pt x="50" y="15"/>
                </a:lnTo>
                <a:lnTo>
                  <a:pt x="52" y="13"/>
                </a:lnTo>
                <a:lnTo>
                  <a:pt x="53" y="11"/>
                </a:lnTo>
                <a:lnTo>
                  <a:pt x="54" y="8"/>
                </a:lnTo>
                <a:lnTo>
                  <a:pt x="54" y="3"/>
                </a:lnTo>
                <a:lnTo>
                  <a:pt x="53" y="1"/>
                </a:lnTo>
                <a:lnTo>
                  <a:pt x="53" y="0"/>
                </a:lnTo>
                <a:lnTo>
                  <a:pt x="56" y="0"/>
                </a:lnTo>
                <a:lnTo>
                  <a:pt x="56" y="0"/>
                </a:lnTo>
                <a:lnTo>
                  <a:pt x="57" y="0"/>
                </a:lnTo>
                <a:lnTo>
                  <a:pt x="56" y="2"/>
                </a:lnTo>
                <a:lnTo>
                  <a:pt x="55" y="5"/>
                </a:lnTo>
                <a:lnTo>
                  <a:pt x="54" y="7"/>
                </a:lnTo>
                <a:lnTo>
                  <a:pt x="55" y="8"/>
                </a:lnTo>
                <a:lnTo>
                  <a:pt x="56" y="8"/>
                </a:lnTo>
                <a:lnTo>
                  <a:pt x="58" y="6"/>
                </a:lnTo>
                <a:lnTo>
                  <a:pt x="58" y="7"/>
                </a:lnTo>
                <a:lnTo>
                  <a:pt x="57" y="8"/>
                </a:lnTo>
                <a:lnTo>
                  <a:pt x="60" y="8"/>
                </a:lnTo>
                <a:lnTo>
                  <a:pt x="62" y="10"/>
                </a:lnTo>
                <a:lnTo>
                  <a:pt x="63" y="11"/>
                </a:lnTo>
                <a:lnTo>
                  <a:pt x="65" y="10"/>
                </a:lnTo>
                <a:lnTo>
                  <a:pt x="66" y="12"/>
                </a:lnTo>
                <a:lnTo>
                  <a:pt x="64" y="13"/>
                </a:lnTo>
                <a:lnTo>
                  <a:pt x="65" y="15"/>
                </a:lnTo>
                <a:lnTo>
                  <a:pt x="66" y="14"/>
                </a:lnTo>
                <a:lnTo>
                  <a:pt x="67" y="15"/>
                </a:lnTo>
                <a:lnTo>
                  <a:pt x="66" y="16"/>
                </a:lnTo>
                <a:lnTo>
                  <a:pt x="66" y="18"/>
                </a:lnTo>
                <a:lnTo>
                  <a:pt x="67" y="21"/>
                </a:lnTo>
                <a:lnTo>
                  <a:pt x="67" y="22"/>
                </a:lnTo>
                <a:lnTo>
                  <a:pt x="66" y="23"/>
                </a:lnTo>
                <a:lnTo>
                  <a:pt x="66" y="25"/>
                </a:lnTo>
                <a:lnTo>
                  <a:pt x="65" y="25"/>
                </a:lnTo>
                <a:lnTo>
                  <a:pt x="64" y="23"/>
                </a:lnTo>
                <a:lnTo>
                  <a:pt x="63" y="23"/>
                </a:lnTo>
                <a:lnTo>
                  <a:pt x="62" y="25"/>
                </a:lnTo>
                <a:lnTo>
                  <a:pt x="62" y="25"/>
                </a:lnTo>
                <a:lnTo>
                  <a:pt x="63" y="25"/>
                </a:lnTo>
                <a:lnTo>
                  <a:pt x="63" y="26"/>
                </a:lnTo>
                <a:lnTo>
                  <a:pt x="63" y="28"/>
                </a:lnTo>
                <a:lnTo>
                  <a:pt x="63" y="31"/>
                </a:lnTo>
                <a:lnTo>
                  <a:pt x="63" y="33"/>
                </a:lnTo>
                <a:lnTo>
                  <a:pt x="64" y="35"/>
                </a:lnTo>
                <a:lnTo>
                  <a:pt x="60" y="37"/>
                </a:lnTo>
                <a:lnTo>
                  <a:pt x="59" y="39"/>
                </a:lnTo>
                <a:lnTo>
                  <a:pt x="59" y="39"/>
                </a:lnTo>
                <a:lnTo>
                  <a:pt x="58" y="42"/>
                </a:lnTo>
                <a:lnTo>
                  <a:pt x="57" y="42"/>
                </a:lnTo>
                <a:lnTo>
                  <a:pt x="56" y="43"/>
                </a:lnTo>
                <a:lnTo>
                  <a:pt x="56" y="44"/>
                </a:lnTo>
                <a:lnTo>
                  <a:pt x="57" y="44"/>
                </a:lnTo>
                <a:lnTo>
                  <a:pt x="57" y="45"/>
                </a:lnTo>
                <a:lnTo>
                  <a:pt x="59" y="45"/>
                </a:lnTo>
                <a:lnTo>
                  <a:pt x="60" y="44"/>
                </a:lnTo>
                <a:lnTo>
                  <a:pt x="63" y="44"/>
                </a:lnTo>
                <a:lnTo>
                  <a:pt x="63" y="45"/>
                </a:lnTo>
                <a:lnTo>
                  <a:pt x="63" y="47"/>
                </a:lnTo>
                <a:lnTo>
                  <a:pt x="62" y="49"/>
                </a:lnTo>
                <a:lnTo>
                  <a:pt x="63" y="49"/>
                </a:lnTo>
                <a:lnTo>
                  <a:pt x="65" y="48"/>
                </a:lnTo>
                <a:lnTo>
                  <a:pt x="69" y="42"/>
                </a:lnTo>
                <a:lnTo>
                  <a:pt x="69" y="39"/>
                </a:lnTo>
                <a:lnTo>
                  <a:pt x="69" y="37"/>
                </a:lnTo>
                <a:lnTo>
                  <a:pt x="70" y="37"/>
                </a:lnTo>
                <a:lnTo>
                  <a:pt x="70" y="38"/>
                </a:lnTo>
                <a:lnTo>
                  <a:pt x="74" y="39"/>
                </a:lnTo>
                <a:lnTo>
                  <a:pt x="73" y="43"/>
                </a:lnTo>
                <a:lnTo>
                  <a:pt x="73" y="43"/>
                </a:lnTo>
                <a:lnTo>
                  <a:pt x="71" y="45"/>
                </a:lnTo>
                <a:lnTo>
                  <a:pt x="70" y="46"/>
                </a:lnTo>
                <a:lnTo>
                  <a:pt x="69" y="49"/>
                </a:lnTo>
                <a:lnTo>
                  <a:pt x="68" y="51"/>
                </a:lnTo>
                <a:lnTo>
                  <a:pt x="68" y="52"/>
                </a:lnTo>
                <a:lnTo>
                  <a:pt x="68" y="54"/>
                </a:lnTo>
                <a:lnTo>
                  <a:pt x="67" y="56"/>
                </a:lnTo>
                <a:lnTo>
                  <a:pt x="68" y="57"/>
                </a:lnTo>
                <a:lnTo>
                  <a:pt x="70" y="57"/>
                </a:lnTo>
                <a:lnTo>
                  <a:pt x="71" y="61"/>
                </a:lnTo>
                <a:lnTo>
                  <a:pt x="78" y="62"/>
                </a:lnTo>
                <a:lnTo>
                  <a:pt x="79" y="64"/>
                </a:lnTo>
                <a:lnTo>
                  <a:pt x="81" y="64"/>
                </a:lnTo>
                <a:lnTo>
                  <a:pt x="84" y="62"/>
                </a:lnTo>
                <a:lnTo>
                  <a:pt x="85" y="62"/>
                </a:lnTo>
                <a:lnTo>
                  <a:pt x="89" y="59"/>
                </a:lnTo>
                <a:lnTo>
                  <a:pt x="90" y="58"/>
                </a:lnTo>
                <a:lnTo>
                  <a:pt x="93" y="57"/>
                </a:lnTo>
                <a:lnTo>
                  <a:pt x="96" y="56"/>
                </a:lnTo>
                <a:lnTo>
                  <a:pt x="97" y="55"/>
                </a:lnTo>
                <a:lnTo>
                  <a:pt x="99" y="55"/>
                </a:lnTo>
                <a:lnTo>
                  <a:pt x="100" y="55"/>
                </a:lnTo>
                <a:lnTo>
                  <a:pt x="103" y="57"/>
                </a:lnTo>
                <a:lnTo>
                  <a:pt x="100" y="62"/>
                </a:lnTo>
                <a:lnTo>
                  <a:pt x="97" y="65"/>
                </a:lnTo>
                <a:lnTo>
                  <a:pt x="94" y="69"/>
                </a:lnTo>
                <a:lnTo>
                  <a:pt x="93" y="69"/>
                </a:lnTo>
                <a:lnTo>
                  <a:pt x="91" y="72"/>
                </a:lnTo>
                <a:lnTo>
                  <a:pt x="89" y="74"/>
                </a:lnTo>
                <a:lnTo>
                  <a:pt x="86" y="75"/>
                </a:lnTo>
                <a:lnTo>
                  <a:pt x="84" y="76"/>
                </a:lnTo>
                <a:lnTo>
                  <a:pt x="80" y="79"/>
                </a:lnTo>
                <a:lnTo>
                  <a:pt x="79" y="81"/>
                </a:lnTo>
                <a:lnTo>
                  <a:pt x="78" y="83"/>
                </a:lnTo>
                <a:lnTo>
                  <a:pt x="78" y="84"/>
                </a:lnTo>
                <a:lnTo>
                  <a:pt x="77" y="84"/>
                </a:lnTo>
                <a:lnTo>
                  <a:pt x="75" y="86"/>
                </a:lnTo>
                <a:lnTo>
                  <a:pt x="76" y="83"/>
                </a:lnTo>
                <a:lnTo>
                  <a:pt x="75" y="83"/>
                </a:lnTo>
                <a:lnTo>
                  <a:pt x="74" y="83"/>
                </a:lnTo>
                <a:lnTo>
                  <a:pt x="71" y="83"/>
                </a:lnTo>
                <a:lnTo>
                  <a:pt x="69" y="83"/>
                </a:lnTo>
                <a:lnTo>
                  <a:pt x="67" y="84"/>
                </a:lnTo>
                <a:lnTo>
                  <a:pt x="65" y="85"/>
                </a:lnTo>
                <a:lnTo>
                  <a:pt x="56" y="91"/>
                </a:lnTo>
                <a:lnTo>
                  <a:pt x="56" y="92"/>
                </a:lnTo>
                <a:lnTo>
                  <a:pt x="57" y="92"/>
                </a:lnTo>
                <a:lnTo>
                  <a:pt x="56" y="94"/>
                </a:lnTo>
                <a:lnTo>
                  <a:pt x="57" y="94"/>
                </a:lnTo>
                <a:lnTo>
                  <a:pt x="55" y="96"/>
                </a:lnTo>
                <a:lnTo>
                  <a:pt x="52" y="99"/>
                </a:lnTo>
                <a:lnTo>
                  <a:pt x="43" y="105"/>
                </a:lnTo>
                <a:lnTo>
                  <a:pt x="42" y="107"/>
                </a:lnTo>
                <a:lnTo>
                  <a:pt x="35" y="112"/>
                </a:lnTo>
                <a:lnTo>
                  <a:pt x="23" y="121"/>
                </a:lnTo>
                <a:lnTo>
                  <a:pt x="16" y="124"/>
                </a:lnTo>
                <a:lnTo>
                  <a:pt x="9" y="127"/>
                </a:lnTo>
                <a:lnTo>
                  <a:pt x="7" y="128"/>
                </a:lnTo>
                <a:lnTo>
                  <a:pt x="6" y="126"/>
                </a:lnTo>
                <a:lnTo>
                  <a:pt x="6" y="125"/>
                </a:lnTo>
                <a:lnTo>
                  <a:pt x="0" y="125"/>
                </a:lnTo>
                <a:lnTo>
                  <a:pt x="2" y="123"/>
                </a:lnTo>
                <a:lnTo>
                  <a:pt x="3" y="12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96" name="Freeform 495"/>
          <p:cNvSpPr>
            <a:spLocks/>
          </p:cNvSpPr>
          <p:nvPr/>
        </p:nvSpPr>
        <p:spPr bwMode="auto">
          <a:xfrm>
            <a:off x="8283575" y="3719478"/>
            <a:ext cx="1587" cy="12700"/>
          </a:xfrm>
          <a:custGeom>
            <a:avLst/>
            <a:gdLst>
              <a:gd name="T0" fmla="*/ 0 w 1"/>
              <a:gd name="T1" fmla="*/ 1 h 8"/>
              <a:gd name="T2" fmla="*/ 0 w 1"/>
              <a:gd name="T3" fmla="*/ 0 h 8"/>
              <a:gd name="T4" fmla="*/ 0 w 1"/>
              <a:gd name="T5" fmla="*/ 4 h 8"/>
              <a:gd name="T6" fmla="*/ 1 w 1"/>
              <a:gd name="T7" fmla="*/ 8 h 8"/>
              <a:gd name="T8" fmla="*/ 0 w 1"/>
              <a:gd name="T9" fmla="*/ 5 h 8"/>
              <a:gd name="T10" fmla="*/ 0 w 1"/>
              <a:gd name="T11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8">
                <a:moveTo>
                  <a:pt x="0" y="1"/>
                </a:moveTo>
                <a:lnTo>
                  <a:pt x="0" y="0"/>
                </a:lnTo>
                <a:lnTo>
                  <a:pt x="0" y="4"/>
                </a:lnTo>
                <a:lnTo>
                  <a:pt x="1" y="8"/>
                </a:lnTo>
                <a:lnTo>
                  <a:pt x="0" y="5"/>
                </a:lnTo>
                <a:lnTo>
                  <a:pt x="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97" name="Freeform 496"/>
          <p:cNvSpPr>
            <a:spLocks/>
          </p:cNvSpPr>
          <p:nvPr/>
        </p:nvSpPr>
        <p:spPr bwMode="auto">
          <a:xfrm>
            <a:off x="8283575" y="3719478"/>
            <a:ext cx="1587" cy="12700"/>
          </a:xfrm>
          <a:custGeom>
            <a:avLst/>
            <a:gdLst>
              <a:gd name="T0" fmla="*/ 0 w 1"/>
              <a:gd name="T1" fmla="*/ 1 h 8"/>
              <a:gd name="T2" fmla="*/ 0 w 1"/>
              <a:gd name="T3" fmla="*/ 0 h 8"/>
              <a:gd name="T4" fmla="*/ 0 w 1"/>
              <a:gd name="T5" fmla="*/ 4 h 8"/>
              <a:gd name="T6" fmla="*/ 1 w 1"/>
              <a:gd name="T7" fmla="*/ 8 h 8"/>
              <a:gd name="T8" fmla="*/ 0 w 1"/>
              <a:gd name="T9" fmla="*/ 5 h 8"/>
              <a:gd name="T10" fmla="*/ 0 w 1"/>
              <a:gd name="T11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8">
                <a:moveTo>
                  <a:pt x="0" y="1"/>
                </a:moveTo>
                <a:lnTo>
                  <a:pt x="0" y="0"/>
                </a:lnTo>
                <a:lnTo>
                  <a:pt x="0" y="4"/>
                </a:lnTo>
                <a:lnTo>
                  <a:pt x="1" y="8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98" name="Freeform 497"/>
          <p:cNvSpPr>
            <a:spLocks/>
          </p:cNvSpPr>
          <p:nvPr/>
        </p:nvSpPr>
        <p:spPr bwMode="auto">
          <a:xfrm>
            <a:off x="8285163" y="3733765"/>
            <a:ext cx="30162" cy="41275"/>
          </a:xfrm>
          <a:custGeom>
            <a:avLst/>
            <a:gdLst>
              <a:gd name="T0" fmla="*/ 0 w 19"/>
              <a:gd name="T1" fmla="*/ 0 h 26"/>
              <a:gd name="T2" fmla="*/ 2 w 19"/>
              <a:gd name="T3" fmla="*/ 1 h 26"/>
              <a:gd name="T4" fmla="*/ 5 w 19"/>
              <a:gd name="T5" fmla="*/ 1 h 26"/>
              <a:gd name="T6" fmla="*/ 8 w 19"/>
              <a:gd name="T7" fmla="*/ 8 h 26"/>
              <a:gd name="T8" fmla="*/ 12 w 19"/>
              <a:gd name="T9" fmla="*/ 14 h 26"/>
              <a:gd name="T10" fmla="*/ 18 w 19"/>
              <a:gd name="T11" fmla="*/ 19 h 26"/>
              <a:gd name="T12" fmla="*/ 19 w 19"/>
              <a:gd name="T13" fmla="*/ 24 h 26"/>
              <a:gd name="T14" fmla="*/ 18 w 19"/>
              <a:gd name="T15" fmla="*/ 25 h 26"/>
              <a:gd name="T16" fmla="*/ 16 w 19"/>
              <a:gd name="T17" fmla="*/ 26 h 26"/>
              <a:gd name="T18" fmla="*/ 13 w 19"/>
              <a:gd name="T19" fmla="*/ 26 h 26"/>
              <a:gd name="T20" fmla="*/ 11 w 19"/>
              <a:gd name="T21" fmla="*/ 26 h 26"/>
              <a:gd name="T22" fmla="*/ 8 w 19"/>
              <a:gd name="T23" fmla="*/ 22 h 26"/>
              <a:gd name="T24" fmla="*/ 7 w 19"/>
              <a:gd name="T25" fmla="*/ 20 h 26"/>
              <a:gd name="T26" fmla="*/ 7 w 19"/>
              <a:gd name="T27" fmla="*/ 16 h 26"/>
              <a:gd name="T28" fmla="*/ 5 w 19"/>
              <a:gd name="T29" fmla="*/ 14 h 26"/>
              <a:gd name="T30" fmla="*/ 2 w 19"/>
              <a:gd name="T31" fmla="*/ 10 h 26"/>
              <a:gd name="T32" fmla="*/ 0 w 19"/>
              <a:gd name="T33" fmla="*/ 7 h 26"/>
              <a:gd name="T34" fmla="*/ 0 w 19"/>
              <a:gd name="T35" fmla="*/ 4 h 26"/>
              <a:gd name="T36" fmla="*/ 0 w 19"/>
              <a:gd name="T37" fmla="*/ 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9" h="26">
                <a:moveTo>
                  <a:pt x="0" y="0"/>
                </a:moveTo>
                <a:lnTo>
                  <a:pt x="2" y="1"/>
                </a:lnTo>
                <a:lnTo>
                  <a:pt x="5" y="1"/>
                </a:lnTo>
                <a:lnTo>
                  <a:pt x="8" y="8"/>
                </a:lnTo>
                <a:lnTo>
                  <a:pt x="12" y="14"/>
                </a:lnTo>
                <a:lnTo>
                  <a:pt x="18" y="19"/>
                </a:lnTo>
                <a:lnTo>
                  <a:pt x="19" y="24"/>
                </a:lnTo>
                <a:lnTo>
                  <a:pt x="18" y="25"/>
                </a:lnTo>
                <a:lnTo>
                  <a:pt x="16" y="26"/>
                </a:lnTo>
                <a:lnTo>
                  <a:pt x="13" y="26"/>
                </a:lnTo>
                <a:lnTo>
                  <a:pt x="11" y="26"/>
                </a:lnTo>
                <a:lnTo>
                  <a:pt x="8" y="22"/>
                </a:lnTo>
                <a:lnTo>
                  <a:pt x="7" y="20"/>
                </a:lnTo>
                <a:lnTo>
                  <a:pt x="7" y="16"/>
                </a:lnTo>
                <a:lnTo>
                  <a:pt x="5" y="14"/>
                </a:lnTo>
                <a:lnTo>
                  <a:pt x="2" y="10"/>
                </a:lnTo>
                <a:lnTo>
                  <a:pt x="0" y="7"/>
                </a:lnTo>
                <a:lnTo>
                  <a:pt x="0" y="4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499" name="Freeform 498"/>
          <p:cNvSpPr>
            <a:spLocks/>
          </p:cNvSpPr>
          <p:nvPr/>
        </p:nvSpPr>
        <p:spPr bwMode="auto">
          <a:xfrm>
            <a:off x="8285163" y="3733765"/>
            <a:ext cx="30162" cy="41275"/>
          </a:xfrm>
          <a:custGeom>
            <a:avLst/>
            <a:gdLst>
              <a:gd name="T0" fmla="*/ 0 w 19"/>
              <a:gd name="T1" fmla="*/ 0 h 26"/>
              <a:gd name="T2" fmla="*/ 2 w 19"/>
              <a:gd name="T3" fmla="*/ 1 h 26"/>
              <a:gd name="T4" fmla="*/ 5 w 19"/>
              <a:gd name="T5" fmla="*/ 1 h 26"/>
              <a:gd name="T6" fmla="*/ 8 w 19"/>
              <a:gd name="T7" fmla="*/ 8 h 26"/>
              <a:gd name="T8" fmla="*/ 12 w 19"/>
              <a:gd name="T9" fmla="*/ 14 h 26"/>
              <a:gd name="T10" fmla="*/ 18 w 19"/>
              <a:gd name="T11" fmla="*/ 19 h 26"/>
              <a:gd name="T12" fmla="*/ 19 w 19"/>
              <a:gd name="T13" fmla="*/ 24 h 26"/>
              <a:gd name="T14" fmla="*/ 18 w 19"/>
              <a:gd name="T15" fmla="*/ 25 h 26"/>
              <a:gd name="T16" fmla="*/ 16 w 19"/>
              <a:gd name="T17" fmla="*/ 26 h 26"/>
              <a:gd name="T18" fmla="*/ 13 w 19"/>
              <a:gd name="T19" fmla="*/ 26 h 26"/>
              <a:gd name="T20" fmla="*/ 11 w 19"/>
              <a:gd name="T21" fmla="*/ 26 h 26"/>
              <a:gd name="T22" fmla="*/ 8 w 19"/>
              <a:gd name="T23" fmla="*/ 22 h 26"/>
              <a:gd name="T24" fmla="*/ 7 w 19"/>
              <a:gd name="T25" fmla="*/ 20 h 26"/>
              <a:gd name="T26" fmla="*/ 7 w 19"/>
              <a:gd name="T27" fmla="*/ 16 h 26"/>
              <a:gd name="T28" fmla="*/ 5 w 19"/>
              <a:gd name="T29" fmla="*/ 14 h 26"/>
              <a:gd name="T30" fmla="*/ 2 w 19"/>
              <a:gd name="T31" fmla="*/ 10 h 26"/>
              <a:gd name="T32" fmla="*/ 0 w 19"/>
              <a:gd name="T33" fmla="*/ 7 h 26"/>
              <a:gd name="T34" fmla="*/ 0 w 19"/>
              <a:gd name="T35" fmla="*/ 4 h 26"/>
              <a:gd name="T36" fmla="*/ 0 w 19"/>
              <a:gd name="T37" fmla="*/ 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9" h="26">
                <a:moveTo>
                  <a:pt x="0" y="0"/>
                </a:moveTo>
                <a:lnTo>
                  <a:pt x="2" y="1"/>
                </a:lnTo>
                <a:lnTo>
                  <a:pt x="5" y="1"/>
                </a:lnTo>
                <a:lnTo>
                  <a:pt x="8" y="8"/>
                </a:lnTo>
                <a:lnTo>
                  <a:pt x="12" y="14"/>
                </a:lnTo>
                <a:lnTo>
                  <a:pt x="18" y="19"/>
                </a:lnTo>
                <a:lnTo>
                  <a:pt x="19" y="24"/>
                </a:lnTo>
                <a:lnTo>
                  <a:pt x="18" y="25"/>
                </a:lnTo>
                <a:lnTo>
                  <a:pt x="16" y="26"/>
                </a:lnTo>
                <a:lnTo>
                  <a:pt x="13" y="26"/>
                </a:lnTo>
                <a:lnTo>
                  <a:pt x="11" y="26"/>
                </a:lnTo>
                <a:lnTo>
                  <a:pt x="8" y="22"/>
                </a:lnTo>
                <a:lnTo>
                  <a:pt x="7" y="20"/>
                </a:lnTo>
                <a:lnTo>
                  <a:pt x="7" y="16"/>
                </a:lnTo>
                <a:lnTo>
                  <a:pt x="5" y="14"/>
                </a:lnTo>
                <a:lnTo>
                  <a:pt x="2" y="10"/>
                </a:lnTo>
                <a:lnTo>
                  <a:pt x="0" y="7"/>
                </a:lnTo>
                <a:lnTo>
                  <a:pt x="0" y="4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00" name="Freeform 499"/>
          <p:cNvSpPr>
            <a:spLocks/>
          </p:cNvSpPr>
          <p:nvPr/>
        </p:nvSpPr>
        <p:spPr bwMode="auto">
          <a:xfrm>
            <a:off x="8328025" y="3767103"/>
            <a:ext cx="23812" cy="22225"/>
          </a:xfrm>
          <a:custGeom>
            <a:avLst/>
            <a:gdLst>
              <a:gd name="T0" fmla="*/ 0 w 15"/>
              <a:gd name="T1" fmla="*/ 1 h 14"/>
              <a:gd name="T2" fmla="*/ 1 w 15"/>
              <a:gd name="T3" fmla="*/ 0 h 14"/>
              <a:gd name="T4" fmla="*/ 3 w 15"/>
              <a:gd name="T5" fmla="*/ 3 h 14"/>
              <a:gd name="T6" fmla="*/ 4 w 15"/>
              <a:gd name="T7" fmla="*/ 4 h 14"/>
              <a:gd name="T8" fmla="*/ 8 w 15"/>
              <a:gd name="T9" fmla="*/ 5 h 14"/>
              <a:gd name="T10" fmla="*/ 9 w 15"/>
              <a:gd name="T11" fmla="*/ 6 h 14"/>
              <a:gd name="T12" fmla="*/ 9 w 15"/>
              <a:gd name="T13" fmla="*/ 8 h 14"/>
              <a:gd name="T14" fmla="*/ 12 w 15"/>
              <a:gd name="T15" fmla="*/ 9 h 14"/>
              <a:gd name="T16" fmla="*/ 13 w 15"/>
              <a:gd name="T17" fmla="*/ 10 h 14"/>
              <a:gd name="T18" fmla="*/ 15 w 15"/>
              <a:gd name="T19" fmla="*/ 11 h 14"/>
              <a:gd name="T20" fmla="*/ 15 w 15"/>
              <a:gd name="T21" fmla="*/ 14 h 14"/>
              <a:gd name="T22" fmla="*/ 13 w 15"/>
              <a:gd name="T23" fmla="*/ 14 h 14"/>
              <a:gd name="T24" fmla="*/ 10 w 15"/>
              <a:gd name="T25" fmla="*/ 11 h 14"/>
              <a:gd name="T26" fmla="*/ 6 w 15"/>
              <a:gd name="T27" fmla="*/ 10 h 14"/>
              <a:gd name="T28" fmla="*/ 3 w 15"/>
              <a:gd name="T29" fmla="*/ 6 h 14"/>
              <a:gd name="T30" fmla="*/ 0 w 15"/>
              <a:gd name="T31" fmla="*/ 1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5" h="14">
                <a:moveTo>
                  <a:pt x="0" y="1"/>
                </a:moveTo>
                <a:lnTo>
                  <a:pt x="1" y="0"/>
                </a:lnTo>
                <a:lnTo>
                  <a:pt x="3" y="3"/>
                </a:lnTo>
                <a:lnTo>
                  <a:pt x="4" y="4"/>
                </a:lnTo>
                <a:lnTo>
                  <a:pt x="8" y="5"/>
                </a:lnTo>
                <a:lnTo>
                  <a:pt x="9" y="6"/>
                </a:lnTo>
                <a:lnTo>
                  <a:pt x="9" y="8"/>
                </a:lnTo>
                <a:lnTo>
                  <a:pt x="12" y="9"/>
                </a:lnTo>
                <a:lnTo>
                  <a:pt x="13" y="10"/>
                </a:lnTo>
                <a:lnTo>
                  <a:pt x="15" y="11"/>
                </a:lnTo>
                <a:lnTo>
                  <a:pt x="15" y="14"/>
                </a:lnTo>
                <a:lnTo>
                  <a:pt x="13" y="14"/>
                </a:lnTo>
                <a:lnTo>
                  <a:pt x="10" y="11"/>
                </a:lnTo>
                <a:lnTo>
                  <a:pt x="6" y="10"/>
                </a:lnTo>
                <a:lnTo>
                  <a:pt x="3" y="6"/>
                </a:lnTo>
                <a:lnTo>
                  <a:pt x="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01" name="Freeform 500"/>
          <p:cNvSpPr>
            <a:spLocks/>
          </p:cNvSpPr>
          <p:nvPr/>
        </p:nvSpPr>
        <p:spPr bwMode="auto">
          <a:xfrm>
            <a:off x="8328025" y="3767103"/>
            <a:ext cx="23812" cy="22225"/>
          </a:xfrm>
          <a:custGeom>
            <a:avLst/>
            <a:gdLst>
              <a:gd name="T0" fmla="*/ 0 w 15"/>
              <a:gd name="T1" fmla="*/ 1 h 14"/>
              <a:gd name="T2" fmla="*/ 1 w 15"/>
              <a:gd name="T3" fmla="*/ 0 h 14"/>
              <a:gd name="T4" fmla="*/ 3 w 15"/>
              <a:gd name="T5" fmla="*/ 3 h 14"/>
              <a:gd name="T6" fmla="*/ 4 w 15"/>
              <a:gd name="T7" fmla="*/ 4 h 14"/>
              <a:gd name="T8" fmla="*/ 8 w 15"/>
              <a:gd name="T9" fmla="*/ 5 h 14"/>
              <a:gd name="T10" fmla="*/ 9 w 15"/>
              <a:gd name="T11" fmla="*/ 6 h 14"/>
              <a:gd name="T12" fmla="*/ 9 w 15"/>
              <a:gd name="T13" fmla="*/ 8 h 14"/>
              <a:gd name="T14" fmla="*/ 12 w 15"/>
              <a:gd name="T15" fmla="*/ 9 h 14"/>
              <a:gd name="T16" fmla="*/ 13 w 15"/>
              <a:gd name="T17" fmla="*/ 10 h 14"/>
              <a:gd name="T18" fmla="*/ 15 w 15"/>
              <a:gd name="T19" fmla="*/ 11 h 14"/>
              <a:gd name="T20" fmla="*/ 15 w 15"/>
              <a:gd name="T21" fmla="*/ 14 h 14"/>
              <a:gd name="T22" fmla="*/ 13 w 15"/>
              <a:gd name="T23" fmla="*/ 14 h 14"/>
              <a:gd name="T24" fmla="*/ 10 w 15"/>
              <a:gd name="T25" fmla="*/ 11 h 14"/>
              <a:gd name="T26" fmla="*/ 6 w 15"/>
              <a:gd name="T27" fmla="*/ 10 h 14"/>
              <a:gd name="T28" fmla="*/ 3 w 15"/>
              <a:gd name="T29" fmla="*/ 6 h 14"/>
              <a:gd name="T30" fmla="*/ 0 w 15"/>
              <a:gd name="T31" fmla="*/ 1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5" h="14">
                <a:moveTo>
                  <a:pt x="0" y="1"/>
                </a:moveTo>
                <a:lnTo>
                  <a:pt x="1" y="0"/>
                </a:lnTo>
                <a:lnTo>
                  <a:pt x="3" y="3"/>
                </a:lnTo>
                <a:lnTo>
                  <a:pt x="4" y="4"/>
                </a:lnTo>
                <a:lnTo>
                  <a:pt x="8" y="5"/>
                </a:lnTo>
                <a:lnTo>
                  <a:pt x="9" y="6"/>
                </a:lnTo>
                <a:lnTo>
                  <a:pt x="9" y="8"/>
                </a:lnTo>
                <a:lnTo>
                  <a:pt x="12" y="9"/>
                </a:lnTo>
                <a:lnTo>
                  <a:pt x="13" y="10"/>
                </a:lnTo>
                <a:lnTo>
                  <a:pt x="15" y="11"/>
                </a:lnTo>
                <a:lnTo>
                  <a:pt x="15" y="14"/>
                </a:lnTo>
                <a:lnTo>
                  <a:pt x="13" y="14"/>
                </a:lnTo>
                <a:lnTo>
                  <a:pt x="10" y="11"/>
                </a:lnTo>
                <a:lnTo>
                  <a:pt x="6" y="10"/>
                </a:lnTo>
                <a:lnTo>
                  <a:pt x="3" y="6"/>
                </a:lnTo>
                <a:lnTo>
                  <a:pt x="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02" name="Freeform 501"/>
          <p:cNvSpPr>
            <a:spLocks/>
          </p:cNvSpPr>
          <p:nvPr/>
        </p:nvSpPr>
        <p:spPr bwMode="auto">
          <a:xfrm>
            <a:off x="8326438" y="3794090"/>
            <a:ext cx="6350" cy="12700"/>
          </a:xfrm>
          <a:custGeom>
            <a:avLst/>
            <a:gdLst>
              <a:gd name="T0" fmla="*/ 1 w 4"/>
              <a:gd name="T1" fmla="*/ 0 h 8"/>
              <a:gd name="T2" fmla="*/ 2 w 4"/>
              <a:gd name="T3" fmla="*/ 1 h 8"/>
              <a:gd name="T4" fmla="*/ 3 w 4"/>
              <a:gd name="T5" fmla="*/ 2 h 8"/>
              <a:gd name="T6" fmla="*/ 4 w 4"/>
              <a:gd name="T7" fmla="*/ 4 h 8"/>
              <a:gd name="T8" fmla="*/ 3 w 4"/>
              <a:gd name="T9" fmla="*/ 8 h 8"/>
              <a:gd name="T10" fmla="*/ 1 w 4"/>
              <a:gd name="T11" fmla="*/ 3 h 8"/>
              <a:gd name="T12" fmla="*/ 0 w 4"/>
              <a:gd name="T13" fmla="*/ 1 h 8"/>
              <a:gd name="T14" fmla="*/ 1 w 4"/>
              <a:gd name="T15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8">
                <a:moveTo>
                  <a:pt x="1" y="0"/>
                </a:moveTo>
                <a:lnTo>
                  <a:pt x="2" y="1"/>
                </a:lnTo>
                <a:lnTo>
                  <a:pt x="3" y="2"/>
                </a:lnTo>
                <a:lnTo>
                  <a:pt x="4" y="4"/>
                </a:lnTo>
                <a:lnTo>
                  <a:pt x="3" y="8"/>
                </a:lnTo>
                <a:lnTo>
                  <a:pt x="1" y="3"/>
                </a:lnTo>
                <a:lnTo>
                  <a:pt x="0" y="1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03" name="Freeform 502"/>
          <p:cNvSpPr>
            <a:spLocks/>
          </p:cNvSpPr>
          <p:nvPr/>
        </p:nvSpPr>
        <p:spPr bwMode="auto">
          <a:xfrm>
            <a:off x="8326438" y="3794090"/>
            <a:ext cx="6350" cy="12700"/>
          </a:xfrm>
          <a:custGeom>
            <a:avLst/>
            <a:gdLst>
              <a:gd name="T0" fmla="*/ 1 w 4"/>
              <a:gd name="T1" fmla="*/ 0 h 8"/>
              <a:gd name="T2" fmla="*/ 2 w 4"/>
              <a:gd name="T3" fmla="*/ 1 h 8"/>
              <a:gd name="T4" fmla="*/ 3 w 4"/>
              <a:gd name="T5" fmla="*/ 2 h 8"/>
              <a:gd name="T6" fmla="*/ 4 w 4"/>
              <a:gd name="T7" fmla="*/ 4 h 8"/>
              <a:gd name="T8" fmla="*/ 3 w 4"/>
              <a:gd name="T9" fmla="*/ 8 h 8"/>
              <a:gd name="T10" fmla="*/ 1 w 4"/>
              <a:gd name="T11" fmla="*/ 3 h 8"/>
              <a:gd name="T12" fmla="*/ 0 w 4"/>
              <a:gd name="T13" fmla="*/ 1 h 8"/>
              <a:gd name="T14" fmla="*/ 1 w 4"/>
              <a:gd name="T15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8">
                <a:moveTo>
                  <a:pt x="1" y="0"/>
                </a:moveTo>
                <a:lnTo>
                  <a:pt x="2" y="1"/>
                </a:lnTo>
                <a:lnTo>
                  <a:pt x="3" y="2"/>
                </a:lnTo>
                <a:lnTo>
                  <a:pt x="4" y="4"/>
                </a:lnTo>
                <a:lnTo>
                  <a:pt x="3" y="8"/>
                </a:lnTo>
                <a:lnTo>
                  <a:pt x="1" y="3"/>
                </a:lnTo>
                <a:lnTo>
                  <a:pt x="0" y="1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04" name="Freeform 503"/>
          <p:cNvSpPr>
            <a:spLocks/>
          </p:cNvSpPr>
          <p:nvPr/>
        </p:nvSpPr>
        <p:spPr bwMode="auto">
          <a:xfrm>
            <a:off x="8337550" y="3802028"/>
            <a:ext cx="4762" cy="9525"/>
          </a:xfrm>
          <a:custGeom>
            <a:avLst/>
            <a:gdLst>
              <a:gd name="T0" fmla="*/ 2 w 3"/>
              <a:gd name="T1" fmla="*/ 2 h 6"/>
              <a:gd name="T2" fmla="*/ 3 w 3"/>
              <a:gd name="T3" fmla="*/ 3 h 6"/>
              <a:gd name="T4" fmla="*/ 3 w 3"/>
              <a:gd name="T5" fmla="*/ 5 h 6"/>
              <a:gd name="T6" fmla="*/ 2 w 3"/>
              <a:gd name="T7" fmla="*/ 6 h 6"/>
              <a:gd name="T8" fmla="*/ 0 w 3"/>
              <a:gd name="T9" fmla="*/ 4 h 6"/>
              <a:gd name="T10" fmla="*/ 0 w 3"/>
              <a:gd name="T11" fmla="*/ 0 h 6"/>
              <a:gd name="T12" fmla="*/ 2 w 3"/>
              <a:gd name="T13" fmla="*/ 0 h 6"/>
              <a:gd name="T14" fmla="*/ 2 w 3"/>
              <a:gd name="T15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6">
                <a:moveTo>
                  <a:pt x="2" y="2"/>
                </a:moveTo>
                <a:lnTo>
                  <a:pt x="3" y="3"/>
                </a:lnTo>
                <a:lnTo>
                  <a:pt x="3" y="5"/>
                </a:lnTo>
                <a:lnTo>
                  <a:pt x="2" y="6"/>
                </a:lnTo>
                <a:lnTo>
                  <a:pt x="0" y="4"/>
                </a:lnTo>
                <a:lnTo>
                  <a:pt x="0" y="0"/>
                </a:lnTo>
                <a:lnTo>
                  <a:pt x="2" y="0"/>
                </a:lnTo>
                <a:lnTo>
                  <a:pt x="2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05" name="Freeform 504"/>
          <p:cNvSpPr>
            <a:spLocks/>
          </p:cNvSpPr>
          <p:nvPr/>
        </p:nvSpPr>
        <p:spPr bwMode="auto">
          <a:xfrm>
            <a:off x="8337550" y="3802028"/>
            <a:ext cx="4762" cy="9525"/>
          </a:xfrm>
          <a:custGeom>
            <a:avLst/>
            <a:gdLst>
              <a:gd name="T0" fmla="*/ 2 w 3"/>
              <a:gd name="T1" fmla="*/ 2 h 6"/>
              <a:gd name="T2" fmla="*/ 3 w 3"/>
              <a:gd name="T3" fmla="*/ 3 h 6"/>
              <a:gd name="T4" fmla="*/ 3 w 3"/>
              <a:gd name="T5" fmla="*/ 5 h 6"/>
              <a:gd name="T6" fmla="*/ 2 w 3"/>
              <a:gd name="T7" fmla="*/ 6 h 6"/>
              <a:gd name="T8" fmla="*/ 0 w 3"/>
              <a:gd name="T9" fmla="*/ 4 h 6"/>
              <a:gd name="T10" fmla="*/ 0 w 3"/>
              <a:gd name="T11" fmla="*/ 0 h 6"/>
              <a:gd name="T12" fmla="*/ 2 w 3"/>
              <a:gd name="T13" fmla="*/ 0 h 6"/>
              <a:gd name="T14" fmla="*/ 2 w 3"/>
              <a:gd name="T15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6">
                <a:moveTo>
                  <a:pt x="2" y="2"/>
                </a:moveTo>
                <a:lnTo>
                  <a:pt x="3" y="3"/>
                </a:lnTo>
                <a:lnTo>
                  <a:pt x="3" y="5"/>
                </a:lnTo>
                <a:lnTo>
                  <a:pt x="2" y="6"/>
                </a:lnTo>
                <a:lnTo>
                  <a:pt x="0" y="4"/>
                </a:lnTo>
                <a:lnTo>
                  <a:pt x="0" y="0"/>
                </a:lnTo>
                <a:lnTo>
                  <a:pt x="2" y="0"/>
                </a:lnTo>
                <a:lnTo>
                  <a:pt x="2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06" name="Freeform 505"/>
          <p:cNvSpPr>
            <a:spLocks/>
          </p:cNvSpPr>
          <p:nvPr/>
        </p:nvSpPr>
        <p:spPr bwMode="auto">
          <a:xfrm>
            <a:off x="8343900" y="3808378"/>
            <a:ext cx="14287" cy="14288"/>
          </a:xfrm>
          <a:custGeom>
            <a:avLst/>
            <a:gdLst>
              <a:gd name="T0" fmla="*/ 0 w 9"/>
              <a:gd name="T1" fmla="*/ 3 h 9"/>
              <a:gd name="T2" fmla="*/ 0 w 9"/>
              <a:gd name="T3" fmla="*/ 2 h 9"/>
              <a:gd name="T4" fmla="*/ 1 w 9"/>
              <a:gd name="T5" fmla="*/ 1 h 9"/>
              <a:gd name="T6" fmla="*/ 2 w 9"/>
              <a:gd name="T7" fmla="*/ 0 h 9"/>
              <a:gd name="T8" fmla="*/ 4 w 9"/>
              <a:gd name="T9" fmla="*/ 0 h 9"/>
              <a:gd name="T10" fmla="*/ 5 w 9"/>
              <a:gd name="T11" fmla="*/ 3 h 9"/>
              <a:gd name="T12" fmla="*/ 8 w 9"/>
              <a:gd name="T13" fmla="*/ 4 h 9"/>
              <a:gd name="T14" fmla="*/ 9 w 9"/>
              <a:gd name="T15" fmla="*/ 9 h 9"/>
              <a:gd name="T16" fmla="*/ 6 w 9"/>
              <a:gd name="T17" fmla="*/ 9 h 9"/>
              <a:gd name="T18" fmla="*/ 3 w 9"/>
              <a:gd name="T19" fmla="*/ 4 h 9"/>
              <a:gd name="T20" fmla="*/ 1 w 9"/>
              <a:gd name="T21" fmla="*/ 4 h 9"/>
              <a:gd name="T22" fmla="*/ 0 w 9"/>
              <a:gd name="T23" fmla="*/ 3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" h="9">
                <a:moveTo>
                  <a:pt x="0" y="3"/>
                </a:moveTo>
                <a:lnTo>
                  <a:pt x="0" y="2"/>
                </a:lnTo>
                <a:lnTo>
                  <a:pt x="1" y="1"/>
                </a:lnTo>
                <a:lnTo>
                  <a:pt x="2" y="0"/>
                </a:lnTo>
                <a:lnTo>
                  <a:pt x="4" y="0"/>
                </a:lnTo>
                <a:lnTo>
                  <a:pt x="5" y="3"/>
                </a:lnTo>
                <a:lnTo>
                  <a:pt x="8" y="4"/>
                </a:lnTo>
                <a:lnTo>
                  <a:pt x="9" y="9"/>
                </a:lnTo>
                <a:lnTo>
                  <a:pt x="6" y="9"/>
                </a:lnTo>
                <a:lnTo>
                  <a:pt x="3" y="4"/>
                </a:lnTo>
                <a:lnTo>
                  <a:pt x="1" y="4"/>
                </a:lnTo>
                <a:lnTo>
                  <a:pt x="0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07" name="Freeform 506"/>
          <p:cNvSpPr>
            <a:spLocks/>
          </p:cNvSpPr>
          <p:nvPr/>
        </p:nvSpPr>
        <p:spPr bwMode="auto">
          <a:xfrm>
            <a:off x="8343900" y="3808378"/>
            <a:ext cx="14287" cy="14288"/>
          </a:xfrm>
          <a:custGeom>
            <a:avLst/>
            <a:gdLst>
              <a:gd name="T0" fmla="*/ 0 w 9"/>
              <a:gd name="T1" fmla="*/ 3 h 9"/>
              <a:gd name="T2" fmla="*/ 0 w 9"/>
              <a:gd name="T3" fmla="*/ 2 h 9"/>
              <a:gd name="T4" fmla="*/ 1 w 9"/>
              <a:gd name="T5" fmla="*/ 1 h 9"/>
              <a:gd name="T6" fmla="*/ 2 w 9"/>
              <a:gd name="T7" fmla="*/ 0 h 9"/>
              <a:gd name="T8" fmla="*/ 4 w 9"/>
              <a:gd name="T9" fmla="*/ 0 h 9"/>
              <a:gd name="T10" fmla="*/ 5 w 9"/>
              <a:gd name="T11" fmla="*/ 3 h 9"/>
              <a:gd name="T12" fmla="*/ 8 w 9"/>
              <a:gd name="T13" fmla="*/ 4 h 9"/>
              <a:gd name="T14" fmla="*/ 9 w 9"/>
              <a:gd name="T15" fmla="*/ 9 h 9"/>
              <a:gd name="T16" fmla="*/ 6 w 9"/>
              <a:gd name="T17" fmla="*/ 9 h 9"/>
              <a:gd name="T18" fmla="*/ 3 w 9"/>
              <a:gd name="T19" fmla="*/ 4 h 9"/>
              <a:gd name="T20" fmla="*/ 1 w 9"/>
              <a:gd name="T21" fmla="*/ 4 h 9"/>
              <a:gd name="T22" fmla="*/ 0 w 9"/>
              <a:gd name="T23" fmla="*/ 3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9" h="9">
                <a:moveTo>
                  <a:pt x="0" y="3"/>
                </a:moveTo>
                <a:lnTo>
                  <a:pt x="0" y="2"/>
                </a:lnTo>
                <a:lnTo>
                  <a:pt x="1" y="1"/>
                </a:lnTo>
                <a:lnTo>
                  <a:pt x="2" y="0"/>
                </a:lnTo>
                <a:lnTo>
                  <a:pt x="4" y="0"/>
                </a:lnTo>
                <a:lnTo>
                  <a:pt x="5" y="3"/>
                </a:lnTo>
                <a:lnTo>
                  <a:pt x="8" y="4"/>
                </a:lnTo>
                <a:lnTo>
                  <a:pt x="9" y="9"/>
                </a:lnTo>
                <a:lnTo>
                  <a:pt x="6" y="9"/>
                </a:lnTo>
                <a:lnTo>
                  <a:pt x="3" y="4"/>
                </a:lnTo>
                <a:lnTo>
                  <a:pt x="1" y="4"/>
                </a:lnTo>
                <a:lnTo>
                  <a:pt x="0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08" name="Freeform 507"/>
          <p:cNvSpPr>
            <a:spLocks/>
          </p:cNvSpPr>
          <p:nvPr/>
        </p:nvSpPr>
        <p:spPr bwMode="auto">
          <a:xfrm>
            <a:off x="8342313" y="3821078"/>
            <a:ext cx="3175" cy="4763"/>
          </a:xfrm>
          <a:custGeom>
            <a:avLst/>
            <a:gdLst>
              <a:gd name="T0" fmla="*/ 1 w 2"/>
              <a:gd name="T1" fmla="*/ 3 h 3"/>
              <a:gd name="T2" fmla="*/ 0 w 2"/>
              <a:gd name="T3" fmla="*/ 1 h 3"/>
              <a:gd name="T4" fmla="*/ 1 w 2"/>
              <a:gd name="T5" fmla="*/ 1 h 3"/>
              <a:gd name="T6" fmla="*/ 2 w 2"/>
              <a:gd name="T7" fmla="*/ 0 h 3"/>
              <a:gd name="T8" fmla="*/ 2 w 2"/>
              <a:gd name="T9" fmla="*/ 3 h 3"/>
              <a:gd name="T10" fmla="*/ 2 w 2"/>
              <a:gd name="T11" fmla="*/ 3 h 3"/>
              <a:gd name="T12" fmla="*/ 1 w 2"/>
              <a:gd name="T13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3">
                <a:moveTo>
                  <a:pt x="1" y="3"/>
                </a:moveTo>
                <a:lnTo>
                  <a:pt x="0" y="1"/>
                </a:lnTo>
                <a:lnTo>
                  <a:pt x="1" y="1"/>
                </a:lnTo>
                <a:lnTo>
                  <a:pt x="2" y="0"/>
                </a:lnTo>
                <a:lnTo>
                  <a:pt x="2" y="3"/>
                </a:lnTo>
                <a:lnTo>
                  <a:pt x="2" y="3"/>
                </a:lnTo>
                <a:lnTo>
                  <a:pt x="1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09" name="Freeform 508"/>
          <p:cNvSpPr>
            <a:spLocks/>
          </p:cNvSpPr>
          <p:nvPr/>
        </p:nvSpPr>
        <p:spPr bwMode="auto">
          <a:xfrm>
            <a:off x="8342313" y="3821078"/>
            <a:ext cx="3175" cy="4763"/>
          </a:xfrm>
          <a:custGeom>
            <a:avLst/>
            <a:gdLst>
              <a:gd name="T0" fmla="*/ 1 w 2"/>
              <a:gd name="T1" fmla="*/ 3 h 3"/>
              <a:gd name="T2" fmla="*/ 0 w 2"/>
              <a:gd name="T3" fmla="*/ 1 h 3"/>
              <a:gd name="T4" fmla="*/ 1 w 2"/>
              <a:gd name="T5" fmla="*/ 1 h 3"/>
              <a:gd name="T6" fmla="*/ 2 w 2"/>
              <a:gd name="T7" fmla="*/ 0 h 3"/>
              <a:gd name="T8" fmla="*/ 2 w 2"/>
              <a:gd name="T9" fmla="*/ 3 h 3"/>
              <a:gd name="T10" fmla="*/ 2 w 2"/>
              <a:gd name="T11" fmla="*/ 3 h 3"/>
              <a:gd name="T12" fmla="*/ 1 w 2"/>
              <a:gd name="T13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3">
                <a:moveTo>
                  <a:pt x="1" y="3"/>
                </a:moveTo>
                <a:lnTo>
                  <a:pt x="0" y="1"/>
                </a:lnTo>
                <a:lnTo>
                  <a:pt x="1" y="1"/>
                </a:lnTo>
                <a:lnTo>
                  <a:pt x="2" y="0"/>
                </a:lnTo>
                <a:lnTo>
                  <a:pt x="2" y="3"/>
                </a:lnTo>
                <a:lnTo>
                  <a:pt x="2" y="3"/>
                </a:lnTo>
                <a:lnTo>
                  <a:pt x="1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10" name="Freeform 509"/>
          <p:cNvSpPr>
            <a:spLocks/>
          </p:cNvSpPr>
          <p:nvPr/>
        </p:nvSpPr>
        <p:spPr bwMode="auto">
          <a:xfrm>
            <a:off x="8359775" y="3824253"/>
            <a:ext cx="3175" cy="4763"/>
          </a:xfrm>
          <a:custGeom>
            <a:avLst/>
            <a:gdLst>
              <a:gd name="T0" fmla="*/ 0 w 2"/>
              <a:gd name="T1" fmla="*/ 1 h 3"/>
              <a:gd name="T2" fmla="*/ 0 w 2"/>
              <a:gd name="T3" fmla="*/ 1 h 3"/>
              <a:gd name="T4" fmla="*/ 0 w 2"/>
              <a:gd name="T5" fmla="*/ 0 h 3"/>
              <a:gd name="T6" fmla="*/ 1 w 2"/>
              <a:gd name="T7" fmla="*/ 0 h 3"/>
              <a:gd name="T8" fmla="*/ 2 w 2"/>
              <a:gd name="T9" fmla="*/ 0 h 3"/>
              <a:gd name="T10" fmla="*/ 2 w 2"/>
              <a:gd name="T11" fmla="*/ 1 h 3"/>
              <a:gd name="T12" fmla="*/ 2 w 2"/>
              <a:gd name="T13" fmla="*/ 2 h 3"/>
              <a:gd name="T14" fmla="*/ 1 w 2"/>
              <a:gd name="T15" fmla="*/ 3 h 3"/>
              <a:gd name="T16" fmla="*/ 0 w 2"/>
              <a:gd name="T17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" h="3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lnTo>
                  <a:pt x="2" y="0"/>
                </a:lnTo>
                <a:lnTo>
                  <a:pt x="2" y="1"/>
                </a:lnTo>
                <a:lnTo>
                  <a:pt x="2" y="2"/>
                </a:lnTo>
                <a:lnTo>
                  <a:pt x="1" y="3"/>
                </a:lnTo>
                <a:lnTo>
                  <a:pt x="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11" name="Freeform 510"/>
          <p:cNvSpPr>
            <a:spLocks/>
          </p:cNvSpPr>
          <p:nvPr/>
        </p:nvSpPr>
        <p:spPr bwMode="auto">
          <a:xfrm>
            <a:off x="8359775" y="3824253"/>
            <a:ext cx="3175" cy="4763"/>
          </a:xfrm>
          <a:custGeom>
            <a:avLst/>
            <a:gdLst>
              <a:gd name="T0" fmla="*/ 0 w 2"/>
              <a:gd name="T1" fmla="*/ 1 h 3"/>
              <a:gd name="T2" fmla="*/ 0 w 2"/>
              <a:gd name="T3" fmla="*/ 1 h 3"/>
              <a:gd name="T4" fmla="*/ 0 w 2"/>
              <a:gd name="T5" fmla="*/ 0 h 3"/>
              <a:gd name="T6" fmla="*/ 1 w 2"/>
              <a:gd name="T7" fmla="*/ 0 h 3"/>
              <a:gd name="T8" fmla="*/ 2 w 2"/>
              <a:gd name="T9" fmla="*/ 0 h 3"/>
              <a:gd name="T10" fmla="*/ 2 w 2"/>
              <a:gd name="T11" fmla="*/ 1 h 3"/>
              <a:gd name="T12" fmla="*/ 2 w 2"/>
              <a:gd name="T13" fmla="*/ 2 h 3"/>
              <a:gd name="T14" fmla="*/ 1 w 2"/>
              <a:gd name="T15" fmla="*/ 3 h 3"/>
              <a:gd name="T16" fmla="*/ 0 w 2"/>
              <a:gd name="T17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" h="3">
                <a:moveTo>
                  <a:pt x="0" y="1"/>
                </a:move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lnTo>
                  <a:pt x="2" y="0"/>
                </a:lnTo>
                <a:lnTo>
                  <a:pt x="2" y="1"/>
                </a:lnTo>
                <a:lnTo>
                  <a:pt x="2" y="2"/>
                </a:lnTo>
                <a:lnTo>
                  <a:pt x="1" y="3"/>
                </a:lnTo>
                <a:lnTo>
                  <a:pt x="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12" name="Freeform 511"/>
          <p:cNvSpPr>
            <a:spLocks/>
          </p:cNvSpPr>
          <p:nvPr/>
        </p:nvSpPr>
        <p:spPr bwMode="auto">
          <a:xfrm>
            <a:off x="8377238" y="3794090"/>
            <a:ext cx="31750" cy="28575"/>
          </a:xfrm>
          <a:custGeom>
            <a:avLst/>
            <a:gdLst>
              <a:gd name="T0" fmla="*/ 0 w 20"/>
              <a:gd name="T1" fmla="*/ 0 h 18"/>
              <a:gd name="T2" fmla="*/ 1 w 20"/>
              <a:gd name="T3" fmla="*/ 0 h 18"/>
              <a:gd name="T4" fmla="*/ 11 w 20"/>
              <a:gd name="T5" fmla="*/ 8 h 18"/>
              <a:gd name="T6" fmla="*/ 15 w 20"/>
              <a:gd name="T7" fmla="*/ 10 h 18"/>
              <a:gd name="T8" fmla="*/ 16 w 20"/>
              <a:gd name="T9" fmla="*/ 11 h 18"/>
              <a:gd name="T10" fmla="*/ 18 w 20"/>
              <a:gd name="T11" fmla="*/ 12 h 18"/>
              <a:gd name="T12" fmla="*/ 20 w 20"/>
              <a:gd name="T13" fmla="*/ 13 h 18"/>
              <a:gd name="T14" fmla="*/ 20 w 20"/>
              <a:gd name="T15" fmla="*/ 17 h 18"/>
              <a:gd name="T16" fmla="*/ 20 w 20"/>
              <a:gd name="T17" fmla="*/ 18 h 18"/>
              <a:gd name="T18" fmla="*/ 15 w 20"/>
              <a:gd name="T19" fmla="*/ 15 h 18"/>
              <a:gd name="T20" fmla="*/ 11 w 20"/>
              <a:gd name="T21" fmla="*/ 11 h 18"/>
              <a:gd name="T22" fmla="*/ 4 w 20"/>
              <a:gd name="T23" fmla="*/ 7 h 18"/>
              <a:gd name="T24" fmla="*/ 2 w 20"/>
              <a:gd name="T25" fmla="*/ 4 h 18"/>
              <a:gd name="T26" fmla="*/ 0 w 20"/>
              <a:gd name="T27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" y="0"/>
                </a:lnTo>
                <a:lnTo>
                  <a:pt x="11" y="8"/>
                </a:lnTo>
                <a:lnTo>
                  <a:pt x="15" y="10"/>
                </a:lnTo>
                <a:lnTo>
                  <a:pt x="16" y="11"/>
                </a:lnTo>
                <a:lnTo>
                  <a:pt x="18" y="12"/>
                </a:lnTo>
                <a:lnTo>
                  <a:pt x="20" y="13"/>
                </a:lnTo>
                <a:lnTo>
                  <a:pt x="20" y="17"/>
                </a:lnTo>
                <a:lnTo>
                  <a:pt x="20" y="18"/>
                </a:lnTo>
                <a:lnTo>
                  <a:pt x="15" y="15"/>
                </a:lnTo>
                <a:lnTo>
                  <a:pt x="11" y="11"/>
                </a:lnTo>
                <a:lnTo>
                  <a:pt x="4" y="7"/>
                </a:lnTo>
                <a:lnTo>
                  <a:pt x="2" y="4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13" name="Freeform 512"/>
          <p:cNvSpPr>
            <a:spLocks/>
          </p:cNvSpPr>
          <p:nvPr/>
        </p:nvSpPr>
        <p:spPr bwMode="auto">
          <a:xfrm>
            <a:off x="8377238" y="3794090"/>
            <a:ext cx="31750" cy="28575"/>
          </a:xfrm>
          <a:custGeom>
            <a:avLst/>
            <a:gdLst>
              <a:gd name="T0" fmla="*/ 0 w 20"/>
              <a:gd name="T1" fmla="*/ 0 h 18"/>
              <a:gd name="T2" fmla="*/ 1 w 20"/>
              <a:gd name="T3" fmla="*/ 0 h 18"/>
              <a:gd name="T4" fmla="*/ 11 w 20"/>
              <a:gd name="T5" fmla="*/ 8 h 18"/>
              <a:gd name="T6" fmla="*/ 15 w 20"/>
              <a:gd name="T7" fmla="*/ 10 h 18"/>
              <a:gd name="T8" fmla="*/ 16 w 20"/>
              <a:gd name="T9" fmla="*/ 11 h 18"/>
              <a:gd name="T10" fmla="*/ 18 w 20"/>
              <a:gd name="T11" fmla="*/ 12 h 18"/>
              <a:gd name="T12" fmla="*/ 20 w 20"/>
              <a:gd name="T13" fmla="*/ 13 h 18"/>
              <a:gd name="T14" fmla="*/ 20 w 20"/>
              <a:gd name="T15" fmla="*/ 17 h 18"/>
              <a:gd name="T16" fmla="*/ 20 w 20"/>
              <a:gd name="T17" fmla="*/ 18 h 18"/>
              <a:gd name="T18" fmla="*/ 15 w 20"/>
              <a:gd name="T19" fmla="*/ 15 h 18"/>
              <a:gd name="T20" fmla="*/ 11 w 20"/>
              <a:gd name="T21" fmla="*/ 11 h 18"/>
              <a:gd name="T22" fmla="*/ 4 w 20"/>
              <a:gd name="T23" fmla="*/ 7 h 18"/>
              <a:gd name="T24" fmla="*/ 2 w 20"/>
              <a:gd name="T25" fmla="*/ 4 h 18"/>
              <a:gd name="T26" fmla="*/ 0 w 20"/>
              <a:gd name="T27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" y="0"/>
                </a:lnTo>
                <a:lnTo>
                  <a:pt x="11" y="8"/>
                </a:lnTo>
                <a:lnTo>
                  <a:pt x="15" y="10"/>
                </a:lnTo>
                <a:lnTo>
                  <a:pt x="16" y="11"/>
                </a:lnTo>
                <a:lnTo>
                  <a:pt x="18" y="12"/>
                </a:lnTo>
                <a:lnTo>
                  <a:pt x="20" y="13"/>
                </a:lnTo>
                <a:lnTo>
                  <a:pt x="20" y="17"/>
                </a:lnTo>
                <a:lnTo>
                  <a:pt x="20" y="18"/>
                </a:lnTo>
                <a:lnTo>
                  <a:pt x="15" y="15"/>
                </a:lnTo>
                <a:lnTo>
                  <a:pt x="11" y="11"/>
                </a:lnTo>
                <a:lnTo>
                  <a:pt x="4" y="7"/>
                </a:lnTo>
                <a:lnTo>
                  <a:pt x="2" y="4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14" name="Freeform 513"/>
          <p:cNvSpPr>
            <a:spLocks/>
          </p:cNvSpPr>
          <p:nvPr/>
        </p:nvSpPr>
        <p:spPr bwMode="auto">
          <a:xfrm>
            <a:off x="8431213" y="3817903"/>
            <a:ext cx="17462" cy="38100"/>
          </a:xfrm>
          <a:custGeom>
            <a:avLst/>
            <a:gdLst>
              <a:gd name="T0" fmla="*/ 0 w 11"/>
              <a:gd name="T1" fmla="*/ 2 h 24"/>
              <a:gd name="T2" fmla="*/ 0 w 11"/>
              <a:gd name="T3" fmla="*/ 0 h 24"/>
              <a:gd name="T4" fmla="*/ 0 w 11"/>
              <a:gd name="T5" fmla="*/ 0 h 24"/>
              <a:gd name="T6" fmla="*/ 2 w 11"/>
              <a:gd name="T7" fmla="*/ 2 h 24"/>
              <a:gd name="T8" fmla="*/ 4 w 11"/>
              <a:gd name="T9" fmla="*/ 7 h 24"/>
              <a:gd name="T10" fmla="*/ 4 w 11"/>
              <a:gd name="T11" fmla="*/ 8 h 24"/>
              <a:gd name="T12" fmla="*/ 5 w 11"/>
              <a:gd name="T13" fmla="*/ 10 h 24"/>
              <a:gd name="T14" fmla="*/ 8 w 11"/>
              <a:gd name="T15" fmla="*/ 15 h 24"/>
              <a:gd name="T16" fmla="*/ 7 w 11"/>
              <a:gd name="T17" fmla="*/ 17 h 24"/>
              <a:gd name="T18" fmla="*/ 7 w 11"/>
              <a:gd name="T19" fmla="*/ 18 h 24"/>
              <a:gd name="T20" fmla="*/ 10 w 11"/>
              <a:gd name="T21" fmla="*/ 18 h 24"/>
              <a:gd name="T22" fmla="*/ 11 w 11"/>
              <a:gd name="T23" fmla="*/ 20 h 24"/>
              <a:gd name="T24" fmla="*/ 11 w 11"/>
              <a:gd name="T25" fmla="*/ 23 h 24"/>
              <a:gd name="T26" fmla="*/ 11 w 11"/>
              <a:gd name="T27" fmla="*/ 24 h 24"/>
              <a:gd name="T28" fmla="*/ 10 w 11"/>
              <a:gd name="T29" fmla="*/ 23 h 24"/>
              <a:gd name="T30" fmla="*/ 8 w 11"/>
              <a:gd name="T31" fmla="*/ 22 h 24"/>
              <a:gd name="T32" fmla="*/ 6 w 11"/>
              <a:gd name="T33" fmla="*/ 19 h 24"/>
              <a:gd name="T34" fmla="*/ 4 w 11"/>
              <a:gd name="T35" fmla="*/ 16 h 24"/>
              <a:gd name="T36" fmla="*/ 0 w 11"/>
              <a:gd name="T37" fmla="*/ 8 h 24"/>
              <a:gd name="T38" fmla="*/ 0 w 11"/>
              <a:gd name="T39" fmla="*/ 4 h 24"/>
              <a:gd name="T40" fmla="*/ 0 w 11"/>
              <a:gd name="T41" fmla="*/ 2 h 24"/>
              <a:gd name="T42" fmla="*/ 0 w 11"/>
              <a:gd name="T43" fmla="*/ 2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1" h="24">
                <a:moveTo>
                  <a:pt x="0" y="2"/>
                </a:moveTo>
                <a:lnTo>
                  <a:pt x="0" y="0"/>
                </a:lnTo>
                <a:lnTo>
                  <a:pt x="0" y="0"/>
                </a:lnTo>
                <a:lnTo>
                  <a:pt x="2" y="2"/>
                </a:lnTo>
                <a:lnTo>
                  <a:pt x="4" y="7"/>
                </a:lnTo>
                <a:lnTo>
                  <a:pt x="4" y="8"/>
                </a:lnTo>
                <a:lnTo>
                  <a:pt x="5" y="10"/>
                </a:lnTo>
                <a:lnTo>
                  <a:pt x="8" y="15"/>
                </a:lnTo>
                <a:lnTo>
                  <a:pt x="7" y="17"/>
                </a:lnTo>
                <a:lnTo>
                  <a:pt x="7" y="18"/>
                </a:lnTo>
                <a:lnTo>
                  <a:pt x="10" y="18"/>
                </a:lnTo>
                <a:lnTo>
                  <a:pt x="11" y="20"/>
                </a:lnTo>
                <a:lnTo>
                  <a:pt x="11" y="23"/>
                </a:lnTo>
                <a:lnTo>
                  <a:pt x="11" y="24"/>
                </a:lnTo>
                <a:lnTo>
                  <a:pt x="10" y="23"/>
                </a:lnTo>
                <a:lnTo>
                  <a:pt x="8" y="22"/>
                </a:lnTo>
                <a:lnTo>
                  <a:pt x="6" y="19"/>
                </a:lnTo>
                <a:lnTo>
                  <a:pt x="4" y="16"/>
                </a:lnTo>
                <a:lnTo>
                  <a:pt x="0" y="8"/>
                </a:lnTo>
                <a:lnTo>
                  <a:pt x="0" y="4"/>
                </a:lnTo>
                <a:lnTo>
                  <a:pt x="0" y="2"/>
                </a:lnTo>
                <a:lnTo>
                  <a:pt x="0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15" name="Freeform 514"/>
          <p:cNvSpPr>
            <a:spLocks/>
          </p:cNvSpPr>
          <p:nvPr/>
        </p:nvSpPr>
        <p:spPr bwMode="auto">
          <a:xfrm>
            <a:off x="8431213" y="3817903"/>
            <a:ext cx="17462" cy="38100"/>
          </a:xfrm>
          <a:custGeom>
            <a:avLst/>
            <a:gdLst>
              <a:gd name="T0" fmla="*/ 0 w 11"/>
              <a:gd name="T1" fmla="*/ 2 h 24"/>
              <a:gd name="T2" fmla="*/ 0 w 11"/>
              <a:gd name="T3" fmla="*/ 0 h 24"/>
              <a:gd name="T4" fmla="*/ 0 w 11"/>
              <a:gd name="T5" fmla="*/ 0 h 24"/>
              <a:gd name="T6" fmla="*/ 2 w 11"/>
              <a:gd name="T7" fmla="*/ 2 h 24"/>
              <a:gd name="T8" fmla="*/ 4 w 11"/>
              <a:gd name="T9" fmla="*/ 7 h 24"/>
              <a:gd name="T10" fmla="*/ 4 w 11"/>
              <a:gd name="T11" fmla="*/ 8 h 24"/>
              <a:gd name="T12" fmla="*/ 5 w 11"/>
              <a:gd name="T13" fmla="*/ 10 h 24"/>
              <a:gd name="T14" fmla="*/ 8 w 11"/>
              <a:gd name="T15" fmla="*/ 15 h 24"/>
              <a:gd name="T16" fmla="*/ 7 w 11"/>
              <a:gd name="T17" fmla="*/ 17 h 24"/>
              <a:gd name="T18" fmla="*/ 7 w 11"/>
              <a:gd name="T19" fmla="*/ 18 h 24"/>
              <a:gd name="T20" fmla="*/ 10 w 11"/>
              <a:gd name="T21" fmla="*/ 18 h 24"/>
              <a:gd name="T22" fmla="*/ 11 w 11"/>
              <a:gd name="T23" fmla="*/ 20 h 24"/>
              <a:gd name="T24" fmla="*/ 11 w 11"/>
              <a:gd name="T25" fmla="*/ 23 h 24"/>
              <a:gd name="T26" fmla="*/ 11 w 11"/>
              <a:gd name="T27" fmla="*/ 24 h 24"/>
              <a:gd name="T28" fmla="*/ 10 w 11"/>
              <a:gd name="T29" fmla="*/ 23 h 24"/>
              <a:gd name="T30" fmla="*/ 8 w 11"/>
              <a:gd name="T31" fmla="*/ 22 h 24"/>
              <a:gd name="T32" fmla="*/ 6 w 11"/>
              <a:gd name="T33" fmla="*/ 19 h 24"/>
              <a:gd name="T34" fmla="*/ 4 w 11"/>
              <a:gd name="T35" fmla="*/ 16 h 24"/>
              <a:gd name="T36" fmla="*/ 0 w 11"/>
              <a:gd name="T37" fmla="*/ 8 h 24"/>
              <a:gd name="T38" fmla="*/ 0 w 11"/>
              <a:gd name="T39" fmla="*/ 4 h 24"/>
              <a:gd name="T40" fmla="*/ 0 w 11"/>
              <a:gd name="T41" fmla="*/ 2 h 24"/>
              <a:gd name="T42" fmla="*/ 0 w 11"/>
              <a:gd name="T43" fmla="*/ 2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1" h="24">
                <a:moveTo>
                  <a:pt x="0" y="2"/>
                </a:moveTo>
                <a:lnTo>
                  <a:pt x="0" y="0"/>
                </a:lnTo>
                <a:lnTo>
                  <a:pt x="0" y="0"/>
                </a:lnTo>
                <a:lnTo>
                  <a:pt x="2" y="2"/>
                </a:lnTo>
                <a:lnTo>
                  <a:pt x="4" y="7"/>
                </a:lnTo>
                <a:lnTo>
                  <a:pt x="4" y="8"/>
                </a:lnTo>
                <a:lnTo>
                  <a:pt x="5" y="10"/>
                </a:lnTo>
                <a:lnTo>
                  <a:pt x="8" y="15"/>
                </a:lnTo>
                <a:lnTo>
                  <a:pt x="7" y="17"/>
                </a:lnTo>
                <a:lnTo>
                  <a:pt x="7" y="18"/>
                </a:lnTo>
                <a:lnTo>
                  <a:pt x="10" y="18"/>
                </a:lnTo>
                <a:lnTo>
                  <a:pt x="11" y="20"/>
                </a:lnTo>
                <a:lnTo>
                  <a:pt x="11" y="23"/>
                </a:lnTo>
                <a:lnTo>
                  <a:pt x="11" y="24"/>
                </a:lnTo>
                <a:lnTo>
                  <a:pt x="10" y="23"/>
                </a:lnTo>
                <a:lnTo>
                  <a:pt x="8" y="22"/>
                </a:lnTo>
                <a:lnTo>
                  <a:pt x="6" y="19"/>
                </a:lnTo>
                <a:lnTo>
                  <a:pt x="4" y="16"/>
                </a:lnTo>
                <a:lnTo>
                  <a:pt x="0" y="8"/>
                </a:lnTo>
                <a:lnTo>
                  <a:pt x="0" y="4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16" name="Freeform 515"/>
          <p:cNvSpPr>
            <a:spLocks/>
          </p:cNvSpPr>
          <p:nvPr/>
        </p:nvSpPr>
        <p:spPr bwMode="auto">
          <a:xfrm>
            <a:off x="8413750" y="3836953"/>
            <a:ext cx="7937" cy="4763"/>
          </a:xfrm>
          <a:custGeom>
            <a:avLst/>
            <a:gdLst>
              <a:gd name="T0" fmla="*/ 1 w 5"/>
              <a:gd name="T1" fmla="*/ 1 h 3"/>
              <a:gd name="T2" fmla="*/ 0 w 5"/>
              <a:gd name="T3" fmla="*/ 0 h 3"/>
              <a:gd name="T4" fmla="*/ 2 w 5"/>
              <a:gd name="T5" fmla="*/ 0 h 3"/>
              <a:gd name="T6" fmla="*/ 3 w 5"/>
              <a:gd name="T7" fmla="*/ 0 h 3"/>
              <a:gd name="T8" fmla="*/ 5 w 5"/>
              <a:gd name="T9" fmla="*/ 2 h 3"/>
              <a:gd name="T10" fmla="*/ 5 w 5"/>
              <a:gd name="T11" fmla="*/ 3 h 3"/>
              <a:gd name="T12" fmla="*/ 3 w 5"/>
              <a:gd name="T13" fmla="*/ 3 h 3"/>
              <a:gd name="T14" fmla="*/ 1 w 5"/>
              <a:gd name="T15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3">
                <a:moveTo>
                  <a:pt x="1" y="1"/>
                </a:moveTo>
                <a:lnTo>
                  <a:pt x="0" y="0"/>
                </a:lnTo>
                <a:lnTo>
                  <a:pt x="2" y="0"/>
                </a:lnTo>
                <a:lnTo>
                  <a:pt x="3" y="0"/>
                </a:lnTo>
                <a:lnTo>
                  <a:pt x="5" y="2"/>
                </a:lnTo>
                <a:lnTo>
                  <a:pt x="5" y="3"/>
                </a:lnTo>
                <a:lnTo>
                  <a:pt x="3" y="3"/>
                </a:lnTo>
                <a:lnTo>
                  <a:pt x="1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17" name="Freeform 516"/>
          <p:cNvSpPr>
            <a:spLocks/>
          </p:cNvSpPr>
          <p:nvPr/>
        </p:nvSpPr>
        <p:spPr bwMode="auto">
          <a:xfrm>
            <a:off x="8413750" y="3836953"/>
            <a:ext cx="7937" cy="4763"/>
          </a:xfrm>
          <a:custGeom>
            <a:avLst/>
            <a:gdLst>
              <a:gd name="T0" fmla="*/ 1 w 5"/>
              <a:gd name="T1" fmla="*/ 1 h 3"/>
              <a:gd name="T2" fmla="*/ 0 w 5"/>
              <a:gd name="T3" fmla="*/ 0 h 3"/>
              <a:gd name="T4" fmla="*/ 2 w 5"/>
              <a:gd name="T5" fmla="*/ 0 h 3"/>
              <a:gd name="T6" fmla="*/ 3 w 5"/>
              <a:gd name="T7" fmla="*/ 0 h 3"/>
              <a:gd name="T8" fmla="*/ 5 w 5"/>
              <a:gd name="T9" fmla="*/ 2 h 3"/>
              <a:gd name="T10" fmla="*/ 5 w 5"/>
              <a:gd name="T11" fmla="*/ 3 h 3"/>
              <a:gd name="T12" fmla="*/ 3 w 5"/>
              <a:gd name="T13" fmla="*/ 3 h 3"/>
              <a:gd name="T14" fmla="*/ 1 w 5"/>
              <a:gd name="T15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3">
                <a:moveTo>
                  <a:pt x="1" y="1"/>
                </a:moveTo>
                <a:lnTo>
                  <a:pt x="0" y="0"/>
                </a:lnTo>
                <a:lnTo>
                  <a:pt x="2" y="0"/>
                </a:lnTo>
                <a:lnTo>
                  <a:pt x="3" y="0"/>
                </a:lnTo>
                <a:lnTo>
                  <a:pt x="5" y="2"/>
                </a:lnTo>
                <a:lnTo>
                  <a:pt x="5" y="3"/>
                </a:lnTo>
                <a:lnTo>
                  <a:pt x="3" y="3"/>
                </a:lnTo>
                <a:lnTo>
                  <a:pt x="1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18" name="Freeform 517"/>
          <p:cNvSpPr>
            <a:spLocks/>
          </p:cNvSpPr>
          <p:nvPr/>
        </p:nvSpPr>
        <p:spPr bwMode="auto">
          <a:xfrm>
            <a:off x="8397875" y="3844890"/>
            <a:ext cx="31750" cy="19050"/>
          </a:xfrm>
          <a:custGeom>
            <a:avLst/>
            <a:gdLst>
              <a:gd name="T0" fmla="*/ 1 w 20"/>
              <a:gd name="T1" fmla="*/ 0 h 12"/>
              <a:gd name="T2" fmla="*/ 2 w 20"/>
              <a:gd name="T3" fmla="*/ 0 h 12"/>
              <a:gd name="T4" fmla="*/ 5 w 20"/>
              <a:gd name="T5" fmla="*/ 1 h 12"/>
              <a:gd name="T6" fmla="*/ 8 w 20"/>
              <a:gd name="T7" fmla="*/ 2 h 12"/>
              <a:gd name="T8" fmla="*/ 12 w 20"/>
              <a:gd name="T9" fmla="*/ 2 h 12"/>
              <a:gd name="T10" fmla="*/ 15 w 20"/>
              <a:gd name="T11" fmla="*/ 3 h 12"/>
              <a:gd name="T12" fmla="*/ 18 w 20"/>
              <a:gd name="T13" fmla="*/ 7 h 12"/>
              <a:gd name="T14" fmla="*/ 19 w 20"/>
              <a:gd name="T15" fmla="*/ 8 h 12"/>
              <a:gd name="T16" fmla="*/ 20 w 20"/>
              <a:gd name="T17" fmla="*/ 8 h 12"/>
              <a:gd name="T18" fmla="*/ 20 w 20"/>
              <a:gd name="T19" fmla="*/ 11 h 12"/>
              <a:gd name="T20" fmla="*/ 18 w 20"/>
              <a:gd name="T21" fmla="*/ 12 h 12"/>
              <a:gd name="T22" fmla="*/ 13 w 20"/>
              <a:gd name="T23" fmla="*/ 11 h 12"/>
              <a:gd name="T24" fmla="*/ 11 w 20"/>
              <a:gd name="T25" fmla="*/ 10 h 12"/>
              <a:gd name="T26" fmla="*/ 6 w 20"/>
              <a:gd name="T27" fmla="*/ 11 h 12"/>
              <a:gd name="T28" fmla="*/ 3 w 20"/>
              <a:gd name="T29" fmla="*/ 9 h 12"/>
              <a:gd name="T30" fmla="*/ 1 w 20"/>
              <a:gd name="T31" fmla="*/ 7 h 12"/>
              <a:gd name="T32" fmla="*/ 0 w 20"/>
              <a:gd name="T33" fmla="*/ 5 h 12"/>
              <a:gd name="T34" fmla="*/ 0 w 20"/>
              <a:gd name="T35" fmla="*/ 2 h 12"/>
              <a:gd name="T36" fmla="*/ 1 w 20"/>
              <a:gd name="T37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" h="12">
                <a:moveTo>
                  <a:pt x="1" y="0"/>
                </a:moveTo>
                <a:lnTo>
                  <a:pt x="2" y="0"/>
                </a:lnTo>
                <a:lnTo>
                  <a:pt x="5" y="1"/>
                </a:lnTo>
                <a:lnTo>
                  <a:pt x="8" y="2"/>
                </a:lnTo>
                <a:lnTo>
                  <a:pt x="12" y="2"/>
                </a:lnTo>
                <a:lnTo>
                  <a:pt x="15" y="3"/>
                </a:lnTo>
                <a:lnTo>
                  <a:pt x="18" y="7"/>
                </a:lnTo>
                <a:lnTo>
                  <a:pt x="19" y="8"/>
                </a:lnTo>
                <a:lnTo>
                  <a:pt x="20" y="8"/>
                </a:lnTo>
                <a:lnTo>
                  <a:pt x="20" y="11"/>
                </a:lnTo>
                <a:lnTo>
                  <a:pt x="18" y="12"/>
                </a:lnTo>
                <a:lnTo>
                  <a:pt x="13" y="11"/>
                </a:lnTo>
                <a:lnTo>
                  <a:pt x="11" y="10"/>
                </a:lnTo>
                <a:lnTo>
                  <a:pt x="6" y="11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2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19" name="Freeform 518"/>
          <p:cNvSpPr>
            <a:spLocks/>
          </p:cNvSpPr>
          <p:nvPr/>
        </p:nvSpPr>
        <p:spPr bwMode="auto">
          <a:xfrm>
            <a:off x="8397875" y="3844890"/>
            <a:ext cx="31750" cy="19050"/>
          </a:xfrm>
          <a:custGeom>
            <a:avLst/>
            <a:gdLst>
              <a:gd name="T0" fmla="*/ 1 w 20"/>
              <a:gd name="T1" fmla="*/ 0 h 12"/>
              <a:gd name="T2" fmla="*/ 2 w 20"/>
              <a:gd name="T3" fmla="*/ 0 h 12"/>
              <a:gd name="T4" fmla="*/ 5 w 20"/>
              <a:gd name="T5" fmla="*/ 1 h 12"/>
              <a:gd name="T6" fmla="*/ 8 w 20"/>
              <a:gd name="T7" fmla="*/ 2 h 12"/>
              <a:gd name="T8" fmla="*/ 12 w 20"/>
              <a:gd name="T9" fmla="*/ 2 h 12"/>
              <a:gd name="T10" fmla="*/ 15 w 20"/>
              <a:gd name="T11" fmla="*/ 3 h 12"/>
              <a:gd name="T12" fmla="*/ 18 w 20"/>
              <a:gd name="T13" fmla="*/ 7 h 12"/>
              <a:gd name="T14" fmla="*/ 19 w 20"/>
              <a:gd name="T15" fmla="*/ 8 h 12"/>
              <a:gd name="T16" fmla="*/ 20 w 20"/>
              <a:gd name="T17" fmla="*/ 8 h 12"/>
              <a:gd name="T18" fmla="*/ 20 w 20"/>
              <a:gd name="T19" fmla="*/ 11 h 12"/>
              <a:gd name="T20" fmla="*/ 18 w 20"/>
              <a:gd name="T21" fmla="*/ 12 h 12"/>
              <a:gd name="T22" fmla="*/ 13 w 20"/>
              <a:gd name="T23" fmla="*/ 11 h 12"/>
              <a:gd name="T24" fmla="*/ 11 w 20"/>
              <a:gd name="T25" fmla="*/ 10 h 12"/>
              <a:gd name="T26" fmla="*/ 6 w 20"/>
              <a:gd name="T27" fmla="*/ 11 h 12"/>
              <a:gd name="T28" fmla="*/ 3 w 20"/>
              <a:gd name="T29" fmla="*/ 9 h 12"/>
              <a:gd name="T30" fmla="*/ 1 w 20"/>
              <a:gd name="T31" fmla="*/ 7 h 12"/>
              <a:gd name="T32" fmla="*/ 0 w 20"/>
              <a:gd name="T33" fmla="*/ 5 h 12"/>
              <a:gd name="T34" fmla="*/ 0 w 20"/>
              <a:gd name="T35" fmla="*/ 2 h 12"/>
              <a:gd name="T36" fmla="*/ 1 w 20"/>
              <a:gd name="T37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" h="12">
                <a:moveTo>
                  <a:pt x="1" y="0"/>
                </a:moveTo>
                <a:lnTo>
                  <a:pt x="2" y="0"/>
                </a:lnTo>
                <a:lnTo>
                  <a:pt x="5" y="1"/>
                </a:lnTo>
                <a:lnTo>
                  <a:pt x="8" y="2"/>
                </a:lnTo>
                <a:lnTo>
                  <a:pt x="12" y="2"/>
                </a:lnTo>
                <a:lnTo>
                  <a:pt x="15" y="3"/>
                </a:lnTo>
                <a:lnTo>
                  <a:pt x="18" y="7"/>
                </a:lnTo>
                <a:lnTo>
                  <a:pt x="19" y="8"/>
                </a:lnTo>
                <a:lnTo>
                  <a:pt x="20" y="8"/>
                </a:lnTo>
                <a:lnTo>
                  <a:pt x="20" y="11"/>
                </a:lnTo>
                <a:lnTo>
                  <a:pt x="18" y="12"/>
                </a:lnTo>
                <a:lnTo>
                  <a:pt x="13" y="11"/>
                </a:lnTo>
                <a:lnTo>
                  <a:pt x="11" y="10"/>
                </a:lnTo>
                <a:lnTo>
                  <a:pt x="6" y="11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2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20" name="Freeform 519"/>
          <p:cNvSpPr>
            <a:spLocks/>
          </p:cNvSpPr>
          <p:nvPr/>
        </p:nvSpPr>
        <p:spPr bwMode="auto">
          <a:xfrm>
            <a:off x="8442325" y="3871878"/>
            <a:ext cx="20637" cy="19050"/>
          </a:xfrm>
          <a:custGeom>
            <a:avLst/>
            <a:gdLst>
              <a:gd name="T0" fmla="*/ 0 w 13"/>
              <a:gd name="T1" fmla="*/ 0 h 12"/>
              <a:gd name="T2" fmla="*/ 1 w 13"/>
              <a:gd name="T3" fmla="*/ 1 h 12"/>
              <a:gd name="T4" fmla="*/ 3 w 13"/>
              <a:gd name="T5" fmla="*/ 2 h 12"/>
              <a:gd name="T6" fmla="*/ 10 w 13"/>
              <a:gd name="T7" fmla="*/ 5 h 12"/>
              <a:gd name="T8" fmla="*/ 11 w 13"/>
              <a:gd name="T9" fmla="*/ 8 h 12"/>
              <a:gd name="T10" fmla="*/ 12 w 13"/>
              <a:gd name="T11" fmla="*/ 9 h 12"/>
              <a:gd name="T12" fmla="*/ 13 w 13"/>
              <a:gd name="T13" fmla="*/ 10 h 12"/>
              <a:gd name="T14" fmla="*/ 13 w 13"/>
              <a:gd name="T15" fmla="*/ 11 h 12"/>
              <a:gd name="T16" fmla="*/ 12 w 13"/>
              <a:gd name="T17" fmla="*/ 12 h 12"/>
              <a:gd name="T18" fmla="*/ 9 w 13"/>
              <a:gd name="T19" fmla="*/ 11 h 12"/>
              <a:gd name="T20" fmla="*/ 5 w 13"/>
              <a:gd name="T21" fmla="*/ 10 h 12"/>
              <a:gd name="T22" fmla="*/ 4 w 13"/>
              <a:gd name="T23" fmla="*/ 6 h 12"/>
              <a:gd name="T24" fmla="*/ 2 w 13"/>
              <a:gd name="T25" fmla="*/ 5 h 12"/>
              <a:gd name="T26" fmla="*/ 0 w 13"/>
              <a:gd name="T27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3" h="12">
                <a:moveTo>
                  <a:pt x="0" y="0"/>
                </a:moveTo>
                <a:lnTo>
                  <a:pt x="1" y="1"/>
                </a:lnTo>
                <a:lnTo>
                  <a:pt x="3" y="2"/>
                </a:lnTo>
                <a:lnTo>
                  <a:pt x="10" y="5"/>
                </a:lnTo>
                <a:lnTo>
                  <a:pt x="11" y="8"/>
                </a:lnTo>
                <a:lnTo>
                  <a:pt x="12" y="9"/>
                </a:lnTo>
                <a:lnTo>
                  <a:pt x="13" y="10"/>
                </a:lnTo>
                <a:lnTo>
                  <a:pt x="13" y="11"/>
                </a:lnTo>
                <a:lnTo>
                  <a:pt x="12" y="12"/>
                </a:lnTo>
                <a:lnTo>
                  <a:pt x="9" y="11"/>
                </a:lnTo>
                <a:lnTo>
                  <a:pt x="5" y="10"/>
                </a:lnTo>
                <a:lnTo>
                  <a:pt x="4" y="6"/>
                </a:lnTo>
                <a:lnTo>
                  <a:pt x="2" y="5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21" name="Freeform 520"/>
          <p:cNvSpPr>
            <a:spLocks/>
          </p:cNvSpPr>
          <p:nvPr/>
        </p:nvSpPr>
        <p:spPr bwMode="auto">
          <a:xfrm>
            <a:off x="8442325" y="3871878"/>
            <a:ext cx="20637" cy="19050"/>
          </a:xfrm>
          <a:custGeom>
            <a:avLst/>
            <a:gdLst>
              <a:gd name="T0" fmla="*/ 0 w 13"/>
              <a:gd name="T1" fmla="*/ 0 h 12"/>
              <a:gd name="T2" fmla="*/ 1 w 13"/>
              <a:gd name="T3" fmla="*/ 1 h 12"/>
              <a:gd name="T4" fmla="*/ 3 w 13"/>
              <a:gd name="T5" fmla="*/ 2 h 12"/>
              <a:gd name="T6" fmla="*/ 10 w 13"/>
              <a:gd name="T7" fmla="*/ 5 h 12"/>
              <a:gd name="T8" fmla="*/ 11 w 13"/>
              <a:gd name="T9" fmla="*/ 8 h 12"/>
              <a:gd name="T10" fmla="*/ 12 w 13"/>
              <a:gd name="T11" fmla="*/ 9 h 12"/>
              <a:gd name="T12" fmla="*/ 13 w 13"/>
              <a:gd name="T13" fmla="*/ 10 h 12"/>
              <a:gd name="T14" fmla="*/ 13 w 13"/>
              <a:gd name="T15" fmla="*/ 11 h 12"/>
              <a:gd name="T16" fmla="*/ 12 w 13"/>
              <a:gd name="T17" fmla="*/ 12 h 12"/>
              <a:gd name="T18" fmla="*/ 9 w 13"/>
              <a:gd name="T19" fmla="*/ 11 h 12"/>
              <a:gd name="T20" fmla="*/ 5 w 13"/>
              <a:gd name="T21" fmla="*/ 10 h 12"/>
              <a:gd name="T22" fmla="*/ 4 w 13"/>
              <a:gd name="T23" fmla="*/ 6 h 12"/>
              <a:gd name="T24" fmla="*/ 2 w 13"/>
              <a:gd name="T25" fmla="*/ 5 h 12"/>
              <a:gd name="T26" fmla="*/ 0 w 13"/>
              <a:gd name="T27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3" h="12">
                <a:moveTo>
                  <a:pt x="0" y="0"/>
                </a:moveTo>
                <a:lnTo>
                  <a:pt x="1" y="1"/>
                </a:lnTo>
                <a:lnTo>
                  <a:pt x="3" y="2"/>
                </a:lnTo>
                <a:lnTo>
                  <a:pt x="10" y="5"/>
                </a:lnTo>
                <a:lnTo>
                  <a:pt x="11" y="8"/>
                </a:lnTo>
                <a:lnTo>
                  <a:pt x="12" y="9"/>
                </a:lnTo>
                <a:lnTo>
                  <a:pt x="13" y="10"/>
                </a:lnTo>
                <a:lnTo>
                  <a:pt x="13" y="11"/>
                </a:lnTo>
                <a:lnTo>
                  <a:pt x="12" y="12"/>
                </a:lnTo>
                <a:lnTo>
                  <a:pt x="9" y="11"/>
                </a:lnTo>
                <a:lnTo>
                  <a:pt x="5" y="10"/>
                </a:lnTo>
                <a:lnTo>
                  <a:pt x="4" y="6"/>
                </a:lnTo>
                <a:lnTo>
                  <a:pt x="2" y="5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22" name="Freeform 521"/>
          <p:cNvSpPr>
            <a:spLocks/>
          </p:cNvSpPr>
          <p:nvPr/>
        </p:nvSpPr>
        <p:spPr bwMode="auto">
          <a:xfrm>
            <a:off x="8547100" y="3886165"/>
            <a:ext cx="9525" cy="6350"/>
          </a:xfrm>
          <a:custGeom>
            <a:avLst/>
            <a:gdLst>
              <a:gd name="T0" fmla="*/ 0 w 6"/>
              <a:gd name="T1" fmla="*/ 2 h 4"/>
              <a:gd name="T2" fmla="*/ 0 w 6"/>
              <a:gd name="T3" fmla="*/ 3 h 4"/>
              <a:gd name="T4" fmla="*/ 0 w 6"/>
              <a:gd name="T5" fmla="*/ 2 h 4"/>
              <a:gd name="T6" fmla="*/ 3 w 6"/>
              <a:gd name="T7" fmla="*/ 0 h 4"/>
              <a:gd name="T8" fmla="*/ 4 w 6"/>
              <a:gd name="T9" fmla="*/ 0 h 4"/>
              <a:gd name="T10" fmla="*/ 6 w 6"/>
              <a:gd name="T11" fmla="*/ 1 h 4"/>
              <a:gd name="T12" fmla="*/ 6 w 6"/>
              <a:gd name="T13" fmla="*/ 2 h 4"/>
              <a:gd name="T14" fmla="*/ 4 w 6"/>
              <a:gd name="T15" fmla="*/ 3 h 4"/>
              <a:gd name="T16" fmla="*/ 4 w 6"/>
              <a:gd name="T17" fmla="*/ 3 h 4"/>
              <a:gd name="T18" fmla="*/ 2 w 6"/>
              <a:gd name="T19" fmla="*/ 4 h 4"/>
              <a:gd name="T20" fmla="*/ 2 w 6"/>
              <a:gd name="T21" fmla="*/ 3 h 4"/>
              <a:gd name="T22" fmla="*/ 0 w 6"/>
              <a:gd name="T23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" h="4">
                <a:moveTo>
                  <a:pt x="0" y="2"/>
                </a:moveTo>
                <a:lnTo>
                  <a:pt x="0" y="3"/>
                </a:lnTo>
                <a:lnTo>
                  <a:pt x="0" y="2"/>
                </a:lnTo>
                <a:lnTo>
                  <a:pt x="3" y="0"/>
                </a:lnTo>
                <a:lnTo>
                  <a:pt x="4" y="0"/>
                </a:lnTo>
                <a:lnTo>
                  <a:pt x="6" y="1"/>
                </a:lnTo>
                <a:lnTo>
                  <a:pt x="6" y="2"/>
                </a:lnTo>
                <a:lnTo>
                  <a:pt x="4" y="3"/>
                </a:lnTo>
                <a:lnTo>
                  <a:pt x="4" y="3"/>
                </a:lnTo>
                <a:lnTo>
                  <a:pt x="2" y="4"/>
                </a:lnTo>
                <a:lnTo>
                  <a:pt x="2" y="3"/>
                </a:lnTo>
                <a:lnTo>
                  <a:pt x="0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23" name="Freeform 522"/>
          <p:cNvSpPr>
            <a:spLocks/>
          </p:cNvSpPr>
          <p:nvPr/>
        </p:nvSpPr>
        <p:spPr bwMode="auto">
          <a:xfrm>
            <a:off x="8547100" y="3886165"/>
            <a:ext cx="9525" cy="6350"/>
          </a:xfrm>
          <a:custGeom>
            <a:avLst/>
            <a:gdLst>
              <a:gd name="T0" fmla="*/ 0 w 6"/>
              <a:gd name="T1" fmla="*/ 2 h 4"/>
              <a:gd name="T2" fmla="*/ 0 w 6"/>
              <a:gd name="T3" fmla="*/ 3 h 4"/>
              <a:gd name="T4" fmla="*/ 0 w 6"/>
              <a:gd name="T5" fmla="*/ 2 h 4"/>
              <a:gd name="T6" fmla="*/ 3 w 6"/>
              <a:gd name="T7" fmla="*/ 0 h 4"/>
              <a:gd name="T8" fmla="*/ 4 w 6"/>
              <a:gd name="T9" fmla="*/ 0 h 4"/>
              <a:gd name="T10" fmla="*/ 6 w 6"/>
              <a:gd name="T11" fmla="*/ 1 h 4"/>
              <a:gd name="T12" fmla="*/ 6 w 6"/>
              <a:gd name="T13" fmla="*/ 2 h 4"/>
              <a:gd name="T14" fmla="*/ 4 w 6"/>
              <a:gd name="T15" fmla="*/ 3 h 4"/>
              <a:gd name="T16" fmla="*/ 4 w 6"/>
              <a:gd name="T17" fmla="*/ 3 h 4"/>
              <a:gd name="T18" fmla="*/ 2 w 6"/>
              <a:gd name="T19" fmla="*/ 4 h 4"/>
              <a:gd name="T20" fmla="*/ 2 w 6"/>
              <a:gd name="T21" fmla="*/ 3 h 4"/>
              <a:gd name="T22" fmla="*/ 0 w 6"/>
              <a:gd name="T23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" h="4">
                <a:moveTo>
                  <a:pt x="0" y="2"/>
                </a:moveTo>
                <a:lnTo>
                  <a:pt x="0" y="3"/>
                </a:lnTo>
                <a:lnTo>
                  <a:pt x="0" y="2"/>
                </a:lnTo>
                <a:lnTo>
                  <a:pt x="3" y="0"/>
                </a:lnTo>
                <a:lnTo>
                  <a:pt x="4" y="0"/>
                </a:lnTo>
                <a:lnTo>
                  <a:pt x="6" y="1"/>
                </a:lnTo>
                <a:lnTo>
                  <a:pt x="6" y="2"/>
                </a:lnTo>
                <a:lnTo>
                  <a:pt x="4" y="3"/>
                </a:lnTo>
                <a:lnTo>
                  <a:pt x="4" y="3"/>
                </a:lnTo>
                <a:lnTo>
                  <a:pt x="2" y="4"/>
                </a:lnTo>
                <a:lnTo>
                  <a:pt x="2" y="3"/>
                </a:lnTo>
                <a:lnTo>
                  <a:pt x="0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24" name="Freeform 523"/>
          <p:cNvSpPr>
            <a:spLocks/>
          </p:cNvSpPr>
          <p:nvPr/>
        </p:nvSpPr>
        <p:spPr bwMode="auto">
          <a:xfrm>
            <a:off x="4024313" y="3360703"/>
            <a:ext cx="9525" cy="4763"/>
          </a:xfrm>
          <a:custGeom>
            <a:avLst/>
            <a:gdLst>
              <a:gd name="T0" fmla="*/ 6 w 6"/>
              <a:gd name="T1" fmla="*/ 1 h 3"/>
              <a:gd name="T2" fmla="*/ 6 w 6"/>
              <a:gd name="T3" fmla="*/ 1 h 3"/>
              <a:gd name="T4" fmla="*/ 4 w 6"/>
              <a:gd name="T5" fmla="*/ 0 h 3"/>
              <a:gd name="T6" fmla="*/ 2 w 6"/>
              <a:gd name="T7" fmla="*/ 1 h 3"/>
              <a:gd name="T8" fmla="*/ 0 w 6"/>
              <a:gd name="T9" fmla="*/ 1 h 3"/>
              <a:gd name="T10" fmla="*/ 1 w 6"/>
              <a:gd name="T11" fmla="*/ 2 h 3"/>
              <a:gd name="T12" fmla="*/ 3 w 6"/>
              <a:gd name="T13" fmla="*/ 3 h 3"/>
              <a:gd name="T14" fmla="*/ 4 w 6"/>
              <a:gd name="T15" fmla="*/ 3 h 3"/>
              <a:gd name="T16" fmla="*/ 6 w 6"/>
              <a:gd name="T17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" h="3">
                <a:moveTo>
                  <a:pt x="6" y="1"/>
                </a:moveTo>
                <a:lnTo>
                  <a:pt x="6" y="1"/>
                </a:lnTo>
                <a:lnTo>
                  <a:pt x="4" y="0"/>
                </a:lnTo>
                <a:lnTo>
                  <a:pt x="2" y="1"/>
                </a:lnTo>
                <a:lnTo>
                  <a:pt x="0" y="1"/>
                </a:lnTo>
                <a:lnTo>
                  <a:pt x="1" y="2"/>
                </a:lnTo>
                <a:lnTo>
                  <a:pt x="3" y="3"/>
                </a:lnTo>
                <a:lnTo>
                  <a:pt x="4" y="3"/>
                </a:lnTo>
                <a:lnTo>
                  <a:pt x="6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25" name="Freeform 524"/>
          <p:cNvSpPr>
            <a:spLocks/>
          </p:cNvSpPr>
          <p:nvPr/>
        </p:nvSpPr>
        <p:spPr bwMode="auto">
          <a:xfrm>
            <a:off x="4024313" y="3360703"/>
            <a:ext cx="9525" cy="4763"/>
          </a:xfrm>
          <a:custGeom>
            <a:avLst/>
            <a:gdLst>
              <a:gd name="T0" fmla="*/ 6 w 6"/>
              <a:gd name="T1" fmla="*/ 1 h 3"/>
              <a:gd name="T2" fmla="*/ 6 w 6"/>
              <a:gd name="T3" fmla="*/ 1 h 3"/>
              <a:gd name="T4" fmla="*/ 4 w 6"/>
              <a:gd name="T5" fmla="*/ 0 h 3"/>
              <a:gd name="T6" fmla="*/ 2 w 6"/>
              <a:gd name="T7" fmla="*/ 1 h 3"/>
              <a:gd name="T8" fmla="*/ 0 w 6"/>
              <a:gd name="T9" fmla="*/ 1 h 3"/>
              <a:gd name="T10" fmla="*/ 1 w 6"/>
              <a:gd name="T11" fmla="*/ 2 h 3"/>
              <a:gd name="T12" fmla="*/ 3 w 6"/>
              <a:gd name="T13" fmla="*/ 3 h 3"/>
              <a:gd name="T14" fmla="*/ 4 w 6"/>
              <a:gd name="T15" fmla="*/ 3 h 3"/>
              <a:gd name="T16" fmla="*/ 6 w 6"/>
              <a:gd name="T17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" h="3">
                <a:moveTo>
                  <a:pt x="6" y="1"/>
                </a:moveTo>
                <a:lnTo>
                  <a:pt x="6" y="1"/>
                </a:lnTo>
                <a:lnTo>
                  <a:pt x="4" y="0"/>
                </a:lnTo>
                <a:lnTo>
                  <a:pt x="2" y="1"/>
                </a:lnTo>
                <a:lnTo>
                  <a:pt x="0" y="1"/>
                </a:lnTo>
                <a:lnTo>
                  <a:pt x="1" y="2"/>
                </a:lnTo>
                <a:lnTo>
                  <a:pt x="3" y="3"/>
                </a:lnTo>
                <a:lnTo>
                  <a:pt x="4" y="3"/>
                </a:lnTo>
                <a:lnTo>
                  <a:pt x="6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26" name="Freeform 525"/>
          <p:cNvSpPr>
            <a:spLocks/>
          </p:cNvSpPr>
          <p:nvPr/>
        </p:nvSpPr>
        <p:spPr bwMode="auto">
          <a:xfrm>
            <a:off x="5359400" y="3719478"/>
            <a:ext cx="4762" cy="14288"/>
          </a:xfrm>
          <a:custGeom>
            <a:avLst/>
            <a:gdLst>
              <a:gd name="T0" fmla="*/ 3 w 3"/>
              <a:gd name="T1" fmla="*/ 3 h 9"/>
              <a:gd name="T2" fmla="*/ 3 w 3"/>
              <a:gd name="T3" fmla="*/ 6 h 9"/>
              <a:gd name="T4" fmla="*/ 2 w 3"/>
              <a:gd name="T5" fmla="*/ 9 h 9"/>
              <a:gd name="T6" fmla="*/ 0 w 3"/>
              <a:gd name="T7" fmla="*/ 8 h 9"/>
              <a:gd name="T8" fmla="*/ 1 w 3"/>
              <a:gd name="T9" fmla="*/ 4 h 9"/>
              <a:gd name="T10" fmla="*/ 1 w 3"/>
              <a:gd name="T11" fmla="*/ 0 h 9"/>
              <a:gd name="T12" fmla="*/ 2 w 3"/>
              <a:gd name="T13" fmla="*/ 0 h 9"/>
              <a:gd name="T14" fmla="*/ 3 w 3"/>
              <a:gd name="T15" fmla="*/ 0 h 9"/>
              <a:gd name="T16" fmla="*/ 3 w 3"/>
              <a:gd name="T17" fmla="*/ 4 h 9"/>
              <a:gd name="T18" fmla="*/ 3 w 3"/>
              <a:gd name="T19" fmla="*/ 3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" h="9">
                <a:moveTo>
                  <a:pt x="3" y="3"/>
                </a:moveTo>
                <a:lnTo>
                  <a:pt x="3" y="6"/>
                </a:lnTo>
                <a:lnTo>
                  <a:pt x="2" y="9"/>
                </a:lnTo>
                <a:lnTo>
                  <a:pt x="0" y="8"/>
                </a:lnTo>
                <a:lnTo>
                  <a:pt x="1" y="4"/>
                </a:lnTo>
                <a:lnTo>
                  <a:pt x="1" y="0"/>
                </a:lnTo>
                <a:lnTo>
                  <a:pt x="2" y="0"/>
                </a:lnTo>
                <a:lnTo>
                  <a:pt x="3" y="0"/>
                </a:lnTo>
                <a:lnTo>
                  <a:pt x="3" y="4"/>
                </a:lnTo>
                <a:lnTo>
                  <a:pt x="3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27" name="Freeform 526"/>
          <p:cNvSpPr>
            <a:spLocks/>
          </p:cNvSpPr>
          <p:nvPr/>
        </p:nvSpPr>
        <p:spPr bwMode="auto">
          <a:xfrm>
            <a:off x="5359400" y="3719478"/>
            <a:ext cx="4762" cy="14288"/>
          </a:xfrm>
          <a:custGeom>
            <a:avLst/>
            <a:gdLst>
              <a:gd name="T0" fmla="*/ 3 w 3"/>
              <a:gd name="T1" fmla="*/ 3 h 9"/>
              <a:gd name="T2" fmla="*/ 3 w 3"/>
              <a:gd name="T3" fmla="*/ 6 h 9"/>
              <a:gd name="T4" fmla="*/ 2 w 3"/>
              <a:gd name="T5" fmla="*/ 9 h 9"/>
              <a:gd name="T6" fmla="*/ 0 w 3"/>
              <a:gd name="T7" fmla="*/ 8 h 9"/>
              <a:gd name="T8" fmla="*/ 1 w 3"/>
              <a:gd name="T9" fmla="*/ 4 h 9"/>
              <a:gd name="T10" fmla="*/ 1 w 3"/>
              <a:gd name="T11" fmla="*/ 0 h 9"/>
              <a:gd name="T12" fmla="*/ 2 w 3"/>
              <a:gd name="T13" fmla="*/ 0 h 9"/>
              <a:gd name="T14" fmla="*/ 3 w 3"/>
              <a:gd name="T15" fmla="*/ 0 h 9"/>
              <a:gd name="T16" fmla="*/ 3 w 3"/>
              <a:gd name="T17" fmla="*/ 4 h 9"/>
              <a:gd name="T18" fmla="*/ 3 w 3"/>
              <a:gd name="T19" fmla="*/ 3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" h="9">
                <a:moveTo>
                  <a:pt x="3" y="3"/>
                </a:moveTo>
                <a:lnTo>
                  <a:pt x="3" y="6"/>
                </a:lnTo>
                <a:lnTo>
                  <a:pt x="2" y="9"/>
                </a:lnTo>
                <a:lnTo>
                  <a:pt x="0" y="8"/>
                </a:lnTo>
                <a:lnTo>
                  <a:pt x="1" y="4"/>
                </a:lnTo>
                <a:lnTo>
                  <a:pt x="1" y="0"/>
                </a:lnTo>
                <a:lnTo>
                  <a:pt x="2" y="0"/>
                </a:lnTo>
                <a:lnTo>
                  <a:pt x="3" y="0"/>
                </a:lnTo>
                <a:lnTo>
                  <a:pt x="3" y="4"/>
                </a:lnTo>
                <a:lnTo>
                  <a:pt x="3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28" name="Freeform 527"/>
          <p:cNvSpPr>
            <a:spLocks/>
          </p:cNvSpPr>
          <p:nvPr/>
        </p:nvSpPr>
        <p:spPr bwMode="auto">
          <a:xfrm>
            <a:off x="5348288" y="3743290"/>
            <a:ext cx="7937" cy="20638"/>
          </a:xfrm>
          <a:custGeom>
            <a:avLst/>
            <a:gdLst>
              <a:gd name="T0" fmla="*/ 2 w 5"/>
              <a:gd name="T1" fmla="*/ 0 h 13"/>
              <a:gd name="T2" fmla="*/ 2 w 5"/>
              <a:gd name="T3" fmla="*/ 3 h 13"/>
              <a:gd name="T4" fmla="*/ 3 w 5"/>
              <a:gd name="T5" fmla="*/ 8 h 13"/>
              <a:gd name="T6" fmla="*/ 4 w 5"/>
              <a:gd name="T7" fmla="*/ 9 h 13"/>
              <a:gd name="T8" fmla="*/ 4 w 5"/>
              <a:gd name="T9" fmla="*/ 9 h 13"/>
              <a:gd name="T10" fmla="*/ 5 w 5"/>
              <a:gd name="T11" fmla="*/ 13 h 13"/>
              <a:gd name="T12" fmla="*/ 2 w 5"/>
              <a:gd name="T13" fmla="*/ 10 h 13"/>
              <a:gd name="T14" fmla="*/ 0 w 5"/>
              <a:gd name="T15" fmla="*/ 3 h 13"/>
              <a:gd name="T16" fmla="*/ 2 w 5"/>
              <a:gd name="T17" fmla="*/ 1 h 13"/>
              <a:gd name="T18" fmla="*/ 2 w 5"/>
              <a:gd name="T19" fmla="*/ 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" h="13">
                <a:moveTo>
                  <a:pt x="2" y="0"/>
                </a:moveTo>
                <a:lnTo>
                  <a:pt x="2" y="3"/>
                </a:lnTo>
                <a:lnTo>
                  <a:pt x="3" y="8"/>
                </a:lnTo>
                <a:lnTo>
                  <a:pt x="4" y="9"/>
                </a:lnTo>
                <a:lnTo>
                  <a:pt x="4" y="9"/>
                </a:lnTo>
                <a:lnTo>
                  <a:pt x="5" y="13"/>
                </a:lnTo>
                <a:lnTo>
                  <a:pt x="2" y="10"/>
                </a:lnTo>
                <a:lnTo>
                  <a:pt x="0" y="3"/>
                </a:lnTo>
                <a:lnTo>
                  <a:pt x="2" y="1"/>
                </a:lnTo>
                <a:lnTo>
                  <a:pt x="2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29" name="Freeform 528"/>
          <p:cNvSpPr>
            <a:spLocks/>
          </p:cNvSpPr>
          <p:nvPr/>
        </p:nvSpPr>
        <p:spPr bwMode="auto">
          <a:xfrm>
            <a:off x="5348288" y="3743290"/>
            <a:ext cx="7937" cy="20638"/>
          </a:xfrm>
          <a:custGeom>
            <a:avLst/>
            <a:gdLst>
              <a:gd name="T0" fmla="*/ 2 w 5"/>
              <a:gd name="T1" fmla="*/ 0 h 13"/>
              <a:gd name="T2" fmla="*/ 2 w 5"/>
              <a:gd name="T3" fmla="*/ 3 h 13"/>
              <a:gd name="T4" fmla="*/ 3 w 5"/>
              <a:gd name="T5" fmla="*/ 8 h 13"/>
              <a:gd name="T6" fmla="*/ 4 w 5"/>
              <a:gd name="T7" fmla="*/ 9 h 13"/>
              <a:gd name="T8" fmla="*/ 4 w 5"/>
              <a:gd name="T9" fmla="*/ 9 h 13"/>
              <a:gd name="T10" fmla="*/ 5 w 5"/>
              <a:gd name="T11" fmla="*/ 13 h 13"/>
              <a:gd name="T12" fmla="*/ 2 w 5"/>
              <a:gd name="T13" fmla="*/ 10 h 13"/>
              <a:gd name="T14" fmla="*/ 0 w 5"/>
              <a:gd name="T15" fmla="*/ 3 h 13"/>
              <a:gd name="T16" fmla="*/ 2 w 5"/>
              <a:gd name="T17" fmla="*/ 1 h 13"/>
              <a:gd name="T18" fmla="*/ 2 w 5"/>
              <a:gd name="T19" fmla="*/ 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" h="13">
                <a:moveTo>
                  <a:pt x="2" y="0"/>
                </a:moveTo>
                <a:lnTo>
                  <a:pt x="2" y="3"/>
                </a:lnTo>
                <a:lnTo>
                  <a:pt x="3" y="8"/>
                </a:lnTo>
                <a:lnTo>
                  <a:pt x="4" y="9"/>
                </a:lnTo>
                <a:lnTo>
                  <a:pt x="4" y="9"/>
                </a:lnTo>
                <a:lnTo>
                  <a:pt x="5" y="13"/>
                </a:lnTo>
                <a:lnTo>
                  <a:pt x="2" y="10"/>
                </a:lnTo>
                <a:lnTo>
                  <a:pt x="0" y="3"/>
                </a:lnTo>
                <a:lnTo>
                  <a:pt x="2" y="1"/>
                </a:lnTo>
                <a:lnTo>
                  <a:pt x="2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30" name="Freeform 529"/>
          <p:cNvSpPr>
            <a:spLocks/>
          </p:cNvSpPr>
          <p:nvPr/>
        </p:nvSpPr>
        <p:spPr bwMode="auto">
          <a:xfrm>
            <a:off x="5667375" y="3224178"/>
            <a:ext cx="9525" cy="4763"/>
          </a:xfrm>
          <a:custGeom>
            <a:avLst/>
            <a:gdLst>
              <a:gd name="T0" fmla="*/ 3 w 6"/>
              <a:gd name="T1" fmla="*/ 2 h 3"/>
              <a:gd name="T2" fmla="*/ 3 w 6"/>
              <a:gd name="T3" fmla="*/ 2 h 3"/>
              <a:gd name="T4" fmla="*/ 4 w 6"/>
              <a:gd name="T5" fmla="*/ 3 h 3"/>
              <a:gd name="T6" fmla="*/ 4 w 6"/>
              <a:gd name="T7" fmla="*/ 3 h 3"/>
              <a:gd name="T8" fmla="*/ 5 w 6"/>
              <a:gd name="T9" fmla="*/ 3 h 3"/>
              <a:gd name="T10" fmla="*/ 6 w 6"/>
              <a:gd name="T11" fmla="*/ 2 h 3"/>
              <a:gd name="T12" fmla="*/ 6 w 6"/>
              <a:gd name="T13" fmla="*/ 2 h 3"/>
              <a:gd name="T14" fmla="*/ 4 w 6"/>
              <a:gd name="T15" fmla="*/ 2 h 3"/>
              <a:gd name="T16" fmla="*/ 0 w 6"/>
              <a:gd name="T17" fmla="*/ 0 h 3"/>
              <a:gd name="T18" fmla="*/ 0 w 6"/>
              <a:gd name="T19" fmla="*/ 2 h 3"/>
              <a:gd name="T20" fmla="*/ 0 w 6"/>
              <a:gd name="T21" fmla="*/ 2 h 3"/>
              <a:gd name="T22" fmla="*/ 3 w 6"/>
              <a:gd name="T23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" h="3">
                <a:moveTo>
                  <a:pt x="3" y="2"/>
                </a:moveTo>
                <a:lnTo>
                  <a:pt x="3" y="2"/>
                </a:lnTo>
                <a:lnTo>
                  <a:pt x="4" y="3"/>
                </a:lnTo>
                <a:lnTo>
                  <a:pt x="4" y="3"/>
                </a:lnTo>
                <a:lnTo>
                  <a:pt x="5" y="3"/>
                </a:lnTo>
                <a:lnTo>
                  <a:pt x="6" y="2"/>
                </a:lnTo>
                <a:lnTo>
                  <a:pt x="6" y="2"/>
                </a:lnTo>
                <a:lnTo>
                  <a:pt x="4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3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31" name="Freeform 530"/>
          <p:cNvSpPr>
            <a:spLocks/>
          </p:cNvSpPr>
          <p:nvPr/>
        </p:nvSpPr>
        <p:spPr bwMode="auto">
          <a:xfrm>
            <a:off x="5667375" y="3224178"/>
            <a:ext cx="9525" cy="4763"/>
          </a:xfrm>
          <a:custGeom>
            <a:avLst/>
            <a:gdLst>
              <a:gd name="T0" fmla="*/ 3 w 6"/>
              <a:gd name="T1" fmla="*/ 2 h 3"/>
              <a:gd name="T2" fmla="*/ 3 w 6"/>
              <a:gd name="T3" fmla="*/ 2 h 3"/>
              <a:gd name="T4" fmla="*/ 4 w 6"/>
              <a:gd name="T5" fmla="*/ 3 h 3"/>
              <a:gd name="T6" fmla="*/ 4 w 6"/>
              <a:gd name="T7" fmla="*/ 3 h 3"/>
              <a:gd name="T8" fmla="*/ 5 w 6"/>
              <a:gd name="T9" fmla="*/ 3 h 3"/>
              <a:gd name="T10" fmla="*/ 6 w 6"/>
              <a:gd name="T11" fmla="*/ 2 h 3"/>
              <a:gd name="T12" fmla="*/ 6 w 6"/>
              <a:gd name="T13" fmla="*/ 2 h 3"/>
              <a:gd name="T14" fmla="*/ 4 w 6"/>
              <a:gd name="T15" fmla="*/ 2 h 3"/>
              <a:gd name="T16" fmla="*/ 0 w 6"/>
              <a:gd name="T17" fmla="*/ 0 h 3"/>
              <a:gd name="T18" fmla="*/ 0 w 6"/>
              <a:gd name="T19" fmla="*/ 2 h 3"/>
              <a:gd name="T20" fmla="*/ 0 w 6"/>
              <a:gd name="T21" fmla="*/ 2 h 3"/>
              <a:gd name="T22" fmla="*/ 3 w 6"/>
              <a:gd name="T23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" h="3">
                <a:moveTo>
                  <a:pt x="3" y="2"/>
                </a:moveTo>
                <a:lnTo>
                  <a:pt x="3" y="2"/>
                </a:lnTo>
                <a:lnTo>
                  <a:pt x="4" y="3"/>
                </a:lnTo>
                <a:lnTo>
                  <a:pt x="4" y="3"/>
                </a:lnTo>
                <a:lnTo>
                  <a:pt x="5" y="3"/>
                </a:lnTo>
                <a:lnTo>
                  <a:pt x="6" y="2"/>
                </a:lnTo>
                <a:lnTo>
                  <a:pt x="6" y="2"/>
                </a:lnTo>
                <a:lnTo>
                  <a:pt x="4" y="2"/>
                </a:lnTo>
                <a:lnTo>
                  <a:pt x="0" y="0"/>
                </a:lnTo>
                <a:lnTo>
                  <a:pt x="0" y="2"/>
                </a:lnTo>
                <a:lnTo>
                  <a:pt x="0" y="2"/>
                </a:lnTo>
                <a:lnTo>
                  <a:pt x="3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32" name="Freeform 531"/>
          <p:cNvSpPr>
            <a:spLocks/>
          </p:cNvSpPr>
          <p:nvPr/>
        </p:nvSpPr>
        <p:spPr bwMode="auto">
          <a:xfrm>
            <a:off x="5699125" y="3213065"/>
            <a:ext cx="28575" cy="11113"/>
          </a:xfrm>
          <a:custGeom>
            <a:avLst/>
            <a:gdLst>
              <a:gd name="T0" fmla="*/ 16 w 18"/>
              <a:gd name="T1" fmla="*/ 2 h 7"/>
              <a:gd name="T2" fmla="*/ 18 w 18"/>
              <a:gd name="T3" fmla="*/ 2 h 7"/>
              <a:gd name="T4" fmla="*/ 18 w 18"/>
              <a:gd name="T5" fmla="*/ 3 h 7"/>
              <a:gd name="T6" fmla="*/ 16 w 18"/>
              <a:gd name="T7" fmla="*/ 5 h 7"/>
              <a:gd name="T8" fmla="*/ 14 w 18"/>
              <a:gd name="T9" fmla="*/ 5 h 7"/>
              <a:gd name="T10" fmla="*/ 10 w 18"/>
              <a:gd name="T11" fmla="*/ 7 h 7"/>
              <a:gd name="T12" fmla="*/ 4 w 18"/>
              <a:gd name="T13" fmla="*/ 6 h 7"/>
              <a:gd name="T14" fmla="*/ 0 w 18"/>
              <a:gd name="T15" fmla="*/ 3 h 7"/>
              <a:gd name="T16" fmla="*/ 1 w 18"/>
              <a:gd name="T17" fmla="*/ 0 h 7"/>
              <a:gd name="T18" fmla="*/ 2 w 18"/>
              <a:gd name="T19" fmla="*/ 0 h 7"/>
              <a:gd name="T20" fmla="*/ 6 w 18"/>
              <a:gd name="T21" fmla="*/ 2 h 7"/>
              <a:gd name="T22" fmla="*/ 8 w 18"/>
              <a:gd name="T23" fmla="*/ 2 h 7"/>
              <a:gd name="T24" fmla="*/ 10 w 18"/>
              <a:gd name="T25" fmla="*/ 1 h 7"/>
              <a:gd name="T26" fmla="*/ 16 w 18"/>
              <a:gd name="T27" fmla="*/ 2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8" h="7">
                <a:moveTo>
                  <a:pt x="16" y="2"/>
                </a:moveTo>
                <a:lnTo>
                  <a:pt x="18" y="2"/>
                </a:lnTo>
                <a:lnTo>
                  <a:pt x="18" y="3"/>
                </a:lnTo>
                <a:lnTo>
                  <a:pt x="16" y="5"/>
                </a:lnTo>
                <a:lnTo>
                  <a:pt x="14" y="5"/>
                </a:lnTo>
                <a:lnTo>
                  <a:pt x="10" y="7"/>
                </a:lnTo>
                <a:lnTo>
                  <a:pt x="4" y="6"/>
                </a:lnTo>
                <a:lnTo>
                  <a:pt x="0" y="3"/>
                </a:lnTo>
                <a:lnTo>
                  <a:pt x="1" y="0"/>
                </a:lnTo>
                <a:lnTo>
                  <a:pt x="2" y="0"/>
                </a:lnTo>
                <a:lnTo>
                  <a:pt x="6" y="2"/>
                </a:lnTo>
                <a:lnTo>
                  <a:pt x="8" y="2"/>
                </a:lnTo>
                <a:lnTo>
                  <a:pt x="10" y="1"/>
                </a:lnTo>
                <a:lnTo>
                  <a:pt x="16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33" name="Freeform 532"/>
          <p:cNvSpPr>
            <a:spLocks/>
          </p:cNvSpPr>
          <p:nvPr/>
        </p:nvSpPr>
        <p:spPr bwMode="auto">
          <a:xfrm>
            <a:off x="5699125" y="3213065"/>
            <a:ext cx="28575" cy="11113"/>
          </a:xfrm>
          <a:custGeom>
            <a:avLst/>
            <a:gdLst>
              <a:gd name="T0" fmla="*/ 16 w 18"/>
              <a:gd name="T1" fmla="*/ 2 h 7"/>
              <a:gd name="T2" fmla="*/ 18 w 18"/>
              <a:gd name="T3" fmla="*/ 2 h 7"/>
              <a:gd name="T4" fmla="*/ 18 w 18"/>
              <a:gd name="T5" fmla="*/ 3 h 7"/>
              <a:gd name="T6" fmla="*/ 16 w 18"/>
              <a:gd name="T7" fmla="*/ 5 h 7"/>
              <a:gd name="T8" fmla="*/ 14 w 18"/>
              <a:gd name="T9" fmla="*/ 5 h 7"/>
              <a:gd name="T10" fmla="*/ 10 w 18"/>
              <a:gd name="T11" fmla="*/ 7 h 7"/>
              <a:gd name="T12" fmla="*/ 4 w 18"/>
              <a:gd name="T13" fmla="*/ 6 h 7"/>
              <a:gd name="T14" fmla="*/ 0 w 18"/>
              <a:gd name="T15" fmla="*/ 3 h 7"/>
              <a:gd name="T16" fmla="*/ 1 w 18"/>
              <a:gd name="T17" fmla="*/ 0 h 7"/>
              <a:gd name="T18" fmla="*/ 2 w 18"/>
              <a:gd name="T19" fmla="*/ 0 h 7"/>
              <a:gd name="T20" fmla="*/ 6 w 18"/>
              <a:gd name="T21" fmla="*/ 2 h 7"/>
              <a:gd name="T22" fmla="*/ 8 w 18"/>
              <a:gd name="T23" fmla="*/ 2 h 7"/>
              <a:gd name="T24" fmla="*/ 10 w 18"/>
              <a:gd name="T25" fmla="*/ 1 h 7"/>
              <a:gd name="T26" fmla="*/ 16 w 18"/>
              <a:gd name="T27" fmla="*/ 2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8" h="7">
                <a:moveTo>
                  <a:pt x="16" y="2"/>
                </a:moveTo>
                <a:lnTo>
                  <a:pt x="18" y="2"/>
                </a:lnTo>
                <a:lnTo>
                  <a:pt x="18" y="3"/>
                </a:lnTo>
                <a:lnTo>
                  <a:pt x="16" y="5"/>
                </a:lnTo>
                <a:lnTo>
                  <a:pt x="14" y="5"/>
                </a:lnTo>
                <a:lnTo>
                  <a:pt x="10" y="7"/>
                </a:lnTo>
                <a:lnTo>
                  <a:pt x="4" y="6"/>
                </a:lnTo>
                <a:lnTo>
                  <a:pt x="0" y="3"/>
                </a:lnTo>
                <a:lnTo>
                  <a:pt x="1" y="0"/>
                </a:lnTo>
                <a:lnTo>
                  <a:pt x="2" y="0"/>
                </a:lnTo>
                <a:lnTo>
                  <a:pt x="6" y="2"/>
                </a:lnTo>
                <a:lnTo>
                  <a:pt x="8" y="2"/>
                </a:lnTo>
                <a:lnTo>
                  <a:pt x="10" y="1"/>
                </a:lnTo>
                <a:lnTo>
                  <a:pt x="16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34" name="Freeform 533"/>
          <p:cNvSpPr>
            <a:spLocks/>
          </p:cNvSpPr>
          <p:nvPr/>
        </p:nvSpPr>
        <p:spPr bwMode="auto">
          <a:xfrm>
            <a:off x="7396163" y="2020853"/>
            <a:ext cx="207962" cy="234950"/>
          </a:xfrm>
          <a:custGeom>
            <a:avLst/>
            <a:gdLst>
              <a:gd name="T0" fmla="*/ 2 w 131"/>
              <a:gd name="T1" fmla="*/ 0 h 148"/>
              <a:gd name="T2" fmla="*/ 10 w 131"/>
              <a:gd name="T3" fmla="*/ 4 h 148"/>
              <a:gd name="T4" fmla="*/ 21 w 131"/>
              <a:gd name="T5" fmla="*/ 15 h 148"/>
              <a:gd name="T6" fmla="*/ 35 w 131"/>
              <a:gd name="T7" fmla="*/ 27 h 148"/>
              <a:gd name="T8" fmla="*/ 42 w 131"/>
              <a:gd name="T9" fmla="*/ 35 h 148"/>
              <a:gd name="T10" fmla="*/ 44 w 131"/>
              <a:gd name="T11" fmla="*/ 39 h 148"/>
              <a:gd name="T12" fmla="*/ 52 w 131"/>
              <a:gd name="T13" fmla="*/ 46 h 148"/>
              <a:gd name="T14" fmla="*/ 54 w 131"/>
              <a:gd name="T15" fmla="*/ 49 h 148"/>
              <a:gd name="T16" fmla="*/ 62 w 131"/>
              <a:gd name="T17" fmla="*/ 55 h 148"/>
              <a:gd name="T18" fmla="*/ 75 w 131"/>
              <a:gd name="T19" fmla="*/ 66 h 148"/>
              <a:gd name="T20" fmla="*/ 94 w 131"/>
              <a:gd name="T21" fmla="*/ 84 h 148"/>
              <a:gd name="T22" fmla="*/ 103 w 131"/>
              <a:gd name="T23" fmla="*/ 90 h 148"/>
              <a:gd name="T24" fmla="*/ 112 w 131"/>
              <a:gd name="T25" fmla="*/ 96 h 148"/>
              <a:gd name="T26" fmla="*/ 103 w 131"/>
              <a:gd name="T27" fmla="*/ 91 h 148"/>
              <a:gd name="T28" fmla="*/ 93 w 131"/>
              <a:gd name="T29" fmla="*/ 88 h 148"/>
              <a:gd name="T30" fmla="*/ 86 w 131"/>
              <a:gd name="T31" fmla="*/ 88 h 148"/>
              <a:gd name="T32" fmla="*/ 86 w 131"/>
              <a:gd name="T33" fmla="*/ 94 h 148"/>
              <a:gd name="T34" fmla="*/ 89 w 131"/>
              <a:gd name="T35" fmla="*/ 100 h 148"/>
              <a:gd name="T36" fmla="*/ 95 w 131"/>
              <a:gd name="T37" fmla="*/ 114 h 148"/>
              <a:gd name="T38" fmla="*/ 103 w 131"/>
              <a:gd name="T39" fmla="*/ 121 h 148"/>
              <a:gd name="T40" fmla="*/ 113 w 131"/>
              <a:gd name="T41" fmla="*/ 128 h 148"/>
              <a:gd name="T42" fmla="*/ 117 w 131"/>
              <a:gd name="T43" fmla="*/ 131 h 148"/>
              <a:gd name="T44" fmla="*/ 122 w 131"/>
              <a:gd name="T45" fmla="*/ 132 h 148"/>
              <a:gd name="T46" fmla="*/ 129 w 131"/>
              <a:gd name="T47" fmla="*/ 139 h 148"/>
              <a:gd name="T48" fmla="*/ 131 w 131"/>
              <a:gd name="T49" fmla="*/ 146 h 148"/>
              <a:gd name="T50" fmla="*/ 114 w 131"/>
              <a:gd name="T51" fmla="*/ 135 h 148"/>
              <a:gd name="T52" fmla="*/ 111 w 131"/>
              <a:gd name="T53" fmla="*/ 137 h 148"/>
              <a:gd name="T54" fmla="*/ 114 w 131"/>
              <a:gd name="T55" fmla="*/ 148 h 148"/>
              <a:gd name="T56" fmla="*/ 105 w 131"/>
              <a:gd name="T57" fmla="*/ 140 h 148"/>
              <a:gd name="T58" fmla="*/ 95 w 131"/>
              <a:gd name="T59" fmla="*/ 126 h 148"/>
              <a:gd name="T60" fmla="*/ 87 w 131"/>
              <a:gd name="T61" fmla="*/ 110 h 148"/>
              <a:gd name="T62" fmla="*/ 81 w 131"/>
              <a:gd name="T63" fmla="*/ 104 h 148"/>
              <a:gd name="T64" fmla="*/ 72 w 131"/>
              <a:gd name="T65" fmla="*/ 95 h 148"/>
              <a:gd name="T66" fmla="*/ 66 w 131"/>
              <a:gd name="T67" fmla="*/ 84 h 148"/>
              <a:gd name="T68" fmla="*/ 62 w 131"/>
              <a:gd name="T69" fmla="*/ 76 h 148"/>
              <a:gd name="T70" fmla="*/ 59 w 131"/>
              <a:gd name="T71" fmla="*/ 73 h 148"/>
              <a:gd name="T72" fmla="*/ 53 w 131"/>
              <a:gd name="T73" fmla="*/ 67 h 148"/>
              <a:gd name="T74" fmla="*/ 45 w 131"/>
              <a:gd name="T75" fmla="*/ 57 h 148"/>
              <a:gd name="T76" fmla="*/ 38 w 131"/>
              <a:gd name="T77" fmla="*/ 49 h 148"/>
              <a:gd name="T78" fmla="*/ 31 w 131"/>
              <a:gd name="T79" fmla="*/ 46 h 148"/>
              <a:gd name="T80" fmla="*/ 28 w 131"/>
              <a:gd name="T81" fmla="*/ 43 h 148"/>
              <a:gd name="T82" fmla="*/ 20 w 131"/>
              <a:gd name="T83" fmla="*/ 36 h 148"/>
              <a:gd name="T84" fmla="*/ 13 w 131"/>
              <a:gd name="T85" fmla="*/ 24 h 148"/>
              <a:gd name="T86" fmla="*/ 6 w 131"/>
              <a:gd name="T87" fmla="*/ 18 h 148"/>
              <a:gd name="T88" fmla="*/ 8 w 131"/>
              <a:gd name="T89" fmla="*/ 15 h 148"/>
              <a:gd name="T90" fmla="*/ 12 w 131"/>
              <a:gd name="T91" fmla="*/ 16 h 148"/>
              <a:gd name="T92" fmla="*/ 14 w 131"/>
              <a:gd name="T93" fmla="*/ 15 h 148"/>
              <a:gd name="T94" fmla="*/ 12 w 131"/>
              <a:gd name="T95" fmla="*/ 13 h 148"/>
              <a:gd name="T96" fmla="*/ 14 w 131"/>
              <a:gd name="T97" fmla="*/ 11 h 148"/>
              <a:gd name="T98" fmla="*/ 6 w 131"/>
              <a:gd name="T99" fmla="*/ 6 h 148"/>
              <a:gd name="T100" fmla="*/ 0 w 131"/>
              <a:gd name="T101" fmla="*/ 2 h 148"/>
              <a:gd name="T102" fmla="*/ 1 w 131"/>
              <a:gd name="T103" fmla="*/ 2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1" h="148">
                <a:moveTo>
                  <a:pt x="2" y="0"/>
                </a:moveTo>
                <a:lnTo>
                  <a:pt x="2" y="0"/>
                </a:lnTo>
                <a:lnTo>
                  <a:pt x="4" y="0"/>
                </a:lnTo>
                <a:lnTo>
                  <a:pt x="10" y="4"/>
                </a:lnTo>
                <a:lnTo>
                  <a:pt x="16" y="10"/>
                </a:lnTo>
                <a:lnTo>
                  <a:pt x="21" y="15"/>
                </a:lnTo>
                <a:lnTo>
                  <a:pt x="29" y="21"/>
                </a:lnTo>
                <a:lnTo>
                  <a:pt x="35" y="27"/>
                </a:lnTo>
                <a:lnTo>
                  <a:pt x="40" y="31"/>
                </a:lnTo>
                <a:lnTo>
                  <a:pt x="42" y="35"/>
                </a:lnTo>
                <a:lnTo>
                  <a:pt x="41" y="36"/>
                </a:lnTo>
                <a:lnTo>
                  <a:pt x="44" y="39"/>
                </a:lnTo>
                <a:lnTo>
                  <a:pt x="49" y="44"/>
                </a:lnTo>
                <a:lnTo>
                  <a:pt x="52" y="46"/>
                </a:lnTo>
                <a:lnTo>
                  <a:pt x="54" y="49"/>
                </a:lnTo>
                <a:lnTo>
                  <a:pt x="54" y="49"/>
                </a:lnTo>
                <a:lnTo>
                  <a:pt x="59" y="51"/>
                </a:lnTo>
                <a:lnTo>
                  <a:pt x="62" y="55"/>
                </a:lnTo>
                <a:lnTo>
                  <a:pt x="63" y="56"/>
                </a:lnTo>
                <a:lnTo>
                  <a:pt x="75" y="66"/>
                </a:lnTo>
                <a:lnTo>
                  <a:pt x="91" y="79"/>
                </a:lnTo>
                <a:lnTo>
                  <a:pt x="94" y="84"/>
                </a:lnTo>
                <a:lnTo>
                  <a:pt x="99" y="87"/>
                </a:lnTo>
                <a:lnTo>
                  <a:pt x="103" y="90"/>
                </a:lnTo>
                <a:lnTo>
                  <a:pt x="107" y="94"/>
                </a:lnTo>
                <a:lnTo>
                  <a:pt x="112" y="96"/>
                </a:lnTo>
                <a:lnTo>
                  <a:pt x="114" y="98"/>
                </a:lnTo>
                <a:lnTo>
                  <a:pt x="103" y="91"/>
                </a:lnTo>
                <a:lnTo>
                  <a:pt x="99" y="89"/>
                </a:lnTo>
                <a:lnTo>
                  <a:pt x="93" y="88"/>
                </a:lnTo>
                <a:lnTo>
                  <a:pt x="89" y="87"/>
                </a:lnTo>
                <a:lnTo>
                  <a:pt x="86" y="88"/>
                </a:lnTo>
                <a:lnTo>
                  <a:pt x="84" y="90"/>
                </a:lnTo>
                <a:lnTo>
                  <a:pt x="86" y="94"/>
                </a:lnTo>
                <a:lnTo>
                  <a:pt x="87" y="97"/>
                </a:lnTo>
                <a:lnTo>
                  <a:pt x="89" y="100"/>
                </a:lnTo>
                <a:lnTo>
                  <a:pt x="93" y="109"/>
                </a:lnTo>
                <a:lnTo>
                  <a:pt x="95" y="114"/>
                </a:lnTo>
                <a:lnTo>
                  <a:pt x="99" y="117"/>
                </a:lnTo>
                <a:lnTo>
                  <a:pt x="103" y="121"/>
                </a:lnTo>
                <a:lnTo>
                  <a:pt x="111" y="126"/>
                </a:lnTo>
                <a:lnTo>
                  <a:pt x="113" y="128"/>
                </a:lnTo>
                <a:lnTo>
                  <a:pt x="115" y="130"/>
                </a:lnTo>
                <a:lnTo>
                  <a:pt x="117" y="131"/>
                </a:lnTo>
                <a:lnTo>
                  <a:pt x="121" y="132"/>
                </a:lnTo>
                <a:lnTo>
                  <a:pt x="122" y="132"/>
                </a:lnTo>
                <a:lnTo>
                  <a:pt x="123" y="134"/>
                </a:lnTo>
                <a:lnTo>
                  <a:pt x="129" y="139"/>
                </a:lnTo>
                <a:lnTo>
                  <a:pt x="131" y="142"/>
                </a:lnTo>
                <a:lnTo>
                  <a:pt x="131" y="146"/>
                </a:lnTo>
                <a:lnTo>
                  <a:pt x="123" y="137"/>
                </a:lnTo>
                <a:lnTo>
                  <a:pt x="114" y="135"/>
                </a:lnTo>
                <a:lnTo>
                  <a:pt x="111" y="135"/>
                </a:lnTo>
                <a:lnTo>
                  <a:pt x="111" y="137"/>
                </a:lnTo>
                <a:lnTo>
                  <a:pt x="113" y="145"/>
                </a:lnTo>
                <a:lnTo>
                  <a:pt x="114" y="148"/>
                </a:lnTo>
                <a:lnTo>
                  <a:pt x="110" y="146"/>
                </a:lnTo>
                <a:lnTo>
                  <a:pt x="105" y="140"/>
                </a:lnTo>
                <a:lnTo>
                  <a:pt x="101" y="135"/>
                </a:lnTo>
                <a:lnTo>
                  <a:pt x="95" y="126"/>
                </a:lnTo>
                <a:lnTo>
                  <a:pt x="87" y="113"/>
                </a:lnTo>
                <a:lnTo>
                  <a:pt x="87" y="110"/>
                </a:lnTo>
                <a:lnTo>
                  <a:pt x="85" y="107"/>
                </a:lnTo>
                <a:lnTo>
                  <a:pt x="81" y="104"/>
                </a:lnTo>
                <a:lnTo>
                  <a:pt x="75" y="99"/>
                </a:lnTo>
                <a:lnTo>
                  <a:pt x="72" y="95"/>
                </a:lnTo>
                <a:lnTo>
                  <a:pt x="71" y="91"/>
                </a:lnTo>
                <a:lnTo>
                  <a:pt x="66" y="84"/>
                </a:lnTo>
                <a:lnTo>
                  <a:pt x="61" y="77"/>
                </a:lnTo>
                <a:lnTo>
                  <a:pt x="62" y="76"/>
                </a:lnTo>
                <a:lnTo>
                  <a:pt x="60" y="75"/>
                </a:lnTo>
                <a:lnTo>
                  <a:pt x="59" y="73"/>
                </a:lnTo>
                <a:lnTo>
                  <a:pt x="55" y="69"/>
                </a:lnTo>
                <a:lnTo>
                  <a:pt x="53" y="67"/>
                </a:lnTo>
                <a:lnTo>
                  <a:pt x="50" y="64"/>
                </a:lnTo>
                <a:lnTo>
                  <a:pt x="45" y="57"/>
                </a:lnTo>
                <a:lnTo>
                  <a:pt x="44" y="55"/>
                </a:lnTo>
                <a:lnTo>
                  <a:pt x="38" y="49"/>
                </a:lnTo>
                <a:lnTo>
                  <a:pt x="33" y="47"/>
                </a:lnTo>
                <a:lnTo>
                  <a:pt x="31" y="46"/>
                </a:lnTo>
                <a:lnTo>
                  <a:pt x="30" y="45"/>
                </a:lnTo>
                <a:lnTo>
                  <a:pt x="28" y="43"/>
                </a:lnTo>
                <a:lnTo>
                  <a:pt x="23" y="39"/>
                </a:lnTo>
                <a:lnTo>
                  <a:pt x="20" y="36"/>
                </a:lnTo>
                <a:lnTo>
                  <a:pt x="18" y="30"/>
                </a:lnTo>
                <a:lnTo>
                  <a:pt x="13" y="24"/>
                </a:lnTo>
                <a:lnTo>
                  <a:pt x="10" y="20"/>
                </a:lnTo>
                <a:lnTo>
                  <a:pt x="6" y="18"/>
                </a:lnTo>
                <a:lnTo>
                  <a:pt x="6" y="16"/>
                </a:lnTo>
                <a:lnTo>
                  <a:pt x="8" y="15"/>
                </a:lnTo>
                <a:lnTo>
                  <a:pt x="10" y="15"/>
                </a:lnTo>
                <a:lnTo>
                  <a:pt x="12" y="16"/>
                </a:lnTo>
                <a:lnTo>
                  <a:pt x="15" y="16"/>
                </a:lnTo>
                <a:lnTo>
                  <a:pt x="14" y="15"/>
                </a:lnTo>
                <a:lnTo>
                  <a:pt x="13" y="14"/>
                </a:lnTo>
                <a:lnTo>
                  <a:pt x="12" y="13"/>
                </a:lnTo>
                <a:lnTo>
                  <a:pt x="14" y="13"/>
                </a:lnTo>
                <a:lnTo>
                  <a:pt x="14" y="11"/>
                </a:lnTo>
                <a:lnTo>
                  <a:pt x="11" y="9"/>
                </a:lnTo>
                <a:lnTo>
                  <a:pt x="6" y="6"/>
                </a:lnTo>
                <a:lnTo>
                  <a:pt x="1" y="3"/>
                </a:lnTo>
                <a:lnTo>
                  <a:pt x="0" y="2"/>
                </a:lnTo>
                <a:lnTo>
                  <a:pt x="0" y="2"/>
                </a:lnTo>
                <a:lnTo>
                  <a:pt x="1" y="2"/>
                </a:lnTo>
                <a:lnTo>
                  <a:pt x="2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35" name="Freeform 534"/>
          <p:cNvSpPr>
            <a:spLocks/>
          </p:cNvSpPr>
          <p:nvPr/>
        </p:nvSpPr>
        <p:spPr bwMode="auto">
          <a:xfrm>
            <a:off x="7396163" y="2020853"/>
            <a:ext cx="207962" cy="234950"/>
          </a:xfrm>
          <a:custGeom>
            <a:avLst/>
            <a:gdLst>
              <a:gd name="T0" fmla="*/ 2 w 131"/>
              <a:gd name="T1" fmla="*/ 0 h 148"/>
              <a:gd name="T2" fmla="*/ 10 w 131"/>
              <a:gd name="T3" fmla="*/ 4 h 148"/>
              <a:gd name="T4" fmla="*/ 21 w 131"/>
              <a:gd name="T5" fmla="*/ 15 h 148"/>
              <a:gd name="T6" fmla="*/ 35 w 131"/>
              <a:gd name="T7" fmla="*/ 27 h 148"/>
              <a:gd name="T8" fmla="*/ 42 w 131"/>
              <a:gd name="T9" fmla="*/ 35 h 148"/>
              <a:gd name="T10" fmla="*/ 44 w 131"/>
              <a:gd name="T11" fmla="*/ 39 h 148"/>
              <a:gd name="T12" fmla="*/ 52 w 131"/>
              <a:gd name="T13" fmla="*/ 46 h 148"/>
              <a:gd name="T14" fmla="*/ 54 w 131"/>
              <a:gd name="T15" fmla="*/ 49 h 148"/>
              <a:gd name="T16" fmla="*/ 62 w 131"/>
              <a:gd name="T17" fmla="*/ 55 h 148"/>
              <a:gd name="T18" fmla="*/ 75 w 131"/>
              <a:gd name="T19" fmla="*/ 66 h 148"/>
              <a:gd name="T20" fmla="*/ 94 w 131"/>
              <a:gd name="T21" fmla="*/ 84 h 148"/>
              <a:gd name="T22" fmla="*/ 103 w 131"/>
              <a:gd name="T23" fmla="*/ 90 h 148"/>
              <a:gd name="T24" fmla="*/ 112 w 131"/>
              <a:gd name="T25" fmla="*/ 96 h 148"/>
              <a:gd name="T26" fmla="*/ 103 w 131"/>
              <a:gd name="T27" fmla="*/ 91 h 148"/>
              <a:gd name="T28" fmla="*/ 93 w 131"/>
              <a:gd name="T29" fmla="*/ 88 h 148"/>
              <a:gd name="T30" fmla="*/ 86 w 131"/>
              <a:gd name="T31" fmla="*/ 88 h 148"/>
              <a:gd name="T32" fmla="*/ 86 w 131"/>
              <a:gd name="T33" fmla="*/ 94 h 148"/>
              <a:gd name="T34" fmla="*/ 89 w 131"/>
              <a:gd name="T35" fmla="*/ 100 h 148"/>
              <a:gd name="T36" fmla="*/ 95 w 131"/>
              <a:gd name="T37" fmla="*/ 114 h 148"/>
              <a:gd name="T38" fmla="*/ 103 w 131"/>
              <a:gd name="T39" fmla="*/ 121 h 148"/>
              <a:gd name="T40" fmla="*/ 113 w 131"/>
              <a:gd name="T41" fmla="*/ 128 h 148"/>
              <a:gd name="T42" fmla="*/ 117 w 131"/>
              <a:gd name="T43" fmla="*/ 131 h 148"/>
              <a:gd name="T44" fmla="*/ 122 w 131"/>
              <a:gd name="T45" fmla="*/ 132 h 148"/>
              <a:gd name="T46" fmla="*/ 129 w 131"/>
              <a:gd name="T47" fmla="*/ 139 h 148"/>
              <a:gd name="T48" fmla="*/ 131 w 131"/>
              <a:gd name="T49" fmla="*/ 146 h 148"/>
              <a:gd name="T50" fmla="*/ 114 w 131"/>
              <a:gd name="T51" fmla="*/ 135 h 148"/>
              <a:gd name="T52" fmla="*/ 111 w 131"/>
              <a:gd name="T53" fmla="*/ 137 h 148"/>
              <a:gd name="T54" fmla="*/ 114 w 131"/>
              <a:gd name="T55" fmla="*/ 148 h 148"/>
              <a:gd name="T56" fmla="*/ 105 w 131"/>
              <a:gd name="T57" fmla="*/ 140 h 148"/>
              <a:gd name="T58" fmla="*/ 95 w 131"/>
              <a:gd name="T59" fmla="*/ 126 h 148"/>
              <a:gd name="T60" fmla="*/ 87 w 131"/>
              <a:gd name="T61" fmla="*/ 110 h 148"/>
              <a:gd name="T62" fmla="*/ 81 w 131"/>
              <a:gd name="T63" fmla="*/ 104 h 148"/>
              <a:gd name="T64" fmla="*/ 72 w 131"/>
              <a:gd name="T65" fmla="*/ 95 h 148"/>
              <a:gd name="T66" fmla="*/ 66 w 131"/>
              <a:gd name="T67" fmla="*/ 84 h 148"/>
              <a:gd name="T68" fmla="*/ 62 w 131"/>
              <a:gd name="T69" fmla="*/ 76 h 148"/>
              <a:gd name="T70" fmla="*/ 59 w 131"/>
              <a:gd name="T71" fmla="*/ 73 h 148"/>
              <a:gd name="T72" fmla="*/ 53 w 131"/>
              <a:gd name="T73" fmla="*/ 67 h 148"/>
              <a:gd name="T74" fmla="*/ 45 w 131"/>
              <a:gd name="T75" fmla="*/ 57 h 148"/>
              <a:gd name="T76" fmla="*/ 38 w 131"/>
              <a:gd name="T77" fmla="*/ 49 h 148"/>
              <a:gd name="T78" fmla="*/ 31 w 131"/>
              <a:gd name="T79" fmla="*/ 46 h 148"/>
              <a:gd name="T80" fmla="*/ 28 w 131"/>
              <a:gd name="T81" fmla="*/ 43 h 148"/>
              <a:gd name="T82" fmla="*/ 20 w 131"/>
              <a:gd name="T83" fmla="*/ 36 h 148"/>
              <a:gd name="T84" fmla="*/ 13 w 131"/>
              <a:gd name="T85" fmla="*/ 24 h 148"/>
              <a:gd name="T86" fmla="*/ 6 w 131"/>
              <a:gd name="T87" fmla="*/ 18 h 148"/>
              <a:gd name="T88" fmla="*/ 8 w 131"/>
              <a:gd name="T89" fmla="*/ 15 h 148"/>
              <a:gd name="T90" fmla="*/ 12 w 131"/>
              <a:gd name="T91" fmla="*/ 16 h 148"/>
              <a:gd name="T92" fmla="*/ 14 w 131"/>
              <a:gd name="T93" fmla="*/ 15 h 148"/>
              <a:gd name="T94" fmla="*/ 12 w 131"/>
              <a:gd name="T95" fmla="*/ 13 h 148"/>
              <a:gd name="T96" fmla="*/ 14 w 131"/>
              <a:gd name="T97" fmla="*/ 11 h 148"/>
              <a:gd name="T98" fmla="*/ 6 w 131"/>
              <a:gd name="T99" fmla="*/ 6 h 148"/>
              <a:gd name="T100" fmla="*/ 0 w 131"/>
              <a:gd name="T101" fmla="*/ 2 h 148"/>
              <a:gd name="T102" fmla="*/ 1 w 131"/>
              <a:gd name="T103" fmla="*/ 2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31" h="148">
                <a:moveTo>
                  <a:pt x="2" y="0"/>
                </a:moveTo>
                <a:lnTo>
                  <a:pt x="2" y="0"/>
                </a:lnTo>
                <a:lnTo>
                  <a:pt x="4" y="0"/>
                </a:lnTo>
                <a:lnTo>
                  <a:pt x="10" y="4"/>
                </a:lnTo>
                <a:lnTo>
                  <a:pt x="16" y="10"/>
                </a:lnTo>
                <a:lnTo>
                  <a:pt x="21" y="15"/>
                </a:lnTo>
                <a:lnTo>
                  <a:pt x="29" y="21"/>
                </a:lnTo>
                <a:lnTo>
                  <a:pt x="35" y="27"/>
                </a:lnTo>
                <a:lnTo>
                  <a:pt x="40" y="31"/>
                </a:lnTo>
                <a:lnTo>
                  <a:pt x="42" y="35"/>
                </a:lnTo>
                <a:lnTo>
                  <a:pt x="41" y="36"/>
                </a:lnTo>
                <a:lnTo>
                  <a:pt x="44" y="39"/>
                </a:lnTo>
                <a:lnTo>
                  <a:pt x="49" y="44"/>
                </a:lnTo>
                <a:lnTo>
                  <a:pt x="52" y="46"/>
                </a:lnTo>
                <a:lnTo>
                  <a:pt x="54" y="49"/>
                </a:lnTo>
                <a:lnTo>
                  <a:pt x="54" y="49"/>
                </a:lnTo>
                <a:lnTo>
                  <a:pt x="59" y="51"/>
                </a:lnTo>
                <a:lnTo>
                  <a:pt x="62" y="55"/>
                </a:lnTo>
                <a:lnTo>
                  <a:pt x="63" y="56"/>
                </a:lnTo>
                <a:lnTo>
                  <a:pt x="75" y="66"/>
                </a:lnTo>
                <a:lnTo>
                  <a:pt x="91" y="79"/>
                </a:lnTo>
                <a:lnTo>
                  <a:pt x="94" y="84"/>
                </a:lnTo>
                <a:lnTo>
                  <a:pt x="99" y="87"/>
                </a:lnTo>
                <a:lnTo>
                  <a:pt x="103" y="90"/>
                </a:lnTo>
                <a:lnTo>
                  <a:pt x="107" y="94"/>
                </a:lnTo>
                <a:lnTo>
                  <a:pt x="112" y="96"/>
                </a:lnTo>
                <a:lnTo>
                  <a:pt x="114" y="98"/>
                </a:lnTo>
                <a:lnTo>
                  <a:pt x="103" y="91"/>
                </a:lnTo>
                <a:lnTo>
                  <a:pt x="99" y="89"/>
                </a:lnTo>
                <a:lnTo>
                  <a:pt x="93" y="88"/>
                </a:lnTo>
                <a:lnTo>
                  <a:pt x="89" y="87"/>
                </a:lnTo>
                <a:lnTo>
                  <a:pt x="86" y="88"/>
                </a:lnTo>
                <a:lnTo>
                  <a:pt x="84" y="90"/>
                </a:lnTo>
                <a:lnTo>
                  <a:pt x="86" y="94"/>
                </a:lnTo>
                <a:lnTo>
                  <a:pt x="87" y="97"/>
                </a:lnTo>
                <a:lnTo>
                  <a:pt x="89" y="100"/>
                </a:lnTo>
                <a:lnTo>
                  <a:pt x="93" y="109"/>
                </a:lnTo>
                <a:lnTo>
                  <a:pt x="95" y="114"/>
                </a:lnTo>
                <a:lnTo>
                  <a:pt x="99" y="117"/>
                </a:lnTo>
                <a:lnTo>
                  <a:pt x="103" y="121"/>
                </a:lnTo>
                <a:lnTo>
                  <a:pt x="111" y="126"/>
                </a:lnTo>
                <a:lnTo>
                  <a:pt x="113" y="128"/>
                </a:lnTo>
                <a:lnTo>
                  <a:pt x="115" y="130"/>
                </a:lnTo>
                <a:lnTo>
                  <a:pt x="117" y="131"/>
                </a:lnTo>
                <a:lnTo>
                  <a:pt x="121" y="132"/>
                </a:lnTo>
                <a:lnTo>
                  <a:pt x="122" y="132"/>
                </a:lnTo>
                <a:lnTo>
                  <a:pt x="123" y="134"/>
                </a:lnTo>
                <a:lnTo>
                  <a:pt x="129" y="139"/>
                </a:lnTo>
                <a:lnTo>
                  <a:pt x="131" y="142"/>
                </a:lnTo>
                <a:lnTo>
                  <a:pt x="131" y="146"/>
                </a:lnTo>
                <a:lnTo>
                  <a:pt x="123" y="137"/>
                </a:lnTo>
                <a:lnTo>
                  <a:pt x="114" y="135"/>
                </a:lnTo>
                <a:lnTo>
                  <a:pt x="111" y="135"/>
                </a:lnTo>
                <a:lnTo>
                  <a:pt x="111" y="137"/>
                </a:lnTo>
                <a:lnTo>
                  <a:pt x="113" y="145"/>
                </a:lnTo>
                <a:lnTo>
                  <a:pt x="114" y="148"/>
                </a:lnTo>
                <a:lnTo>
                  <a:pt x="110" y="146"/>
                </a:lnTo>
                <a:lnTo>
                  <a:pt x="105" y="140"/>
                </a:lnTo>
                <a:lnTo>
                  <a:pt x="101" y="135"/>
                </a:lnTo>
                <a:lnTo>
                  <a:pt x="95" y="126"/>
                </a:lnTo>
                <a:lnTo>
                  <a:pt x="87" y="113"/>
                </a:lnTo>
                <a:lnTo>
                  <a:pt x="87" y="110"/>
                </a:lnTo>
                <a:lnTo>
                  <a:pt x="85" y="107"/>
                </a:lnTo>
                <a:lnTo>
                  <a:pt x="81" y="104"/>
                </a:lnTo>
                <a:lnTo>
                  <a:pt x="75" y="99"/>
                </a:lnTo>
                <a:lnTo>
                  <a:pt x="72" y="95"/>
                </a:lnTo>
                <a:lnTo>
                  <a:pt x="71" y="91"/>
                </a:lnTo>
                <a:lnTo>
                  <a:pt x="66" y="84"/>
                </a:lnTo>
                <a:lnTo>
                  <a:pt x="61" y="77"/>
                </a:lnTo>
                <a:lnTo>
                  <a:pt x="62" y="76"/>
                </a:lnTo>
                <a:lnTo>
                  <a:pt x="60" y="75"/>
                </a:lnTo>
                <a:lnTo>
                  <a:pt x="59" y="73"/>
                </a:lnTo>
                <a:lnTo>
                  <a:pt x="55" y="69"/>
                </a:lnTo>
                <a:lnTo>
                  <a:pt x="53" y="67"/>
                </a:lnTo>
                <a:lnTo>
                  <a:pt x="50" y="64"/>
                </a:lnTo>
                <a:lnTo>
                  <a:pt x="45" y="57"/>
                </a:lnTo>
                <a:lnTo>
                  <a:pt x="44" y="55"/>
                </a:lnTo>
                <a:lnTo>
                  <a:pt x="38" y="49"/>
                </a:lnTo>
                <a:lnTo>
                  <a:pt x="33" y="47"/>
                </a:lnTo>
                <a:lnTo>
                  <a:pt x="31" y="46"/>
                </a:lnTo>
                <a:lnTo>
                  <a:pt x="30" y="45"/>
                </a:lnTo>
                <a:lnTo>
                  <a:pt x="28" y="43"/>
                </a:lnTo>
                <a:lnTo>
                  <a:pt x="23" y="39"/>
                </a:lnTo>
                <a:lnTo>
                  <a:pt x="20" y="36"/>
                </a:lnTo>
                <a:lnTo>
                  <a:pt x="18" y="30"/>
                </a:lnTo>
                <a:lnTo>
                  <a:pt x="13" y="24"/>
                </a:lnTo>
                <a:lnTo>
                  <a:pt x="10" y="20"/>
                </a:lnTo>
                <a:lnTo>
                  <a:pt x="6" y="18"/>
                </a:lnTo>
                <a:lnTo>
                  <a:pt x="6" y="16"/>
                </a:lnTo>
                <a:lnTo>
                  <a:pt x="8" y="15"/>
                </a:lnTo>
                <a:lnTo>
                  <a:pt x="10" y="15"/>
                </a:lnTo>
                <a:lnTo>
                  <a:pt x="12" y="16"/>
                </a:lnTo>
                <a:lnTo>
                  <a:pt x="15" y="16"/>
                </a:lnTo>
                <a:lnTo>
                  <a:pt x="14" y="15"/>
                </a:lnTo>
                <a:lnTo>
                  <a:pt x="13" y="14"/>
                </a:lnTo>
                <a:lnTo>
                  <a:pt x="12" y="13"/>
                </a:lnTo>
                <a:lnTo>
                  <a:pt x="14" y="13"/>
                </a:lnTo>
                <a:lnTo>
                  <a:pt x="14" y="11"/>
                </a:lnTo>
                <a:lnTo>
                  <a:pt x="11" y="9"/>
                </a:lnTo>
                <a:lnTo>
                  <a:pt x="6" y="6"/>
                </a:lnTo>
                <a:lnTo>
                  <a:pt x="1" y="3"/>
                </a:lnTo>
                <a:lnTo>
                  <a:pt x="0" y="2"/>
                </a:lnTo>
                <a:lnTo>
                  <a:pt x="0" y="2"/>
                </a:lnTo>
                <a:lnTo>
                  <a:pt x="1" y="2"/>
                </a:lnTo>
                <a:lnTo>
                  <a:pt x="2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36" name="Freeform 535"/>
          <p:cNvSpPr>
            <a:spLocks/>
          </p:cNvSpPr>
          <p:nvPr/>
        </p:nvSpPr>
        <p:spPr bwMode="auto">
          <a:xfrm>
            <a:off x="7270750" y="1998628"/>
            <a:ext cx="17462" cy="15875"/>
          </a:xfrm>
          <a:custGeom>
            <a:avLst/>
            <a:gdLst>
              <a:gd name="T0" fmla="*/ 2 w 11"/>
              <a:gd name="T1" fmla="*/ 7 h 10"/>
              <a:gd name="T2" fmla="*/ 3 w 11"/>
              <a:gd name="T3" fmla="*/ 8 h 10"/>
              <a:gd name="T4" fmla="*/ 3 w 11"/>
              <a:gd name="T5" fmla="*/ 7 h 10"/>
              <a:gd name="T6" fmla="*/ 6 w 11"/>
              <a:gd name="T7" fmla="*/ 8 h 10"/>
              <a:gd name="T8" fmla="*/ 9 w 11"/>
              <a:gd name="T9" fmla="*/ 9 h 10"/>
              <a:gd name="T10" fmla="*/ 11 w 11"/>
              <a:gd name="T11" fmla="*/ 10 h 10"/>
              <a:gd name="T12" fmla="*/ 11 w 11"/>
              <a:gd name="T13" fmla="*/ 8 h 10"/>
              <a:gd name="T14" fmla="*/ 11 w 11"/>
              <a:gd name="T15" fmla="*/ 7 h 10"/>
              <a:gd name="T16" fmla="*/ 10 w 11"/>
              <a:gd name="T17" fmla="*/ 4 h 10"/>
              <a:gd name="T18" fmla="*/ 10 w 11"/>
              <a:gd name="T19" fmla="*/ 2 h 10"/>
              <a:gd name="T20" fmla="*/ 6 w 11"/>
              <a:gd name="T21" fmla="*/ 1 h 10"/>
              <a:gd name="T22" fmla="*/ 0 w 11"/>
              <a:gd name="T23" fmla="*/ 0 h 10"/>
              <a:gd name="T24" fmla="*/ 2 w 11"/>
              <a:gd name="T25" fmla="*/ 4 h 10"/>
              <a:gd name="T26" fmla="*/ 2 w 11"/>
              <a:gd name="T27" fmla="*/ 7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1" h="10">
                <a:moveTo>
                  <a:pt x="2" y="7"/>
                </a:moveTo>
                <a:lnTo>
                  <a:pt x="3" y="8"/>
                </a:lnTo>
                <a:lnTo>
                  <a:pt x="3" y="7"/>
                </a:lnTo>
                <a:lnTo>
                  <a:pt x="6" y="8"/>
                </a:lnTo>
                <a:lnTo>
                  <a:pt x="9" y="9"/>
                </a:lnTo>
                <a:lnTo>
                  <a:pt x="11" y="10"/>
                </a:lnTo>
                <a:lnTo>
                  <a:pt x="11" y="8"/>
                </a:lnTo>
                <a:lnTo>
                  <a:pt x="11" y="7"/>
                </a:lnTo>
                <a:lnTo>
                  <a:pt x="10" y="4"/>
                </a:lnTo>
                <a:lnTo>
                  <a:pt x="10" y="2"/>
                </a:lnTo>
                <a:lnTo>
                  <a:pt x="6" y="1"/>
                </a:lnTo>
                <a:lnTo>
                  <a:pt x="0" y="0"/>
                </a:lnTo>
                <a:lnTo>
                  <a:pt x="2" y="4"/>
                </a:lnTo>
                <a:lnTo>
                  <a:pt x="2" y="7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37" name="Freeform 536"/>
          <p:cNvSpPr>
            <a:spLocks/>
          </p:cNvSpPr>
          <p:nvPr/>
        </p:nvSpPr>
        <p:spPr bwMode="auto">
          <a:xfrm>
            <a:off x="7270750" y="1998628"/>
            <a:ext cx="17462" cy="15875"/>
          </a:xfrm>
          <a:custGeom>
            <a:avLst/>
            <a:gdLst>
              <a:gd name="T0" fmla="*/ 2 w 11"/>
              <a:gd name="T1" fmla="*/ 7 h 10"/>
              <a:gd name="T2" fmla="*/ 3 w 11"/>
              <a:gd name="T3" fmla="*/ 8 h 10"/>
              <a:gd name="T4" fmla="*/ 3 w 11"/>
              <a:gd name="T5" fmla="*/ 7 h 10"/>
              <a:gd name="T6" fmla="*/ 6 w 11"/>
              <a:gd name="T7" fmla="*/ 8 h 10"/>
              <a:gd name="T8" fmla="*/ 9 w 11"/>
              <a:gd name="T9" fmla="*/ 9 h 10"/>
              <a:gd name="T10" fmla="*/ 11 w 11"/>
              <a:gd name="T11" fmla="*/ 10 h 10"/>
              <a:gd name="T12" fmla="*/ 11 w 11"/>
              <a:gd name="T13" fmla="*/ 8 h 10"/>
              <a:gd name="T14" fmla="*/ 11 w 11"/>
              <a:gd name="T15" fmla="*/ 7 h 10"/>
              <a:gd name="T16" fmla="*/ 10 w 11"/>
              <a:gd name="T17" fmla="*/ 4 h 10"/>
              <a:gd name="T18" fmla="*/ 10 w 11"/>
              <a:gd name="T19" fmla="*/ 2 h 10"/>
              <a:gd name="T20" fmla="*/ 6 w 11"/>
              <a:gd name="T21" fmla="*/ 1 h 10"/>
              <a:gd name="T22" fmla="*/ 0 w 11"/>
              <a:gd name="T23" fmla="*/ 0 h 10"/>
              <a:gd name="T24" fmla="*/ 2 w 11"/>
              <a:gd name="T25" fmla="*/ 4 h 10"/>
              <a:gd name="T26" fmla="*/ 2 w 11"/>
              <a:gd name="T27" fmla="*/ 7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1" h="10">
                <a:moveTo>
                  <a:pt x="2" y="7"/>
                </a:moveTo>
                <a:lnTo>
                  <a:pt x="3" y="8"/>
                </a:lnTo>
                <a:lnTo>
                  <a:pt x="3" y="7"/>
                </a:lnTo>
                <a:lnTo>
                  <a:pt x="6" y="8"/>
                </a:lnTo>
                <a:lnTo>
                  <a:pt x="9" y="9"/>
                </a:lnTo>
                <a:lnTo>
                  <a:pt x="11" y="10"/>
                </a:lnTo>
                <a:lnTo>
                  <a:pt x="11" y="8"/>
                </a:lnTo>
                <a:lnTo>
                  <a:pt x="11" y="7"/>
                </a:lnTo>
                <a:lnTo>
                  <a:pt x="10" y="4"/>
                </a:lnTo>
                <a:lnTo>
                  <a:pt x="10" y="2"/>
                </a:lnTo>
                <a:lnTo>
                  <a:pt x="6" y="1"/>
                </a:lnTo>
                <a:lnTo>
                  <a:pt x="0" y="0"/>
                </a:lnTo>
                <a:lnTo>
                  <a:pt x="2" y="4"/>
                </a:lnTo>
                <a:lnTo>
                  <a:pt x="2" y="7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38" name="Freeform 537"/>
          <p:cNvSpPr>
            <a:spLocks/>
          </p:cNvSpPr>
          <p:nvPr/>
        </p:nvSpPr>
        <p:spPr bwMode="auto">
          <a:xfrm>
            <a:off x="7708900" y="1890678"/>
            <a:ext cx="22225" cy="19050"/>
          </a:xfrm>
          <a:custGeom>
            <a:avLst/>
            <a:gdLst>
              <a:gd name="T0" fmla="*/ 6 w 14"/>
              <a:gd name="T1" fmla="*/ 0 h 12"/>
              <a:gd name="T2" fmla="*/ 6 w 14"/>
              <a:gd name="T3" fmla="*/ 1 h 12"/>
              <a:gd name="T4" fmla="*/ 1 w 14"/>
              <a:gd name="T5" fmla="*/ 2 h 12"/>
              <a:gd name="T6" fmla="*/ 0 w 14"/>
              <a:gd name="T7" fmla="*/ 4 h 12"/>
              <a:gd name="T8" fmla="*/ 3 w 14"/>
              <a:gd name="T9" fmla="*/ 5 h 12"/>
              <a:gd name="T10" fmla="*/ 5 w 14"/>
              <a:gd name="T11" fmla="*/ 7 h 12"/>
              <a:gd name="T12" fmla="*/ 7 w 14"/>
              <a:gd name="T13" fmla="*/ 12 h 12"/>
              <a:gd name="T14" fmla="*/ 8 w 14"/>
              <a:gd name="T15" fmla="*/ 9 h 12"/>
              <a:gd name="T16" fmla="*/ 10 w 14"/>
              <a:gd name="T17" fmla="*/ 7 h 12"/>
              <a:gd name="T18" fmla="*/ 14 w 14"/>
              <a:gd name="T19" fmla="*/ 6 h 12"/>
              <a:gd name="T20" fmla="*/ 14 w 14"/>
              <a:gd name="T21" fmla="*/ 4 h 12"/>
              <a:gd name="T22" fmla="*/ 10 w 14"/>
              <a:gd name="T23" fmla="*/ 1 h 12"/>
              <a:gd name="T24" fmla="*/ 7 w 14"/>
              <a:gd name="T25" fmla="*/ 0 h 12"/>
              <a:gd name="T26" fmla="*/ 6 w 14"/>
              <a:gd name="T27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4" h="12">
                <a:moveTo>
                  <a:pt x="6" y="0"/>
                </a:moveTo>
                <a:lnTo>
                  <a:pt x="6" y="1"/>
                </a:lnTo>
                <a:lnTo>
                  <a:pt x="1" y="2"/>
                </a:lnTo>
                <a:lnTo>
                  <a:pt x="0" y="4"/>
                </a:lnTo>
                <a:lnTo>
                  <a:pt x="3" y="5"/>
                </a:lnTo>
                <a:lnTo>
                  <a:pt x="5" y="7"/>
                </a:lnTo>
                <a:lnTo>
                  <a:pt x="7" y="12"/>
                </a:lnTo>
                <a:lnTo>
                  <a:pt x="8" y="9"/>
                </a:lnTo>
                <a:lnTo>
                  <a:pt x="10" y="7"/>
                </a:lnTo>
                <a:lnTo>
                  <a:pt x="14" y="6"/>
                </a:lnTo>
                <a:lnTo>
                  <a:pt x="14" y="4"/>
                </a:lnTo>
                <a:lnTo>
                  <a:pt x="10" y="1"/>
                </a:lnTo>
                <a:lnTo>
                  <a:pt x="7" y="0"/>
                </a:lnTo>
                <a:lnTo>
                  <a:pt x="6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39" name="Freeform 538"/>
          <p:cNvSpPr>
            <a:spLocks/>
          </p:cNvSpPr>
          <p:nvPr/>
        </p:nvSpPr>
        <p:spPr bwMode="auto">
          <a:xfrm>
            <a:off x="7708900" y="1890678"/>
            <a:ext cx="22225" cy="19050"/>
          </a:xfrm>
          <a:custGeom>
            <a:avLst/>
            <a:gdLst>
              <a:gd name="T0" fmla="*/ 6 w 14"/>
              <a:gd name="T1" fmla="*/ 0 h 12"/>
              <a:gd name="T2" fmla="*/ 6 w 14"/>
              <a:gd name="T3" fmla="*/ 1 h 12"/>
              <a:gd name="T4" fmla="*/ 1 w 14"/>
              <a:gd name="T5" fmla="*/ 2 h 12"/>
              <a:gd name="T6" fmla="*/ 0 w 14"/>
              <a:gd name="T7" fmla="*/ 4 h 12"/>
              <a:gd name="T8" fmla="*/ 3 w 14"/>
              <a:gd name="T9" fmla="*/ 5 h 12"/>
              <a:gd name="T10" fmla="*/ 5 w 14"/>
              <a:gd name="T11" fmla="*/ 7 h 12"/>
              <a:gd name="T12" fmla="*/ 7 w 14"/>
              <a:gd name="T13" fmla="*/ 12 h 12"/>
              <a:gd name="T14" fmla="*/ 8 w 14"/>
              <a:gd name="T15" fmla="*/ 9 h 12"/>
              <a:gd name="T16" fmla="*/ 10 w 14"/>
              <a:gd name="T17" fmla="*/ 7 h 12"/>
              <a:gd name="T18" fmla="*/ 14 w 14"/>
              <a:gd name="T19" fmla="*/ 6 h 12"/>
              <a:gd name="T20" fmla="*/ 14 w 14"/>
              <a:gd name="T21" fmla="*/ 4 h 12"/>
              <a:gd name="T22" fmla="*/ 10 w 14"/>
              <a:gd name="T23" fmla="*/ 1 h 12"/>
              <a:gd name="T24" fmla="*/ 7 w 14"/>
              <a:gd name="T25" fmla="*/ 0 h 12"/>
              <a:gd name="T26" fmla="*/ 6 w 14"/>
              <a:gd name="T27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4" h="12">
                <a:moveTo>
                  <a:pt x="6" y="0"/>
                </a:moveTo>
                <a:lnTo>
                  <a:pt x="6" y="1"/>
                </a:lnTo>
                <a:lnTo>
                  <a:pt x="1" y="2"/>
                </a:lnTo>
                <a:lnTo>
                  <a:pt x="0" y="4"/>
                </a:lnTo>
                <a:lnTo>
                  <a:pt x="3" y="5"/>
                </a:lnTo>
                <a:lnTo>
                  <a:pt x="5" y="7"/>
                </a:lnTo>
                <a:lnTo>
                  <a:pt x="7" y="12"/>
                </a:lnTo>
                <a:lnTo>
                  <a:pt x="8" y="9"/>
                </a:lnTo>
                <a:lnTo>
                  <a:pt x="10" y="7"/>
                </a:lnTo>
                <a:lnTo>
                  <a:pt x="14" y="6"/>
                </a:lnTo>
                <a:lnTo>
                  <a:pt x="14" y="4"/>
                </a:lnTo>
                <a:lnTo>
                  <a:pt x="10" y="1"/>
                </a:lnTo>
                <a:lnTo>
                  <a:pt x="7" y="0"/>
                </a:lnTo>
                <a:lnTo>
                  <a:pt x="6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40" name="Freeform 539"/>
          <p:cNvSpPr>
            <a:spLocks/>
          </p:cNvSpPr>
          <p:nvPr/>
        </p:nvSpPr>
        <p:spPr bwMode="auto">
          <a:xfrm>
            <a:off x="7786688" y="2116103"/>
            <a:ext cx="3175" cy="7938"/>
          </a:xfrm>
          <a:custGeom>
            <a:avLst/>
            <a:gdLst>
              <a:gd name="T0" fmla="*/ 1 w 2"/>
              <a:gd name="T1" fmla="*/ 1 h 5"/>
              <a:gd name="T2" fmla="*/ 0 w 2"/>
              <a:gd name="T3" fmla="*/ 0 h 5"/>
              <a:gd name="T4" fmla="*/ 0 w 2"/>
              <a:gd name="T5" fmla="*/ 3 h 5"/>
              <a:gd name="T6" fmla="*/ 0 w 2"/>
              <a:gd name="T7" fmla="*/ 4 h 5"/>
              <a:gd name="T8" fmla="*/ 1 w 2"/>
              <a:gd name="T9" fmla="*/ 5 h 5"/>
              <a:gd name="T10" fmla="*/ 2 w 2"/>
              <a:gd name="T11" fmla="*/ 5 h 5"/>
              <a:gd name="T12" fmla="*/ 2 w 2"/>
              <a:gd name="T13" fmla="*/ 3 h 5"/>
              <a:gd name="T14" fmla="*/ 1 w 2"/>
              <a:gd name="T15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5">
                <a:moveTo>
                  <a:pt x="1" y="1"/>
                </a:moveTo>
                <a:lnTo>
                  <a:pt x="0" y="0"/>
                </a:lnTo>
                <a:lnTo>
                  <a:pt x="0" y="3"/>
                </a:lnTo>
                <a:lnTo>
                  <a:pt x="0" y="4"/>
                </a:lnTo>
                <a:lnTo>
                  <a:pt x="1" y="5"/>
                </a:lnTo>
                <a:lnTo>
                  <a:pt x="2" y="5"/>
                </a:lnTo>
                <a:lnTo>
                  <a:pt x="2" y="3"/>
                </a:lnTo>
                <a:lnTo>
                  <a:pt x="1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41" name="Freeform 540"/>
          <p:cNvSpPr>
            <a:spLocks/>
          </p:cNvSpPr>
          <p:nvPr/>
        </p:nvSpPr>
        <p:spPr bwMode="auto">
          <a:xfrm>
            <a:off x="7786688" y="2116103"/>
            <a:ext cx="3175" cy="7938"/>
          </a:xfrm>
          <a:custGeom>
            <a:avLst/>
            <a:gdLst>
              <a:gd name="T0" fmla="*/ 1 w 2"/>
              <a:gd name="T1" fmla="*/ 1 h 5"/>
              <a:gd name="T2" fmla="*/ 0 w 2"/>
              <a:gd name="T3" fmla="*/ 0 h 5"/>
              <a:gd name="T4" fmla="*/ 0 w 2"/>
              <a:gd name="T5" fmla="*/ 3 h 5"/>
              <a:gd name="T6" fmla="*/ 0 w 2"/>
              <a:gd name="T7" fmla="*/ 4 h 5"/>
              <a:gd name="T8" fmla="*/ 1 w 2"/>
              <a:gd name="T9" fmla="*/ 5 h 5"/>
              <a:gd name="T10" fmla="*/ 2 w 2"/>
              <a:gd name="T11" fmla="*/ 5 h 5"/>
              <a:gd name="T12" fmla="*/ 2 w 2"/>
              <a:gd name="T13" fmla="*/ 3 h 5"/>
              <a:gd name="T14" fmla="*/ 1 w 2"/>
              <a:gd name="T15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5">
                <a:moveTo>
                  <a:pt x="1" y="1"/>
                </a:moveTo>
                <a:lnTo>
                  <a:pt x="0" y="0"/>
                </a:lnTo>
                <a:lnTo>
                  <a:pt x="0" y="3"/>
                </a:lnTo>
                <a:lnTo>
                  <a:pt x="0" y="4"/>
                </a:lnTo>
                <a:lnTo>
                  <a:pt x="1" y="5"/>
                </a:lnTo>
                <a:lnTo>
                  <a:pt x="2" y="5"/>
                </a:lnTo>
                <a:lnTo>
                  <a:pt x="2" y="3"/>
                </a:lnTo>
                <a:lnTo>
                  <a:pt x="1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42" name="Freeform 541"/>
          <p:cNvSpPr>
            <a:spLocks/>
          </p:cNvSpPr>
          <p:nvPr/>
        </p:nvSpPr>
        <p:spPr bwMode="auto">
          <a:xfrm>
            <a:off x="7775575" y="2122453"/>
            <a:ext cx="14287" cy="19050"/>
          </a:xfrm>
          <a:custGeom>
            <a:avLst/>
            <a:gdLst>
              <a:gd name="T0" fmla="*/ 4 w 9"/>
              <a:gd name="T1" fmla="*/ 0 h 12"/>
              <a:gd name="T2" fmla="*/ 4 w 9"/>
              <a:gd name="T3" fmla="*/ 1 h 12"/>
              <a:gd name="T4" fmla="*/ 4 w 9"/>
              <a:gd name="T5" fmla="*/ 4 h 12"/>
              <a:gd name="T6" fmla="*/ 4 w 9"/>
              <a:gd name="T7" fmla="*/ 5 h 12"/>
              <a:gd name="T8" fmla="*/ 2 w 9"/>
              <a:gd name="T9" fmla="*/ 6 h 12"/>
              <a:gd name="T10" fmla="*/ 2 w 9"/>
              <a:gd name="T11" fmla="*/ 7 h 12"/>
              <a:gd name="T12" fmla="*/ 0 w 9"/>
              <a:gd name="T13" fmla="*/ 7 h 12"/>
              <a:gd name="T14" fmla="*/ 0 w 9"/>
              <a:gd name="T15" fmla="*/ 9 h 12"/>
              <a:gd name="T16" fmla="*/ 3 w 9"/>
              <a:gd name="T17" fmla="*/ 11 h 12"/>
              <a:gd name="T18" fmla="*/ 5 w 9"/>
              <a:gd name="T19" fmla="*/ 12 h 12"/>
              <a:gd name="T20" fmla="*/ 6 w 9"/>
              <a:gd name="T21" fmla="*/ 9 h 12"/>
              <a:gd name="T22" fmla="*/ 8 w 9"/>
              <a:gd name="T23" fmla="*/ 9 h 12"/>
              <a:gd name="T24" fmla="*/ 9 w 9"/>
              <a:gd name="T25" fmla="*/ 6 h 12"/>
              <a:gd name="T26" fmla="*/ 8 w 9"/>
              <a:gd name="T27" fmla="*/ 4 h 12"/>
              <a:gd name="T28" fmla="*/ 8 w 9"/>
              <a:gd name="T29" fmla="*/ 3 h 12"/>
              <a:gd name="T30" fmla="*/ 7 w 9"/>
              <a:gd name="T31" fmla="*/ 1 h 12"/>
              <a:gd name="T32" fmla="*/ 5 w 9"/>
              <a:gd name="T33" fmla="*/ 0 h 12"/>
              <a:gd name="T34" fmla="*/ 4 w 9"/>
              <a:gd name="T35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9" h="12">
                <a:moveTo>
                  <a:pt x="4" y="0"/>
                </a:moveTo>
                <a:lnTo>
                  <a:pt x="4" y="1"/>
                </a:lnTo>
                <a:lnTo>
                  <a:pt x="4" y="4"/>
                </a:lnTo>
                <a:lnTo>
                  <a:pt x="4" y="5"/>
                </a:lnTo>
                <a:lnTo>
                  <a:pt x="2" y="6"/>
                </a:lnTo>
                <a:lnTo>
                  <a:pt x="2" y="7"/>
                </a:lnTo>
                <a:lnTo>
                  <a:pt x="0" y="7"/>
                </a:lnTo>
                <a:lnTo>
                  <a:pt x="0" y="9"/>
                </a:lnTo>
                <a:lnTo>
                  <a:pt x="3" y="11"/>
                </a:lnTo>
                <a:lnTo>
                  <a:pt x="5" y="12"/>
                </a:lnTo>
                <a:lnTo>
                  <a:pt x="6" y="9"/>
                </a:lnTo>
                <a:lnTo>
                  <a:pt x="8" y="9"/>
                </a:lnTo>
                <a:lnTo>
                  <a:pt x="9" y="6"/>
                </a:lnTo>
                <a:lnTo>
                  <a:pt x="8" y="4"/>
                </a:lnTo>
                <a:lnTo>
                  <a:pt x="8" y="3"/>
                </a:lnTo>
                <a:lnTo>
                  <a:pt x="7" y="1"/>
                </a:lnTo>
                <a:lnTo>
                  <a:pt x="5" y="0"/>
                </a:lnTo>
                <a:lnTo>
                  <a:pt x="4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43" name="Freeform 542"/>
          <p:cNvSpPr>
            <a:spLocks/>
          </p:cNvSpPr>
          <p:nvPr/>
        </p:nvSpPr>
        <p:spPr bwMode="auto">
          <a:xfrm>
            <a:off x="7775575" y="2122453"/>
            <a:ext cx="14287" cy="19050"/>
          </a:xfrm>
          <a:custGeom>
            <a:avLst/>
            <a:gdLst>
              <a:gd name="T0" fmla="*/ 4 w 9"/>
              <a:gd name="T1" fmla="*/ 0 h 12"/>
              <a:gd name="T2" fmla="*/ 4 w 9"/>
              <a:gd name="T3" fmla="*/ 1 h 12"/>
              <a:gd name="T4" fmla="*/ 4 w 9"/>
              <a:gd name="T5" fmla="*/ 4 h 12"/>
              <a:gd name="T6" fmla="*/ 4 w 9"/>
              <a:gd name="T7" fmla="*/ 5 h 12"/>
              <a:gd name="T8" fmla="*/ 2 w 9"/>
              <a:gd name="T9" fmla="*/ 6 h 12"/>
              <a:gd name="T10" fmla="*/ 2 w 9"/>
              <a:gd name="T11" fmla="*/ 7 h 12"/>
              <a:gd name="T12" fmla="*/ 0 w 9"/>
              <a:gd name="T13" fmla="*/ 7 h 12"/>
              <a:gd name="T14" fmla="*/ 0 w 9"/>
              <a:gd name="T15" fmla="*/ 9 h 12"/>
              <a:gd name="T16" fmla="*/ 3 w 9"/>
              <a:gd name="T17" fmla="*/ 11 h 12"/>
              <a:gd name="T18" fmla="*/ 5 w 9"/>
              <a:gd name="T19" fmla="*/ 12 h 12"/>
              <a:gd name="T20" fmla="*/ 6 w 9"/>
              <a:gd name="T21" fmla="*/ 9 h 12"/>
              <a:gd name="T22" fmla="*/ 8 w 9"/>
              <a:gd name="T23" fmla="*/ 9 h 12"/>
              <a:gd name="T24" fmla="*/ 9 w 9"/>
              <a:gd name="T25" fmla="*/ 6 h 12"/>
              <a:gd name="T26" fmla="*/ 8 w 9"/>
              <a:gd name="T27" fmla="*/ 4 h 12"/>
              <a:gd name="T28" fmla="*/ 8 w 9"/>
              <a:gd name="T29" fmla="*/ 3 h 12"/>
              <a:gd name="T30" fmla="*/ 7 w 9"/>
              <a:gd name="T31" fmla="*/ 1 h 12"/>
              <a:gd name="T32" fmla="*/ 5 w 9"/>
              <a:gd name="T33" fmla="*/ 0 h 12"/>
              <a:gd name="T34" fmla="*/ 4 w 9"/>
              <a:gd name="T35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9" h="12">
                <a:moveTo>
                  <a:pt x="4" y="0"/>
                </a:moveTo>
                <a:lnTo>
                  <a:pt x="4" y="1"/>
                </a:lnTo>
                <a:lnTo>
                  <a:pt x="4" y="4"/>
                </a:lnTo>
                <a:lnTo>
                  <a:pt x="4" y="5"/>
                </a:lnTo>
                <a:lnTo>
                  <a:pt x="2" y="6"/>
                </a:lnTo>
                <a:lnTo>
                  <a:pt x="2" y="7"/>
                </a:lnTo>
                <a:lnTo>
                  <a:pt x="0" y="7"/>
                </a:lnTo>
                <a:lnTo>
                  <a:pt x="0" y="9"/>
                </a:lnTo>
                <a:lnTo>
                  <a:pt x="3" y="11"/>
                </a:lnTo>
                <a:lnTo>
                  <a:pt x="5" y="12"/>
                </a:lnTo>
                <a:lnTo>
                  <a:pt x="6" y="9"/>
                </a:lnTo>
                <a:lnTo>
                  <a:pt x="8" y="9"/>
                </a:lnTo>
                <a:lnTo>
                  <a:pt x="9" y="6"/>
                </a:lnTo>
                <a:lnTo>
                  <a:pt x="8" y="4"/>
                </a:lnTo>
                <a:lnTo>
                  <a:pt x="8" y="3"/>
                </a:lnTo>
                <a:lnTo>
                  <a:pt x="7" y="1"/>
                </a:lnTo>
                <a:lnTo>
                  <a:pt x="5" y="0"/>
                </a:lnTo>
                <a:lnTo>
                  <a:pt x="4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44" name="Freeform 543"/>
          <p:cNvSpPr>
            <a:spLocks/>
          </p:cNvSpPr>
          <p:nvPr/>
        </p:nvSpPr>
        <p:spPr bwMode="auto">
          <a:xfrm>
            <a:off x="7780338" y="2152615"/>
            <a:ext cx="4762" cy="7938"/>
          </a:xfrm>
          <a:custGeom>
            <a:avLst/>
            <a:gdLst>
              <a:gd name="T0" fmla="*/ 0 w 3"/>
              <a:gd name="T1" fmla="*/ 0 h 5"/>
              <a:gd name="T2" fmla="*/ 1 w 3"/>
              <a:gd name="T3" fmla="*/ 4 h 5"/>
              <a:gd name="T4" fmla="*/ 2 w 3"/>
              <a:gd name="T5" fmla="*/ 5 h 5"/>
              <a:gd name="T6" fmla="*/ 3 w 3"/>
              <a:gd name="T7" fmla="*/ 4 h 5"/>
              <a:gd name="T8" fmla="*/ 2 w 3"/>
              <a:gd name="T9" fmla="*/ 2 h 5"/>
              <a:gd name="T10" fmla="*/ 0 w 3"/>
              <a:gd name="T11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5">
                <a:moveTo>
                  <a:pt x="0" y="0"/>
                </a:moveTo>
                <a:lnTo>
                  <a:pt x="1" y="4"/>
                </a:lnTo>
                <a:lnTo>
                  <a:pt x="2" y="5"/>
                </a:lnTo>
                <a:lnTo>
                  <a:pt x="3" y="4"/>
                </a:lnTo>
                <a:lnTo>
                  <a:pt x="2" y="2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45" name="Freeform 544"/>
          <p:cNvSpPr>
            <a:spLocks/>
          </p:cNvSpPr>
          <p:nvPr/>
        </p:nvSpPr>
        <p:spPr bwMode="auto">
          <a:xfrm>
            <a:off x="7780338" y="2152615"/>
            <a:ext cx="4762" cy="7938"/>
          </a:xfrm>
          <a:custGeom>
            <a:avLst/>
            <a:gdLst>
              <a:gd name="T0" fmla="*/ 0 w 3"/>
              <a:gd name="T1" fmla="*/ 0 h 5"/>
              <a:gd name="T2" fmla="*/ 1 w 3"/>
              <a:gd name="T3" fmla="*/ 4 h 5"/>
              <a:gd name="T4" fmla="*/ 2 w 3"/>
              <a:gd name="T5" fmla="*/ 5 h 5"/>
              <a:gd name="T6" fmla="*/ 3 w 3"/>
              <a:gd name="T7" fmla="*/ 4 h 5"/>
              <a:gd name="T8" fmla="*/ 2 w 3"/>
              <a:gd name="T9" fmla="*/ 2 h 5"/>
              <a:gd name="T10" fmla="*/ 0 w 3"/>
              <a:gd name="T11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5">
                <a:moveTo>
                  <a:pt x="0" y="0"/>
                </a:moveTo>
                <a:lnTo>
                  <a:pt x="1" y="4"/>
                </a:lnTo>
                <a:lnTo>
                  <a:pt x="2" y="5"/>
                </a:lnTo>
                <a:lnTo>
                  <a:pt x="3" y="4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46" name="Freeform 545"/>
          <p:cNvSpPr>
            <a:spLocks/>
          </p:cNvSpPr>
          <p:nvPr/>
        </p:nvSpPr>
        <p:spPr bwMode="auto">
          <a:xfrm>
            <a:off x="7783513" y="2173253"/>
            <a:ext cx="3175" cy="3175"/>
          </a:xfrm>
          <a:custGeom>
            <a:avLst/>
            <a:gdLst>
              <a:gd name="T0" fmla="*/ 0 w 2"/>
              <a:gd name="T1" fmla="*/ 0 h 2"/>
              <a:gd name="T2" fmla="*/ 1 w 2"/>
              <a:gd name="T3" fmla="*/ 2 h 2"/>
              <a:gd name="T4" fmla="*/ 2 w 2"/>
              <a:gd name="T5" fmla="*/ 1 h 2"/>
              <a:gd name="T6" fmla="*/ 1 w 2"/>
              <a:gd name="T7" fmla="*/ 0 h 2"/>
              <a:gd name="T8" fmla="*/ 0 w 2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1" y="2"/>
                </a:lnTo>
                <a:lnTo>
                  <a:pt x="2" y="1"/>
                </a:lnTo>
                <a:lnTo>
                  <a:pt x="1" y="0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47" name="Freeform 546"/>
          <p:cNvSpPr>
            <a:spLocks/>
          </p:cNvSpPr>
          <p:nvPr/>
        </p:nvSpPr>
        <p:spPr bwMode="auto">
          <a:xfrm>
            <a:off x="7783513" y="2173253"/>
            <a:ext cx="3175" cy="3175"/>
          </a:xfrm>
          <a:custGeom>
            <a:avLst/>
            <a:gdLst>
              <a:gd name="T0" fmla="*/ 0 w 2"/>
              <a:gd name="T1" fmla="*/ 0 h 2"/>
              <a:gd name="T2" fmla="*/ 1 w 2"/>
              <a:gd name="T3" fmla="*/ 2 h 2"/>
              <a:gd name="T4" fmla="*/ 2 w 2"/>
              <a:gd name="T5" fmla="*/ 1 h 2"/>
              <a:gd name="T6" fmla="*/ 1 w 2"/>
              <a:gd name="T7" fmla="*/ 0 h 2"/>
              <a:gd name="T8" fmla="*/ 0 w 2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1" y="2"/>
                </a:lnTo>
                <a:lnTo>
                  <a:pt x="2" y="1"/>
                </a:lnTo>
                <a:lnTo>
                  <a:pt x="1" y="0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48" name="Freeform 547"/>
          <p:cNvSpPr>
            <a:spLocks/>
          </p:cNvSpPr>
          <p:nvPr/>
        </p:nvSpPr>
        <p:spPr bwMode="auto">
          <a:xfrm>
            <a:off x="7775575" y="2222465"/>
            <a:ext cx="6350" cy="7938"/>
          </a:xfrm>
          <a:custGeom>
            <a:avLst/>
            <a:gdLst>
              <a:gd name="T0" fmla="*/ 3 w 4"/>
              <a:gd name="T1" fmla="*/ 0 h 5"/>
              <a:gd name="T2" fmla="*/ 4 w 4"/>
              <a:gd name="T3" fmla="*/ 1 h 5"/>
              <a:gd name="T4" fmla="*/ 3 w 4"/>
              <a:gd name="T5" fmla="*/ 4 h 5"/>
              <a:gd name="T6" fmla="*/ 2 w 4"/>
              <a:gd name="T7" fmla="*/ 5 h 5"/>
              <a:gd name="T8" fmla="*/ 0 w 4"/>
              <a:gd name="T9" fmla="*/ 5 h 5"/>
              <a:gd name="T10" fmla="*/ 0 w 4"/>
              <a:gd name="T11" fmla="*/ 3 h 5"/>
              <a:gd name="T12" fmla="*/ 2 w 4"/>
              <a:gd name="T13" fmla="*/ 2 h 5"/>
              <a:gd name="T14" fmla="*/ 2 w 4"/>
              <a:gd name="T15" fmla="*/ 0 h 5"/>
              <a:gd name="T16" fmla="*/ 3 w 4"/>
              <a:gd name="T17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5">
                <a:moveTo>
                  <a:pt x="3" y="0"/>
                </a:moveTo>
                <a:lnTo>
                  <a:pt x="4" y="1"/>
                </a:lnTo>
                <a:lnTo>
                  <a:pt x="3" y="4"/>
                </a:lnTo>
                <a:lnTo>
                  <a:pt x="2" y="5"/>
                </a:lnTo>
                <a:lnTo>
                  <a:pt x="0" y="5"/>
                </a:lnTo>
                <a:lnTo>
                  <a:pt x="0" y="3"/>
                </a:lnTo>
                <a:lnTo>
                  <a:pt x="2" y="2"/>
                </a:lnTo>
                <a:lnTo>
                  <a:pt x="2" y="0"/>
                </a:lnTo>
                <a:lnTo>
                  <a:pt x="3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49" name="Freeform 548"/>
          <p:cNvSpPr>
            <a:spLocks/>
          </p:cNvSpPr>
          <p:nvPr/>
        </p:nvSpPr>
        <p:spPr bwMode="auto">
          <a:xfrm>
            <a:off x="7775575" y="2222465"/>
            <a:ext cx="6350" cy="7938"/>
          </a:xfrm>
          <a:custGeom>
            <a:avLst/>
            <a:gdLst>
              <a:gd name="T0" fmla="*/ 3 w 4"/>
              <a:gd name="T1" fmla="*/ 0 h 5"/>
              <a:gd name="T2" fmla="*/ 4 w 4"/>
              <a:gd name="T3" fmla="*/ 1 h 5"/>
              <a:gd name="T4" fmla="*/ 3 w 4"/>
              <a:gd name="T5" fmla="*/ 4 h 5"/>
              <a:gd name="T6" fmla="*/ 2 w 4"/>
              <a:gd name="T7" fmla="*/ 5 h 5"/>
              <a:gd name="T8" fmla="*/ 0 w 4"/>
              <a:gd name="T9" fmla="*/ 5 h 5"/>
              <a:gd name="T10" fmla="*/ 0 w 4"/>
              <a:gd name="T11" fmla="*/ 3 h 5"/>
              <a:gd name="T12" fmla="*/ 2 w 4"/>
              <a:gd name="T13" fmla="*/ 2 h 5"/>
              <a:gd name="T14" fmla="*/ 2 w 4"/>
              <a:gd name="T15" fmla="*/ 0 h 5"/>
              <a:gd name="T16" fmla="*/ 3 w 4"/>
              <a:gd name="T17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5">
                <a:moveTo>
                  <a:pt x="3" y="0"/>
                </a:moveTo>
                <a:lnTo>
                  <a:pt x="4" y="1"/>
                </a:lnTo>
                <a:lnTo>
                  <a:pt x="3" y="4"/>
                </a:lnTo>
                <a:lnTo>
                  <a:pt x="2" y="5"/>
                </a:lnTo>
                <a:lnTo>
                  <a:pt x="0" y="5"/>
                </a:lnTo>
                <a:lnTo>
                  <a:pt x="0" y="3"/>
                </a:lnTo>
                <a:lnTo>
                  <a:pt x="2" y="2"/>
                </a:lnTo>
                <a:lnTo>
                  <a:pt x="2" y="0"/>
                </a:lnTo>
                <a:lnTo>
                  <a:pt x="3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50" name="Freeform 549"/>
          <p:cNvSpPr>
            <a:spLocks/>
          </p:cNvSpPr>
          <p:nvPr/>
        </p:nvSpPr>
        <p:spPr bwMode="auto">
          <a:xfrm>
            <a:off x="7750175" y="2246278"/>
            <a:ext cx="12700" cy="20638"/>
          </a:xfrm>
          <a:custGeom>
            <a:avLst/>
            <a:gdLst>
              <a:gd name="T0" fmla="*/ 6 w 8"/>
              <a:gd name="T1" fmla="*/ 2 h 13"/>
              <a:gd name="T2" fmla="*/ 8 w 8"/>
              <a:gd name="T3" fmla="*/ 3 h 13"/>
              <a:gd name="T4" fmla="*/ 5 w 8"/>
              <a:gd name="T5" fmla="*/ 9 h 13"/>
              <a:gd name="T6" fmla="*/ 3 w 8"/>
              <a:gd name="T7" fmla="*/ 12 h 13"/>
              <a:gd name="T8" fmla="*/ 1 w 8"/>
              <a:gd name="T9" fmla="*/ 13 h 13"/>
              <a:gd name="T10" fmla="*/ 0 w 8"/>
              <a:gd name="T11" fmla="*/ 9 h 13"/>
              <a:gd name="T12" fmla="*/ 2 w 8"/>
              <a:gd name="T13" fmla="*/ 4 h 13"/>
              <a:gd name="T14" fmla="*/ 4 w 8"/>
              <a:gd name="T15" fmla="*/ 0 h 13"/>
              <a:gd name="T16" fmla="*/ 5 w 8"/>
              <a:gd name="T17" fmla="*/ 0 h 13"/>
              <a:gd name="T18" fmla="*/ 6 w 8"/>
              <a:gd name="T19" fmla="*/ 2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" h="13">
                <a:moveTo>
                  <a:pt x="6" y="2"/>
                </a:moveTo>
                <a:lnTo>
                  <a:pt x="8" y="3"/>
                </a:lnTo>
                <a:lnTo>
                  <a:pt x="5" y="9"/>
                </a:lnTo>
                <a:lnTo>
                  <a:pt x="3" y="12"/>
                </a:lnTo>
                <a:lnTo>
                  <a:pt x="1" y="13"/>
                </a:lnTo>
                <a:lnTo>
                  <a:pt x="0" y="9"/>
                </a:lnTo>
                <a:lnTo>
                  <a:pt x="2" y="4"/>
                </a:lnTo>
                <a:lnTo>
                  <a:pt x="4" y="0"/>
                </a:lnTo>
                <a:lnTo>
                  <a:pt x="5" y="0"/>
                </a:lnTo>
                <a:lnTo>
                  <a:pt x="6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51" name="Freeform 550"/>
          <p:cNvSpPr>
            <a:spLocks/>
          </p:cNvSpPr>
          <p:nvPr/>
        </p:nvSpPr>
        <p:spPr bwMode="auto">
          <a:xfrm>
            <a:off x="7750175" y="2246278"/>
            <a:ext cx="12700" cy="20638"/>
          </a:xfrm>
          <a:custGeom>
            <a:avLst/>
            <a:gdLst>
              <a:gd name="T0" fmla="*/ 6 w 8"/>
              <a:gd name="T1" fmla="*/ 2 h 13"/>
              <a:gd name="T2" fmla="*/ 8 w 8"/>
              <a:gd name="T3" fmla="*/ 3 h 13"/>
              <a:gd name="T4" fmla="*/ 5 w 8"/>
              <a:gd name="T5" fmla="*/ 9 h 13"/>
              <a:gd name="T6" fmla="*/ 3 w 8"/>
              <a:gd name="T7" fmla="*/ 12 h 13"/>
              <a:gd name="T8" fmla="*/ 1 w 8"/>
              <a:gd name="T9" fmla="*/ 13 h 13"/>
              <a:gd name="T10" fmla="*/ 0 w 8"/>
              <a:gd name="T11" fmla="*/ 9 h 13"/>
              <a:gd name="T12" fmla="*/ 2 w 8"/>
              <a:gd name="T13" fmla="*/ 4 h 13"/>
              <a:gd name="T14" fmla="*/ 4 w 8"/>
              <a:gd name="T15" fmla="*/ 0 h 13"/>
              <a:gd name="T16" fmla="*/ 5 w 8"/>
              <a:gd name="T17" fmla="*/ 0 h 13"/>
              <a:gd name="T18" fmla="*/ 6 w 8"/>
              <a:gd name="T19" fmla="*/ 2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8" h="13">
                <a:moveTo>
                  <a:pt x="6" y="2"/>
                </a:moveTo>
                <a:lnTo>
                  <a:pt x="8" y="3"/>
                </a:lnTo>
                <a:lnTo>
                  <a:pt x="5" y="9"/>
                </a:lnTo>
                <a:lnTo>
                  <a:pt x="3" y="12"/>
                </a:lnTo>
                <a:lnTo>
                  <a:pt x="1" y="13"/>
                </a:lnTo>
                <a:lnTo>
                  <a:pt x="0" y="9"/>
                </a:lnTo>
                <a:lnTo>
                  <a:pt x="2" y="4"/>
                </a:lnTo>
                <a:lnTo>
                  <a:pt x="4" y="0"/>
                </a:lnTo>
                <a:lnTo>
                  <a:pt x="5" y="0"/>
                </a:lnTo>
                <a:lnTo>
                  <a:pt x="6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52" name="Freeform 551"/>
          <p:cNvSpPr>
            <a:spLocks/>
          </p:cNvSpPr>
          <p:nvPr/>
        </p:nvSpPr>
        <p:spPr bwMode="auto">
          <a:xfrm>
            <a:off x="7715250" y="2268503"/>
            <a:ext cx="25400" cy="30163"/>
          </a:xfrm>
          <a:custGeom>
            <a:avLst/>
            <a:gdLst>
              <a:gd name="T0" fmla="*/ 16 w 16"/>
              <a:gd name="T1" fmla="*/ 2 h 19"/>
              <a:gd name="T2" fmla="*/ 15 w 16"/>
              <a:gd name="T3" fmla="*/ 1 h 19"/>
              <a:gd name="T4" fmla="*/ 16 w 16"/>
              <a:gd name="T5" fmla="*/ 2 h 19"/>
              <a:gd name="T6" fmla="*/ 14 w 16"/>
              <a:gd name="T7" fmla="*/ 4 h 19"/>
              <a:gd name="T8" fmla="*/ 9 w 16"/>
              <a:gd name="T9" fmla="*/ 10 h 19"/>
              <a:gd name="T10" fmla="*/ 6 w 16"/>
              <a:gd name="T11" fmla="*/ 10 h 19"/>
              <a:gd name="T12" fmla="*/ 6 w 16"/>
              <a:gd name="T13" fmla="*/ 11 h 19"/>
              <a:gd name="T14" fmla="*/ 6 w 16"/>
              <a:gd name="T15" fmla="*/ 13 h 19"/>
              <a:gd name="T16" fmla="*/ 4 w 16"/>
              <a:gd name="T17" fmla="*/ 15 h 19"/>
              <a:gd name="T18" fmla="*/ 3 w 16"/>
              <a:gd name="T19" fmla="*/ 19 h 19"/>
              <a:gd name="T20" fmla="*/ 1 w 16"/>
              <a:gd name="T21" fmla="*/ 19 h 19"/>
              <a:gd name="T22" fmla="*/ 1 w 16"/>
              <a:gd name="T23" fmla="*/ 16 h 19"/>
              <a:gd name="T24" fmla="*/ 1 w 16"/>
              <a:gd name="T25" fmla="*/ 15 h 19"/>
              <a:gd name="T26" fmla="*/ 0 w 16"/>
              <a:gd name="T27" fmla="*/ 13 h 19"/>
              <a:gd name="T28" fmla="*/ 1 w 16"/>
              <a:gd name="T29" fmla="*/ 12 h 19"/>
              <a:gd name="T30" fmla="*/ 2 w 16"/>
              <a:gd name="T31" fmla="*/ 9 h 19"/>
              <a:gd name="T32" fmla="*/ 2 w 16"/>
              <a:gd name="T33" fmla="*/ 6 h 19"/>
              <a:gd name="T34" fmla="*/ 4 w 16"/>
              <a:gd name="T35" fmla="*/ 5 h 19"/>
              <a:gd name="T36" fmla="*/ 3 w 16"/>
              <a:gd name="T37" fmla="*/ 3 h 19"/>
              <a:gd name="T38" fmla="*/ 4 w 16"/>
              <a:gd name="T39" fmla="*/ 3 h 19"/>
              <a:gd name="T40" fmla="*/ 6 w 16"/>
              <a:gd name="T41" fmla="*/ 3 h 19"/>
              <a:gd name="T42" fmla="*/ 7 w 16"/>
              <a:gd name="T43" fmla="*/ 4 h 19"/>
              <a:gd name="T44" fmla="*/ 9 w 16"/>
              <a:gd name="T45" fmla="*/ 4 h 19"/>
              <a:gd name="T46" fmla="*/ 11 w 16"/>
              <a:gd name="T47" fmla="*/ 2 h 19"/>
              <a:gd name="T48" fmla="*/ 11 w 16"/>
              <a:gd name="T49" fmla="*/ 0 h 19"/>
              <a:gd name="T50" fmla="*/ 13 w 16"/>
              <a:gd name="T51" fmla="*/ 0 h 19"/>
              <a:gd name="T52" fmla="*/ 15 w 16"/>
              <a:gd name="T53" fmla="*/ 0 h 19"/>
              <a:gd name="T54" fmla="*/ 16 w 16"/>
              <a:gd name="T55" fmla="*/ 2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6" h="19">
                <a:moveTo>
                  <a:pt x="16" y="2"/>
                </a:moveTo>
                <a:lnTo>
                  <a:pt x="15" y="1"/>
                </a:lnTo>
                <a:lnTo>
                  <a:pt x="16" y="2"/>
                </a:lnTo>
                <a:lnTo>
                  <a:pt x="14" y="4"/>
                </a:lnTo>
                <a:lnTo>
                  <a:pt x="9" y="10"/>
                </a:lnTo>
                <a:lnTo>
                  <a:pt x="6" y="10"/>
                </a:lnTo>
                <a:lnTo>
                  <a:pt x="6" y="11"/>
                </a:lnTo>
                <a:lnTo>
                  <a:pt x="6" y="13"/>
                </a:lnTo>
                <a:lnTo>
                  <a:pt x="4" y="15"/>
                </a:lnTo>
                <a:lnTo>
                  <a:pt x="3" y="19"/>
                </a:lnTo>
                <a:lnTo>
                  <a:pt x="1" y="19"/>
                </a:lnTo>
                <a:lnTo>
                  <a:pt x="1" y="16"/>
                </a:lnTo>
                <a:lnTo>
                  <a:pt x="1" y="15"/>
                </a:lnTo>
                <a:lnTo>
                  <a:pt x="0" y="13"/>
                </a:lnTo>
                <a:lnTo>
                  <a:pt x="1" y="12"/>
                </a:lnTo>
                <a:lnTo>
                  <a:pt x="2" y="9"/>
                </a:lnTo>
                <a:lnTo>
                  <a:pt x="2" y="6"/>
                </a:lnTo>
                <a:lnTo>
                  <a:pt x="4" y="5"/>
                </a:lnTo>
                <a:lnTo>
                  <a:pt x="3" y="3"/>
                </a:lnTo>
                <a:lnTo>
                  <a:pt x="4" y="3"/>
                </a:lnTo>
                <a:lnTo>
                  <a:pt x="6" y="3"/>
                </a:lnTo>
                <a:lnTo>
                  <a:pt x="7" y="4"/>
                </a:lnTo>
                <a:lnTo>
                  <a:pt x="9" y="4"/>
                </a:lnTo>
                <a:lnTo>
                  <a:pt x="11" y="2"/>
                </a:lnTo>
                <a:lnTo>
                  <a:pt x="11" y="0"/>
                </a:lnTo>
                <a:lnTo>
                  <a:pt x="13" y="0"/>
                </a:lnTo>
                <a:lnTo>
                  <a:pt x="15" y="0"/>
                </a:lnTo>
                <a:lnTo>
                  <a:pt x="16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53" name="Freeform 552"/>
          <p:cNvSpPr>
            <a:spLocks/>
          </p:cNvSpPr>
          <p:nvPr/>
        </p:nvSpPr>
        <p:spPr bwMode="auto">
          <a:xfrm>
            <a:off x="7715250" y="2268503"/>
            <a:ext cx="25400" cy="30163"/>
          </a:xfrm>
          <a:custGeom>
            <a:avLst/>
            <a:gdLst>
              <a:gd name="T0" fmla="*/ 16 w 16"/>
              <a:gd name="T1" fmla="*/ 2 h 19"/>
              <a:gd name="T2" fmla="*/ 15 w 16"/>
              <a:gd name="T3" fmla="*/ 1 h 19"/>
              <a:gd name="T4" fmla="*/ 16 w 16"/>
              <a:gd name="T5" fmla="*/ 2 h 19"/>
              <a:gd name="T6" fmla="*/ 14 w 16"/>
              <a:gd name="T7" fmla="*/ 4 h 19"/>
              <a:gd name="T8" fmla="*/ 9 w 16"/>
              <a:gd name="T9" fmla="*/ 10 h 19"/>
              <a:gd name="T10" fmla="*/ 6 w 16"/>
              <a:gd name="T11" fmla="*/ 10 h 19"/>
              <a:gd name="T12" fmla="*/ 6 w 16"/>
              <a:gd name="T13" fmla="*/ 11 h 19"/>
              <a:gd name="T14" fmla="*/ 6 w 16"/>
              <a:gd name="T15" fmla="*/ 13 h 19"/>
              <a:gd name="T16" fmla="*/ 4 w 16"/>
              <a:gd name="T17" fmla="*/ 15 h 19"/>
              <a:gd name="T18" fmla="*/ 3 w 16"/>
              <a:gd name="T19" fmla="*/ 19 h 19"/>
              <a:gd name="T20" fmla="*/ 1 w 16"/>
              <a:gd name="T21" fmla="*/ 19 h 19"/>
              <a:gd name="T22" fmla="*/ 1 w 16"/>
              <a:gd name="T23" fmla="*/ 16 h 19"/>
              <a:gd name="T24" fmla="*/ 1 w 16"/>
              <a:gd name="T25" fmla="*/ 15 h 19"/>
              <a:gd name="T26" fmla="*/ 0 w 16"/>
              <a:gd name="T27" fmla="*/ 13 h 19"/>
              <a:gd name="T28" fmla="*/ 1 w 16"/>
              <a:gd name="T29" fmla="*/ 12 h 19"/>
              <a:gd name="T30" fmla="*/ 2 w 16"/>
              <a:gd name="T31" fmla="*/ 9 h 19"/>
              <a:gd name="T32" fmla="*/ 2 w 16"/>
              <a:gd name="T33" fmla="*/ 6 h 19"/>
              <a:gd name="T34" fmla="*/ 4 w 16"/>
              <a:gd name="T35" fmla="*/ 5 h 19"/>
              <a:gd name="T36" fmla="*/ 3 w 16"/>
              <a:gd name="T37" fmla="*/ 3 h 19"/>
              <a:gd name="T38" fmla="*/ 4 w 16"/>
              <a:gd name="T39" fmla="*/ 3 h 19"/>
              <a:gd name="T40" fmla="*/ 6 w 16"/>
              <a:gd name="T41" fmla="*/ 3 h 19"/>
              <a:gd name="T42" fmla="*/ 7 w 16"/>
              <a:gd name="T43" fmla="*/ 4 h 19"/>
              <a:gd name="T44" fmla="*/ 9 w 16"/>
              <a:gd name="T45" fmla="*/ 4 h 19"/>
              <a:gd name="T46" fmla="*/ 11 w 16"/>
              <a:gd name="T47" fmla="*/ 2 h 19"/>
              <a:gd name="T48" fmla="*/ 11 w 16"/>
              <a:gd name="T49" fmla="*/ 0 h 19"/>
              <a:gd name="T50" fmla="*/ 13 w 16"/>
              <a:gd name="T51" fmla="*/ 0 h 19"/>
              <a:gd name="T52" fmla="*/ 15 w 16"/>
              <a:gd name="T53" fmla="*/ 0 h 19"/>
              <a:gd name="T54" fmla="*/ 16 w 16"/>
              <a:gd name="T55" fmla="*/ 2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6" h="19">
                <a:moveTo>
                  <a:pt x="16" y="2"/>
                </a:moveTo>
                <a:lnTo>
                  <a:pt x="15" y="1"/>
                </a:lnTo>
                <a:lnTo>
                  <a:pt x="16" y="2"/>
                </a:lnTo>
                <a:lnTo>
                  <a:pt x="14" y="4"/>
                </a:lnTo>
                <a:lnTo>
                  <a:pt x="9" y="10"/>
                </a:lnTo>
                <a:lnTo>
                  <a:pt x="6" y="10"/>
                </a:lnTo>
                <a:lnTo>
                  <a:pt x="6" y="11"/>
                </a:lnTo>
                <a:lnTo>
                  <a:pt x="6" y="13"/>
                </a:lnTo>
                <a:lnTo>
                  <a:pt x="4" y="15"/>
                </a:lnTo>
                <a:lnTo>
                  <a:pt x="3" y="19"/>
                </a:lnTo>
                <a:lnTo>
                  <a:pt x="1" y="19"/>
                </a:lnTo>
                <a:lnTo>
                  <a:pt x="1" y="16"/>
                </a:lnTo>
                <a:lnTo>
                  <a:pt x="1" y="15"/>
                </a:lnTo>
                <a:lnTo>
                  <a:pt x="0" y="13"/>
                </a:lnTo>
                <a:lnTo>
                  <a:pt x="1" y="12"/>
                </a:lnTo>
                <a:lnTo>
                  <a:pt x="2" y="9"/>
                </a:lnTo>
                <a:lnTo>
                  <a:pt x="2" y="6"/>
                </a:lnTo>
                <a:lnTo>
                  <a:pt x="4" y="5"/>
                </a:lnTo>
                <a:lnTo>
                  <a:pt x="3" y="3"/>
                </a:lnTo>
                <a:lnTo>
                  <a:pt x="4" y="3"/>
                </a:lnTo>
                <a:lnTo>
                  <a:pt x="6" y="3"/>
                </a:lnTo>
                <a:lnTo>
                  <a:pt x="7" y="4"/>
                </a:lnTo>
                <a:lnTo>
                  <a:pt x="9" y="4"/>
                </a:lnTo>
                <a:lnTo>
                  <a:pt x="11" y="2"/>
                </a:lnTo>
                <a:lnTo>
                  <a:pt x="11" y="0"/>
                </a:lnTo>
                <a:lnTo>
                  <a:pt x="13" y="0"/>
                </a:lnTo>
                <a:lnTo>
                  <a:pt x="15" y="0"/>
                </a:lnTo>
                <a:lnTo>
                  <a:pt x="16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54" name="Freeform 553"/>
          <p:cNvSpPr>
            <a:spLocks/>
          </p:cNvSpPr>
          <p:nvPr/>
        </p:nvSpPr>
        <p:spPr bwMode="auto">
          <a:xfrm>
            <a:off x="7721600" y="2316128"/>
            <a:ext cx="7937" cy="3175"/>
          </a:xfrm>
          <a:custGeom>
            <a:avLst/>
            <a:gdLst>
              <a:gd name="T0" fmla="*/ 3 w 5"/>
              <a:gd name="T1" fmla="*/ 0 h 2"/>
              <a:gd name="T2" fmla="*/ 5 w 5"/>
              <a:gd name="T3" fmla="*/ 0 h 2"/>
              <a:gd name="T4" fmla="*/ 3 w 5"/>
              <a:gd name="T5" fmla="*/ 1 h 2"/>
              <a:gd name="T6" fmla="*/ 2 w 5"/>
              <a:gd name="T7" fmla="*/ 2 h 2"/>
              <a:gd name="T8" fmla="*/ 0 w 5"/>
              <a:gd name="T9" fmla="*/ 1 h 2"/>
              <a:gd name="T10" fmla="*/ 1 w 5"/>
              <a:gd name="T11" fmla="*/ 0 h 2"/>
              <a:gd name="T12" fmla="*/ 3 w 5"/>
              <a:gd name="T13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" h="2">
                <a:moveTo>
                  <a:pt x="3" y="0"/>
                </a:moveTo>
                <a:lnTo>
                  <a:pt x="5" y="0"/>
                </a:lnTo>
                <a:lnTo>
                  <a:pt x="3" y="1"/>
                </a:lnTo>
                <a:lnTo>
                  <a:pt x="2" y="2"/>
                </a:lnTo>
                <a:lnTo>
                  <a:pt x="0" y="1"/>
                </a:lnTo>
                <a:lnTo>
                  <a:pt x="1" y="0"/>
                </a:lnTo>
                <a:lnTo>
                  <a:pt x="3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55" name="Freeform 554"/>
          <p:cNvSpPr>
            <a:spLocks/>
          </p:cNvSpPr>
          <p:nvPr/>
        </p:nvSpPr>
        <p:spPr bwMode="auto">
          <a:xfrm>
            <a:off x="7721600" y="2316128"/>
            <a:ext cx="7937" cy="3175"/>
          </a:xfrm>
          <a:custGeom>
            <a:avLst/>
            <a:gdLst>
              <a:gd name="T0" fmla="*/ 3 w 5"/>
              <a:gd name="T1" fmla="*/ 0 h 2"/>
              <a:gd name="T2" fmla="*/ 5 w 5"/>
              <a:gd name="T3" fmla="*/ 0 h 2"/>
              <a:gd name="T4" fmla="*/ 3 w 5"/>
              <a:gd name="T5" fmla="*/ 1 h 2"/>
              <a:gd name="T6" fmla="*/ 2 w 5"/>
              <a:gd name="T7" fmla="*/ 2 h 2"/>
              <a:gd name="T8" fmla="*/ 0 w 5"/>
              <a:gd name="T9" fmla="*/ 1 h 2"/>
              <a:gd name="T10" fmla="*/ 1 w 5"/>
              <a:gd name="T11" fmla="*/ 0 h 2"/>
              <a:gd name="T12" fmla="*/ 3 w 5"/>
              <a:gd name="T13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" h="2">
                <a:moveTo>
                  <a:pt x="3" y="0"/>
                </a:moveTo>
                <a:lnTo>
                  <a:pt x="5" y="0"/>
                </a:lnTo>
                <a:lnTo>
                  <a:pt x="3" y="1"/>
                </a:lnTo>
                <a:lnTo>
                  <a:pt x="2" y="2"/>
                </a:lnTo>
                <a:lnTo>
                  <a:pt x="0" y="1"/>
                </a:lnTo>
                <a:lnTo>
                  <a:pt x="1" y="0"/>
                </a:lnTo>
                <a:lnTo>
                  <a:pt x="3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56" name="Freeform 555"/>
          <p:cNvSpPr>
            <a:spLocks/>
          </p:cNvSpPr>
          <p:nvPr/>
        </p:nvSpPr>
        <p:spPr bwMode="auto">
          <a:xfrm>
            <a:off x="7694613" y="2297078"/>
            <a:ext cx="11112" cy="22225"/>
          </a:xfrm>
          <a:custGeom>
            <a:avLst/>
            <a:gdLst>
              <a:gd name="T0" fmla="*/ 2 w 7"/>
              <a:gd name="T1" fmla="*/ 1 h 14"/>
              <a:gd name="T2" fmla="*/ 2 w 7"/>
              <a:gd name="T3" fmla="*/ 0 h 14"/>
              <a:gd name="T4" fmla="*/ 5 w 7"/>
              <a:gd name="T5" fmla="*/ 2 h 14"/>
              <a:gd name="T6" fmla="*/ 7 w 7"/>
              <a:gd name="T7" fmla="*/ 3 h 14"/>
              <a:gd name="T8" fmla="*/ 6 w 7"/>
              <a:gd name="T9" fmla="*/ 4 h 14"/>
              <a:gd name="T10" fmla="*/ 3 w 7"/>
              <a:gd name="T11" fmla="*/ 12 h 14"/>
              <a:gd name="T12" fmla="*/ 3 w 7"/>
              <a:gd name="T13" fmla="*/ 14 h 14"/>
              <a:gd name="T14" fmla="*/ 0 w 7"/>
              <a:gd name="T15" fmla="*/ 12 h 14"/>
              <a:gd name="T16" fmla="*/ 2 w 7"/>
              <a:gd name="T17" fmla="*/ 4 h 14"/>
              <a:gd name="T18" fmla="*/ 2 w 7"/>
              <a:gd name="T19" fmla="*/ 1 h 14"/>
              <a:gd name="T20" fmla="*/ 2 w 7"/>
              <a:gd name="T21" fmla="*/ 1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" h="14">
                <a:moveTo>
                  <a:pt x="2" y="1"/>
                </a:moveTo>
                <a:lnTo>
                  <a:pt x="2" y="0"/>
                </a:lnTo>
                <a:lnTo>
                  <a:pt x="5" y="2"/>
                </a:lnTo>
                <a:lnTo>
                  <a:pt x="7" y="3"/>
                </a:lnTo>
                <a:lnTo>
                  <a:pt x="6" y="4"/>
                </a:lnTo>
                <a:lnTo>
                  <a:pt x="3" y="12"/>
                </a:lnTo>
                <a:lnTo>
                  <a:pt x="3" y="14"/>
                </a:lnTo>
                <a:lnTo>
                  <a:pt x="0" y="12"/>
                </a:lnTo>
                <a:lnTo>
                  <a:pt x="2" y="4"/>
                </a:lnTo>
                <a:lnTo>
                  <a:pt x="2" y="1"/>
                </a:lnTo>
                <a:lnTo>
                  <a:pt x="2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57" name="Freeform 556"/>
          <p:cNvSpPr>
            <a:spLocks/>
          </p:cNvSpPr>
          <p:nvPr/>
        </p:nvSpPr>
        <p:spPr bwMode="auto">
          <a:xfrm>
            <a:off x="7694613" y="2297078"/>
            <a:ext cx="11112" cy="22225"/>
          </a:xfrm>
          <a:custGeom>
            <a:avLst/>
            <a:gdLst>
              <a:gd name="T0" fmla="*/ 2 w 7"/>
              <a:gd name="T1" fmla="*/ 1 h 14"/>
              <a:gd name="T2" fmla="*/ 2 w 7"/>
              <a:gd name="T3" fmla="*/ 0 h 14"/>
              <a:gd name="T4" fmla="*/ 5 w 7"/>
              <a:gd name="T5" fmla="*/ 2 h 14"/>
              <a:gd name="T6" fmla="*/ 7 w 7"/>
              <a:gd name="T7" fmla="*/ 3 h 14"/>
              <a:gd name="T8" fmla="*/ 6 w 7"/>
              <a:gd name="T9" fmla="*/ 4 h 14"/>
              <a:gd name="T10" fmla="*/ 3 w 7"/>
              <a:gd name="T11" fmla="*/ 12 h 14"/>
              <a:gd name="T12" fmla="*/ 3 w 7"/>
              <a:gd name="T13" fmla="*/ 14 h 14"/>
              <a:gd name="T14" fmla="*/ 0 w 7"/>
              <a:gd name="T15" fmla="*/ 12 h 14"/>
              <a:gd name="T16" fmla="*/ 2 w 7"/>
              <a:gd name="T17" fmla="*/ 4 h 14"/>
              <a:gd name="T18" fmla="*/ 2 w 7"/>
              <a:gd name="T19" fmla="*/ 1 h 14"/>
              <a:gd name="T20" fmla="*/ 2 w 7"/>
              <a:gd name="T21" fmla="*/ 1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7" h="14">
                <a:moveTo>
                  <a:pt x="2" y="1"/>
                </a:moveTo>
                <a:lnTo>
                  <a:pt x="2" y="0"/>
                </a:lnTo>
                <a:lnTo>
                  <a:pt x="5" y="2"/>
                </a:lnTo>
                <a:lnTo>
                  <a:pt x="7" y="3"/>
                </a:lnTo>
                <a:lnTo>
                  <a:pt x="6" y="4"/>
                </a:lnTo>
                <a:lnTo>
                  <a:pt x="3" y="12"/>
                </a:lnTo>
                <a:lnTo>
                  <a:pt x="3" y="14"/>
                </a:lnTo>
                <a:lnTo>
                  <a:pt x="0" y="12"/>
                </a:lnTo>
                <a:lnTo>
                  <a:pt x="2" y="4"/>
                </a:lnTo>
                <a:lnTo>
                  <a:pt x="2" y="1"/>
                </a:lnTo>
                <a:lnTo>
                  <a:pt x="2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58" name="Freeform 557"/>
          <p:cNvSpPr>
            <a:spLocks/>
          </p:cNvSpPr>
          <p:nvPr/>
        </p:nvSpPr>
        <p:spPr bwMode="auto">
          <a:xfrm>
            <a:off x="5592763" y="1376328"/>
            <a:ext cx="22225" cy="1588"/>
          </a:xfrm>
          <a:custGeom>
            <a:avLst/>
            <a:gdLst>
              <a:gd name="T0" fmla="*/ 2 w 14"/>
              <a:gd name="T1" fmla="*/ 0 h 1"/>
              <a:gd name="T2" fmla="*/ 4 w 14"/>
              <a:gd name="T3" fmla="*/ 0 h 1"/>
              <a:gd name="T4" fmla="*/ 14 w 14"/>
              <a:gd name="T5" fmla="*/ 1 h 1"/>
              <a:gd name="T6" fmla="*/ 14 w 14"/>
              <a:gd name="T7" fmla="*/ 1 h 1"/>
              <a:gd name="T8" fmla="*/ 13 w 14"/>
              <a:gd name="T9" fmla="*/ 1 h 1"/>
              <a:gd name="T10" fmla="*/ 10 w 14"/>
              <a:gd name="T11" fmla="*/ 1 h 1"/>
              <a:gd name="T12" fmla="*/ 3 w 14"/>
              <a:gd name="T13" fmla="*/ 1 h 1"/>
              <a:gd name="T14" fmla="*/ 1 w 14"/>
              <a:gd name="T15" fmla="*/ 1 h 1"/>
              <a:gd name="T16" fmla="*/ 0 w 14"/>
              <a:gd name="T17" fmla="*/ 1 h 1"/>
              <a:gd name="T18" fmla="*/ 2 w 14"/>
              <a:gd name="T1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" h="1">
                <a:moveTo>
                  <a:pt x="2" y="0"/>
                </a:moveTo>
                <a:lnTo>
                  <a:pt x="4" y="0"/>
                </a:lnTo>
                <a:lnTo>
                  <a:pt x="14" y="1"/>
                </a:lnTo>
                <a:lnTo>
                  <a:pt x="14" y="1"/>
                </a:lnTo>
                <a:lnTo>
                  <a:pt x="13" y="1"/>
                </a:lnTo>
                <a:lnTo>
                  <a:pt x="10" y="1"/>
                </a:lnTo>
                <a:lnTo>
                  <a:pt x="3" y="1"/>
                </a:lnTo>
                <a:lnTo>
                  <a:pt x="1" y="1"/>
                </a:lnTo>
                <a:lnTo>
                  <a:pt x="0" y="1"/>
                </a:lnTo>
                <a:lnTo>
                  <a:pt x="2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59" name="Freeform 558"/>
          <p:cNvSpPr>
            <a:spLocks/>
          </p:cNvSpPr>
          <p:nvPr/>
        </p:nvSpPr>
        <p:spPr bwMode="auto">
          <a:xfrm>
            <a:off x="5592763" y="1376328"/>
            <a:ext cx="22225" cy="1588"/>
          </a:xfrm>
          <a:custGeom>
            <a:avLst/>
            <a:gdLst>
              <a:gd name="T0" fmla="*/ 2 w 14"/>
              <a:gd name="T1" fmla="*/ 0 h 1"/>
              <a:gd name="T2" fmla="*/ 4 w 14"/>
              <a:gd name="T3" fmla="*/ 0 h 1"/>
              <a:gd name="T4" fmla="*/ 14 w 14"/>
              <a:gd name="T5" fmla="*/ 1 h 1"/>
              <a:gd name="T6" fmla="*/ 14 w 14"/>
              <a:gd name="T7" fmla="*/ 1 h 1"/>
              <a:gd name="T8" fmla="*/ 13 w 14"/>
              <a:gd name="T9" fmla="*/ 1 h 1"/>
              <a:gd name="T10" fmla="*/ 10 w 14"/>
              <a:gd name="T11" fmla="*/ 1 h 1"/>
              <a:gd name="T12" fmla="*/ 3 w 14"/>
              <a:gd name="T13" fmla="*/ 1 h 1"/>
              <a:gd name="T14" fmla="*/ 1 w 14"/>
              <a:gd name="T15" fmla="*/ 1 h 1"/>
              <a:gd name="T16" fmla="*/ 0 w 14"/>
              <a:gd name="T17" fmla="*/ 1 h 1"/>
              <a:gd name="T18" fmla="*/ 2 w 14"/>
              <a:gd name="T1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" h="1">
                <a:moveTo>
                  <a:pt x="2" y="0"/>
                </a:moveTo>
                <a:lnTo>
                  <a:pt x="4" y="0"/>
                </a:lnTo>
                <a:lnTo>
                  <a:pt x="14" y="1"/>
                </a:lnTo>
                <a:lnTo>
                  <a:pt x="14" y="1"/>
                </a:lnTo>
                <a:lnTo>
                  <a:pt x="13" y="1"/>
                </a:lnTo>
                <a:lnTo>
                  <a:pt x="10" y="1"/>
                </a:lnTo>
                <a:lnTo>
                  <a:pt x="3" y="1"/>
                </a:lnTo>
                <a:lnTo>
                  <a:pt x="1" y="1"/>
                </a:lnTo>
                <a:lnTo>
                  <a:pt x="0" y="1"/>
                </a:lnTo>
                <a:lnTo>
                  <a:pt x="2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60" name="Freeform 559"/>
          <p:cNvSpPr>
            <a:spLocks/>
          </p:cNvSpPr>
          <p:nvPr/>
        </p:nvSpPr>
        <p:spPr bwMode="auto">
          <a:xfrm>
            <a:off x="5788025" y="1390615"/>
            <a:ext cx="46037" cy="9525"/>
          </a:xfrm>
          <a:custGeom>
            <a:avLst/>
            <a:gdLst>
              <a:gd name="T0" fmla="*/ 3 w 29"/>
              <a:gd name="T1" fmla="*/ 1 h 6"/>
              <a:gd name="T2" fmla="*/ 0 w 29"/>
              <a:gd name="T3" fmla="*/ 1 h 6"/>
              <a:gd name="T4" fmla="*/ 4 w 29"/>
              <a:gd name="T5" fmla="*/ 1 h 6"/>
              <a:gd name="T6" fmla="*/ 8 w 29"/>
              <a:gd name="T7" fmla="*/ 0 h 6"/>
              <a:gd name="T8" fmla="*/ 9 w 29"/>
              <a:gd name="T9" fmla="*/ 1 h 6"/>
              <a:gd name="T10" fmla="*/ 12 w 29"/>
              <a:gd name="T11" fmla="*/ 1 h 6"/>
              <a:gd name="T12" fmla="*/ 22 w 29"/>
              <a:gd name="T13" fmla="*/ 1 h 6"/>
              <a:gd name="T14" fmla="*/ 29 w 29"/>
              <a:gd name="T15" fmla="*/ 2 h 6"/>
              <a:gd name="T16" fmla="*/ 29 w 29"/>
              <a:gd name="T17" fmla="*/ 3 h 6"/>
              <a:gd name="T18" fmla="*/ 29 w 29"/>
              <a:gd name="T19" fmla="*/ 3 h 6"/>
              <a:gd name="T20" fmla="*/ 27 w 29"/>
              <a:gd name="T21" fmla="*/ 3 h 6"/>
              <a:gd name="T22" fmla="*/ 24 w 29"/>
              <a:gd name="T23" fmla="*/ 6 h 6"/>
              <a:gd name="T24" fmla="*/ 21 w 29"/>
              <a:gd name="T25" fmla="*/ 6 h 6"/>
              <a:gd name="T26" fmla="*/ 19 w 29"/>
              <a:gd name="T27" fmla="*/ 6 h 6"/>
              <a:gd name="T28" fmla="*/ 16 w 29"/>
              <a:gd name="T29" fmla="*/ 6 h 6"/>
              <a:gd name="T30" fmla="*/ 14 w 29"/>
              <a:gd name="T31" fmla="*/ 6 h 6"/>
              <a:gd name="T32" fmla="*/ 9 w 29"/>
              <a:gd name="T33" fmla="*/ 4 h 6"/>
              <a:gd name="T34" fmla="*/ 9 w 29"/>
              <a:gd name="T35" fmla="*/ 4 h 6"/>
              <a:gd name="T36" fmla="*/ 11 w 29"/>
              <a:gd name="T37" fmla="*/ 4 h 6"/>
              <a:gd name="T38" fmla="*/ 13 w 29"/>
              <a:gd name="T39" fmla="*/ 6 h 6"/>
              <a:gd name="T40" fmla="*/ 15 w 29"/>
              <a:gd name="T41" fmla="*/ 4 h 6"/>
              <a:gd name="T42" fmla="*/ 18 w 29"/>
              <a:gd name="T43" fmla="*/ 6 h 6"/>
              <a:gd name="T44" fmla="*/ 18 w 29"/>
              <a:gd name="T45" fmla="*/ 4 h 6"/>
              <a:gd name="T46" fmla="*/ 13 w 29"/>
              <a:gd name="T47" fmla="*/ 4 h 6"/>
              <a:gd name="T48" fmla="*/ 6 w 29"/>
              <a:gd name="T49" fmla="*/ 3 h 6"/>
              <a:gd name="T50" fmla="*/ 8 w 29"/>
              <a:gd name="T51" fmla="*/ 3 h 6"/>
              <a:gd name="T52" fmla="*/ 6 w 29"/>
              <a:gd name="T53" fmla="*/ 2 h 6"/>
              <a:gd name="T54" fmla="*/ 3 w 29"/>
              <a:gd name="T55" fmla="*/ 2 h 6"/>
              <a:gd name="T56" fmla="*/ 2 w 29"/>
              <a:gd name="T57" fmla="*/ 2 h 6"/>
              <a:gd name="T58" fmla="*/ 3 w 29"/>
              <a:gd name="T59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9" h="6">
                <a:moveTo>
                  <a:pt x="3" y="1"/>
                </a:moveTo>
                <a:lnTo>
                  <a:pt x="0" y="1"/>
                </a:lnTo>
                <a:lnTo>
                  <a:pt x="4" y="1"/>
                </a:lnTo>
                <a:lnTo>
                  <a:pt x="8" y="0"/>
                </a:lnTo>
                <a:lnTo>
                  <a:pt x="9" y="1"/>
                </a:lnTo>
                <a:lnTo>
                  <a:pt x="12" y="1"/>
                </a:lnTo>
                <a:lnTo>
                  <a:pt x="22" y="1"/>
                </a:lnTo>
                <a:lnTo>
                  <a:pt x="29" y="2"/>
                </a:lnTo>
                <a:lnTo>
                  <a:pt x="29" y="3"/>
                </a:lnTo>
                <a:lnTo>
                  <a:pt x="29" y="3"/>
                </a:lnTo>
                <a:lnTo>
                  <a:pt x="27" y="3"/>
                </a:lnTo>
                <a:lnTo>
                  <a:pt x="24" y="6"/>
                </a:lnTo>
                <a:lnTo>
                  <a:pt x="21" y="6"/>
                </a:lnTo>
                <a:lnTo>
                  <a:pt x="19" y="6"/>
                </a:lnTo>
                <a:lnTo>
                  <a:pt x="16" y="6"/>
                </a:lnTo>
                <a:lnTo>
                  <a:pt x="14" y="6"/>
                </a:lnTo>
                <a:lnTo>
                  <a:pt x="9" y="4"/>
                </a:lnTo>
                <a:lnTo>
                  <a:pt x="9" y="4"/>
                </a:lnTo>
                <a:lnTo>
                  <a:pt x="11" y="4"/>
                </a:lnTo>
                <a:lnTo>
                  <a:pt x="13" y="6"/>
                </a:lnTo>
                <a:lnTo>
                  <a:pt x="15" y="4"/>
                </a:lnTo>
                <a:lnTo>
                  <a:pt x="18" y="6"/>
                </a:lnTo>
                <a:lnTo>
                  <a:pt x="18" y="4"/>
                </a:lnTo>
                <a:lnTo>
                  <a:pt x="13" y="4"/>
                </a:lnTo>
                <a:lnTo>
                  <a:pt x="6" y="3"/>
                </a:lnTo>
                <a:lnTo>
                  <a:pt x="8" y="3"/>
                </a:lnTo>
                <a:lnTo>
                  <a:pt x="6" y="2"/>
                </a:lnTo>
                <a:lnTo>
                  <a:pt x="3" y="2"/>
                </a:lnTo>
                <a:lnTo>
                  <a:pt x="2" y="2"/>
                </a:lnTo>
                <a:lnTo>
                  <a:pt x="3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61" name="Freeform 560"/>
          <p:cNvSpPr>
            <a:spLocks/>
          </p:cNvSpPr>
          <p:nvPr/>
        </p:nvSpPr>
        <p:spPr bwMode="auto">
          <a:xfrm>
            <a:off x="5788025" y="1390615"/>
            <a:ext cx="46037" cy="9525"/>
          </a:xfrm>
          <a:custGeom>
            <a:avLst/>
            <a:gdLst>
              <a:gd name="T0" fmla="*/ 3 w 29"/>
              <a:gd name="T1" fmla="*/ 1 h 6"/>
              <a:gd name="T2" fmla="*/ 0 w 29"/>
              <a:gd name="T3" fmla="*/ 1 h 6"/>
              <a:gd name="T4" fmla="*/ 4 w 29"/>
              <a:gd name="T5" fmla="*/ 1 h 6"/>
              <a:gd name="T6" fmla="*/ 8 w 29"/>
              <a:gd name="T7" fmla="*/ 0 h 6"/>
              <a:gd name="T8" fmla="*/ 9 w 29"/>
              <a:gd name="T9" fmla="*/ 1 h 6"/>
              <a:gd name="T10" fmla="*/ 12 w 29"/>
              <a:gd name="T11" fmla="*/ 1 h 6"/>
              <a:gd name="T12" fmla="*/ 22 w 29"/>
              <a:gd name="T13" fmla="*/ 1 h 6"/>
              <a:gd name="T14" fmla="*/ 29 w 29"/>
              <a:gd name="T15" fmla="*/ 2 h 6"/>
              <a:gd name="T16" fmla="*/ 29 w 29"/>
              <a:gd name="T17" fmla="*/ 3 h 6"/>
              <a:gd name="T18" fmla="*/ 29 w 29"/>
              <a:gd name="T19" fmla="*/ 3 h 6"/>
              <a:gd name="T20" fmla="*/ 27 w 29"/>
              <a:gd name="T21" fmla="*/ 3 h 6"/>
              <a:gd name="T22" fmla="*/ 24 w 29"/>
              <a:gd name="T23" fmla="*/ 6 h 6"/>
              <a:gd name="T24" fmla="*/ 21 w 29"/>
              <a:gd name="T25" fmla="*/ 6 h 6"/>
              <a:gd name="T26" fmla="*/ 19 w 29"/>
              <a:gd name="T27" fmla="*/ 6 h 6"/>
              <a:gd name="T28" fmla="*/ 16 w 29"/>
              <a:gd name="T29" fmla="*/ 6 h 6"/>
              <a:gd name="T30" fmla="*/ 14 w 29"/>
              <a:gd name="T31" fmla="*/ 6 h 6"/>
              <a:gd name="T32" fmla="*/ 9 w 29"/>
              <a:gd name="T33" fmla="*/ 4 h 6"/>
              <a:gd name="T34" fmla="*/ 9 w 29"/>
              <a:gd name="T35" fmla="*/ 4 h 6"/>
              <a:gd name="T36" fmla="*/ 11 w 29"/>
              <a:gd name="T37" fmla="*/ 4 h 6"/>
              <a:gd name="T38" fmla="*/ 13 w 29"/>
              <a:gd name="T39" fmla="*/ 6 h 6"/>
              <a:gd name="T40" fmla="*/ 15 w 29"/>
              <a:gd name="T41" fmla="*/ 4 h 6"/>
              <a:gd name="T42" fmla="*/ 18 w 29"/>
              <a:gd name="T43" fmla="*/ 6 h 6"/>
              <a:gd name="T44" fmla="*/ 18 w 29"/>
              <a:gd name="T45" fmla="*/ 4 h 6"/>
              <a:gd name="T46" fmla="*/ 13 w 29"/>
              <a:gd name="T47" fmla="*/ 4 h 6"/>
              <a:gd name="T48" fmla="*/ 6 w 29"/>
              <a:gd name="T49" fmla="*/ 3 h 6"/>
              <a:gd name="T50" fmla="*/ 8 w 29"/>
              <a:gd name="T51" fmla="*/ 3 h 6"/>
              <a:gd name="T52" fmla="*/ 6 w 29"/>
              <a:gd name="T53" fmla="*/ 2 h 6"/>
              <a:gd name="T54" fmla="*/ 3 w 29"/>
              <a:gd name="T55" fmla="*/ 2 h 6"/>
              <a:gd name="T56" fmla="*/ 2 w 29"/>
              <a:gd name="T57" fmla="*/ 2 h 6"/>
              <a:gd name="T58" fmla="*/ 3 w 29"/>
              <a:gd name="T59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29" h="6">
                <a:moveTo>
                  <a:pt x="3" y="1"/>
                </a:moveTo>
                <a:lnTo>
                  <a:pt x="0" y="1"/>
                </a:lnTo>
                <a:lnTo>
                  <a:pt x="4" y="1"/>
                </a:lnTo>
                <a:lnTo>
                  <a:pt x="8" y="0"/>
                </a:lnTo>
                <a:lnTo>
                  <a:pt x="9" y="1"/>
                </a:lnTo>
                <a:lnTo>
                  <a:pt x="12" y="1"/>
                </a:lnTo>
                <a:lnTo>
                  <a:pt x="22" y="1"/>
                </a:lnTo>
                <a:lnTo>
                  <a:pt x="29" y="2"/>
                </a:lnTo>
                <a:lnTo>
                  <a:pt x="29" y="3"/>
                </a:lnTo>
                <a:lnTo>
                  <a:pt x="29" y="3"/>
                </a:lnTo>
                <a:lnTo>
                  <a:pt x="27" y="3"/>
                </a:lnTo>
                <a:lnTo>
                  <a:pt x="24" y="6"/>
                </a:lnTo>
                <a:lnTo>
                  <a:pt x="21" y="6"/>
                </a:lnTo>
                <a:lnTo>
                  <a:pt x="19" y="6"/>
                </a:lnTo>
                <a:lnTo>
                  <a:pt x="16" y="6"/>
                </a:lnTo>
                <a:lnTo>
                  <a:pt x="14" y="6"/>
                </a:lnTo>
                <a:lnTo>
                  <a:pt x="9" y="4"/>
                </a:lnTo>
                <a:lnTo>
                  <a:pt x="9" y="4"/>
                </a:lnTo>
                <a:lnTo>
                  <a:pt x="11" y="4"/>
                </a:lnTo>
                <a:lnTo>
                  <a:pt x="13" y="6"/>
                </a:lnTo>
                <a:lnTo>
                  <a:pt x="15" y="4"/>
                </a:lnTo>
                <a:lnTo>
                  <a:pt x="18" y="6"/>
                </a:lnTo>
                <a:lnTo>
                  <a:pt x="18" y="4"/>
                </a:lnTo>
                <a:lnTo>
                  <a:pt x="13" y="4"/>
                </a:lnTo>
                <a:lnTo>
                  <a:pt x="6" y="3"/>
                </a:lnTo>
                <a:lnTo>
                  <a:pt x="8" y="3"/>
                </a:lnTo>
                <a:lnTo>
                  <a:pt x="6" y="2"/>
                </a:lnTo>
                <a:lnTo>
                  <a:pt x="3" y="2"/>
                </a:lnTo>
                <a:lnTo>
                  <a:pt x="2" y="2"/>
                </a:lnTo>
                <a:lnTo>
                  <a:pt x="3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62" name="Freeform 561"/>
          <p:cNvSpPr>
            <a:spLocks/>
          </p:cNvSpPr>
          <p:nvPr/>
        </p:nvSpPr>
        <p:spPr bwMode="auto">
          <a:xfrm>
            <a:off x="5745163" y="1369978"/>
            <a:ext cx="28575" cy="3175"/>
          </a:xfrm>
          <a:custGeom>
            <a:avLst/>
            <a:gdLst>
              <a:gd name="T0" fmla="*/ 9 w 18"/>
              <a:gd name="T1" fmla="*/ 0 h 2"/>
              <a:gd name="T2" fmla="*/ 13 w 18"/>
              <a:gd name="T3" fmla="*/ 0 h 2"/>
              <a:gd name="T4" fmla="*/ 17 w 18"/>
              <a:gd name="T5" fmla="*/ 1 h 2"/>
              <a:gd name="T6" fmla="*/ 18 w 18"/>
              <a:gd name="T7" fmla="*/ 1 h 2"/>
              <a:gd name="T8" fmla="*/ 16 w 18"/>
              <a:gd name="T9" fmla="*/ 2 h 2"/>
              <a:gd name="T10" fmla="*/ 11 w 18"/>
              <a:gd name="T11" fmla="*/ 2 h 2"/>
              <a:gd name="T12" fmla="*/ 6 w 18"/>
              <a:gd name="T13" fmla="*/ 2 h 2"/>
              <a:gd name="T14" fmla="*/ 2 w 18"/>
              <a:gd name="T15" fmla="*/ 2 h 2"/>
              <a:gd name="T16" fmla="*/ 0 w 18"/>
              <a:gd name="T17" fmla="*/ 1 h 2"/>
              <a:gd name="T18" fmla="*/ 0 w 18"/>
              <a:gd name="T19" fmla="*/ 1 h 2"/>
              <a:gd name="T20" fmla="*/ 1 w 18"/>
              <a:gd name="T21" fmla="*/ 1 h 2"/>
              <a:gd name="T22" fmla="*/ 8 w 18"/>
              <a:gd name="T23" fmla="*/ 0 h 2"/>
              <a:gd name="T24" fmla="*/ 9 w 18"/>
              <a:gd name="T2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8" h="2">
                <a:moveTo>
                  <a:pt x="9" y="0"/>
                </a:moveTo>
                <a:lnTo>
                  <a:pt x="13" y="0"/>
                </a:lnTo>
                <a:lnTo>
                  <a:pt x="17" y="1"/>
                </a:lnTo>
                <a:lnTo>
                  <a:pt x="18" y="1"/>
                </a:lnTo>
                <a:lnTo>
                  <a:pt x="16" y="2"/>
                </a:lnTo>
                <a:lnTo>
                  <a:pt x="11" y="2"/>
                </a:lnTo>
                <a:lnTo>
                  <a:pt x="6" y="2"/>
                </a:lnTo>
                <a:lnTo>
                  <a:pt x="2" y="2"/>
                </a:lnTo>
                <a:lnTo>
                  <a:pt x="0" y="1"/>
                </a:lnTo>
                <a:lnTo>
                  <a:pt x="0" y="1"/>
                </a:lnTo>
                <a:lnTo>
                  <a:pt x="1" y="1"/>
                </a:lnTo>
                <a:lnTo>
                  <a:pt x="8" y="0"/>
                </a:lnTo>
                <a:lnTo>
                  <a:pt x="9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63" name="Freeform 562"/>
          <p:cNvSpPr>
            <a:spLocks/>
          </p:cNvSpPr>
          <p:nvPr/>
        </p:nvSpPr>
        <p:spPr bwMode="auto">
          <a:xfrm>
            <a:off x="5745163" y="1369978"/>
            <a:ext cx="28575" cy="3175"/>
          </a:xfrm>
          <a:custGeom>
            <a:avLst/>
            <a:gdLst>
              <a:gd name="T0" fmla="*/ 9 w 18"/>
              <a:gd name="T1" fmla="*/ 0 h 2"/>
              <a:gd name="T2" fmla="*/ 13 w 18"/>
              <a:gd name="T3" fmla="*/ 0 h 2"/>
              <a:gd name="T4" fmla="*/ 17 w 18"/>
              <a:gd name="T5" fmla="*/ 1 h 2"/>
              <a:gd name="T6" fmla="*/ 18 w 18"/>
              <a:gd name="T7" fmla="*/ 1 h 2"/>
              <a:gd name="T8" fmla="*/ 16 w 18"/>
              <a:gd name="T9" fmla="*/ 2 h 2"/>
              <a:gd name="T10" fmla="*/ 11 w 18"/>
              <a:gd name="T11" fmla="*/ 2 h 2"/>
              <a:gd name="T12" fmla="*/ 6 w 18"/>
              <a:gd name="T13" fmla="*/ 2 h 2"/>
              <a:gd name="T14" fmla="*/ 2 w 18"/>
              <a:gd name="T15" fmla="*/ 2 h 2"/>
              <a:gd name="T16" fmla="*/ 0 w 18"/>
              <a:gd name="T17" fmla="*/ 1 h 2"/>
              <a:gd name="T18" fmla="*/ 0 w 18"/>
              <a:gd name="T19" fmla="*/ 1 h 2"/>
              <a:gd name="T20" fmla="*/ 1 w 18"/>
              <a:gd name="T21" fmla="*/ 1 h 2"/>
              <a:gd name="T22" fmla="*/ 8 w 18"/>
              <a:gd name="T23" fmla="*/ 0 h 2"/>
              <a:gd name="T24" fmla="*/ 9 w 18"/>
              <a:gd name="T2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8" h="2">
                <a:moveTo>
                  <a:pt x="9" y="0"/>
                </a:moveTo>
                <a:lnTo>
                  <a:pt x="13" y="0"/>
                </a:lnTo>
                <a:lnTo>
                  <a:pt x="17" y="1"/>
                </a:lnTo>
                <a:lnTo>
                  <a:pt x="18" y="1"/>
                </a:lnTo>
                <a:lnTo>
                  <a:pt x="16" y="2"/>
                </a:lnTo>
                <a:lnTo>
                  <a:pt x="11" y="2"/>
                </a:lnTo>
                <a:lnTo>
                  <a:pt x="6" y="2"/>
                </a:lnTo>
                <a:lnTo>
                  <a:pt x="2" y="2"/>
                </a:lnTo>
                <a:lnTo>
                  <a:pt x="0" y="1"/>
                </a:lnTo>
                <a:lnTo>
                  <a:pt x="0" y="1"/>
                </a:lnTo>
                <a:lnTo>
                  <a:pt x="1" y="1"/>
                </a:lnTo>
                <a:lnTo>
                  <a:pt x="8" y="0"/>
                </a:lnTo>
                <a:lnTo>
                  <a:pt x="9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64" name="Freeform 563"/>
          <p:cNvSpPr>
            <a:spLocks/>
          </p:cNvSpPr>
          <p:nvPr/>
        </p:nvSpPr>
        <p:spPr bwMode="auto">
          <a:xfrm>
            <a:off x="5788025" y="1369978"/>
            <a:ext cx="93662" cy="22225"/>
          </a:xfrm>
          <a:custGeom>
            <a:avLst/>
            <a:gdLst>
              <a:gd name="T0" fmla="*/ 24 w 59"/>
              <a:gd name="T1" fmla="*/ 1 h 14"/>
              <a:gd name="T2" fmla="*/ 26 w 59"/>
              <a:gd name="T3" fmla="*/ 0 h 14"/>
              <a:gd name="T4" fmla="*/ 32 w 59"/>
              <a:gd name="T5" fmla="*/ 1 h 14"/>
              <a:gd name="T6" fmla="*/ 37 w 59"/>
              <a:gd name="T7" fmla="*/ 2 h 14"/>
              <a:gd name="T8" fmla="*/ 43 w 59"/>
              <a:gd name="T9" fmla="*/ 4 h 14"/>
              <a:gd name="T10" fmla="*/ 51 w 59"/>
              <a:gd name="T11" fmla="*/ 5 h 14"/>
              <a:gd name="T12" fmla="*/ 54 w 59"/>
              <a:gd name="T13" fmla="*/ 6 h 14"/>
              <a:gd name="T14" fmla="*/ 57 w 59"/>
              <a:gd name="T15" fmla="*/ 6 h 14"/>
              <a:gd name="T16" fmla="*/ 54 w 59"/>
              <a:gd name="T17" fmla="*/ 7 h 14"/>
              <a:gd name="T18" fmla="*/ 52 w 59"/>
              <a:gd name="T19" fmla="*/ 7 h 14"/>
              <a:gd name="T20" fmla="*/ 53 w 59"/>
              <a:gd name="T21" fmla="*/ 9 h 14"/>
              <a:gd name="T22" fmla="*/ 56 w 59"/>
              <a:gd name="T23" fmla="*/ 10 h 14"/>
              <a:gd name="T24" fmla="*/ 57 w 59"/>
              <a:gd name="T25" fmla="*/ 10 h 14"/>
              <a:gd name="T26" fmla="*/ 59 w 59"/>
              <a:gd name="T27" fmla="*/ 11 h 14"/>
              <a:gd name="T28" fmla="*/ 57 w 59"/>
              <a:gd name="T29" fmla="*/ 12 h 14"/>
              <a:gd name="T30" fmla="*/ 45 w 59"/>
              <a:gd name="T31" fmla="*/ 12 h 14"/>
              <a:gd name="T32" fmla="*/ 36 w 59"/>
              <a:gd name="T33" fmla="*/ 13 h 14"/>
              <a:gd name="T34" fmla="*/ 31 w 59"/>
              <a:gd name="T35" fmla="*/ 14 h 14"/>
              <a:gd name="T36" fmla="*/ 26 w 59"/>
              <a:gd name="T37" fmla="*/ 14 h 14"/>
              <a:gd name="T38" fmla="*/ 20 w 59"/>
              <a:gd name="T39" fmla="*/ 13 h 14"/>
              <a:gd name="T40" fmla="*/ 13 w 59"/>
              <a:gd name="T41" fmla="*/ 13 h 14"/>
              <a:gd name="T42" fmla="*/ 9 w 59"/>
              <a:gd name="T43" fmla="*/ 12 h 14"/>
              <a:gd name="T44" fmla="*/ 6 w 59"/>
              <a:gd name="T45" fmla="*/ 11 h 14"/>
              <a:gd name="T46" fmla="*/ 2 w 59"/>
              <a:gd name="T47" fmla="*/ 11 h 14"/>
              <a:gd name="T48" fmla="*/ 1 w 59"/>
              <a:gd name="T49" fmla="*/ 11 h 14"/>
              <a:gd name="T50" fmla="*/ 1 w 59"/>
              <a:gd name="T51" fmla="*/ 10 h 14"/>
              <a:gd name="T52" fmla="*/ 4 w 59"/>
              <a:gd name="T53" fmla="*/ 10 h 14"/>
              <a:gd name="T54" fmla="*/ 2 w 59"/>
              <a:gd name="T55" fmla="*/ 10 h 14"/>
              <a:gd name="T56" fmla="*/ 10 w 59"/>
              <a:gd name="T57" fmla="*/ 9 h 14"/>
              <a:gd name="T58" fmla="*/ 10 w 59"/>
              <a:gd name="T59" fmla="*/ 7 h 14"/>
              <a:gd name="T60" fmla="*/ 6 w 59"/>
              <a:gd name="T61" fmla="*/ 6 h 14"/>
              <a:gd name="T62" fmla="*/ 4 w 59"/>
              <a:gd name="T63" fmla="*/ 6 h 14"/>
              <a:gd name="T64" fmla="*/ 8 w 59"/>
              <a:gd name="T65" fmla="*/ 4 h 14"/>
              <a:gd name="T66" fmla="*/ 8 w 59"/>
              <a:gd name="T67" fmla="*/ 4 h 14"/>
              <a:gd name="T68" fmla="*/ 15 w 59"/>
              <a:gd name="T69" fmla="*/ 3 h 14"/>
              <a:gd name="T70" fmla="*/ 23 w 59"/>
              <a:gd name="T71" fmla="*/ 2 h 14"/>
              <a:gd name="T72" fmla="*/ 22 w 59"/>
              <a:gd name="T73" fmla="*/ 2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9" h="14">
                <a:moveTo>
                  <a:pt x="22" y="2"/>
                </a:moveTo>
                <a:lnTo>
                  <a:pt x="24" y="1"/>
                </a:lnTo>
                <a:lnTo>
                  <a:pt x="22" y="0"/>
                </a:lnTo>
                <a:lnTo>
                  <a:pt x="26" y="0"/>
                </a:lnTo>
                <a:lnTo>
                  <a:pt x="26" y="0"/>
                </a:lnTo>
                <a:lnTo>
                  <a:pt x="32" y="1"/>
                </a:lnTo>
                <a:lnTo>
                  <a:pt x="34" y="2"/>
                </a:lnTo>
                <a:lnTo>
                  <a:pt x="37" y="2"/>
                </a:lnTo>
                <a:lnTo>
                  <a:pt x="40" y="3"/>
                </a:lnTo>
                <a:lnTo>
                  <a:pt x="43" y="4"/>
                </a:lnTo>
                <a:lnTo>
                  <a:pt x="50" y="5"/>
                </a:lnTo>
                <a:lnTo>
                  <a:pt x="51" y="5"/>
                </a:lnTo>
                <a:lnTo>
                  <a:pt x="53" y="5"/>
                </a:lnTo>
                <a:lnTo>
                  <a:pt x="54" y="6"/>
                </a:lnTo>
                <a:lnTo>
                  <a:pt x="56" y="6"/>
                </a:lnTo>
                <a:lnTo>
                  <a:pt x="57" y="6"/>
                </a:lnTo>
                <a:lnTo>
                  <a:pt x="54" y="6"/>
                </a:lnTo>
                <a:lnTo>
                  <a:pt x="54" y="7"/>
                </a:lnTo>
                <a:lnTo>
                  <a:pt x="52" y="7"/>
                </a:lnTo>
                <a:lnTo>
                  <a:pt x="52" y="7"/>
                </a:lnTo>
                <a:lnTo>
                  <a:pt x="52" y="7"/>
                </a:lnTo>
                <a:lnTo>
                  <a:pt x="53" y="9"/>
                </a:lnTo>
                <a:lnTo>
                  <a:pt x="54" y="10"/>
                </a:lnTo>
                <a:lnTo>
                  <a:pt x="56" y="10"/>
                </a:lnTo>
                <a:lnTo>
                  <a:pt x="56" y="10"/>
                </a:lnTo>
                <a:lnTo>
                  <a:pt x="57" y="10"/>
                </a:lnTo>
                <a:lnTo>
                  <a:pt x="59" y="11"/>
                </a:lnTo>
                <a:lnTo>
                  <a:pt x="59" y="11"/>
                </a:lnTo>
                <a:lnTo>
                  <a:pt x="59" y="11"/>
                </a:lnTo>
                <a:lnTo>
                  <a:pt x="57" y="12"/>
                </a:lnTo>
                <a:lnTo>
                  <a:pt x="53" y="11"/>
                </a:lnTo>
                <a:lnTo>
                  <a:pt x="45" y="12"/>
                </a:lnTo>
                <a:lnTo>
                  <a:pt x="37" y="13"/>
                </a:lnTo>
                <a:lnTo>
                  <a:pt x="36" y="13"/>
                </a:lnTo>
                <a:lnTo>
                  <a:pt x="32" y="14"/>
                </a:lnTo>
                <a:lnTo>
                  <a:pt x="31" y="14"/>
                </a:lnTo>
                <a:lnTo>
                  <a:pt x="29" y="14"/>
                </a:lnTo>
                <a:lnTo>
                  <a:pt x="26" y="14"/>
                </a:lnTo>
                <a:lnTo>
                  <a:pt x="25" y="14"/>
                </a:lnTo>
                <a:lnTo>
                  <a:pt x="20" y="13"/>
                </a:lnTo>
                <a:lnTo>
                  <a:pt x="19" y="13"/>
                </a:lnTo>
                <a:lnTo>
                  <a:pt x="13" y="13"/>
                </a:lnTo>
                <a:lnTo>
                  <a:pt x="9" y="12"/>
                </a:lnTo>
                <a:lnTo>
                  <a:pt x="9" y="12"/>
                </a:lnTo>
                <a:lnTo>
                  <a:pt x="10" y="11"/>
                </a:lnTo>
                <a:lnTo>
                  <a:pt x="6" y="11"/>
                </a:lnTo>
                <a:lnTo>
                  <a:pt x="4" y="11"/>
                </a:lnTo>
                <a:lnTo>
                  <a:pt x="2" y="11"/>
                </a:lnTo>
                <a:lnTo>
                  <a:pt x="2" y="11"/>
                </a:lnTo>
                <a:lnTo>
                  <a:pt x="1" y="11"/>
                </a:lnTo>
                <a:lnTo>
                  <a:pt x="0" y="11"/>
                </a:lnTo>
                <a:lnTo>
                  <a:pt x="1" y="10"/>
                </a:lnTo>
                <a:lnTo>
                  <a:pt x="4" y="10"/>
                </a:lnTo>
                <a:lnTo>
                  <a:pt x="4" y="10"/>
                </a:lnTo>
                <a:lnTo>
                  <a:pt x="3" y="10"/>
                </a:lnTo>
                <a:lnTo>
                  <a:pt x="2" y="10"/>
                </a:lnTo>
                <a:lnTo>
                  <a:pt x="5" y="9"/>
                </a:lnTo>
                <a:lnTo>
                  <a:pt x="10" y="9"/>
                </a:lnTo>
                <a:lnTo>
                  <a:pt x="9" y="7"/>
                </a:lnTo>
                <a:lnTo>
                  <a:pt x="10" y="7"/>
                </a:lnTo>
                <a:lnTo>
                  <a:pt x="8" y="6"/>
                </a:lnTo>
                <a:lnTo>
                  <a:pt x="6" y="6"/>
                </a:lnTo>
                <a:lnTo>
                  <a:pt x="5" y="6"/>
                </a:lnTo>
                <a:lnTo>
                  <a:pt x="4" y="6"/>
                </a:lnTo>
                <a:lnTo>
                  <a:pt x="5" y="5"/>
                </a:lnTo>
                <a:lnTo>
                  <a:pt x="8" y="4"/>
                </a:lnTo>
                <a:lnTo>
                  <a:pt x="9" y="4"/>
                </a:lnTo>
                <a:lnTo>
                  <a:pt x="8" y="4"/>
                </a:lnTo>
                <a:lnTo>
                  <a:pt x="13" y="3"/>
                </a:lnTo>
                <a:lnTo>
                  <a:pt x="15" y="3"/>
                </a:lnTo>
                <a:lnTo>
                  <a:pt x="22" y="3"/>
                </a:lnTo>
                <a:lnTo>
                  <a:pt x="23" y="2"/>
                </a:lnTo>
                <a:lnTo>
                  <a:pt x="22" y="2"/>
                </a:lnTo>
                <a:lnTo>
                  <a:pt x="22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65" name="Freeform 564"/>
          <p:cNvSpPr>
            <a:spLocks/>
          </p:cNvSpPr>
          <p:nvPr/>
        </p:nvSpPr>
        <p:spPr bwMode="auto">
          <a:xfrm>
            <a:off x="5788025" y="1369978"/>
            <a:ext cx="93662" cy="22225"/>
          </a:xfrm>
          <a:custGeom>
            <a:avLst/>
            <a:gdLst>
              <a:gd name="T0" fmla="*/ 24 w 59"/>
              <a:gd name="T1" fmla="*/ 1 h 14"/>
              <a:gd name="T2" fmla="*/ 26 w 59"/>
              <a:gd name="T3" fmla="*/ 0 h 14"/>
              <a:gd name="T4" fmla="*/ 32 w 59"/>
              <a:gd name="T5" fmla="*/ 1 h 14"/>
              <a:gd name="T6" fmla="*/ 37 w 59"/>
              <a:gd name="T7" fmla="*/ 2 h 14"/>
              <a:gd name="T8" fmla="*/ 43 w 59"/>
              <a:gd name="T9" fmla="*/ 4 h 14"/>
              <a:gd name="T10" fmla="*/ 51 w 59"/>
              <a:gd name="T11" fmla="*/ 5 h 14"/>
              <a:gd name="T12" fmla="*/ 54 w 59"/>
              <a:gd name="T13" fmla="*/ 6 h 14"/>
              <a:gd name="T14" fmla="*/ 57 w 59"/>
              <a:gd name="T15" fmla="*/ 6 h 14"/>
              <a:gd name="T16" fmla="*/ 54 w 59"/>
              <a:gd name="T17" fmla="*/ 7 h 14"/>
              <a:gd name="T18" fmla="*/ 52 w 59"/>
              <a:gd name="T19" fmla="*/ 7 h 14"/>
              <a:gd name="T20" fmla="*/ 53 w 59"/>
              <a:gd name="T21" fmla="*/ 9 h 14"/>
              <a:gd name="T22" fmla="*/ 56 w 59"/>
              <a:gd name="T23" fmla="*/ 10 h 14"/>
              <a:gd name="T24" fmla="*/ 57 w 59"/>
              <a:gd name="T25" fmla="*/ 10 h 14"/>
              <a:gd name="T26" fmla="*/ 59 w 59"/>
              <a:gd name="T27" fmla="*/ 11 h 14"/>
              <a:gd name="T28" fmla="*/ 57 w 59"/>
              <a:gd name="T29" fmla="*/ 12 h 14"/>
              <a:gd name="T30" fmla="*/ 45 w 59"/>
              <a:gd name="T31" fmla="*/ 12 h 14"/>
              <a:gd name="T32" fmla="*/ 36 w 59"/>
              <a:gd name="T33" fmla="*/ 13 h 14"/>
              <a:gd name="T34" fmla="*/ 31 w 59"/>
              <a:gd name="T35" fmla="*/ 14 h 14"/>
              <a:gd name="T36" fmla="*/ 26 w 59"/>
              <a:gd name="T37" fmla="*/ 14 h 14"/>
              <a:gd name="T38" fmla="*/ 20 w 59"/>
              <a:gd name="T39" fmla="*/ 13 h 14"/>
              <a:gd name="T40" fmla="*/ 13 w 59"/>
              <a:gd name="T41" fmla="*/ 13 h 14"/>
              <a:gd name="T42" fmla="*/ 9 w 59"/>
              <a:gd name="T43" fmla="*/ 12 h 14"/>
              <a:gd name="T44" fmla="*/ 6 w 59"/>
              <a:gd name="T45" fmla="*/ 11 h 14"/>
              <a:gd name="T46" fmla="*/ 2 w 59"/>
              <a:gd name="T47" fmla="*/ 11 h 14"/>
              <a:gd name="T48" fmla="*/ 1 w 59"/>
              <a:gd name="T49" fmla="*/ 11 h 14"/>
              <a:gd name="T50" fmla="*/ 1 w 59"/>
              <a:gd name="T51" fmla="*/ 10 h 14"/>
              <a:gd name="T52" fmla="*/ 4 w 59"/>
              <a:gd name="T53" fmla="*/ 10 h 14"/>
              <a:gd name="T54" fmla="*/ 2 w 59"/>
              <a:gd name="T55" fmla="*/ 10 h 14"/>
              <a:gd name="T56" fmla="*/ 10 w 59"/>
              <a:gd name="T57" fmla="*/ 9 h 14"/>
              <a:gd name="T58" fmla="*/ 10 w 59"/>
              <a:gd name="T59" fmla="*/ 7 h 14"/>
              <a:gd name="T60" fmla="*/ 6 w 59"/>
              <a:gd name="T61" fmla="*/ 6 h 14"/>
              <a:gd name="T62" fmla="*/ 4 w 59"/>
              <a:gd name="T63" fmla="*/ 6 h 14"/>
              <a:gd name="T64" fmla="*/ 8 w 59"/>
              <a:gd name="T65" fmla="*/ 4 h 14"/>
              <a:gd name="T66" fmla="*/ 8 w 59"/>
              <a:gd name="T67" fmla="*/ 4 h 14"/>
              <a:gd name="T68" fmla="*/ 15 w 59"/>
              <a:gd name="T69" fmla="*/ 3 h 14"/>
              <a:gd name="T70" fmla="*/ 23 w 59"/>
              <a:gd name="T71" fmla="*/ 2 h 14"/>
              <a:gd name="T72" fmla="*/ 22 w 59"/>
              <a:gd name="T73" fmla="*/ 2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9" h="14">
                <a:moveTo>
                  <a:pt x="22" y="2"/>
                </a:moveTo>
                <a:lnTo>
                  <a:pt x="24" y="1"/>
                </a:lnTo>
                <a:lnTo>
                  <a:pt x="22" y="0"/>
                </a:lnTo>
                <a:lnTo>
                  <a:pt x="26" y="0"/>
                </a:lnTo>
                <a:lnTo>
                  <a:pt x="26" y="0"/>
                </a:lnTo>
                <a:lnTo>
                  <a:pt x="32" y="1"/>
                </a:lnTo>
                <a:lnTo>
                  <a:pt x="34" y="2"/>
                </a:lnTo>
                <a:lnTo>
                  <a:pt x="37" y="2"/>
                </a:lnTo>
                <a:lnTo>
                  <a:pt x="40" y="3"/>
                </a:lnTo>
                <a:lnTo>
                  <a:pt x="43" y="4"/>
                </a:lnTo>
                <a:lnTo>
                  <a:pt x="50" y="5"/>
                </a:lnTo>
                <a:lnTo>
                  <a:pt x="51" y="5"/>
                </a:lnTo>
                <a:lnTo>
                  <a:pt x="53" y="5"/>
                </a:lnTo>
                <a:lnTo>
                  <a:pt x="54" y="6"/>
                </a:lnTo>
                <a:lnTo>
                  <a:pt x="56" y="6"/>
                </a:lnTo>
                <a:lnTo>
                  <a:pt x="57" y="6"/>
                </a:lnTo>
                <a:lnTo>
                  <a:pt x="54" y="6"/>
                </a:lnTo>
                <a:lnTo>
                  <a:pt x="54" y="7"/>
                </a:lnTo>
                <a:lnTo>
                  <a:pt x="52" y="7"/>
                </a:lnTo>
                <a:lnTo>
                  <a:pt x="52" y="7"/>
                </a:lnTo>
                <a:lnTo>
                  <a:pt x="52" y="7"/>
                </a:lnTo>
                <a:lnTo>
                  <a:pt x="53" y="9"/>
                </a:lnTo>
                <a:lnTo>
                  <a:pt x="54" y="10"/>
                </a:lnTo>
                <a:lnTo>
                  <a:pt x="56" y="10"/>
                </a:lnTo>
                <a:lnTo>
                  <a:pt x="56" y="10"/>
                </a:lnTo>
                <a:lnTo>
                  <a:pt x="57" y="10"/>
                </a:lnTo>
                <a:lnTo>
                  <a:pt x="59" y="11"/>
                </a:lnTo>
                <a:lnTo>
                  <a:pt x="59" y="11"/>
                </a:lnTo>
                <a:lnTo>
                  <a:pt x="59" y="11"/>
                </a:lnTo>
                <a:lnTo>
                  <a:pt x="57" y="12"/>
                </a:lnTo>
                <a:lnTo>
                  <a:pt x="53" y="11"/>
                </a:lnTo>
                <a:lnTo>
                  <a:pt x="45" y="12"/>
                </a:lnTo>
                <a:lnTo>
                  <a:pt x="37" y="13"/>
                </a:lnTo>
                <a:lnTo>
                  <a:pt x="36" y="13"/>
                </a:lnTo>
                <a:lnTo>
                  <a:pt x="32" y="14"/>
                </a:lnTo>
                <a:lnTo>
                  <a:pt x="31" y="14"/>
                </a:lnTo>
                <a:lnTo>
                  <a:pt x="29" y="14"/>
                </a:lnTo>
                <a:lnTo>
                  <a:pt x="26" y="14"/>
                </a:lnTo>
                <a:lnTo>
                  <a:pt x="25" y="14"/>
                </a:lnTo>
                <a:lnTo>
                  <a:pt x="20" y="13"/>
                </a:lnTo>
                <a:lnTo>
                  <a:pt x="19" y="13"/>
                </a:lnTo>
                <a:lnTo>
                  <a:pt x="13" y="13"/>
                </a:lnTo>
                <a:lnTo>
                  <a:pt x="9" y="12"/>
                </a:lnTo>
                <a:lnTo>
                  <a:pt x="9" y="12"/>
                </a:lnTo>
                <a:lnTo>
                  <a:pt x="10" y="11"/>
                </a:lnTo>
                <a:lnTo>
                  <a:pt x="6" y="11"/>
                </a:lnTo>
                <a:lnTo>
                  <a:pt x="4" y="11"/>
                </a:lnTo>
                <a:lnTo>
                  <a:pt x="2" y="11"/>
                </a:lnTo>
                <a:lnTo>
                  <a:pt x="2" y="11"/>
                </a:lnTo>
                <a:lnTo>
                  <a:pt x="1" y="11"/>
                </a:lnTo>
                <a:lnTo>
                  <a:pt x="0" y="11"/>
                </a:lnTo>
                <a:lnTo>
                  <a:pt x="1" y="10"/>
                </a:lnTo>
                <a:lnTo>
                  <a:pt x="4" y="10"/>
                </a:lnTo>
                <a:lnTo>
                  <a:pt x="4" y="10"/>
                </a:lnTo>
                <a:lnTo>
                  <a:pt x="3" y="10"/>
                </a:lnTo>
                <a:lnTo>
                  <a:pt x="2" y="10"/>
                </a:lnTo>
                <a:lnTo>
                  <a:pt x="5" y="9"/>
                </a:lnTo>
                <a:lnTo>
                  <a:pt x="10" y="9"/>
                </a:lnTo>
                <a:lnTo>
                  <a:pt x="9" y="7"/>
                </a:lnTo>
                <a:lnTo>
                  <a:pt x="10" y="7"/>
                </a:lnTo>
                <a:lnTo>
                  <a:pt x="8" y="6"/>
                </a:lnTo>
                <a:lnTo>
                  <a:pt x="6" y="6"/>
                </a:lnTo>
                <a:lnTo>
                  <a:pt x="5" y="6"/>
                </a:lnTo>
                <a:lnTo>
                  <a:pt x="4" y="6"/>
                </a:lnTo>
                <a:lnTo>
                  <a:pt x="5" y="5"/>
                </a:lnTo>
                <a:lnTo>
                  <a:pt x="8" y="4"/>
                </a:lnTo>
                <a:lnTo>
                  <a:pt x="9" y="4"/>
                </a:lnTo>
                <a:lnTo>
                  <a:pt x="8" y="4"/>
                </a:lnTo>
                <a:lnTo>
                  <a:pt x="13" y="3"/>
                </a:lnTo>
                <a:lnTo>
                  <a:pt x="15" y="3"/>
                </a:lnTo>
                <a:lnTo>
                  <a:pt x="22" y="3"/>
                </a:lnTo>
                <a:lnTo>
                  <a:pt x="23" y="2"/>
                </a:lnTo>
                <a:lnTo>
                  <a:pt x="22" y="2"/>
                </a:lnTo>
                <a:lnTo>
                  <a:pt x="22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66" name="Freeform 565"/>
          <p:cNvSpPr>
            <a:spLocks/>
          </p:cNvSpPr>
          <p:nvPr/>
        </p:nvSpPr>
        <p:spPr bwMode="auto">
          <a:xfrm>
            <a:off x="5829300" y="1389028"/>
            <a:ext cx="127000" cy="30163"/>
          </a:xfrm>
          <a:custGeom>
            <a:avLst/>
            <a:gdLst>
              <a:gd name="T0" fmla="*/ 14 w 80"/>
              <a:gd name="T1" fmla="*/ 2 h 19"/>
              <a:gd name="T2" fmla="*/ 13 w 80"/>
              <a:gd name="T3" fmla="*/ 1 h 19"/>
              <a:gd name="T4" fmla="*/ 17 w 80"/>
              <a:gd name="T5" fmla="*/ 2 h 19"/>
              <a:gd name="T6" fmla="*/ 19 w 80"/>
              <a:gd name="T7" fmla="*/ 1 h 19"/>
              <a:gd name="T8" fmla="*/ 34 w 80"/>
              <a:gd name="T9" fmla="*/ 1 h 19"/>
              <a:gd name="T10" fmla="*/ 36 w 80"/>
              <a:gd name="T11" fmla="*/ 0 h 19"/>
              <a:gd name="T12" fmla="*/ 43 w 80"/>
              <a:gd name="T13" fmla="*/ 1 h 19"/>
              <a:gd name="T14" fmla="*/ 46 w 80"/>
              <a:gd name="T15" fmla="*/ 2 h 19"/>
              <a:gd name="T16" fmla="*/ 44 w 80"/>
              <a:gd name="T17" fmla="*/ 4 h 19"/>
              <a:gd name="T18" fmla="*/ 43 w 80"/>
              <a:gd name="T19" fmla="*/ 5 h 19"/>
              <a:gd name="T20" fmla="*/ 41 w 80"/>
              <a:gd name="T21" fmla="*/ 7 h 19"/>
              <a:gd name="T22" fmla="*/ 46 w 80"/>
              <a:gd name="T23" fmla="*/ 5 h 19"/>
              <a:gd name="T24" fmla="*/ 50 w 80"/>
              <a:gd name="T25" fmla="*/ 3 h 19"/>
              <a:gd name="T26" fmla="*/ 48 w 80"/>
              <a:gd name="T27" fmla="*/ 2 h 19"/>
              <a:gd name="T28" fmla="*/ 48 w 80"/>
              <a:gd name="T29" fmla="*/ 2 h 19"/>
              <a:gd name="T30" fmla="*/ 53 w 80"/>
              <a:gd name="T31" fmla="*/ 2 h 19"/>
              <a:gd name="T32" fmla="*/ 57 w 80"/>
              <a:gd name="T33" fmla="*/ 2 h 19"/>
              <a:gd name="T34" fmla="*/ 60 w 80"/>
              <a:gd name="T35" fmla="*/ 3 h 19"/>
              <a:gd name="T36" fmla="*/ 66 w 80"/>
              <a:gd name="T37" fmla="*/ 5 h 19"/>
              <a:gd name="T38" fmla="*/ 68 w 80"/>
              <a:gd name="T39" fmla="*/ 5 h 19"/>
              <a:gd name="T40" fmla="*/ 69 w 80"/>
              <a:gd name="T41" fmla="*/ 7 h 19"/>
              <a:gd name="T42" fmla="*/ 73 w 80"/>
              <a:gd name="T43" fmla="*/ 7 h 19"/>
              <a:gd name="T44" fmla="*/ 70 w 80"/>
              <a:gd name="T45" fmla="*/ 8 h 19"/>
              <a:gd name="T46" fmla="*/ 70 w 80"/>
              <a:gd name="T47" fmla="*/ 9 h 19"/>
              <a:gd name="T48" fmla="*/ 71 w 80"/>
              <a:gd name="T49" fmla="*/ 10 h 19"/>
              <a:gd name="T50" fmla="*/ 74 w 80"/>
              <a:gd name="T51" fmla="*/ 12 h 19"/>
              <a:gd name="T52" fmla="*/ 67 w 80"/>
              <a:gd name="T53" fmla="*/ 12 h 19"/>
              <a:gd name="T54" fmla="*/ 75 w 80"/>
              <a:gd name="T55" fmla="*/ 13 h 19"/>
              <a:gd name="T56" fmla="*/ 78 w 80"/>
              <a:gd name="T57" fmla="*/ 15 h 19"/>
              <a:gd name="T58" fmla="*/ 79 w 80"/>
              <a:gd name="T59" fmla="*/ 17 h 19"/>
              <a:gd name="T60" fmla="*/ 79 w 80"/>
              <a:gd name="T61" fmla="*/ 18 h 19"/>
              <a:gd name="T62" fmla="*/ 78 w 80"/>
              <a:gd name="T63" fmla="*/ 19 h 19"/>
              <a:gd name="T64" fmla="*/ 74 w 80"/>
              <a:gd name="T65" fmla="*/ 19 h 19"/>
              <a:gd name="T66" fmla="*/ 60 w 80"/>
              <a:gd name="T67" fmla="*/ 18 h 19"/>
              <a:gd name="T68" fmla="*/ 55 w 80"/>
              <a:gd name="T69" fmla="*/ 17 h 19"/>
              <a:gd name="T70" fmla="*/ 44 w 80"/>
              <a:gd name="T71" fmla="*/ 15 h 19"/>
              <a:gd name="T72" fmla="*/ 41 w 80"/>
              <a:gd name="T73" fmla="*/ 15 h 19"/>
              <a:gd name="T74" fmla="*/ 39 w 80"/>
              <a:gd name="T75" fmla="*/ 15 h 19"/>
              <a:gd name="T76" fmla="*/ 36 w 80"/>
              <a:gd name="T77" fmla="*/ 13 h 19"/>
              <a:gd name="T78" fmla="*/ 31 w 80"/>
              <a:gd name="T79" fmla="*/ 15 h 19"/>
              <a:gd name="T80" fmla="*/ 27 w 80"/>
              <a:gd name="T81" fmla="*/ 14 h 19"/>
              <a:gd name="T82" fmla="*/ 21 w 80"/>
              <a:gd name="T83" fmla="*/ 13 h 19"/>
              <a:gd name="T84" fmla="*/ 18 w 80"/>
              <a:gd name="T85" fmla="*/ 12 h 19"/>
              <a:gd name="T86" fmla="*/ 16 w 80"/>
              <a:gd name="T87" fmla="*/ 10 h 19"/>
              <a:gd name="T88" fmla="*/ 15 w 80"/>
              <a:gd name="T89" fmla="*/ 9 h 19"/>
              <a:gd name="T90" fmla="*/ 11 w 80"/>
              <a:gd name="T91" fmla="*/ 10 h 19"/>
              <a:gd name="T92" fmla="*/ 9 w 80"/>
              <a:gd name="T93" fmla="*/ 9 h 19"/>
              <a:gd name="T94" fmla="*/ 6 w 80"/>
              <a:gd name="T95" fmla="*/ 9 h 19"/>
              <a:gd name="T96" fmla="*/ 5 w 80"/>
              <a:gd name="T97" fmla="*/ 9 h 19"/>
              <a:gd name="T98" fmla="*/ 5 w 80"/>
              <a:gd name="T99" fmla="*/ 10 h 19"/>
              <a:gd name="T100" fmla="*/ 0 w 80"/>
              <a:gd name="T101" fmla="*/ 8 h 19"/>
              <a:gd name="T102" fmla="*/ 7 w 80"/>
              <a:gd name="T103" fmla="*/ 7 h 19"/>
              <a:gd name="T104" fmla="*/ 7 w 80"/>
              <a:gd name="T105" fmla="*/ 5 h 19"/>
              <a:gd name="T106" fmla="*/ 13 w 80"/>
              <a:gd name="T107" fmla="*/ 5 h 19"/>
              <a:gd name="T108" fmla="*/ 10 w 80"/>
              <a:gd name="T109" fmla="*/ 4 h 19"/>
              <a:gd name="T110" fmla="*/ 8 w 80"/>
              <a:gd name="T111" fmla="*/ 3 h 19"/>
              <a:gd name="T112" fmla="*/ 13 w 80"/>
              <a:gd name="T113" fmla="*/ 2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0" h="19">
                <a:moveTo>
                  <a:pt x="13" y="2"/>
                </a:moveTo>
                <a:lnTo>
                  <a:pt x="14" y="2"/>
                </a:lnTo>
                <a:lnTo>
                  <a:pt x="13" y="1"/>
                </a:lnTo>
                <a:lnTo>
                  <a:pt x="13" y="1"/>
                </a:lnTo>
                <a:lnTo>
                  <a:pt x="16" y="2"/>
                </a:lnTo>
                <a:lnTo>
                  <a:pt x="17" y="2"/>
                </a:lnTo>
                <a:lnTo>
                  <a:pt x="17" y="1"/>
                </a:lnTo>
                <a:lnTo>
                  <a:pt x="19" y="1"/>
                </a:lnTo>
                <a:lnTo>
                  <a:pt x="29" y="1"/>
                </a:lnTo>
                <a:lnTo>
                  <a:pt x="34" y="1"/>
                </a:lnTo>
                <a:lnTo>
                  <a:pt x="34" y="0"/>
                </a:lnTo>
                <a:lnTo>
                  <a:pt x="36" y="0"/>
                </a:lnTo>
                <a:lnTo>
                  <a:pt x="40" y="1"/>
                </a:lnTo>
                <a:lnTo>
                  <a:pt x="43" y="1"/>
                </a:lnTo>
                <a:lnTo>
                  <a:pt x="45" y="2"/>
                </a:lnTo>
                <a:lnTo>
                  <a:pt x="46" y="2"/>
                </a:lnTo>
                <a:lnTo>
                  <a:pt x="47" y="3"/>
                </a:lnTo>
                <a:lnTo>
                  <a:pt x="44" y="4"/>
                </a:lnTo>
                <a:lnTo>
                  <a:pt x="45" y="5"/>
                </a:lnTo>
                <a:lnTo>
                  <a:pt x="43" y="5"/>
                </a:lnTo>
                <a:lnTo>
                  <a:pt x="38" y="7"/>
                </a:lnTo>
                <a:lnTo>
                  <a:pt x="41" y="7"/>
                </a:lnTo>
                <a:lnTo>
                  <a:pt x="43" y="5"/>
                </a:lnTo>
                <a:lnTo>
                  <a:pt x="46" y="5"/>
                </a:lnTo>
                <a:lnTo>
                  <a:pt x="47" y="4"/>
                </a:lnTo>
                <a:lnTo>
                  <a:pt x="50" y="3"/>
                </a:lnTo>
                <a:lnTo>
                  <a:pt x="49" y="2"/>
                </a:lnTo>
                <a:lnTo>
                  <a:pt x="48" y="2"/>
                </a:lnTo>
                <a:lnTo>
                  <a:pt x="47" y="2"/>
                </a:lnTo>
                <a:lnTo>
                  <a:pt x="48" y="2"/>
                </a:lnTo>
                <a:lnTo>
                  <a:pt x="53" y="2"/>
                </a:lnTo>
                <a:lnTo>
                  <a:pt x="53" y="2"/>
                </a:lnTo>
                <a:lnTo>
                  <a:pt x="54" y="2"/>
                </a:lnTo>
                <a:lnTo>
                  <a:pt x="57" y="2"/>
                </a:lnTo>
                <a:lnTo>
                  <a:pt x="59" y="2"/>
                </a:lnTo>
                <a:lnTo>
                  <a:pt x="60" y="3"/>
                </a:lnTo>
                <a:lnTo>
                  <a:pt x="66" y="4"/>
                </a:lnTo>
                <a:lnTo>
                  <a:pt x="66" y="5"/>
                </a:lnTo>
                <a:lnTo>
                  <a:pt x="67" y="4"/>
                </a:lnTo>
                <a:lnTo>
                  <a:pt x="68" y="5"/>
                </a:lnTo>
                <a:lnTo>
                  <a:pt x="68" y="7"/>
                </a:lnTo>
                <a:lnTo>
                  <a:pt x="69" y="7"/>
                </a:lnTo>
                <a:lnTo>
                  <a:pt x="71" y="7"/>
                </a:lnTo>
                <a:lnTo>
                  <a:pt x="73" y="7"/>
                </a:lnTo>
                <a:lnTo>
                  <a:pt x="70" y="7"/>
                </a:lnTo>
                <a:lnTo>
                  <a:pt x="70" y="8"/>
                </a:lnTo>
                <a:lnTo>
                  <a:pt x="70" y="9"/>
                </a:lnTo>
                <a:lnTo>
                  <a:pt x="70" y="9"/>
                </a:lnTo>
                <a:lnTo>
                  <a:pt x="70" y="9"/>
                </a:lnTo>
                <a:lnTo>
                  <a:pt x="71" y="10"/>
                </a:lnTo>
                <a:lnTo>
                  <a:pt x="74" y="11"/>
                </a:lnTo>
                <a:lnTo>
                  <a:pt x="74" y="12"/>
                </a:lnTo>
                <a:lnTo>
                  <a:pt x="66" y="11"/>
                </a:lnTo>
                <a:lnTo>
                  <a:pt x="67" y="12"/>
                </a:lnTo>
                <a:lnTo>
                  <a:pt x="73" y="13"/>
                </a:lnTo>
                <a:lnTo>
                  <a:pt x="75" y="13"/>
                </a:lnTo>
                <a:lnTo>
                  <a:pt x="75" y="14"/>
                </a:lnTo>
                <a:lnTo>
                  <a:pt x="78" y="15"/>
                </a:lnTo>
                <a:lnTo>
                  <a:pt x="79" y="15"/>
                </a:lnTo>
                <a:lnTo>
                  <a:pt x="79" y="17"/>
                </a:lnTo>
                <a:lnTo>
                  <a:pt x="80" y="17"/>
                </a:lnTo>
                <a:lnTo>
                  <a:pt x="79" y="18"/>
                </a:lnTo>
                <a:lnTo>
                  <a:pt x="77" y="18"/>
                </a:lnTo>
                <a:lnTo>
                  <a:pt x="78" y="19"/>
                </a:lnTo>
                <a:lnTo>
                  <a:pt x="75" y="18"/>
                </a:lnTo>
                <a:lnTo>
                  <a:pt x="74" y="19"/>
                </a:lnTo>
                <a:lnTo>
                  <a:pt x="61" y="19"/>
                </a:lnTo>
                <a:lnTo>
                  <a:pt x="60" y="18"/>
                </a:lnTo>
                <a:lnTo>
                  <a:pt x="58" y="18"/>
                </a:lnTo>
                <a:lnTo>
                  <a:pt x="55" y="17"/>
                </a:lnTo>
                <a:lnTo>
                  <a:pt x="53" y="17"/>
                </a:lnTo>
                <a:lnTo>
                  <a:pt x="44" y="15"/>
                </a:lnTo>
                <a:lnTo>
                  <a:pt x="44" y="15"/>
                </a:lnTo>
                <a:lnTo>
                  <a:pt x="41" y="15"/>
                </a:lnTo>
                <a:lnTo>
                  <a:pt x="40" y="15"/>
                </a:lnTo>
                <a:lnTo>
                  <a:pt x="39" y="15"/>
                </a:lnTo>
                <a:lnTo>
                  <a:pt x="37" y="14"/>
                </a:lnTo>
                <a:lnTo>
                  <a:pt x="36" y="13"/>
                </a:lnTo>
                <a:lnTo>
                  <a:pt x="34" y="14"/>
                </a:lnTo>
                <a:lnTo>
                  <a:pt x="31" y="15"/>
                </a:lnTo>
                <a:lnTo>
                  <a:pt x="29" y="14"/>
                </a:lnTo>
                <a:lnTo>
                  <a:pt x="27" y="14"/>
                </a:lnTo>
                <a:lnTo>
                  <a:pt x="25" y="13"/>
                </a:lnTo>
                <a:lnTo>
                  <a:pt x="21" y="13"/>
                </a:lnTo>
                <a:lnTo>
                  <a:pt x="19" y="12"/>
                </a:lnTo>
                <a:lnTo>
                  <a:pt x="18" y="12"/>
                </a:lnTo>
                <a:lnTo>
                  <a:pt x="17" y="10"/>
                </a:lnTo>
                <a:lnTo>
                  <a:pt x="16" y="10"/>
                </a:lnTo>
                <a:lnTo>
                  <a:pt x="15" y="10"/>
                </a:lnTo>
                <a:lnTo>
                  <a:pt x="15" y="9"/>
                </a:lnTo>
                <a:lnTo>
                  <a:pt x="13" y="9"/>
                </a:lnTo>
                <a:lnTo>
                  <a:pt x="11" y="10"/>
                </a:lnTo>
                <a:lnTo>
                  <a:pt x="10" y="9"/>
                </a:lnTo>
                <a:lnTo>
                  <a:pt x="9" y="9"/>
                </a:lnTo>
                <a:lnTo>
                  <a:pt x="8" y="9"/>
                </a:lnTo>
                <a:lnTo>
                  <a:pt x="6" y="9"/>
                </a:lnTo>
                <a:lnTo>
                  <a:pt x="5" y="9"/>
                </a:lnTo>
                <a:lnTo>
                  <a:pt x="5" y="9"/>
                </a:lnTo>
                <a:lnTo>
                  <a:pt x="5" y="9"/>
                </a:lnTo>
                <a:lnTo>
                  <a:pt x="5" y="10"/>
                </a:lnTo>
                <a:lnTo>
                  <a:pt x="3" y="9"/>
                </a:lnTo>
                <a:lnTo>
                  <a:pt x="0" y="8"/>
                </a:lnTo>
                <a:lnTo>
                  <a:pt x="3" y="8"/>
                </a:lnTo>
                <a:lnTo>
                  <a:pt x="7" y="7"/>
                </a:lnTo>
                <a:lnTo>
                  <a:pt x="7" y="7"/>
                </a:lnTo>
                <a:lnTo>
                  <a:pt x="7" y="5"/>
                </a:lnTo>
                <a:lnTo>
                  <a:pt x="11" y="5"/>
                </a:lnTo>
                <a:lnTo>
                  <a:pt x="13" y="5"/>
                </a:lnTo>
                <a:lnTo>
                  <a:pt x="13" y="4"/>
                </a:lnTo>
                <a:lnTo>
                  <a:pt x="10" y="4"/>
                </a:lnTo>
                <a:lnTo>
                  <a:pt x="8" y="3"/>
                </a:lnTo>
                <a:lnTo>
                  <a:pt x="8" y="3"/>
                </a:lnTo>
                <a:lnTo>
                  <a:pt x="10" y="2"/>
                </a:lnTo>
                <a:lnTo>
                  <a:pt x="13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67" name="Freeform 566"/>
          <p:cNvSpPr>
            <a:spLocks/>
          </p:cNvSpPr>
          <p:nvPr/>
        </p:nvSpPr>
        <p:spPr bwMode="auto">
          <a:xfrm>
            <a:off x="5829300" y="1389028"/>
            <a:ext cx="127000" cy="30163"/>
          </a:xfrm>
          <a:custGeom>
            <a:avLst/>
            <a:gdLst>
              <a:gd name="T0" fmla="*/ 14 w 80"/>
              <a:gd name="T1" fmla="*/ 2 h 19"/>
              <a:gd name="T2" fmla="*/ 13 w 80"/>
              <a:gd name="T3" fmla="*/ 1 h 19"/>
              <a:gd name="T4" fmla="*/ 17 w 80"/>
              <a:gd name="T5" fmla="*/ 2 h 19"/>
              <a:gd name="T6" fmla="*/ 19 w 80"/>
              <a:gd name="T7" fmla="*/ 1 h 19"/>
              <a:gd name="T8" fmla="*/ 34 w 80"/>
              <a:gd name="T9" fmla="*/ 1 h 19"/>
              <a:gd name="T10" fmla="*/ 36 w 80"/>
              <a:gd name="T11" fmla="*/ 0 h 19"/>
              <a:gd name="T12" fmla="*/ 43 w 80"/>
              <a:gd name="T13" fmla="*/ 1 h 19"/>
              <a:gd name="T14" fmla="*/ 46 w 80"/>
              <a:gd name="T15" fmla="*/ 2 h 19"/>
              <a:gd name="T16" fmla="*/ 44 w 80"/>
              <a:gd name="T17" fmla="*/ 4 h 19"/>
              <a:gd name="T18" fmla="*/ 43 w 80"/>
              <a:gd name="T19" fmla="*/ 5 h 19"/>
              <a:gd name="T20" fmla="*/ 41 w 80"/>
              <a:gd name="T21" fmla="*/ 7 h 19"/>
              <a:gd name="T22" fmla="*/ 46 w 80"/>
              <a:gd name="T23" fmla="*/ 5 h 19"/>
              <a:gd name="T24" fmla="*/ 50 w 80"/>
              <a:gd name="T25" fmla="*/ 3 h 19"/>
              <a:gd name="T26" fmla="*/ 48 w 80"/>
              <a:gd name="T27" fmla="*/ 2 h 19"/>
              <a:gd name="T28" fmla="*/ 48 w 80"/>
              <a:gd name="T29" fmla="*/ 2 h 19"/>
              <a:gd name="T30" fmla="*/ 53 w 80"/>
              <a:gd name="T31" fmla="*/ 2 h 19"/>
              <a:gd name="T32" fmla="*/ 57 w 80"/>
              <a:gd name="T33" fmla="*/ 2 h 19"/>
              <a:gd name="T34" fmla="*/ 60 w 80"/>
              <a:gd name="T35" fmla="*/ 3 h 19"/>
              <a:gd name="T36" fmla="*/ 66 w 80"/>
              <a:gd name="T37" fmla="*/ 5 h 19"/>
              <a:gd name="T38" fmla="*/ 68 w 80"/>
              <a:gd name="T39" fmla="*/ 5 h 19"/>
              <a:gd name="T40" fmla="*/ 69 w 80"/>
              <a:gd name="T41" fmla="*/ 7 h 19"/>
              <a:gd name="T42" fmla="*/ 73 w 80"/>
              <a:gd name="T43" fmla="*/ 7 h 19"/>
              <a:gd name="T44" fmla="*/ 70 w 80"/>
              <a:gd name="T45" fmla="*/ 8 h 19"/>
              <a:gd name="T46" fmla="*/ 70 w 80"/>
              <a:gd name="T47" fmla="*/ 9 h 19"/>
              <a:gd name="T48" fmla="*/ 71 w 80"/>
              <a:gd name="T49" fmla="*/ 10 h 19"/>
              <a:gd name="T50" fmla="*/ 74 w 80"/>
              <a:gd name="T51" fmla="*/ 12 h 19"/>
              <a:gd name="T52" fmla="*/ 67 w 80"/>
              <a:gd name="T53" fmla="*/ 12 h 19"/>
              <a:gd name="T54" fmla="*/ 75 w 80"/>
              <a:gd name="T55" fmla="*/ 13 h 19"/>
              <a:gd name="T56" fmla="*/ 78 w 80"/>
              <a:gd name="T57" fmla="*/ 15 h 19"/>
              <a:gd name="T58" fmla="*/ 79 w 80"/>
              <a:gd name="T59" fmla="*/ 17 h 19"/>
              <a:gd name="T60" fmla="*/ 79 w 80"/>
              <a:gd name="T61" fmla="*/ 18 h 19"/>
              <a:gd name="T62" fmla="*/ 78 w 80"/>
              <a:gd name="T63" fmla="*/ 19 h 19"/>
              <a:gd name="T64" fmla="*/ 74 w 80"/>
              <a:gd name="T65" fmla="*/ 19 h 19"/>
              <a:gd name="T66" fmla="*/ 60 w 80"/>
              <a:gd name="T67" fmla="*/ 18 h 19"/>
              <a:gd name="T68" fmla="*/ 55 w 80"/>
              <a:gd name="T69" fmla="*/ 17 h 19"/>
              <a:gd name="T70" fmla="*/ 44 w 80"/>
              <a:gd name="T71" fmla="*/ 15 h 19"/>
              <a:gd name="T72" fmla="*/ 41 w 80"/>
              <a:gd name="T73" fmla="*/ 15 h 19"/>
              <a:gd name="T74" fmla="*/ 39 w 80"/>
              <a:gd name="T75" fmla="*/ 15 h 19"/>
              <a:gd name="T76" fmla="*/ 36 w 80"/>
              <a:gd name="T77" fmla="*/ 13 h 19"/>
              <a:gd name="T78" fmla="*/ 31 w 80"/>
              <a:gd name="T79" fmla="*/ 15 h 19"/>
              <a:gd name="T80" fmla="*/ 27 w 80"/>
              <a:gd name="T81" fmla="*/ 14 h 19"/>
              <a:gd name="T82" fmla="*/ 21 w 80"/>
              <a:gd name="T83" fmla="*/ 13 h 19"/>
              <a:gd name="T84" fmla="*/ 18 w 80"/>
              <a:gd name="T85" fmla="*/ 12 h 19"/>
              <a:gd name="T86" fmla="*/ 16 w 80"/>
              <a:gd name="T87" fmla="*/ 10 h 19"/>
              <a:gd name="T88" fmla="*/ 15 w 80"/>
              <a:gd name="T89" fmla="*/ 9 h 19"/>
              <a:gd name="T90" fmla="*/ 11 w 80"/>
              <a:gd name="T91" fmla="*/ 10 h 19"/>
              <a:gd name="T92" fmla="*/ 9 w 80"/>
              <a:gd name="T93" fmla="*/ 9 h 19"/>
              <a:gd name="T94" fmla="*/ 6 w 80"/>
              <a:gd name="T95" fmla="*/ 9 h 19"/>
              <a:gd name="T96" fmla="*/ 5 w 80"/>
              <a:gd name="T97" fmla="*/ 9 h 19"/>
              <a:gd name="T98" fmla="*/ 5 w 80"/>
              <a:gd name="T99" fmla="*/ 10 h 19"/>
              <a:gd name="T100" fmla="*/ 0 w 80"/>
              <a:gd name="T101" fmla="*/ 8 h 19"/>
              <a:gd name="T102" fmla="*/ 7 w 80"/>
              <a:gd name="T103" fmla="*/ 7 h 19"/>
              <a:gd name="T104" fmla="*/ 7 w 80"/>
              <a:gd name="T105" fmla="*/ 5 h 19"/>
              <a:gd name="T106" fmla="*/ 13 w 80"/>
              <a:gd name="T107" fmla="*/ 5 h 19"/>
              <a:gd name="T108" fmla="*/ 10 w 80"/>
              <a:gd name="T109" fmla="*/ 4 h 19"/>
              <a:gd name="T110" fmla="*/ 8 w 80"/>
              <a:gd name="T111" fmla="*/ 3 h 19"/>
              <a:gd name="T112" fmla="*/ 13 w 80"/>
              <a:gd name="T113" fmla="*/ 2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0" h="19">
                <a:moveTo>
                  <a:pt x="13" y="2"/>
                </a:moveTo>
                <a:lnTo>
                  <a:pt x="14" y="2"/>
                </a:lnTo>
                <a:lnTo>
                  <a:pt x="13" y="1"/>
                </a:lnTo>
                <a:lnTo>
                  <a:pt x="13" y="1"/>
                </a:lnTo>
                <a:lnTo>
                  <a:pt x="16" y="2"/>
                </a:lnTo>
                <a:lnTo>
                  <a:pt x="17" y="2"/>
                </a:lnTo>
                <a:lnTo>
                  <a:pt x="17" y="1"/>
                </a:lnTo>
                <a:lnTo>
                  <a:pt x="19" y="1"/>
                </a:lnTo>
                <a:lnTo>
                  <a:pt x="29" y="1"/>
                </a:lnTo>
                <a:lnTo>
                  <a:pt x="34" y="1"/>
                </a:lnTo>
                <a:lnTo>
                  <a:pt x="34" y="0"/>
                </a:lnTo>
                <a:lnTo>
                  <a:pt x="36" y="0"/>
                </a:lnTo>
                <a:lnTo>
                  <a:pt x="40" y="1"/>
                </a:lnTo>
                <a:lnTo>
                  <a:pt x="43" y="1"/>
                </a:lnTo>
                <a:lnTo>
                  <a:pt x="45" y="2"/>
                </a:lnTo>
                <a:lnTo>
                  <a:pt x="46" y="2"/>
                </a:lnTo>
                <a:lnTo>
                  <a:pt x="47" y="3"/>
                </a:lnTo>
                <a:lnTo>
                  <a:pt x="44" y="4"/>
                </a:lnTo>
                <a:lnTo>
                  <a:pt x="45" y="5"/>
                </a:lnTo>
                <a:lnTo>
                  <a:pt x="43" y="5"/>
                </a:lnTo>
                <a:lnTo>
                  <a:pt x="38" y="7"/>
                </a:lnTo>
                <a:lnTo>
                  <a:pt x="41" y="7"/>
                </a:lnTo>
                <a:lnTo>
                  <a:pt x="43" y="5"/>
                </a:lnTo>
                <a:lnTo>
                  <a:pt x="46" y="5"/>
                </a:lnTo>
                <a:lnTo>
                  <a:pt x="47" y="4"/>
                </a:lnTo>
                <a:lnTo>
                  <a:pt x="50" y="3"/>
                </a:lnTo>
                <a:lnTo>
                  <a:pt x="49" y="2"/>
                </a:lnTo>
                <a:lnTo>
                  <a:pt x="48" y="2"/>
                </a:lnTo>
                <a:lnTo>
                  <a:pt x="47" y="2"/>
                </a:lnTo>
                <a:lnTo>
                  <a:pt x="48" y="2"/>
                </a:lnTo>
                <a:lnTo>
                  <a:pt x="53" y="2"/>
                </a:lnTo>
                <a:lnTo>
                  <a:pt x="53" y="2"/>
                </a:lnTo>
                <a:lnTo>
                  <a:pt x="54" y="2"/>
                </a:lnTo>
                <a:lnTo>
                  <a:pt x="57" y="2"/>
                </a:lnTo>
                <a:lnTo>
                  <a:pt x="59" y="2"/>
                </a:lnTo>
                <a:lnTo>
                  <a:pt x="60" y="3"/>
                </a:lnTo>
                <a:lnTo>
                  <a:pt x="66" y="4"/>
                </a:lnTo>
                <a:lnTo>
                  <a:pt x="66" y="5"/>
                </a:lnTo>
                <a:lnTo>
                  <a:pt x="67" y="4"/>
                </a:lnTo>
                <a:lnTo>
                  <a:pt x="68" y="5"/>
                </a:lnTo>
                <a:lnTo>
                  <a:pt x="68" y="7"/>
                </a:lnTo>
                <a:lnTo>
                  <a:pt x="69" y="7"/>
                </a:lnTo>
                <a:lnTo>
                  <a:pt x="71" y="7"/>
                </a:lnTo>
                <a:lnTo>
                  <a:pt x="73" y="7"/>
                </a:lnTo>
                <a:lnTo>
                  <a:pt x="70" y="7"/>
                </a:lnTo>
                <a:lnTo>
                  <a:pt x="70" y="8"/>
                </a:lnTo>
                <a:lnTo>
                  <a:pt x="70" y="9"/>
                </a:lnTo>
                <a:lnTo>
                  <a:pt x="70" y="9"/>
                </a:lnTo>
                <a:lnTo>
                  <a:pt x="70" y="9"/>
                </a:lnTo>
                <a:lnTo>
                  <a:pt x="71" y="10"/>
                </a:lnTo>
                <a:lnTo>
                  <a:pt x="74" y="11"/>
                </a:lnTo>
                <a:lnTo>
                  <a:pt x="74" y="12"/>
                </a:lnTo>
                <a:lnTo>
                  <a:pt x="66" y="11"/>
                </a:lnTo>
                <a:lnTo>
                  <a:pt x="67" y="12"/>
                </a:lnTo>
                <a:lnTo>
                  <a:pt x="73" y="13"/>
                </a:lnTo>
                <a:lnTo>
                  <a:pt x="75" y="13"/>
                </a:lnTo>
                <a:lnTo>
                  <a:pt x="75" y="14"/>
                </a:lnTo>
                <a:lnTo>
                  <a:pt x="78" y="15"/>
                </a:lnTo>
                <a:lnTo>
                  <a:pt x="79" y="15"/>
                </a:lnTo>
                <a:lnTo>
                  <a:pt x="79" y="17"/>
                </a:lnTo>
                <a:lnTo>
                  <a:pt x="80" y="17"/>
                </a:lnTo>
                <a:lnTo>
                  <a:pt x="79" y="18"/>
                </a:lnTo>
                <a:lnTo>
                  <a:pt x="77" y="18"/>
                </a:lnTo>
                <a:lnTo>
                  <a:pt x="78" y="19"/>
                </a:lnTo>
                <a:lnTo>
                  <a:pt x="75" y="18"/>
                </a:lnTo>
                <a:lnTo>
                  <a:pt x="74" y="19"/>
                </a:lnTo>
                <a:lnTo>
                  <a:pt x="61" y="19"/>
                </a:lnTo>
                <a:lnTo>
                  <a:pt x="60" y="18"/>
                </a:lnTo>
                <a:lnTo>
                  <a:pt x="58" y="18"/>
                </a:lnTo>
                <a:lnTo>
                  <a:pt x="55" y="17"/>
                </a:lnTo>
                <a:lnTo>
                  <a:pt x="53" y="17"/>
                </a:lnTo>
                <a:lnTo>
                  <a:pt x="44" y="15"/>
                </a:lnTo>
                <a:lnTo>
                  <a:pt x="44" y="15"/>
                </a:lnTo>
                <a:lnTo>
                  <a:pt x="41" y="15"/>
                </a:lnTo>
                <a:lnTo>
                  <a:pt x="40" y="15"/>
                </a:lnTo>
                <a:lnTo>
                  <a:pt x="39" y="15"/>
                </a:lnTo>
                <a:lnTo>
                  <a:pt x="37" y="14"/>
                </a:lnTo>
                <a:lnTo>
                  <a:pt x="36" y="13"/>
                </a:lnTo>
                <a:lnTo>
                  <a:pt x="34" y="14"/>
                </a:lnTo>
                <a:lnTo>
                  <a:pt x="31" y="15"/>
                </a:lnTo>
                <a:lnTo>
                  <a:pt x="29" y="14"/>
                </a:lnTo>
                <a:lnTo>
                  <a:pt x="27" y="14"/>
                </a:lnTo>
                <a:lnTo>
                  <a:pt x="25" y="13"/>
                </a:lnTo>
                <a:lnTo>
                  <a:pt x="21" y="13"/>
                </a:lnTo>
                <a:lnTo>
                  <a:pt x="19" y="12"/>
                </a:lnTo>
                <a:lnTo>
                  <a:pt x="18" y="12"/>
                </a:lnTo>
                <a:lnTo>
                  <a:pt x="17" y="10"/>
                </a:lnTo>
                <a:lnTo>
                  <a:pt x="16" y="10"/>
                </a:lnTo>
                <a:lnTo>
                  <a:pt x="15" y="10"/>
                </a:lnTo>
                <a:lnTo>
                  <a:pt x="15" y="9"/>
                </a:lnTo>
                <a:lnTo>
                  <a:pt x="13" y="9"/>
                </a:lnTo>
                <a:lnTo>
                  <a:pt x="11" y="10"/>
                </a:lnTo>
                <a:lnTo>
                  <a:pt x="10" y="9"/>
                </a:lnTo>
                <a:lnTo>
                  <a:pt x="9" y="9"/>
                </a:lnTo>
                <a:lnTo>
                  <a:pt x="8" y="9"/>
                </a:lnTo>
                <a:lnTo>
                  <a:pt x="6" y="9"/>
                </a:lnTo>
                <a:lnTo>
                  <a:pt x="5" y="9"/>
                </a:lnTo>
                <a:lnTo>
                  <a:pt x="5" y="9"/>
                </a:lnTo>
                <a:lnTo>
                  <a:pt x="5" y="9"/>
                </a:lnTo>
                <a:lnTo>
                  <a:pt x="5" y="10"/>
                </a:lnTo>
                <a:lnTo>
                  <a:pt x="3" y="9"/>
                </a:lnTo>
                <a:lnTo>
                  <a:pt x="0" y="8"/>
                </a:lnTo>
                <a:lnTo>
                  <a:pt x="3" y="8"/>
                </a:lnTo>
                <a:lnTo>
                  <a:pt x="7" y="7"/>
                </a:lnTo>
                <a:lnTo>
                  <a:pt x="7" y="7"/>
                </a:lnTo>
                <a:lnTo>
                  <a:pt x="7" y="5"/>
                </a:lnTo>
                <a:lnTo>
                  <a:pt x="11" y="5"/>
                </a:lnTo>
                <a:lnTo>
                  <a:pt x="13" y="5"/>
                </a:lnTo>
                <a:lnTo>
                  <a:pt x="13" y="4"/>
                </a:lnTo>
                <a:lnTo>
                  <a:pt x="10" y="4"/>
                </a:lnTo>
                <a:lnTo>
                  <a:pt x="8" y="3"/>
                </a:lnTo>
                <a:lnTo>
                  <a:pt x="8" y="3"/>
                </a:lnTo>
                <a:lnTo>
                  <a:pt x="10" y="2"/>
                </a:lnTo>
                <a:lnTo>
                  <a:pt x="13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68" name="Freeform 567"/>
          <p:cNvSpPr>
            <a:spLocks/>
          </p:cNvSpPr>
          <p:nvPr/>
        </p:nvSpPr>
        <p:spPr bwMode="auto">
          <a:xfrm>
            <a:off x="5972175" y="1404903"/>
            <a:ext cx="90487" cy="31750"/>
          </a:xfrm>
          <a:custGeom>
            <a:avLst/>
            <a:gdLst>
              <a:gd name="T0" fmla="*/ 1 w 57"/>
              <a:gd name="T1" fmla="*/ 12 h 20"/>
              <a:gd name="T2" fmla="*/ 1 w 57"/>
              <a:gd name="T3" fmla="*/ 11 h 20"/>
              <a:gd name="T4" fmla="*/ 1 w 57"/>
              <a:gd name="T5" fmla="*/ 8 h 20"/>
              <a:gd name="T6" fmla="*/ 7 w 57"/>
              <a:gd name="T7" fmla="*/ 9 h 20"/>
              <a:gd name="T8" fmla="*/ 1 w 57"/>
              <a:gd name="T9" fmla="*/ 7 h 20"/>
              <a:gd name="T10" fmla="*/ 1 w 57"/>
              <a:gd name="T11" fmla="*/ 5 h 20"/>
              <a:gd name="T12" fmla="*/ 1 w 57"/>
              <a:gd name="T13" fmla="*/ 4 h 20"/>
              <a:gd name="T14" fmla="*/ 1 w 57"/>
              <a:gd name="T15" fmla="*/ 4 h 20"/>
              <a:gd name="T16" fmla="*/ 1 w 57"/>
              <a:gd name="T17" fmla="*/ 3 h 20"/>
              <a:gd name="T18" fmla="*/ 4 w 57"/>
              <a:gd name="T19" fmla="*/ 2 h 20"/>
              <a:gd name="T20" fmla="*/ 2 w 57"/>
              <a:gd name="T21" fmla="*/ 1 h 20"/>
              <a:gd name="T22" fmla="*/ 5 w 57"/>
              <a:gd name="T23" fmla="*/ 1 h 20"/>
              <a:gd name="T24" fmla="*/ 9 w 57"/>
              <a:gd name="T25" fmla="*/ 2 h 20"/>
              <a:gd name="T26" fmla="*/ 7 w 57"/>
              <a:gd name="T27" fmla="*/ 0 h 20"/>
              <a:gd name="T28" fmla="*/ 14 w 57"/>
              <a:gd name="T29" fmla="*/ 0 h 20"/>
              <a:gd name="T30" fmla="*/ 15 w 57"/>
              <a:gd name="T31" fmla="*/ 1 h 20"/>
              <a:gd name="T32" fmla="*/ 17 w 57"/>
              <a:gd name="T33" fmla="*/ 1 h 20"/>
              <a:gd name="T34" fmla="*/ 18 w 57"/>
              <a:gd name="T35" fmla="*/ 3 h 20"/>
              <a:gd name="T36" fmla="*/ 19 w 57"/>
              <a:gd name="T37" fmla="*/ 4 h 20"/>
              <a:gd name="T38" fmla="*/ 22 w 57"/>
              <a:gd name="T39" fmla="*/ 4 h 20"/>
              <a:gd name="T40" fmla="*/ 21 w 57"/>
              <a:gd name="T41" fmla="*/ 2 h 20"/>
              <a:gd name="T42" fmla="*/ 26 w 57"/>
              <a:gd name="T43" fmla="*/ 3 h 20"/>
              <a:gd name="T44" fmla="*/ 27 w 57"/>
              <a:gd name="T45" fmla="*/ 4 h 20"/>
              <a:gd name="T46" fmla="*/ 28 w 57"/>
              <a:gd name="T47" fmla="*/ 3 h 20"/>
              <a:gd name="T48" fmla="*/ 31 w 57"/>
              <a:gd name="T49" fmla="*/ 4 h 20"/>
              <a:gd name="T50" fmla="*/ 32 w 57"/>
              <a:gd name="T51" fmla="*/ 5 h 20"/>
              <a:gd name="T52" fmla="*/ 36 w 57"/>
              <a:gd name="T53" fmla="*/ 5 h 20"/>
              <a:gd name="T54" fmla="*/ 36 w 57"/>
              <a:gd name="T55" fmla="*/ 4 h 20"/>
              <a:gd name="T56" fmla="*/ 41 w 57"/>
              <a:gd name="T57" fmla="*/ 7 h 20"/>
              <a:gd name="T58" fmla="*/ 51 w 57"/>
              <a:gd name="T59" fmla="*/ 9 h 20"/>
              <a:gd name="T60" fmla="*/ 54 w 57"/>
              <a:gd name="T61" fmla="*/ 10 h 20"/>
              <a:gd name="T62" fmla="*/ 56 w 57"/>
              <a:gd name="T63" fmla="*/ 11 h 20"/>
              <a:gd name="T64" fmla="*/ 56 w 57"/>
              <a:gd name="T65" fmla="*/ 14 h 20"/>
              <a:gd name="T66" fmla="*/ 52 w 57"/>
              <a:gd name="T67" fmla="*/ 14 h 20"/>
              <a:gd name="T68" fmla="*/ 44 w 57"/>
              <a:gd name="T69" fmla="*/ 15 h 20"/>
              <a:gd name="T70" fmla="*/ 39 w 57"/>
              <a:gd name="T71" fmla="*/ 15 h 20"/>
              <a:gd name="T72" fmla="*/ 36 w 57"/>
              <a:gd name="T73" fmla="*/ 15 h 20"/>
              <a:gd name="T74" fmla="*/ 35 w 57"/>
              <a:gd name="T75" fmla="*/ 17 h 20"/>
              <a:gd name="T76" fmla="*/ 27 w 57"/>
              <a:gd name="T77" fmla="*/ 17 h 20"/>
              <a:gd name="T78" fmla="*/ 24 w 57"/>
              <a:gd name="T79" fmla="*/ 17 h 20"/>
              <a:gd name="T80" fmla="*/ 17 w 57"/>
              <a:gd name="T81" fmla="*/ 17 h 20"/>
              <a:gd name="T82" fmla="*/ 16 w 57"/>
              <a:gd name="T83" fmla="*/ 18 h 20"/>
              <a:gd name="T84" fmla="*/ 10 w 57"/>
              <a:gd name="T85" fmla="*/ 19 h 20"/>
              <a:gd name="T86" fmla="*/ 4 w 57"/>
              <a:gd name="T87" fmla="*/ 19 h 20"/>
              <a:gd name="T88" fmla="*/ 4 w 57"/>
              <a:gd name="T89" fmla="*/ 19 h 20"/>
              <a:gd name="T90" fmla="*/ 1 w 57"/>
              <a:gd name="T91" fmla="*/ 18 h 20"/>
              <a:gd name="T92" fmla="*/ 0 w 57"/>
              <a:gd name="T93" fmla="*/ 17 h 20"/>
              <a:gd name="T94" fmla="*/ 1 w 57"/>
              <a:gd name="T95" fmla="*/ 13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7" h="20">
                <a:moveTo>
                  <a:pt x="1" y="13"/>
                </a:moveTo>
                <a:lnTo>
                  <a:pt x="1" y="12"/>
                </a:lnTo>
                <a:lnTo>
                  <a:pt x="1" y="12"/>
                </a:lnTo>
                <a:lnTo>
                  <a:pt x="1" y="11"/>
                </a:lnTo>
                <a:lnTo>
                  <a:pt x="0" y="10"/>
                </a:lnTo>
                <a:lnTo>
                  <a:pt x="1" y="8"/>
                </a:lnTo>
                <a:lnTo>
                  <a:pt x="5" y="9"/>
                </a:lnTo>
                <a:lnTo>
                  <a:pt x="7" y="9"/>
                </a:lnTo>
                <a:lnTo>
                  <a:pt x="4" y="8"/>
                </a:lnTo>
                <a:lnTo>
                  <a:pt x="1" y="7"/>
                </a:lnTo>
                <a:lnTo>
                  <a:pt x="0" y="5"/>
                </a:lnTo>
                <a:lnTo>
                  <a:pt x="1" y="5"/>
                </a:lnTo>
                <a:lnTo>
                  <a:pt x="2" y="5"/>
                </a:lnTo>
                <a:lnTo>
                  <a:pt x="1" y="4"/>
                </a:lnTo>
                <a:lnTo>
                  <a:pt x="0" y="4"/>
                </a:lnTo>
                <a:lnTo>
                  <a:pt x="1" y="4"/>
                </a:lnTo>
                <a:lnTo>
                  <a:pt x="4" y="3"/>
                </a:lnTo>
                <a:lnTo>
                  <a:pt x="1" y="3"/>
                </a:lnTo>
                <a:lnTo>
                  <a:pt x="1" y="3"/>
                </a:lnTo>
                <a:lnTo>
                  <a:pt x="4" y="2"/>
                </a:lnTo>
                <a:lnTo>
                  <a:pt x="4" y="2"/>
                </a:lnTo>
                <a:lnTo>
                  <a:pt x="2" y="1"/>
                </a:lnTo>
                <a:lnTo>
                  <a:pt x="2" y="1"/>
                </a:lnTo>
                <a:lnTo>
                  <a:pt x="5" y="1"/>
                </a:lnTo>
                <a:lnTo>
                  <a:pt x="6" y="2"/>
                </a:lnTo>
                <a:lnTo>
                  <a:pt x="9" y="2"/>
                </a:lnTo>
                <a:lnTo>
                  <a:pt x="9" y="2"/>
                </a:lnTo>
                <a:lnTo>
                  <a:pt x="7" y="0"/>
                </a:lnTo>
                <a:lnTo>
                  <a:pt x="8" y="0"/>
                </a:lnTo>
                <a:lnTo>
                  <a:pt x="14" y="0"/>
                </a:lnTo>
                <a:lnTo>
                  <a:pt x="16" y="1"/>
                </a:lnTo>
                <a:lnTo>
                  <a:pt x="15" y="1"/>
                </a:lnTo>
                <a:lnTo>
                  <a:pt x="16" y="1"/>
                </a:lnTo>
                <a:lnTo>
                  <a:pt x="17" y="1"/>
                </a:lnTo>
                <a:lnTo>
                  <a:pt x="18" y="2"/>
                </a:lnTo>
                <a:lnTo>
                  <a:pt x="18" y="3"/>
                </a:lnTo>
                <a:lnTo>
                  <a:pt x="19" y="4"/>
                </a:lnTo>
                <a:lnTo>
                  <a:pt x="19" y="4"/>
                </a:lnTo>
                <a:lnTo>
                  <a:pt x="20" y="5"/>
                </a:lnTo>
                <a:lnTo>
                  <a:pt x="22" y="4"/>
                </a:lnTo>
                <a:lnTo>
                  <a:pt x="22" y="3"/>
                </a:lnTo>
                <a:lnTo>
                  <a:pt x="21" y="2"/>
                </a:lnTo>
                <a:lnTo>
                  <a:pt x="22" y="2"/>
                </a:lnTo>
                <a:lnTo>
                  <a:pt x="26" y="3"/>
                </a:lnTo>
                <a:lnTo>
                  <a:pt x="27" y="4"/>
                </a:lnTo>
                <a:lnTo>
                  <a:pt x="27" y="4"/>
                </a:lnTo>
                <a:lnTo>
                  <a:pt x="28" y="3"/>
                </a:lnTo>
                <a:lnTo>
                  <a:pt x="28" y="3"/>
                </a:lnTo>
                <a:lnTo>
                  <a:pt x="29" y="3"/>
                </a:lnTo>
                <a:lnTo>
                  <a:pt x="31" y="4"/>
                </a:lnTo>
                <a:lnTo>
                  <a:pt x="32" y="4"/>
                </a:lnTo>
                <a:lnTo>
                  <a:pt x="32" y="5"/>
                </a:lnTo>
                <a:lnTo>
                  <a:pt x="35" y="5"/>
                </a:lnTo>
                <a:lnTo>
                  <a:pt x="36" y="5"/>
                </a:lnTo>
                <a:lnTo>
                  <a:pt x="35" y="5"/>
                </a:lnTo>
                <a:lnTo>
                  <a:pt x="36" y="4"/>
                </a:lnTo>
                <a:lnTo>
                  <a:pt x="38" y="5"/>
                </a:lnTo>
                <a:lnTo>
                  <a:pt x="41" y="7"/>
                </a:lnTo>
                <a:lnTo>
                  <a:pt x="49" y="8"/>
                </a:lnTo>
                <a:lnTo>
                  <a:pt x="51" y="9"/>
                </a:lnTo>
                <a:lnTo>
                  <a:pt x="52" y="10"/>
                </a:lnTo>
                <a:lnTo>
                  <a:pt x="54" y="10"/>
                </a:lnTo>
                <a:lnTo>
                  <a:pt x="55" y="11"/>
                </a:lnTo>
                <a:lnTo>
                  <a:pt x="56" y="11"/>
                </a:lnTo>
                <a:lnTo>
                  <a:pt x="57" y="12"/>
                </a:lnTo>
                <a:lnTo>
                  <a:pt x="56" y="14"/>
                </a:lnTo>
                <a:lnTo>
                  <a:pt x="55" y="14"/>
                </a:lnTo>
                <a:lnTo>
                  <a:pt x="52" y="14"/>
                </a:lnTo>
                <a:lnTo>
                  <a:pt x="49" y="14"/>
                </a:lnTo>
                <a:lnTo>
                  <a:pt x="44" y="15"/>
                </a:lnTo>
                <a:lnTo>
                  <a:pt x="40" y="15"/>
                </a:lnTo>
                <a:lnTo>
                  <a:pt x="39" y="15"/>
                </a:lnTo>
                <a:lnTo>
                  <a:pt x="37" y="15"/>
                </a:lnTo>
                <a:lnTo>
                  <a:pt x="36" y="15"/>
                </a:lnTo>
                <a:lnTo>
                  <a:pt x="36" y="17"/>
                </a:lnTo>
                <a:lnTo>
                  <a:pt x="35" y="17"/>
                </a:lnTo>
                <a:lnTo>
                  <a:pt x="31" y="15"/>
                </a:lnTo>
                <a:lnTo>
                  <a:pt x="27" y="17"/>
                </a:lnTo>
                <a:lnTo>
                  <a:pt x="25" y="15"/>
                </a:lnTo>
                <a:lnTo>
                  <a:pt x="24" y="17"/>
                </a:lnTo>
                <a:lnTo>
                  <a:pt x="17" y="15"/>
                </a:lnTo>
                <a:lnTo>
                  <a:pt x="17" y="17"/>
                </a:lnTo>
                <a:lnTo>
                  <a:pt x="16" y="17"/>
                </a:lnTo>
                <a:lnTo>
                  <a:pt x="16" y="18"/>
                </a:lnTo>
                <a:lnTo>
                  <a:pt x="11" y="19"/>
                </a:lnTo>
                <a:lnTo>
                  <a:pt x="10" y="19"/>
                </a:lnTo>
                <a:lnTo>
                  <a:pt x="9" y="20"/>
                </a:lnTo>
                <a:lnTo>
                  <a:pt x="4" y="19"/>
                </a:lnTo>
                <a:lnTo>
                  <a:pt x="4" y="19"/>
                </a:lnTo>
                <a:lnTo>
                  <a:pt x="4" y="19"/>
                </a:lnTo>
                <a:lnTo>
                  <a:pt x="4" y="18"/>
                </a:lnTo>
                <a:lnTo>
                  <a:pt x="1" y="18"/>
                </a:lnTo>
                <a:lnTo>
                  <a:pt x="0" y="17"/>
                </a:lnTo>
                <a:lnTo>
                  <a:pt x="0" y="17"/>
                </a:lnTo>
                <a:lnTo>
                  <a:pt x="2" y="13"/>
                </a:lnTo>
                <a:lnTo>
                  <a:pt x="1" y="13"/>
                </a:lnTo>
                <a:lnTo>
                  <a:pt x="1" y="1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69" name="Freeform 568"/>
          <p:cNvSpPr>
            <a:spLocks/>
          </p:cNvSpPr>
          <p:nvPr/>
        </p:nvSpPr>
        <p:spPr bwMode="auto">
          <a:xfrm>
            <a:off x="5972175" y="1404903"/>
            <a:ext cx="90487" cy="31750"/>
          </a:xfrm>
          <a:custGeom>
            <a:avLst/>
            <a:gdLst>
              <a:gd name="T0" fmla="*/ 1 w 57"/>
              <a:gd name="T1" fmla="*/ 12 h 20"/>
              <a:gd name="T2" fmla="*/ 1 w 57"/>
              <a:gd name="T3" fmla="*/ 11 h 20"/>
              <a:gd name="T4" fmla="*/ 1 w 57"/>
              <a:gd name="T5" fmla="*/ 8 h 20"/>
              <a:gd name="T6" fmla="*/ 7 w 57"/>
              <a:gd name="T7" fmla="*/ 9 h 20"/>
              <a:gd name="T8" fmla="*/ 1 w 57"/>
              <a:gd name="T9" fmla="*/ 7 h 20"/>
              <a:gd name="T10" fmla="*/ 1 w 57"/>
              <a:gd name="T11" fmla="*/ 5 h 20"/>
              <a:gd name="T12" fmla="*/ 1 w 57"/>
              <a:gd name="T13" fmla="*/ 4 h 20"/>
              <a:gd name="T14" fmla="*/ 1 w 57"/>
              <a:gd name="T15" fmla="*/ 4 h 20"/>
              <a:gd name="T16" fmla="*/ 1 w 57"/>
              <a:gd name="T17" fmla="*/ 3 h 20"/>
              <a:gd name="T18" fmla="*/ 4 w 57"/>
              <a:gd name="T19" fmla="*/ 2 h 20"/>
              <a:gd name="T20" fmla="*/ 2 w 57"/>
              <a:gd name="T21" fmla="*/ 1 h 20"/>
              <a:gd name="T22" fmla="*/ 5 w 57"/>
              <a:gd name="T23" fmla="*/ 1 h 20"/>
              <a:gd name="T24" fmla="*/ 9 w 57"/>
              <a:gd name="T25" fmla="*/ 2 h 20"/>
              <a:gd name="T26" fmla="*/ 7 w 57"/>
              <a:gd name="T27" fmla="*/ 0 h 20"/>
              <a:gd name="T28" fmla="*/ 14 w 57"/>
              <a:gd name="T29" fmla="*/ 0 h 20"/>
              <a:gd name="T30" fmla="*/ 15 w 57"/>
              <a:gd name="T31" fmla="*/ 1 h 20"/>
              <a:gd name="T32" fmla="*/ 17 w 57"/>
              <a:gd name="T33" fmla="*/ 1 h 20"/>
              <a:gd name="T34" fmla="*/ 18 w 57"/>
              <a:gd name="T35" fmla="*/ 3 h 20"/>
              <a:gd name="T36" fmla="*/ 19 w 57"/>
              <a:gd name="T37" fmla="*/ 4 h 20"/>
              <a:gd name="T38" fmla="*/ 22 w 57"/>
              <a:gd name="T39" fmla="*/ 4 h 20"/>
              <a:gd name="T40" fmla="*/ 21 w 57"/>
              <a:gd name="T41" fmla="*/ 2 h 20"/>
              <a:gd name="T42" fmla="*/ 26 w 57"/>
              <a:gd name="T43" fmla="*/ 3 h 20"/>
              <a:gd name="T44" fmla="*/ 27 w 57"/>
              <a:gd name="T45" fmla="*/ 4 h 20"/>
              <a:gd name="T46" fmla="*/ 28 w 57"/>
              <a:gd name="T47" fmla="*/ 3 h 20"/>
              <a:gd name="T48" fmla="*/ 31 w 57"/>
              <a:gd name="T49" fmla="*/ 4 h 20"/>
              <a:gd name="T50" fmla="*/ 32 w 57"/>
              <a:gd name="T51" fmla="*/ 5 h 20"/>
              <a:gd name="T52" fmla="*/ 36 w 57"/>
              <a:gd name="T53" fmla="*/ 5 h 20"/>
              <a:gd name="T54" fmla="*/ 36 w 57"/>
              <a:gd name="T55" fmla="*/ 4 h 20"/>
              <a:gd name="T56" fmla="*/ 41 w 57"/>
              <a:gd name="T57" fmla="*/ 7 h 20"/>
              <a:gd name="T58" fmla="*/ 51 w 57"/>
              <a:gd name="T59" fmla="*/ 9 h 20"/>
              <a:gd name="T60" fmla="*/ 54 w 57"/>
              <a:gd name="T61" fmla="*/ 10 h 20"/>
              <a:gd name="T62" fmla="*/ 56 w 57"/>
              <a:gd name="T63" fmla="*/ 11 h 20"/>
              <a:gd name="T64" fmla="*/ 56 w 57"/>
              <a:gd name="T65" fmla="*/ 14 h 20"/>
              <a:gd name="T66" fmla="*/ 52 w 57"/>
              <a:gd name="T67" fmla="*/ 14 h 20"/>
              <a:gd name="T68" fmla="*/ 44 w 57"/>
              <a:gd name="T69" fmla="*/ 15 h 20"/>
              <a:gd name="T70" fmla="*/ 39 w 57"/>
              <a:gd name="T71" fmla="*/ 15 h 20"/>
              <a:gd name="T72" fmla="*/ 36 w 57"/>
              <a:gd name="T73" fmla="*/ 15 h 20"/>
              <a:gd name="T74" fmla="*/ 35 w 57"/>
              <a:gd name="T75" fmla="*/ 17 h 20"/>
              <a:gd name="T76" fmla="*/ 27 w 57"/>
              <a:gd name="T77" fmla="*/ 17 h 20"/>
              <a:gd name="T78" fmla="*/ 24 w 57"/>
              <a:gd name="T79" fmla="*/ 17 h 20"/>
              <a:gd name="T80" fmla="*/ 17 w 57"/>
              <a:gd name="T81" fmla="*/ 17 h 20"/>
              <a:gd name="T82" fmla="*/ 16 w 57"/>
              <a:gd name="T83" fmla="*/ 18 h 20"/>
              <a:gd name="T84" fmla="*/ 10 w 57"/>
              <a:gd name="T85" fmla="*/ 19 h 20"/>
              <a:gd name="T86" fmla="*/ 4 w 57"/>
              <a:gd name="T87" fmla="*/ 19 h 20"/>
              <a:gd name="T88" fmla="*/ 4 w 57"/>
              <a:gd name="T89" fmla="*/ 19 h 20"/>
              <a:gd name="T90" fmla="*/ 1 w 57"/>
              <a:gd name="T91" fmla="*/ 18 h 20"/>
              <a:gd name="T92" fmla="*/ 0 w 57"/>
              <a:gd name="T93" fmla="*/ 17 h 20"/>
              <a:gd name="T94" fmla="*/ 1 w 57"/>
              <a:gd name="T95" fmla="*/ 13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7" h="20">
                <a:moveTo>
                  <a:pt x="1" y="13"/>
                </a:moveTo>
                <a:lnTo>
                  <a:pt x="1" y="12"/>
                </a:lnTo>
                <a:lnTo>
                  <a:pt x="1" y="12"/>
                </a:lnTo>
                <a:lnTo>
                  <a:pt x="1" y="11"/>
                </a:lnTo>
                <a:lnTo>
                  <a:pt x="0" y="10"/>
                </a:lnTo>
                <a:lnTo>
                  <a:pt x="1" y="8"/>
                </a:lnTo>
                <a:lnTo>
                  <a:pt x="5" y="9"/>
                </a:lnTo>
                <a:lnTo>
                  <a:pt x="7" y="9"/>
                </a:lnTo>
                <a:lnTo>
                  <a:pt x="4" y="8"/>
                </a:lnTo>
                <a:lnTo>
                  <a:pt x="1" y="7"/>
                </a:lnTo>
                <a:lnTo>
                  <a:pt x="0" y="5"/>
                </a:lnTo>
                <a:lnTo>
                  <a:pt x="1" y="5"/>
                </a:lnTo>
                <a:lnTo>
                  <a:pt x="2" y="5"/>
                </a:lnTo>
                <a:lnTo>
                  <a:pt x="1" y="4"/>
                </a:lnTo>
                <a:lnTo>
                  <a:pt x="0" y="4"/>
                </a:lnTo>
                <a:lnTo>
                  <a:pt x="1" y="4"/>
                </a:lnTo>
                <a:lnTo>
                  <a:pt x="4" y="3"/>
                </a:lnTo>
                <a:lnTo>
                  <a:pt x="1" y="3"/>
                </a:lnTo>
                <a:lnTo>
                  <a:pt x="1" y="3"/>
                </a:lnTo>
                <a:lnTo>
                  <a:pt x="4" y="2"/>
                </a:lnTo>
                <a:lnTo>
                  <a:pt x="4" y="2"/>
                </a:lnTo>
                <a:lnTo>
                  <a:pt x="2" y="1"/>
                </a:lnTo>
                <a:lnTo>
                  <a:pt x="2" y="1"/>
                </a:lnTo>
                <a:lnTo>
                  <a:pt x="5" y="1"/>
                </a:lnTo>
                <a:lnTo>
                  <a:pt x="6" y="2"/>
                </a:lnTo>
                <a:lnTo>
                  <a:pt x="9" y="2"/>
                </a:lnTo>
                <a:lnTo>
                  <a:pt x="9" y="2"/>
                </a:lnTo>
                <a:lnTo>
                  <a:pt x="7" y="0"/>
                </a:lnTo>
                <a:lnTo>
                  <a:pt x="8" y="0"/>
                </a:lnTo>
                <a:lnTo>
                  <a:pt x="14" y="0"/>
                </a:lnTo>
                <a:lnTo>
                  <a:pt x="16" y="1"/>
                </a:lnTo>
                <a:lnTo>
                  <a:pt x="15" y="1"/>
                </a:lnTo>
                <a:lnTo>
                  <a:pt x="16" y="1"/>
                </a:lnTo>
                <a:lnTo>
                  <a:pt x="17" y="1"/>
                </a:lnTo>
                <a:lnTo>
                  <a:pt x="18" y="2"/>
                </a:lnTo>
                <a:lnTo>
                  <a:pt x="18" y="3"/>
                </a:lnTo>
                <a:lnTo>
                  <a:pt x="19" y="4"/>
                </a:lnTo>
                <a:lnTo>
                  <a:pt x="19" y="4"/>
                </a:lnTo>
                <a:lnTo>
                  <a:pt x="20" y="5"/>
                </a:lnTo>
                <a:lnTo>
                  <a:pt x="22" y="4"/>
                </a:lnTo>
                <a:lnTo>
                  <a:pt x="22" y="3"/>
                </a:lnTo>
                <a:lnTo>
                  <a:pt x="21" y="2"/>
                </a:lnTo>
                <a:lnTo>
                  <a:pt x="22" y="2"/>
                </a:lnTo>
                <a:lnTo>
                  <a:pt x="26" y="3"/>
                </a:lnTo>
                <a:lnTo>
                  <a:pt x="27" y="4"/>
                </a:lnTo>
                <a:lnTo>
                  <a:pt x="27" y="4"/>
                </a:lnTo>
                <a:lnTo>
                  <a:pt x="28" y="3"/>
                </a:lnTo>
                <a:lnTo>
                  <a:pt x="28" y="3"/>
                </a:lnTo>
                <a:lnTo>
                  <a:pt x="29" y="3"/>
                </a:lnTo>
                <a:lnTo>
                  <a:pt x="31" y="4"/>
                </a:lnTo>
                <a:lnTo>
                  <a:pt x="32" y="4"/>
                </a:lnTo>
                <a:lnTo>
                  <a:pt x="32" y="5"/>
                </a:lnTo>
                <a:lnTo>
                  <a:pt x="35" y="5"/>
                </a:lnTo>
                <a:lnTo>
                  <a:pt x="36" y="5"/>
                </a:lnTo>
                <a:lnTo>
                  <a:pt x="35" y="5"/>
                </a:lnTo>
                <a:lnTo>
                  <a:pt x="36" y="4"/>
                </a:lnTo>
                <a:lnTo>
                  <a:pt x="38" y="5"/>
                </a:lnTo>
                <a:lnTo>
                  <a:pt x="41" y="7"/>
                </a:lnTo>
                <a:lnTo>
                  <a:pt x="49" y="8"/>
                </a:lnTo>
                <a:lnTo>
                  <a:pt x="51" y="9"/>
                </a:lnTo>
                <a:lnTo>
                  <a:pt x="52" y="10"/>
                </a:lnTo>
                <a:lnTo>
                  <a:pt x="54" y="10"/>
                </a:lnTo>
                <a:lnTo>
                  <a:pt x="55" y="11"/>
                </a:lnTo>
                <a:lnTo>
                  <a:pt x="56" y="11"/>
                </a:lnTo>
                <a:lnTo>
                  <a:pt x="57" y="12"/>
                </a:lnTo>
                <a:lnTo>
                  <a:pt x="56" y="14"/>
                </a:lnTo>
                <a:lnTo>
                  <a:pt x="55" y="14"/>
                </a:lnTo>
                <a:lnTo>
                  <a:pt x="52" y="14"/>
                </a:lnTo>
                <a:lnTo>
                  <a:pt x="49" y="14"/>
                </a:lnTo>
                <a:lnTo>
                  <a:pt x="44" y="15"/>
                </a:lnTo>
                <a:lnTo>
                  <a:pt x="40" y="15"/>
                </a:lnTo>
                <a:lnTo>
                  <a:pt x="39" y="15"/>
                </a:lnTo>
                <a:lnTo>
                  <a:pt x="37" y="15"/>
                </a:lnTo>
                <a:lnTo>
                  <a:pt x="36" y="15"/>
                </a:lnTo>
                <a:lnTo>
                  <a:pt x="36" y="17"/>
                </a:lnTo>
                <a:lnTo>
                  <a:pt x="35" y="17"/>
                </a:lnTo>
                <a:lnTo>
                  <a:pt x="31" y="15"/>
                </a:lnTo>
                <a:lnTo>
                  <a:pt x="27" y="17"/>
                </a:lnTo>
                <a:lnTo>
                  <a:pt x="25" y="15"/>
                </a:lnTo>
                <a:lnTo>
                  <a:pt x="24" y="17"/>
                </a:lnTo>
                <a:lnTo>
                  <a:pt x="17" y="15"/>
                </a:lnTo>
                <a:lnTo>
                  <a:pt x="17" y="17"/>
                </a:lnTo>
                <a:lnTo>
                  <a:pt x="16" y="17"/>
                </a:lnTo>
                <a:lnTo>
                  <a:pt x="16" y="18"/>
                </a:lnTo>
                <a:lnTo>
                  <a:pt x="11" y="19"/>
                </a:lnTo>
                <a:lnTo>
                  <a:pt x="10" y="19"/>
                </a:lnTo>
                <a:lnTo>
                  <a:pt x="9" y="20"/>
                </a:lnTo>
                <a:lnTo>
                  <a:pt x="4" y="19"/>
                </a:lnTo>
                <a:lnTo>
                  <a:pt x="4" y="19"/>
                </a:lnTo>
                <a:lnTo>
                  <a:pt x="4" y="19"/>
                </a:lnTo>
                <a:lnTo>
                  <a:pt x="4" y="18"/>
                </a:lnTo>
                <a:lnTo>
                  <a:pt x="1" y="18"/>
                </a:lnTo>
                <a:lnTo>
                  <a:pt x="0" y="17"/>
                </a:lnTo>
                <a:lnTo>
                  <a:pt x="0" y="17"/>
                </a:lnTo>
                <a:lnTo>
                  <a:pt x="2" y="13"/>
                </a:lnTo>
                <a:lnTo>
                  <a:pt x="1" y="13"/>
                </a:lnTo>
                <a:lnTo>
                  <a:pt x="1" y="1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70" name="Freeform 569"/>
          <p:cNvSpPr>
            <a:spLocks/>
          </p:cNvSpPr>
          <p:nvPr/>
        </p:nvSpPr>
        <p:spPr bwMode="auto">
          <a:xfrm>
            <a:off x="6694488" y="1516028"/>
            <a:ext cx="26987" cy="7938"/>
          </a:xfrm>
          <a:custGeom>
            <a:avLst/>
            <a:gdLst>
              <a:gd name="T0" fmla="*/ 11 w 17"/>
              <a:gd name="T1" fmla="*/ 3 h 5"/>
              <a:gd name="T2" fmla="*/ 12 w 17"/>
              <a:gd name="T3" fmla="*/ 3 h 5"/>
              <a:gd name="T4" fmla="*/ 14 w 17"/>
              <a:gd name="T5" fmla="*/ 4 h 5"/>
              <a:gd name="T6" fmla="*/ 16 w 17"/>
              <a:gd name="T7" fmla="*/ 4 h 5"/>
              <a:gd name="T8" fmla="*/ 17 w 17"/>
              <a:gd name="T9" fmla="*/ 5 h 5"/>
              <a:gd name="T10" fmla="*/ 15 w 17"/>
              <a:gd name="T11" fmla="*/ 5 h 5"/>
              <a:gd name="T12" fmla="*/ 12 w 17"/>
              <a:gd name="T13" fmla="*/ 4 h 5"/>
              <a:gd name="T14" fmla="*/ 8 w 17"/>
              <a:gd name="T15" fmla="*/ 3 h 5"/>
              <a:gd name="T16" fmla="*/ 6 w 17"/>
              <a:gd name="T17" fmla="*/ 2 h 5"/>
              <a:gd name="T18" fmla="*/ 2 w 17"/>
              <a:gd name="T19" fmla="*/ 1 h 5"/>
              <a:gd name="T20" fmla="*/ 0 w 17"/>
              <a:gd name="T21" fmla="*/ 0 h 5"/>
              <a:gd name="T22" fmla="*/ 2 w 17"/>
              <a:gd name="T23" fmla="*/ 1 h 5"/>
              <a:gd name="T24" fmla="*/ 6 w 17"/>
              <a:gd name="T25" fmla="*/ 2 h 5"/>
              <a:gd name="T26" fmla="*/ 10 w 17"/>
              <a:gd name="T27" fmla="*/ 3 h 5"/>
              <a:gd name="T28" fmla="*/ 11 w 17"/>
              <a:gd name="T29" fmla="*/ 3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7" h="5">
                <a:moveTo>
                  <a:pt x="11" y="3"/>
                </a:moveTo>
                <a:lnTo>
                  <a:pt x="12" y="3"/>
                </a:lnTo>
                <a:lnTo>
                  <a:pt x="14" y="4"/>
                </a:lnTo>
                <a:lnTo>
                  <a:pt x="16" y="4"/>
                </a:lnTo>
                <a:lnTo>
                  <a:pt x="17" y="5"/>
                </a:lnTo>
                <a:lnTo>
                  <a:pt x="15" y="5"/>
                </a:lnTo>
                <a:lnTo>
                  <a:pt x="12" y="4"/>
                </a:lnTo>
                <a:lnTo>
                  <a:pt x="8" y="3"/>
                </a:lnTo>
                <a:lnTo>
                  <a:pt x="6" y="2"/>
                </a:lnTo>
                <a:lnTo>
                  <a:pt x="2" y="1"/>
                </a:lnTo>
                <a:lnTo>
                  <a:pt x="0" y="0"/>
                </a:lnTo>
                <a:lnTo>
                  <a:pt x="2" y="1"/>
                </a:lnTo>
                <a:lnTo>
                  <a:pt x="6" y="2"/>
                </a:lnTo>
                <a:lnTo>
                  <a:pt x="10" y="3"/>
                </a:lnTo>
                <a:lnTo>
                  <a:pt x="11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71" name="Freeform 570"/>
          <p:cNvSpPr>
            <a:spLocks/>
          </p:cNvSpPr>
          <p:nvPr/>
        </p:nvSpPr>
        <p:spPr bwMode="auto">
          <a:xfrm>
            <a:off x="6694488" y="1516028"/>
            <a:ext cx="26987" cy="7938"/>
          </a:xfrm>
          <a:custGeom>
            <a:avLst/>
            <a:gdLst>
              <a:gd name="T0" fmla="*/ 11 w 17"/>
              <a:gd name="T1" fmla="*/ 3 h 5"/>
              <a:gd name="T2" fmla="*/ 12 w 17"/>
              <a:gd name="T3" fmla="*/ 3 h 5"/>
              <a:gd name="T4" fmla="*/ 14 w 17"/>
              <a:gd name="T5" fmla="*/ 4 h 5"/>
              <a:gd name="T6" fmla="*/ 16 w 17"/>
              <a:gd name="T7" fmla="*/ 4 h 5"/>
              <a:gd name="T8" fmla="*/ 17 w 17"/>
              <a:gd name="T9" fmla="*/ 5 h 5"/>
              <a:gd name="T10" fmla="*/ 15 w 17"/>
              <a:gd name="T11" fmla="*/ 5 h 5"/>
              <a:gd name="T12" fmla="*/ 12 w 17"/>
              <a:gd name="T13" fmla="*/ 4 h 5"/>
              <a:gd name="T14" fmla="*/ 8 w 17"/>
              <a:gd name="T15" fmla="*/ 3 h 5"/>
              <a:gd name="T16" fmla="*/ 6 w 17"/>
              <a:gd name="T17" fmla="*/ 2 h 5"/>
              <a:gd name="T18" fmla="*/ 2 w 17"/>
              <a:gd name="T19" fmla="*/ 1 h 5"/>
              <a:gd name="T20" fmla="*/ 0 w 17"/>
              <a:gd name="T21" fmla="*/ 0 h 5"/>
              <a:gd name="T22" fmla="*/ 2 w 17"/>
              <a:gd name="T23" fmla="*/ 1 h 5"/>
              <a:gd name="T24" fmla="*/ 6 w 17"/>
              <a:gd name="T25" fmla="*/ 2 h 5"/>
              <a:gd name="T26" fmla="*/ 10 w 17"/>
              <a:gd name="T27" fmla="*/ 3 h 5"/>
              <a:gd name="T28" fmla="*/ 11 w 17"/>
              <a:gd name="T29" fmla="*/ 3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7" h="5">
                <a:moveTo>
                  <a:pt x="11" y="3"/>
                </a:moveTo>
                <a:lnTo>
                  <a:pt x="12" y="3"/>
                </a:lnTo>
                <a:lnTo>
                  <a:pt x="14" y="4"/>
                </a:lnTo>
                <a:lnTo>
                  <a:pt x="16" y="4"/>
                </a:lnTo>
                <a:lnTo>
                  <a:pt x="17" y="5"/>
                </a:lnTo>
                <a:lnTo>
                  <a:pt x="15" y="5"/>
                </a:lnTo>
                <a:lnTo>
                  <a:pt x="12" y="4"/>
                </a:lnTo>
                <a:lnTo>
                  <a:pt x="8" y="3"/>
                </a:lnTo>
                <a:lnTo>
                  <a:pt x="6" y="2"/>
                </a:lnTo>
                <a:lnTo>
                  <a:pt x="2" y="1"/>
                </a:lnTo>
                <a:lnTo>
                  <a:pt x="0" y="0"/>
                </a:lnTo>
                <a:lnTo>
                  <a:pt x="2" y="1"/>
                </a:lnTo>
                <a:lnTo>
                  <a:pt x="6" y="2"/>
                </a:lnTo>
                <a:lnTo>
                  <a:pt x="10" y="3"/>
                </a:lnTo>
                <a:lnTo>
                  <a:pt x="11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72" name="Freeform 571"/>
          <p:cNvSpPr>
            <a:spLocks/>
          </p:cNvSpPr>
          <p:nvPr/>
        </p:nvSpPr>
        <p:spPr bwMode="auto">
          <a:xfrm>
            <a:off x="6643688" y="1481103"/>
            <a:ext cx="20637" cy="9525"/>
          </a:xfrm>
          <a:custGeom>
            <a:avLst/>
            <a:gdLst>
              <a:gd name="T0" fmla="*/ 10 w 13"/>
              <a:gd name="T1" fmla="*/ 4 h 6"/>
              <a:gd name="T2" fmla="*/ 10 w 13"/>
              <a:gd name="T3" fmla="*/ 4 h 6"/>
              <a:gd name="T4" fmla="*/ 10 w 13"/>
              <a:gd name="T5" fmla="*/ 5 h 6"/>
              <a:gd name="T6" fmla="*/ 13 w 13"/>
              <a:gd name="T7" fmla="*/ 6 h 6"/>
              <a:gd name="T8" fmla="*/ 13 w 13"/>
              <a:gd name="T9" fmla="*/ 6 h 6"/>
              <a:gd name="T10" fmla="*/ 10 w 13"/>
              <a:gd name="T11" fmla="*/ 6 h 6"/>
              <a:gd name="T12" fmla="*/ 8 w 13"/>
              <a:gd name="T13" fmla="*/ 5 h 6"/>
              <a:gd name="T14" fmla="*/ 8 w 13"/>
              <a:gd name="T15" fmla="*/ 5 h 6"/>
              <a:gd name="T16" fmla="*/ 7 w 13"/>
              <a:gd name="T17" fmla="*/ 4 h 6"/>
              <a:gd name="T18" fmla="*/ 6 w 13"/>
              <a:gd name="T19" fmla="*/ 4 h 6"/>
              <a:gd name="T20" fmla="*/ 4 w 13"/>
              <a:gd name="T21" fmla="*/ 3 h 6"/>
              <a:gd name="T22" fmla="*/ 2 w 13"/>
              <a:gd name="T23" fmla="*/ 2 h 6"/>
              <a:gd name="T24" fmla="*/ 2 w 13"/>
              <a:gd name="T25" fmla="*/ 1 h 6"/>
              <a:gd name="T26" fmla="*/ 0 w 13"/>
              <a:gd name="T27" fmla="*/ 0 h 6"/>
              <a:gd name="T28" fmla="*/ 1 w 13"/>
              <a:gd name="T29" fmla="*/ 1 h 6"/>
              <a:gd name="T30" fmla="*/ 3 w 13"/>
              <a:gd name="T31" fmla="*/ 1 h 6"/>
              <a:gd name="T32" fmla="*/ 6 w 13"/>
              <a:gd name="T33" fmla="*/ 2 h 6"/>
              <a:gd name="T34" fmla="*/ 8 w 13"/>
              <a:gd name="T35" fmla="*/ 3 h 6"/>
              <a:gd name="T36" fmla="*/ 10 w 13"/>
              <a:gd name="T37" fmla="*/ 3 h 6"/>
              <a:gd name="T38" fmla="*/ 10 w 13"/>
              <a:gd name="T39" fmla="*/ 4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3" h="6">
                <a:moveTo>
                  <a:pt x="10" y="4"/>
                </a:moveTo>
                <a:lnTo>
                  <a:pt x="10" y="4"/>
                </a:lnTo>
                <a:lnTo>
                  <a:pt x="10" y="5"/>
                </a:lnTo>
                <a:lnTo>
                  <a:pt x="13" y="6"/>
                </a:lnTo>
                <a:lnTo>
                  <a:pt x="13" y="6"/>
                </a:lnTo>
                <a:lnTo>
                  <a:pt x="10" y="6"/>
                </a:lnTo>
                <a:lnTo>
                  <a:pt x="8" y="5"/>
                </a:lnTo>
                <a:lnTo>
                  <a:pt x="8" y="5"/>
                </a:lnTo>
                <a:lnTo>
                  <a:pt x="7" y="4"/>
                </a:lnTo>
                <a:lnTo>
                  <a:pt x="6" y="4"/>
                </a:lnTo>
                <a:lnTo>
                  <a:pt x="4" y="3"/>
                </a:lnTo>
                <a:lnTo>
                  <a:pt x="2" y="2"/>
                </a:lnTo>
                <a:lnTo>
                  <a:pt x="2" y="1"/>
                </a:lnTo>
                <a:lnTo>
                  <a:pt x="0" y="0"/>
                </a:lnTo>
                <a:lnTo>
                  <a:pt x="1" y="1"/>
                </a:lnTo>
                <a:lnTo>
                  <a:pt x="3" y="1"/>
                </a:lnTo>
                <a:lnTo>
                  <a:pt x="6" y="2"/>
                </a:lnTo>
                <a:lnTo>
                  <a:pt x="8" y="3"/>
                </a:lnTo>
                <a:lnTo>
                  <a:pt x="10" y="3"/>
                </a:lnTo>
                <a:lnTo>
                  <a:pt x="10" y="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73" name="Freeform 572"/>
          <p:cNvSpPr>
            <a:spLocks/>
          </p:cNvSpPr>
          <p:nvPr/>
        </p:nvSpPr>
        <p:spPr bwMode="auto">
          <a:xfrm>
            <a:off x="6643688" y="1481103"/>
            <a:ext cx="20637" cy="9525"/>
          </a:xfrm>
          <a:custGeom>
            <a:avLst/>
            <a:gdLst>
              <a:gd name="T0" fmla="*/ 10 w 13"/>
              <a:gd name="T1" fmla="*/ 4 h 6"/>
              <a:gd name="T2" fmla="*/ 10 w 13"/>
              <a:gd name="T3" fmla="*/ 4 h 6"/>
              <a:gd name="T4" fmla="*/ 10 w 13"/>
              <a:gd name="T5" fmla="*/ 5 h 6"/>
              <a:gd name="T6" fmla="*/ 13 w 13"/>
              <a:gd name="T7" fmla="*/ 6 h 6"/>
              <a:gd name="T8" fmla="*/ 13 w 13"/>
              <a:gd name="T9" fmla="*/ 6 h 6"/>
              <a:gd name="T10" fmla="*/ 10 w 13"/>
              <a:gd name="T11" fmla="*/ 6 h 6"/>
              <a:gd name="T12" fmla="*/ 8 w 13"/>
              <a:gd name="T13" fmla="*/ 5 h 6"/>
              <a:gd name="T14" fmla="*/ 8 w 13"/>
              <a:gd name="T15" fmla="*/ 5 h 6"/>
              <a:gd name="T16" fmla="*/ 7 w 13"/>
              <a:gd name="T17" fmla="*/ 4 h 6"/>
              <a:gd name="T18" fmla="*/ 6 w 13"/>
              <a:gd name="T19" fmla="*/ 4 h 6"/>
              <a:gd name="T20" fmla="*/ 4 w 13"/>
              <a:gd name="T21" fmla="*/ 3 h 6"/>
              <a:gd name="T22" fmla="*/ 2 w 13"/>
              <a:gd name="T23" fmla="*/ 2 h 6"/>
              <a:gd name="T24" fmla="*/ 2 w 13"/>
              <a:gd name="T25" fmla="*/ 1 h 6"/>
              <a:gd name="T26" fmla="*/ 0 w 13"/>
              <a:gd name="T27" fmla="*/ 0 h 6"/>
              <a:gd name="T28" fmla="*/ 1 w 13"/>
              <a:gd name="T29" fmla="*/ 1 h 6"/>
              <a:gd name="T30" fmla="*/ 3 w 13"/>
              <a:gd name="T31" fmla="*/ 1 h 6"/>
              <a:gd name="T32" fmla="*/ 6 w 13"/>
              <a:gd name="T33" fmla="*/ 2 h 6"/>
              <a:gd name="T34" fmla="*/ 8 w 13"/>
              <a:gd name="T35" fmla="*/ 3 h 6"/>
              <a:gd name="T36" fmla="*/ 10 w 13"/>
              <a:gd name="T37" fmla="*/ 3 h 6"/>
              <a:gd name="T38" fmla="*/ 10 w 13"/>
              <a:gd name="T39" fmla="*/ 4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3" h="6">
                <a:moveTo>
                  <a:pt x="10" y="4"/>
                </a:moveTo>
                <a:lnTo>
                  <a:pt x="10" y="4"/>
                </a:lnTo>
                <a:lnTo>
                  <a:pt x="10" y="5"/>
                </a:lnTo>
                <a:lnTo>
                  <a:pt x="13" y="6"/>
                </a:lnTo>
                <a:lnTo>
                  <a:pt x="13" y="6"/>
                </a:lnTo>
                <a:lnTo>
                  <a:pt x="10" y="6"/>
                </a:lnTo>
                <a:lnTo>
                  <a:pt x="8" y="5"/>
                </a:lnTo>
                <a:lnTo>
                  <a:pt x="8" y="5"/>
                </a:lnTo>
                <a:lnTo>
                  <a:pt x="7" y="4"/>
                </a:lnTo>
                <a:lnTo>
                  <a:pt x="6" y="4"/>
                </a:lnTo>
                <a:lnTo>
                  <a:pt x="4" y="3"/>
                </a:lnTo>
                <a:lnTo>
                  <a:pt x="2" y="2"/>
                </a:lnTo>
                <a:lnTo>
                  <a:pt x="2" y="1"/>
                </a:lnTo>
                <a:lnTo>
                  <a:pt x="0" y="0"/>
                </a:lnTo>
                <a:lnTo>
                  <a:pt x="1" y="1"/>
                </a:lnTo>
                <a:lnTo>
                  <a:pt x="3" y="1"/>
                </a:lnTo>
                <a:lnTo>
                  <a:pt x="6" y="2"/>
                </a:lnTo>
                <a:lnTo>
                  <a:pt x="8" y="3"/>
                </a:lnTo>
                <a:lnTo>
                  <a:pt x="10" y="3"/>
                </a:lnTo>
                <a:lnTo>
                  <a:pt x="10" y="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74" name="Freeform 573"/>
          <p:cNvSpPr>
            <a:spLocks/>
          </p:cNvSpPr>
          <p:nvPr/>
        </p:nvSpPr>
        <p:spPr bwMode="auto">
          <a:xfrm>
            <a:off x="6669088" y="1471578"/>
            <a:ext cx="138112" cy="34925"/>
          </a:xfrm>
          <a:custGeom>
            <a:avLst/>
            <a:gdLst>
              <a:gd name="T0" fmla="*/ 32 w 87"/>
              <a:gd name="T1" fmla="*/ 6 h 22"/>
              <a:gd name="T2" fmla="*/ 33 w 87"/>
              <a:gd name="T3" fmla="*/ 6 h 22"/>
              <a:gd name="T4" fmla="*/ 37 w 87"/>
              <a:gd name="T5" fmla="*/ 7 h 22"/>
              <a:gd name="T6" fmla="*/ 37 w 87"/>
              <a:gd name="T7" fmla="*/ 8 h 22"/>
              <a:gd name="T8" fmla="*/ 38 w 87"/>
              <a:gd name="T9" fmla="*/ 8 h 22"/>
              <a:gd name="T10" fmla="*/ 41 w 87"/>
              <a:gd name="T11" fmla="*/ 9 h 22"/>
              <a:gd name="T12" fmla="*/ 43 w 87"/>
              <a:gd name="T13" fmla="*/ 9 h 22"/>
              <a:gd name="T14" fmla="*/ 46 w 87"/>
              <a:gd name="T15" fmla="*/ 9 h 22"/>
              <a:gd name="T16" fmla="*/ 44 w 87"/>
              <a:gd name="T17" fmla="*/ 7 h 22"/>
              <a:gd name="T18" fmla="*/ 37 w 87"/>
              <a:gd name="T19" fmla="*/ 5 h 22"/>
              <a:gd name="T20" fmla="*/ 37 w 87"/>
              <a:gd name="T21" fmla="*/ 2 h 22"/>
              <a:gd name="T22" fmla="*/ 45 w 87"/>
              <a:gd name="T23" fmla="*/ 3 h 22"/>
              <a:gd name="T24" fmla="*/ 53 w 87"/>
              <a:gd name="T25" fmla="*/ 6 h 22"/>
              <a:gd name="T26" fmla="*/ 58 w 87"/>
              <a:gd name="T27" fmla="*/ 7 h 22"/>
              <a:gd name="T28" fmla="*/ 62 w 87"/>
              <a:gd name="T29" fmla="*/ 8 h 22"/>
              <a:gd name="T30" fmla="*/ 63 w 87"/>
              <a:gd name="T31" fmla="*/ 10 h 22"/>
              <a:gd name="T32" fmla="*/ 63 w 87"/>
              <a:gd name="T33" fmla="*/ 11 h 22"/>
              <a:gd name="T34" fmla="*/ 65 w 87"/>
              <a:gd name="T35" fmla="*/ 12 h 22"/>
              <a:gd name="T36" fmla="*/ 72 w 87"/>
              <a:gd name="T37" fmla="*/ 16 h 22"/>
              <a:gd name="T38" fmla="*/ 82 w 87"/>
              <a:gd name="T39" fmla="*/ 17 h 22"/>
              <a:gd name="T40" fmla="*/ 87 w 87"/>
              <a:gd name="T41" fmla="*/ 18 h 22"/>
              <a:gd name="T42" fmla="*/ 84 w 87"/>
              <a:gd name="T43" fmla="*/ 19 h 22"/>
              <a:gd name="T44" fmla="*/ 78 w 87"/>
              <a:gd name="T45" fmla="*/ 19 h 22"/>
              <a:gd name="T46" fmla="*/ 78 w 87"/>
              <a:gd name="T47" fmla="*/ 20 h 22"/>
              <a:gd name="T48" fmla="*/ 72 w 87"/>
              <a:gd name="T49" fmla="*/ 18 h 22"/>
              <a:gd name="T50" fmla="*/ 68 w 87"/>
              <a:gd name="T51" fmla="*/ 17 h 22"/>
              <a:gd name="T52" fmla="*/ 63 w 87"/>
              <a:gd name="T53" fmla="*/ 18 h 22"/>
              <a:gd name="T54" fmla="*/ 59 w 87"/>
              <a:gd name="T55" fmla="*/ 20 h 22"/>
              <a:gd name="T56" fmla="*/ 53 w 87"/>
              <a:gd name="T57" fmla="*/ 20 h 22"/>
              <a:gd name="T58" fmla="*/ 52 w 87"/>
              <a:gd name="T59" fmla="*/ 20 h 22"/>
              <a:gd name="T60" fmla="*/ 51 w 87"/>
              <a:gd name="T61" fmla="*/ 19 h 22"/>
              <a:gd name="T62" fmla="*/ 45 w 87"/>
              <a:gd name="T63" fmla="*/ 17 h 22"/>
              <a:gd name="T64" fmla="*/ 45 w 87"/>
              <a:gd name="T65" fmla="*/ 19 h 22"/>
              <a:gd name="T66" fmla="*/ 47 w 87"/>
              <a:gd name="T67" fmla="*/ 19 h 22"/>
              <a:gd name="T68" fmla="*/ 48 w 87"/>
              <a:gd name="T69" fmla="*/ 21 h 22"/>
              <a:gd name="T70" fmla="*/ 43 w 87"/>
              <a:gd name="T71" fmla="*/ 21 h 22"/>
              <a:gd name="T72" fmla="*/ 32 w 87"/>
              <a:gd name="T73" fmla="*/ 20 h 22"/>
              <a:gd name="T74" fmla="*/ 24 w 87"/>
              <a:gd name="T75" fmla="*/ 17 h 22"/>
              <a:gd name="T76" fmla="*/ 15 w 87"/>
              <a:gd name="T77" fmla="*/ 16 h 22"/>
              <a:gd name="T78" fmla="*/ 7 w 87"/>
              <a:gd name="T79" fmla="*/ 12 h 22"/>
              <a:gd name="T80" fmla="*/ 11 w 87"/>
              <a:gd name="T81" fmla="*/ 12 h 22"/>
              <a:gd name="T82" fmla="*/ 11 w 87"/>
              <a:gd name="T83" fmla="*/ 11 h 22"/>
              <a:gd name="T84" fmla="*/ 8 w 87"/>
              <a:gd name="T85" fmla="*/ 11 h 22"/>
              <a:gd name="T86" fmla="*/ 10 w 87"/>
              <a:gd name="T87" fmla="*/ 11 h 22"/>
              <a:gd name="T88" fmla="*/ 5 w 87"/>
              <a:gd name="T89" fmla="*/ 10 h 22"/>
              <a:gd name="T90" fmla="*/ 3 w 87"/>
              <a:gd name="T91" fmla="*/ 9 h 22"/>
              <a:gd name="T92" fmla="*/ 6 w 87"/>
              <a:gd name="T93" fmla="*/ 9 h 22"/>
              <a:gd name="T94" fmla="*/ 3 w 87"/>
              <a:gd name="T95" fmla="*/ 8 h 22"/>
              <a:gd name="T96" fmla="*/ 3 w 87"/>
              <a:gd name="T97" fmla="*/ 7 h 22"/>
              <a:gd name="T98" fmla="*/ 6 w 87"/>
              <a:gd name="T99" fmla="*/ 7 h 22"/>
              <a:gd name="T100" fmla="*/ 3 w 87"/>
              <a:gd name="T101" fmla="*/ 6 h 22"/>
              <a:gd name="T102" fmla="*/ 0 w 87"/>
              <a:gd name="T103" fmla="*/ 5 h 22"/>
              <a:gd name="T104" fmla="*/ 0 w 87"/>
              <a:gd name="T105" fmla="*/ 3 h 22"/>
              <a:gd name="T106" fmla="*/ 5 w 87"/>
              <a:gd name="T107" fmla="*/ 3 h 22"/>
              <a:gd name="T108" fmla="*/ 6 w 87"/>
              <a:gd name="T109" fmla="*/ 2 h 22"/>
              <a:gd name="T110" fmla="*/ 11 w 87"/>
              <a:gd name="T111" fmla="*/ 0 h 22"/>
              <a:gd name="T112" fmla="*/ 12 w 87"/>
              <a:gd name="T113" fmla="*/ 1 h 22"/>
              <a:gd name="T114" fmla="*/ 22 w 87"/>
              <a:gd name="T115" fmla="*/ 3 h 22"/>
              <a:gd name="T116" fmla="*/ 24 w 87"/>
              <a:gd name="T117" fmla="*/ 3 h 22"/>
              <a:gd name="T118" fmla="*/ 27 w 87"/>
              <a:gd name="T119" fmla="*/ 5 h 22"/>
              <a:gd name="T120" fmla="*/ 30 w 87"/>
              <a:gd name="T121" fmla="*/ 6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7" h="22">
                <a:moveTo>
                  <a:pt x="31" y="6"/>
                </a:moveTo>
                <a:lnTo>
                  <a:pt x="32" y="6"/>
                </a:lnTo>
                <a:lnTo>
                  <a:pt x="33" y="7"/>
                </a:lnTo>
                <a:lnTo>
                  <a:pt x="33" y="6"/>
                </a:lnTo>
                <a:lnTo>
                  <a:pt x="36" y="7"/>
                </a:lnTo>
                <a:lnTo>
                  <a:pt x="37" y="7"/>
                </a:lnTo>
                <a:lnTo>
                  <a:pt x="37" y="7"/>
                </a:lnTo>
                <a:lnTo>
                  <a:pt x="37" y="8"/>
                </a:lnTo>
                <a:lnTo>
                  <a:pt x="38" y="8"/>
                </a:lnTo>
                <a:lnTo>
                  <a:pt x="38" y="8"/>
                </a:lnTo>
                <a:lnTo>
                  <a:pt x="39" y="9"/>
                </a:lnTo>
                <a:lnTo>
                  <a:pt x="41" y="9"/>
                </a:lnTo>
                <a:lnTo>
                  <a:pt x="43" y="9"/>
                </a:lnTo>
                <a:lnTo>
                  <a:pt x="43" y="9"/>
                </a:lnTo>
                <a:lnTo>
                  <a:pt x="45" y="9"/>
                </a:lnTo>
                <a:lnTo>
                  <a:pt x="46" y="9"/>
                </a:lnTo>
                <a:lnTo>
                  <a:pt x="43" y="7"/>
                </a:lnTo>
                <a:lnTo>
                  <a:pt x="44" y="7"/>
                </a:lnTo>
                <a:lnTo>
                  <a:pt x="41" y="6"/>
                </a:lnTo>
                <a:lnTo>
                  <a:pt x="37" y="5"/>
                </a:lnTo>
                <a:lnTo>
                  <a:pt x="36" y="3"/>
                </a:lnTo>
                <a:lnTo>
                  <a:pt x="37" y="2"/>
                </a:lnTo>
                <a:lnTo>
                  <a:pt x="38" y="2"/>
                </a:lnTo>
                <a:lnTo>
                  <a:pt x="45" y="3"/>
                </a:lnTo>
                <a:lnTo>
                  <a:pt x="52" y="6"/>
                </a:lnTo>
                <a:lnTo>
                  <a:pt x="53" y="6"/>
                </a:lnTo>
                <a:lnTo>
                  <a:pt x="56" y="7"/>
                </a:lnTo>
                <a:lnTo>
                  <a:pt x="58" y="7"/>
                </a:lnTo>
                <a:lnTo>
                  <a:pt x="61" y="8"/>
                </a:lnTo>
                <a:lnTo>
                  <a:pt x="62" y="8"/>
                </a:lnTo>
                <a:lnTo>
                  <a:pt x="62" y="9"/>
                </a:lnTo>
                <a:lnTo>
                  <a:pt x="63" y="10"/>
                </a:lnTo>
                <a:lnTo>
                  <a:pt x="64" y="10"/>
                </a:lnTo>
                <a:lnTo>
                  <a:pt x="63" y="11"/>
                </a:lnTo>
                <a:lnTo>
                  <a:pt x="64" y="12"/>
                </a:lnTo>
                <a:lnTo>
                  <a:pt x="65" y="12"/>
                </a:lnTo>
                <a:lnTo>
                  <a:pt x="66" y="13"/>
                </a:lnTo>
                <a:lnTo>
                  <a:pt x="72" y="16"/>
                </a:lnTo>
                <a:lnTo>
                  <a:pt x="76" y="17"/>
                </a:lnTo>
                <a:lnTo>
                  <a:pt x="82" y="17"/>
                </a:lnTo>
                <a:lnTo>
                  <a:pt x="86" y="18"/>
                </a:lnTo>
                <a:lnTo>
                  <a:pt x="87" y="18"/>
                </a:lnTo>
                <a:lnTo>
                  <a:pt x="87" y="19"/>
                </a:lnTo>
                <a:lnTo>
                  <a:pt x="84" y="19"/>
                </a:lnTo>
                <a:lnTo>
                  <a:pt x="78" y="18"/>
                </a:lnTo>
                <a:lnTo>
                  <a:pt x="78" y="19"/>
                </a:lnTo>
                <a:lnTo>
                  <a:pt x="79" y="19"/>
                </a:lnTo>
                <a:lnTo>
                  <a:pt x="78" y="20"/>
                </a:lnTo>
                <a:lnTo>
                  <a:pt x="71" y="18"/>
                </a:lnTo>
                <a:lnTo>
                  <a:pt x="72" y="18"/>
                </a:lnTo>
                <a:lnTo>
                  <a:pt x="71" y="17"/>
                </a:lnTo>
                <a:lnTo>
                  <a:pt x="68" y="17"/>
                </a:lnTo>
                <a:lnTo>
                  <a:pt x="67" y="18"/>
                </a:lnTo>
                <a:lnTo>
                  <a:pt x="63" y="18"/>
                </a:lnTo>
                <a:lnTo>
                  <a:pt x="61" y="19"/>
                </a:lnTo>
                <a:lnTo>
                  <a:pt x="59" y="20"/>
                </a:lnTo>
                <a:lnTo>
                  <a:pt x="55" y="20"/>
                </a:lnTo>
                <a:lnTo>
                  <a:pt x="53" y="20"/>
                </a:lnTo>
                <a:lnTo>
                  <a:pt x="51" y="20"/>
                </a:lnTo>
                <a:lnTo>
                  <a:pt x="52" y="20"/>
                </a:lnTo>
                <a:lnTo>
                  <a:pt x="53" y="19"/>
                </a:lnTo>
                <a:lnTo>
                  <a:pt x="51" y="19"/>
                </a:lnTo>
                <a:lnTo>
                  <a:pt x="47" y="18"/>
                </a:lnTo>
                <a:lnTo>
                  <a:pt x="45" y="17"/>
                </a:lnTo>
                <a:lnTo>
                  <a:pt x="44" y="17"/>
                </a:lnTo>
                <a:lnTo>
                  <a:pt x="45" y="19"/>
                </a:lnTo>
                <a:lnTo>
                  <a:pt x="46" y="19"/>
                </a:lnTo>
                <a:lnTo>
                  <a:pt x="47" y="19"/>
                </a:lnTo>
                <a:lnTo>
                  <a:pt x="48" y="21"/>
                </a:lnTo>
                <a:lnTo>
                  <a:pt x="48" y="21"/>
                </a:lnTo>
                <a:lnTo>
                  <a:pt x="47" y="22"/>
                </a:lnTo>
                <a:lnTo>
                  <a:pt x="43" y="21"/>
                </a:lnTo>
                <a:lnTo>
                  <a:pt x="37" y="21"/>
                </a:lnTo>
                <a:lnTo>
                  <a:pt x="32" y="20"/>
                </a:lnTo>
                <a:lnTo>
                  <a:pt x="28" y="19"/>
                </a:lnTo>
                <a:lnTo>
                  <a:pt x="24" y="17"/>
                </a:lnTo>
                <a:lnTo>
                  <a:pt x="22" y="17"/>
                </a:lnTo>
                <a:lnTo>
                  <a:pt x="15" y="16"/>
                </a:lnTo>
                <a:lnTo>
                  <a:pt x="12" y="15"/>
                </a:lnTo>
                <a:lnTo>
                  <a:pt x="7" y="12"/>
                </a:lnTo>
                <a:lnTo>
                  <a:pt x="8" y="12"/>
                </a:lnTo>
                <a:lnTo>
                  <a:pt x="11" y="12"/>
                </a:lnTo>
                <a:lnTo>
                  <a:pt x="13" y="12"/>
                </a:lnTo>
                <a:lnTo>
                  <a:pt x="11" y="11"/>
                </a:lnTo>
                <a:lnTo>
                  <a:pt x="10" y="12"/>
                </a:lnTo>
                <a:lnTo>
                  <a:pt x="8" y="11"/>
                </a:lnTo>
                <a:lnTo>
                  <a:pt x="8" y="11"/>
                </a:lnTo>
                <a:lnTo>
                  <a:pt x="10" y="11"/>
                </a:lnTo>
                <a:lnTo>
                  <a:pt x="8" y="10"/>
                </a:lnTo>
                <a:lnTo>
                  <a:pt x="5" y="10"/>
                </a:lnTo>
                <a:lnTo>
                  <a:pt x="3" y="9"/>
                </a:lnTo>
                <a:lnTo>
                  <a:pt x="3" y="9"/>
                </a:lnTo>
                <a:lnTo>
                  <a:pt x="6" y="10"/>
                </a:lnTo>
                <a:lnTo>
                  <a:pt x="6" y="9"/>
                </a:lnTo>
                <a:lnTo>
                  <a:pt x="5" y="9"/>
                </a:lnTo>
                <a:lnTo>
                  <a:pt x="3" y="8"/>
                </a:lnTo>
                <a:lnTo>
                  <a:pt x="2" y="7"/>
                </a:lnTo>
                <a:lnTo>
                  <a:pt x="3" y="7"/>
                </a:lnTo>
                <a:lnTo>
                  <a:pt x="6" y="7"/>
                </a:lnTo>
                <a:lnTo>
                  <a:pt x="6" y="7"/>
                </a:lnTo>
                <a:lnTo>
                  <a:pt x="4" y="6"/>
                </a:lnTo>
                <a:lnTo>
                  <a:pt x="3" y="6"/>
                </a:lnTo>
                <a:lnTo>
                  <a:pt x="2" y="6"/>
                </a:lnTo>
                <a:lnTo>
                  <a:pt x="0" y="5"/>
                </a:lnTo>
                <a:lnTo>
                  <a:pt x="0" y="5"/>
                </a:lnTo>
                <a:lnTo>
                  <a:pt x="0" y="3"/>
                </a:lnTo>
                <a:lnTo>
                  <a:pt x="2" y="3"/>
                </a:lnTo>
                <a:lnTo>
                  <a:pt x="5" y="3"/>
                </a:lnTo>
                <a:lnTo>
                  <a:pt x="5" y="1"/>
                </a:lnTo>
                <a:lnTo>
                  <a:pt x="6" y="2"/>
                </a:lnTo>
                <a:lnTo>
                  <a:pt x="8" y="1"/>
                </a:lnTo>
                <a:lnTo>
                  <a:pt x="11" y="0"/>
                </a:lnTo>
                <a:lnTo>
                  <a:pt x="12" y="0"/>
                </a:lnTo>
                <a:lnTo>
                  <a:pt x="12" y="1"/>
                </a:lnTo>
                <a:lnTo>
                  <a:pt x="14" y="2"/>
                </a:lnTo>
                <a:lnTo>
                  <a:pt x="22" y="3"/>
                </a:lnTo>
                <a:lnTo>
                  <a:pt x="23" y="5"/>
                </a:lnTo>
                <a:lnTo>
                  <a:pt x="24" y="3"/>
                </a:lnTo>
                <a:lnTo>
                  <a:pt x="25" y="5"/>
                </a:lnTo>
                <a:lnTo>
                  <a:pt x="27" y="5"/>
                </a:lnTo>
                <a:lnTo>
                  <a:pt x="27" y="6"/>
                </a:lnTo>
                <a:lnTo>
                  <a:pt x="30" y="6"/>
                </a:lnTo>
                <a:lnTo>
                  <a:pt x="31" y="6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75" name="Freeform 574"/>
          <p:cNvSpPr>
            <a:spLocks/>
          </p:cNvSpPr>
          <p:nvPr/>
        </p:nvSpPr>
        <p:spPr bwMode="auto">
          <a:xfrm>
            <a:off x="6669088" y="1471578"/>
            <a:ext cx="138112" cy="34925"/>
          </a:xfrm>
          <a:custGeom>
            <a:avLst/>
            <a:gdLst>
              <a:gd name="T0" fmla="*/ 32 w 87"/>
              <a:gd name="T1" fmla="*/ 6 h 22"/>
              <a:gd name="T2" fmla="*/ 33 w 87"/>
              <a:gd name="T3" fmla="*/ 6 h 22"/>
              <a:gd name="T4" fmla="*/ 37 w 87"/>
              <a:gd name="T5" fmla="*/ 7 h 22"/>
              <a:gd name="T6" fmla="*/ 37 w 87"/>
              <a:gd name="T7" fmla="*/ 8 h 22"/>
              <a:gd name="T8" fmla="*/ 38 w 87"/>
              <a:gd name="T9" fmla="*/ 8 h 22"/>
              <a:gd name="T10" fmla="*/ 41 w 87"/>
              <a:gd name="T11" fmla="*/ 9 h 22"/>
              <a:gd name="T12" fmla="*/ 43 w 87"/>
              <a:gd name="T13" fmla="*/ 9 h 22"/>
              <a:gd name="T14" fmla="*/ 46 w 87"/>
              <a:gd name="T15" fmla="*/ 9 h 22"/>
              <a:gd name="T16" fmla="*/ 44 w 87"/>
              <a:gd name="T17" fmla="*/ 7 h 22"/>
              <a:gd name="T18" fmla="*/ 37 w 87"/>
              <a:gd name="T19" fmla="*/ 5 h 22"/>
              <a:gd name="T20" fmla="*/ 37 w 87"/>
              <a:gd name="T21" fmla="*/ 2 h 22"/>
              <a:gd name="T22" fmla="*/ 45 w 87"/>
              <a:gd name="T23" fmla="*/ 3 h 22"/>
              <a:gd name="T24" fmla="*/ 53 w 87"/>
              <a:gd name="T25" fmla="*/ 6 h 22"/>
              <a:gd name="T26" fmla="*/ 58 w 87"/>
              <a:gd name="T27" fmla="*/ 7 h 22"/>
              <a:gd name="T28" fmla="*/ 62 w 87"/>
              <a:gd name="T29" fmla="*/ 8 h 22"/>
              <a:gd name="T30" fmla="*/ 63 w 87"/>
              <a:gd name="T31" fmla="*/ 10 h 22"/>
              <a:gd name="T32" fmla="*/ 63 w 87"/>
              <a:gd name="T33" fmla="*/ 11 h 22"/>
              <a:gd name="T34" fmla="*/ 65 w 87"/>
              <a:gd name="T35" fmla="*/ 12 h 22"/>
              <a:gd name="T36" fmla="*/ 72 w 87"/>
              <a:gd name="T37" fmla="*/ 16 h 22"/>
              <a:gd name="T38" fmla="*/ 82 w 87"/>
              <a:gd name="T39" fmla="*/ 17 h 22"/>
              <a:gd name="T40" fmla="*/ 87 w 87"/>
              <a:gd name="T41" fmla="*/ 18 h 22"/>
              <a:gd name="T42" fmla="*/ 84 w 87"/>
              <a:gd name="T43" fmla="*/ 19 h 22"/>
              <a:gd name="T44" fmla="*/ 78 w 87"/>
              <a:gd name="T45" fmla="*/ 19 h 22"/>
              <a:gd name="T46" fmla="*/ 78 w 87"/>
              <a:gd name="T47" fmla="*/ 20 h 22"/>
              <a:gd name="T48" fmla="*/ 72 w 87"/>
              <a:gd name="T49" fmla="*/ 18 h 22"/>
              <a:gd name="T50" fmla="*/ 68 w 87"/>
              <a:gd name="T51" fmla="*/ 17 h 22"/>
              <a:gd name="T52" fmla="*/ 63 w 87"/>
              <a:gd name="T53" fmla="*/ 18 h 22"/>
              <a:gd name="T54" fmla="*/ 59 w 87"/>
              <a:gd name="T55" fmla="*/ 20 h 22"/>
              <a:gd name="T56" fmla="*/ 53 w 87"/>
              <a:gd name="T57" fmla="*/ 20 h 22"/>
              <a:gd name="T58" fmla="*/ 52 w 87"/>
              <a:gd name="T59" fmla="*/ 20 h 22"/>
              <a:gd name="T60" fmla="*/ 51 w 87"/>
              <a:gd name="T61" fmla="*/ 19 h 22"/>
              <a:gd name="T62" fmla="*/ 45 w 87"/>
              <a:gd name="T63" fmla="*/ 17 h 22"/>
              <a:gd name="T64" fmla="*/ 45 w 87"/>
              <a:gd name="T65" fmla="*/ 19 h 22"/>
              <a:gd name="T66" fmla="*/ 47 w 87"/>
              <a:gd name="T67" fmla="*/ 19 h 22"/>
              <a:gd name="T68" fmla="*/ 48 w 87"/>
              <a:gd name="T69" fmla="*/ 21 h 22"/>
              <a:gd name="T70" fmla="*/ 43 w 87"/>
              <a:gd name="T71" fmla="*/ 21 h 22"/>
              <a:gd name="T72" fmla="*/ 32 w 87"/>
              <a:gd name="T73" fmla="*/ 20 h 22"/>
              <a:gd name="T74" fmla="*/ 24 w 87"/>
              <a:gd name="T75" fmla="*/ 17 h 22"/>
              <a:gd name="T76" fmla="*/ 15 w 87"/>
              <a:gd name="T77" fmla="*/ 16 h 22"/>
              <a:gd name="T78" fmla="*/ 7 w 87"/>
              <a:gd name="T79" fmla="*/ 12 h 22"/>
              <a:gd name="T80" fmla="*/ 11 w 87"/>
              <a:gd name="T81" fmla="*/ 12 h 22"/>
              <a:gd name="T82" fmla="*/ 11 w 87"/>
              <a:gd name="T83" fmla="*/ 11 h 22"/>
              <a:gd name="T84" fmla="*/ 8 w 87"/>
              <a:gd name="T85" fmla="*/ 11 h 22"/>
              <a:gd name="T86" fmla="*/ 10 w 87"/>
              <a:gd name="T87" fmla="*/ 11 h 22"/>
              <a:gd name="T88" fmla="*/ 5 w 87"/>
              <a:gd name="T89" fmla="*/ 10 h 22"/>
              <a:gd name="T90" fmla="*/ 3 w 87"/>
              <a:gd name="T91" fmla="*/ 9 h 22"/>
              <a:gd name="T92" fmla="*/ 6 w 87"/>
              <a:gd name="T93" fmla="*/ 9 h 22"/>
              <a:gd name="T94" fmla="*/ 3 w 87"/>
              <a:gd name="T95" fmla="*/ 8 h 22"/>
              <a:gd name="T96" fmla="*/ 3 w 87"/>
              <a:gd name="T97" fmla="*/ 7 h 22"/>
              <a:gd name="T98" fmla="*/ 6 w 87"/>
              <a:gd name="T99" fmla="*/ 7 h 22"/>
              <a:gd name="T100" fmla="*/ 3 w 87"/>
              <a:gd name="T101" fmla="*/ 6 h 22"/>
              <a:gd name="T102" fmla="*/ 0 w 87"/>
              <a:gd name="T103" fmla="*/ 5 h 22"/>
              <a:gd name="T104" fmla="*/ 0 w 87"/>
              <a:gd name="T105" fmla="*/ 3 h 22"/>
              <a:gd name="T106" fmla="*/ 5 w 87"/>
              <a:gd name="T107" fmla="*/ 3 h 22"/>
              <a:gd name="T108" fmla="*/ 6 w 87"/>
              <a:gd name="T109" fmla="*/ 2 h 22"/>
              <a:gd name="T110" fmla="*/ 11 w 87"/>
              <a:gd name="T111" fmla="*/ 0 h 22"/>
              <a:gd name="T112" fmla="*/ 12 w 87"/>
              <a:gd name="T113" fmla="*/ 1 h 22"/>
              <a:gd name="T114" fmla="*/ 22 w 87"/>
              <a:gd name="T115" fmla="*/ 3 h 22"/>
              <a:gd name="T116" fmla="*/ 24 w 87"/>
              <a:gd name="T117" fmla="*/ 3 h 22"/>
              <a:gd name="T118" fmla="*/ 27 w 87"/>
              <a:gd name="T119" fmla="*/ 5 h 22"/>
              <a:gd name="T120" fmla="*/ 30 w 87"/>
              <a:gd name="T121" fmla="*/ 6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7" h="22">
                <a:moveTo>
                  <a:pt x="31" y="6"/>
                </a:moveTo>
                <a:lnTo>
                  <a:pt x="32" y="6"/>
                </a:lnTo>
                <a:lnTo>
                  <a:pt x="33" y="7"/>
                </a:lnTo>
                <a:lnTo>
                  <a:pt x="33" y="6"/>
                </a:lnTo>
                <a:lnTo>
                  <a:pt x="36" y="7"/>
                </a:lnTo>
                <a:lnTo>
                  <a:pt x="37" y="7"/>
                </a:lnTo>
                <a:lnTo>
                  <a:pt x="37" y="7"/>
                </a:lnTo>
                <a:lnTo>
                  <a:pt x="37" y="8"/>
                </a:lnTo>
                <a:lnTo>
                  <a:pt x="38" y="8"/>
                </a:lnTo>
                <a:lnTo>
                  <a:pt x="38" y="8"/>
                </a:lnTo>
                <a:lnTo>
                  <a:pt x="39" y="9"/>
                </a:lnTo>
                <a:lnTo>
                  <a:pt x="41" y="9"/>
                </a:lnTo>
                <a:lnTo>
                  <a:pt x="43" y="9"/>
                </a:lnTo>
                <a:lnTo>
                  <a:pt x="43" y="9"/>
                </a:lnTo>
                <a:lnTo>
                  <a:pt x="45" y="9"/>
                </a:lnTo>
                <a:lnTo>
                  <a:pt x="46" y="9"/>
                </a:lnTo>
                <a:lnTo>
                  <a:pt x="43" y="7"/>
                </a:lnTo>
                <a:lnTo>
                  <a:pt x="44" y="7"/>
                </a:lnTo>
                <a:lnTo>
                  <a:pt x="41" y="6"/>
                </a:lnTo>
                <a:lnTo>
                  <a:pt x="37" y="5"/>
                </a:lnTo>
                <a:lnTo>
                  <a:pt x="36" y="3"/>
                </a:lnTo>
                <a:lnTo>
                  <a:pt x="37" y="2"/>
                </a:lnTo>
                <a:lnTo>
                  <a:pt x="38" y="2"/>
                </a:lnTo>
                <a:lnTo>
                  <a:pt x="45" y="3"/>
                </a:lnTo>
                <a:lnTo>
                  <a:pt x="52" y="6"/>
                </a:lnTo>
                <a:lnTo>
                  <a:pt x="53" y="6"/>
                </a:lnTo>
                <a:lnTo>
                  <a:pt x="56" y="7"/>
                </a:lnTo>
                <a:lnTo>
                  <a:pt x="58" y="7"/>
                </a:lnTo>
                <a:lnTo>
                  <a:pt x="61" y="8"/>
                </a:lnTo>
                <a:lnTo>
                  <a:pt x="62" y="8"/>
                </a:lnTo>
                <a:lnTo>
                  <a:pt x="62" y="9"/>
                </a:lnTo>
                <a:lnTo>
                  <a:pt x="63" y="10"/>
                </a:lnTo>
                <a:lnTo>
                  <a:pt x="64" y="10"/>
                </a:lnTo>
                <a:lnTo>
                  <a:pt x="63" y="11"/>
                </a:lnTo>
                <a:lnTo>
                  <a:pt x="64" y="12"/>
                </a:lnTo>
                <a:lnTo>
                  <a:pt x="65" y="12"/>
                </a:lnTo>
                <a:lnTo>
                  <a:pt x="66" y="13"/>
                </a:lnTo>
                <a:lnTo>
                  <a:pt x="72" y="16"/>
                </a:lnTo>
                <a:lnTo>
                  <a:pt x="76" y="17"/>
                </a:lnTo>
                <a:lnTo>
                  <a:pt x="82" y="17"/>
                </a:lnTo>
                <a:lnTo>
                  <a:pt x="86" y="18"/>
                </a:lnTo>
                <a:lnTo>
                  <a:pt x="87" y="18"/>
                </a:lnTo>
                <a:lnTo>
                  <a:pt x="87" y="19"/>
                </a:lnTo>
                <a:lnTo>
                  <a:pt x="84" y="19"/>
                </a:lnTo>
                <a:lnTo>
                  <a:pt x="78" y="18"/>
                </a:lnTo>
                <a:lnTo>
                  <a:pt x="78" y="19"/>
                </a:lnTo>
                <a:lnTo>
                  <a:pt x="79" y="19"/>
                </a:lnTo>
                <a:lnTo>
                  <a:pt x="78" y="20"/>
                </a:lnTo>
                <a:lnTo>
                  <a:pt x="71" y="18"/>
                </a:lnTo>
                <a:lnTo>
                  <a:pt x="72" y="18"/>
                </a:lnTo>
                <a:lnTo>
                  <a:pt x="71" y="17"/>
                </a:lnTo>
                <a:lnTo>
                  <a:pt x="68" y="17"/>
                </a:lnTo>
                <a:lnTo>
                  <a:pt x="67" y="18"/>
                </a:lnTo>
                <a:lnTo>
                  <a:pt x="63" y="18"/>
                </a:lnTo>
                <a:lnTo>
                  <a:pt x="61" y="19"/>
                </a:lnTo>
                <a:lnTo>
                  <a:pt x="59" y="20"/>
                </a:lnTo>
                <a:lnTo>
                  <a:pt x="55" y="20"/>
                </a:lnTo>
                <a:lnTo>
                  <a:pt x="53" y="20"/>
                </a:lnTo>
                <a:lnTo>
                  <a:pt x="51" y="20"/>
                </a:lnTo>
                <a:lnTo>
                  <a:pt x="52" y="20"/>
                </a:lnTo>
                <a:lnTo>
                  <a:pt x="53" y="19"/>
                </a:lnTo>
                <a:lnTo>
                  <a:pt x="51" y="19"/>
                </a:lnTo>
                <a:lnTo>
                  <a:pt x="47" y="18"/>
                </a:lnTo>
                <a:lnTo>
                  <a:pt x="45" y="17"/>
                </a:lnTo>
                <a:lnTo>
                  <a:pt x="44" y="17"/>
                </a:lnTo>
                <a:lnTo>
                  <a:pt x="45" y="19"/>
                </a:lnTo>
                <a:lnTo>
                  <a:pt x="46" y="19"/>
                </a:lnTo>
                <a:lnTo>
                  <a:pt x="47" y="19"/>
                </a:lnTo>
                <a:lnTo>
                  <a:pt x="48" y="21"/>
                </a:lnTo>
                <a:lnTo>
                  <a:pt x="48" y="21"/>
                </a:lnTo>
                <a:lnTo>
                  <a:pt x="47" y="22"/>
                </a:lnTo>
                <a:lnTo>
                  <a:pt x="43" y="21"/>
                </a:lnTo>
                <a:lnTo>
                  <a:pt x="37" y="21"/>
                </a:lnTo>
                <a:lnTo>
                  <a:pt x="32" y="20"/>
                </a:lnTo>
                <a:lnTo>
                  <a:pt x="28" y="19"/>
                </a:lnTo>
                <a:lnTo>
                  <a:pt x="24" y="17"/>
                </a:lnTo>
                <a:lnTo>
                  <a:pt x="22" y="17"/>
                </a:lnTo>
                <a:lnTo>
                  <a:pt x="15" y="16"/>
                </a:lnTo>
                <a:lnTo>
                  <a:pt x="12" y="15"/>
                </a:lnTo>
                <a:lnTo>
                  <a:pt x="7" y="12"/>
                </a:lnTo>
                <a:lnTo>
                  <a:pt x="8" y="12"/>
                </a:lnTo>
                <a:lnTo>
                  <a:pt x="11" y="12"/>
                </a:lnTo>
                <a:lnTo>
                  <a:pt x="13" y="12"/>
                </a:lnTo>
                <a:lnTo>
                  <a:pt x="11" y="11"/>
                </a:lnTo>
                <a:lnTo>
                  <a:pt x="10" y="12"/>
                </a:lnTo>
                <a:lnTo>
                  <a:pt x="8" y="11"/>
                </a:lnTo>
                <a:lnTo>
                  <a:pt x="8" y="11"/>
                </a:lnTo>
                <a:lnTo>
                  <a:pt x="10" y="11"/>
                </a:lnTo>
                <a:lnTo>
                  <a:pt x="8" y="10"/>
                </a:lnTo>
                <a:lnTo>
                  <a:pt x="5" y="10"/>
                </a:lnTo>
                <a:lnTo>
                  <a:pt x="3" y="9"/>
                </a:lnTo>
                <a:lnTo>
                  <a:pt x="3" y="9"/>
                </a:lnTo>
                <a:lnTo>
                  <a:pt x="6" y="10"/>
                </a:lnTo>
                <a:lnTo>
                  <a:pt x="6" y="9"/>
                </a:lnTo>
                <a:lnTo>
                  <a:pt x="5" y="9"/>
                </a:lnTo>
                <a:lnTo>
                  <a:pt x="3" y="8"/>
                </a:lnTo>
                <a:lnTo>
                  <a:pt x="2" y="7"/>
                </a:lnTo>
                <a:lnTo>
                  <a:pt x="3" y="7"/>
                </a:lnTo>
                <a:lnTo>
                  <a:pt x="6" y="7"/>
                </a:lnTo>
                <a:lnTo>
                  <a:pt x="6" y="7"/>
                </a:lnTo>
                <a:lnTo>
                  <a:pt x="4" y="6"/>
                </a:lnTo>
                <a:lnTo>
                  <a:pt x="3" y="6"/>
                </a:lnTo>
                <a:lnTo>
                  <a:pt x="2" y="6"/>
                </a:lnTo>
                <a:lnTo>
                  <a:pt x="0" y="5"/>
                </a:lnTo>
                <a:lnTo>
                  <a:pt x="0" y="5"/>
                </a:lnTo>
                <a:lnTo>
                  <a:pt x="0" y="3"/>
                </a:lnTo>
                <a:lnTo>
                  <a:pt x="2" y="3"/>
                </a:lnTo>
                <a:lnTo>
                  <a:pt x="5" y="3"/>
                </a:lnTo>
                <a:lnTo>
                  <a:pt x="5" y="1"/>
                </a:lnTo>
                <a:lnTo>
                  <a:pt x="6" y="2"/>
                </a:lnTo>
                <a:lnTo>
                  <a:pt x="8" y="1"/>
                </a:lnTo>
                <a:lnTo>
                  <a:pt x="11" y="0"/>
                </a:lnTo>
                <a:lnTo>
                  <a:pt x="12" y="0"/>
                </a:lnTo>
                <a:lnTo>
                  <a:pt x="12" y="1"/>
                </a:lnTo>
                <a:lnTo>
                  <a:pt x="14" y="2"/>
                </a:lnTo>
                <a:lnTo>
                  <a:pt x="22" y="3"/>
                </a:lnTo>
                <a:lnTo>
                  <a:pt x="23" y="5"/>
                </a:lnTo>
                <a:lnTo>
                  <a:pt x="24" y="3"/>
                </a:lnTo>
                <a:lnTo>
                  <a:pt x="25" y="5"/>
                </a:lnTo>
                <a:lnTo>
                  <a:pt x="27" y="5"/>
                </a:lnTo>
                <a:lnTo>
                  <a:pt x="27" y="6"/>
                </a:lnTo>
                <a:lnTo>
                  <a:pt x="30" y="6"/>
                </a:lnTo>
                <a:lnTo>
                  <a:pt x="31" y="6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76" name="Freeform 575"/>
          <p:cNvSpPr>
            <a:spLocks/>
          </p:cNvSpPr>
          <p:nvPr/>
        </p:nvSpPr>
        <p:spPr bwMode="auto">
          <a:xfrm>
            <a:off x="6731000" y="1473165"/>
            <a:ext cx="92075" cy="25400"/>
          </a:xfrm>
          <a:custGeom>
            <a:avLst/>
            <a:gdLst>
              <a:gd name="T0" fmla="*/ 0 w 58"/>
              <a:gd name="T1" fmla="*/ 0 h 16"/>
              <a:gd name="T2" fmla="*/ 4 w 58"/>
              <a:gd name="T3" fmla="*/ 1 h 16"/>
              <a:gd name="T4" fmla="*/ 9 w 58"/>
              <a:gd name="T5" fmla="*/ 2 h 16"/>
              <a:gd name="T6" fmla="*/ 13 w 58"/>
              <a:gd name="T7" fmla="*/ 2 h 16"/>
              <a:gd name="T8" fmla="*/ 17 w 58"/>
              <a:gd name="T9" fmla="*/ 5 h 16"/>
              <a:gd name="T10" fmla="*/ 19 w 58"/>
              <a:gd name="T11" fmla="*/ 5 h 16"/>
              <a:gd name="T12" fmla="*/ 25 w 58"/>
              <a:gd name="T13" fmla="*/ 5 h 16"/>
              <a:gd name="T14" fmla="*/ 27 w 58"/>
              <a:gd name="T15" fmla="*/ 5 h 16"/>
              <a:gd name="T16" fmla="*/ 28 w 58"/>
              <a:gd name="T17" fmla="*/ 4 h 16"/>
              <a:gd name="T18" fmla="*/ 34 w 58"/>
              <a:gd name="T19" fmla="*/ 5 h 16"/>
              <a:gd name="T20" fmla="*/ 38 w 58"/>
              <a:gd name="T21" fmla="*/ 6 h 16"/>
              <a:gd name="T22" fmla="*/ 43 w 58"/>
              <a:gd name="T23" fmla="*/ 7 h 16"/>
              <a:gd name="T24" fmla="*/ 47 w 58"/>
              <a:gd name="T25" fmla="*/ 7 h 16"/>
              <a:gd name="T26" fmla="*/ 52 w 58"/>
              <a:gd name="T27" fmla="*/ 8 h 16"/>
              <a:gd name="T28" fmla="*/ 56 w 58"/>
              <a:gd name="T29" fmla="*/ 9 h 16"/>
              <a:gd name="T30" fmla="*/ 57 w 58"/>
              <a:gd name="T31" fmla="*/ 9 h 16"/>
              <a:gd name="T32" fmla="*/ 58 w 58"/>
              <a:gd name="T33" fmla="*/ 9 h 16"/>
              <a:gd name="T34" fmla="*/ 55 w 58"/>
              <a:gd name="T35" fmla="*/ 9 h 16"/>
              <a:gd name="T36" fmla="*/ 54 w 58"/>
              <a:gd name="T37" fmla="*/ 9 h 16"/>
              <a:gd name="T38" fmla="*/ 54 w 58"/>
              <a:gd name="T39" fmla="*/ 10 h 16"/>
              <a:gd name="T40" fmla="*/ 52 w 58"/>
              <a:gd name="T41" fmla="*/ 10 h 16"/>
              <a:gd name="T42" fmla="*/ 53 w 58"/>
              <a:gd name="T43" fmla="*/ 10 h 16"/>
              <a:gd name="T44" fmla="*/ 53 w 58"/>
              <a:gd name="T45" fmla="*/ 11 h 16"/>
              <a:gd name="T46" fmla="*/ 55 w 58"/>
              <a:gd name="T47" fmla="*/ 12 h 16"/>
              <a:gd name="T48" fmla="*/ 57 w 58"/>
              <a:gd name="T49" fmla="*/ 12 h 16"/>
              <a:gd name="T50" fmla="*/ 56 w 58"/>
              <a:gd name="T51" fmla="*/ 14 h 16"/>
              <a:gd name="T52" fmla="*/ 57 w 58"/>
              <a:gd name="T53" fmla="*/ 15 h 16"/>
              <a:gd name="T54" fmla="*/ 56 w 58"/>
              <a:gd name="T55" fmla="*/ 15 h 16"/>
              <a:gd name="T56" fmla="*/ 56 w 58"/>
              <a:gd name="T57" fmla="*/ 15 h 16"/>
              <a:gd name="T58" fmla="*/ 53 w 58"/>
              <a:gd name="T59" fmla="*/ 16 h 16"/>
              <a:gd name="T60" fmla="*/ 49 w 58"/>
              <a:gd name="T61" fmla="*/ 16 h 16"/>
              <a:gd name="T62" fmla="*/ 42 w 58"/>
              <a:gd name="T63" fmla="*/ 16 h 16"/>
              <a:gd name="T64" fmla="*/ 38 w 58"/>
              <a:gd name="T65" fmla="*/ 15 h 16"/>
              <a:gd name="T66" fmla="*/ 27 w 58"/>
              <a:gd name="T67" fmla="*/ 11 h 16"/>
              <a:gd name="T68" fmla="*/ 26 w 58"/>
              <a:gd name="T69" fmla="*/ 10 h 16"/>
              <a:gd name="T70" fmla="*/ 25 w 58"/>
              <a:gd name="T71" fmla="*/ 7 h 16"/>
              <a:gd name="T72" fmla="*/ 23 w 58"/>
              <a:gd name="T73" fmla="*/ 6 h 16"/>
              <a:gd name="T74" fmla="*/ 22 w 58"/>
              <a:gd name="T75" fmla="*/ 6 h 16"/>
              <a:gd name="T76" fmla="*/ 19 w 58"/>
              <a:gd name="T77" fmla="*/ 5 h 16"/>
              <a:gd name="T78" fmla="*/ 5 w 58"/>
              <a:gd name="T79" fmla="*/ 1 h 16"/>
              <a:gd name="T80" fmla="*/ 3 w 58"/>
              <a:gd name="T81" fmla="*/ 1 h 16"/>
              <a:gd name="T82" fmla="*/ 0 w 58"/>
              <a:gd name="T83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8" h="16">
                <a:moveTo>
                  <a:pt x="0" y="0"/>
                </a:moveTo>
                <a:lnTo>
                  <a:pt x="4" y="1"/>
                </a:lnTo>
                <a:lnTo>
                  <a:pt x="9" y="2"/>
                </a:lnTo>
                <a:lnTo>
                  <a:pt x="13" y="2"/>
                </a:lnTo>
                <a:lnTo>
                  <a:pt x="17" y="5"/>
                </a:lnTo>
                <a:lnTo>
                  <a:pt x="19" y="5"/>
                </a:lnTo>
                <a:lnTo>
                  <a:pt x="25" y="5"/>
                </a:lnTo>
                <a:lnTo>
                  <a:pt x="27" y="5"/>
                </a:lnTo>
                <a:lnTo>
                  <a:pt x="28" y="4"/>
                </a:lnTo>
                <a:lnTo>
                  <a:pt x="34" y="5"/>
                </a:lnTo>
                <a:lnTo>
                  <a:pt x="38" y="6"/>
                </a:lnTo>
                <a:lnTo>
                  <a:pt x="43" y="7"/>
                </a:lnTo>
                <a:lnTo>
                  <a:pt x="47" y="7"/>
                </a:lnTo>
                <a:lnTo>
                  <a:pt x="52" y="8"/>
                </a:lnTo>
                <a:lnTo>
                  <a:pt x="56" y="9"/>
                </a:lnTo>
                <a:lnTo>
                  <a:pt x="57" y="9"/>
                </a:lnTo>
                <a:lnTo>
                  <a:pt x="58" y="9"/>
                </a:lnTo>
                <a:lnTo>
                  <a:pt x="55" y="9"/>
                </a:lnTo>
                <a:lnTo>
                  <a:pt x="54" y="9"/>
                </a:lnTo>
                <a:lnTo>
                  <a:pt x="54" y="10"/>
                </a:lnTo>
                <a:lnTo>
                  <a:pt x="52" y="10"/>
                </a:lnTo>
                <a:lnTo>
                  <a:pt x="53" y="10"/>
                </a:lnTo>
                <a:lnTo>
                  <a:pt x="53" y="11"/>
                </a:lnTo>
                <a:lnTo>
                  <a:pt x="55" y="12"/>
                </a:lnTo>
                <a:lnTo>
                  <a:pt x="57" y="12"/>
                </a:lnTo>
                <a:lnTo>
                  <a:pt x="56" y="14"/>
                </a:lnTo>
                <a:lnTo>
                  <a:pt x="57" y="15"/>
                </a:lnTo>
                <a:lnTo>
                  <a:pt x="56" y="15"/>
                </a:lnTo>
                <a:lnTo>
                  <a:pt x="56" y="15"/>
                </a:lnTo>
                <a:lnTo>
                  <a:pt x="53" y="16"/>
                </a:lnTo>
                <a:lnTo>
                  <a:pt x="49" y="16"/>
                </a:lnTo>
                <a:lnTo>
                  <a:pt x="42" y="16"/>
                </a:lnTo>
                <a:lnTo>
                  <a:pt x="38" y="15"/>
                </a:lnTo>
                <a:lnTo>
                  <a:pt x="27" y="11"/>
                </a:lnTo>
                <a:lnTo>
                  <a:pt x="26" y="10"/>
                </a:lnTo>
                <a:lnTo>
                  <a:pt x="25" y="7"/>
                </a:lnTo>
                <a:lnTo>
                  <a:pt x="23" y="6"/>
                </a:lnTo>
                <a:lnTo>
                  <a:pt x="22" y="6"/>
                </a:lnTo>
                <a:lnTo>
                  <a:pt x="19" y="5"/>
                </a:lnTo>
                <a:lnTo>
                  <a:pt x="5" y="1"/>
                </a:lnTo>
                <a:lnTo>
                  <a:pt x="3" y="1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77" name="Freeform 576"/>
          <p:cNvSpPr>
            <a:spLocks/>
          </p:cNvSpPr>
          <p:nvPr/>
        </p:nvSpPr>
        <p:spPr bwMode="auto">
          <a:xfrm>
            <a:off x="6731000" y="1473165"/>
            <a:ext cx="92075" cy="25400"/>
          </a:xfrm>
          <a:custGeom>
            <a:avLst/>
            <a:gdLst>
              <a:gd name="T0" fmla="*/ 0 w 58"/>
              <a:gd name="T1" fmla="*/ 0 h 16"/>
              <a:gd name="T2" fmla="*/ 4 w 58"/>
              <a:gd name="T3" fmla="*/ 1 h 16"/>
              <a:gd name="T4" fmla="*/ 9 w 58"/>
              <a:gd name="T5" fmla="*/ 2 h 16"/>
              <a:gd name="T6" fmla="*/ 13 w 58"/>
              <a:gd name="T7" fmla="*/ 2 h 16"/>
              <a:gd name="T8" fmla="*/ 17 w 58"/>
              <a:gd name="T9" fmla="*/ 5 h 16"/>
              <a:gd name="T10" fmla="*/ 19 w 58"/>
              <a:gd name="T11" fmla="*/ 5 h 16"/>
              <a:gd name="T12" fmla="*/ 25 w 58"/>
              <a:gd name="T13" fmla="*/ 5 h 16"/>
              <a:gd name="T14" fmla="*/ 27 w 58"/>
              <a:gd name="T15" fmla="*/ 5 h 16"/>
              <a:gd name="T16" fmla="*/ 28 w 58"/>
              <a:gd name="T17" fmla="*/ 4 h 16"/>
              <a:gd name="T18" fmla="*/ 34 w 58"/>
              <a:gd name="T19" fmla="*/ 5 h 16"/>
              <a:gd name="T20" fmla="*/ 38 w 58"/>
              <a:gd name="T21" fmla="*/ 6 h 16"/>
              <a:gd name="T22" fmla="*/ 43 w 58"/>
              <a:gd name="T23" fmla="*/ 7 h 16"/>
              <a:gd name="T24" fmla="*/ 47 w 58"/>
              <a:gd name="T25" fmla="*/ 7 h 16"/>
              <a:gd name="T26" fmla="*/ 52 w 58"/>
              <a:gd name="T27" fmla="*/ 8 h 16"/>
              <a:gd name="T28" fmla="*/ 56 w 58"/>
              <a:gd name="T29" fmla="*/ 9 h 16"/>
              <a:gd name="T30" fmla="*/ 57 w 58"/>
              <a:gd name="T31" fmla="*/ 9 h 16"/>
              <a:gd name="T32" fmla="*/ 58 w 58"/>
              <a:gd name="T33" fmla="*/ 9 h 16"/>
              <a:gd name="T34" fmla="*/ 55 w 58"/>
              <a:gd name="T35" fmla="*/ 9 h 16"/>
              <a:gd name="T36" fmla="*/ 54 w 58"/>
              <a:gd name="T37" fmla="*/ 9 h 16"/>
              <a:gd name="T38" fmla="*/ 54 w 58"/>
              <a:gd name="T39" fmla="*/ 10 h 16"/>
              <a:gd name="T40" fmla="*/ 52 w 58"/>
              <a:gd name="T41" fmla="*/ 10 h 16"/>
              <a:gd name="T42" fmla="*/ 53 w 58"/>
              <a:gd name="T43" fmla="*/ 10 h 16"/>
              <a:gd name="T44" fmla="*/ 53 w 58"/>
              <a:gd name="T45" fmla="*/ 11 h 16"/>
              <a:gd name="T46" fmla="*/ 55 w 58"/>
              <a:gd name="T47" fmla="*/ 12 h 16"/>
              <a:gd name="T48" fmla="*/ 57 w 58"/>
              <a:gd name="T49" fmla="*/ 12 h 16"/>
              <a:gd name="T50" fmla="*/ 56 w 58"/>
              <a:gd name="T51" fmla="*/ 14 h 16"/>
              <a:gd name="T52" fmla="*/ 57 w 58"/>
              <a:gd name="T53" fmla="*/ 15 h 16"/>
              <a:gd name="T54" fmla="*/ 56 w 58"/>
              <a:gd name="T55" fmla="*/ 15 h 16"/>
              <a:gd name="T56" fmla="*/ 56 w 58"/>
              <a:gd name="T57" fmla="*/ 15 h 16"/>
              <a:gd name="T58" fmla="*/ 53 w 58"/>
              <a:gd name="T59" fmla="*/ 16 h 16"/>
              <a:gd name="T60" fmla="*/ 49 w 58"/>
              <a:gd name="T61" fmla="*/ 16 h 16"/>
              <a:gd name="T62" fmla="*/ 42 w 58"/>
              <a:gd name="T63" fmla="*/ 16 h 16"/>
              <a:gd name="T64" fmla="*/ 38 w 58"/>
              <a:gd name="T65" fmla="*/ 15 h 16"/>
              <a:gd name="T66" fmla="*/ 27 w 58"/>
              <a:gd name="T67" fmla="*/ 11 h 16"/>
              <a:gd name="T68" fmla="*/ 26 w 58"/>
              <a:gd name="T69" fmla="*/ 10 h 16"/>
              <a:gd name="T70" fmla="*/ 25 w 58"/>
              <a:gd name="T71" fmla="*/ 7 h 16"/>
              <a:gd name="T72" fmla="*/ 23 w 58"/>
              <a:gd name="T73" fmla="*/ 6 h 16"/>
              <a:gd name="T74" fmla="*/ 22 w 58"/>
              <a:gd name="T75" fmla="*/ 6 h 16"/>
              <a:gd name="T76" fmla="*/ 19 w 58"/>
              <a:gd name="T77" fmla="*/ 5 h 16"/>
              <a:gd name="T78" fmla="*/ 5 w 58"/>
              <a:gd name="T79" fmla="*/ 1 h 16"/>
              <a:gd name="T80" fmla="*/ 3 w 58"/>
              <a:gd name="T81" fmla="*/ 1 h 16"/>
              <a:gd name="T82" fmla="*/ 0 w 58"/>
              <a:gd name="T83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8" h="16">
                <a:moveTo>
                  <a:pt x="0" y="0"/>
                </a:moveTo>
                <a:lnTo>
                  <a:pt x="4" y="1"/>
                </a:lnTo>
                <a:lnTo>
                  <a:pt x="9" y="2"/>
                </a:lnTo>
                <a:lnTo>
                  <a:pt x="13" y="2"/>
                </a:lnTo>
                <a:lnTo>
                  <a:pt x="17" y="5"/>
                </a:lnTo>
                <a:lnTo>
                  <a:pt x="19" y="5"/>
                </a:lnTo>
                <a:lnTo>
                  <a:pt x="25" y="5"/>
                </a:lnTo>
                <a:lnTo>
                  <a:pt x="27" y="5"/>
                </a:lnTo>
                <a:lnTo>
                  <a:pt x="28" y="4"/>
                </a:lnTo>
                <a:lnTo>
                  <a:pt x="34" y="5"/>
                </a:lnTo>
                <a:lnTo>
                  <a:pt x="38" y="6"/>
                </a:lnTo>
                <a:lnTo>
                  <a:pt x="43" y="7"/>
                </a:lnTo>
                <a:lnTo>
                  <a:pt x="47" y="7"/>
                </a:lnTo>
                <a:lnTo>
                  <a:pt x="52" y="8"/>
                </a:lnTo>
                <a:lnTo>
                  <a:pt x="56" y="9"/>
                </a:lnTo>
                <a:lnTo>
                  <a:pt x="57" y="9"/>
                </a:lnTo>
                <a:lnTo>
                  <a:pt x="58" y="9"/>
                </a:lnTo>
                <a:lnTo>
                  <a:pt x="55" y="9"/>
                </a:lnTo>
                <a:lnTo>
                  <a:pt x="54" y="9"/>
                </a:lnTo>
                <a:lnTo>
                  <a:pt x="54" y="10"/>
                </a:lnTo>
                <a:lnTo>
                  <a:pt x="52" y="10"/>
                </a:lnTo>
                <a:lnTo>
                  <a:pt x="53" y="10"/>
                </a:lnTo>
                <a:lnTo>
                  <a:pt x="53" y="11"/>
                </a:lnTo>
                <a:lnTo>
                  <a:pt x="55" y="12"/>
                </a:lnTo>
                <a:lnTo>
                  <a:pt x="57" y="12"/>
                </a:lnTo>
                <a:lnTo>
                  <a:pt x="56" y="14"/>
                </a:lnTo>
                <a:lnTo>
                  <a:pt x="57" y="15"/>
                </a:lnTo>
                <a:lnTo>
                  <a:pt x="56" y="15"/>
                </a:lnTo>
                <a:lnTo>
                  <a:pt x="56" y="15"/>
                </a:lnTo>
                <a:lnTo>
                  <a:pt x="53" y="16"/>
                </a:lnTo>
                <a:lnTo>
                  <a:pt x="49" y="16"/>
                </a:lnTo>
                <a:lnTo>
                  <a:pt x="42" y="16"/>
                </a:lnTo>
                <a:lnTo>
                  <a:pt x="38" y="15"/>
                </a:lnTo>
                <a:lnTo>
                  <a:pt x="27" y="11"/>
                </a:lnTo>
                <a:lnTo>
                  <a:pt x="26" y="10"/>
                </a:lnTo>
                <a:lnTo>
                  <a:pt x="25" y="7"/>
                </a:lnTo>
                <a:lnTo>
                  <a:pt x="23" y="6"/>
                </a:lnTo>
                <a:lnTo>
                  <a:pt x="22" y="6"/>
                </a:lnTo>
                <a:lnTo>
                  <a:pt x="19" y="5"/>
                </a:lnTo>
                <a:lnTo>
                  <a:pt x="5" y="1"/>
                </a:lnTo>
                <a:lnTo>
                  <a:pt x="3" y="1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78" name="Freeform 577"/>
          <p:cNvSpPr>
            <a:spLocks/>
          </p:cNvSpPr>
          <p:nvPr/>
        </p:nvSpPr>
        <p:spPr bwMode="auto">
          <a:xfrm>
            <a:off x="6835775" y="1487453"/>
            <a:ext cx="103187" cy="17463"/>
          </a:xfrm>
          <a:custGeom>
            <a:avLst/>
            <a:gdLst>
              <a:gd name="T0" fmla="*/ 1 w 65"/>
              <a:gd name="T1" fmla="*/ 0 h 11"/>
              <a:gd name="T2" fmla="*/ 2 w 65"/>
              <a:gd name="T3" fmla="*/ 0 h 11"/>
              <a:gd name="T4" fmla="*/ 4 w 65"/>
              <a:gd name="T5" fmla="*/ 0 h 11"/>
              <a:gd name="T6" fmla="*/ 7 w 65"/>
              <a:gd name="T7" fmla="*/ 1 h 11"/>
              <a:gd name="T8" fmla="*/ 8 w 65"/>
              <a:gd name="T9" fmla="*/ 1 h 11"/>
              <a:gd name="T10" fmla="*/ 10 w 65"/>
              <a:gd name="T11" fmla="*/ 1 h 11"/>
              <a:gd name="T12" fmla="*/ 13 w 65"/>
              <a:gd name="T13" fmla="*/ 2 h 11"/>
              <a:gd name="T14" fmla="*/ 17 w 65"/>
              <a:gd name="T15" fmla="*/ 2 h 11"/>
              <a:gd name="T16" fmla="*/ 18 w 65"/>
              <a:gd name="T17" fmla="*/ 1 h 11"/>
              <a:gd name="T18" fmla="*/ 29 w 65"/>
              <a:gd name="T19" fmla="*/ 2 h 11"/>
              <a:gd name="T20" fmla="*/ 31 w 65"/>
              <a:gd name="T21" fmla="*/ 2 h 11"/>
              <a:gd name="T22" fmla="*/ 29 w 65"/>
              <a:gd name="T23" fmla="*/ 3 h 11"/>
              <a:gd name="T24" fmla="*/ 30 w 65"/>
              <a:gd name="T25" fmla="*/ 3 h 11"/>
              <a:gd name="T26" fmla="*/ 29 w 65"/>
              <a:gd name="T27" fmla="*/ 3 h 11"/>
              <a:gd name="T28" fmla="*/ 32 w 65"/>
              <a:gd name="T29" fmla="*/ 3 h 11"/>
              <a:gd name="T30" fmla="*/ 38 w 65"/>
              <a:gd name="T31" fmla="*/ 5 h 11"/>
              <a:gd name="T32" fmla="*/ 39 w 65"/>
              <a:gd name="T33" fmla="*/ 3 h 11"/>
              <a:gd name="T34" fmla="*/ 40 w 65"/>
              <a:gd name="T35" fmla="*/ 3 h 11"/>
              <a:gd name="T36" fmla="*/ 43 w 65"/>
              <a:gd name="T37" fmla="*/ 5 h 11"/>
              <a:gd name="T38" fmla="*/ 45 w 65"/>
              <a:gd name="T39" fmla="*/ 5 h 11"/>
              <a:gd name="T40" fmla="*/ 49 w 65"/>
              <a:gd name="T41" fmla="*/ 5 h 11"/>
              <a:gd name="T42" fmla="*/ 51 w 65"/>
              <a:gd name="T43" fmla="*/ 5 h 11"/>
              <a:gd name="T44" fmla="*/ 54 w 65"/>
              <a:gd name="T45" fmla="*/ 6 h 11"/>
              <a:gd name="T46" fmla="*/ 63 w 65"/>
              <a:gd name="T47" fmla="*/ 6 h 11"/>
              <a:gd name="T48" fmla="*/ 62 w 65"/>
              <a:gd name="T49" fmla="*/ 7 h 11"/>
              <a:gd name="T50" fmla="*/ 65 w 65"/>
              <a:gd name="T51" fmla="*/ 9 h 11"/>
              <a:gd name="T52" fmla="*/ 64 w 65"/>
              <a:gd name="T53" fmla="*/ 10 h 11"/>
              <a:gd name="T54" fmla="*/ 60 w 65"/>
              <a:gd name="T55" fmla="*/ 11 h 11"/>
              <a:gd name="T56" fmla="*/ 58 w 65"/>
              <a:gd name="T57" fmla="*/ 11 h 11"/>
              <a:gd name="T58" fmla="*/ 55 w 65"/>
              <a:gd name="T59" fmla="*/ 11 h 11"/>
              <a:gd name="T60" fmla="*/ 55 w 65"/>
              <a:gd name="T61" fmla="*/ 11 h 11"/>
              <a:gd name="T62" fmla="*/ 53 w 65"/>
              <a:gd name="T63" fmla="*/ 11 h 11"/>
              <a:gd name="T64" fmla="*/ 51 w 65"/>
              <a:gd name="T65" fmla="*/ 10 h 11"/>
              <a:gd name="T66" fmla="*/ 52 w 65"/>
              <a:gd name="T67" fmla="*/ 11 h 11"/>
              <a:gd name="T68" fmla="*/ 50 w 65"/>
              <a:gd name="T69" fmla="*/ 11 h 11"/>
              <a:gd name="T70" fmla="*/ 47 w 65"/>
              <a:gd name="T71" fmla="*/ 11 h 11"/>
              <a:gd name="T72" fmla="*/ 43 w 65"/>
              <a:gd name="T73" fmla="*/ 10 h 11"/>
              <a:gd name="T74" fmla="*/ 40 w 65"/>
              <a:gd name="T75" fmla="*/ 10 h 11"/>
              <a:gd name="T76" fmla="*/ 37 w 65"/>
              <a:gd name="T77" fmla="*/ 10 h 11"/>
              <a:gd name="T78" fmla="*/ 33 w 65"/>
              <a:gd name="T79" fmla="*/ 9 h 11"/>
              <a:gd name="T80" fmla="*/ 31 w 65"/>
              <a:gd name="T81" fmla="*/ 9 h 11"/>
              <a:gd name="T82" fmla="*/ 28 w 65"/>
              <a:gd name="T83" fmla="*/ 8 h 11"/>
              <a:gd name="T84" fmla="*/ 23 w 65"/>
              <a:gd name="T85" fmla="*/ 8 h 11"/>
              <a:gd name="T86" fmla="*/ 21 w 65"/>
              <a:gd name="T87" fmla="*/ 7 h 11"/>
              <a:gd name="T88" fmla="*/ 18 w 65"/>
              <a:gd name="T89" fmla="*/ 5 h 11"/>
              <a:gd name="T90" fmla="*/ 13 w 65"/>
              <a:gd name="T91" fmla="*/ 3 h 11"/>
              <a:gd name="T92" fmla="*/ 10 w 65"/>
              <a:gd name="T93" fmla="*/ 2 h 11"/>
              <a:gd name="T94" fmla="*/ 3 w 65"/>
              <a:gd name="T95" fmla="*/ 1 h 11"/>
              <a:gd name="T96" fmla="*/ 0 w 65"/>
              <a:gd name="T97" fmla="*/ 0 h 11"/>
              <a:gd name="T98" fmla="*/ 1 w 65"/>
              <a:gd name="T99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65" h="11">
                <a:moveTo>
                  <a:pt x="1" y="0"/>
                </a:moveTo>
                <a:lnTo>
                  <a:pt x="2" y="0"/>
                </a:lnTo>
                <a:lnTo>
                  <a:pt x="4" y="0"/>
                </a:lnTo>
                <a:lnTo>
                  <a:pt x="7" y="1"/>
                </a:lnTo>
                <a:lnTo>
                  <a:pt x="8" y="1"/>
                </a:lnTo>
                <a:lnTo>
                  <a:pt x="10" y="1"/>
                </a:lnTo>
                <a:lnTo>
                  <a:pt x="13" y="2"/>
                </a:lnTo>
                <a:lnTo>
                  <a:pt x="17" y="2"/>
                </a:lnTo>
                <a:lnTo>
                  <a:pt x="18" y="1"/>
                </a:lnTo>
                <a:lnTo>
                  <a:pt x="29" y="2"/>
                </a:lnTo>
                <a:lnTo>
                  <a:pt x="31" y="2"/>
                </a:lnTo>
                <a:lnTo>
                  <a:pt x="29" y="3"/>
                </a:lnTo>
                <a:lnTo>
                  <a:pt x="30" y="3"/>
                </a:lnTo>
                <a:lnTo>
                  <a:pt x="29" y="3"/>
                </a:lnTo>
                <a:lnTo>
                  <a:pt x="32" y="3"/>
                </a:lnTo>
                <a:lnTo>
                  <a:pt x="38" y="5"/>
                </a:lnTo>
                <a:lnTo>
                  <a:pt x="39" y="3"/>
                </a:lnTo>
                <a:lnTo>
                  <a:pt x="40" y="3"/>
                </a:lnTo>
                <a:lnTo>
                  <a:pt x="43" y="5"/>
                </a:lnTo>
                <a:lnTo>
                  <a:pt x="45" y="5"/>
                </a:lnTo>
                <a:lnTo>
                  <a:pt x="49" y="5"/>
                </a:lnTo>
                <a:lnTo>
                  <a:pt x="51" y="5"/>
                </a:lnTo>
                <a:lnTo>
                  <a:pt x="54" y="6"/>
                </a:lnTo>
                <a:lnTo>
                  <a:pt x="63" y="6"/>
                </a:lnTo>
                <a:lnTo>
                  <a:pt x="62" y="7"/>
                </a:lnTo>
                <a:lnTo>
                  <a:pt x="65" y="9"/>
                </a:lnTo>
                <a:lnTo>
                  <a:pt x="64" y="10"/>
                </a:lnTo>
                <a:lnTo>
                  <a:pt x="60" y="11"/>
                </a:lnTo>
                <a:lnTo>
                  <a:pt x="58" y="11"/>
                </a:lnTo>
                <a:lnTo>
                  <a:pt x="55" y="11"/>
                </a:lnTo>
                <a:lnTo>
                  <a:pt x="55" y="11"/>
                </a:lnTo>
                <a:lnTo>
                  <a:pt x="53" y="11"/>
                </a:lnTo>
                <a:lnTo>
                  <a:pt x="51" y="10"/>
                </a:lnTo>
                <a:lnTo>
                  <a:pt x="52" y="11"/>
                </a:lnTo>
                <a:lnTo>
                  <a:pt x="50" y="11"/>
                </a:lnTo>
                <a:lnTo>
                  <a:pt x="47" y="11"/>
                </a:lnTo>
                <a:lnTo>
                  <a:pt x="43" y="10"/>
                </a:lnTo>
                <a:lnTo>
                  <a:pt x="40" y="10"/>
                </a:lnTo>
                <a:lnTo>
                  <a:pt x="37" y="10"/>
                </a:lnTo>
                <a:lnTo>
                  <a:pt x="33" y="9"/>
                </a:lnTo>
                <a:lnTo>
                  <a:pt x="31" y="9"/>
                </a:lnTo>
                <a:lnTo>
                  <a:pt x="28" y="8"/>
                </a:lnTo>
                <a:lnTo>
                  <a:pt x="23" y="8"/>
                </a:lnTo>
                <a:lnTo>
                  <a:pt x="21" y="7"/>
                </a:lnTo>
                <a:lnTo>
                  <a:pt x="18" y="5"/>
                </a:lnTo>
                <a:lnTo>
                  <a:pt x="13" y="3"/>
                </a:lnTo>
                <a:lnTo>
                  <a:pt x="10" y="2"/>
                </a:lnTo>
                <a:lnTo>
                  <a:pt x="3" y="1"/>
                </a:ln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79" name="Freeform 578"/>
          <p:cNvSpPr>
            <a:spLocks/>
          </p:cNvSpPr>
          <p:nvPr/>
        </p:nvSpPr>
        <p:spPr bwMode="auto">
          <a:xfrm>
            <a:off x="6835775" y="1487453"/>
            <a:ext cx="103187" cy="17463"/>
          </a:xfrm>
          <a:custGeom>
            <a:avLst/>
            <a:gdLst>
              <a:gd name="T0" fmla="*/ 1 w 65"/>
              <a:gd name="T1" fmla="*/ 0 h 11"/>
              <a:gd name="T2" fmla="*/ 2 w 65"/>
              <a:gd name="T3" fmla="*/ 0 h 11"/>
              <a:gd name="T4" fmla="*/ 4 w 65"/>
              <a:gd name="T5" fmla="*/ 0 h 11"/>
              <a:gd name="T6" fmla="*/ 7 w 65"/>
              <a:gd name="T7" fmla="*/ 1 h 11"/>
              <a:gd name="T8" fmla="*/ 8 w 65"/>
              <a:gd name="T9" fmla="*/ 1 h 11"/>
              <a:gd name="T10" fmla="*/ 10 w 65"/>
              <a:gd name="T11" fmla="*/ 1 h 11"/>
              <a:gd name="T12" fmla="*/ 13 w 65"/>
              <a:gd name="T13" fmla="*/ 2 h 11"/>
              <a:gd name="T14" fmla="*/ 17 w 65"/>
              <a:gd name="T15" fmla="*/ 2 h 11"/>
              <a:gd name="T16" fmla="*/ 18 w 65"/>
              <a:gd name="T17" fmla="*/ 1 h 11"/>
              <a:gd name="T18" fmla="*/ 29 w 65"/>
              <a:gd name="T19" fmla="*/ 2 h 11"/>
              <a:gd name="T20" fmla="*/ 31 w 65"/>
              <a:gd name="T21" fmla="*/ 2 h 11"/>
              <a:gd name="T22" fmla="*/ 29 w 65"/>
              <a:gd name="T23" fmla="*/ 3 h 11"/>
              <a:gd name="T24" fmla="*/ 30 w 65"/>
              <a:gd name="T25" fmla="*/ 3 h 11"/>
              <a:gd name="T26" fmla="*/ 29 w 65"/>
              <a:gd name="T27" fmla="*/ 3 h 11"/>
              <a:gd name="T28" fmla="*/ 32 w 65"/>
              <a:gd name="T29" fmla="*/ 3 h 11"/>
              <a:gd name="T30" fmla="*/ 38 w 65"/>
              <a:gd name="T31" fmla="*/ 5 h 11"/>
              <a:gd name="T32" fmla="*/ 39 w 65"/>
              <a:gd name="T33" fmla="*/ 3 h 11"/>
              <a:gd name="T34" fmla="*/ 40 w 65"/>
              <a:gd name="T35" fmla="*/ 3 h 11"/>
              <a:gd name="T36" fmla="*/ 43 w 65"/>
              <a:gd name="T37" fmla="*/ 5 h 11"/>
              <a:gd name="T38" fmla="*/ 45 w 65"/>
              <a:gd name="T39" fmla="*/ 5 h 11"/>
              <a:gd name="T40" fmla="*/ 49 w 65"/>
              <a:gd name="T41" fmla="*/ 5 h 11"/>
              <a:gd name="T42" fmla="*/ 51 w 65"/>
              <a:gd name="T43" fmla="*/ 5 h 11"/>
              <a:gd name="T44" fmla="*/ 54 w 65"/>
              <a:gd name="T45" fmla="*/ 6 h 11"/>
              <a:gd name="T46" fmla="*/ 63 w 65"/>
              <a:gd name="T47" fmla="*/ 6 h 11"/>
              <a:gd name="T48" fmla="*/ 62 w 65"/>
              <a:gd name="T49" fmla="*/ 7 h 11"/>
              <a:gd name="T50" fmla="*/ 65 w 65"/>
              <a:gd name="T51" fmla="*/ 9 h 11"/>
              <a:gd name="T52" fmla="*/ 64 w 65"/>
              <a:gd name="T53" fmla="*/ 10 h 11"/>
              <a:gd name="T54" fmla="*/ 60 w 65"/>
              <a:gd name="T55" fmla="*/ 11 h 11"/>
              <a:gd name="T56" fmla="*/ 58 w 65"/>
              <a:gd name="T57" fmla="*/ 11 h 11"/>
              <a:gd name="T58" fmla="*/ 55 w 65"/>
              <a:gd name="T59" fmla="*/ 11 h 11"/>
              <a:gd name="T60" fmla="*/ 55 w 65"/>
              <a:gd name="T61" fmla="*/ 11 h 11"/>
              <a:gd name="T62" fmla="*/ 53 w 65"/>
              <a:gd name="T63" fmla="*/ 11 h 11"/>
              <a:gd name="T64" fmla="*/ 51 w 65"/>
              <a:gd name="T65" fmla="*/ 10 h 11"/>
              <a:gd name="T66" fmla="*/ 52 w 65"/>
              <a:gd name="T67" fmla="*/ 11 h 11"/>
              <a:gd name="T68" fmla="*/ 50 w 65"/>
              <a:gd name="T69" fmla="*/ 11 h 11"/>
              <a:gd name="T70" fmla="*/ 47 w 65"/>
              <a:gd name="T71" fmla="*/ 11 h 11"/>
              <a:gd name="T72" fmla="*/ 43 w 65"/>
              <a:gd name="T73" fmla="*/ 10 h 11"/>
              <a:gd name="T74" fmla="*/ 40 w 65"/>
              <a:gd name="T75" fmla="*/ 10 h 11"/>
              <a:gd name="T76" fmla="*/ 37 w 65"/>
              <a:gd name="T77" fmla="*/ 10 h 11"/>
              <a:gd name="T78" fmla="*/ 33 w 65"/>
              <a:gd name="T79" fmla="*/ 9 h 11"/>
              <a:gd name="T80" fmla="*/ 31 w 65"/>
              <a:gd name="T81" fmla="*/ 9 h 11"/>
              <a:gd name="T82" fmla="*/ 28 w 65"/>
              <a:gd name="T83" fmla="*/ 8 h 11"/>
              <a:gd name="T84" fmla="*/ 23 w 65"/>
              <a:gd name="T85" fmla="*/ 8 h 11"/>
              <a:gd name="T86" fmla="*/ 21 w 65"/>
              <a:gd name="T87" fmla="*/ 7 h 11"/>
              <a:gd name="T88" fmla="*/ 18 w 65"/>
              <a:gd name="T89" fmla="*/ 5 h 11"/>
              <a:gd name="T90" fmla="*/ 13 w 65"/>
              <a:gd name="T91" fmla="*/ 3 h 11"/>
              <a:gd name="T92" fmla="*/ 10 w 65"/>
              <a:gd name="T93" fmla="*/ 2 h 11"/>
              <a:gd name="T94" fmla="*/ 3 w 65"/>
              <a:gd name="T95" fmla="*/ 1 h 11"/>
              <a:gd name="T96" fmla="*/ 0 w 65"/>
              <a:gd name="T97" fmla="*/ 0 h 11"/>
              <a:gd name="T98" fmla="*/ 1 w 65"/>
              <a:gd name="T99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65" h="11">
                <a:moveTo>
                  <a:pt x="1" y="0"/>
                </a:moveTo>
                <a:lnTo>
                  <a:pt x="2" y="0"/>
                </a:lnTo>
                <a:lnTo>
                  <a:pt x="4" y="0"/>
                </a:lnTo>
                <a:lnTo>
                  <a:pt x="7" y="1"/>
                </a:lnTo>
                <a:lnTo>
                  <a:pt x="8" y="1"/>
                </a:lnTo>
                <a:lnTo>
                  <a:pt x="10" y="1"/>
                </a:lnTo>
                <a:lnTo>
                  <a:pt x="13" y="2"/>
                </a:lnTo>
                <a:lnTo>
                  <a:pt x="17" y="2"/>
                </a:lnTo>
                <a:lnTo>
                  <a:pt x="18" y="1"/>
                </a:lnTo>
                <a:lnTo>
                  <a:pt x="29" y="2"/>
                </a:lnTo>
                <a:lnTo>
                  <a:pt x="31" y="2"/>
                </a:lnTo>
                <a:lnTo>
                  <a:pt x="29" y="3"/>
                </a:lnTo>
                <a:lnTo>
                  <a:pt x="30" y="3"/>
                </a:lnTo>
                <a:lnTo>
                  <a:pt x="29" y="3"/>
                </a:lnTo>
                <a:lnTo>
                  <a:pt x="32" y="3"/>
                </a:lnTo>
                <a:lnTo>
                  <a:pt x="38" y="5"/>
                </a:lnTo>
                <a:lnTo>
                  <a:pt x="39" y="3"/>
                </a:lnTo>
                <a:lnTo>
                  <a:pt x="40" y="3"/>
                </a:lnTo>
                <a:lnTo>
                  <a:pt x="43" y="5"/>
                </a:lnTo>
                <a:lnTo>
                  <a:pt x="45" y="5"/>
                </a:lnTo>
                <a:lnTo>
                  <a:pt x="49" y="5"/>
                </a:lnTo>
                <a:lnTo>
                  <a:pt x="51" y="5"/>
                </a:lnTo>
                <a:lnTo>
                  <a:pt x="54" y="6"/>
                </a:lnTo>
                <a:lnTo>
                  <a:pt x="63" y="6"/>
                </a:lnTo>
                <a:lnTo>
                  <a:pt x="62" y="7"/>
                </a:lnTo>
                <a:lnTo>
                  <a:pt x="65" y="9"/>
                </a:lnTo>
                <a:lnTo>
                  <a:pt x="64" y="10"/>
                </a:lnTo>
                <a:lnTo>
                  <a:pt x="60" y="11"/>
                </a:lnTo>
                <a:lnTo>
                  <a:pt x="58" y="11"/>
                </a:lnTo>
                <a:lnTo>
                  <a:pt x="55" y="11"/>
                </a:lnTo>
                <a:lnTo>
                  <a:pt x="55" y="11"/>
                </a:lnTo>
                <a:lnTo>
                  <a:pt x="53" y="11"/>
                </a:lnTo>
                <a:lnTo>
                  <a:pt x="51" y="10"/>
                </a:lnTo>
                <a:lnTo>
                  <a:pt x="52" y="11"/>
                </a:lnTo>
                <a:lnTo>
                  <a:pt x="50" y="11"/>
                </a:lnTo>
                <a:lnTo>
                  <a:pt x="47" y="11"/>
                </a:lnTo>
                <a:lnTo>
                  <a:pt x="43" y="10"/>
                </a:lnTo>
                <a:lnTo>
                  <a:pt x="40" y="10"/>
                </a:lnTo>
                <a:lnTo>
                  <a:pt x="37" y="10"/>
                </a:lnTo>
                <a:lnTo>
                  <a:pt x="33" y="9"/>
                </a:lnTo>
                <a:lnTo>
                  <a:pt x="31" y="9"/>
                </a:lnTo>
                <a:lnTo>
                  <a:pt x="28" y="8"/>
                </a:lnTo>
                <a:lnTo>
                  <a:pt x="23" y="8"/>
                </a:lnTo>
                <a:lnTo>
                  <a:pt x="21" y="7"/>
                </a:lnTo>
                <a:lnTo>
                  <a:pt x="18" y="5"/>
                </a:lnTo>
                <a:lnTo>
                  <a:pt x="13" y="3"/>
                </a:lnTo>
                <a:lnTo>
                  <a:pt x="10" y="2"/>
                </a:lnTo>
                <a:lnTo>
                  <a:pt x="3" y="1"/>
                </a:lnTo>
                <a:lnTo>
                  <a:pt x="0" y="0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80" name="Freeform 579"/>
          <p:cNvSpPr>
            <a:spLocks/>
          </p:cNvSpPr>
          <p:nvPr/>
        </p:nvSpPr>
        <p:spPr bwMode="auto">
          <a:xfrm>
            <a:off x="6777038" y="1516028"/>
            <a:ext cx="22225" cy="7938"/>
          </a:xfrm>
          <a:custGeom>
            <a:avLst/>
            <a:gdLst>
              <a:gd name="T0" fmla="*/ 11 w 14"/>
              <a:gd name="T1" fmla="*/ 2 h 5"/>
              <a:gd name="T2" fmla="*/ 9 w 14"/>
              <a:gd name="T3" fmla="*/ 1 h 5"/>
              <a:gd name="T4" fmla="*/ 7 w 14"/>
              <a:gd name="T5" fmla="*/ 0 h 5"/>
              <a:gd name="T6" fmla="*/ 3 w 14"/>
              <a:gd name="T7" fmla="*/ 0 h 5"/>
              <a:gd name="T8" fmla="*/ 0 w 14"/>
              <a:gd name="T9" fmla="*/ 0 h 5"/>
              <a:gd name="T10" fmla="*/ 0 w 14"/>
              <a:gd name="T11" fmla="*/ 1 h 5"/>
              <a:gd name="T12" fmla="*/ 1 w 14"/>
              <a:gd name="T13" fmla="*/ 1 h 5"/>
              <a:gd name="T14" fmla="*/ 5 w 14"/>
              <a:gd name="T15" fmla="*/ 3 h 5"/>
              <a:gd name="T16" fmla="*/ 6 w 14"/>
              <a:gd name="T17" fmla="*/ 4 h 5"/>
              <a:gd name="T18" fmla="*/ 11 w 14"/>
              <a:gd name="T19" fmla="*/ 5 h 5"/>
              <a:gd name="T20" fmla="*/ 11 w 14"/>
              <a:gd name="T21" fmla="*/ 5 h 5"/>
              <a:gd name="T22" fmla="*/ 10 w 14"/>
              <a:gd name="T23" fmla="*/ 5 h 5"/>
              <a:gd name="T24" fmla="*/ 9 w 14"/>
              <a:gd name="T25" fmla="*/ 4 h 5"/>
              <a:gd name="T26" fmla="*/ 11 w 14"/>
              <a:gd name="T27" fmla="*/ 4 h 5"/>
              <a:gd name="T28" fmla="*/ 11 w 14"/>
              <a:gd name="T29" fmla="*/ 4 h 5"/>
              <a:gd name="T30" fmla="*/ 13 w 14"/>
              <a:gd name="T31" fmla="*/ 3 h 5"/>
              <a:gd name="T32" fmla="*/ 13 w 14"/>
              <a:gd name="T33" fmla="*/ 3 h 5"/>
              <a:gd name="T34" fmla="*/ 14 w 14"/>
              <a:gd name="T35" fmla="*/ 2 h 5"/>
              <a:gd name="T36" fmla="*/ 11 w 14"/>
              <a:gd name="T37" fmla="*/ 2 h 5"/>
              <a:gd name="T38" fmla="*/ 11 w 14"/>
              <a:gd name="T39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" h="5">
                <a:moveTo>
                  <a:pt x="11" y="2"/>
                </a:moveTo>
                <a:lnTo>
                  <a:pt x="9" y="1"/>
                </a:lnTo>
                <a:lnTo>
                  <a:pt x="7" y="0"/>
                </a:lnTo>
                <a:lnTo>
                  <a:pt x="3" y="0"/>
                </a:lnTo>
                <a:lnTo>
                  <a:pt x="0" y="0"/>
                </a:lnTo>
                <a:lnTo>
                  <a:pt x="0" y="1"/>
                </a:lnTo>
                <a:lnTo>
                  <a:pt x="1" y="1"/>
                </a:lnTo>
                <a:lnTo>
                  <a:pt x="5" y="3"/>
                </a:lnTo>
                <a:lnTo>
                  <a:pt x="6" y="4"/>
                </a:lnTo>
                <a:lnTo>
                  <a:pt x="11" y="5"/>
                </a:lnTo>
                <a:lnTo>
                  <a:pt x="11" y="5"/>
                </a:lnTo>
                <a:lnTo>
                  <a:pt x="10" y="5"/>
                </a:lnTo>
                <a:lnTo>
                  <a:pt x="9" y="4"/>
                </a:lnTo>
                <a:lnTo>
                  <a:pt x="11" y="4"/>
                </a:lnTo>
                <a:lnTo>
                  <a:pt x="11" y="4"/>
                </a:lnTo>
                <a:lnTo>
                  <a:pt x="13" y="3"/>
                </a:lnTo>
                <a:lnTo>
                  <a:pt x="13" y="3"/>
                </a:lnTo>
                <a:lnTo>
                  <a:pt x="14" y="2"/>
                </a:lnTo>
                <a:lnTo>
                  <a:pt x="11" y="2"/>
                </a:lnTo>
                <a:lnTo>
                  <a:pt x="11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81" name="Freeform 580"/>
          <p:cNvSpPr>
            <a:spLocks/>
          </p:cNvSpPr>
          <p:nvPr/>
        </p:nvSpPr>
        <p:spPr bwMode="auto">
          <a:xfrm>
            <a:off x="6777038" y="1516028"/>
            <a:ext cx="22225" cy="7938"/>
          </a:xfrm>
          <a:custGeom>
            <a:avLst/>
            <a:gdLst>
              <a:gd name="T0" fmla="*/ 11 w 14"/>
              <a:gd name="T1" fmla="*/ 2 h 5"/>
              <a:gd name="T2" fmla="*/ 9 w 14"/>
              <a:gd name="T3" fmla="*/ 1 h 5"/>
              <a:gd name="T4" fmla="*/ 7 w 14"/>
              <a:gd name="T5" fmla="*/ 0 h 5"/>
              <a:gd name="T6" fmla="*/ 3 w 14"/>
              <a:gd name="T7" fmla="*/ 0 h 5"/>
              <a:gd name="T8" fmla="*/ 0 w 14"/>
              <a:gd name="T9" fmla="*/ 0 h 5"/>
              <a:gd name="T10" fmla="*/ 0 w 14"/>
              <a:gd name="T11" fmla="*/ 1 h 5"/>
              <a:gd name="T12" fmla="*/ 1 w 14"/>
              <a:gd name="T13" fmla="*/ 1 h 5"/>
              <a:gd name="T14" fmla="*/ 5 w 14"/>
              <a:gd name="T15" fmla="*/ 3 h 5"/>
              <a:gd name="T16" fmla="*/ 6 w 14"/>
              <a:gd name="T17" fmla="*/ 4 h 5"/>
              <a:gd name="T18" fmla="*/ 11 w 14"/>
              <a:gd name="T19" fmla="*/ 5 h 5"/>
              <a:gd name="T20" fmla="*/ 11 w 14"/>
              <a:gd name="T21" fmla="*/ 5 h 5"/>
              <a:gd name="T22" fmla="*/ 10 w 14"/>
              <a:gd name="T23" fmla="*/ 5 h 5"/>
              <a:gd name="T24" fmla="*/ 9 w 14"/>
              <a:gd name="T25" fmla="*/ 4 h 5"/>
              <a:gd name="T26" fmla="*/ 11 w 14"/>
              <a:gd name="T27" fmla="*/ 4 h 5"/>
              <a:gd name="T28" fmla="*/ 11 w 14"/>
              <a:gd name="T29" fmla="*/ 4 h 5"/>
              <a:gd name="T30" fmla="*/ 13 w 14"/>
              <a:gd name="T31" fmla="*/ 3 h 5"/>
              <a:gd name="T32" fmla="*/ 13 w 14"/>
              <a:gd name="T33" fmla="*/ 3 h 5"/>
              <a:gd name="T34" fmla="*/ 14 w 14"/>
              <a:gd name="T35" fmla="*/ 2 h 5"/>
              <a:gd name="T36" fmla="*/ 11 w 14"/>
              <a:gd name="T37" fmla="*/ 2 h 5"/>
              <a:gd name="T38" fmla="*/ 11 w 14"/>
              <a:gd name="T39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" h="5">
                <a:moveTo>
                  <a:pt x="11" y="2"/>
                </a:moveTo>
                <a:lnTo>
                  <a:pt x="9" y="1"/>
                </a:lnTo>
                <a:lnTo>
                  <a:pt x="7" y="0"/>
                </a:lnTo>
                <a:lnTo>
                  <a:pt x="3" y="0"/>
                </a:lnTo>
                <a:lnTo>
                  <a:pt x="0" y="0"/>
                </a:lnTo>
                <a:lnTo>
                  <a:pt x="0" y="1"/>
                </a:lnTo>
                <a:lnTo>
                  <a:pt x="1" y="1"/>
                </a:lnTo>
                <a:lnTo>
                  <a:pt x="5" y="3"/>
                </a:lnTo>
                <a:lnTo>
                  <a:pt x="6" y="4"/>
                </a:lnTo>
                <a:lnTo>
                  <a:pt x="11" y="5"/>
                </a:lnTo>
                <a:lnTo>
                  <a:pt x="11" y="5"/>
                </a:lnTo>
                <a:lnTo>
                  <a:pt x="10" y="5"/>
                </a:lnTo>
                <a:lnTo>
                  <a:pt x="9" y="4"/>
                </a:lnTo>
                <a:lnTo>
                  <a:pt x="11" y="4"/>
                </a:lnTo>
                <a:lnTo>
                  <a:pt x="11" y="4"/>
                </a:lnTo>
                <a:lnTo>
                  <a:pt x="13" y="3"/>
                </a:lnTo>
                <a:lnTo>
                  <a:pt x="13" y="3"/>
                </a:lnTo>
                <a:lnTo>
                  <a:pt x="14" y="2"/>
                </a:lnTo>
                <a:lnTo>
                  <a:pt x="11" y="2"/>
                </a:lnTo>
                <a:lnTo>
                  <a:pt x="11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82" name="Freeform 581"/>
          <p:cNvSpPr>
            <a:spLocks/>
          </p:cNvSpPr>
          <p:nvPr/>
        </p:nvSpPr>
        <p:spPr bwMode="auto">
          <a:xfrm>
            <a:off x="6794500" y="1523965"/>
            <a:ext cx="76200" cy="15875"/>
          </a:xfrm>
          <a:custGeom>
            <a:avLst/>
            <a:gdLst>
              <a:gd name="T0" fmla="*/ 9 w 48"/>
              <a:gd name="T1" fmla="*/ 0 h 10"/>
              <a:gd name="T2" fmla="*/ 13 w 48"/>
              <a:gd name="T3" fmla="*/ 0 h 10"/>
              <a:gd name="T4" fmla="*/ 16 w 48"/>
              <a:gd name="T5" fmla="*/ 0 h 10"/>
              <a:gd name="T6" fmla="*/ 18 w 48"/>
              <a:gd name="T7" fmla="*/ 0 h 10"/>
              <a:gd name="T8" fmla="*/ 22 w 48"/>
              <a:gd name="T9" fmla="*/ 2 h 10"/>
              <a:gd name="T10" fmla="*/ 24 w 48"/>
              <a:gd name="T11" fmla="*/ 2 h 10"/>
              <a:gd name="T12" fmla="*/ 28 w 48"/>
              <a:gd name="T13" fmla="*/ 3 h 10"/>
              <a:gd name="T14" fmla="*/ 34 w 48"/>
              <a:gd name="T15" fmla="*/ 4 h 10"/>
              <a:gd name="T16" fmla="*/ 39 w 48"/>
              <a:gd name="T17" fmla="*/ 6 h 10"/>
              <a:gd name="T18" fmla="*/ 41 w 48"/>
              <a:gd name="T19" fmla="*/ 7 h 10"/>
              <a:gd name="T20" fmla="*/ 44 w 48"/>
              <a:gd name="T21" fmla="*/ 8 h 10"/>
              <a:gd name="T22" fmla="*/ 46 w 48"/>
              <a:gd name="T23" fmla="*/ 9 h 10"/>
              <a:gd name="T24" fmla="*/ 48 w 48"/>
              <a:gd name="T25" fmla="*/ 10 h 10"/>
              <a:gd name="T26" fmla="*/ 45 w 48"/>
              <a:gd name="T27" fmla="*/ 9 h 10"/>
              <a:gd name="T28" fmla="*/ 44 w 48"/>
              <a:gd name="T29" fmla="*/ 10 h 10"/>
              <a:gd name="T30" fmla="*/ 41 w 48"/>
              <a:gd name="T31" fmla="*/ 10 h 10"/>
              <a:gd name="T32" fmla="*/ 37 w 48"/>
              <a:gd name="T33" fmla="*/ 9 h 10"/>
              <a:gd name="T34" fmla="*/ 33 w 48"/>
              <a:gd name="T35" fmla="*/ 9 h 10"/>
              <a:gd name="T36" fmla="*/ 28 w 48"/>
              <a:gd name="T37" fmla="*/ 9 h 10"/>
              <a:gd name="T38" fmla="*/ 25 w 48"/>
              <a:gd name="T39" fmla="*/ 8 h 10"/>
              <a:gd name="T40" fmla="*/ 23 w 48"/>
              <a:gd name="T41" fmla="*/ 8 h 10"/>
              <a:gd name="T42" fmla="*/ 19 w 48"/>
              <a:gd name="T43" fmla="*/ 8 h 10"/>
              <a:gd name="T44" fmla="*/ 15 w 48"/>
              <a:gd name="T45" fmla="*/ 7 h 10"/>
              <a:gd name="T46" fmla="*/ 10 w 48"/>
              <a:gd name="T47" fmla="*/ 7 h 10"/>
              <a:gd name="T48" fmla="*/ 6 w 48"/>
              <a:gd name="T49" fmla="*/ 8 h 10"/>
              <a:gd name="T50" fmla="*/ 4 w 48"/>
              <a:gd name="T51" fmla="*/ 8 h 10"/>
              <a:gd name="T52" fmla="*/ 0 w 48"/>
              <a:gd name="T53" fmla="*/ 7 h 10"/>
              <a:gd name="T54" fmla="*/ 2 w 48"/>
              <a:gd name="T55" fmla="*/ 6 h 10"/>
              <a:gd name="T56" fmla="*/ 7 w 48"/>
              <a:gd name="T57" fmla="*/ 6 h 10"/>
              <a:gd name="T58" fmla="*/ 7 w 48"/>
              <a:gd name="T59" fmla="*/ 6 h 10"/>
              <a:gd name="T60" fmla="*/ 6 w 48"/>
              <a:gd name="T61" fmla="*/ 5 h 10"/>
              <a:gd name="T62" fmla="*/ 6 w 48"/>
              <a:gd name="T63" fmla="*/ 3 h 10"/>
              <a:gd name="T64" fmla="*/ 5 w 48"/>
              <a:gd name="T65" fmla="*/ 2 h 10"/>
              <a:gd name="T66" fmla="*/ 5 w 48"/>
              <a:gd name="T67" fmla="*/ 0 h 10"/>
              <a:gd name="T68" fmla="*/ 9 w 48"/>
              <a:gd name="T69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8" h="10">
                <a:moveTo>
                  <a:pt x="9" y="0"/>
                </a:moveTo>
                <a:lnTo>
                  <a:pt x="13" y="0"/>
                </a:lnTo>
                <a:lnTo>
                  <a:pt x="16" y="0"/>
                </a:lnTo>
                <a:lnTo>
                  <a:pt x="18" y="0"/>
                </a:lnTo>
                <a:lnTo>
                  <a:pt x="22" y="2"/>
                </a:lnTo>
                <a:lnTo>
                  <a:pt x="24" y="2"/>
                </a:lnTo>
                <a:lnTo>
                  <a:pt x="28" y="3"/>
                </a:lnTo>
                <a:lnTo>
                  <a:pt x="34" y="4"/>
                </a:lnTo>
                <a:lnTo>
                  <a:pt x="39" y="6"/>
                </a:lnTo>
                <a:lnTo>
                  <a:pt x="41" y="7"/>
                </a:lnTo>
                <a:lnTo>
                  <a:pt x="44" y="8"/>
                </a:lnTo>
                <a:lnTo>
                  <a:pt x="46" y="9"/>
                </a:lnTo>
                <a:lnTo>
                  <a:pt x="48" y="10"/>
                </a:lnTo>
                <a:lnTo>
                  <a:pt x="45" y="9"/>
                </a:lnTo>
                <a:lnTo>
                  <a:pt x="44" y="10"/>
                </a:lnTo>
                <a:lnTo>
                  <a:pt x="41" y="10"/>
                </a:lnTo>
                <a:lnTo>
                  <a:pt x="37" y="9"/>
                </a:lnTo>
                <a:lnTo>
                  <a:pt x="33" y="9"/>
                </a:lnTo>
                <a:lnTo>
                  <a:pt x="28" y="9"/>
                </a:lnTo>
                <a:lnTo>
                  <a:pt x="25" y="8"/>
                </a:lnTo>
                <a:lnTo>
                  <a:pt x="23" y="8"/>
                </a:lnTo>
                <a:lnTo>
                  <a:pt x="19" y="8"/>
                </a:lnTo>
                <a:lnTo>
                  <a:pt x="15" y="7"/>
                </a:lnTo>
                <a:lnTo>
                  <a:pt x="10" y="7"/>
                </a:lnTo>
                <a:lnTo>
                  <a:pt x="6" y="8"/>
                </a:lnTo>
                <a:lnTo>
                  <a:pt x="4" y="8"/>
                </a:lnTo>
                <a:lnTo>
                  <a:pt x="0" y="7"/>
                </a:lnTo>
                <a:lnTo>
                  <a:pt x="2" y="6"/>
                </a:lnTo>
                <a:lnTo>
                  <a:pt x="7" y="6"/>
                </a:lnTo>
                <a:lnTo>
                  <a:pt x="7" y="6"/>
                </a:lnTo>
                <a:lnTo>
                  <a:pt x="6" y="5"/>
                </a:lnTo>
                <a:lnTo>
                  <a:pt x="6" y="3"/>
                </a:lnTo>
                <a:lnTo>
                  <a:pt x="5" y="2"/>
                </a:lnTo>
                <a:lnTo>
                  <a:pt x="5" y="0"/>
                </a:lnTo>
                <a:lnTo>
                  <a:pt x="9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83" name="Freeform 582"/>
          <p:cNvSpPr>
            <a:spLocks/>
          </p:cNvSpPr>
          <p:nvPr/>
        </p:nvSpPr>
        <p:spPr bwMode="auto">
          <a:xfrm>
            <a:off x="6794500" y="1523965"/>
            <a:ext cx="76200" cy="15875"/>
          </a:xfrm>
          <a:custGeom>
            <a:avLst/>
            <a:gdLst>
              <a:gd name="T0" fmla="*/ 9 w 48"/>
              <a:gd name="T1" fmla="*/ 0 h 10"/>
              <a:gd name="T2" fmla="*/ 13 w 48"/>
              <a:gd name="T3" fmla="*/ 0 h 10"/>
              <a:gd name="T4" fmla="*/ 16 w 48"/>
              <a:gd name="T5" fmla="*/ 0 h 10"/>
              <a:gd name="T6" fmla="*/ 18 w 48"/>
              <a:gd name="T7" fmla="*/ 0 h 10"/>
              <a:gd name="T8" fmla="*/ 22 w 48"/>
              <a:gd name="T9" fmla="*/ 2 h 10"/>
              <a:gd name="T10" fmla="*/ 24 w 48"/>
              <a:gd name="T11" fmla="*/ 2 h 10"/>
              <a:gd name="T12" fmla="*/ 28 w 48"/>
              <a:gd name="T13" fmla="*/ 3 h 10"/>
              <a:gd name="T14" fmla="*/ 34 w 48"/>
              <a:gd name="T15" fmla="*/ 4 h 10"/>
              <a:gd name="T16" fmla="*/ 39 w 48"/>
              <a:gd name="T17" fmla="*/ 6 h 10"/>
              <a:gd name="T18" fmla="*/ 41 w 48"/>
              <a:gd name="T19" fmla="*/ 7 h 10"/>
              <a:gd name="T20" fmla="*/ 44 w 48"/>
              <a:gd name="T21" fmla="*/ 8 h 10"/>
              <a:gd name="T22" fmla="*/ 46 w 48"/>
              <a:gd name="T23" fmla="*/ 9 h 10"/>
              <a:gd name="T24" fmla="*/ 48 w 48"/>
              <a:gd name="T25" fmla="*/ 10 h 10"/>
              <a:gd name="T26" fmla="*/ 45 w 48"/>
              <a:gd name="T27" fmla="*/ 9 h 10"/>
              <a:gd name="T28" fmla="*/ 44 w 48"/>
              <a:gd name="T29" fmla="*/ 10 h 10"/>
              <a:gd name="T30" fmla="*/ 41 w 48"/>
              <a:gd name="T31" fmla="*/ 10 h 10"/>
              <a:gd name="T32" fmla="*/ 37 w 48"/>
              <a:gd name="T33" fmla="*/ 9 h 10"/>
              <a:gd name="T34" fmla="*/ 33 w 48"/>
              <a:gd name="T35" fmla="*/ 9 h 10"/>
              <a:gd name="T36" fmla="*/ 28 w 48"/>
              <a:gd name="T37" fmla="*/ 9 h 10"/>
              <a:gd name="T38" fmla="*/ 25 w 48"/>
              <a:gd name="T39" fmla="*/ 8 h 10"/>
              <a:gd name="T40" fmla="*/ 23 w 48"/>
              <a:gd name="T41" fmla="*/ 8 h 10"/>
              <a:gd name="T42" fmla="*/ 19 w 48"/>
              <a:gd name="T43" fmla="*/ 8 h 10"/>
              <a:gd name="T44" fmla="*/ 15 w 48"/>
              <a:gd name="T45" fmla="*/ 7 h 10"/>
              <a:gd name="T46" fmla="*/ 10 w 48"/>
              <a:gd name="T47" fmla="*/ 7 h 10"/>
              <a:gd name="T48" fmla="*/ 6 w 48"/>
              <a:gd name="T49" fmla="*/ 8 h 10"/>
              <a:gd name="T50" fmla="*/ 4 w 48"/>
              <a:gd name="T51" fmla="*/ 8 h 10"/>
              <a:gd name="T52" fmla="*/ 0 w 48"/>
              <a:gd name="T53" fmla="*/ 7 h 10"/>
              <a:gd name="T54" fmla="*/ 2 w 48"/>
              <a:gd name="T55" fmla="*/ 6 h 10"/>
              <a:gd name="T56" fmla="*/ 7 w 48"/>
              <a:gd name="T57" fmla="*/ 6 h 10"/>
              <a:gd name="T58" fmla="*/ 7 w 48"/>
              <a:gd name="T59" fmla="*/ 6 h 10"/>
              <a:gd name="T60" fmla="*/ 6 w 48"/>
              <a:gd name="T61" fmla="*/ 5 h 10"/>
              <a:gd name="T62" fmla="*/ 6 w 48"/>
              <a:gd name="T63" fmla="*/ 3 h 10"/>
              <a:gd name="T64" fmla="*/ 5 w 48"/>
              <a:gd name="T65" fmla="*/ 2 h 10"/>
              <a:gd name="T66" fmla="*/ 5 w 48"/>
              <a:gd name="T67" fmla="*/ 0 h 10"/>
              <a:gd name="T68" fmla="*/ 9 w 48"/>
              <a:gd name="T69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8" h="10">
                <a:moveTo>
                  <a:pt x="9" y="0"/>
                </a:moveTo>
                <a:lnTo>
                  <a:pt x="13" y="0"/>
                </a:lnTo>
                <a:lnTo>
                  <a:pt x="16" y="0"/>
                </a:lnTo>
                <a:lnTo>
                  <a:pt x="18" y="0"/>
                </a:lnTo>
                <a:lnTo>
                  <a:pt x="22" y="2"/>
                </a:lnTo>
                <a:lnTo>
                  <a:pt x="24" y="2"/>
                </a:lnTo>
                <a:lnTo>
                  <a:pt x="28" y="3"/>
                </a:lnTo>
                <a:lnTo>
                  <a:pt x="34" y="4"/>
                </a:lnTo>
                <a:lnTo>
                  <a:pt x="39" y="6"/>
                </a:lnTo>
                <a:lnTo>
                  <a:pt x="41" y="7"/>
                </a:lnTo>
                <a:lnTo>
                  <a:pt x="44" y="8"/>
                </a:lnTo>
                <a:lnTo>
                  <a:pt x="46" y="9"/>
                </a:lnTo>
                <a:lnTo>
                  <a:pt x="48" y="10"/>
                </a:lnTo>
                <a:lnTo>
                  <a:pt x="45" y="9"/>
                </a:lnTo>
                <a:lnTo>
                  <a:pt x="44" y="10"/>
                </a:lnTo>
                <a:lnTo>
                  <a:pt x="41" y="10"/>
                </a:lnTo>
                <a:lnTo>
                  <a:pt x="37" y="9"/>
                </a:lnTo>
                <a:lnTo>
                  <a:pt x="33" y="9"/>
                </a:lnTo>
                <a:lnTo>
                  <a:pt x="28" y="9"/>
                </a:lnTo>
                <a:lnTo>
                  <a:pt x="25" y="8"/>
                </a:lnTo>
                <a:lnTo>
                  <a:pt x="23" y="8"/>
                </a:lnTo>
                <a:lnTo>
                  <a:pt x="19" y="8"/>
                </a:lnTo>
                <a:lnTo>
                  <a:pt x="15" y="7"/>
                </a:lnTo>
                <a:lnTo>
                  <a:pt x="10" y="7"/>
                </a:lnTo>
                <a:lnTo>
                  <a:pt x="6" y="8"/>
                </a:lnTo>
                <a:lnTo>
                  <a:pt x="4" y="8"/>
                </a:lnTo>
                <a:lnTo>
                  <a:pt x="0" y="7"/>
                </a:lnTo>
                <a:lnTo>
                  <a:pt x="2" y="6"/>
                </a:lnTo>
                <a:lnTo>
                  <a:pt x="7" y="6"/>
                </a:lnTo>
                <a:lnTo>
                  <a:pt x="7" y="6"/>
                </a:lnTo>
                <a:lnTo>
                  <a:pt x="6" y="5"/>
                </a:lnTo>
                <a:lnTo>
                  <a:pt x="6" y="3"/>
                </a:lnTo>
                <a:lnTo>
                  <a:pt x="5" y="2"/>
                </a:lnTo>
                <a:lnTo>
                  <a:pt x="5" y="0"/>
                </a:lnTo>
                <a:lnTo>
                  <a:pt x="9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84" name="Freeform 583"/>
          <p:cNvSpPr>
            <a:spLocks/>
          </p:cNvSpPr>
          <p:nvPr/>
        </p:nvSpPr>
        <p:spPr bwMode="auto">
          <a:xfrm>
            <a:off x="5040313" y="1376328"/>
            <a:ext cx="74612" cy="9525"/>
          </a:xfrm>
          <a:custGeom>
            <a:avLst/>
            <a:gdLst>
              <a:gd name="T0" fmla="*/ 18 w 47"/>
              <a:gd name="T1" fmla="*/ 0 h 6"/>
              <a:gd name="T2" fmla="*/ 15 w 47"/>
              <a:gd name="T3" fmla="*/ 1 h 6"/>
              <a:gd name="T4" fmla="*/ 9 w 47"/>
              <a:gd name="T5" fmla="*/ 2 h 6"/>
              <a:gd name="T6" fmla="*/ 6 w 47"/>
              <a:gd name="T7" fmla="*/ 2 h 6"/>
              <a:gd name="T8" fmla="*/ 3 w 47"/>
              <a:gd name="T9" fmla="*/ 2 h 6"/>
              <a:gd name="T10" fmla="*/ 1 w 47"/>
              <a:gd name="T11" fmla="*/ 2 h 6"/>
              <a:gd name="T12" fmla="*/ 1 w 47"/>
              <a:gd name="T13" fmla="*/ 2 h 6"/>
              <a:gd name="T14" fmla="*/ 1 w 47"/>
              <a:gd name="T15" fmla="*/ 3 h 6"/>
              <a:gd name="T16" fmla="*/ 1 w 47"/>
              <a:gd name="T17" fmla="*/ 3 h 6"/>
              <a:gd name="T18" fmla="*/ 1 w 47"/>
              <a:gd name="T19" fmla="*/ 3 h 6"/>
              <a:gd name="T20" fmla="*/ 1 w 47"/>
              <a:gd name="T21" fmla="*/ 5 h 6"/>
              <a:gd name="T22" fmla="*/ 6 w 47"/>
              <a:gd name="T23" fmla="*/ 5 h 6"/>
              <a:gd name="T24" fmla="*/ 10 w 47"/>
              <a:gd name="T25" fmla="*/ 5 h 6"/>
              <a:gd name="T26" fmla="*/ 11 w 47"/>
              <a:gd name="T27" fmla="*/ 5 h 6"/>
              <a:gd name="T28" fmla="*/ 12 w 47"/>
              <a:gd name="T29" fmla="*/ 5 h 6"/>
              <a:gd name="T30" fmla="*/ 14 w 47"/>
              <a:gd name="T31" fmla="*/ 5 h 6"/>
              <a:gd name="T32" fmla="*/ 18 w 47"/>
              <a:gd name="T33" fmla="*/ 5 h 6"/>
              <a:gd name="T34" fmla="*/ 20 w 47"/>
              <a:gd name="T35" fmla="*/ 6 h 6"/>
              <a:gd name="T36" fmla="*/ 21 w 47"/>
              <a:gd name="T37" fmla="*/ 6 h 6"/>
              <a:gd name="T38" fmla="*/ 22 w 47"/>
              <a:gd name="T39" fmla="*/ 5 h 6"/>
              <a:gd name="T40" fmla="*/ 20 w 47"/>
              <a:gd name="T41" fmla="*/ 5 h 6"/>
              <a:gd name="T42" fmla="*/ 21 w 47"/>
              <a:gd name="T43" fmla="*/ 3 h 6"/>
              <a:gd name="T44" fmla="*/ 18 w 47"/>
              <a:gd name="T45" fmla="*/ 3 h 6"/>
              <a:gd name="T46" fmla="*/ 18 w 47"/>
              <a:gd name="T47" fmla="*/ 2 h 6"/>
              <a:gd name="T48" fmla="*/ 20 w 47"/>
              <a:gd name="T49" fmla="*/ 2 h 6"/>
              <a:gd name="T50" fmla="*/ 21 w 47"/>
              <a:gd name="T51" fmla="*/ 2 h 6"/>
              <a:gd name="T52" fmla="*/ 34 w 47"/>
              <a:gd name="T53" fmla="*/ 1 h 6"/>
              <a:gd name="T54" fmla="*/ 37 w 47"/>
              <a:gd name="T55" fmla="*/ 2 h 6"/>
              <a:gd name="T56" fmla="*/ 38 w 47"/>
              <a:gd name="T57" fmla="*/ 2 h 6"/>
              <a:gd name="T58" fmla="*/ 42 w 47"/>
              <a:gd name="T59" fmla="*/ 2 h 6"/>
              <a:gd name="T60" fmla="*/ 47 w 47"/>
              <a:gd name="T61" fmla="*/ 2 h 6"/>
              <a:gd name="T62" fmla="*/ 38 w 47"/>
              <a:gd name="T63" fmla="*/ 1 h 6"/>
              <a:gd name="T64" fmla="*/ 34 w 47"/>
              <a:gd name="T65" fmla="*/ 0 h 6"/>
              <a:gd name="T66" fmla="*/ 28 w 47"/>
              <a:gd name="T67" fmla="*/ 0 h 6"/>
              <a:gd name="T68" fmla="*/ 26 w 47"/>
              <a:gd name="T69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7" h="6">
                <a:moveTo>
                  <a:pt x="21" y="0"/>
                </a:moveTo>
                <a:lnTo>
                  <a:pt x="18" y="0"/>
                </a:lnTo>
                <a:lnTo>
                  <a:pt x="15" y="1"/>
                </a:lnTo>
                <a:lnTo>
                  <a:pt x="15" y="1"/>
                </a:lnTo>
                <a:lnTo>
                  <a:pt x="10" y="1"/>
                </a:lnTo>
                <a:lnTo>
                  <a:pt x="9" y="2"/>
                </a:lnTo>
                <a:lnTo>
                  <a:pt x="7" y="1"/>
                </a:lnTo>
                <a:lnTo>
                  <a:pt x="6" y="2"/>
                </a:lnTo>
                <a:lnTo>
                  <a:pt x="5" y="2"/>
                </a:lnTo>
                <a:lnTo>
                  <a:pt x="3" y="2"/>
                </a:lnTo>
                <a:lnTo>
                  <a:pt x="3" y="2"/>
                </a:lnTo>
                <a:lnTo>
                  <a:pt x="1" y="2"/>
                </a:lnTo>
                <a:lnTo>
                  <a:pt x="3" y="2"/>
                </a:lnTo>
                <a:lnTo>
                  <a:pt x="1" y="2"/>
                </a:lnTo>
                <a:lnTo>
                  <a:pt x="0" y="3"/>
                </a:lnTo>
                <a:lnTo>
                  <a:pt x="1" y="3"/>
                </a:lnTo>
                <a:lnTo>
                  <a:pt x="1" y="3"/>
                </a:lnTo>
                <a:lnTo>
                  <a:pt x="1" y="3"/>
                </a:lnTo>
                <a:lnTo>
                  <a:pt x="1" y="3"/>
                </a:lnTo>
                <a:lnTo>
                  <a:pt x="1" y="3"/>
                </a:lnTo>
                <a:lnTo>
                  <a:pt x="3" y="3"/>
                </a:lnTo>
                <a:lnTo>
                  <a:pt x="1" y="5"/>
                </a:lnTo>
                <a:lnTo>
                  <a:pt x="3" y="5"/>
                </a:lnTo>
                <a:lnTo>
                  <a:pt x="6" y="5"/>
                </a:lnTo>
                <a:lnTo>
                  <a:pt x="9" y="5"/>
                </a:lnTo>
                <a:lnTo>
                  <a:pt x="10" y="5"/>
                </a:lnTo>
                <a:lnTo>
                  <a:pt x="10" y="5"/>
                </a:lnTo>
                <a:lnTo>
                  <a:pt x="11" y="5"/>
                </a:lnTo>
                <a:lnTo>
                  <a:pt x="12" y="5"/>
                </a:lnTo>
                <a:lnTo>
                  <a:pt x="12" y="5"/>
                </a:lnTo>
                <a:lnTo>
                  <a:pt x="12" y="5"/>
                </a:lnTo>
                <a:lnTo>
                  <a:pt x="14" y="5"/>
                </a:lnTo>
                <a:lnTo>
                  <a:pt x="17" y="5"/>
                </a:lnTo>
                <a:lnTo>
                  <a:pt x="18" y="5"/>
                </a:lnTo>
                <a:lnTo>
                  <a:pt x="19" y="5"/>
                </a:lnTo>
                <a:lnTo>
                  <a:pt x="20" y="6"/>
                </a:lnTo>
                <a:lnTo>
                  <a:pt x="20" y="6"/>
                </a:lnTo>
                <a:lnTo>
                  <a:pt x="21" y="6"/>
                </a:lnTo>
                <a:lnTo>
                  <a:pt x="21" y="5"/>
                </a:lnTo>
                <a:lnTo>
                  <a:pt x="22" y="5"/>
                </a:lnTo>
                <a:lnTo>
                  <a:pt x="20" y="5"/>
                </a:lnTo>
                <a:lnTo>
                  <a:pt x="20" y="5"/>
                </a:lnTo>
                <a:lnTo>
                  <a:pt x="21" y="5"/>
                </a:lnTo>
                <a:lnTo>
                  <a:pt x="21" y="3"/>
                </a:lnTo>
                <a:lnTo>
                  <a:pt x="18" y="3"/>
                </a:lnTo>
                <a:lnTo>
                  <a:pt x="18" y="3"/>
                </a:lnTo>
                <a:lnTo>
                  <a:pt x="18" y="3"/>
                </a:lnTo>
                <a:lnTo>
                  <a:pt x="18" y="2"/>
                </a:lnTo>
                <a:lnTo>
                  <a:pt x="20" y="2"/>
                </a:lnTo>
                <a:lnTo>
                  <a:pt x="20" y="2"/>
                </a:lnTo>
                <a:lnTo>
                  <a:pt x="20" y="1"/>
                </a:lnTo>
                <a:lnTo>
                  <a:pt x="21" y="2"/>
                </a:lnTo>
                <a:lnTo>
                  <a:pt x="22" y="1"/>
                </a:lnTo>
                <a:lnTo>
                  <a:pt x="34" y="1"/>
                </a:lnTo>
                <a:lnTo>
                  <a:pt x="36" y="2"/>
                </a:lnTo>
                <a:lnTo>
                  <a:pt x="37" y="2"/>
                </a:lnTo>
                <a:lnTo>
                  <a:pt x="37" y="2"/>
                </a:lnTo>
                <a:lnTo>
                  <a:pt x="38" y="2"/>
                </a:lnTo>
                <a:lnTo>
                  <a:pt x="41" y="2"/>
                </a:lnTo>
                <a:lnTo>
                  <a:pt x="42" y="2"/>
                </a:lnTo>
                <a:lnTo>
                  <a:pt x="47" y="2"/>
                </a:lnTo>
                <a:lnTo>
                  <a:pt x="47" y="2"/>
                </a:lnTo>
                <a:lnTo>
                  <a:pt x="46" y="2"/>
                </a:lnTo>
                <a:lnTo>
                  <a:pt x="38" y="1"/>
                </a:lnTo>
                <a:lnTo>
                  <a:pt x="36" y="0"/>
                </a:lnTo>
                <a:lnTo>
                  <a:pt x="34" y="0"/>
                </a:lnTo>
                <a:lnTo>
                  <a:pt x="29" y="0"/>
                </a:lnTo>
                <a:lnTo>
                  <a:pt x="28" y="0"/>
                </a:lnTo>
                <a:lnTo>
                  <a:pt x="27" y="0"/>
                </a:lnTo>
                <a:lnTo>
                  <a:pt x="26" y="0"/>
                </a:lnTo>
                <a:lnTo>
                  <a:pt x="2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85" name="Freeform 584"/>
          <p:cNvSpPr>
            <a:spLocks/>
          </p:cNvSpPr>
          <p:nvPr/>
        </p:nvSpPr>
        <p:spPr bwMode="auto">
          <a:xfrm>
            <a:off x="5040313" y="1376328"/>
            <a:ext cx="74612" cy="9525"/>
          </a:xfrm>
          <a:custGeom>
            <a:avLst/>
            <a:gdLst>
              <a:gd name="T0" fmla="*/ 18 w 47"/>
              <a:gd name="T1" fmla="*/ 0 h 6"/>
              <a:gd name="T2" fmla="*/ 15 w 47"/>
              <a:gd name="T3" fmla="*/ 1 h 6"/>
              <a:gd name="T4" fmla="*/ 9 w 47"/>
              <a:gd name="T5" fmla="*/ 2 h 6"/>
              <a:gd name="T6" fmla="*/ 6 w 47"/>
              <a:gd name="T7" fmla="*/ 2 h 6"/>
              <a:gd name="T8" fmla="*/ 3 w 47"/>
              <a:gd name="T9" fmla="*/ 2 h 6"/>
              <a:gd name="T10" fmla="*/ 1 w 47"/>
              <a:gd name="T11" fmla="*/ 2 h 6"/>
              <a:gd name="T12" fmla="*/ 1 w 47"/>
              <a:gd name="T13" fmla="*/ 2 h 6"/>
              <a:gd name="T14" fmla="*/ 1 w 47"/>
              <a:gd name="T15" fmla="*/ 3 h 6"/>
              <a:gd name="T16" fmla="*/ 1 w 47"/>
              <a:gd name="T17" fmla="*/ 3 h 6"/>
              <a:gd name="T18" fmla="*/ 1 w 47"/>
              <a:gd name="T19" fmla="*/ 3 h 6"/>
              <a:gd name="T20" fmla="*/ 1 w 47"/>
              <a:gd name="T21" fmla="*/ 5 h 6"/>
              <a:gd name="T22" fmla="*/ 6 w 47"/>
              <a:gd name="T23" fmla="*/ 5 h 6"/>
              <a:gd name="T24" fmla="*/ 10 w 47"/>
              <a:gd name="T25" fmla="*/ 5 h 6"/>
              <a:gd name="T26" fmla="*/ 11 w 47"/>
              <a:gd name="T27" fmla="*/ 5 h 6"/>
              <a:gd name="T28" fmla="*/ 12 w 47"/>
              <a:gd name="T29" fmla="*/ 5 h 6"/>
              <a:gd name="T30" fmla="*/ 14 w 47"/>
              <a:gd name="T31" fmla="*/ 5 h 6"/>
              <a:gd name="T32" fmla="*/ 18 w 47"/>
              <a:gd name="T33" fmla="*/ 5 h 6"/>
              <a:gd name="T34" fmla="*/ 20 w 47"/>
              <a:gd name="T35" fmla="*/ 6 h 6"/>
              <a:gd name="T36" fmla="*/ 21 w 47"/>
              <a:gd name="T37" fmla="*/ 6 h 6"/>
              <a:gd name="T38" fmla="*/ 22 w 47"/>
              <a:gd name="T39" fmla="*/ 5 h 6"/>
              <a:gd name="T40" fmla="*/ 20 w 47"/>
              <a:gd name="T41" fmla="*/ 5 h 6"/>
              <a:gd name="T42" fmla="*/ 21 w 47"/>
              <a:gd name="T43" fmla="*/ 3 h 6"/>
              <a:gd name="T44" fmla="*/ 18 w 47"/>
              <a:gd name="T45" fmla="*/ 3 h 6"/>
              <a:gd name="T46" fmla="*/ 18 w 47"/>
              <a:gd name="T47" fmla="*/ 2 h 6"/>
              <a:gd name="T48" fmla="*/ 20 w 47"/>
              <a:gd name="T49" fmla="*/ 2 h 6"/>
              <a:gd name="T50" fmla="*/ 21 w 47"/>
              <a:gd name="T51" fmla="*/ 2 h 6"/>
              <a:gd name="T52" fmla="*/ 34 w 47"/>
              <a:gd name="T53" fmla="*/ 1 h 6"/>
              <a:gd name="T54" fmla="*/ 37 w 47"/>
              <a:gd name="T55" fmla="*/ 2 h 6"/>
              <a:gd name="T56" fmla="*/ 38 w 47"/>
              <a:gd name="T57" fmla="*/ 2 h 6"/>
              <a:gd name="T58" fmla="*/ 42 w 47"/>
              <a:gd name="T59" fmla="*/ 2 h 6"/>
              <a:gd name="T60" fmla="*/ 47 w 47"/>
              <a:gd name="T61" fmla="*/ 2 h 6"/>
              <a:gd name="T62" fmla="*/ 38 w 47"/>
              <a:gd name="T63" fmla="*/ 1 h 6"/>
              <a:gd name="T64" fmla="*/ 34 w 47"/>
              <a:gd name="T65" fmla="*/ 0 h 6"/>
              <a:gd name="T66" fmla="*/ 28 w 47"/>
              <a:gd name="T67" fmla="*/ 0 h 6"/>
              <a:gd name="T68" fmla="*/ 26 w 47"/>
              <a:gd name="T69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47" h="6">
                <a:moveTo>
                  <a:pt x="21" y="0"/>
                </a:moveTo>
                <a:lnTo>
                  <a:pt x="18" y="0"/>
                </a:lnTo>
                <a:lnTo>
                  <a:pt x="15" y="1"/>
                </a:lnTo>
                <a:lnTo>
                  <a:pt x="15" y="1"/>
                </a:lnTo>
                <a:lnTo>
                  <a:pt x="10" y="1"/>
                </a:lnTo>
                <a:lnTo>
                  <a:pt x="9" y="2"/>
                </a:lnTo>
                <a:lnTo>
                  <a:pt x="7" y="1"/>
                </a:lnTo>
                <a:lnTo>
                  <a:pt x="6" y="2"/>
                </a:lnTo>
                <a:lnTo>
                  <a:pt x="5" y="2"/>
                </a:lnTo>
                <a:lnTo>
                  <a:pt x="3" y="2"/>
                </a:lnTo>
                <a:lnTo>
                  <a:pt x="3" y="2"/>
                </a:lnTo>
                <a:lnTo>
                  <a:pt x="1" y="2"/>
                </a:lnTo>
                <a:lnTo>
                  <a:pt x="3" y="2"/>
                </a:lnTo>
                <a:lnTo>
                  <a:pt x="1" y="2"/>
                </a:lnTo>
                <a:lnTo>
                  <a:pt x="0" y="3"/>
                </a:lnTo>
                <a:lnTo>
                  <a:pt x="1" y="3"/>
                </a:lnTo>
                <a:lnTo>
                  <a:pt x="1" y="3"/>
                </a:lnTo>
                <a:lnTo>
                  <a:pt x="1" y="3"/>
                </a:lnTo>
                <a:lnTo>
                  <a:pt x="1" y="3"/>
                </a:lnTo>
                <a:lnTo>
                  <a:pt x="1" y="3"/>
                </a:lnTo>
                <a:lnTo>
                  <a:pt x="3" y="3"/>
                </a:lnTo>
                <a:lnTo>
                  <a:pt x="1" y="5"/>
                </a:lnTo>
                <a:lnTo>
                  <a:pt x="3" y="5"/>
                </a:lnTo>
                <a:lnTo>
                  <a:pt x="6" y="5"/>
                </a:lnTo>
                <a:lnTo>
                  <a:pt x="9" y="5"/>
                </a:lnTo>
                <a:lnTo>
                  <a:pt x="10" y="5"/>
                </a:lnTo>
                <a:lnTo>
                  <a:pt x="10" y="5"/>
                </a:lnTo>
                <a:lnTo>
                  <a:pt x="11" y="5"/>
                </a:lnTo>
                <a:lnTo>
                  <a:pt x="12" y="5"/>
                </a:lnTo>
                <a:lnTo>
                  <a:pt x="12" y="5"/>
                </a:lnTo>
                <a:lnTo>
                  <a:pt x="12" y="5"/>
                </a:lnTo>
                <a:lnTo>
                  <a:pt x="14" y="5"/>
                </a:lnTo>
                <a:lnTo>
                  <a:pt x="17" y="5"/>
                </a:lnTo>
                <a:lnTo>
                  <a:pt x="18" y="5"/>
                </a:lnTo>
                <a:lnTo>
                  <a:pt x="19" y="5"/>
                </a:lnTo>
                <a:lnTo>
                  <a:pt x="20" y="6"/>
                </a:lnTo>
                <a:lnTo>
                  <a:pt x="20" y="6"/>
                </a:lnTo>
                <a:lnTo>
                  <a:pt x="21" y="6"/>
                </a:lnTo>
                <a:lnTo>
                  <a:pt x="21" y="5"/>
                </a:lnTo>
                <a:lnTo>
                  <a:pt x="22" y="5"/>
                </a:lnTo>
                <a:lnTo>
                  <a:pt x="20" y="5"/>
                </a:lnTo>
                <a:lnTo>
                  <a:pt x="20" y="5"/>
                </a:lnTo>
                <a:lnTo>
                  <a:pt x="21" y="5"/>
                </a:lnTo>
                <a:lnTo>
                  <a:pt x="21" y="3"/>
                </a:lnTo>
                <a:lnTo>
                  <a:pt x="18" y="3"/>
                </a:lnTo>
                <a:lnTo>
                  <a:pt x="18" y="3"/>
                </a:lnTo>
                <a:lnTo>
                  <a:pt x="18" y="3"/>
                </a:lnTo>
                <a:lnTo>
                  <a:pt x="18" y="2"/>
                </a:lnTo>
                <a:lnTo>
                  <a:pt x="20" y="2"/>
                </a:lnTo>
                <a:lnTo>
                  <a:pt x="20" y="2"/>
                </a:lnTo>
                <a:lnTo>
                  <a:pt x="20" y="1"/>
                </a:lnTo>
                <a:lnTo>
                  <a:pt x="21" y="2"/>
                </a:lnTo>
                <a:lnTo>
                  <a:pt x="22" y="1"/>
                </a:lnTo>
                <a:lnTo>
                  <a:pt x="34" y="1"/>
                </a:lnTo>
                <a:lnTo>
                  <a:pt x="36" y="2"/>
                </a:lnTo>
                <a:lnTo>
                  <a:pt x="37" y="2"/>
                </a:lnTo>
                <a:lnTo>
                  <a:pt x="37" y="2"/>
                </a:lnTo>
                <a:lnTo>
                  <a:pt x="38" y="2"/>
                </a:lnTo>
                <a:lnTo>
                  <a:pt x="41" y="2"/>
                </a:lnTo>
                <a:lnTo>
                  <a:pt x="42" y="2"/>
                </a:lnTo>
                <a:lnTo>
                  <a:pt x="47" y="2"/>
                </a:lnTo>
                <a:lnTo>
                  <a:pt x="47" y="2"/>
                </a:lnTo>
                <a:lnTo>
                  <a:pt x="46" y="2"/>
                </a:lnTo>
                <a:lnTo>
                  <a:pt x="38" y="1"/>
                </a:lnTo>
                <a:lnTo>
                  <a:pt x="36" y="0"/>
                </a:lnTo>
                <a:lnTo>
                  <a:pt x="34" y="0"/>
                </a:lnTo>
                <a:lnTo>
                  <a:pt x="29" y="0"/>
                </a:lnTo>
                <a:lnTo>
                  <a:pt x="28" y="0"/>
                </a:lnTo>
                <a:lnTo>
                  <a:pt x="27" y="0"/>
                </a:lnTo>
                <a:lnTo>
                  <a:pt x="26" y="0"/>
                </a:lnTo>
                <a:lnTo>
                  <a:pt x="2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86" name="Freeform 585"/>
          <p:cNvSpPr>
            <a:spLocks/>
          </p:cNvSpPr>
          <p:nvPr/>
        </p:nvSpPr>
        <p:spPr bwMode="auto">
          <a:xfrm>
            <a:off x="5080000" y="1376328"/>
            <a:ext cx="77787" cy="17463"/>
          </a:xfrm>
          <a:custGeom>
            <a:avLst/>
            <a:gdLst>
              <a:gd name="T0" fmla="*/ 34 w 49"/>
              <a:gd name="T1" fmla="*/ 0 h 11"/>
              <a:gd name="T2" fmla="*/ 34 w 49"/>
              <a:gd name="T3" fmla="*/ 0 h 11"/>
              <a:gd name="T4" fmla="*/ 31 w 49"/>
              <a:gd name="T5" fmla="*/ 0 h 11"/>
              <a:gd name="T6" fmla="*/ 27 w 49"/>
              <a:gd name="T7" fmla="*/ 0 h 11"/>
              <a:gd name="T8" fmla="*/ 31 w 49"/>
              <a:gd name="T9" fmla="*/ 1 h 11"/>
              <a:gd name="T10" fmla="*/ 27 w 49"/>
              <a:gd name="T11" fmla="*/ 1 h 11"/>
              <a:gd name="T12" fmla="*/ 27 w 49"/>
              <a:gd name="T13" fmla="*/ 2 h 11"/>
              <a:gd name="T14" fmla="*/ 25 w 49"/>
              <a:gd name="T15" fmla="*/ 2 h 11"/>
              <a:gd name="T16" fmla="*/ 25 w 49"/>
              <a:gd name="T17" fmla="*/ 2 h 11"/>
              <a:gd name="T18" fmla="*/ 24 w 49"/>
              <a:gd name="T19" fmla="*/ 2 h 11"/>
              <a:gd name="T20" fmla="*/ 16 w 49"/>
              <a:gd name="T21" fmla="*/ 3 h 11"/>
              <a:gd name="T22" fmla="*/ 12 w 49"/>
              <a:gd name="T23" fmla="*/ 3 h 11"/>
              <a:gd name="T24" fmla="*/ 4 w 49"/>
              <a:gd name="T25" fmla="*/ 3 h 11"/>
              <a:gd name="T26" fmla="*/ 0 w 49"/>
              <a:gd name="T27" fmla="*/ 3 h 11"/>
              <a:gd name="T28" fmla="*/ 0 w 49"/>
              <a:gd name="T29" fmla="*/ 5 h 11"/>
              <a:gd name="T30" fmla="*/ 5 w 49"/>
              <a:gd name="T31" fmla="*/ 5 h 11"/>
              <a:gd name="T32" fmla="*/ 7 w 49"/>
              <a:gd name="T33" fmla="*/ 6 h 11"/>
              <a:gd name="T34" fmla="*/ 11 w 49"/>
              <a:gd name="T35" fmla="*/ 6 h 11"/>
              <a:gd name="T36" fmla="*/ 7 w 49"/>
              <a:gd name="T37" fmla="*/ 6 h 11"/>
              <a:gd name="T38" fmla="*/ 5 w 49"/>
              <a:gd name="T39" fmla="*/ 7 h 11"/>
              <a:gd name="T40" fmla="*/ 4 w 49"/>
              <a:gd name="T41" fmla="*/ 7 h 11"/>
              <a:gd name="T42" fmla="*/ 3 w 49"/>
              <a:gd name="T43" fmla="*/ 8 h 11"/>
              <a:gd name="T44" fmla="*/ 5 w 49"/>
              <a:gd name="T45" fmla="*/ 8 h 11"/>
              <a:gd name="T46" fmla="*/ 5 w 49"/>
              <a:gd name="T47" fmla="*/ 9 h 11"/>
              <a:gd name="T48" fmla="*/ 7 w 49"/>
              <a:gd name="T49" fmla="*/ 9 h 11"/>
              <a:gd name="T50" fmla="*/ 13 w 49"/>
              <a:gd name="T51" fmla="*/ 8 h 11"/>
              <a:gd name="T52" fmla="*/ 14 w 49"/>
              <a:gd name="T53" fmla="*/ 9 h 11"/>
              <a:gd name="T54" fmla="*/ 16 w 49"/>
              <a:gd name="T55" fmla="*/ 9 h 11"/>
              <a:gd name="T56" fmla="*/ 15 w 49"/>
              <a:gd name="T57" fmla="*/ 11 h 11"/>
              <a:gd name="T58" fmla="*/ 17 w 49"/>
              <a:gd name="T59" fmla="*/ 10 h 11"/>
              <a:gd name="T60" fmla="*/ 19 w 49"/>
              <a:gd name="T61" fmla="*/ 10 h 11"/>
              <a:gd name="T62" fmla="*/ 21 w 49"/>
              <a:gd name="T63" fmla="*/ 10 h 11"/>
              <a:gd name="T64" fmla="*/ 20 w 49"/>
              <a:gd name="T65" fmla="*/ 9 h 11"/>
              <a:gd name="T66" fmla="*/ 22 w 49"/>
              <a:gd name="T67" fmla="*/ 9 h 11"/>
              <a:gd name="T68" fmla="*/ 24 w 49"/>
              <a:gd name="T69" fmla="*/ 9 h 11"/>
              <a:gd name="T70" fmla="*/ 25 w 49"/>
              <a:gd name="T71" fmla="*/ 9 h 11"/>
              <a:gd name="T72" fmla="*/ 25 w 49"/>
              <a:gd name="T73" fmla="*/ 8 h 11"/>
              <a:gd name="T74" fmla="*/ 26 w 49"/>
              <a:gd name="T75" fmla="*/ 8 h 11"/>
              <a:gd name="T76" fmla="*/ 22 w 49"/>
              <a:gd name="T77" fmla="*/ 7 h 11"/>
              <a:gd name="T78" fmla="*/ 25 w 49"/>
              <a:gd name="T79" fmla="*/ 7 h 11"/>
              <a:gd name="T80" fmla="*/ 30 w 49"/>
              <a:gd name="T81" fmla="*/ 7 h 11"/>
              <a:gd name="T82" fmla="*/ 32 w 49"/>
              <a:gd name="T83" fmla="*/ 7 h 11"/>
              <a:gd name="T84" fmla="*/ 36 w 49"/>
              <a:gd name="T85" fmla="*/ 7 h 11"/>
              <a:gd name="T86" fmla="*/ 37 w 49"/>
              <a:gd name="T87" fmla="*/ 6 h 11"/>
              <a:gd name="T88" fmla="*/ 37 w 49"/>
              <a:gd name="T89" fmla="*/ 6 h 11"/>
              <a:gd name="T90" fmla="*/ 33 w 49"/>
              <a:gd name="T91" fmla="*/ 5 h 11"/>
              <a:gd name="T92" fmla="*/ 44 w 49"/>
              <a:gd name="T93" fmla="*/ 5 h 11"/>
              <a:gd name="T94" fmla="*/ 47 w 49"/>
              <a:gd name="T95" fmla="*/ 3 h 11"/>
              <a:gd name="T96" fmla="*/ 47 w 49"/>
              <a:gd name="T97" fmla="*/ 3 h 11"/>
              <a:gd name="T98" fmla="*/ 46 w 49"/>
              <a:gd name="T99" fmla="*/ 2 h 11"/>
              <a:gd name="T100" fmla="*/ 37 w 49"/>
              <a:gd name="T101" fmla="*/ 2 h 11"/>
              <a:gd name="T102" fmla="*/ 35 w 49"/>
              <a:gd name="T103" fmla="*/ 1 h 11"/>
              <a:gd name="T104" fmla="*/ 41 w 49"/>
              <a:gd name="T105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9" h="11">
                <a:moveTo>
                  <a:pt x="39" y="0"/>
                </a:moveTo>
                <a:lnTo>
                  <a:pt x="37" y="0"/>
                </a:lnTo>
                <a:lnTo>
                  <a:pt x="34" y="0"/>
                </a:lnTo>
                <a:lnTo>
                  <a:pt x="35" y="0"/>
                </a:lnTo>
                <a:lnTo>
                  <a:pt x="34" y="0"/>
                </a:lnTo>
                <a:lnTo>
                  <a:pt x="34" y="0"/>
                </a:lnTo>
                <a:lnTo>
                  <a:pt x="33" y="0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27" y="0"/>
                </a:lnTo>
                <a:lnTo>
                  <a:pt x="27" y="0"/>
                </a:lnTo>
                <a:lnTo>
                  <a:pt x="29" y="0"/>
                </a:lnTo>
                <a:lnTo>
                  <a:pt x="27" y="0"/>
                </a:lnTo>
                <a:lnTo>
                  <a:pt x="31" y="1"/>
                </a:lnTo>
                <a:lnTo>
                  <a:pt x="33" y="1"/>
                </a:lnTo>
                <a:lnTo>
                  <a:pt x="32" y="1"/>
                </a:lnTo>
                <a:lnTo>
                  <a:pt x="27" y="1"/>
                </a:lnTo>
                <a:lnTo>
                  <a:pt x="27" y="2"/>
                </a:lnTo>
                <a:lnTo>
                  <a:pt x="26" y="2"/>
                </a:lnTo>
                <a:lnTo>
                  <a:pt x="27" y="2"/>
                </a:lnTo>
                <a:lnTo>
                  <a:pt x="26" y="2"/>
                </a:lnTo>
                <a:lnTo>
                  <a:pt x="25" y="2"/>
                </a:lnTo>
                <a:lnTo>
                  <a:pt x="25" y="2"/>
                </a:lnTo>
                <a:lnTo>
                  <a:pt x="24" y="2"/>
                </a:lnTo>
                <a:lnTo>
                  <a:pt x="24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4" y="2"/>
                </a:lnTo>
                <a:lnTo>
                  <a:pt x="22" y="3"/>
                </a:lnTo>
                <a:lnTo>
                  <a:pt x="19" y="3"/>
                </a:lnTo>
                <a:lnTo>
                  <a:pt x="16" y="3"/>
                </a:lnTo>
                <a:lnTo>
                  <a:pt x="15" y="3"/>
                </a:lnTo>
                <a:lnTo>
                  <a:pt x="12" y="2"/>
                </a:lnTo>
                <a:lnTo>
                  <a:pt x="12" y="3"/>
                </a:lnTo>
                <a:lnTo>
                  <a:pt x="7" y="3"/>
                </a:lnTo>
                <a:lnTo>
                  <a:pt x="5" y="2"/>
                </a:lnTo>
                <a:lnTo>
                  <a:pt x="4" y="3"/>
                </a:lnTo>
                <a:lnTo>
                  <a:pt x="2" y="2"/>
                </a:lnTo>
                <a:lnTo>
                  <a:pt x="0" y="3"/>
                </a:lnTo>
                <a:lnTo>
                  <a:pt x="0" y="3"/>
                </a:lnTo>
                <a:lnTo>
                  <a:pt x="1" y="3"/>
                </a:lnTo>
                <a:lnTo>
                  <a:pt x="0" y="5"/>
                </a:lnTo>
                <a:lnTo>
                  <a:pt x="0" y="5"/>
                </a:lnTo>
                <a:lnTo>
                  <a:pt x="3" y="5"/>
                </a:lnTo>
                <a:lnTo>
                  <a:pt x="3" y="5"/>
                </a:lnTo>
                <a:lnTo>
                  <a:pt x="5" y="5"/>
                </a:lnTo>
                <a:lnTo>
                  <a:pt x="7" y="5"/>
                </a:lnTo>
                <a:lnTo>
                  <a:pt x="9" y="5"/>
                </a:lnTo>
                <a:lnTo>
                  <a:pt x="7" y="6"/>
                </a:lnTo>
                <a:lnTo>
                  <a:pt x="11" y="6"/>
                </a:lnTo>
                <a:lnTo>
                  <a:pt x="11" y="6"/>
                </a:lnTo>
                <a:lnTo>
                  <a:pt x="11" y="6"/>
                </a:lnTo>
                <a:lnTo>
                  <a:pt x="12" y="6"/>
                </a:lnTo>
                <a:lnTo>
                  <a:pt x="10" y="6"/>
                </a:lnTo>
                <a:lnTo>
                  <a:pt x="7" y="6"/>
                </a:lnTo>
                <a:lnTo>
                  <a:pt x="7" y="6"/>
                </a:lnTo>
                <a:lnTo>
                  <a:pt x="5" y="6"/>
                </a:lnTo>
                <a:lnTo>
                  <a:pt x="5" y="7"/>
                </a:lnTo>
                <a:lnTo>
                  <a:pt x="4" y="7"/>
                </a:lnTo>
                <a:lnTo>
                  <a:pt x="4" y="7"/>
                </a:lnTo>
                <a:lnTo>
                  <a:pt x="4" y="7"/>
                </a:lnTo>
                <a:lnTo>
                  <a:pt x="3" y="7"/>
                </a:lnTo>
                <a:lnTo>
                  <a:pt x="3" y="7"/>
                </a:lnTo>
                <a:lnTo>
                  <a:pt x="3" y="8"/>
                </a:lnTo>
                <a:lnTo>
                  <a:pt x="2" y="8"/>
                </a:lnTo>
                <a:lnTo>
                  <a:pt x="2" y="8"/>
                </a:lnTo>
                <a:lnTo>
                  <a:pt x="5" y="8"/>
                </a:lnTo>
                <a:lnTo>
                  <a:pt x="5" y="8"/>
                </a:lnTo>
                <a:lnTo>
                  <a:pt x="6" y="8"/>
                </a:lnTo>
                <a:lnTo>
                  <a:pt x="5" y="9"/>
                </a:lnTo>
                <a:lnTo>
                  <a:pt x="6" y="9"/>
                </a:lnTo>
                <a:lnTo>
                  <a:pt x="6" y="9"/>
                </a:lnTo>
                <a:lnTo>
                  <a:pt x="7" y="9"/>
                </a:lnTo>
                <a:lnTo>
                  <a:pt x="11" y="9"/>
                </a:lnTo>
                <a:lnTo>
                  <a:pt x="12" y="8"/>
                </a:lnTo>
                <a:lnTo>
                  <a:pt x="13" y="8"/>
                </a:lnTo>
                <a:lnTo>
                  <a:pt x="14" y="8"/>
                </a:lnTo>
                <a:lnTo>
                  <a:pt x="14" y="9"/>
                </a:lnTo>
                <a:lnTo>
                  <a:pt x="14" y="9"/>
                </a:lnTo>
                <a:lnTo>
                  <a:pt x="15" y="9"/>
                </a:lnTo>
                <a:lnTo>
                  <a:pt x="15" y="9"/>
                </a:lnTo>
                <a:lnTo>
                  <a:pt x="16" y="9"/>
                </a:lnTo>
                <a:lnTo>
                  <a:pt x="14" y="10"/>
                </a:lnTo>
                <a:lnTo>
                  <a:pt x="14" y="10"/>
                </a:lnTo>
                <a:lnTo>
                  <a:pt x="15" y="11"/>
                </a:lnTo>
                <a:lnTo>
                  <a:pt x="17" y="10"/>
                </a:lnTo>
                <a:lnTo>
                  <a:pt x="17" y="10"/>
                </a:lnTo>
                <a:lnTo>
                  <a:pt x="17" y="10"/>
                </a:lnTo>
                <a:lnTo>
                  <a:pt x="17" y="10"/>
                </a:lnTo>
                <a:lnTo>
                  <a:pt x="19" y="10"/>
                </a:lnTo>
                <a:lnTo>
                  <a:pt x="19" y="10"/>
                </a:lnTo>
                <a:lnTo>
                  <a:pt x="20" y="10"/>
                </a:lnTo>
                <a:lnTo>
                  <a:pt x="21" y="10"/>
                </a:lnTo>
                <a:lnTo>
                  <a:pt x="21" y="10"/>
                </a:lnTo>
                <a:lnTo>
                  <a:pt x="21" y="10"/>
                </a:lnTo>
                <a:lnTo>
                  <a:pt x="21" y="9"/>
                </a:lnTo>
                <a:lnTo>
                  <a:pt x="20" y="9"/>
                </a:lnTo>
                <a:lnTo>
                  <a:pt x="20" y="9"/>
                </a:lnTo>
                <a:lnTo>
                  <a:pt x="21" y="9"/>
                </a:lnTo>
                <a:lnTo>
                  <a:pt x="22" y="9"/>
                </a:lnTo>
                <a:lnTo>
                  <a:pt x="23" y="9"/>
                </a:lnTo>
                <a:lnTo>
                  <a:pt x="24" y="9"/>
                </a:lnTo>
                <a:lnTo>
                  <a:pt x="24" y="9"/>
                </a:lnTo>
                <a:lnTo>
                  <a:pt x="23" y="9"/>
                </a:lnTo>
                <a:lnTo>
                  <a:pt x="24" y="9"/>
                </a:lnTo>
                <a:lnTo>
                  <a:pt x="25" y="9"/>
                </a:lnTo>
                <a:lnTo>
                  <a:pt x="26" y="9"/>
                </a:lnTo>
                <a:lnTo>
                  <a:pt x="26" y="8"/>
                </a:lnTo>
                <a:lnTo>
                  <a:pt x="25" y="8"/>
                </a:lnTo>
                <a:lnTo>
                  <a:pt x="25" y="8"/>
                </a:lnTo>
                <a:lnTo>
                  <a:pt x="25" y="8"/>
                </a:lnTo>
                <a:lnTo>
                  <a:pt x="26" y="8"/>
                </a:lnTo>
                <a:lnTo>
                  <a:pt x="26" y="8"/>
                </a:lnTo>
                <a:lnTo>
                  <a:pt x="24" y="7"/>
                </a:lnTo>
                <a:lnTo>
                  <a:pt x="22" y="7"/>
                </a:lnTo>
                <a:lnTo>
                  <a:pt x="22" y="7"/>
                </a:lnTo>
                <a:lnTo>
                  <a:pt x="21" y="7"/>
                </a:lnTo>
                <a:lnTo>
                  <a:pt x="25" y="7"/>
                </a:lnTo>
                <a:lnTo>
                  <a:pt x="26" y="7"/>
                </a:lnTo>
                <a:lnTo>
                  <a:pt x="29" y="7"/>
                </a:lnTo>
                <a:lnTo>
                  <a:pt x="30" y="7"/>
                </a:lnTo>
                <a:lnTo>
                  <a:pt x="30" y="7"/>
                </a:lnTo>
                <a:lnTo>
                  <a:pt x="32" y="7"/>
                </a:lnTo>
                <a:lnTo>
                  <a:pt x="32" y="7"/>
                </a:lnTo>
                <a:lnTo>
                  <a:pt x="33" y="7"/>
                </a:lnTo>
                <a:lnTo>
                  <a:pt x="35" y="7"/>
                </a:lnTo>
                <a:lnTo>
                  <a:pt x="36" y="7"/>
                </a:lnTo>
                <a:lnTo>
                  <a:pt x="35" y="7"/>
                </a:lnTo>
                <a:lnTo>
                  <a:pt x="36" y="7"/>
                </a:lnTo>
                <a:lnTo>
                  <a:pt x="37" y="6"/>
                </a:lnTo>
                <a:lnTo>
                  <a:pt x="37" y="6"/>
                </a:lnTo>
                <a:lnTo>
                  <a:pt x="37" y="6"/>
                </a:lnTo>
                <a:lnTo>
                  <a:pt x="37" y="6"/>
                </a:lnTo>
                <a:lnTo>
                  <a:pt x="33" y="5"/>
                </a:lnTo>
                <a:lnTo>
                  <a:pt x="33" y="5"/>
                </a:lnTo>
                <a:lnTo>
                  <a:pt x="33" y="5"/>
                </a:lnTo>
                <a:lnTo>
                  <a:pt x="36" y="5"/>
                </a:lnTo>
                <a:lnTo>
                  <a:pt x="36" y="5"/>
                </a:lnTo>
                <a:lnTo>
                  <a:pt x="44" y="5"/>
                </a:lnTo>
                <a:lnTo>
                  <a:pt x="44" y="5"/>
                </a:lnTo>
                <a:lnTo>
                  <a:pt x="45" y="3"/>
                </a:lnTo>
                <a:lnTo>
                  <a:pt x="47" y="3"/>
                </a:lnTo>
                <a:lnTo>
                  <a:pt x="47" y="3"/>
                </a:lnTo>
                <a:lnTo>
                  <a:pt x="47" y="3"/>
                </a:lnTo>
                <a:lnTo>
                  <a:pt x="47" y="3"/>
                </a:lnTo>
                <a:lnTo>
                  <a:pt x="49" y="2"/>
                </a:lnTo>
                <a:lnTo>
                  <a:pt x="47" y="2"/>
                </a:lnTo>
                <a:lnTo>
                  <a:pt x="46" y="2"/>
                </a:lnTo>
                <a:lnTo>
                  <a:pt x="45" y="1"/>
                </a:lnTo>
                <a:lnTo>
                  <a:pt x="42" y="1"/>
                </a:lnTo>
                <a:lnTo>
                  <a:pt x="37" y="2"/>
                </a:lnTo>
                <a:lnTo>
                  <a:pt x="35" y="2"/>
                </a:lnTo>
                <a:lnTo>
                  <a:pt x="35" y="2"/>
                </a:lnTo>
                <a:lnTo>
                  <a:pt x="35" y="1"/>
                </a:lnTo>
                <a:lnTo>
                  <a:pt x="41" y="1"/>
                </a:lnTo>
                <a:lnTo>
                  <a:pt x="40" y="0"/>
                </a:lnTo>
                <a:lnTo>
                  <a:pt x="41" y="0"/>
                </a:lnTo>
                <a:lnTo>
                  <a:pt x="40" y="0"/>
                </a:lnTo>
                <a:lnTo>
                  <a:pt x="39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87" name="Freeform 586"/>
          <p:cNvSpPr>
            <a:spLocks/>
          </p:cNvSpPr>
          <p:nvPr/>
        </p:nvSpPr>
        <p:spPr bwMode="auto">
          <a:xfrm>
            <a:off x="5080000" y="1376328"/>
            <a:ext cx="77787" cy="17463"/>
          </a:xfrm>
          <a:custGeom>
            <a:avLst/>
            <a:gdLst>
              <a:gd name="T0" fmla="*/ 34 w 49"/>
              <a:gd name="T1" fmla="*/ 0 h 11"/>
              <a:gd name="T2" fmla="*/ 34 w 49"/>
              <a:gd name="T3" fmla="*/ 0 h 11"/>
              <a:gd name="T4" fmla="*/ 31 w 49"/>
              <a:gd name="T5" fmla="*/ 0 h 11"/>
              <a:gd name="T6" fmla="*/ 27 w 49"/>
              <a:gd name="T7" fmla="*/ 0 h 11"/>
              <a:gd name="T8" fmla="*/ 31 w 49"/>
              <a:gd name="T9" fmla="*/ 1 h 11"/>
              <a:gd name="T10" fmla="*/ 27 w 49"/>
              <a:gd name="T11" fmla="*/ 1 h 11"/>
              <a:gd name="T12" fmla="*/ 27 w 49"/>
              <a:gd name="T13" fmla="*/ 2 h 11"/>
              <a:gd name="T14" fmla="*/ 25 w 49"/>
              <a:gd name="T15" fmla="*/ 2 h 11"/>
              <a:gd name="T16" fmla="*/ 25 w 49"/>
              <a:gd name="T17" fmla="*/ 2 h 11"/>
              <a:gd name="T18" fmla="*/ 24 w 49"/>
              <a:gd name="T19" fmla="*/ 2 h 11"/>
              <a:gd name="T20" fmla="*/ 16 w 49"/>
              <a:gd name="T21" fmla="*/ 3 h 11"/>
              <a:gd name="T22" fmla="*/ 12 w 49"/>
              <a:gd name="T23" fmla="*/ 3 h 11"/>
              <a:gd name="T24" fmla="*/ 4 w 49"/>
              <a:gd name="T25" fmla="*/ 3 h 11"/>
              <a:gd name="T26" fmla="*/ 0 w 49"/>
              <a:gd name="T27" fmla="*/ 3 h 11"/>
              <a:gd name="T28" fmla="*/ 0 w 49"/>
              <a:gd name="T29" fmla="*/ 5 h 11"/>
              <a:gd name="T30" fmla="*/ 5 w 49"/>
              <a:gd name="T31" fmla="*/ 5 h 11"/>
              <a:gd name="T32" fmla="*/ 7 w 49"/>
              <a:gd name="T33" fmla="*/ 6 h 11"/>
              <a:gd name="T34" fmla="*/ 11 w 49"/>
              <a:gd name="T35" fmla="*/ 6 h 11"/>
              <a:gd name="T36" fmla="*/ 7 w 49"/>
              <a:gd name="T37" fmla="*/ 6 h 11"/>
              <a:gd name="T38" fmla="*/ 5 w 49"/>
              <a:gd name="T39" fmla="*/ 7 h 11"/>
              <a:gd name="T40" fmla="*/ 4 w 49"/>
              <a:gd name="T41" fmla="*/ 7 h 11"/>
              <a:gd name="T42" fmla="*/ 3 w 49"/>
              <a:gd name="T43" fmla="*/ 8 h 11"/>
              <a:gd name="T44" fmla="*/ 5 w 49"/>
              <a:gd name="T45" fmla="*/ 8 h 11"/>
              <a:gd name="T46" fmla="*/ 5 w 49"/>
              <a:gd name="T47" fmla="*/ 9 h 11"/>
              <a:gd name="T48" fmla="*/ 7 w 49"/>
              <a:gd name="T49" fmla="*/ 9 h 11"/>
              <a:gd name="T50" fmla="*/ 13 w 49"/>
              <a:gd name="T51" fmla="*/ 8 h 11"/>
              <a:gd name="T52" fmla="*/ 14 w 49"/>
              <a:gd name="T53" fmla="*/ 9 h 11"/>
              <a:gd name="T54" fmla="*/ 16 w 49"/>
              <a:gd name="T55" fmla="*/ 9 h 11"/>
              <a:gd name="T56" fmla="*/ 15 w 49"/>
              <a:gd name="T57" fmla="*/ 11 h 11"/>
              <a:gd name="T58" fmla="*/ 17 w 49"/>
              <a:gd name="T59" fmla="*/ 10 h 11"/>
              <a:gd name="T60" fmla="*/ 19 w 49"/>
              <a:gd name="T61" fmla="*/ 10 h 11"/>
              <a:gd name="T62" fmla="*/ 21 w 49"/>
              <a:gd name="T63" fmla="*/ 10 h 11"/>
              <a:gd name="T64" fmla="*/ 20 w 49"/>
              <a:gd name="T65" fmla="*/ 9 h 11"/>
              <a:gd name="T66" fmla="*/ 22 w 49"/>
              <a:gd name="T67" fmla="*/ 9 h 11"/>
              <a:gd name="T68" fmla="*/ 24 w 49"/>
              <a:gd name="T69" fmla="*/ 9 h 11"/>
              <a:gd name="T70" fmla="*/ 25 w 49"/>
              <a:gd name="T71" fmla="*/ 9 h 11"/>
              <a:gd name="T72" fmla="*/ 25 w 49"/>
              <a:gd name="T73" fmla="*/ 8 h 11"/>
              <a:gd name="T74" fmla="*/ 26 w 49"/>
              <a:gd name="T75" fmla="*/ 8 h 11"/>
              <a:gd name="T76" fmla="*/ 22 w 49"/>
              <a:gd name="T77" fmla="*/ 7 h 11"/>
              <a:gd name="T78" fmla="*/ 25 w 49"/>
              <a:gd name="T79" fmla="*/ 7 h 11"/>
              <a:gd name="T80" fmla="*/ 30 w 49"/>
              <a:gd name="T81" fmla="*/ 7 h 11"/>
              <a:gd name="T82" fmla="*/ 32 w 49"/>
              <a:gd name="T83" fmla="*/ 7 h 11"/>
              <a:gd name="T84" fmla="*/ 36 w 49"/>
              <a:gd name="T85" fmla="*/ 7 h 11"/>
              <a:gd name="T86" fmla="*/ 37 w 49"/>
              <a:gd name="T87" fmla="*/ 6 h 11"/>
              <a:gd name="T88" fmla="*/ 37 w 49"/>
              <a:gd name="T89" fmla="*/ 6 h 11"/>
              <a:gd name="T90" fmla="*/ 33 w 49"/>
              <a:gd name="T91" fmla="*/ 5 h 11"/>
              <a:gd name="T92" fmla="*/ 44 w 49"/>
              <a:gd name="T93" fmla="*/ 5 h 11"/>
              <a:gd name="T94" fmla="*/ 47 w 49"/>
              <a:gd name="T95" fmla="*/ 3 h 11"/>
              <a:gd name="T96" fmla="*/ 47 w 49"/>
              <a:gd name="T97" fmla="*/ 3 h 11"/>
              <a:gd name="T98" fmla="*/ 46 w 49"/>
              <a:gd name="T99" fmla="*/ 2 h 11"/>
              <a:gd name="T100" fmla="*/ 37 w 49"/>
              <a:gd name="T101" fmla="*/ 2 h 11"/>
              <a:gd name="T102" fmla="*/ 35 w 49"/>
              <a:gd name="T103" fmla="*/ 1 h 11"/>
              <a:gd name="T104" fmla="*/ 41 w 49"/>
              <a:gd name="T105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9" h="11">
                <a:moveTo>
                  <a:pt x="39" y="0"/>
                </a:moveTo>
                <a:lnTo>
                  <a:pt x="37" y="0"/>
                </a:lnTo>
                <a:lnTo>
                  <a:pt x="34" y="0"/>
                </a:lnTo>
                <a:lnTo>
                  <a:pt x="35" y="0"/>
                </a:lnTo>
                <a:lnTo>
                  <a:pt x="34" y="0"/>
                </a:lnTo>
                <a:lnTo>
                  <a:pt x="34" y="0"/>
                </a:lnTo>
                <a:lnTo>
                  <a:pt x="33" y="0"/>
                </a:lnTo>
                <a:lnTo>
                  <a:pt x="31" y="0"/>
                </a:lnTo>
                <a:lnTo>
                  <a:pt x="31" y="0"/>
                </a:lnTo>
                <a:lnTo>
                  <a:pt x="31" y="0"/>
                </a:lnTo>
                <a:lnTo>
                  <a:pt x="27" y="0"/>
                </a:lnTo>
                <a:lnTo>
                  <a:pt x="27" y="0"/>
                </a:lnTo>
                <a:lnTo>
                  <a:pt x="29" y="0"/>
                </a:lnTo>
                <a:lnTo>
                  <a:pt x="27" y="0"/>
                </a:lnTo>
                <a:lnTo>
                  <a:pt x="31" y="1"/>
                </a:lnTo>
                <a:lnTo>
                  <a:pt x="33" y="1"/>
                </a:lnTo>
                <a:lnTo>
                  <a:pt x="32" y="1"/>
                </a:lnTo>
                <a:lnTo>
                  <a:pt x="27" y="1"/>
                </a:lnTo>
                <a:lnTo>
                  <a:pt x="27" y="2"/>
                </a:lnTo>
                <a:lnTo>
                  <a:pt x="26" y="2"/>
                </a:lnTo>
                <a:lnTo>
                  <a:pt x="27" y="2"/>
                </a:lnTo>
                <a:lnTo>
                  <a:pt x="26" y="2"/>
                </a:lnTo>
                <a:lnTo>
                  <a:pt x="25" y="2"/>
                </a:lnTo>
                <a:lnTo>
                  <a:pt x="25" y="2"/>
                </a:lnTo>
                <a:lnTo>
                  <a:pt x="24" y="2"/>
                </a:lnTo>
                <a:lnTo>
                  <a:pt x="24" y="2"/>
                </a:lnTo>
                <a:lnTo>
                  <a:pt x="25" y="2"/>
                </a:lnTo>
                <a:lnTo>
                  <a:pt x="25" y="2"/>
                </a:lnTo>
                <a:lnTo>
                  <a:pt x="25" y="2"/>
                </a:lnTo>
                <a:lnTo>
                  <a:pt x="24" y="2"/>
                </a:lnTo>
                <a:lnTo>
                  <a:pt x="22" y="3"/>
                </a:lnTo>
                <a:lnTo>
                  <a:pt x="19" y="3"/>
                </a:lnTo>
                <a:lnTo>
                  <a:pt x="16" y="3"/>
                </a:lnTo>
                <a:lnTo>
                  <a:pt x="15" y="3"/>
                </a:lnTo>
                <a:lnTo>
                  <a:pt x="12" y="2"/>
                </a:lnTo>
                <a:lnTo>
                  <a:pt x="12" y="3"/>
                </a:lnTo>
                <a:lnTo>
                  <a:pt x="7" y="3"/>
                </a:lnTo>
                <a:lnTo>
                  <a:pt x="5" y="2"/>
                </a:lnTo>
                <a:lnTo>
                  <a:pt x="4" y="3"/>
                </a:lnTo>
                <a:lnTo>
                  <a:pt x="2" y="2"/>
                </a:lnTo>
                <a:lnTo>
                  <a:pt x="0" y="3"/>
                </a:lnTo>
                <a:lnTo>
                  <a:pt x="0" y="3"/>
                </a:lnTo>
                <a:lnTo>
                  <a:pt x="1" y="3"/>
                </a:lnTo>
                <a:lnTo>
                  <a:pt x="0" y="5"/>
                </a:lnTo>
                <a:lnTo>
                  <a:pt x="0" y="5"/>
                </a:lnTo>
                <a:lnTo>
                  <a:pt x="3" y="5"/>
                </a:lnTo>
                <a:lnTo>
                  <a:pt x="3" y="5"/>
                </a:lnTo>
                <a:lnTo>
                  <a:pt x="5" y="5"/>
                </a:lnTo>
                <a:lnTo>
                  <a:pt x="7" y="5"/>
                </a:lnTo>
                <a:lnTo>
                  <a:pt x="9" y="5"/>
                </a:lnTo>
                <a:lnTo>
                  <a:pt x="7" y="6"/>
                </a:lnTo>
                <a:lnTo>
                  <a:pt x="11" y="6"/>
                </a:lnTo>
                <a:lnTo>
                  <a:pt x="11" y="6"/>
                </a:lnTo>
                <a:lnTo>
                  <a:pt x="11" y="6"/>
                </a:lnTo>
                <a:lnTo>
                  <a:pt x="12" y="6"/>
                </a:lnTo>
                <a:lnTo>
                  <a:pt x="10" y="6"/>
                </a:lnTo>
                <a:lnTo>
                  <a:pt x="7" y="6"/>
                </a:lnTo>
                <a:lnTo>
                  <a:pt x="7" y="6"/>
                </a:lnTo>
                <a:lnTo>
                  <a:pt x="5" y="6"/>
                </a:lnTo>
                <a:lnTo>
                  <a:pt x="5" y="7"/>
                </a:lnTo>
                <a:lnTo>
                  <a:pt x="4" y="7"/>
                </a:lnTo>
                <a:lnTo>
                  <a:pt x="4" y="7"/>
                </a:lnTo>
                <a:lnTo>
                  <a:pt x="4" y="7"/>
                </a:lnTo>
                <a:lnTo>
                  <a:pt x="3" y="7"/>
                </a:lnTo>
                <a:lnTo>
                  <a:pt x="3" y="7"/>
                </a:lnTo>
                <a:lnTo>
                  <a:pt x="3" y="8"/>
                </a:lnTo>
                <a:lnTo>
                  <a:pt x="2" y="8"/>
                </a:lnTo>
                <a:lnTo>
                  <a:pt x="2" y="8"/>
                </a:lnTo>
                <a:lnTo>
                  <a:pt x="5" y="8"/>
                </a:lnTo>
                <a:lnTo>
                  <a:pt x="5" y="8"/>
                </a:lnTo>
                <a:lnTo>
                  <a:pt x="6" y="8"/>
                </a:lnTo>
                <a:lnTo>
                  <a:pt x="5" y="9"/>
                </a:lnTo>
                <a:lnTo>
                  <a:pt x="6" y="9"/>
                </a:lnTo>
                <a:lnTo>
                  <a:pt x="6" y="9"/>
                </a:lnTo>
                <a:lnTo>
                  <a:pt x="7" y="9"/>
                </a:lnTo>
                <a:lnTo>
                  <a:pt x="11" y="9"/>
                </a:lnTo>
                <a:lnTo>
                  <a:pt x="12" y="8"/>
                </a:lnTo>
                <a:lnTo>
                  <a:pt x="13" y="8"/>
                </a:lnTo>
                <a:lnTo>
                  <a:pt x="14" y="8"/>
                </a:lnTo>
                <a:lnTo>
                  <a:pt x="14" y="9"/>
                </a:lnTo>
                <a:lnTo>
                  <a:pt x="14" y="9"/>
                </a:lnTo>
                <a:lnTo>
                  <a:pt x="15" y="9"/>
                </a:lnTo>
                <a:lnTo>
                  <a:pt x="15" y="9"/>
                </a:lnTo>
                <a:lnTo>
                  <a:pt x="16" y="9"/>
                </a:lnTo>
                <a:lnTo>
                  <a:pt x="14" y="10"/>
                </a:lnTo>
                <a:lnTo>
                  <a:pt x="14" y="10"/>
                </a:lnTo>
                <a:lnTo>
                  <a:pt x="15" y="11"/>
                </a:lnTo>
                <a:lnTo>
                  <a:pt x="17" y="10"/>
                </a:lnTo>
                <a:lnTo>
                  <a:pt x="17" y="10"/>
                </a:lnTo>
                <a:lnTo>
                  <a:pt x="17" y="10"/>
                </a:lnTo>
                <a:lnTo>
                  <a:pt x="17" y="10"/>
                </a:lnTo>
                <a:lnTo>
                  <a:pt x="19" y="10"/>
                </a:lnTo>
                <a:lnTo>
                  <a:pt x="19" y="10"/>
                </a:lnTo>
                <a:lnTo>
                  <a:pt x="20" y="10"/>
                </a:lnTo>
                <a:lnTo>
                  <a:pt x="21" y="10"/>
                </a:lnTo>
                <a:lnTo>
                  <a:pt x="21" y="10"/>
                </a:lnTo>
                <a:lnTo>
                  <a:pt x="21" y="10"/>
                </a:lnTo>
                <a:lnTo>
                  <a:pt x="21" y="9"/>
                </a:lnTo>
                <a:lnTo>
                  <a:pt x="20" y="9"/>
                </a:lnTo>
                <a:lnTo>
                  <a:pt x="20" y="9"/>
                </a:lnTo>
                <a:lnTo>
                  <a:pt x="21" y="9"/>
                </a:lnTo>
                <a:lnTo>
                  <a:pt x="22" y="9"/>
                </a:lnTo>
                <a:lnTo>
                  <a:pt x="23" y="9"/>
                </a:lnTo>
                <a:lnTo>
                  <a:pt x="24" y="9"/>
                </a:lnTo>
                <a:lnTo>
                  <a:pt x="24" y="9"/>
                </a:lnTo>
                <a:lnTo>
                  <a:pt x="23" y="9"/>
                </a:lnTo>
                <a:lnTo>
                  <a:pt x="24" y="9"/>
                </a:lnTo>
                <a:lnTo>
                  <a:pt x="25" y="9"/>
                </a:lnTo>
                <a:lnTo>
                  <a:pt x="26" y="9"/>
                </a:lnTo>
                <a:lnTo>
                  <a:pt x="26" y="8"/>
                </a:lnTo>
                <a:lnTo>
                  <a:pt x="25" y="8"/>
                </a:lnTo>
                <a:lnTo>
                  <a:pt x="25" y="8"/>
                </a:lnTo>
                <a:lnTo>
                  <a:pt x="25" y="8"/>
                </a:lnTo>
                <a:lnTo>
                  <a:pt x="26" y="8"/>
                </a:lnTo>
                <a:lnTo>
                  <a:pt x="26" y="8"/>
                </a:lnTo>
                <a:lnTo>
                  <a:pt x="24" y="7"/>
                </a:lnTo>
                <a:lnTo>
                  <a:pt x="22" y="7"/>
                </a:lnTo>
                <a:lnTo>
                  <a:pt x="22" y="7"/>
                </a:lnTo>
                <a:lnTo>
                  <a:pt x="21" y="7"/>
                </a:lnTo>
                <a:lnTo>
                  <a:pt x="25" y="7"/>
                </a:lnTo>
                <a:lnTo>
                  <a:pt x="26" y="7"/>
                </a:lnTo>
                <a:lnTo>
                  <a:pt x="29" y="7"/>
                </a:lnTo>
                <a:lnTo>
                  <a:pt x="30" y="7"/>
                </a:lnTo>
                <a:lnTo>
                  <a:pt x="30" y="7"/>
                </a:lnTo>
                <a:lnTo>
                  <a:pt x="32" y="7"/>
                </a:lnTo>
                <a:lnTo>
                  <a:pt x="32" y="7"/>
                </a:lnTo>
                <a:lnTo>
                  <a:pt x="33" y="7"/>
                </a:lnTo>
                <a:lnTo>
                  <a:pt x="35" y="7"/>
                </a:lnTo>
                <a:lnTo>
                  <a:pt x="36" y="7"/>
                </a:lnTo>
                <a:lnTo>
                  <a:pt x="35" y="7"/>
                </a:lnTo>
                <a:lnTo>
                  <a:pt x="36" y="7"/>
                </a:lnTo>
                <a:lnTo>
                  <a:pt x="37" y="6"/>
                </a:lnTo>
                <a:lnTo>
                  <a:pt x="37" y="6"/>
                </a:lnTo>
                <a:lnTo>
                  <a:pt x="37" y="6"/>
                </a:lnTo>
                <a:lnTo>
                  <a:pt x="37" y="6"/>
                </a:lnTo>
                <a:lnTo>
                  <a:pt x="33" y="5"/>
                </a:lnTo>
                <a:lnTo>
                  <a:pt x="33" y="5"/>
                </a:lnTo>
                <a:lnTo>
                  <a:pt x="33" y="5"/>
                </a:lnTo>
                <a:lnTo>
                  <a:pt x="36" y="5"/>
                </a:lnTo>
                <a:lnTo>
                  <a:pt x="36" y="5"/>
                </a:lnTo>
                <a:lnTo>
                  <a:pt x="44" y="5"/>
                </a:lnTo>
                <a:lnTo>
                  <a:pt x="44" y="5"/>
                </a:lnTo>
                <a:lnTo>
                  <a:pt x="45" y="3"/>
                </a:lnTo>
                <a:lnTo>
                  <a:pt x="47" y="3"/>
                </a:lnTo>
                <a:lnTo>
                  <a:pt x="47" y="3"/>
                </a:lnTo>
                <a:lnTo>
                  <a:pt x="47" y="3"/>
                </a:lnTo>
                <a:lnTo>
                  <a:pt x="47" y="3"/>
                </a:lnTo>
                <a:lnTo>
                  <a:pt x="49" y="2"/>
                </a:lnTo>
                <a:lnTo>
                  <a:pt x="47" y="2"/>
                </a:lnTo>
                <a:lnTo>
                  <a:pt x="46" y="2"/>
                </a:lnTo>
                <a:lnTo>
                  <a:pt x="45" y="1"/>
                </a:lnTo>
                <a:lnTo>
                  <a:pt x="42" y="1"/>
                </a:lnTo>
                <a:lnTo>
                  <a:pt x="37" y="2"/>
                </a:lnTo>
                <a:lnTo>
                  <a:pt x="35" y="2"/>
                </a:lnTo>
                <a:lnTo>
                  <a:pt x="35" y="2"/>
                </a:lnTo>
                <a:lnTo>
                  <a:pt x="35" y="1"/>
                </a:lnTo>
                <a:lnTo>
                  <a:pt x="41" y="1"/>
                </a:lnTo>
                <a:lnTo>
                  <a:pt x="40" y="0"/>
                </a:lnTo>
                <a:lnTo>
                  <a:pt x="41" y="0"/>
                </a:lnTo>
                <a:lnTo>
                  <a:pt x="40" y="0"/>
                </a:lnTo>
                <a:lnTo>
                  <a:pt x="39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88" name="Freeform 587"/>
          <p:cNvSpPr>
            <a:spLocks/>
          </p:cNvSpPr>
          <p:nvPr/>
        </p:nvSpPr>
        <p:spPr bwMode="auto">
          <a:xfrm>
            <a:off x="5175250" y="1385853"/>
            <a:ext cx="20637" cy="4763"/>
          </a:xfrm>
          <a:custGeom>
            <a:avLst/>
            <a:gdLst>
              <a:gd name="T0" fmla="*/ 5 w 13"/>
              <a:gd name="T1" fmla="*/ 0 h 3"/>
              <a:gd name="T2" fmla="*/ 5 w 13"/>
              <a:gd name="T3" fmla="*/ 0 h 3"/>
              <a:gd name="T4" fmla="*/ 6 w 13"/>
              <a:gd name="T5" fmla="*/ 1 h 3"/>
              <a:gd name="T6" fmla="*/ 8 w 13"/>
              <a:gd name="T7" fmla="*/ 1 h 3"/>
              <a:gd name="T8" fmla="*/ 8 w 13"/>
              <a:gd name="T9" fmla="*/ 1 h 3"/>
              <a:gd name="T10" fmla="*/ 11 w 13"/>
              <a:gd name="T11" fmla="*/ 1 h 3"/>
              <a:gd name="T12" fmla="*/ 11 w 13"/>
              <a:gd name="T13" fmla="*/ 1 h 3"/>
              <a:gd name="T14" fmla="*/ 13 w 13"/>
              <a:gd name="T15" fmla="*/ 2 h 3"/>
              <a:gd name="T16" fmla="*/ 13 w 13"/>
              <a:gd name="T17" fmla="*/ 2 h 3"/>
              <a:gd name="T18" fmla="*/ 10 w 13"/>
              <a:gd name="T19" fmla="*/ 2 h 3"/>
              <a:gd name="T20" fmla="*/ 11 w 13"/>
              <a:gd name="T21" fmla="*/ 3 h 3"/>
              <a:gd name="T22" fmla="*/ 12 w 13"/>
              <a:gd name="T23" fmla="*/ 3 h 3"/>
              <a:gd name="T24" fmla="*/ 11 w 13"/>
              <a:gd name="T25" fmla="*/ 3 h 3"/>
              <a:gd name="T26" fmla="*/ 8 w 13"/>
              <a:gd name="T27" fmla="*/ 3 h 3"/>
              <a:gd name="T28" fmla="*/ 6 w 13"/>
              <a:gd name="T29" fmla="*/ 3 h 3"/>
              <a:gd name="T30" fmla="*/ 6 w 13"/>
              <a:gd name="T31" fmla="*/ 3 h 3"/>
              <a:gd name="T32" fmla="*/ 6 w 13"/>
              <a:gd name="T33" fmla="*/ 3 h 3"/>
              <a:gd name="T34" fmla="*/ 4 w 13"/>
              <a:gd name="T35" fmla="*/ 3 h 3"/>
              <a:gd name="T36" fmla="*/ 3 w 13"/>
              <a:gd name="T37" fmla="*/ 3 h 3"/>
              <a:gd name="T38" fmla="*/ 3 w 13"/>
              <a:gd name="T39" fmla="*/ 3 h 3"/>
              <a:gd name="T40" fmla="*/ 2 w 13"/>
              <a:gd name="T41" fmla="*/ 3 h 3"/>
              <a:gd name="T42" fmla="*/ 0 w 13"/>
              <a:gd name="T43" fmla="*/ 2 h 3"/>
              <a:gd name="T44" fmla="*/ 4 w 13"/>
              <a:gd name="T45" fmla="*/ 2 h 3"/>
              <a:gd name="T46" fmla="*/ 4 w 13"/>
              <a:gd name="T47" fmla="*/ 1 h 3"/>
              <a:gd name="T48" fmla="*/ 3 w 13"/>
              <a:gd name="T49" fmla="*/ 1 h 3"/>
              <a:gd name="T50" fmla="*/ 3 w 13"/>
              <a:gd name="T51" fmla="*/ 1 h 3"/>
              <a:gd name="T52" fmla="*/ 3 w 13"/>
              <a:gd name="T53" fmla="*/ 1 h 3"/>
              <a:gd name="T54" fmla="*/ 4 w 13"/>
              <a:gd name="T55" fmla="*/ 1 h 3"/>
              <a:gd name="T56" fmla="*/ 5 w 13"/>
              <a:gd name="T57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3" h="3">
                <a:moveTo>
                  <a:pt x="5" y="0"/>
                </a:moveTo>
                <a:lnTo>
                  <a:pt x="5" y="0"/>
                </a:lnTo>
                <a:lnTo>
                  <a:pt x="6" y="1"/>
                </a:lnTo>
                <a:lnTo>
                  <a:pt x="8" y="1"/>
                </a:lnTo>
                <a:lnTo>
                  <a:pt x="8" y="1"/>
                </a:lnTo>
                <a:lnTo>
                  <a:pt x="11" y="1"/>
                </a:lnTo>
                <a:lnTo>
                  <a:pt x="11" y="1"/>
                </a:lnTo>
                <a:lnTo>
                  <a:pt x="13" y="2"/>
                </a:lnTo>
                <a:lnTo>
                  <a:pt x="13" y="2"/>
                </a:lnTo>
                <a:lnTo>
                  <a:pt x="10" y="2"/>
                </a:lnTo>
                <a:lnTo>
                  <a:pt x="11" y="3"/>
                </a:lnTo>
                <a:lnTo>
                  <a:pt x="12" y="3"/>
                </a:lnTo>
                <a:lnTo>
                  <a:pt x="11" y="3"/>
                </a:lnTo>
                <a:lnTo>
                  <a:pt x="8" y="3"/>
                </a:lnTo>
                <a:lnTo>
                  <a:pt x="6" y="3"/>
                </a:lnTo>
                <a:lnTo>
                  <a:pt x="6" y="3"/>
                </a:lnTo>
                <a:lnTo>
                  <a:pt x="6" y="3"/>
                </a:lnTo>
                <a:lnTo>
                  <a:pt x="4" y="3"/>
                </a:lnTo>
                <a:lnTo>
                  <a:pt x="3" y="3"/>
                </a:lnTo>
                <a:lnTo>
                  <a:pt x="3" y="3"/>
                </a:lnTo>
                <a:lnTo>
                  <a:pt x="2" y="3"/>
                </a:lnTo>
                <a:lnTo>
                  <a:pt x="0" y="2"/>
                </a:lnTo>
                <a:lnTo>
                  <a:pt x="4" y="2"/>
                </a:lnTo>
                <a:lnTo>
                  <a:pt x="4" y="1"/>
                </a:lnTo>
                <a:lnTo>
                  <a:pt x="3" y="1"/>
                </a:lnTo>
                <a:lnTo>
                  <a:pt x="3" y="1"/>
                </a:lnTo>
                <a:lnTo>
                  <a:pt x="3" y="1"/>
                </a:lnTo>
                <a:lnTo>
                  <a:pt x="4" y="1"/>
                </a:lnTo>
                <a:lnTo>
                  <a:pt x="5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89" name="Freeform 588"/>
          <p:cNvSpPr>
            <a:spLocks/>
          </p:cNvSpPr>
          <p:nvPr/>
        </p:nvSpPr>
        <p:spPr bwMode="auto">
          <a:xfrm>
            <a:off x="5175250" y="1385853"/>
            <a:ext cx="20637" cy="4763"/>
          </a:xfrm>
          <a:custGeom>
            <a:avLst/>
            <a:gdLst>
              <a:gd name="T0" fmla="*/ 5 w 13"/>
              <a:gd name="T1" fmla="*/ 0 h 3"/>
              <a:gd name="T2" fmla="*/ 5 w 13"/>
              <a:gd name="T3" fmla="*/ 0 h 3"/>
              <a:gd name="T4" fmla="*/ 6 w 13"/>
              <a:gd name="T5" fmla="*/ 1 h 3"/>
              <a:gd name="T6" fmla="*/ 8 w 13"/>
              <a:gd name="T7" fmla="*/ 1 h 3"/>
              <a:gd name="T8" fmla="*/ 8 w 13"/>
              <a:gd name="T9" fmla="*/ 1 h 3"/>
              <a:gd name="T10" fmla="*/ 11 w 13"/>
              <a:gd name="T11" fmla="*/ 1 h 3"/>
              <a:gd name="T12" fmla="*/ 11 w 13"/>
              <a:gd name="T13" fmla="*/ 1 h 3"/>
              <a:gd name="T14" fmla="*/ 13 w 13"/>
              <a:gd name="T15" fmla="*/ 2 h 3"/>
              <a:gd name="T16" fmla="*/ 13 w 13"/>
              <a:gd name="T17" fmla="*/ 2 h 3"/>
              <a:gd name="T18" fmla="*/ 10 w 13"/>
              <a:gd name="T19" fmla="*/ 2 h 3"/>
              <a:gd name="T20" fmla="*/ 11 w 13"/>
              <a:gd name="T21" fmla="*/ 3 h 3"/>
              <a:gd name="T22" fmla="*/ 12 w 13"/>
              <a:gd name="T23" fmla="*/ 3 h 3"/>
              <a:gd name="T24" fmla="*/ 11 w 13"/>
              <a:gd name="T25" fmla="*/ 3 h 3"/>
              <a:gd name="T26" fmla="*/ 8 w 13"/>
              <a:gd name="T27" fmla="*/ 3 h 3"/>
              <a:gd name="T28" fmla="*/ 6 w 13"/>
              <a:gd name="T29" fmla="*/ 3 h 3"/>
              <a:gd name="T30" fmla="*/ 6 w 13"/>
              <a:gd name="T31" fmla="*/ 3 h 3"/>
              <a:gd name="T32" fmla="*/ 6 w 13"/>
              <a:gd name="T33" fmla="*/ 3 h 3"/>
              <a:gd name="T34" fmla="*/ 4 w 13"/>
              <a:gd name="T35" fmla="*/ 3 h 3"/>
              <a:gd name="T36" fmla="*/ 3 w 13"/>
              <a:gd name="T37" fmla="*/ 3 h 3"/>
              <a:gd name="T38" fmla="*/ 3 w 13"/>
              <a:gd name="T39" fmla="*/ 3 h 3"/>
              <a:gd name="T40" fmla="*/ 2 w 13"/>
              <a:gd name="T41" fmla="*/ 3 h 3"/>
              <a:gd name="T42" fmla="*/ 0 w 13"/>
              <a:gd name="T43" fmla="*/ 2 h 3"/>
              <a:gd name="T44" fmla="*/ 4 w 13"/>
              <a:gd name="T45" fmla="*/ 2 h 3"/>
              <a:gd name="T46" fmla="*/ 4 w 13"/>
              <a:gd name="T47" fmla="*/ 1 h 3"/>
              <a:gd name="T48" fmla="*/ 3 w 13"/>
              <a:gd name="T49" fmla="*/ 1 h 3"/>
              <a:gd name="T50" fmla="*/ 3 w 13"/>
              <a:gd name="T51" fmla="*/ 1 h 3"/>
              <a:gd name="T52" fmla="*/ 3 w 13"/>
              <a:gd name="T53" fmla="*/ 1 h 3"/>
              <a:gd name="T54" fmla="*/ 4 w 13"/>
              <a:gd name="T55" fmla="*/ 1 h 3"/>
              <a:gd name="T56" fmla="*/ 5 w 13"/>
              <a:gd name="T57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3" h="3">
                <a:moveTo>
                  <a:pt x="5" y="0"/>
                </a:moveTo>
                <a:lnTo>
                  <a:pt x="5" y="0"/>
                </a:lnTo>
                <a:lnTo>
                  <a:pt x="6" y="1"/>
                </a:lnTo>
                <a:lnTo>
                  <a:pt x="8" y="1"/>
                </a:lnTo>
                <a:lnTo>
                  <a:pt x="8" y="1"/>
                </a:lnTo>
                <a:lnTo>
                  <a:pt x="11" y="1"/>
                </a:lnTo>
                <a:lnTo>
                  <a:pt x="11" y="1"/>
                </a:lnTo>
                <a:lnTo>
                  <a:pt x="13" y="2"/>
                </a:lnTo>
                <a:lnTo>
                  <a:pt x="13" y="2"/>
                </a:lnTo>
                <a:lnTo>
                  <a:pt x="10" y="2"/>
                </a:lnTo>
                <a:lnTo>
                  <a:pt x="11" y="3"/>
                </a:lnTo>
                <a:lnTo>
                  <a:pt x="12" y="3"/>
                </a:lnTo>
                <a:lnTo>
                  <a:pt x="11" y="3"/>
                </a:lnTo>
                <a:lnTo>
                  <a:pt x="8" y="3"/>
                </a:lnTo>
                <a:lnTo>
                  <a:pt x="6" y="3"/>
                </a:lnTo>
                <a:lnTo>
                  <a:pt x="6" y="3"/>
                </a:lnTo>
                <a:lnTo>
                  <a:pt x="6" y="3"/>
                </a:lnTo>
                <a:lnTo>
                  <a:pt x="4" y="3"/>
                </a:lnTo>
                <a:lnTo>
                  <a:pt x="3" y="3"/>
                </a:lnTo>
                <a:lnTo>
                  <a:pt x="3" y="3"/>
                </a:lnTo>
                <a:lnTo>
                  <a:pt x="2" y="3"/>
                </a:lnTo>
                <a:lnTo>
                  <a:pt x="0" y="2"/>
                </a:lnTo>
                <a:lnTo>
                  <a:pt x="4" y="2"/>
                </a:lnTo>
                <a:lnTo>
                  <a:pt x="4" y="1"/>
                </a:lnTo>
                <a:lnTo>
                  <a:pt x="3" y="1"/>
                </a:lnTo>
                <a:lnTo>
                  <a:pt x="3" y="1"/>
                </a:lnTo>
                <a:lnTo>
                  <a:pt x="3" y="1"/>
                </a:lnTo>
                <a:lnTo>
                  <a:pt x="4" y="1"/>
                </a:lnTo>
                <a:lnTo>
                  <a:pt x="5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90" name="Freeform 589"/>
          <p:cNvSpPr>
            <a:spLocks/>
          </p:cNvSpPr>
          <p:nvPr/>
        </p:nvSpPr>
        <p:spPr bwMode="auto">
          <a:xfrm>
            <a:off x="5229225" y="1387440"/>
            <a:ext cx="19050" cy="4763"/>
          </a:xfrm>
          <a:custGeom>
            <a:avLst/>
            <a:gdLst>
              <a:gd name="T0" fmla="*/ 8 w 12"/>
              <a:gd name="T1" fmla="*/ 0 h 3"/>
              <a:gd name="T2" fmla="*/ 7 w 12"/>
              <a:gd name="T3" fmla="*/ 0 h 3"/>
              <a:gd name="T4" fmla="*/ 7 w 12"/>
              <a:gd name="T5" fmla="*/ 0 h 3"/>
              <a:gd name="T6" fmla="*/ 8 w 12"/>
              <a:gd name="T7" fmla="*/ 0 h 3"/>
              <a:gd name="T8" fmla="*/ 7 w 12"/>
              <a:gd name="T9" fmla="*/ 0 h 3"/>
              <a:gd name="T10" fmla="*/ 4 w 12"/>
              <a:gd name="T11" fmla="*/ 0 h 3"/>
              <a:gd name="T12" fmla="*/ 0 w 12"/>
              <a:gd name="T13" fmla="*/ 0 h 3"/>
              <a:gd name="T14" fmla="*/ 0 w 12"/>
              <a:gd name="T15" fmla="*/ 0 h 3"/>
              <a:gd name="T16" fmla="*/ 0 w 12"/>
              <a:gd name="T17" fmla="*/ 1 h 3"/>
              <a:gd name="T18" fmla="*/ 1 w 12"/>
              <a:gd name="T19" fmla="*/ 1 h 3"/>
              <a:gd name="T20" fmla="*/ 1 w 12"/>
              <a:gd name="T21" fmla="*/ 1 h 3"/>
              <a:gd name="T22" fmla="*/ 1 w 12"/>
              <a:gd name="T23" fmla="*/ 1 h 3"/>
              <a:gd name="T24" fmla="*/ 1 w 12"/>
              <a:gd name="T25" fmla="*/ 2 h 3"/>
              <a:gd name="T26" fmla="*/ 1 w 12"/>
              <a:gd name="T27" fmla="*/ 2 h 3"/>
              <a:gd name="T28" fmla="*/ 1 w 12"/>
              <a:gd name="T29" fmla="*/ 3 h 3"/>
              <a:gd name="T30" fmla="*/ 3 w 12"/>
              <a:gd name="T31" fmla="*/ 2 h 3"/>
              <a:gd name="T32" fmla="*/ 4 w 12"/>
              <a:gd name="T33" fmla="*/ 3 h 3"/>
              <a:gd name="T34" fmla="*/ 6 w 12"/>
              <a:gd name="T35" fmla="*/ 2 h 3"/>
              <a:gd name="T36" fmla="*/ 7 w 12"/>
              <a:gd name="T37" fmla="*/ 3 h 3"/>
              <a:gd name="T38" fmla="*/ 8 w 12"/>
              <a:gd name="T39" fmla="*/ 3 h 3"/>
              <a:gd name="T40" fmla="*/ 9 w 12"/>
              <a:gd name="T41" fmla="*/ 3 h 3"/>
              <a:gd name="T42" fmla="*/ 10 w 12"/>
              <a:gd name="T43" fmla="*/ 3 h 3"/>
              <a:gd name="T44" fmla="*/ 12 w 12"/>
              <a:gd name="T45" fmla="*/ 3 h 3"/>
              <a:gd name="T46" fmla="*/ 12 w 12"/>
              <a:gd name="T47" fmla="*/ 3 h 3"/>
              <a:gd name="T48" fmla="*/ 11 w 12"/>
              <a:gd name="T49" fmla="*/ 2 h 3"/>
              <a:gd name="T50" fmla="*/ 11 w 12"/>
              <a:gd name="T51" fmla="*/ 2 h 3"/>
              <a:gd name="T52" fmla="*/ 10 w 12"/>
              <a:gd name="T53" fmla="*/ 2 h 3"/>
              <a:gd name="T54" fmla="*/ 11 w 12"/>
              <a:gd name="T55" fmla="*/ 2 h 3"/>
              <a:gd name="T56" fmla="*/ 11 w 12"/>
              <a:gd name="T57" fmla="*/ 1 h 3"/>
              <a:gd name="T58" fmla="*/ 11 w 12"/>
              <a:gd name="T59" fmla="*/ 1 h 3"/>
              <a:gd name="T60" fmla="*/ 12 w 12"/>
              <a:gd name="T61" fmla="*/ 1 h 3"/>
              <a:gd name="T62" fmla="*/ 12 w 12"/>
              <a:gd name="T63" fmla="*/ 1 h 3"/>
              <a:gd name="T64" fmla="*/ 12 w 12"/>
              <a:gd name="T65" fmla="*/ 0 h 3"/>
              <a:gd name="T66" fmla="*/ 12 w 12"/>
              <a:gd name="T67" fmla="*/ 0 h 3"/>
              <a:gd name="T68" fmla="*/ 11 w 12"/>
              <a:gd name="T69" fmla="*/ 0 h 3"/>
              <a:gd name="T70" fmla="*/ 9 w 12"/>
              <a:gd name="T71" fmla="*/ 0 h 3"/>
              <a:gd name="T72" fmla="*/ 8 w 12"/>
              <a:gd name="T73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2" h="3">
                <a:moveTo>
                  <a:pt x="8" y="0"/>
                </a:moveTo>
                <a:lnTo>
                  <a:pt x="7" y="0"/>
                </a:lnTo>
                <a:lnTo>
                  <a:pt x="7" y="0"/>
                </a:lnTo>
                <a:lnTo>
                  <a:pt x="8" y="0"/>
                </a:lnTo>
                <a:lnTo>
                  <a:pt x="7" y="0"/>
                </a:lnTo>
                <a:lnTo>
                  <a:pt x="4" y="0"/>
                </a:lnTo>
                <a:lnTo>
                  <a:pt x="0" y="0"/>
                </a:lnTo>
                <a:lnTo>
                  <a:pt x="0" y="0"/>
                </a:lnTo>
                <a:lnTo>
                  <a:pt x="0" y="1"/>
                </a:lnTo>
                <a:lnTo>
                  <a:pt x="1" y="1"/>
                </a:lnTo>
                <a:lnTo>
                  <a:pt x="1" y="1"/>
                </a:lnTo>
                <a:lnTo>
                  <a:pt x="1" y="1"/>
                </a:lnTo>
                <a:lnTo>
                  <a:pt x="1" y="2"/>
                </a:lnTo>
                <a:lnTo>
                  <a:pt x="1" y="2"/>
                </a:lnTo>
                <a:lnTo>
                  <a:pt x="1" y="3"/>
                </a:lnTo>
                <a:lnTo>
                  <a:pt x="3" y="2"/>
                </a:lnTo>
                <a:lnTo>
                  <a:pt x="4" y="3"/>
                </a:lnTo>
                <a:lnTo>
                  <a:pt x="6" y="2"/>
                </a:lnTo>
                <a:lnTo>
                  <a:pt x="7" y="3"/>
                </a:lnTo>
                <a:lnTo>
                  <a:pt x="8" y="3"/>
                </a:lnTo>
                <a:lnTo>
                  <a:pt x="9" y="3"/>
                </a:lnTo>
                <a:lnTo>
                  <a:pt x="10" y="3"/>
                </a:lnTo>
                <a:lnTo>
                  <a:pt x="12" y="3"/>
                </a:lnTo>
                <a:lnTo>
                  <a:pt x="12" y="3"/>
                </a:lnTo>
                <a:lnTo>
                  <a:pt x="11" y="2"/>
                </a:lnTo>
                <a:lnTo>
                  <a:pt x="11" y="2"/>
                </a:lnTo>
                <a:lnTo>
                  <a:pt x="10" y="2"/>
                </a:lnTo>
                <a:lnTo>
                  <a:pt x="11" y="2"/>
                </a:lnTo>
                <a:lnTo>
                  <a:pt x="11" y="1"/>
                </a:lnTo>
                <a:lnTo>
                  <a:pt x="11" y="1"/>
                </a:lnTo>
                <a:lnTo>
                  <a:pt x="12" y="1"/>
                </a:lnTo>
                <a:lnTo>
                  <a:pt x="12" y="1"/>
                </a:lnTo>
                <a:lnTo>
                  <a:pt x="12" y="0"/>
                </a:lnTo>
                <a:lnTo>
                  <a:pt x="12" y="0"/>
                </a:lnTo>
                <a:lnTo>
                  <a:pt x="11" y="0"/>
                </a:lnTo>
                <a:lnTo>
                  <a:pt x="9" y="0"/>
                </a:lnTo>
                <a:lnTo>
                  <a:pt x="8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91" name="Freeform 590"/>
          <p:cNvSpPr>
            <a:spLocks/>
          </p:cNvSpPr>
          <p:nvPr/>
        </p:nvSpPr>
        <p:spPr bwMode="auto">
          <a:xfrm>
            <a:off x="5229225" y="1387440"/>
            <a:ext cx="19050" cy="4763"/>
          </a:xfrm>
          <a:custGeom>
            <a:avLst/>
            <a:gdLst>
              <a:gd name="T0" fmla="*/ 8 w 12"/>
              <a:gd name="T1" fmla="*/ 0 h 3"/>
              <a:gd name="T2" fmla="*/ 7 w 12"/>
              <a:gd name="T3" fmla="*/ 0 h 3"/>
              <a:gd name="T4" fmla="*/ 7 w 12"/>
              <a:gd name="T5" fmla="*/ 0 h 3"/>
              <a:gd name="T6" fmla="*/ 8 w 12"/>
              <a:gd name="T7" fmla="*/ 0 h 3"/>
              <a:gd name="T8" fmla="*/ 7 w 12"/>
              <a:gd name="T9" fmla="*/ 0 h 3"/>
              <a:gd name="T10" fmla="*/ 4 w 12"/>
              <a:gd name="T11" fmla="*/ 0 h 3"/>
              <a:gd name="T12" fmla="*/ 0 w 12"/>
              <a:gd name="T13" fmla="*/ 0 h 3"/>
              <a:gd name="T14" fmla="*/ 0 w 12"/>
              <a:gd name="T15" fmla="*/ 0 h 3"/>
              <a:gd name="T16" fmla="*/ 0 w 12"/>
              <a:gd name="T17" fmla="*/ 1 h 3"/>
              <a:gd name="T18" fmla="*/ 1 w 12"/>
              <a:gd name="T19" fmla="*/ 1 h 3"/>
              <a:gd name="T20" fmla="*/ 1 w 12"/>
              <a:gd name="T21" fmla="*/ 1 h 3"/>
              <a:gd name="T22" fmla="*/ 1 w 12"/>
              <a:gd name="T23" fmla="*/ 1 h 3"/>
              <a:gd name="T24" fmla="*/ 1 w 12"/>
              <a:gd name="T25" fmla="*/ 2 h 3"/>
              <a:gd name="T26" fmla="*/ 1 w 12"/>
              <a:gd name="T27" fmla="*/ 2 h 3"/>
              <a:gd name="T28" fmla="*/ 1 w 12"/>
              <a:gd name="T29" fmla="*/ 3 h 3"/>
              <a:gd name="T30" fmla="*/ 3 w 12"/>
              <a:gd name="T31" fmla="*/ 2 h 3"/>
              <a:gd name="T32" fmla="*/ 4 w 12"/>
              <a:gd name="T33" fmla="*/ 3 h 3"/>
              <a:gd name="T34" fmla="*/ 6 w 12"/>
              <a:gd name="T35" fmla="*/ 2 h 3"/>
              <a:gd name="T36" fmla="*/ 7 w 12"/>
              <a:gd name="T37" fmla="*/ 3 h 3"/>
              <a:gd name="T38" fmla="*/ 8 w 12"/>
              <a:gd name="T39" fmla="*/ 3 h 3"/>
              <a:gd name="T40" fmla="*/ 9 w 12"/>
              <a:gd name="T41" fmla="*/ 3 h 3"/>
              <a:gd name="T42" fmla="*/ 10 w 12"/>
              <a:gd name="T43" fmla="*/ 3 h 3"/>
              <a:gd name="T44" fmla="*/ 12 w 12"/>
              <a:gd name="T45" fmla="*/ 3 h 3"/>
              <a:gd name="T46" fmla="*/ 12 w 12"/>
              <a:gd name="T47" fmla="*/ 3 h 3"/>
              <a:gd name="T48" fmla="*/ 11 w 12"/>
              <a:gd name="T49" fmla="*/ 2 h 3"/>
              <a:gd name="T50" fmla="*/ 11 w 12"/>
              <a:gd name="T51" fmla="*/ 2 h 3"/>
              <a:gd name="T52" fmla="*/ 10 w 12"/>
              <a:gd name="T53" fmla="*/ 2 h 3"/>
              <a:gd name="T54" fmla="*/ 11 w 12"/>
              <a:gd name="T55" fmla="*/ 2 h 3"/>
              <a:gd name="T56" fmla="*/ 11 w 12"/>
              <a:gd name="T57" fmla="*/ 1 h 3"/>
              <a:gd name="T58" fmla="*/ 11 w 12"/>
              <a:gd name="T59" fmla="*/ 1 h 3"/>
              <a:gd name="T60" fmla="*/ 12 w 12"/>
              <a:gd name="T61" fmla="*/ 1 h 3"/>
              <a:gd name="T62" fmla="*/ 12 w 12"/>
              <a:gd name="T63" fmla="*/ 1 h 3"/>
              <a:gd name="T64" fmla="*/ 12 w 12"/>
              <a:gd name="T65" fmla="*/ 0 h 3"/>
              <a:gd name="T66" fmla="*/ 12 w 12"/>
              <a:gd name="T67" fmla="*/ 0 h 3"/>
              <a:gd name="T68" fmla="*/ 11 w 12"/>
              <a:gd name="T69" fmla="*/ 0 h 3"/>
              <a:gd name="T70" fmla="*/ 9 w 12"/>
              <a:gd name="T71" fmla="*/ 0 h 3"/>
              <a:gd name="T72" fmla="*/ 8 w 12"/>
              <a:gd name="T73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2" h="3">
                <a:moveTo>
                  <a:pt x="8" y="0"/>
                </a:moveTo>
                <a:lnTo>
                  <a:pt x="7" y="0"/>
                </a:lnTo>
                <a:lnTo>
                  <a:pt x="7" y="0"/>
                </a:lnTo>
                <a:lnTo>
                  <a:pt x="8" y="0"/>
                </a:lnTo>
                <a:lnTo>
                  <a:pt x="7" y="0"/>
                </a:lnTo>
                <a:lnTo>
                  <a:pt x="4" y="0"/>
                </a:lnTo>
                <a:lnTo>
                  <a:pt x="0" y="0"/>
                </a:lnTo>
                <a:lnTo>
                  <a:pt x="0" y="0"/>
                </a:lnTo>
                <a:lnTo>
                  <a:pt x="0" y="1"/>
                </a:lnTo>
                <a:lnTo>
                  <a:pt x="1" y="1"/>
                </a:lnTo>
                <a:lnTo>
                  <a:pt x="1" y="1"/>
                </a:lnTo>
                <a:lnTo>
                  <a:pt x="1" y="1"/>
                </a:lnTo>
                <a:lnTo>
                  <a:pt x="1" y="2"/>
                </a:lnTo>
                <a:lnTo>
                  <a:pt x="1" y="2"/>
                </a:lnTo>
                <a:lnTo>
                  <a:pt x="1" y="3"/>
                </a:lnTo>
                <a:lnTo>
                  <a:pt x="3" y="2"/>
                </a:lnTo>
                <a:lnTo>
                  <a:pt x="4" y="3"/>
                </a:lnTo>
                <a:lnTo>
                  <a:pt x="6" y="2"/>
                </a:lnTo>
                <a:lnTo>
                  <a:pt x="7" y="3"/>
                </a:lnTo>
                <a:lnTo>
                  <a:pt x="8" y="3"/>
                </a:lnTo>
                <a:lnTo>
                  <a:pt x="9" y="3"/>
                </a:lnTo>
                <a:lnTo>
                  <a:pt x="10" y="3"/>
                </a:lnTo>
                <a:lnTo>
                  <a:pt x="12" y="3"/>
                </a:lnTo>
                <a:lnTo>
                  <a:pt x="12" y="3"/>
                </a:lnTo>
                <a:lnTo>
                  <a:pt x="11" y="2"/>
                </a:lnTo>
                <a:lnTo>
                  <a:pt x="11" y="2"/>
                </a:lnTo>
                <a:lnTo>
                  <a:pt x="10" y="2"/>
                </a:lnTo>
                <a:lnTo>
                  <a:pt x="11" y="2"/>
                </a:lnTo>
                <a:lnTo>
                  <a:pt x="11" y="1"/>
                </a:lnTo>
                <a:lnTo>
                  <a:pt x="11" y="1"/>
                </a:lnTo>
                <a:lnTo>
                  <a:pt x="12" y="1"/>
                </a:lnTo>
                <a:lnTo>
                  <a:pt x="12" y="1"/>
                </a:lnTo>
                <a:lnTo>
                  <a:pt x="12" y="0"/>
                </a:lnTo>
                <a:lnTo>
                  <a:pt x="12" y="0"/>
                </a:lnTo>
                <a:lnTo>
                  <a:pt x="11" y="0"/>
                </a:lnTo>
                <a:lnTo>
                  <a:pt x="9" y="0"/>
                </a:lnTo>
                <a:lnTo>
                  <a:pt x="8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92" name="Freeform 591"/>
          <p:cNvSpPr>
            <a:spLocks/>
          </p:cNvSpPr>
          <p:nvPr/>
        </p:nvSpPr>
        <p:spPr bwMode="auto">
          <a:xfrm>
            <a:off x="5245100" y="1384265"/>
            <a:ext cx="34925" cy="7938"/>
          </a:xfrm>
          <a:custGeom>
            <a:avLst/>
            <a:gdLst>
              <a:gd name="T0" fmla="*/ 10 w 22"/>
              <a:gd name="T1" fmla="*/ 0 h 5"/>
              <a:gd name="T2" fmla="*/ 9 w 22"/>
              <a:gd name="T3" fmla="*/ 0 h 5"/>
              <a:gd name="T4" fmla="*/ 8 w 22"/>
              <a:gd name="T5" fmla="*/ 0 h 5"/>
              <a:gd name="T6" fmla="*/ 8 w 22"/>
              <a:gd name="T7" fmla="*/ 1 h 5"/>
              <a:gd name="T8" fmla="*/ 3 w 22"/>
              <a:gd name="T9" fmla="*/ 1 h 5"/>
              <a:gd name="T10" fmla="*/ 3 w 22"/>
              <a:gd name="T11" fmla="*/ 0 h 5"/>
              <a:gd name="T12" fmla="*/ 0 w 22"/>
              <a:gd name="T13" fmla="*/ 0 h 5"/>
              <a:gd name="T14" fmla="*/ 1 w 22"/>
              <a:gd name="T15" fmla="*/ 1 h 5"/>
              <a:gd name="T16" fmla="*/ 2 w 22"/>
              <a:gd name="T17" fmla="*/ 1 h 5"/>
              <a:gd name="T18" fmla="*/ 2 w 22"/>
              <a:gd name="T19" fmla="*/ 1 h 5"/>
              <a:gd name="T20" fmla="*/ 3 w 22"/>
              <a:gd name="T21" fmla="*/ 2 h 5"/>
              <a:gd name="T22" fmla="*/ 4 w 22"/>
              <a:gd name="T23" fmla="*/ 2 h 5"/>
              <a:gd name="T24" fmla="*/ 4 w 22"/>
              <a:gd name="T25" fmla="*/ 2 h 5"/>
              <a:gd name="T26" fmla="*/ 3 w 22"/>
              <a:gd name="T27" fmla="*/ 2 h 5"/>
              <a:gd name="T28" fmla="*/ 4 w 22"/>
              <a:gd name="T29" fmla="*/ 3 h 5"/>
              <a:gd name="T30" fmla="*/ 3 w 22"/>
              <a:gd name="T31" fmla="*/ 3 h 5"/>
              <a:gd name="T32" fmla="*/ 4 w 22"/>
              <a:gd name="T33" fmla="*/ 3 h 5"/>
              <a:gd name="T34" fmla="*/ 4 w 22"/>
              <a:gd name="T35" fmla="*/ 3 h 5"/>
              <a:gd name="T36" fmla="*/ 3 w 22"/>
              <a:gd name="T37" fmla="*/ 3 h 5"/>
              <a:gd name="T38" fmla="*/ 3 w 22"/>
              <a:gd name="T39" fmla="*/ 4 h 5"/>
              <a:gd name="T40" fmla="*/ 7 w 22"/>
              <a:gd name="T41" fmla="*/ 4 h 5"/>
              <a:gd name="T42" fmla="*/ 7 w 22"/>
              <a:gd name="T43" fmla="*/ 5 h 5"/>
              <a:gd name="T44" fmla="*/ 10 w 22"/>
              <a:gd name="T45" fmla="*/ 5 h 5"/>
              <a:gd name="T46" fmla="*/ 11 w 22"/>
              <a:gd name="T47" fmla="*/ 5 h 5"/>
              <a:gd name="T48" fmla="*/ 10 w 22"/>
              <a:gd name="T49" fmla="*/ 4 h 5"/>
              <a:gd name="T50" fmla="*/ 10 w 22"/>
              <a:gd name="T51" fmla="*/ 4 h 5"/>
              <a:gd name="T52" fmla="*/ 8 w 22"/>
              <a:gd name="T53" fmla="*/ 3 h 5"/>
              <a:gd name="T54" fmla="*/ 11 w 22"/>
              <a:gd name="T55" fmla="*/ 3 h 5"/>
              <a:gd name="T56" fmla="*/ 14 w 22"/>
              <a:gd name="T57" fmla="*/ 2 h 5"/>
              <a:gd name="T58" fmla="*/ 20 w 22"/>
              <a:gd name="T59" fmla="*/ 2 h 5"/>
              <a:gd name="T60" fmla="*/ 21 w 22"/>
              <a:gd name="T61" fmla="*/ 2 h 5"/>
              <a:gd name="T62" fmla="*/ 21 w 22"/>
              <a:gd name="T63" fmla="*/ 2 h 5"/>
              <a:gd name="T64" fmla="*/ 22 w 22"/>
              <a:gd name="T65" fmla="*/ 2 h 5"/>
              <a:gd name="T66" fmla="*/ 21 w 22"/>
              <a:gd name="T67" fmla="*/ 2 h 5"/>
              <a:gd name="T68" fmla="*/ 13 w 22"/>
              <a:gd name="T69" fmla="*/ 1 h 5"/>
              <a:gd name="T70" fmla="*/ 13 w 22"/>
              <a:gd name="T71" fmla="*/ 1 h 5"/>
              <a:gd name="T72" fmla="*/ 10 w 22"/>
              <a:gd name="T73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2" h="5">
                <a:moveTo>
                  <a:pt x="10" y="0"/>
                </a:moveTo>
                <a:lnTo>
                  <a:pt x="9" y="0"/>
                </a:lnTo>
                <a:lnTo>
                  <a:pt x="8" y="0"/>
                </a:lnTo>
                <a:lnTo>
                  <a:pt x="8" y="1"/>
                </a:lnTo>
                <a:lnTo>
                  <a:pt x="3" y="1"/>
                </a:lnTo>
                <a:lnTo>
                  <a:pt x="3" y="0"/>
                </a:lnTo>
                <a:lnTo>
                  <a:pt x="0" y="0"/>
                </a:lnTo>
                <a:lnTo>
                  <a:pt x="1" y="1"/>
                </a:lnTo>
                <a:lnTo>
                  <a:pt x="2" y="1"/>
                </a:lnTo>
                <a:lnTo>
                  <a:pt x="2" y="1"/>
                </a:lnTo>
                <a:lnTo>
                  <a:pt x="3" y="2"/>
                </a:lnTo>
                <a:lnTo>
                  <a:pt x="4" y="2"/>
                </a:lnTo>
                <a:lnTo>
                  <a:pt x="4" y="2"/>
                </a:lnTo>
                <a:lnTo>
                  <a:pt x="3" y="2"/>
                </a:lnTo>
                <a:lnTo>
                  <a:pt x="4" y="3"/>
                </a:lnTo>
                <a:lnTo>
                  <a:pt x="3" y="3"/>
                </a:lnTo>
                <a:lnTo>
                  <a:pt x="4" y="3"/>
                </a:lnTo>
                <a:lnTo>
                  <a:pt x="4" y="3"/>
                </a:lnTo>
                <a:lnTo>
                  <a:pt x="3" y="3"/>
                </a:lnTo>
                <a:lnTo>
                  <a:pt x="3" y="4"/>
                </a:lnTo>
                <a:lnTo>
                  <a:pt x="7" y="4"/>
                </a:lnTo>
                <a:lnTo>
                  <a:pt x="7" y="5"/>
                </a:lnTo>
                <a:lnTo>
                  <a:pt x="10" y="5"/>
                </a:lnTo>
                <a:lnTo>
                  <a:pt x="11" y="5"/>
                </a:lnTo>
                <a:lnTo>
                  <a:pt x="10" y="4"/>
                </a:lnTo>
                <a:lnTo>
                  <a:pt x="10" y="4"/>
                </a:lnTo>
                <a:lnTo>
                  <a:pt x="8" y="3"/>
                </a:lnTo>
                <a:lnTo>
                  <a:pt x="11" y="3"/>
                </a:lnTo>
                <a:lnTo>
                  <a:pt x="14" y="2"/>
                </a:lnTo>
                <a:lnTo>
                  <a:pt x="20" y="2"/>
                </a:lnTo>
                <a:lnTo>
                  <a:pt x="21" y="2"/>
                </a:lnTo>
                <a:lnTo>
                  <a:pt x="21" y="2"/>
                </a:lnTo>
                <a:lnTo>
                  <a:pt x="22" y="2"/>
                </a:lnTo>
                <a:lnTo>
                  <a:pt x="21" y="2"/>
                </a:lnTo>
                <a:lnTo>
                  <a:pt x="13" y="1"/>
                </a:lnTo>
                <a:lnTo>
                  <a:pt x="13" y="1"/>
                </a:lnTo>
                <a:lnTo>
                  <a:pt x="1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93" name="Freeform 592"/>
          <p:cNvSpPr>
            <a:spLocks/>
          </p:cNvSpPr>
          <p:nvPr/>
        </p:nvSpPr>
        <p:spPr bwMode="auto">
          <a:xfrm>
            <a:off x="5245100" y="1384265"/>
            <a:ext cx="34925" cy="7938"/>
          </a:xfrm>
          <a:custGeom>
            <a:avLst/>
            <a:gdLst>
              <a:gd name="T0" fmla="*/ 10 w 22"/>
              <a:gd name="T1" fmla="*/ 0 h 5"/>
              <a:gd name="T2" fmla="*/ 9 w 22"/>
              <a:gd name="T3" fmla="*/ 0 h 5"/>
              <a:gd name="T4" fmla="*/ 8 w 22"/>
              <a:gd name="T5" fmla="*/ 0 h 5"/>
              <a:gd name="T6" fmla="*/ 8 w 22"/>
              <a:gd name="T7" fmla="*/ 1 h 5"/>
              <a:gd name="T8" fmla="*/ 3 w 22"/>
              <a:gd name="T9" fmla="*/ 1 h 5"/>
              <a:gd name="T10" fmla="*/ 3 w 22"/>
              <a:gd name="T11" fmla="*/ 0 h 5"/>
              <a:gd name="T12" fmla="*/ 0 w 22"/>
              <a:gd name="T13" fmla="*/ 0 h 5"/>
              <a:gd name="T14" fmla="*/ 1 w 22"/>
              <a:gd name="T15" fmla="*/ 1 h 5"/>
              <a:gd name="T16" fmla="*/ 2 w 22"/>
              <a:gd name="T17" fmla="*/ 1 h 5"/>
              <a:gd name="T18" fmla="*/ 2 w 22"/>
              <a:gd name="T19" fmla="*/ 1 h 5"/>
              <a:gd name="T20" fmla="*/ 3 w 22"/>
              <a:gd name="T21" fmla="*/ 2 h 5"/>
              <a:gd name="T22" fmla="*/ 4 w 22"/>
              <a:gd name="T23" fmla="*/ 2 h 5"/>
              <a:gd name="T24" fmla="*/ 4 w 22"/>
              <a:gd name="T25" fmla="*/ 2 h 5"/>
              <a:gd name="T26" fmla="*/ 3 w 22"/>
              <a:gd name="T27" fmla="*/ 2 h 5"/>
              <a:gd name="T28" fmla="*/ 4 w 22"/>
              <a:gd name="T29" fmla="*/ 3 h 5"/>
              <a:gd name="T30" fmla="*/ 3 w 22"/>
              <a:gd name="T31" fmla="*/ 3 h 5"/>
              <a:gd name="T32" fmla="*/ 4 w 22"/>
              <a:gd name="T33" fmla="*/ 3 h 5"/>
              <a:gd name="T34" fmla="*/ 4 w 22"/>
              <a:gd name="T35" fmla="*/ 3 h 5"/>
              <a:gd name="T36" fmla="*/ 3 w 22"/>
              <a:gd name="T37" fmla="*/ 3 h 5"/>
              <a:gd name="T38" fmla="*/ 3 w 22"/>
              <a:gd name="T39" fmla="*/ 4 h 5"/>
              <a:gd name="T40" fmla="*/ 7 w 22"/>
              <a:gd name="T41" fmla="*/ 4 h 5"/>
              <a:gd name="T42" fmla="*/ 7 w 22"/>
              <a:gd name="T43" fmla="*/ 5 h 5"/>
              <a:gd name="T44" fmla="*/ 10 w 22"/>
              <a:gd name="T45" fmla="*/ 5 h 5"/>
              <a:gd name="T46" fmla="*/ 11 w 22"/>
              <a:gd name="T47" fmla="*/ 5 h 5"/>
              <a:gd name="T48" fmla="*/ 10 w 22"/>
              <a:gd name="T49" fmla="*/ 4 h 5"/>
              <a:gd name="T50" fmla="*/ 10 w 22"/>
              <a:gd name="T51" fmla="*/ 4 h 5"/>
              <a:gd name="T52" fmla="*/ 8 w 22"/>
              <a:gd name="T53" fmla="*/ 3 h 5"/>
              <a:gd name="T54" fmla="*/ 11 w 22"/>
              <a:gd name="T55" fmla="*/ 3 h 5"/>
              <a:gd name="T56" fmla="*/ 14 w 22"/>
              <a:gd name="T57" fmla="*/ 2 h 5"/>
              <a:gd name="T58" fmla="*/ 20 w 22"/>
              <a:gd name="T59" fmla="*/ 2 h 5"/>
              <a:gd name="T60" fmla="*/ 21 w 22"/>
              <a:gd name="T61" fmla="*/ 2 h 5"/>
              <a:gd name="T62" fmla="*/ 21 w 22"/>
              <a:gd name="T63" fmla="*/ 2 h 5"/>
              <a:gd name="T64" fmla="*/ 22 w 22"/>
              <a:gd name="T65" fmla="*/ 2 h 5"/>
              <a:gd name="T66" fmla="*/ 21 w 22"/>
              <a:gd name="T67" fmla="*/ 2 h 5"/>
              <a:gd name="T68" fmla="*/ 13 w 22"/>
              <a:gd name="T69" fmla="*/ 1 h 5"/>
              <a:gd name="T70" fmla="*/ 13 w 22"/>
              <a:gd name="T71" fmla="*/ 1 h 5"/>
              <a:gd name="T72" fmla="*/ 10 w 22"/>
              <a:gd name="T73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2" h="5">
                <a:moveTo>
                  <a:pt x="10" y="0"/>
                </a:moveTo>
                <a:lnTo>
                  <a:pt x="9" y="0"/>
                </a:lnTo>
                <a:lnTo>
                  <a:pt x="8" y="0"/>
                </a:lnTo>
                <a:lnTo>
                  <a:pt x="8" y="1"/>
                </a:lnTo>
                <a:lnTo>
                  <a:pt x="3" y="1"/>
                </a:lnTo>
                <a:lnTo>
                  <a:pt x="3" y="0"/>
                </a:lnTo>
                <a:lnTo>
                  <a:pt x="0" y="0"/>
                </a:lnTo>
                <a:lnTo>
                  <a:pt x="1" y="1"/>
                </a:lnTo>
                <a:lnTo>
                  <a:pt x="2" y="1"/>
                </a:lnTo>
                <a:lnTo>
                  <a:pt x="2" y="1"/>
                </a:lnTo>
                <a:lnTo>
                  <a:pt x="3" y="2"/>
                </a:lnTo>
                <a:lnTo>
                  <a:pt x="4" y="2"/>
                </a:lnTo>
                <a:lnTo>
                  <a:pt x="4" y="2"/>
                </a:lnTo>
                <a:lnTo>
                  <a:pt x="3" y="2"/>
                </a:lnTo>
                <a:lnTo>
                  <a:pt x="4" y="3"/>
                </a:lnTo>
                <a:lnTo>
                  <a:pt x="3" y="3"/>
                </a:lnTo>
                <a:lnTo>
                  <a:pt x="4" y="3"/>
                </a:lnTo>
                <a:lnTo>
                  <a:pt x="4" y="3"/>
                </a:lnTo>
                <a:lnTo>
                  <a:pt x="3" y="3"/>
                </a:lnTo>
                <a:lnTo>
                  <a:pt x="3" y="4"/>
                </a:lnTo>
                <a:lnTo>
                  <a:pt x="7" y="4"/>
                </a:lnTo>
                <a:lnTo>
                  <a:pt x="7" y="5"/>
                </a:lnTo>
                <a:lnTo>
                  <a:pt x="10" y="5"/>
                </a:lnTo>
                <a:lnTo>
                  <a:pt x="11" y="5"/>
                </a:lnTo>
                <a:lnTo>
                  <a:pt x="10" y="4"/>
                </a:lnTo>
                <a:lnTo>
                  <a:pt x="10" y="4"/>
                </a:lnTo>
                <a:lnTo>
                  <a:pt x="8" y="3"/>
                </a:lnTo>
                <a:lnTo>
                  <a:pt x="11" y="3"/>
                </a:lnTo>
                <a:lnTo>
                  <a:pt x="14" y="2"/>
                </a:lnTo>
                <a:lnTo>
                  <a:pt x="20" y="2"/>
                </a:lnTo>
                <a:lnTo>
                  <a:pt x="21" y="2"/>
                </a:lnTo>
                <a:lnTo>
                  <a:pt x="21" y="2"/>
                </a:lnTo>
                <a:lnTo>
                  <a:pt x="22" y="2"/>
                </a:lnTo>
                <a:lnTo>
                  <a:pt x="21" y="2"/>
                </a:lnTo>
                <a:lnTo>
                  <a:pt x="13" y="1"/>
                </a:lnTo>
                <a:lnTo>
                  <a:pt x="13" y="1"/>
                </a:lnTo>
                <a:lnTo>
                  <a:pt x="1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94" name="Freeform 593"/>
          <p:cNvSpPr>
            <a:spLocks/>
          </p:cNvSpPr>
          <p:nvPr/>
        </p:nvSpPr>
        <p:spPr bwMode="auto">
          <a:xfrm>
            <a:off x="5276850" y="1392203"/>
            <a:ext cx="19050" cy="3175"/>
          </a:xfrm>
          <a:custGeom>
            <a:avLst/>
            <a:gdLst>
              <a:gd name="T0" fmla="*/ 6 w 12"/>
              <a:gd name="T1" fmla="*/ 0 h 2"/>
              <a:gd name="T2" fmla="*/ 4 w 12"/>
              <a:gd name="T3" fmla="*/ 0 h 2"/>
              <a:gd name="T4" fmla="*/ 0 w 12"/>
              <a:gd name="T5" fmla="*/ 0 h 2"/>
              <a:gd name="T6" fmla="*/ 0 w 12"/>
              <a:gd name="T7" fmla="*/ 1 h 2"/>
              <a:gd name="T8" fmla="*/ 2 w 12"/>
              <a:gd name="T9" fmla="*/ 1 h 2"/>
              <a:gd name="T10" fmla="*/ 2 w 12"/>
              <a:gd name="T11" fmla="*/ 1 h 2"/>
              <a:gd name="T12" fmla="*/ 3 w 12"/>
              <a:gd name="T13" fmla="*/ 2 h 2"/>
              <a:gd name="T14" fmla="*/ 3 w 12"/>
              <a:gd name="T15" fmla="*/ 1 h 2"/>
              <a:gd name="T16" fmla="*/ 6 w 12"/>
              <a:gd name="T17" fmla="*/ 1 h 2"/>
              <a:gd name="T18" fmla="*/ 6 w 12"/>
              <a:gd name="T19" fmla="*/ 2 h 2"/>
              <a:gd name="T20" fmla="*/ 6 w 12"/>
              <a:gd name="T21" fmla="*/ 2 h 2"/>
              <a:gd name="T22" fmla="*/ 7 w 12"/>
              <a:gd name="T23" fmla="*/ 2 h 2"/>
              <a:gd name="T24" fmla="*/ 10 w 12"/>
              <a:gd name="T25" fmla="*/ 2 h 2"/>
              <a:gd name="T26" fmla="*/ 9 w 12"/>
              <a:gd name="T27" fmla="*/ 1 h 2"/>
              <a:gd name="T28" fmla="*/ 11 w 12"/>
              <a:gd name="T29" fmla="*/ 1 h 2"/>
              <a:gd name="T30" fmla="*/ 12 w 12"/>
              <a:gd name="T31" fmla="*/ 1 h 2"/>
              <a:gd name="T32" fmla="*/ 11 w 12"/>
              <a:gd name="T33" fmla="*/ 1 h 2"/>
              <a:gd name="T34" fmla="*/ 10 w 12"/>
              <a:gd name="T35" fmla="*/ 0 h 2"/>
              <a:gd name="T36" fmla="*/ 6 w 12"/>
              <a:gd name="T37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2" h="2">
                <a:moveTo>
                  <a:pt x="6" y="0"/>
                </a:moveTo>
                <a:lnTo>
                  <a:pt x="4" y="0"/>
                </a:lnTo>
                <a:lnTo>
                  <a:pt x="0" y="0"/>
                </a:lnTo>
                <a:lnTo>
                  <a:pt x="0" y="1"/>
                </a:lnTo>
                <a:lnTo>
                  <a:pt x="2" y="1"/>
                </a:lnTo>
                <a:lnTo>
                  <a:pt x="2" y="1"/>
                </a:lnTo>
                <a:lnTo>
                  <a:pt x="3" y="2"/>
                </a:lnTo>
                <a:lnTo>
                  <a:pt x="3" y="1"/>
                </a:lnTo>
                <a:lnTo>
                  <a:pt x="6" y="1"/>
                </a:lnTo>
                <a:lnTo>
                  <a:pt x="6" y="2"/>
                </a:lnTo>
                <a:lnTo>
                  <a:pt x="6" y="2"/>
                </a:lnTo>
                <a:lnTo>
                  <a:pt x="7" y="2"/>
                </a:lnTo>
                <a:lnTo>
                  <a:pt x="10" y="2"/>
                </a:lnTo>
                <a:lnTo>
                  <a:pt x="9" y="1"/>
                </a:lnTo>
                <a:lnTo>
                  <a:pt x="11" y="1"/>
                </a:lnTo>
                <a:lnTo>
                  <a:pt x="12" y="1"/>
                </a:lnTo>
                <a:lnTo>
                  <a:pt x="11" y="1"/>
                </a:lnTo>
                <a:lnTo>
                  <a:pt x="10" y="0"/>
                </a:lnTo>
                <a:lnTo>
                  <a:pt x="6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95" name="Freeform 594"/>
          <p:cNvSpPr>
            <a:spLocks/>
          </p:cNvSpPr>
          <p:nvPr/>
        </p:nvSpPr>
        <p:spPr bwMode="auto">
          <a:xfrm>
            <a:off x="5276850" y="1392203"/>
            <a:ext cx="19050" cy="3175"/>
          </a:xfrm>
          <a:custGeom>
            <a:avLst/>
            <a:gdLst>
              <a:gd name="T0" fmla="*/ 6 w 12"/>
              <a:gd name="T1" fmla="*/ 0 h 2"/>
              <a:gd name="T2" fmla="*/ 4 w 12"/>
              <a:gd name="T3" fmla="*/ 0 h 2"/>
              <a:gd name="T4" fmla="*/ 0 w 12"/>
              <a:gd name="T5" fmla="*/ 0 h 2"/>
              <a:gd name="T6" fmla="*/ 0 w 12"/>
              <a:gd name="T7" fmla="*/ 1 h 2"/>
              <a:gd name="T8" fmla="*/ 2 w 12"/>
              <a:gd name="T9" fmla="*/ 1 h 2"/>
              <a:gd name="T10" fmla="*/ 2 w 12"/>
              <a:gd name="T11" fmla="*/ 1 h 2"/>
              <a:gd name="T12" fmla="*/ 3 w 12"/>
              <a:gd name="T13" fmla="*/ 2 h 2"/>
              <a:gd name="T14" fmla="*/ 3 w 12"/>
              <a:gd name="T15" fmla="*/ 1 h 2"/>
              <a:gd name="T16" fmla="*/ 6 w 12"/>
              <a:gd name="T17" fmla="*/ 1 h 2"/>
              <a:gd name="T18" fmla="*/ 6 w 12"/>
              <a:gd name="T19" fmla="*/ 2 h 2"/>
              <a:gd name="T20" fmla="*/ 6 w 12"/>
              <a:gd name="T21" fmla="*/ 2 h 2"/>
              <a:gd name="T22" fmla="*/ 7 w 12"/>
              <a:gd name="T23" fmla="*/ 2 h 2"/>
              <a:gd name="T24" fmla="*/ 10 w 12"/>
              <a:gd name="T25" fmla="*/ 2 h 2"/>
              <a:gd name="T26" fmla="*/ 9 w 12"/>
              <a:gd name="T27" fmla="*/ 1 h 2"/>
              <a:gd name="T28" fmla="*/ 11 w 12"/>
              <a:gd name="T29" fmla="*/ 1 h 2"/>
              <a:gd name="T30" fmla="*/ 12 w 12"/>
              <a:gd name="T31" fmla="*/ 1 h 2"/>
              <a:gd name="T32" fmla="*/ 11 w 12"/>
              <a:gd name="T33" fmla="*/ 1 h 2"/>
              <a:gd name="T34" fmla="*/ 10 w 12"/>
              <a:gd name="T35" fmla="*/ 0 h 2"/>
              <a:gd name="T36" fmla="*/ 6 w 12"/>
              <a:gd name="T37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2" h="2">
                <a:moveTo>
                  <a:pt x="6" y="0"/>
                </a:moveTo>
                <a:lnTo>
                  <a:pt x="4" y="0"/>
                </a:lnTo>
                <a:lnTo>
                  <a:pt x="0" y="0"/>
                </a:lnTo>
                <a:lnTo>
                  <a:pt x="0" y="1"/>
                </a:lnTo>
                <a:lnTo>
                  <a:pt x="2" y="1"/>
                </a:lnTo>
                <a:lnTo>
                  <a:pt x="2" y="1"/>
                </a:lnTo>
                <a:lnTo>
                  <a:pt x="3" y="2"/>
                </a:lnTo>
                <a:lnTo>
                  <a:pt x="3" y="1"/>
                </a:lnTo>
                <a:lnTo>
                  <a:pt x="6" y="1"/>
                </a:lnTo>
                <a:lnTo>
                  <a:pt x="6" y="2"/>
                </a:lnTo>
                <a:lnTo>
                  <a:pt x="6" y="2"/>
                </a:lnTo>
                <a:lnTo>
                  <a:pt x="7" y="2"/>
                </a:lnTo>
                <a:lnTo>
                  <a:pt x="10" y="2"/>
                </a:lnTo>
                <a:lnTo>
                  <a:pt x="9" y="1"/>
                </a:lnTo>
                <a:lnTo>
                  <a:pt x="11" y="1"/>
                </a:lnTo>
                <a:lnTo>
                  <a:pt x="12" y="1"/>
                </a:lnTo>
                <a:lnTo>
                  <a:pt x="11" y="1"/>
                </a:lnTo>
                <a:lnTo>
                  <a:pt x="10" y="0"/>
                </a:lnTo>
                <a:lnTo>
                  <a:pt x="6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96" name="Freeform 595"/>
          <p:cNvSpPr>
            <a:spLocks/>
          </p:cNvSpPr>
          <p:nvPr/>
        </p:nvSpPr>
        <p:spPr bwMode="auto">
          <a:xfrm>
            <a:off x="5278438" y="1376328"/>
            <a:ext cx="46037" cy="11113"/>
          </a:xfrm>
          <a:custGeom>
            <a:avLst/>
            <a:gdLst>
              <a:gd name="T0" fmla="*/ 10 w 29"/>
              <a:gd name="T1" fmla="*/ 1 h 7"/>
              <a:gd name="T2" fmla="*/ 3 w 29"/>
              <a:gd name="T3" fmla="*/ 0 h 7"/>
              <a:gd name="T4" fmla="*/ 1 w 29"/>
              <a:gd name="T5" fmla="*/ 1 h 7"/>
              <a:gd name="T6" fmla="*/ 2 w 29"/>
              <a:gd name="T7" fmla="*/ 1 h 7"/>
              <a:gd name="T8" fmla="*/ 1 w 29"/>
              <a:gd name="T9" fmla="*/ 1 h 7"/>
              <a:gd name="T10" fmla="*/ 2 w 29"/>
              <a:gd name="T11" fmla="*/ 2 h 7"/>
              <a:gd name="T12" fmla="*/ 0 w 29"/>
              <a:gd name="T13" fmla="*/ 2 h 7"/>
              <a:gd name="T14" fmla="*/ 0 w 29"/>
              <a:gd name="T15" fmla="*/ 5 h 7"/>
              <a:gd name="T16" fmla="*/ 1 w 29"/>
              <a:gd name="T17" fmla="*/ 5 h 7"/>
              <a:gd name="T18" fmla="*/ 2 w 29"/>
              <a:gd name="T19" fmla="*/ 6 h 7"/>
              <a:gd name="T20" fmla="*/ 5 w 29"/>
              <a:gd name="T21" fmla="*/ 6 h 7"/>
              <a:gd name="T22" fmla="*/ 5 w 29"/>
              <a:gd name="T23" fmla="*/ 6 h 7"/>
              <a:gd name="T24" fmla="*/ 6 w 29"/>
              <a:gd name="T25" fmla="*/ 6 h 7"/>
              <a:gd name="T26" fmla="*/ 9 w 29"/>
              <a:gd name="T27" fmla="*/ 6 h 7"/>
              <a:gd name="T28" fmla="*/ 11 w 29"/>
              <a:gd name="T29" fmla="*/ 6 h 7"/>
              <a:gd name="T30" fmla="*/ 11 w 29"/>
              <a:gd name="T31" fmla="*/ 6 h 7"/>
              <a:gd name="T32" fmla="*/ 12 w 29"/>
              <a:gd name="T33" fmla="*/ 6 h 7"/>
              <a:gd name="T34" fmla="*/ 16 w 29"/>
              <a:gd name="T35" fmla="*/ 6 h 7"/>
              <a:gd name="T36" fmla="*/ 18 w 29"/>
              <a:gd name="T37" fmla="*/ 6 h 7"/>
              <a:gd name="T38" fmla="*/ 20 w 29"/>
              <a:gd name="T39" fmla="*/ 7 h 7"/>
              <a:gd name="T40" fmla="*/ 24 w 29"/>
              <a:gd name="T41" fmla="*/ 6 h 7"/>
              <a:gd name="T42" fmla="*/ 23 w 29"/>
              <a:gd name="T43" fmla="*/ 6 h 7"/>
              <a:gd name="T44" fmla="*/ 22 w 29"/>
              <a:gd name="T45" fmla="*/ 5 h 7"/>
              <a:gd name="T46" fmla="*/ 22 w 29"/>
              <a:gd name="T47" fmla="*/ 5 h 7"/>
              <a:gd name="T48" fmla="*/ 20 w 29"/>
              <a:gd name="T49" fmla="*/ 3 h 7"/>
              <a:gd name="T50" fmla="*/ 19 w 29"/>
              <a:gd name="T51" fmla="*/ 3 h 7"/>
              <a:gd name="T52" fmla="*/ 18 w 29"/>
              <a:gd name="T53" fmla="*/ 3 h 7"/>
              <a:gd name="T54" fmla="*/ 18 w 29"/>
              <a:gd name="T55" fmla="*/ 2 h 7"/>
              <a:gd name="T56" fmla="*/ 20 w 29"/>
              <a:gd name="T57" fmla="*/ 2 h 7"/>
              <a:gd name="T58" fmla="*/ 22 w 29"/>
              <a:gd name="T59" fmla="*/ 2 h 7"/>
              <a:gd name="T60" fmla="*/ 26 w 29"/>
              <a:gd name="T61" fmla="*/ 2 h 7"/>
              <a:gd name="T62" fmla="*/ 29 w 29"/>
              <a:gd name="T63" fmla="*/ 2 h 7"/>
              <a:gd name="T64" fmla="*/ 28 w 29"/>
              <a:gd name="T65" fmla="*/ 1 h 7"/>
              <a:gd name="T66" fmla="*/ 27 w 29"/>
              <a:gd name="T67" fmla="*/ 1 h 7"/>
              <a:gd name="T68" fmla="*/ 26 w 29"/>
              <a:gd name="T69" fmla="*/ 1 h 7"/>
              <a:gd name="T70" fmla="*/ 24 w 29"/>
              <a:gd name="T71" fmla="*/ 0 h 7"/>
              <a:gd name="T72" fmla="*/ 24 w 29"/>
              <a:gd name="T73" fmla="*/ 0 h 7"/>
              <a:gd name="T74" fmla="*/ 23 w 29"/>
              <a:gd name="T75" fmla="*/ 0 h 7"/>
              <a:gd name="T76" fmla="*/ 21 w 29"/>
              <a:gd name="T77" fmla="*/ 0 h 7"/>
              <a:gd name="T78" fmla="*/ 20 w 29"/>
              <a:gd name="T79" fmla="*/ 0 h 7"/>
              <a:gd name="T80" fmla="*/ 18 w 29"/>
              <a:gd name="T81" fmla="*/ 1 h 7"/>
              <a:gd name="T82" fmla="*/ 15 w 29"/>
              <a:gd name="T83" fmla="*/ 0 h 7"/>
              <a:gd name="T84" fmla="*/ 12 w 29"/>
              <a:gd name="T85" fmla="*/ 1 h 7"/>
              <a:gd name="T86" fmla="*/ 10 w 29"/>
              <a:gd name="T87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" h="7">
                <a:moveTo>
                  <a:pt x="10" y="1"/>
                </a:moveTo>
                <a:lnTo>
                  <a:pt x="3" y="0"/>
                </a:lnTo>
                <a:lnTo>
                  <a:pt x="1" y="1"/>
                </a:lnTo>
                <a:lnTo>
                  <a:pt x="2" y="1"/>
                </a:lnTo>
                <a:lnTo>
                  <a:pt x="1" y="1"/>
                </a:lnTo>
                <a:lnTo>
                  <a:pt x="2" y="2"/>
                </a:lnTo>
                <a:lnTo>
                  <a:pt x="0" y="2"/>
                </a:lnTo>
                <a:lnTo>
                  <a:pt x="0" y="5"/>
                </a:lnTo>
                <a:lnTo>
                  <a:pt x="1" y="5"/>
                </a:lnTo>
                <a:lnTo>
                  <a:pt x="2" y="6"/>
                </a:lnTo>
                <a:lnTo>
                  <a:pt x="5" y="6"/>
                </a:lnTo>
                <a:lnTo>
                  <a:pt x="5" y="6"/>
                </a:lnTo>
                <a:lnTo>
                  <a:pt x="6" y="6"/>
                </a:lnTo>
                <a:lnTo>
                  <a:pt x="9" y="6"/>
                </a:lnTo>
                <a:lnTo>
                  <a:pt x="11" y="6"/>
                </a:lnTo>
                <a:lnTo>
                  <a:pt x="11" y="6"/>
                </a:lnTo>
                <a:lnTo>
                  <a:pt x="12" y="6"/>
                </a:lnTo>
                <a:lnTo>
                  <a:pt x="16" y="6"/>
                </a:lnTo>
                <a:lnTo>
                  <a:pt x="18" y="6"/>
                </a:lnTo>
                <a:lnTo>
                  <a:pt x="20" y="7"/>
                </a:lnTo>
                <a:lnTo>
                  <a:pt x="24" y="6"/>
                </a:lnTo>
                <a:lnTo>
                  <a:pt x="23" y="6"/>
                </a:lnTo>
                <a:lnTo>
                  <a:pt x="22" y="5"/>
                </a:lnTo>
                <a:lnTo>
                  <a:pt x="22" y="5"/>
                </a:lnTo>
                <a:lnTo>
                  <a:pt x="20" y="3"/>
                </a:lnTo>
                <a:lnTo>
                  <a:pt x="19" y="3"/>
                </a:lnTo>
                <a:lnTo>
                  <a:pt x="18" y="3"/>
                </a:lnTo>
                <a:lnTo>
                  <a:pt x="18" y="2"/>
                </a:lnTo>
                <a:lnTo>
                  <a:pt x="20" y="2"/>
                </a:lnTo>
                <a:lnTo>
                  <a:pt x="22" y="2"/>
                </a:lnTo>
                <a:lnTo>
                  <a:pt x="26" y="2"/>
                </a:lnTo>
                <a:lnTo>
                  <a:pt x="29" y="2"/>
                </a:lnTo>
                <a:lnTo>
                  <a:pt x="28" y="1"/>
                </a:lnTo>
                <a:lnTo>
                  <a:pt x="27" y="1"/>
                </a:lnTo>
                <a:lnTo>
                  <a:pt x="26" y="1"/>
                </a:lnTo>
                <a:lnTo>
                  <a:pt x="24" y="0"/>
                </a:lnTo>
                <a:lnTo>
                  <a:pt x="24" y="0"/>
                </a:lnTo>
                <a:lnTo>
                  <a:pt x="23" y="0"/>
                </a:lnTo>
                <a:lnTo>
                  <a:pt x="21" y="0"/>
                </a:lnTo>
                <a:lnTo>
                  <a:pt x="20" y="0"/>
                </a:lnTo>
                <a:lnTo>
                  <a:pt x="18" y="1"/>
                </a:lnTo>
                <a:lnTo>
                  <a:pt x="15" y="0"/>
                </a:lnTo>
                <a:lnTo>
                  <a:pt x="12" y="1"/>
                </a:lnTo>
                <a:lnTo>
                  <a:pt x="1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97" name="Freeform 596"/>
          <p:cNvSpPr>
            <a:spLocks/>
          </p:cNvSpPr>
          <p:nvPr/>
        </p:nvSpPr>
        <p:spPr bwMode="auto">
          <a:xfrm>
            <a:off x="5278438" y="1376328"/>
            <a:ext cx="46037" cy="11113"/>
          </a:xfrm>
          <a:custGeom>
            <a:avLst/>
            <a:gdLst>
              <a:gd name="T0" fmla="*/ 10 w 29"/>
              <a:gd name="T1" fmla="*/ 1 h 7"/>
              <a:gd name="T2" fmla="*/ 3 w 29"/>
              <a:gd name="T3" fmla="*/ 0 h 7"/>
              <a:gd name="T4" fmla="*/ 1 w 29"/>
              <a:gd name="T5" fmla="*/ 1 h 7"/>
              <a:gd name="T6" fmla="*/ 2 w 29"/>
              <a:gd name="T7" fmla="*/ 1 h 7"/>
              <a:gd name="T8" fmla="*/ 1 w 29"/>
              <a:gd name="T9" fmla="*/ 1 h 7"/>
              <a:gd name="T10" fmla="*/ 2 w 29"/>
              <a:gd name="T11" fmla="*/ 2 h 7"/>
              <a:gd name="T12" fmla="*/ 0 w 29"/>
              <a:gd name="T13" fmla="*/ 2 h 7"/>
              <a:gd name="T14" fmla="*/ 0 w 29"/>
              <a:gd name="T15" fmla="*/ 5 h 7"/>
              <a:gd name="T16" fmla="*/ 1 w 29"/>
              <a:gd name="T17" fmla="*/ 5 h 7"/>
              <a:gd name="T18" fmla="*/ 2 w 29"/>
              <a:gd name="T19" fmla="*/ 6 h 7"/>
              <a:gd name="T20" fmla="*/ 5 w 29"/>
              <a:gd name="T21" fmla="*/ 6 h 7"/>
              <a:gd name="T22" fmla="*/ 5 w 29"/>
              <a:gd name="T23" fmla="*/ 6 h 7"/>
              <a:gd name="T24" fmla="*/ 6 w 29"/>
              <a:gd name="T25" fmla="*/ 6 h 7"/>
              <a:gd name="T26" fmla="*/ 9 w 29"/>
              <a:gd name="T27" fmla="*/ 6 h 7"/>
              <a:gd name="T28" fmla="*/ 11 w 29"/>
              <a:gd name="T29" fmla="*/ 6 h 7"/>
              <a:gd name="T30" fmla="*/ 11 w 29"/>
              <a:gd name="T31" fmla="*/ 6 h 7"/>
              <a:gd name="T32" fmla="*/ 12 w 29"/>
              <a:gd name="T33" fmla="*/ 6 h 7"/>
              <a:gd name="T34" fmla="*/ 16 w 29"/>
              <a:gd name="T35" fmla="*/ 6 h 7"/>
              <a:gd name="T36" fmla="*/ 18 w 29"/>
              <a:gd name="T37" fmla="*/ 6 h 7"/>
              <a:gd name="T38" fmla="*/ 20 w 29"/>
              <a:gd name="T39" fmla="*/ 7 h 7"/>
              <a:gd name="T40" fmla="*/ 24 w 29"/>
              <a:gd name="T41" fmla="*/ 6 h 7"/>
              <a:gd name="T42" fmla="*/ 23 w 29"/>
              <a:gd name="T43" fmla="*/ 6 h 7"/>
              <a:gd name="T44" fmla="*/ 22 w 29"/>
              <a:gd name="T45" fmla="*/ 5 h 7"/>
              <a:gd name="T46" fmla="*/ 22 w 29"/>
              <a:gd name="T47" fmla="*/ 5 h 7"/>
              <a:gd name="T48" fmla="*/ 20 w 29"/>
              <a:gd name="T49" fmla="*/ 3 h 7"/>
              <a:gd name="T50" fmla="*/ 19 w 29"/>
              <a:gd name="T51" fmla="*/ 3 h 7"/>
              <a:gd name="T52" fmla="*/ 18 w 29"/>
              <a:gd name="T53" fmla="*/ 3 h 7"/>
              <a:gd name="T54" fmla="*/ 18 w 29"/>
              <a:gd name="T55" fmla="*/ 2 h 7"/>
              <a:gd name="T56" fmla="*/ 20 w 29"/>
              <a:gd name="T57" fmla="*/ 2 h 7"/>
              <a:gd name="T58" fmla="*/ 22 w 29"/>
              <a:gd name="T59" fmla="*/ 2 h 7"/>
              <a:gd name="T60" fmla="*/ 26 w 29"/>
              <a:gd name="T61" fmla="*/ 2 h 7"/>
              <a:gd name="T62" fmla="*/ 29 w 29"/>
              <a:gd name="T63" fmla="*/ 2 h 7"/>
              <a:gd name="T64" fmla="*/ 28 w 29"/>
              <a:gd name="T65" fmla="*/ 1 h 7"/>
              <a:gd name="T66" fmla="*/ 27 w 29"/>
              <a:gd name="T67" fmla="*/ 1 h 7"/>
              <a:gd name="T68" fmla="*/ 26 w 29"/>
              <a:gd name="T69" fmla="*/ 1 h 7"/>
              <a:gd name="T70" fmla="*/ 24 w 29"/>
              <a:gd name="T71" fmla="*/ 0 h 7"/>
              <a:gd name="T72" fmla="*/ 24 w 29"/>
              <a:gd name="T73" fmla="*/ 0 h 7"/>
              <a:gd name="T74" fmla="*/ 23 w 29"/>
              <a:gd name="T75" fmla="*/ 0 h 7"/>
              <a:gd name="T76" fmla="*/ 21 w 29"/>
              <a:gd name="T77" fmla="*/ 0 h 7"/>
              <a:gd name="T78" fmla="*/ 20 w 29"/>
              <a:gd name="T79" fmla="*/ 0 h 7"/>
              <a:gd name="T80" fmla="*/ 18 w 29"/>
              <a:gd name="T81" fmla="*/ 1 h 7"/>
              <a:gd name="T82" fmla="*/ 15 w 29"/>
              <a:gd name="T83" fmla="*/ 0 h 7"/>
              <a:gd name="T84" fmla="*/ 12 w 29"/>
              <a:gd name="T85" fmla="*/ 1 h 7"/>
              <a:gd name="T86" fmla="*/ 10 w 29"/>
              <a:gd name="T87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9" h="7">
                <a:moveTo>
                  <a:pt x="10" y="1"/>
                </a:moveTo>
                <a:lnTo>
                  <a:pt x="3" y="0"/>
                </a:lnTo>
                <a:lnTo>
                  <a:pt x="1" y="1"/>
                </a:lnTo>
                <a:lnTo>
                  <a:pt x="2" y="1"/>
                </a:lnTo>
                <a:lnTo>
                  <a:pt x="1" y="1"/>
                </a:lnTo>
                <a:lnTo>
                  <a:pt x="2" y="2"/>
                </a:lnTo>
                <a:lnTo>
                  <a:pt x="0" y="2"/>
                </a:lnTo>
                <a:lnTo>
                  <a:pt x="0" y="5"/>
                </a:lnTo>
                <a:lnTo>
                  <a:pt x="1" y="5"/>
                </a:lnTo>
                <a:lnTo>
                  <a:pt x="2" y="6"/>
                </a:lnTo>
                <a:lnTo>
                  <a:pt x="5" y="6"/>
                </a:lnTo>
                <a:lnTo>
                  <a:pt x="5" y="6"/>
                </a:lnTo>
                <a:lnTo>
                  <a:pt x="6" y="6"/>
                </a:lnTo>
                <a:lnTo>
                  <a:pt x="9" y="6"/>
                </a:lnTo>
                <a:lnTo>
                  <a:pt x="11" y="6"/>
                </a:lnTo>
                <a:lnTo>
                  <a:pt x="11" y="6"/>
                </a:lnTo>
                <a:lnTo>
                  <a:pt x="12" y="6"/>
                </a:lnTo>
                <a:lnTo>
                  <a:pt x="16" y="6"/>
                </a:lnTo>
                <a:lnTo>
                  <a:pt x="18" y="6"/>
                </a:lnTo>
                <a:lnTo>
                  <a:pt x="20" y="7"/>
                </a:lnTo>
                <a:lnTo>
                  <a:pt x="24" y="6"/>
                </a:lnTo>
                <a:lnTo>
                  <a:pt x="23" y="6"/>
                </a:lnTo>
                <a:lnTo>
                  <a:pt x="22" y="5"/>
                </a:lnTo>
                <a:lnTo>
                  <a:pt x="22" y="5"/>
                </a:lnTo>
                <a:lnTo>
                  <a:pt x="20" y="3"/>
                </a:lnTo>
                <a:lnTo>
                  <a:pt x="19" y="3"/>
                </a:lnTo>
                <a:lnTo>
                  <a:pt x="18" y="3"/>
                </a:lnTo>
                <a:lnTo>
                  <a:pt x="18" y="2"/>
                </a:lnTo>
                <a:lnTo>
                  <a:pt x="20" y="2"/>
                </a:lnTo>
                <a:lnTo>
                  <a:pt x="22" y="2"/>
                </a:lnTo>
                <a:lnTo>
                  <a:pt x="26" y="2"/>
                </a:lnTo>
                <a:lnTo>
                  <a:pt x="29" y="2"/>
                </a:lnTo>
                <a:lnTo>
                  <a:pt x="28" y="1"/>
                </a:lnTo>
                <a:lnTo>
                  <a:pt x="27" y="1"/>
                </a:lnTo>
                <a:lnTo>
                  <a:pt x="26" y="1"/>
                </a:lnTo>
                <a:lnTo>
                  <a:pt x="24" y="0"/>
                </a:lnTo>
                <a:lnTo>
                  <a:pt x="24" y="0"/>
                </a:lnTo>
                <a:lnTo>
                  <a:pt x="23" y="0"/>
                </a:lnTo>
                <a:lnTo>
                  <a:pt x="21" y="0"/>
                </a:lnTo>
                <a:lnTo>
                  <a:pt x="20" y="0"/>
                </a:lnTo>
                <a:lnTo>
                  <a:pt x="18" y="1"/>
                </a:lnTo>
                <a:lnTo>
                  <a:pt x="15" y="0"/>
                </a:lnTo>
                <a:lnTo>
                  <a:pt x="12" y="1"/>
                </a:lnTo>
                <a:lnTo>
                  <a:pt x="1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98" name="Freeform 597"/>
          <p:cNvSpPr>
            <a:spLocks/>
          </p:cNvSpPr>
          <p:nvPr/>
        </p:nvSpPr>
        <p:spPr bwMode="auto">
          <a:xfrm>
            <a:off x="5286375" y="1373153"/>
            <a:ext cx="20637" cy="3175"/>
          </a:xfrm>
          <a:custGeom>
            <a:avLst/>
            <a:gdLst>
              <a:gd name="T0" fmla="*/ 6 w 13"/>
              <a:gd name="T1" fmla="*/ 0 h 2"/>
              <a:gd name="T2" fmla="*/ 7 w 13"/>
              <a:gd name="T3" fmla="*/ 0 h 2"/>
              <a:gd name="T4" fmla="*/ 3 w 13"/>
              <a:gd name="T5" fmla="*/ 0 h 2"/>
              <a:gd name="T6" fmla="*/ 0 w 13"/>
              <a:gd name="T7" fmla="*/ 1 h 2"/>
              <a:gd name="T8" fmla="*/ 0 w 13"/>
              <a:gd name="T9" fmla="*/ 1 h 2"/>
              <a:gd name="T10" fmla="*/ 2 w 13"/>
              <a:gd name="T11" fmla="*/ 2 h 2"/>
              <a:gd name="T12" fmla="*/ 7 w 13"/>
              <a:gd name="T13" fmla="*/ 2 h 2"/>
              <a:gd name="T14" fmla="*/ 8 w 13"/>
              <a:gd name="T15" fmla="*/ 2 h 2"/>
              <a:gd name="T16" fmla="*/ 12 w 13"/>
              <a:gd name="T17" fmla="*/ 2 h 2"/>
              <a:gd name="T18" fmla="*/ 13 w 13"/>
              <a:gd name="T19" fmla="*/ 1 h 2"/>
              <a:gd name="T20" fmla="*/ 13 w 13"/>
              <a:gd name="T21" fmla="*/ 1 h 2"/>
              <a:gd name="T22" fmla="*/ 11 w 13"/>
              <a:gd name="T23" fmla="*/ 1 h 2"/>
              <a:gd name="T24" fmla="*/ 11 w 13"/>
              <a:gd name="T25" fmla="*/ 0 h 2"/>
              <a:gd name="T26" fmla="*/ 12 w 13"/>
              <a:gd name="T27" fmla="*/ 0 h 2"/>
              <a:gd name="T28" fmla="*/ 12 w 13"/>
              <a:gd name="T29" fmla="*/ 0 h 2"/>
              <a:gd name="T30" fmla="*/ 6 w 13"/>
              <a:gd name="T3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3" h="2">
                <a:moveTo>
                  <a:pt x="6" y="0"/>
                </a:moveTo>
                <a:lnTo>
                  <a:pt x="7" y="0"/>
                </a:lnTo>
                <a:lnTo>
                  <a:pt x="3" y="0"/>
                </a:lnTo>
                <a:lnTo>
                  <a:pt x="0" y="1"/>
                </a:lnTo>
                <a:lnTo>
                  <a:pt x="0" y="1"/>
                </a:lnTo>
                <a:lnTo>
                  <a:pt x="2" y="2"/>
                </a:lnTo>
                <a:lnTo>
                  <a:pt x="7" y="2"/>
                </a:lnTo>
                <a:lnTo>
                  <a:pt x="8" y="2"/>
                </a:lnTo>
                <a:lnTo>
                  <a:pt x="12" y="2"/>
                </a:lnTo>
                <a:lnTo>
                  <a:pt x="13" y="1"/>
                </a:lnTo>
                <a:lnTo>
                  <a:pt x="13" y="1"/>
                </a:lnTo>
                <a:lnTo>
                  <a:pt x="11" y="1"/>
                </a:lnTo>
                <a:lnTo>
                  <a:pt x="11" y="0"/>
                </a:lnTo>
                <a:lnTo>
                  <a:pt x="12" y="0"/>
                </a:lnTo>
                <a:lnTo>
                  <a:pt x="12" y="0"/>
                </a:lnTo>
                <a:lnTo>
                  <a:pt x="6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599" name="Freeform 598"/>
          <p:cNvSpPr>
            <a:spLocks/>
          </p:cNvSpPr>
          <p:nvPr/>
        </p:nvSpPr>
        <p:spPr bwMode="auto">
          <a:xfrm>
            <a:off x="5286375" y="1373153"/>
            <a:ext cx="20637" cy="3175"/>
          </a:xfrm>
          <a:custGeom>
            <a:avLst/>
            <a:gdLst>
              <a:gd name="T0" fmla="*/ 6 w 13"/>
              <a:gd name="T1" fmla="*/ 0 h 2"/>
              <a:gd name="T2" fmla="*/ 7 w 13"/>
              <a:gd name="T3" fmla="*/ 0 h 2"/>
              <a:gd name="T4" fmla="*/ 3 w 13"/>
              <a:gd name="T5" fmla="*/ 0 h 2"/>
              <a:gd name="T6" fmla="*/ 0 w 13"/>
              <a:gd name="T7" fmla="*/ 1 h 2"/>
              <a:gd name="T8" fmla="*/ 0 w 13"/>
              <a:gd name="T9" fmla="*/ 1 h 2"/>
              <a:gd name="T10" fmla="*/ 2 w 13"/>
              <a:gd name="T11" fmla="*/ 2 h 2"/>
              <a:gd name="T12" fmla="*/ 7 w 13"/>
              <a:gd name="T13" fmla="*/ 2 h 2"/>
              <a:gd name="T14" fmla="*/ 8 w 13"/>
              <a:gd name="T15" fmla="*/ 2 h 2"/>
              <a:gd name="T16" fmla="*/ 12 w 13"/>
              <a:gd name="T17" fmla="*/ 2 h 2"/>
              <a:gd name="T18" fmla="*/ 13 w 13"/>
              <a:gd name="T19" fmla="*/ 1 h 2"/>
              <a:gd name="T20" fmla="*/ 13 w 13"/>
              <a:gd name="T21" fmla="*/ 1 h 2"/>
              <a:gd name="T22" fmla="*/ 11 w 13"/>
              <a:gd name="T23" fmla="*/ 1 h 2"/>
              <a:gd name="T24" fmla="*/ 11 w 13"/>
              <a:gd name="T25" fmla="*/ 0 h 2"/>
              <a:gd name="T26" fmla="*/ 12 w 13"/>
              <a:gd name="T27" fmla="*/ 0 h 2"/>
              <a:gd name="T28" fmla="*/ 12 w 13"/>
              <a:gd name="T29" fmla="*/ 0 h 2"/>
              <a:gd name="T30" fmla="*/ 6 w 13"/>
              <a:gd name="T3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3" h="2">
                <a:moveTo>
                  <a:pt x="6" y="0"/>
                </a:moveTo>
                <a:lnTo>
                  <a:pt x="7" y="0"/>
                </a:lnTo>
                <a:lnTo>
                  <a:pt x="3" y="0"/>
                </a:lnTo>
                <a:lnTo>
                  <a:pt x="0" y="1"/>
                </a:lnTo>
                <a:lnTo>
                  <a:pt x="0" y="1"/>
                </a:lnTo>
                <a:lnTo>
                  <a:pt x="2" y="2"/>
                </a:lnTo>
                <a:lnTo>
                  <a:pt x="7" y="2"/>
                </a:lnTo>
                <a:lnTo>
                  <a:pt x="8" y="2"/>
                </a:lnTo>
                <a:lnTo>
                  <a:pt x="12" y="2"/>
                </a:lnTo>
                <a:lnTo>
                  <a:pt x="13" y="1"/>
                </a:lnTo>
                <a:lnTo>
                  <a:pt x="13" y="1"/>
                </a:lnTo>
                <a:lnTo>
                  <a:pt x="11" y="1"/>
                </a:lnTo>
                <a:lnTo>
                  <a:pt x="11" y="0"/>
                </a:lnTo>
                <a:lnTo>
                  <a:pt x="12" y="0"/>
                </a:lnTo>
                <a:lnTo>
                  <a:pt x="12" y="0"/>
                </a:lnTo>
                <a:lnTo>
                  <a:pt x="6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00" name="Freeform 599"/>
          <p:cNvSpPr>
            <a:spLocks/>
          </p:cNvSpPr>
          <p:nvPr/>
        </p:nvSpPr>
        <p:spPr bwMode="auto">
          <a:xfrm>
            <a:off x="5322888" y="1368390"/>
            <a:ext cx="47625" cy="9525"/>
          </a:xfrm>
          <a:custGeom>
            <a:avLst/>
            <a:gdLst>
              <a:gd name="T0" fmla="*/ 6 w 30"/>
              <a:gd name="T1" fmla="*/ 1 h 6"/>
              <a:gd name="T2" fmla="*/ 3 w 30"/>
              <a:gd name="T3" fmla="*/ 1 h 6"/>
              <a:gd name="T4" fmla="*/ 0 w 30"/>
              <a:gd name="T5" fmla="*/ 2 h 6"/>
              <a:gd name="T6" fmla="*/ 0 w 30"/>
              <a:gd name="T7" fmla="*/ 3 h 6"/>
              <a:gd name="T8" fmla="*/ 1 w 30"/>
              <a:gd name="T9" fmla="*/ 2 h 6"/>
              <a:gd name="T10" fmla="*/ 1 w 30"/>
              <a:gd name="T11" fmla="*/ 3 h 6"/>
              <a:gd name="T12" fmla="*/ 2 w 30"/>
              <a:gd name="T13" fmla="*/ 3 h 6"/>
              <a:gd name="T14" fmla="*/ 2 w 30"/>
              <a:gd name="T15" fmla="*/ 4 h 6"/>
              <a:gd name="T16" fmla="*/ 1 w 30"/>
              <a:gd name="T17" fmla="*/ 4 h 6"/>
              <a:gd name="T18" fmla="*/ 1 w 30"/>
              <a:gd name="T19" fmla="*/ 4 h 6"/>
              <a:gd name="T20" fmla="*/ 0 w 30"/>
              <a:gd name="T21" fmla="*/ 4 h 6"/>
              <a:gd name="T22" fmla="*/ 6 w 30"/>
              <a:gd name="T23" fmla="*/ 5 h 6"/>
              <a:gd name="T24" fmla="*/ 8 w 30"/>
              <a:gd name="T25" fmla="*/ 6 h 6"/>
              <a:gd name="T26" fmla="*/ 10 w 30"/>
              <a:gd name="T27" fmla="*/ 6 h 6"/>
              <a:gd name="T28" fmla="*/ 11 w 30"/>
              <a:gd name="T29" fmla="*/ 6 h 6"/>
              <a:gd name="T30" fmla="*/ 12 w 30"/>
              <a:gd name="T31" fmla="*/ 6 h 6"/>
              <a:gd name="T32" fmla="*/ 12 w 30"/>
              <a:gd name="T33" fmla="*/ 5 h 6"/>
              <a:gd name="T34" fmla="*/ 13 w 30"/>
              <a:gd name="T35" fmla="*/ 5 h 6"/>
              <a:gd name="T36" fmla="*/ 13 w 30"/>
              <a:gd name="T37" fmla="*/ 5 h 6"/>
              <a:gd name="T38" fmla="*/ 13 w 30"/>
              <a:gd name="T39" fmla="*/ 5 h 6"/>
              <a:gd name="T40" fmla="*/ 14 w 30"/>
              <a:gd name="T41" fmla="*/ 5 h 6"/>
              <a:gd name="T42" fmla="*/ 14 w 30"/>
              <a:gd name="T43" fmla="*/ 5 h 6"/>
              <a:gd name="T44" fmla="*/ 16 w 30"/>
              <a:gd name="T45" fmla="*/ 4 h 6"/>
              <a:gd name="T46" fmla="*/ 23 w 30"/>
              <a:gd name="T47" fmla="*/ 4 h 6"/>
              <a:gd name="T48" fmla="*/ 24 w 30"/>
              <a:gd name="T49" fmla="*/ 4 h 6"/>
              <a:gd name="T50" fmla="*/ 25 w 30"/>
              <a:gd name="T51" fmla="*/ 4 h 6"/>
              <a:gd name="T52" fmla="*/ 30 w 30"/>
              <a:gd name="T53" fmla="*/ 4 h 6"/>
              <a:gd name="T54" fmla="*/ 25 w 30"/>
              <a:gd name="T55" fmla="*/ 3 h 6"/>
              <a:gd name="T56" fmla="*/ 24 w 30"/>
              <a:gd name="T57" fmla="*/ 3 h 6"/>
              <a:gd name="T58" fmla="*/ 22 w 30"/>
              <a:gd name="T59" fmla="*/ 2 h 6"/>
              <a:gd name="T60" fmla="*/ 22 w 30"/>
              <a:gd name="T61" fmla="*/ 2 h 6"/>
              <a:gd name="T62" fmla="*/ 20 w 30"/>
              <a:gd name="T63" fmla="*/ 2 h 6"/>
              <a:gd name="T64" fmla="*/ 21 w 30"/>
              <a:gd name="T65" fmla="*/ 1 h 6"/>
              <a:gd name="T66" fmla="*/ 20 w 30"/>
              <a:gd name="T67" fmla="*/ 0 h 6"/>
              <a:gd name="T68" fmla="*/ 20 w 30"/>
              <a:gd name="T69" fmla="*/ 0 h 6"/>
              <a:gd name="T70" fmla="*/ 19 w 30"/>
              <a:gd name="T71" fmla="*/ 0 h 6"/>
              <a:gd name="T72" fmla="*/ 18 w 30"/>
              <a:gd name="T73" fmla="*/ 0 h 6"/>
              <a:gd name="T74" fmla="*/ 16 w 30"/>
              <a:gd name="T75" fmla="*/ 0 h 6"/>
              <a:gd name="T76" fmla="*/ 12 w 30"/>
              <a:gd name="T77" fmla="*/ 0 h 6"/>
              <a:gd name="T78" fmla="*/ 8 w 30"/>
              <a:gd name="T79" fmla="*/ 1 h 6"/>
              <a:gd name="T80" fmla="*/ 6 w 30"/>
              <a:gd name="T81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0" h="6">
                <a:moveTo>
                  <a:pt x="6" y="1"/>
                </a:moveTo>
                <a:lnTo>
                  <a:pt x="3" y="1"/>
                </a:lnTo>
                <a:lnTo>
                  <a:pt x="0" y="2"/>
                </a:lnTo>
                <a:lnTo>
                  <a:pt x="0" y="3"/>
                </a:lnTo>
                <a:lnTo>
                  <a:pt x="1" y="2"/>
                </a:lnTo>
                <a:lnTo>
                  <a:pt x="1" y="3"/>
                </a:lnTo>
                <a:lnTo>
                  <a:pt x="2" y="3"/>
                </a:lnTo>
                <a:lnTo>
                  <a:pt x="2" y="4"/>
                </a:lnTo>
                <a:lnTo>
                  <a:pt x="1" y="4"/>
                </a:lnTo>
                <a:lnTo>
                  <a:pt x="1" y="4"/>
                </a:lnTo>
                <a:lnTo>
                  <a:pt x="0" y="4"/>
                </a:lnTo>
                <a:lnTo>
                  <a:pt x="6" y="5"/>
                </a:lnTo>
                <a:lnTo>
                  <a:pt x="8" y="6"/>
                </a:lnTo>
                <a:lnTo>
                  <a:pt x="10" y="6"/>
                </a:lnTo>
                <a:lnTo>
                  <a:pt x="11" y="6"/>
                </a:lnTo>
                <a:lnTo>
                  <a:pt x="12" y="6"/>
                </a:lnTo>
                <a:lnTo>
                  <a:pt x="12" y="5"/>
                </a:lnTo>
                <a:lnTo>
                  <a:pt x="13" y="5"/>
                </a:lnTo>
                <a:lnTo>
                  <a:pt x="13" y="5"/>
                </a:lnTo>
                <a:lnTo>
                  <a:pt x="13" y="5"/>
                </a:lnTo>
                <a:lnTo>
                  <a:pt x="14" y="5"/>
                </a:lnTo>
                <a:lnTo>
                  <a:pt x="14" y="5"/>
                </a:lnTo>
                <a:lnTo>
                  <a:pt x="16" y="4"/>
                </a:lnTo>
                <a:lnTo>
                  <a:pt x="23" y="4"/>
                </a:lnTo>
                <a:lnTo>
                  <a:pt x="24" y="4"/>
                </a:lnTo>
                <a:lnTo>
                  <a:pt x="25" y="4"/>
                </a:lnTo>
                <a:lnTo>
                  <a:pt x="30" y="4"/>
                </a:lnTo>
                <a:lnTo>
                  <a:pt x="25" y="3"/>
                </a:lnTo>
                <a:lnTo>
                  <a:pt x="24" y="3"/>
                </a:lnTo>
                <a:lnTo>
                  <a:pt x="22" y="2"/>
                </a:lnTo>
                <a:lnTo>
                  <a:pt x="22" y="2"/>
                </a:lnTo>
                <a:lnTo>
                  <a:pt x="20" y="2"/>
                </a:lnTo>
                <a:lnTo>
                  <a:pt x="21" y="1"/>
                </a:lnTo>
                <a:lnTo>
                  <a:pt x="20" y="0"/>
                </a:lnTo>
                <a:lnTo>
                  <a:pt x="20" y="0"/>
                </a:lnTo>
                <a:lnTo>
                  <a:pt x="19" y="0"/>
                </a:lnTo>
                <a:lnTo>
                  <a:pt x="18" y="0"/>
                </a:lnTo>
                <a:lnTo>
                  <a:pt x="16" y="0"/>
                </a:lnTo>
                <a:lnTo>
                  <a:pt x="12" y="0"/>
                </a:lnTo>
                <a:lnTo>
                  <a:pt x="8" y="1"/>
                </a:lnTo>
                <a:lnTo>
                  <a:pt x="6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01" name="Freeform 600"/>
          <p:cNvSpPr>
            <a:spLocks/>
          </p:cNvSpPr>
          <p:nvPr/>
        </p:nvSpPr>
        <p:spPr bwMode="auto">
          <a:xfrm>
            <a:off x="5322888" y="1368390"/>
            <a:ext cx="47625" cy="9525"/>
          </a:xfrm>
          <a:custGeom>
            <a:avLst/>
            <a:gdLst>
              <a:gd name="T0" fmla="*/ 6 w 30"/>
              <a:gd name="T1" fmla="*/ 1 h 6"/>
              <a:gd name="T2" fmla="*/ 3 w 30"/>
              <a:gd name="T3" fmla="*/ 1 h 6"/>
              <a:gd name="T4" fmla="*/ 0 w 30"/>
              <a:gd name="T5" fmla="*/ 2 h 6"/>
              <a:gd name="T6" fmla="*/ 0 w 30"/>
              <a:gd name="T7" fmla="*/ 3 h 6"/>
              <a:gd name="T8" fmla="*/ 1 w 30"/>
              <a:gd name="T9" fmla="*/ 2 h 6"/>
              <a:gd name="T10" fmla="*/ 1 w 30"/>
              <a:gd name="T11" fmla="*/ 3 h 6"/>
              <a:gd name="T12" fmla="*/ 2 w 30"/>
              <a:gd name="T13" fmla="*/ 3 h 6"/>
              <a:gd name="T14" fmla="*/ 2 w 30"/>
              <a:gd name="T15" fmla="*/ 4 h 6"/>
              <a:gd name="T16" fmla="*/ 1 w 30"/>
              <a:gd name="T17" fmla="*/ 4 h 6"/>
              <a:gd name="T18" fmla="*/ 1 w 30"/>
              <a:gd name="T19" fmla="*/ 4 h 6"/>
              <a:gd name="T20" fmla="*/ 0 w 30"/>
              <a:gd name="T21" fmla="*/ 4 h 6"/>
              <a:gd name="T22" fmla="*/ 6 w 30"/>
              <a:gd name="T23" fmla="*/ 5 h 6"/>
              <a:gd name="T24" fmla="*/ 8 w 30"/>
              <a:gd name="T25" fmla="*/ 6 h 6"/>
              <a:gd name="T26" fmla="*/ 10 w 30"/>
              <a:gd name="T27" fmla="*/ 6 h 6"/>
              <a:gd name="T28" fmla="*/ 11 w 30"/>
              <a:gd name="T29" fmla="*/ 6 h 6"/>
              <a:gd name="T30" fmla="*/ 12 w 30"/>
              <a:gd name="T31" fmla="*/ 6 h 6"/>
              <a:gd name="T32" fmla="*/ 12 w 30"/>
              <a:gd name="T33" fmla="*/ 5 h 6"/>
              <a:gd name="T34" fmla="*/ 13 w 30"/>
              <a:gd name="T35" fmla="*/ 5 h 6"/>
              <a:gd name="T36" fmla="*/ 13 w 30"/>
              <a:gd name="T37" fmla="*/ 5 h 6"/>
              <a:gd name="T38" fmla="*/ 13 w 30"/>
              <a:gd name="T39" fmla="*/ 5 h 6"/>
              <a:gd name="T40" fmla="*/ 14 w 30"/>
              <a:gd name="T41" fmla="*/ 5 h 6"/>
              <a:gd name="T42" fmla="*/ 14 w 30"/>
              <a:gd name="T43" fmla="*/ 5 h 6"/>
              <a:gd name="T44" fmla="*/ 16 w 30"/>
              <a:gd name="T45" fmla="*/ 4 h 6"/>
              <a:gd name="T46" fmla="*/ 23 w 30"/>
              <a:gd name="T47" fmla="*/ 4 h 6"/>
              <a:gd name="T48" fmla="*/ 24 w 30"/>
              <a:gd name="T49" fmla="*/ 4 h 6"/>
              <a:gd name="T50" fmla="*/ 25 w 30"/>
              <a:gd name="T51" fmla="*/ 4 h 6"/>
              <a:gd name="T52" fmla="*/ 30 w 30"/>
              <a:gd name="T53" fmla="*/ 4 h 6"/>
              <a:gd name="T54" fmla="*/ 25 w 30"/>
              <a:gd name="T55" fmla="*/ 3 h 6"/>
              <a:gd name="T56" fmla="*/ 24 w 30"/>
              <a:gd name="T57" fmla="*/ 3 h 6"/>
              <a:gd name="T58" fmla="*/ 22 w 30"/>
              <a:gd name="T59" fmla="*/ 2 h 6"/>
              <a:gd name="T60" fmla="*/ 22 w 30"/>
              <a:gd name="T61" fmla="*/ 2 h 6"/>
              <a:gd name="T62" fmla="*/ 20 w 30"/>
              <a:gd name="T63" fmla="*/ 2 h 6"/>
              <a:gd name="T64" fmla="*/ 21 w 30"/>
              <a:gd name="T65" fmla="*/ 1 h 6"/>
              <a:gd name="T66" fmla="*/ 20 w 30"/>
              <a:gd name="T67" fmla="*/ 0 h 6"/>
              <a:gd name="T68" fmla="*/ 20 w 30"/>
              <a:gd name="T69" fmla="*/ 0 h 6"/>
              <a:gd name="T70" fmla="*/ 19 w 30"/>
              <a:gd name="T71" fmla="*/ 0 h 6"/>
              <a:gd name="T72" fmla="*/ 18 w 30"/>
              <a:gd name="T73" fmla="*/ 0 h 6"/>
              <a:gd name="T74" fmla="*/ 16 w 30"/>
              <a:gd name="T75" fmla="*/ 0 h 6"/>
              <a:gd name="T76" fmla="*/ 12 w 30"/>
              <a:gd name="T77" fmla="*/ 0 h 6"/>
              <a:gd name="T78" fmla="*/ 8 w 30"/>
              <a:gd name="T79" fmla="*/ 1 h 6"/>
              <a:gd name="T80" fmla="*/ 6 w 30"/>
              <a:gd name="T81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0" h="6">
                <a:moveTo>
                  <a:pt x="6" y="1"/>
                </a:moveTo>
                <a:lnTo>
                  <a:pt x="3" y="1"/>
                </a:lnTo>
                <a:lnTo>
                  <a:pt x="0" y="2"/>
                </a:lnTo>
                <a:lnTo>
                  <a:pt x="0" y="3"/>
                </a:lnTo>
                <a:lnTo>
                  <a:pt x="1" y="2"/>
                </a:lnTo>
                <a:lnTo>
                  <a:pt x="1" y="3"/>
                </a:lnTo>
                <a:lnTo>
                  <a:pt x="2" y="3"/>
                </a:lnTo>
                <a:lnTo>
                  <a:pt x="2" y="4"/>
                </a:lnTo>
                <a:lnTo>
                  <a:pt x="1" y="4"/>
                </a:lnTo>
                <a:lnTo>
                  <a:pt x="1" y="4"/>
                </a:lnTo>
                <a:lnTo>
                  <a:pt x="0" y="4"/>
                </a:lnTo>
                <a:lnTo>
                  <a:pt x="6" y="5"/>
                </a:lnTo>
                <a:lnTo>
                  <a:pt x="8" y="6"/>
                </a:lnTo>
                <a:lnTo>
                  <a:pt x="10" y="6"/>
                </a:lnTo>
                <a:lnTo>
                  <a:pt x="11" y="6"/>
                </a:lnTo>
                <a:lnTo>
                  <a:pt x="12" y="6"/>
                </a:lnTo>
                <a:lnTo>
                  <a:pt x="12" y="5"/>
                </a:lnTo>
                <a:lnTo>
                  <a:pt x="13" y="5"/>
                </a:lnTo>
                <a:lnTo>
                  <a:pt x="13" y="5"/>
                </a:lnTo>
                <a:lnTo>
                  <a:pt x="13" y="5"/>
                </a:lnTo>
                <a:lnTo>
                  <a:pt x="14" y="5"/>
                </a:lnTo>
                <a:lnTo>
                  <a:pt x="14" y="5"/>
                </a:lnTo>
                <a:lnTo>
                  <a:pt x="16" y="4"/>
                </a:lnTo>
                <a:lnTo>
                  <a:pt x="23" y="4"/>
                </a:lnTo>
                <a:lnTo>
                  <a:pt x="24" y="4"/>
                </a:lnTo>
                <a:lnTo>
                  <a:pt x="25" y="4"/>
                </a:lnTo>
                <a:lnTo>
                  <a:pt x="30" y="4"/>
                </a:lnTo>
                <a:lnTo>
                  <a:pt x="25" y="3"/>
                </a:lnTo>
                <a:lnTo>
                  <a:pt x="24" y="3"/>
                </a:lnTo>
                <a:lnTo>
                  <a:pt x="22" y="2"/>
                </a:lnTo>
                <a:lnTo>
                  <a:pt x="22" y="2"/>
                </a:lnTo>
                <a:lnTo>
                  <a:pt x="20" y="2"/>
                </a:lnTo>
                <a:lnTo>
                  <a:pt x="21" y="1"/>
                </a:lnTo>
                <a:lnTo>
                  <a:pt x="20" y="0"/>
                </a:lnTo>
                <a:lnTo>
                  <a:pt x="20" y="0"/>
                </a:lnTo>
                <a:lnTo>
                  <a:pt x="19" y="0"/>
                </a:lnTo>
                <a:lnTo>
                  <a:pt x="18" y="0"/>
                </a:lnTo>
                <a:lnTo>
                  <a:pt x="16" y="0"/>
                </a:lnTo>
                <a:lnTo>
                  <a:pt x="12" y="0"/>
                </a:lnTo>
                <a:lnTo>
                  <a:pt x="8" y="1"/>
                </a:lnTo>
                <a:lnTo>
                  <a:pt x="6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02" name="Freeform 601"/>
          <p:cNvSpPr>
            <a:spLocks/>
          </p:cNvSpPr>
          <p:nvPr/>
        </p:nvSpPr>
        <p:spPr bwMode="auto">
          <a:xfrm>
            <a:off x="5308600" y="1360453"/>
            <a:ext cx="20637" cy="1588"/>
          </a:xfrm>
          <a:custGeom>
            <a:avLst/>
            <a:gdLst>
              <a:gd name="T0" fmla="*/ 11 w 13"/>
              <a:gd name="T1" fmla="*/ 0 h 1"/>
              <a:gd name="T2" fmla="*/ 12 w 13"/>
              <a:gd name="T3" fmla="*/ 0 h 1"/>
              <a:gd name="T4" fmla="*/ 13 w 13"/>
              <a:gd name="T5" fmla="*/ 1 h 1"/>
              <a:gd name="T6" fmla="*/ 13 w 13"/>
              <a:gd name="T7" fmla="*/ 1 h 1"/>
              <a:gd name="T8" fmla="*/ 12 w 13"/>
              <a:gd name="T9" fmla="*/ 1 h 1"/>
              <a:gd name="T10" fmla="*/ 10 w 13"/>
              <a:gd name="T11" fmla="*/ 1 h 1"/>
              <a:gd name="T12" fmla="*/ 7 w 13"/>
              <a:gd name="T13" fmla="*/ 1 h 1"/>
              <a:gd name="T14" fmla="*/ 4 w 13"/>
              <a:gd name="T15" fmla="*/ 1 h 1"/>
              <a:gd name="T16" fmla="*/ 1 w 13"/>
              <a:gd name="T17" fmla="*/ 1 h 1"/>
              <a:gd name="T18" fmla="*/ 1 w 13"/>
              <a:gd name="T19" fmla="*/ 1 h 1"/>
              <a:gd name="T20" fmla="*/ 1 w 13"/>
              <a:gd name="T21" fmla="*/ 0 h 1"/>
              <a:gd name="T22" fmla="*/ 0 w 13"/>
              <a:gd name="T23" fmla="*/ 0 h 1"/>
              <a:gd name="T24" fmla="*/ 0 w 13"/>
              <a:gd name="T25" fmla="*/ 0 h 1"/>
              <a:gd name="T26" fmla="*/ 1 w 13"/>
              <a:gd name="T27" fmla="*/ 0 h 1"/>
              <a:gd name="T28" fmla="*/ 3 w 13"/>
              <a:gd name="T29" fmla="*/ 0 h 1"/>
              <a:gd name="T30" fmla="*/ 3 w 13"/>
              <a:gd name="T31" fmla="*/ 0 h 1"/>
              <a:gd name="T32" fmla="*/ 5 w 13"/>
              <a:gd name="T33" fmla="*/ 0 h 1"/>
              <a:gd name="T34" fmla="*/ 7 w 13"/>
              <a:gd name="T35" fmla="*/ 0 h 1"/>
              <a:gd name="T36" fmla="*/ 8 w 13"/>
              <a:gd name="T37" fmla="*/ 0 h 1"/>
              <a:gd name="T38" fmla="*/ 9 w 13"/>
              <a:gd name="T39" fmla="*/ 0 h 1"/>
              <a:gd name="T40" fmla="*/ 11 w 13"/>
              <a:gd name="T4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3" h="1">
                <a:moveTo>
                  <a:pt x="11" y="0"/>
                </a:moveTo>
                <a:lnTo>
                  <a:pt x="12" y="0"/>
                </a:lnTo>
                <a:lnTo>
                  <a:pt x="13" y="1"/>
                </a:lnTo>
                <a:lnTo>
                  <a:pt x="13" y="1"/>
                </a:lnTo>
                <a:lnTo>
                  <a:pt x="12" y="1"/>
                </a:lnTo>
                <a:lnTo>
                  <a:pt x="10" y="1"/>
                </a:lnTo>
                <a:lnTo>
                  <a:pt x="7" y="1"/>
                </a:lnTo>
                <a:lnTo>
                  <a:pt x="4" y="1"/>
                </a:lnTo>
                <a:lnTo>
                  <a:pt x="1" y="1"/>
                </a:lnTo>
                <a:lnTo>
                  <a:pt x="1" y="1"/>
                </a:lnTo>
                <a:lnTo>
                  <a:pt x="1" y="0"/>
                </a:lnTo>
                <a:lnTo>
                  <a:pt x="0" y="0"/>
                </a:lnTo>
                <a:lnTo>
                  <a:pt x="0" y="0"/>
                </a:lnTo>
                <a:lnTo>
                  <a:pt x="1" y="0"/>
                </a:lnTo>
                <a:lnTo>
                  <a:pt x="3" y="0"/>
                </a:lnTo>
                <a:lnTo>
                  <a:pt x="3" y="0"/>
                </a:lnTo>
                <a:lnTo>
                  <a:pt x="5" y="0"/>
                </a:lnTo>
                <a:lnTo>
                  <a:pt x="7" y="0"/>
                </a:lnTo>
                <a:lnTo>
                  <a:pt x="8" y="0"/>
                </a:lnTo>
                <a:lnTo>
                  <a:pt x="9" y="0"/>
                </a:lnTo>
                <a:lnTo>
                  <a:pt x="1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03" name="Freeform 602"/>
          <p:cNvSpPr>
            <a:spLocks/>
          </p:cNvSpPr>
          <p:nvPr/>
        </p:nvSpPr>
        <p:spPr bwMode="auto">
          <a:xfrm>
            <a:off x="5308600" y="1360453"/>
            <a:ext cx="20637" cy="1588"/>
          </a:xfrm>
          <a:custGeom>
            <a:avLst/>
            <a:gdLst>
              <a:gd name="T0" fmla="*/ 11 w 13"/>
              <a:gd name="T1" fmla="*/ 0 h 1"/>
              <a:gd name="T2" fmla="*/ 12 w 13"/>
              <a:gd name="T3" fmla="*/ 0 h 1"/>
              <a:gd name="T4" fmla="*/ 13 w 13"/>
              <a:gd name="T5" fmla="*/ 1 h 1"/>
              <a:gd name="T6" fmla="*/ 13 w 13"/>
              <a:gd name="T7" fmla="*/ 1 h 1"/>
              <a:gd name="T8" fmla="*/ 12 w 13"/>
              <a:gd name="T9" fmla="*/ 1 h 1"/>
              <a:gd name="T10" fmla="*/ 10 w 13"/>
              <a:gd name="T11" fmla="*/ 1 h 1"/>
              <a:gd name="T12" fmla="*/ 7 w 13"/>
              <a:gd name="T13" fmla="*/ 1 h 1"/>
              <a:gd name="T14" fmla="*/ 4 w 13"/>
              <a:gd name="T15" fmla="*/ 1 h 1"/>
              <a:gd name="T16" fmla="*/ 1 w 13"/>
              <a:gd name="T17" fmla="*/ 1 h 1"/>
              <a:gd name="T18" fmla="*/ 1 w 13"/>
              <a:gd name="T19" fmla="*/ 1 h 1"/>
              <a:gd name="T20" fmla="*/ 1 w 13"/>
              <a:gd name="T21" fmla="*/ 0 h 1"/>
              <a:gd name="T22" fmla="*/ 0 w 13"/>
              <a:gd name="T23" fmla="*/ 0 h 1"/>
              <a:gd name="T24" fmla="*/ 0 w 13"/>
              <a:gd name="T25" fmla="*/ 0 h 1"/>
              <a:gd name="T26" fmla="*/ 1 w 13"/>
              <a:gd name="T27" fmla="*/ 0 h 1"/>
              <a:gd name="T28" fmla="*/ 3 w 13"/>
              <a:gd name="T29" fmla="*/ 0 h 1"/>
              <a:gd name="T30" fmla="*/ 3 w 13"/>
              <a:gd name="T31" fmla="*/ 0 h 1"/>
              <a:gd name="T32" fmla="*/ 5 w 13"/>
              <a:gd name="T33" fmla="*/ 0 h 1"/>
              <a:gd name="T34" fmla="*/ 7 w 13"/>
              <a:gd name="T35" fmla="*/ 0 h 1"/>
              <a:gd name="T36" fmla="*/ 8 w 13"/>
              <a:gd name="T37" fmla="*/ 0 h 1"/>
              <a:gd name="T38" fmla="*/ 9 w 13"/>
              <a:gd name="T39" fmla="*/ 0 h 1"/>
              <a:gd name="T40" fmla="*/ 11 w 13"/>
              <a:gd name="T41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3" h="1">
                <a:moveTo>
                  <a:pt x="11" y="0"/>
                </a:moveTo>
                <a:lnTo>
                  <a:pt x="12" y="0"/>
                </a:lnTo>
                <a:lnTo>
                  <a:pt x="13" y="1"/>
                </a:lnTo>
                <a:lnTo>
                  <a:pt x="13" y="1"/>
                </a:lnTo>
                <a:lnTo>
                  <a:pt x="12" y="1"/>
                </a:lnTo>
                <a:lnTo>
                  <a:pt x="10" y="1"/>
                </a:lnTo>
                <a:lnTo>
                  <a:pt x="7" y="1"/>
                </a:lnTo>
                <a:lnTo>
                  <a:pt x="4" y="1"/>
                </a:lnTo>
                <a:lnTo>
                  <a:pt x="1" y="1"/>
                </a:lnTo>
                <a:lnTo>
                  <a:pt x="1" y="1"/>
                </a:lnTo>
                <a:lnTo>
                  <a:pt x="1" y="0"/>
                </a:lnTo>
                <a:lnTo>
                  <a:pt x="0" y="0"/>
                </a:lnTo>
                <a:lnTo>
                  <a:pt x="0" y="0"/>
                </a:lnTo>
                <a:lnTo>
                  <a:pt x="1" y="0"/>
                </a:lnTo>
                <a:lnTo>
                  <a:pt x="3" y="0"/>
                </a:lnTo>
                <a:lnTo>
                  <a:pt x="3" y="0"/>
                </a:lnTo>
                <a:lnTo>
                  <a:pt x="5" y="0"/>
                </a:lnTo>
                <a:lnTo>
                  <a:pt x="7" y="0"/>
                </a:lnTo>
                <a:lnTo>
                  <a:pt x="8" y="0"/>
                </a:lnTo>
                <a:lnTo>
                  <a:pt x="9" y="0"/>
                </a:lnTo>
                <a:lnTo>
                  <a:pt x="1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04" name="Freeform 603"/>
          <p:cNvSpPr>
            <a:spLocks/>
          </p:cNvSpPr>
          <p:nvPr/>
        </p:nvSpPr>
        <p:spPr bwMode="auto">
          <a:xfrm>
            <a:off x="5240338" y="1358865"/>
            <a:ext cx="15875" cy="3175"/>
          </a:xfrm>
          <a:custGeom>
            <a:avLst/>
            <a:gdLst>
              <a:gd name="T0" fmla="*/ 4 w 10"/>
              <a:gd name="T1" fmla="*/ 0 h 2"/>
              <a:gd name="T2" fmla="*/ 2 w 10"/>
              <a:gd name="T3" fmla="*/ 0 h 2"/>
              <a:gd name="T4" fmla="*/ 0 w 10"/>
              <a:gd name="T5" fmla="*/ 1 h 2"/>
              <a:gd name="T6" fmla="*/ 0 w 10"/>
              <a:gd name="T7" fmla="*/ 1 h 2"/>
              <a:gd name="T8" fmla="*/ 0 w 10"/>
              <a:gd name="T9" fmla="*/ 1 h 2"/>
              <a:gd name="T10" fmla="*/ 0 w 10"/>
              <a:gd name="T11" fmla="*/ 1 h 2"/>
              <a:gd name="T12" fmla="*/ 0 w 10"/>
              <a:gd name="T13" fmla="*/ 2 h 2"/>
              <a:gd name="T14" fmla="*/ 3 w 10"/>
              <a:gd name="T15" fmla="*/ 2 h 2"/>
              <a:gd name="T16" fmla="*/ 9 w 10"/>
              <a:gd name="T17" fmla="*/ 2 h 2"/>
              <a:gd name="T18" fmla="*/ 10 w 10"/>
              <a:gd name="T19" fmla="*/ 1 h 2"/>
              <a:gd name="T20" fmla="*/ 10 w 10"/>
              <a:gd name="T21" fmla="*/ 1 h 2"/>
              <a:gd name="T22" fmla="*/ 10 w 10"/>
              <a:gd name="T23" fmla="*/ 1 h 2"/>
              <a:gd name="T24" fmla="*/ 9 w 10"/>
              <a:gd name="T25" fmla="*/ 0 h 2"/>
              <a:gd name="T26" fmla="*/ 4 w 10"/>
              <a:gd name="T27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0" h="2">
                <a:moveTo>
                  <a:pt x="4" y="0"/>
                </a:moveTo>
                <a:lnTo>
                  <a:pt x="2" y="0"/>
                </a:lnTo>
                <a:lnTo>
                  <a:pt x="0" y="1"/>
                </a:lnTo>
                <a:lnTo>
                  <a:pt x="0" y="1"/>
                </a:lnTo>
                <a:lnTo>
                  <a:pt x="0" y="1"/>
                </a:lnTo>
                <a:lnTo>
                  <a:pt x="0" y="1"/>
                </a:lnTo>
                <a:lnTo>
                  <a:pt x="0" y="2"/>
                </a:lnTo>
                <a:lnTo>
                  <a:pt x="3" y="2"/>
                </a:lnTo>
                <a:lnTo>
                  <a:pt x="9" y="2"/>
                </a:lnTo>
                <a:lnTo>
                  <a:pt x="10" y="1"/>
                </a:lnTo>
                <a:lnTo>
                  <a:pt x="10" y="1"/>
                </a:lnTo>
                <a:lnTo>
                  <a:pt x="10" y="1"/>
                </a:lnTo>
                <a:lnTo>
                  <a:pt x="9" y="0"/>
                </a:lnTo>
                <a:lnTo>
                  <a:pt x="4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05" name="Freeform 604"/>
          <p:cNvSpPr>
            <a:spLocks/>
          </p:cNvSpPr>
          <p:nvPr/>
        </p:nvSpPr>
        <p:spPr bwMode="auto">
          <a:xfrm>
            <a:off x="5240338" y="1358865"/>
            <a:ext cx="15875" cy="3175"/>
          </a:xfrm>
          <a:custGeom>
            <a:avLst/>
            <a:gdLst>
              <a:gd name="T0" fmla="*/ 4 w 10"/>
              <a:gd name="T1" fmla="*/ 0 h 2"/>
              <a:gd name="T2" fmla="*/ 2 w 10"/>
              <a:gd name="T3" fmla="*/ 0 h 2"/>
              <a:gd name="T4" fmla="*/ 0 w 10"/>
              <a:gd name="T5" fmla="*/ 1 h 2"/>
              <a:gd name="T6" fmla="*/ 0 w 10"/>
              <a:gd name="T7" fmla="*/ 1 h 2"/>
              <a:gd name="T8" fmla="*/ 0 w 10"/>
              <a:gd name="T9" fmla="*/ 1 h 2"/>
              <a:gd name="T10" fmla="*/ 0 w 10"/>
              <a:gd name="T11" fmla="*/ 1 h 2"/>
              <a:gd name="T12" fmla="*/ 0 w 10"/>
              <a:gd name="T13" fmla="*/ 2 h 2"/>
              <a:gd name="T14" fmla="*/ 3 w 10"/>
              <a:gd name="T15" fmla="*/ 2 h 2"/>
              <a:gd name="T16" fmla="*/ 9 w 10"/>
              <a:gd name="T17" fmla="*/ 2 h 2"/>
              <a:gd name="T18" fmla="*/ 10 w 10"/>
              <a:gd name="T19" fmla="*/ 1 h 2"/>
              <a:gd name="T20" fmla="*/ 10 w 10"/>
              <a:gd name="T21" fmla="*/ 1 h 2"/>
              <a:gd name="T22" fmla="*/ 10 w 10"/>
              <a:gd name="T23" fmla="*/ 1 h 2"/>
              <a:gd name="T24" fmla="*/ 9 w 10"/>
              <a:gd name="T25" fmla="*/ 0 h 2"/>
              <a:gd name="T26" fmla="*/ 4 w 10"/>
              <a:gd name="T27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0" h="2">
                <a:moveTo>
                  <a:pt x="4" y="0"/>
                </a:moveTo>
                <a:lnTo>
                  <a:pt x="2" y="0"/>
                </a:lnTo>
                <a:lnTo>
                  <a:pt x="0" y="1"/>
                </a:lnTo>
                <a:lnTo>
                  <a:pt x="0" y="1"/>
                </a:lnTo>
                <a:lnTo>
                  <a:pt x="0" y="1"/>
                </a:lnTo>
                <a:lnTo>
                  <a:pt x="0" y="1"/>
                </a:lnTo>
                <a:lnTo>
                  <a:pt x="0" y="2"/>
                </a:lnTo>
                <a:lnTo>
                  <a:pt x="3" y="2"/>
                </a:lnTo>
                <a:lnTo>
                  <a:pt x="9" y="2"/>
                </a:lnTo>
                <a:lnTo>
                  <a:pt x="10" y="1"/>
                </a:lnTo>
                <a:lnTo>
                  <a:pt x="10" y="1"/>
                </a:lnTo>
                <a:lnTo>
                  <a:pt x="10" y="1"/>
                </a:lnTo>
                <a:lnTo>
                  <a:pt x="9" y="0"/>
                </a:lnTo>
                <a:lnTo>
                  <a:pt x="4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06" name="Freeform 605"/>
          <p:cNvSpPr>
            <a:spLocks/>
          </p:cNvSpPr>
          <p:nvPr/>
        </p:nvSpPr>
        <p:spPr bwMode="auto">
          <a:xfrm>
            <a:off x="5226050" y="1363628"/>
            <a:ext cx="25400" cy="4763"/>
          </a:xfrm>
          <a:custGeom>
            <a:avLst/>
            <a:gdLst>
              <a:gd name="T0" fmla="*/ 8 w 16"/>
              <a:gd name="T1" fmla="*/ 0 h 3"/>
              <a:gd name="T2" fmla="*/ 6 w 16"/>
              <a:gd name="T3" fmla="*/ 0 h 3"/>
              <a:gd name="T4" fmla="*/ 1 w 16"/>
              <a:gd name="T5" fmla="*/ 2 h 3"/>
              <a:gd name="T6" fmla="*/ 0 w 16"/>
              <a:gd name="T7" fmla="*/ 2 h 3"/>
              <a:gd name="T8" fmla="*/ 0 w 16"/>
              <a:gd name="T9" fmla="*/ 2 h 3"/>
              <a:gd name="T10" fmla="*/ 0 w 16"/>
              <a:gd name="T11" fmla="*/ 2 h 3"/>
              <a:gd name="T12" fmla="*/ 9 w 16"/>
              <a:gd name="T13" fmla="*/ 3 h 3"/>
              <a:gd name="T14" fmla="*/ 9 w 16"/>
              <a:gd name="T15" fmla="*/ 3 h 3"/>
              <a:gd name="T16" fmla="*/ 10 w 16"/>
              <a:gd name="T17" fmla="*/ 3 h 3"/>
              <a:gd name="T18" fmla="*/ 11 w 16"/>
              <a:gd name="T19" fmla="*/ 3 h 3"/>
              <a:gd name="T20" fmla="*/ 14 w 16"/>
              <a:gd name="T21" fmla="*/ 3 h 3"/>
              <a:gd name="T22" fmla="*/ 16 w 16"/>
              <a:gd name="T23" fmla="*/ 2 h 3"/>
              <a:gd name="T24" fmla="*/ 14 w 16"/>
              <a:gd name="T25" fmla="*/ 2 h 3"/>
              <a:gd name="T26" fmla="*/ 9 w 16"/>
              <a:gd name="T27" fmla="*/ 0 h 3"/>
              <a:gd name="T28" fmla="*/ 8 w 16"/>
              <a:gd name="T2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6" h="3">
                <a:moveTo>
                  <a:pt x="8" y="0"/>
                </a:moveTo>
                <a:lnTo>
                  <a:pt x="6" y="0"/>
                </a:lnTo>
                <a:lnTo>
                  <a:pt x="1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9" y="3"/>
                </a:lnTo>
                <a:lnTo>
                  <a:pt x="9" y="3"/>
                </a:lnTo>
                <a:lnTo>
                  <a:pt x="10" y="3"/>
                </a:lnTo>
                <a:lnTo>
                  <a:pt x="11" y="3"/>
                </a:lnTo>
                <a:lnTo>
                  <a:pt x="14" y="3"/>
                </a:lnTo>
                <a:lnTo>
                  <a:pt x="16" y="2"/>
                </a:lnTo>
                <a:lnTo>
                  <a:pt x="14" y="2"/>
                </a:lnTo>
                <a:lnTo>
                  <a:pt x="9" y="0"/>
                </a:lnTo>
                <a:lnTo>
                  <a:pt x="8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07" name="Freeform 606"/>
          <p:cNvSpPr>
            <a:spLocks/>
          </p:cNvSpPr>
          <p:nvPr/>
        </p:nvSpPr>
        <p:spPr bwMode="auto">
          <a:xfrm>
            <a:off x="5226050" y="1363628"/>
            <a:ext cx="25400" cy="4763"/>
          </a:xfrm>
          <a:custGeom>
            <a:avLst/>
            <a:gdLst>
              <a:gd name="T0" fmla="*/ 8 w 16"/>
              <a:gd name="T1" fmla="*/ 0 h 3"/>
              <a:gd name="T2" fmla="*/ 6 w 16"/>
              <a:gd name="T3" fmla="*/ 0 h 3"/>
              <a:gd name="T4" fmla="*/ 1 w 16"/>
              <a:gd name="T5" fmla="*/ 2 h 3"/>
              <a:gd name="T6" fmla="*/ 0 w 16"/>
              <a:gd name="T7" fmla="*/ 2 h 3"/>
              <a:gd name="T8" fmla="*/ 0 w 16"/>
              <a:gd name="T9" fmla="*/ 2 h 3"/>
              <a:gd name="T10" fmla="*/ 0 w 16"/>
              <a:gd name="T11" fmla="*/ 2 h 3"/>
              <a:gd name="T12" fmla="*/ 9 w 16"/>
              <a:gd name="T13" fmla="*/ 3 h 3"/>
              <a:gd name="T14" fmla="*/ 9 w 16"/>
              <a:gd name="T15" fmla="*/ 3 h 3"/>
              <a:gd name="T16" fmla="*/ 10 w 16"/>
              <a:gd name="T17" fmla="*/ 3 h 3"/>
              <a:gd name="T18" fmla="*/ 11 w 16"/>
              <a:gd name="T19" fmla="*/ 3 h 3"/>
              <a:gd name="T20" fmla="*/ 14 w 16"/>
              <a:gd name="T21" fmla="*/ 3 h 3"/>
              <a:gd name="T22" fmla="*/ 16 w 16"/>
              <a:gd name="T23" fmla="*/ 2 h 3"/>
              <a:gd name="T24" fmla="*/ 14 w 16"/>
              <a:gd name="T25" fmla="*/ 2 h 3"/>
              <a:gd name="T26" fmla="*/ 9 w 16"/>
              <a:gd name="T27" fmla="*/ 0 h 3"/>
              <a:gd name="T28" fmla="*/ 8 w 16"/>
              <a:gd name="T2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6" h="3">
                <a:moveTo>
                  <a:pt x="8" y="0"/>
                </a:moveTo>
                <a:lnTo>
                  <a:pt x="6" y="0"/>
                </a:lnTo>
                <a:lnTo>
                  <a:pt x="1" y="2"/>
                </a:lnTo>
                <a:lnTo>
                  <a:pt x="0" y="2"/>
                </a:lnTo>
                <a:lnTo>
                  <a:pt x="0" y="2"/>
                </a:lnTo>
                <a:lnTo>
                  <a:pt x="0" y="2"/>
                </a:lnTo>
                <a:lnTo>
                  <a:pt x="9" y="3"/>
                </a:lnTo>
                <a:lnTo>
                  <a:pt x="9" y="3"/>
                </a:lnTo>
                <a:lnTo>
                  <a:pt x="10" y="3"/>
                </a:lnTo>
                <a:lnTo>
                  <a:pt x="11" y="3"/>
                </a:lnTo>
                <a:lnTo>
                  <a:pt x="14" y="3"/>
                </a:lnTo>
                <a:lnTo>
                  <a:pt x="16" y="2"/>
                </a:lnTo>
                <a:lnTo>
                  <a:pt x="14" y="2"/>
                </a:lnTo>
                <a:lnTo>
                  <a:pt x="9" y="0"/>
                </a:lnTo>
                <a:lnTo>
                  <a:pt x="8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08" name="Freeform 608"/>
          <p:cNvSpPr>
            <a:spLocks/>
          </p:cNvSpPr>
          <p:nvPr/>
        </p:nvSpPr>
        <p:spPr bwMode="auto">
          <a:xfrm>
            <a:off x="5208588" y="1368390"/>
            <a:ext cx="36512" cy="3175"/>
          </a:xfrm>
          <a:custGeom>
            <a:avLst/>
            <a:gdLst>
              <a:gd name="T0" fmla="*/ 10 w 23"/>
              <a:gd name="T1" fmla="*/ 0 h 2"/>
              <a:gd name="T2" fmla="*/ 7 w 23"/>
              <a:gd name="T3" fmla="*/ 0 h 2"/>
              <a:gd name="T4" fmla="*/ 9 w 23"/>
              <a:gd name="T5" fmla="*/ 0 h 2"/>
              <a:gd name="T6" fmla="*/ 10 w 23"/>
              <a:gd name="T7" fmla="*/ 0 h 2"/>
              <a:gd name="T8" fmla="*/ 9 w 23"/>
              <a:gd name="T9" fmla="*/ 0 h 2"/>
              <a:gd name="T10" fmla="*/ 9 w 23"/>
              <a:gd name="T11" fmla="*/ 1 h 2"/>
              <a:gd name="T12" fmla="*/ 10 w 23"/>
              <a:gd name="T13" fmla="*/ 1 h 2"/>
              <a:gd name="T14" fmla="*/ 10 w 23"/>
              <a:gd name="T15" fmla="*/ 1 h 2"/>
              <a:gd name="T16" fmla="*/ 10 w 23"/>
              <a:gd name="T17" fmla="*/ 1 h 2"/>
              <a:gd name="T18" fmla="*/ 9 w 23"/>
              <a:gd name="T19" fmla="*/ 1 h 2"/>
              <a:gd name="T20" fmla="*/ 7 w 23"/>
              <a:gd name="T21" fmla="*/ 1 h 2"/>
              <a:gd name="T22" fmla="*/ 6 w 23"/>
              <a:gd name="T23" fmla="*/ 1 h 2"/>
              <a:gd name="T24" fmla="*/ 5 w 23"/>
              <a:gd name="T25" fmla="*/ 1 h 2"/>
              <a:gd name="T26" fmla="*/ 4 w 23"/>
              <a:gd name="T27" fmla="*/ 1 h 2"/>
              <a:gd name="T28" fmla="*/ 3 w 23"/>
              <a:gd name="T29" fmla="*/ 1 h 2"/>
              <a:gd name="T30" fmla="*/ 0 w 23"/>
              <a:gd name="T31" fmla="*/ 1 h 2"/>
              <a:gd name="T32" fmla="*/ 0 w 23"/>
              <a:gd name="T33" fmla="*/ 1 h 2"/>
              <a:gd name="T34" fmla="*/ 1 w 23"/>
              <a:gd name="T35" fmla="*/ 1 h 2"/>
              <a:gd name="T36" fmla="*/ 3 w 23"/>
              <a:gd name="T37" fmla="*/ 2 h 2"/>
              <a:gd name="T38" fmla="*/ 3 w 23"/>
              <a:gd name="T39" fmla="*/ 2 h 2"/>
              <a:gd name="T40" fmla="*/ 7 w 23"/>
              <a:gd name="T41" fmla="*/ 2 h 2"/>
              <a:gd name="T42" fmla="*/ 9 w 23"/>
              <a:gd name="T43" fmla="*/ 2 h 2"/>
              <a:gd name="T44" fmla="*/ 9 w 23"/>
              <a:gd name="T45" fmla="*/ 2 h 2"/>
              <a:gd name="T46" fmla="*/ 9 w 23"/>
              <a:gd name="T47" fmla="*/ 2 h 2"/>
              <a:gd name="T48" fmla="*/ 12 w 23"/>
              <a:gd name="T49" fmla="*/ 2 h 2"/>
              <a:gd name="T50" fmla="*/ 11 w 23"/>
              <a:gd name="T51" fmla="*/ 2 h 2"/>
              <a:gd name="T52" fmla="*/ 11 w 23"/>
              <a:gd name="T53" fmla="*/ 2 h 2"/>
              <a:gd name="T54" fmla="*/ 15 w 23"/>
              <a:gd name="T55" fmla="*/ 1 h 2"/>
              <a:gd name="T56" fmla="*/ 15 w 23"/>
              <a:gd name="T57" fmla="*/ 1 h 2"/>
              <a:gd name="T58" fmla="*/ 19 w 23"/>
              <a:gd name="T59" fmla="*/ 1 h 2"/>
              <a:gd name="T60" fmla="*/ 21 w 23"/>
              <a:gd name="T61" fmla="*/ 1 h 2"/>
              <a:gd name="T62" fmla="*/ 23 w 23"/>
              <a:gd name="T63" fmla="*/ 1 h 2"/>
              <a:gd name="T64" fmla="*/ 22 w 23"/>
              <a:gd name="T65" fmla="*/ 0 h 2"/>
              <a:gd name="T66" fmla="*/ 22 w 23"/>
              <a:gd name="T67" fmla="*/ 0 h 2"/>
              <a:gd name="T68" fmla="*/ 20 w 23"/>
              <a:gd name="T69" fmla="*/ 0 h 2"/>
              <a:gd name="T70" fmla="*/ 20 w 23"/>
              <a:gd name="T71" fmla="*/ 0 h 2"/>
              <a:gd name="T72" fmla="*/ 17 w 23"/>
              <a:gd name="T73" fmla="*/ 0 h 2"/>
              <a:gd name="T74" fmla="*/ 16 w 23"/>
              <a:gd name="T75" fmla="*/ 0 h 2"/>
              <a:gd name="T76" fmla="*/ 16 w 23"/>
              <a:gd name="T77" fmla="*/ 0 h 2"/>
              <a:gd name="T78" fmla="*/ 14 w 23"/>
              <a:gd name="T79" fmla="*/ 0 h 2"/>
              <a:gd name="T80" fmla="*/ 12 w 23"/>
              <a:gd name="T81" fmla="*/ 0 h 2"/>
              <a:gd name="T82" fmla="*/ 10 w 23"/>
              <a:gd name="T83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3" h="2">
                <a:moveTo>
                  <a:pt x="10" y="0"/>
                </a:moveTo>
                <a:lnTo>
                  <a:pt x="7" y="0"/>
                </a:lnTo>
                <a:lnTo>
                  <a:pt x="9" y="0"/>
                </a:lnTo>
                <a:lnTo>
                  <a:pt x="10" y="0"/>
                </a:lnTo>
                <a:lnTo>
                  <a:pt x="9" y="0"/>
                </a:lnTo>
                <a:lnTo>
                  <a:pt x="9" y="1"/>
                </a:lnTo>
                <a:lnTo>
                  <a:pt x="10" y="1"/>
                </a:lnTo>
                <a:lnTo>
                  <a:pt x="10" y="1"/>
                </a:lnTo>
                <a:lnTo>
                  <a:pt x="10" y="1"/>
                </a:lnTo>
                <a:lnTo>
                  <a:pt x="9" y="1"/>
                </a:lnTo>
                <a:lnTo>
                  <a:pt x="7" y="1"/>
                </a:lnTo>
                <a:lnTo>
                  <a:pt x="6" y="1"/>
                </a:lnTo>
                <a:lnTo>
                  <a:pt x="5" y="1"/>
                </a:lnTo>
                <a:lnTo>
                  <a:pt x="4" y="1"/>
                </a:lnTo>
                <a:lnTo>
                  <a:pt x="3" y="1"/>
                </a:lnTo>
                <a:lnTo>
                  <a:pt x="0" y="1"/>
                </a:lnTo>
                <a:lnTo>
                  <a:pt x="0" y="1"/>
                </a:lnTo>
                <a:lnTo>
                  <a:pt x="1" y="1"/>
                </a:lnTo>
                <a:lnTo>
                  <a:pt x="3" y="2"/>
                </a:lnTo>
                <a:lnTo>
                  <a:pt x="3" y="2"/>
                </a:lnTo>
                <a:lnTo>
                  <a:pt x="7" y="2"/>
                </a:lnTo>
                <a:lnTo>
                  <a:pt x="9" y="2"/>
                </a:lnTo>
                <a:lnTo>
                  <a:pt x="9" y="2"/>
                </a:lnTo>
                <a:lnTo>
                  <a:pt x="9" y="2"/>
                </a:lnTo>
                <a:lnTo>
                  <a:pt x="12" y="2"/>
                </a:lnTo>
                <a:lnTo>
                  <a:pt x="11" y="2"/>
                </a:lnTo>
                <a:lnTo>
                  <a:pt x="11" y="2"/>
                </a:lnTo>
                <a:lnTo>
                  <a:pt x="15" y="1"/>
                </a:lnTo>
                <a:lnTo>
                  <a:pt x="15" y="1"/>
                </a:lnTo>
                <a:lnTo>
                  <a:pt x="19" y="1"/>
                </a:lnTo>
                <a:lnTo>
                  <a:pt x="21" y="1"/>
                </a:lnTo>
                <a:lnTo>
                  <a:pt x="23" y="1"/>
                </a:lnTo>
                <a:lnTo>
                  <a:pt x="22" y="0"/>
                </a:lnTo>
                <a:lnTo>
                  <a:pt x="22" y="0"/>
                </a:lnTo>
                <a:lnTo>
                  <a:pt x="20" y="0"/>
                </a:lnTo>
                <a:lnTo>
                  <a:pt x="20" y="0"/>
                </a:lnTo>
                <a:lnTo>
                  <a:pt x="17" y="0"/>
                </a:lnTo>
                <a:lnTo>
                  <a:pt x="16" y="0"/>
                </a:lnTo>
                <a:lnTo>
                  <a:pt x="16" y="0"/>
                </a:lnTo>
                <a:lnTo>
                  <a:pt x="14" y="0"/>
                </a:lnTo>
                <a:lnTo>
                  <a:pt x="12" y="0"/>
                </a:lnTo>
                <a:lnTo>
                  <a:pt x="1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09" name="Freeform 609"/>
          <p:cNvSpPr>
            <a:spLocks/>
          </p:cNvSpPr>
          <p:nvPr/>
        </p:nvSpPr>
        <p:spPr bwMode="auto">
          <a:xfrm>
            <a:off x="5208588" y="1368390"/>
            <a:ext cx="36512" cy="3175"/>
          </a:xfrm>
          <a:custGeom>
            <a:avLst/>
            <a:gdLst>
              <a:gd name="T0" fmla="*/ 10 w 23"/>
              <a:gd name="T1" fmla="*/ 0 h 2"/>
              <a:gd name="T2" fmla="*/ 7 w 23"/>
              <a:gd name="T3" fmla="*/ 0 h 2"/>
              <a:gd name="T4" fmla="*/ 9 w 23"/>
              <a:gd name="T5" fmla="*/ 0 h 2"/>
              <a:gd name="T6" fmla="*/ 10 w 23"/>
              <a:gd name="T7" fmla="*/ 0 h 2"/>
              <a:gd name="T8" fmla="*/ 9 w 23"/>
              <a:gd name="T9" fmla="*/ 0 h 2"/>
              <a:gd name="T10" fmla="*/ 9 w 23"/>
              <a:gd name="T11" fmla="*/ 1 h 2"/>
              <a:gd name="T12" fmla="*/ 10 w 23"/>
              <a:gd name="T13" fmla="*/ 1 h 2"/>
              <a:gd name="T14" fmla="*/ 10 w 23"/>
              <a:gd name="T15" fmla="*/ 1 h 2"/>
              <a:gd name="T16" fmla="*/ 10 w 23"/>
              <a:gd name="T17" fmla="*/ 1 h 2"/>
              <a:gd name="T18" fmla="*/ 9 w 23"/>
              <a:gd name="T19" fmla="*/ 1 h 2"/>
              <a:gd name="T20" fmla="*/ 7 w 23"/>
              <a:gd name="T21" fmla="*/ 1 h 2"/>
              <a:gd name="T22" fmla="*/ 6 w 23"/>
              <a:gd name="T23" fmla="*/ 1 h 2"/>
              <a:gd name="T24" fmla="*/ 5 w 23"/>
              <a:gd name="T25" fmla="*/ 1 h 2"/>
              <a:gd name="T26" fmla="*/ 4 w 23"/>
              <a:gd name="T27" fmla="*/ 1 h 2"/>
              <a:gd name="T28" fmla="*/ 3 w 23"/>
              <a:gd name="T29" fmla="*/ 1 h 2"/>
              <a:gd name="T30" fmla="*/ 0 w 23"/>
              <a:gd name="T31" fmla="*/ 1 h 2"/>
              <a:gd name="T32" fmla="*/ 0 w 23"/>
              <a:gd name="T33" fmla="*/ 1 h 2"/>
              <a:gd name="T34" fmla="*/ 1 w 23"/>
              <a:gd name="T35" fmla="*/ 1 h 2"/>
              <a:gd name="T36" fmla="*/ 3 w 23"/>
              <a:gd name="T37" fmla="*/ 2 h 2"/>
              <a:gd name="T38" fmla="*/ 3 w 23"/>
              <a:gd name="T39" fmla="*/ 2 h 2"/>
              <a:gd name="T40" fmla="*/ 7 w 23"/>
              <a:gd name="T41" fmla="*/ 2 h 2"/>
              <a:gd name="T42" fmla="*/ 9 w 23"/>
              <a:gd name="T43" fmla="*/ 2 h 2"/>
              <a:gd name="T44" fmla="*/ 9 w 23"/>
              <a:gd name="T45" fmla="*/ 2 h 2"/>
              <a:gd name="T46" fmla="*/ 9 w 23"/>
              <a:gd name="T47" fmla="*/ 2 h 2"/>
              <a:gd name="T48" fmla="*/ 12 w 23"/>
              <a:gd name="T49" fmla="*/ 2 h 2"/>
              <a:gd name="T50" fmla="*/ 11 w 23"/>
              <a:gd name="T51" fmla="*/ 2 h 2"/>
              <a:gd name="T52" fmla="*/ 11 w 23"/>
              <a:gd name="T53" fmla="*/ 2 h 2"/>
              <a:gd name="T54" fmla="*/ 15 w 23"/>
              <a:gd name="T55" fmla="*/ 1 h 2"/>
              <a:gd name="T56" fmla="*/ 15 w 23"/>
              <a:gd name="T57" fmla="*/ 1 h 2"/>
              <a:gd name="T58" fmla="*/ 19 w 23"/>
              <a:gd name="T59" fmla="*/ 1 h 2"/>
              <a:gd name="T60" fmla="*/ 21 w 23"/>
              <a:gd name="T61" fmla="*/ 1 h 2"/>
              <a:gd name="T62" fmla="*/ 23 w 23"/>
              <a:gd name="T63" fmla="*/ 1 h 2"/>
              <a:gd name="T64" fmla="*/ 22 w 23"/>
              <a:gd name="T65" fmla="*/ 0 h 2"/>
              <a:gd name="T66" fmla="*/ 22 w 23"/>
              <a:gd name="T67" fmla="*/ 0 h 2"/>
              <a:gd name="T68" fmla="*/ 20 w 23"/>
              <a:gd name="T69" fmla="*/ 0 h 2"/>
              <a:gd name="T70" fmla="*/ 20 w 23"/>
              <a:gd name="T71" fmla="*/ 0 h 2"/>
              <a:gd name="T72" fmla="*/ 17 w 23"/>
              <a:gd name="T73" fmla="*/ 0 h 2"/>
              <a:gd name="T74" fmla="*/ 16 w 23"/>
              <a:gd name="T75" fmla="*/ 0 h 2"/>
              <a:gd name="T76" fmla="*/ 16 w 23"/>
              <a:gd name="T77" fmla="*/ 0 h 2"/>
              <a:gd name="T78" fmla="*/ 14 w 23"/>
              <a:gd name="T79" fmla="*/ 0 h 2"/>
              <a:gd name="T80" fmla="*/ 12 w 23"/>
              <a:gd name="T81" fmla="*/ 0 h 2"/>
              <a:gd name="T82" fmla="*/ 10 w 23"/>
              <a:gd name="T83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3" h="2">
                <a:moveTo>
                  <a:pt x="10" y="0"/>
                </a:moveTo>
                <a:lnTo>
                  <a:pt x="7" y="0"/>
                </a:lnTo>
                <a:lnTo>
                  <a:pt x="9" y="0"/>
                </a:lnTo>
                <a:lnTo>
                  <a:pt x="10" y="0"/>
                </a:lnTo>
                <a:lnTo>
                  <a:pt x="9" y="0"/>
                </a:lnTo>
                <a:lnTo>
                  <a:pt x="9" y="1"/>
                </a:lnTo>
                <a:lnTo>
                  <a:pt x="10" y="1"/>
                </a:lnTo>
                <a:lnTo>
                  <a:pt x="10" y="1"/>
                </a:lnTo>
                <a:lnTo>
                  <a:pt x="10" y="1"/>
                </a:lnTo>
                <a:lnTo>
                  <a:pt x="9" y="1"/>
                </a:lnTo>
                <a:lnTo>
                  <a:pt x="7" y="1"/>
                </a:lnTo>
                <a:lnTo>
                  <a:pt x="6" y="1"/>
                </a:lnTo>
                <a:lnTo>
                  <a:pt x="5" y="1"/>
                </a:lnTo>
                <a:lnTo>
                  <a:pt x="4" y="1"/>
                </a:lnTo>
                <a:lnTo>
                  <a:pt x="3" y="1"/>
                </a:lnTo>
                <a:lnTo>
                  <a:pt x="0" y="1"/>
                </a:lnTo>
                <a:lnTo>
                  <a:pt x="0" y="1"/>
                </a:lnTo>
                <a:lnTo>
                  <a:pt x="1" y="1"/>
                </a:lnTo>
                <a:lnTo>
                  <a:pt x="3" y="2"/>
                </a:lnTo>
                <a:lnTo>
                  <a:pt x="3" y="2"/>
                </a:lnTo>
                <a:lnTo>
                  <a:pt x="7" y="2"/>
                </a:lnTo>
                <a:lnTo>
                  <a:pt x="9" y="2"/>
                </a:lnTo>
                <a:lnTo>
                  <a:pt x="9" y="2"/>
                </a:lnTo>
                <a:lnTo>
                  <a:pt x="9" y="2"/>
                </a:lnTo>
                <a:lnTo>
                  <a:pt x="12" y="2"/>
                </a:lnTo>
                <a:lnTo>
                  <a:pt x="11" y="2"/>
                </a:lnTo>
                <a:lnTo>
                  <a:pt x="11" y="2"/>
                </a:lnTo>
                <a:lnTo>
                  <a:pt x="15" y="1"/>
                </a:lnTo>
                <a:lnTo>
                  <a:pt x="15" y="1"/>
                </a:lnTo>
                <a:lnTo>
                  <a:pt x="19" y="1"/>
                </a:lnTo>
                <a:lnTo>
                  <a:pt x="21" y="1"/>
                </a:lnTo>
                <a:lnTo>
                  <a:pt x="23" y="1"/>
                </a:lnTo>
                <a:lnTo>
                  <a:pt x="22" y="0"/>
                </a:lnTo>
                <a:lnTo>
                  <a:pt x="22" y="0"/>
                </a:lnTo>
                <a:lnTo>
                  <a:pt x="20" y="0"/>
                </a:lnTo>
                <a:lnTo>
                  <a:pt x="20" y="0"/>
                </a:lnTo>
                <a:lnTo>
                  <a:pt x="17" y="0"/>
                </a:lnTo>
                <a:lnTo>
                  <a:pt x="16" y="0"/>
                </a:lnTo>
                <a:lnTo>
                  <a:pt x="16" y="0"/>
                </a:lnTo>
                <a:lnTo>
                  <a:pt x="14" y="0"/>
                </a:lnTo>
                <a:lnTo>
                  <a:pt x="12" y="0"/>
                </a:lnTo>
                <a:lnTo>
                  <a:pt x="1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10" name="Freeform 610"/>
          <p:cNvSpPr>
            <a:spLocks/>
          </p:cNvSpPr>
          <p:nvPr/>
        </p:nvSpPr>
        <p:spPr bwMode="auto">
          <a:xfrm>
            <a:off x="5251450" y="1376328"/>
            <a:ext cx="14287" cy="3175"/>
          </a:xfrm>
          <a:custGeom>
            <a:avLst/>
            <a:gdLst>
              <a:gd name="T0" fmla="*/ 8 w 9"/>
              <a:gd name="T1" fmla="*/ 0 h 2"/>
              <a:gd name="T2" fmla="*/ 8 w 9"/>
              <a:gd name="T3" fmla="*/ 0 h 2"/>
              <a:gd name="T4" fmla="*/ 9 w 9"/>
              <a:gd name="T5" fmla="*/ 0 h 2"/>
              <a:gd name="T6" fmla="*/ 9 w 9"/>
              <a:gd name="T7" fmla="*/ 0 h 2"/>
              <a:gd name="T8" fmla="*/ 9 w 9"/>
              <a:gd name="T9" fmla="*/ 1 h 2"/>
              <a:gd name="T10" fmla="*/ 9 w 9"/>
              <a:gd name="T11" fmla="*/ 1 h 2"/>
              <a:gd name="T12" fmla="*/ 7 w 9"/>
              <a:gd name="T13" fmla="*/ 2 h 2"/>
              <a:gd name="T14" fmla="*/ 4 w 9"/>
              <a:gd name="T15" fmla="*/ 1 h 2"/>
              <a:gd name="T16" fmla="*/ 0 w 9"/>
              <a:gd name="T17" fmla="*/ 1 h 2"/>
              <a:gd name="T18" fmla="*/ 3 w 9"/>
              <a:gd name="T19" fmla="*/ 0 h 2"/>
              <a:gd name="T20" fmla="*/ 5 w 9"/>
              <a:gd name="T21" fmla="*/ 0 h 2"/>
              <a:gd name="T22" fmla="*/ 5 w 9"/>
              <a:gd name="T23" fmla="*/ 0 h 2"/>
              <a:gd name="T24" fmla="*/ 8 w 9"/>
              <a:gd name="T2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" h="2">
                <a:moveTo>
                  <a:pt x="8" y="0"/>
                </a:moveTo>
                <a:lnTo>
                  <a:pt x="8" y="0"/>
                </a:lnTo>
                <a:lnTo>
                  <a:pt x="9" y="0"/>
                </a:lnTo>
                <a:lnTo>
                  <a:pt x="9" y="0"/>
                </a:lnTo>
                <a:lnTo>
                  <a:pt x="9" y="1"/>
                </a:lnTo>
                <a:lnTo>
                  <a:pt x="9" y="1"/>
                </a:lnTo>
                <a:lnTo>
                  <a:pt x="7" y="2"/>
                </a:lnTo>
                <a:lnTo>
                  <a:pt x="4" y="1"/>
                </a:lnTo>
                <a:lnTo>
                  <a:pt x="0" y="1"/>
                </a:lnTo>
                <a:lnTo>
                  <a:pt x="3" y="0"/>
                </a:lnTo>
                <a:lnTo>
                  <a:pt x="5" y="0"/>
                </a:lnTo>
                <a:lnTo>
                  <a:pt x="5" y="0"/>
                </a:lnTo>
                <a:lnTo>
                  <a:pt x="8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11" name="Freeform 611"/>
          <p:cNvSpPr>
            <a:spLocks/>
          </p:cNvSpPr>
          <p:nvPr/>
        </p:nvSpPr>
        <p:spPr bwMode="auto">
          <a:xfrm>
            <a:off x="5251450" y="1376328"/>
            <a:ext cx="14287" cy="3175"/>
          </a:xfrm>
          <a:custGeom>
            <a:avLst/>
            <a:gdLst>
              <a:gd name="T0" fmla="*/ 8 w 9"/>
              <a:gd name="T1" fmla="*/ 0 h 2"/>
              <a:gd name="T2" fmla="*/ 8 w 9"/>
              <a:gd name="T3" fmla="*/ 0 h 2"/>
              <a:gd name="T4" fmla="*/ 9 w 9"/>
              <a:gd name="T5" fmla="*/ 0 h 2"/>
              <a:gd name="T6" fmla="*/ 9 w 9"/>
              <a:gd name="T7" fmla="*/ 0 h 2"/>
              <a:gd name="T8" fmla="*/ 9 w 9"/>
              <a:gd name="T9" fmla="*/ 1 h 2"/>
              <a:gd name="T10" fmla="*/ 9 w 9"/>
              <a:gd name="T11" fmla="*/ 1 h 2"/>
              <a:gd name="T12" fmla="*/ 7 w 9"/>
              <a:gd name="T13" fmla="*/ 2 h 2"/>
              <a:gd name="T14" fmla="*/ 4 w 9"/>
              <a:gd name="T15" fmla="*/ 1 h 2"/>
              <a:gd name="T16" fmla="*/ 0 w 9"/>
              <a:gd name="T17" fmla="*/ 1 h 2"/>
              <a:gd name="T18" fmla="*/ 3 w 9"/>
              <a:gd name="T19" fmla="*/ 0 h 2"/>
              <a:gd name="T20" fmla="*/ 5 w 9"/>
              <a:gd name="T21" fmla="*/ 0 h 2"/>
              <a:gd name="T22" fmla="*/ 5 w 9"/>
              <a:gd name="T23" fmla="*/ 0 h 2"/>
              <a:gd name="T24" fmla="*/ 8 w 9"/>
              <a:gd name="T2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" h="2">
                <a:moveTo>
                  <a:pt x="8" y="0"/>
                </a:moveTo>
                <a:lnTo>
                  <a:pt x="8" y="0"/>
                </a:lnTo>
                <a:lnTo>
                  <a:pt x="9" y="0"/>
                </a:lnTo>
                <a:lnTo>
                  <a:pt x="9" y="0"/>
                </a:lnTo>
                <a:lnTo>
                  <a:pt x="9" y="1"/>
                </a:lnTo>
                <a:lnTo>
                  <a:pt x="9" y="1"/>
                </a:lnTo>
                <a:lnTo>
                  <a:pt x="7" y="2"/>
                </a:lnTo>
                <a:lnTo>
                  <a:pt x="4" y="1"/>
                </a:lnTo>
                <a:lnTo>
                  <a:pt x="0" y="1"/>
                </a:lnTo>
                <a:lnTo>
                  <a:pt x="3" y="0"/>
                </a:lnTo>
                <a:lnTo>
                  <a:pt x="5" y="0"/>
                </a:lnTo>
                <a:lnTo>
                  <a:pt x="5" y="0"/>
                </a:lnTo>
                <a:lnTo>
                  <a:pt x="8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12" name="Freeform 612"/>
          <p:cNvSpPr>
            <a:spLocks/>
          </p:cNvSpPr>
          <p:nvPr/>
        </p:nvSpPr>
        <p:spPr bwMode="auto">
          <a:xfrm>
            <a:off x="5214938" y="1377915"/>
            <a:ext cx="25400" cy="3175"/>
          </a:xfrm>
          <a:custGeom>
            <a:avLst/>
            <a:gdLst>
              <a:gd name="T0" fmla="*/ 7 w 16"/>
              <a:gd name="T1" fmla="*/ 0 h 2"/>
              <a:gd name="T2" fmla="*/ 6 w 16"/>
              <a:gd name="T3" fmla="*/ 1 h 2"/>
              <a:gd name="T4" fmla="*/ 5 w 16"/>
              <a:gd name="T5" fmla="*/ 1 h 2"/>
              <a:gd name="T6" fmla="*/ 3 w 16"/>
              <a:gd name="T7" fmla="*/ 1 h 2"/>
              <a:gd name="T8" fmla="*/ 0 w 16"/>
              <a:gd name="T9" fmla="*/ 1 h 2"/>
              <a:gd name="T10" fmla="*/ 2 w 16"/>
              <a:gd name="T11" fmla="*/ 1 h 2"/>
              <a:gd name="T12" fmla="*/ 2 w 16"/>
              <a:gd name="T13" fmla="*/ 1 h 2"/>
              <a:gd name="T14" fmla="*/ 2 w 16"/>
              <a:gd name="T15" fmla="*/ 1 h 2"/>
              <a:gd name="T16" fmla="*/ 2 w 16"/>
              <a:gd name="T17" fmla="*/ 1 h 2"/>
              <a:gd name="T18" fmla="*/ 2 w 16"/>
              <a:gd name="T19" fmla="*/ 2 h 2"/>
              <a:gd name="T20" fmla="*/ 2 w 16"/>
              <a:gd name="T21" fmla="*/ 2 h 2"/>
              <a:gd name="T22" fmla="*/ 5 w 16"/>
              <a:gd name="T23" fmla="*/ 2 h 2"/>
              <a:gd name="T24" fmla="*/ 9 w 16"/>
              <a:gd name="T25" fmla="*/ 2 h 2"/>
              <a:gd name="T26" fmla="*/ 10 w 16"/>
              <a:gd name="T27" fmla="*/ 2 h 2"/>
              <a:gd name="T28" fmla="*/ 12 w 16"/>
              <a:gd name="T29" fmla="*/ 2 h 2"/>
              <a:gd name="T30" fmla="*/ 16 w 16"/>
              <a:gd name="T31" fmla="*/ 1 h 2"/>
              <a:gd name="T32" fmla="*/ 16 w 16"/>
              <a:gd name="T33" fmla="*/ 1 h 2"/>
              <a:gd name="T34" fmla="*/ 13 w 16"/>
              <a:gd name="T35" fmla="*/ 1 h 2"/>
              <a:gd name="T36" fmla="*/ 15 w 16"/>
              <a:gd name="T37" fmla="*/ 1 h 2"/>
              <a:gd name="T38" fmla="*/ 13 w 16"/>
              <a:gd name="T39" fmla="*/ 1 h 2"/>
              <a:gd name="T40" fmla="*/ 11 w 16"/>
              <a:gd name="T41" fmla="*/ 0 h 2"/>
              <a:gd name="T42" fmla="*/ 7 w 16"/>
              <a:gd name="T43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6" h="2">
                <a:moveTo>
                  <a:pt x="7" y="0"/>
                </a:moveTo>
                <a:lnTo>
                  <a:pt x="6" y="1"/>
                </a:lnTo>
                <a:lnTo>
                  <a:pt x="5" y="1"/>
                </a:lnTo>
                <a:lnTo>
                  <a:pt x="3" y="1"/>
                </a:lnTo>
                <a:lnTo>
                  <a:pt x="0" y="1"/>
                </a:lnTo>
                <a:lnTo>
                  <a:pt x="2" y="1"/>
                </a:lnTo>
                <a:lnTo>
                  <a:pt x="2" y="1"/>
                </a:lnTo>
                <a:lnTo>
                  <a:pt x="2" y="1"/>
                </a:lnTo>
                <a:lnTo>
                  <a:pt x="2" y="1"/>
                </a:lnTo>
                <a:lnTo>
                  <a:pt x="2" y="2"/>
                </a:lnTo>
                <a:lnTo>
                  <a:pt x="2" y="2"/>
                </a:lnTo>
                <a:lnTo>
                  <a:pt x="5" y="2"/>
                </a:lnTo>
                <a:lnTo>
                  <a:pt x="9" y="2"/>
                </a:lnTo>
                <a:lnTo>
                  <a:pt x="10" y="2"/>
                </a:lnTo>
                <a:lnTo>
                  <a:pt x="12" y="2"/>
                </a:lnTo>
                <a:lnTo>
                  <a:pt x="16" y="1"/>
                </a:lnTo>
                <a:lnTo>
                  <a:pt x="16" y="1"/>
                </a:lnTo>
                <a:lnTo>
                  <a:pt x="13" y="1"/>
                </a:lnTo>
                <a:lnTo>
                  <a:pt x="15" y="1"/>
                </a:lnTo>
                <a:lnTo>
                  <a:pt x="13" y="1"/>
                </a:lnTo>
                <a:lnTo>
                  <a:pt x="11" y="0"/>
                </a:lnTo>
                <a:lnTo>
                  <a:pt x="7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13" name="Freeform 613"/>
          <p:cNvSpPr>
            <a:spLocks/>
          </p:cNvSpPr>
          <p:nvPr/>
        </p:nvSpPr>
        <p:spPr bwMode="auto">
          <a:xfrm>
            <a:off x="5214938" y="1377915"/>
            <a:ext cx="25400" cy="3175"/>
          </a:xfrm>
          <a:custGeom>
            <a:avLst/>
            <a:gdLst>
              <a:gd name="T0" fmla="*/ 7 w 16"/>
              <a:gd name="T1" fmla="*/ 0 h 2"/>
              <a:gd name="T2" fmla="*/ 6 w 16"/>
              <a:gd name="T3" fmla="*/ 1 h 2"/>
              <a:gd name="T4" fmla="*/ 5 w 16"/>
              <a:gd name="T5" fmla="*/ 1 h 2"/>
              <a:gd name="T6" fmla="*/ 3 w 16"/>
              <a:gd name="T7" fmla="*/ 1 h 2"/>
              <a:gd name="T8" fmla="*/ 0 w 16"/>
              <a:gd name="T9" fmla="*/ 1 h 2"/>
              <a:gd name="T10" fmla="*/ 2 w 16"/>
              <a:gd name="T11" fmla="*/ 1 h 2"/>
              <a:gd name="T12" fmla="*/ 2 w 16"/>
              <a:gd name="T13" fmla="*/ 1 h 2"/>
              <a:gd name="T14" fmla="*/ 2 w 16"/>
              <a:gd name="T15" fmla="*/ 1 h 2"/>
              <a:gd name="T16" fmla="*/ 2 w 16"/>
              <a:gd name="T17" fmla="*/ 1 h 2"/>
              <a:gd name="T18" fmla="*/ 2 w 16"/>
              <a:gd name="T19" fmla="*/ 2 h 2"/>
              <a:gd name="T20" fmla="*/ 2 w 16"/>
              <a:gd name="T21" fmla="*/ 2 h 2"/>
              <a:gd name="T22" fmla="*/ 5 w 16"/>
              <a:gd name="T23" fmla="*/ 2 h 2"/>
              <a:gd name="T24" fmla="*/ 9 w 16"/>
              <a:gd name="T25" fmla="*/ 2 h 2"/>
              <a:gd name="T26" fmla="*/ 10 w 16"/>
              <a:gd name="T27" fmla="*/ 2 h 2"/>
              <a:gd name="T28" fmla="*/ 12 w 16"/>
              <a:gd name="T29" fmla="*/ 2 h 2"/>
              <a:gd name="T30" fmla="*/ 16 w 16"/>
              <a:gd name="T31" fmla="*/ 1 h 2"/>
              <a:gd name="T32" fmla="*/ 16 w 16"/>
              <a:gd name="T33" fmla="*/ 1 h 2"/>
              <a:gd name="T34" fmla="*/ 13 w 16"/>
              <a:gd name="T35" fmla="*/ 1 h 2"/>
              <a:gd name="T36" fmla="*/ 15 w 16"/>
              <a:gd name="T37" fmla="*/ 1 h 2"/>
              <a:gd name="T38" fmla="*/ 13 w 16"/>
              <a:gd name="T39" fmla="*/ 1 h 2"/>
              <a:gd name="T40" fmla="*/ 11 w 16"/>
              <a:gd name="T41" fmla="*/ 0 h 2"/>
              <a:gd name="T42" fmla="*/ 7 w 16"/>
              <a:gd name="T43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6" h="2">
                <a:moveTo>
                  <a:pt x="7" y="0"/>
                </a:moveTo>
                <a:lnTo>
                  <a:pt x="6" y="1"/>
                </a:lnTo>
                <a:lnTo>
                  <a:pt x="5" y="1"/>
                </a:lnTo>
                <a:lnTo>
                  <a:pt x="3" y="1"/>
                </a:lnTo>
                <a:lnTo>
                  <a:pt x="0" y="1"/>
                </a:lnTo>
                <a:lnTo>
                  <a:pt x="2" y="1"/>
                </a:lnTo>
                <a:lnTo>
                  <a:pt x="2" y="1"/>
                </a:lnTo>
                <a:lnTo>
                  <a:pt x="2" y="1"/>
                </a:lnTo>
                <a:lnTo>
                  <a:pt x="2" y="1"/>
                </a:lnTo>
                <a:lnTo>
                  <a:pt x="2" y="2"/>
                </a:lnTo>
                <a:lnTo>
                  <a:pt x="2" y="2"/>
                </a:lnTo>
                <a:lnTo>
                  <a:pt x="5" y="2"/>
                </a:lnTo>
                <a:lnTo>
                  <a:pt x="9" y="2"/>
                </a:lnTo>
                <a:lnTo>
                  <a:pt x="10" y="2"/>
                </a:lnTo>
                <a:lnTo>
                  <a:pt x="12" y="2"/>
                </a:lnTo>
                <a:lnTo>
                  <a:pt x="16" y="1"/>
                </a:lnTo>
                <a:lnTo>
                  <a:pt x="16" y="1"/>
                </a:lnTo>
                <a:lnTo>
                  <a:pt x="13" y="1"/>
                </a:lnTo>
                <a:lnTo>
                  <a:pt x="15" y="1"/>
                </a:lnTo>
                <a:lnTo>
                  <a:pt x="13" y="1"/>
                </a:lnTo>
                <a:lnTo>
                  <a:pt x="11" y="0"/>
                </a:lnTo>
                <a:lnTo>
                  <a:pt x="7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14" name="Freeform 614"/>
          <p:cNvSpPr>
            <a:spLocks/>
          </p:cNvSpPr>
          <p:nvPr/>
        </p:nvSpPr>
        <p:spPr bwMode="auto">
          <a:xfrm>
            <a:off x="5192713" y="1376328"/>
            <a:ext cx="26987" cy="3175"/>
          </a:xfrm>
          <a:custGeom>
            <a:avLst/>
            <a:gdLst>
              <a:gd name="T0" fmla="*/ 5 w 17"/>
              <a:gd name="T1" fmla="*/ 0 h 2"/>
              <a:gd name="T2" fmla="*/ 0 w 17"/>
              <a:gd name="T3" fmla="*/ 0 h 2"/>
              <a:gd name="T4" fmla="*/ 0 w 17"/>
              <a:gd name="T5" fmla="*/ 0 h 2"/>
              <a:gd name="T6" fmla="*/ 1 w 17"/>
              <a:gd name="T7" fmla="*/ 1 h 2"/>
              <a:gd name="T8" fmla="*/ 4 w 17"/>
              <a:gd name="T9" fmla="*/ 1 h 2"/>
              <a:gd name="T10" fmla="*/ 6 w 17"/>
              <a:gd name="T11" fmla="*/ 1 h 2"/>
              <a:gd name="T12" fmla="*/ 6 w 17"/>
              <a:gd name="T13" fmla="*/ 2 h 2"/>
              <a:gd name="T14" fmla="*/ 10 w 17"/>
              <a:gd name="T15" fmla="*/ 2 h 2"/>
              <a:gd name="T16" fmla="*/ 11 w 17"/>
              <a:gd name="T17" fmla="*/ 2 h 2"/>
              <a:gd name="T18" fmla="*/ 13 w 17"/>
              <a:gd name="T19" fmla="*/ 2 h 2"/>
              <a:gd name="T20" fmla="*/ 14 w 17"/>
              <a:gd name="T21" fmla="*/ 1 h 2"/>
              <a:gd name="T22" fmla="*/ 17 w 17"/>
              <a:gd name="T23" fmla="*/ 1 h 2"/>
              <a:gd name="T24" fmla="*/ 17 w 17"/>
              <a:gd name="T25" fmla="*/ 1 h 2"/>
              <a:gd name="T26" fmla="*/ 16 w 17"/>
              <a:gd name="T27" fmla="*/ 1 h 2"/>
              <a:gd name="T28" fmla="*/ 16 w 17"/>
              <a:gd name="T29" fmla="*/ 1 h 2"/>
              <a:gd name="T30" fmla="*/ 15 w 17"/>
              <a:gd name="T31" fmla="*/ 1 h 2"/>
              <a:gd name="T32" fmla="*/ 12 w 17"/>
              <a:gd name="T33" fmla="*/ 1 h 2"/>
              <a:gd name="T34" fmla="*/ 13 w 17"/>
              <a:gd name="T35" fmla="*/ 1 h 2"/>
              <a:gd name="T36" fmla="*/ 13 w 17"/>
              <a:gd name="T37" fmla="*/ 0 h 2"/>
              <a:gd name="T38" fmla="*/ 12 w 17"/>
              <a:gd name="T39" fmla="*/ 0 h 2"/>
              <a:gd name="T40" fmla="*/ 10 w 17"/>
              <a:gd name="T41" fmla="*/ 1 h 2"/>
              <a:gd name="T42" fmla="*/ 9 w 17"/>
              <a:gd name="T43" fmla="*/ 0 h 2"/>
              <a:gd name="T44" fmla="*/ 10 w 17"/>
              <a:gd name="T45" fmla="*/ 0 h 2"/>
              <a:gd name="T46" fmla="*/ 9 w 17"/>
              <a:gd name="T47" fmla="*/ 0 h 2"/>
              <a:gd name="T48" fmla="*/ 5 w 17"/>
              <a:gd name="T4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7" h="2">
                <a:moveTo>
                  <a:pt x="5" y="0"/>
                </a:moveTo>
                <a:lnTo>
                  <a:pt x="0" y="0"/>
                </a:lnTo>
                <a:lnTo>
                  <a:pt x="0" y="0"/>
                </a:lnTo>
                <a:lnTo>
                  <a:pt x="1" y="1"/>
                </a:lnTo>
                <a:lnTo>
                  <a:pt x="4" y="1"/>
                </a:lnTo>
                <a:lnTo>
                  <a:pt x="6" y="1"/>
                </a:lnTo>
                <a:lnTo>
                  <a:pt x="6" y="2"/>
                </a:lnTo>
                <a:lnTo>
                  <a:pt x="10" y="2"/>
                </a:lnTo>
                <a:lnTo>
                  <a:pt x="11" y="2"/>
                </a:lnTo>
                <a:lnTo>
                  <a:pt x="13" y="2"/>
                </a:lnTo>
                <a:lnTo>
                  <a:pt x="14" y="1"/>
                </a:lnTo>
                <a:lnTo>
                  <a:pt x="17" y="1"/>
                </a:lnTo>
                <a:lnTo>
                  <a:pt x="17" y="1"/>
                </a:lnTo>
                <a:lnTo>
                  <a:pt x="16" y="1"/>
                </a:lnTo>
                <a:lnTo>
                  <a:pt x="16" y="1"/>
                </a:lnTo>
                <a:lnTo>
                  <a:pt x="15" y="1"/>
                </a:lnTo>
                <a:lnTo>
                  <a:pt x="12" y="1"/>
                </a:lnTo>
                <a:lnTo>
                  <a:pt x="13" y="1"/>
                </a:lnTo>
                <a:lnTo>
                  <a:pt x="13" y="0"/>
                </a:lnTo>
                <a:lnTo>
                  <a:pt x="12" y="0"/>
                </a:lnTo>
                <a:lnTo>
                  <a:pt x="10" y="1"/>
                </a:lnTo>
                <a:lnTo>
                  <a:pt x="9" y="0"/>
                </a:lnTo>
                <a:lnTo>
                  <a:pt x="10" y="0"/>
                </a:lnTo>
                <a:lnTo>
                  <a:pt x="9" y="0"/>
                </a:lnTo>
                <a:lnTo>
                  <a:pt x="5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15" name="Freeform 615"/>
          <p:cNvSpPr>
            <a:spLocks/>
          </p:cNvSpPr>
          <p:nvPr/>
        </p:nvSpPr>
        <p:spPr bwMode="auto">
          <a:xfrm>
            <a:off x="5192713" y="1376328"/>
            <a:ext cx="26987" cy="3175"/>
          </a:xfrm>
          <a:custGeom>
            <a:avLst/>
            <a:gdLst>
              <a:gd name="T0" fmla="*/ 5 w 17"/>
              <a:gd name="T1" fmla="*/ 0 h 2"/>
              <a:gd name="T2" fmla="*/ 0 w 17"/>
              <a:gd name="T3" fmla="*/ 0 h 2"/>
              <a:gd name="T4" fmla="*/ 0 w 17"/>
              <a:gd name="T5" fmla="*/ 0 h 2"/>
              <a:gd name="T6" fmla="*/ 1 w 17"/>
              <a:gd name="T7" fmla="*/ 1 h 2"/>
              <a:gd name="T8" fmla="*/ 4 w 17"/>
              <a:gd name="T9" fmla="*/ 1 h 2"/>
              <a:gd name="T10" fmla="*/ 6 w 17"/>
              <a:gd name="T11" fmla="*/ 1 h 2"/>
              <a:gd name="T12" fmla="*/ 6 w 17"/>
              <a:gd name="T13" fmla="*/ 2 h 2"/>
              <a:gd name="T14" fmla="*/ 10 w 17"/>
              <a:gd name="T15" fmla="*/ 2 h 2"/>
              <a:gd name="T16" fmla="*/ 11 w 17"/>
              <a:gd name="T17" fmla="*/ 2 h 2"/>
              <a:gd name="T18" fmla="*/ 13 w 17"/>
              <a:gd name="T19" fmla="*/ 2 h 2"/>
              <a:gd name="T20" fmla="*/ 14 w 17"/>
              <a:gd name="T21" fmla="*/ 1 h 2"/>
              <a:gd name="T22" fmla="*/ 17 w 17"/>
              <a:gd name="T23" fmla="*/ 1 h 2"/>
              <a:gd name="T24" fmla="*/ 17 w 17"/>
              <a:gd name="T25" fmla="*/ 1 h 2"/>
              <a:gd name="T26" fmla="*/ 16 w 17"/>
              <a:gd name="T27" fmla="*/ 1 h 2"/>
              <a:gd name="T28" fmla="*/ 16 w 17"/>
              <a:gd name="T29" fmla="*/ 1 h 2"/>
              <a:gd name="T30" fmla="*/ 15 w 17"/>
              <a:gd name="T31" fmla="*/ 1 h 2"/>
              <a:gd name="T32" fmla="*/ 12 w 17"/>
              <a:gd name="T33" fmla="*/ 1 h 2"/>
              <a:gd name="T34" fmla="*/ 13 w 17"/>
              <a:gd name="T35" fmla="*/ 1 h 2"/>
              <a:gd name="T36" fmla="*/ 13 w 17"/>
              <a:gd name="T37" fmla="*/ 0 h 2"/>
              <a:gd name="T38" fmla="*/ 12 w 17"/>
              <a:gd name="T39" fmla="*/ 0 h 2"/>
              <a:gd name="T40" fmla="*/ 10 w 17"/>
              <a:gd name="T41" fmla="*/ 1 h 2"/>
              <a:gd name="T42" fmla="*/ 9 w 17"/>
              <a:gd name="T43" fmla="*/ 0 h 2"/>
              <a:gd name="T44" fmla="*/ 10 w 17"/>
              <a:gd name="T45" fmla="*/ 0 h 2"/>
              <a:gd name="T46" fmla="*/ 9 w 17"/>
              <a:gd name="T47" fmla="*/ 0 h 2"/>
              <a:gd name="T48" fmla="*/ 5 w 17"/>
              <a:gd name="T4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7" h="2">
                <a:moveTo>
                  <a:pt x="5" y="0"/>
                </a:moveTo>
                <a:lnTo>
                  <a:pt x="0" y="0"/>
                </a:lnTo>
                <a:lnTo>
                  <a:pt x="0" y="0"/>
                </a:lnTo>
                <a:lnTo>
                  <a:pt x="1" y="1"/>
                </a:lnTo>
                <a:lnTo>
                  <a:pt x="4" y="1"/>
                </a:lnTo>
                <a:lnTo>
                  <a:pt x="6" y="1"/>
                </a:lnTo>
                <a:lnTo>
                  <a:pt x="6" y="2"/>
                </a:lnTo>
                <a:lnTo>
                  <a:pt x="10" y="2"/>
                </a:lnTo>
                <a:lnTo>
                  <a:pt x="11" y="2"/>
                </a:lnTo>
                <a:lnTo>
                  <a:pt x="13" y="2"/>
                </a:lnTo>
                <a:lnTo>
                  <a:pt x="14" y="1"/>
                </a:lnTo>
                <a:lnTo>
                  <a:pt x="17" y="1"/>
                </a:lnTo>
                <a:lnTo>
                  <a:pt x="17" y="1"/>
                </a:lnTo>
                <a:lnTo>
                  <a:pt x="16" y="1"/>
                </a:lnTo>
                <a:lnTo>
                  <a:pt x="16" y="1"/>
                </a:lnTo>
                <a:lnTo>
                  <a:pt x="15" y="1"/>
                </a:lnTo>
                <a:lnTo>
                  <a:pt x="12" y="1"/>
                </a:lnTo>
                <a:lnTo>
                  <a:pt x="13" y="1"/>
                </a:lnTo>
                <a:lnTo>
                  <a:pt x="13" y="0"/>
                </a:lnTo>
                <a:lnTo>
                  <a:pt x="12" y="0"/>
                </a:lnTo>
                <a:lnTo>
                  <a:pt x="10" y="1"/>
                </a:lnTo>
                <a:lnTo>
                  <a:pt x="9" y="0"/>
                </a:lnTo>
                <a:lnTo>
                  <a:pt x="10" y="0"/>
                </a:lnTo>
                <a:lnTo>
                  <a:pt x="9" y="0"/>
                </a:lnTo>
                <a:lnTo>
                  <a:pt x="5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16" name="Freeform 616"/>
          <p:cNvSpPr>
            <a:spLocks/>
          </p:cNvSpPr>
          <p:nvPr/>
        </p:nvSpPr>
        <p:spPr bwMode="auto">
          <a:xfrm>
            <a:off x="5195888" y="1373153"/>
            <a:ext cx="53975" cy="6350"/>
          </a:xfrm>
          <a:custGeom>
            <a:avLst/>
            <a:gdLst>
              <a:gd name="T0" fmla="*/ 14 w 34"/>
              <a:gd name="T1" fmla="*/ 1 h 4"/>
              <a:gd name="T2" fmla="*/ 12 w 34"/>
              <a:gd name="T3" fmla="*/ 0 h 4"/>
              <a:gd name="T4" fmla="*/ 8 w 34"/>
              <a:gd name="T5" fmla="*/ 0 h 4"/>
              <a:gd name="T6" fmla="*/ 5 w 34"/>
              <a:gd name="T7" fmla="*/ 0 h 4"/>
              <a:gd name="T8" fmla="*/ 2 w 34"/>
              <a:gd name="T9" fmla="*/ 0 h 4"/>
              <a:gd name="T10" fmla="*/ 1 w 34"/>
              <a:gd name="T11" fmla="*/ 0 h 4"/>
              <a:gd name="T12" fmla="*/ 1 w 34"/>
              <a:gd name="T13" fmla="*/ 1 h 4"/>
              <a:gd name="T14" fmla="*/ 0 w 34"/>
              <a:gd name="T15" fmla="*/ 1 h 4"/>
              <a:gd name="T16" fmla="*/ 4 w 34"/>
              <a:gd name="T17" fmla="*/ 1 h 4"/>
              <a:gd name="T18" fmla="*/ 4 w 34"/>
              <a:gd name="T19" fmla="*/ 1 h 4"/>
              <a:gd name="T20" fmla="*/ 4 w 34"/>
              <a:gd name="T21" fmla="*/ 1 h 4"/>
              <a:gd name="T22" fmla="*/ 10 w 34"/>
              <a:gd name="T23" fmla="*/ 1 h 4"/>
              <a:gd name="T24" fmla="*/ 10 w 34"/>
              <a:gd name="T25" fmla="*/ 2 h 4"/>
              <a:gd name="T26" fmla="*/ 10 w 34"/>
              <a:gd name="T27" fmla="*/ 2 h 4"/>
              <a:gd name="T28" fmla="*/ 12 w 34"/>
              <a:gd name="T29" fmla="*/ 2 h 4"/>
              <a:gd name="T30" fmla="*/ 13 w 34"/>
              <a:gd name="T31" fmla="*/ 2 h 4"/>
              <a:gd name="T32" fmla="*/ 14 w 34"/>
              <a:gd name="T33" fmla="*/ 2 h 4"/>
              <a:gd name="T34" fmla="*/ 15 w 34"/>
              <a:gd name="T35" fmla="*/ 2 h 4"/>
              <a:gd name="T36" fmla="*/ 22 w 34"/>
              <a:gd name="T37" fmla="*/ 3 h 4"/>
              <a:gd name="T38" fmla="*/ 23 w 34"/>
              <a:gd name="T39" fmla="*/ 3 h 4"/>
              <a:gd name="T40" fmla="*/ 24 w 34"/>
              <a:gd name="T41" fmla="*/ 3 h 4"/>
              <a:gd name="T42" fmla="*/ 24 w 34"/>
              <a:gd name="T43" fmla="*/ 3 h 4"/>
              <a:gd name="T44" fmla="*/ 25 w 34"/>
              <a:gd name="T45" fmla="*/ 3 h 4"/>
              <a:gd name="T46" fmla="*/ 27 w 34"/>
              <a:gd name="T47" fmla="*/ 3 h 4"/>
              <a:gd name="T48" fmla="*/ 28 w 34"/>
              <a:gd name="T49" fmla="*/ 4 h 4"/>
              <a:gd name="T50" fmla="*/ 28 w 34"/>
              <a:gd name="T51" fmla="*/ 4 h 4"/>
              <a:gd name="T52" fmla="*/ 29 w 34"/>
              <a:gd name="T53" fmla="*/ 4 h 4"/>
              <a:gd name="T54" fmla="*/ 33 w 34"/>
              <a:gd name="T55" fmla="*/ 4 h 4"/>
              <a:gd name="T56" fmla="*/ 34 w 34"/>
              <a:gd name="T57" fmla="*/ 4 h 4"/>
              <a:gd name="T58" fmla="*/ 34 w 34"/>
              <a:gd name="T59" fmla="*/ 3 h 4"/>
              <a:gd name="T60" fmla="*/ 32 w 34"/>
              <a:gd name="T61" fmla="*/ 3 h 4"/>
              <a:gd name="T62" fmla="*/ 31 w 34"/>
              <a:gd name="T63" fmla="*/ 3 h 4"/>
              <a:gd name="T64" fmla="*/ 27 w 34"/>
              <a:gd name="T65" fmla="*/ 2 h 4"/>
              <a:gd name="T66" fmla="*/ 22 w 34"/>
              <a:gd name="T67" fmla="*/ 1 h 4"/>
              <a:gd name="T68" fmla="*/ 19 w 34"/>
              <a:gd name="T69" fmla="*/ 1 h 4"/>
              <a:gd name="T70" fmla="*/ 19 w 34"/>
              <a:gd name="T71" fmla="*/ 1 h 4"/>
              <a:gd name="T72" fmla="*/ 19 w 34"/>
              <a:gd name="T73" fmla="*/ 1 h 4"/>
              <a:gd name="T74" fmla="*/ 18 w 34"/>
              <a:gd name="T75" fmla="*/ 1 h 4"/>
              <a:gd name="T76" fmla="*/ 14 w 34"/>
              <a:gd name="T77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4" h="4">
                <a:moveTo>
                  <a:pt x="14" y="1"/>
                </a:moveTo>
                <a:lnTo>
                  <a:pt x="12" y="0"/>
                </a:lnTo>
                <a:lnTo>
                  <a:pt x="8" y="0"/>
                </a:lnTo>
                <a:lnTo>
                  <a:pt x="5" y="0"/>
                </a:lnTo>
                <a:lnTo>
                  <a:pt x="2" y="0"/>
                </a:lnTo>
                <a:lnTo>
                  <a:pt x="1" y="0"/>
                </a:lnTo>
                <a:lnTo>
                  <a:pt x="1" y="1"/>
                </a:lnTo>
                <a:lnTo>
                  <a:pt x="0" y="1"/>
                </a:lnTo>
                <a:lnTo>
                  <a:pt x="4" y="1"/>
                </a:lnTo>
                <a:lnTo>
                  <a:pt x="4" y="1"/>
                </a:lnTo>
                <a:lnTo>
                  <a:pt x="4" y="1"/>
                </a:lnTo>
                <a:lnTo>
                  <a:pt x="10" y="1"/>
                </a:lnTo>
                <a:lnTo>
                  <a:pt x="10" y="2"/>
                </a:lnTo>
                <a:lnTo>
                  <a:pt x="10" y="2"/>
                </a:lnTo>
                <a:lnTo>
                  <a:pt x="12" y="2"/>
                </a:lnTo>
                <a:lnTo>
                  <a:pt x="13" y="2"/>
                </a:lnTo>
                <a:lnTo>
                  <a:pt x="14" y="2"/>
                </a:lnTo>
                <a:lnTo>
                  <a:pt x="15" y="2"/>
                </a:lnTo>
                <a:lnTo>
                  <a:pt x="22" y="3"/>
                </a:lnTo>
                <a:lnTo>
                  <a:pt x="23" y="3"/>
                </a:lnTo>
                <a:lnTo>
                  <a:pt x="24" y="3"/>
                </a:lnTo>
                <a:lnTo>
                  <a:pt x="24" y="3"/>
                </a:lnTo>
                <a:lnTo>
                  <a:pt x="25" y="3"/>
                </a:lnTo>
                <a:lnTo>
                  <a:pt x="27" y="3"/>
                </a:lnTo>
                <a:lnTo>
                  <a:pt x="28" y="4"/>
                </a:lnTo>
                <a:lnTo>
                  <a:pt x="28" y="4"/>
                </a:lnTo>
                <a:lnTo>
                  <a:pt x="29" y="4"/>
                </a:lnTo>
                <a:lnTo>
                  <a:pt x="33" y="4"/>
                </a:lnTo>
                <a:lnTo>
                  <a:pt x="34" y="4"/>
                </a:lnTo>
                <a:lnTo>
                  <a:pt x="34" y="3"/>
                </a:lnTo>
                <a:lnTo>
                  <a:pt x="32" y="3"/>
                </a:lnTo>
                <a:lnTo>
                  <a:pt x="31" y="3"/>
                </a:lnTo>
                <a:lnTo>
                  <a:pt x="27" y="2"/>
                </a:lnTo>
                <a:lnTo>
                  <a:pt x="22" y="1"/>
                </a:lnTo>
                <a:lnTo>
                  <a:pt x="19" y="1"/>
                </a:lnTo>
                <a:lnTo>
                  <a:pt x="19" y="1"/>
                </a:lnTo>
                <a:lnTo>
                  <a:pt x="19" y="1"/>
                </a:lnTo>
                <a:lnTo>
                  <a:pt x="18" y="1"/>
                </a:lnTo>
                <a:lnTo>
                  <a:pt x="14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17" name="Freeform 617"/>
          <p:cNvSpPr>
            <a:spLocks/>
          </p:cNvSpPr>
          <p:nvPr/>
        </p:nvSpPr>
        <p:spPr bwMode="auto">
          <a:xfrm>
            <a:off x="5195888" y="1373153"/>
            <a:ext cx="53975" cy="6350"/>
          </a:xfrm>
          <a:custGeom>
            <a:avLst/>
            <a:gdLst>
              <a:gd name="T0" fmla="*/ 14 w 34"/>
              <a:gd name="T1" fmla="*/ 1 h 4"/>
              <a:gd name="T2" fmla="*/ 12 w 34"/>
              <a:gd name="T3" fmla="*/ 0 h 4"/>
              <a:gd name="T4" fmla="*/ 8 w 34"/>
              <a:gd name="T5" fmla="*/ 0 h 4"/>
              <a:gd name="T6" fmla="*/ 5 w 34"/>
              <a:gd name="T7" fmla="*/ 0 h 4"/>
              <a:gd name="T8" fmla="*/ 2 w 34"/>
              <a:gd name="T9" fmla="*/ 0 h 4"/>
              <a:gd name="T10" fmla="*/ 1 w 34"/>
              <a:gd name="T11" fmla="*/ 0 h 4"/>
              <a:gd name="T12" fmla="*/ 1 w 34"/>
              <a:gd name="T13" fmla="*/ 1 h 4"/>
              <a:gd name="T14" fmla="*/ 0 w 34"/>
              <a:gd name="T15" fmla="*/ 1 h 4"/>
              <a:gd name="T16" fmla="*/ 4 w 34"/>
              <a:gd name="T17" fmla="*/ 1 h 4"/>
              <a:gd name="T18" fmla="*/ 4 w 34"/>
              <a:gd name="T19" fmla="*/ 1 h 4"/>
              <a:gd name="T20" fmla="*/ 4 w 34"/>
              <a:gd name="T21" fmla="*/ 1 h 4"/>
              <a:gd name="T22" fmla="*/ 10 w 34"/>
              <a:gd name="T23" fmla="*/ 1 h 4"/>
              <a:gd name="T24" fmla="*/ 10 w 34"/>
              <a:gd name="T25" fmla="*/ 2 h 4"/>
              <a:gd name="T26" fmla="*/ 10 w 34"/>
              <a:gd name="T27" fmla="*/ 2 h 4"/>
              <a:gd name="T28" fmla="*/ 12 w 34"/>
              <a:gd name="T29" fmla="*/ 2 h 4"/>
              <a:gd name="T30" fmla="*/ 13 w 34"/>
              <a:gd name="T31" fmla="*/ 2 h 4"/>
              <a:gd name="T32" fmla="*/ 14 w 34"/>
              <a:gd name="T33" fmla="*/ 2 h 4"/>
              <a:gd name="T34" fmla="*/ 15 w 34"/>
              <a:gd name="T35" fmla="*/ 2 h 4"/>
              <a:gd name="T36" fmla="*/ 22 w 34"/>
              <a:gd name="T37" fmla="*/ 3 h 4"/>
              <a:gd name="T38" fmla="*/ 23 w 34"/>
              <a:gd name="T39" fmla="*/ 3 h 4"/>
              <a:gd name="T40" fmla="*/ 24 w 34"/>
              <a:gd name="T41" fmla="*/ 3 h 4"/>
              <a:gd name="T42" fmla="*/ 24 w 34"/>
              <a:gd name="T43" fmla="*/ 3 h 4"/>
              <a:gd name="T44" fmla="*/ 25 w 34"/>
              <a:gd name="T45" fmla="*/ 3 h 4"/>
              <a:gd name="T46" fmla="*/ 27 w 34"/>
              <a:gd name="T47" fmla="*/ 3 h 4"/>
              <a:gd name="T48" fmla="*/ 28 w 34"/>
              <a:gd name="T49" fmla="*/ 4 h 4"/>
              <a:gd name="T50" fmla="*/ 28 w 34"/>
              <a:gd name="T51" fmla="*/ 4 h 4"/>
              <a:gd name="T52" fmla="*/ 29 w 34"/>
              <a:gd name="T53" fmla="*/ 4 h 4"/>
              <a:gd name="T54" fmla="*/ 33 w 34"/>
              <a:gd name="T55" fmla="*/ 4 h 4"/>
              <a:gd name="T56" fmla="*/ 34 w 34"/>
              <a:gd name="T57" fmla="*/ 4 h 4"/>
              <a:gd name="T58" fmla="*/ 34 w 34"/>
              <a:gd name="T59" fmla="*/ 3 h 4"/>
              <a:gd name="T60" fmla="*/ 32 w 34"/>
              <a:gd name="T61" fmla="*/ 3 h 4"/>
              <a:gd name="T62" fmla="*/ 31 w 34"/>
              <a:gd name="T63" fmla="*/ 3 h 4"/>
              <a:gd name="T64" fmla="*/ 27 w 34"/>
              <a:gd name="T65" fmla="*/ 2 h 4"/>
              <a:gd name="T66" fmla="*/ 22 w 34"/>
              <a:gd name="T67" fmla="*/ 1 h 4"/>
              <a:gd name="T68" fmla="*/ 19 w 34"/>
              <a:gd name="T69" fmla="*/ 1 h 4"/>
              <a:gd name="T70" fmla="*/ 19 w 34"/>
              <a:gd name="T71" fmla="*/ 1 h 4"/>
              <a:gd name="T72" fmla="*/ 19 w 34"/>
              <a:gd name="T73" fmla="*/ 1 h 4"/>
              <a:gd name="T74" fmla="*/ 18 w 34"/>
              <a:gd name="T75" fmla="*/ 1 h 4"/>
              <a:gd name="T76" fmla="*/ 14 w 34"/>
              <a:gd name="T77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4" h="4">
                <a:moveTo>
                  <a:pt x="14" y="1"/>
                </a:moveTo>
                <a:lnTo>
                  <a:pt x="12" y="0"/>
                </a:lnTo>
                <a:lnTo>
                  <a:pt x="8" y="0"/>
                </a:lnTo>
                <a:lnTo>
                  <a:pt x="5" y="0"/>
                </a:lnTo>
                <a:lnTo>
                  <a:pt x="2" y="0"/>
                </a:lnTo>
                <a:lnTo>
                  <a:pt x="1" y="0"/>
                </a:lnTo>
                <a:lnTo>
                  <a:pt x="1" y="1"/>
                </a:lnTo>
                <a:lnTo>
                  <a:pt x="0" y="1"/>
                </a:lnTo>
                <a:lnTo>
                  <a:pt x="4" y="1"/>
                </a:lnTo>
                <a:lnTo>
                  <a:pt x="4" y="1"/>
                </a:lnTo>
                <a:lnTo>
                  <a:pt x="4" y="1"/>
                </a:lnTo>
                <a:lnTo>
                  <a:pt x="10" y="1"/>
                </a:lnTo>
                <a:lnTo>
                  <a:pt x="10" y="2"/>
                </a:lnTo>
                <a:lnTo>
                  <a:pt x="10" y="2"/>
                </a:lnTo>
                <a:lnTo>
                  <a:pt x="12" y="2"/>
                </a:lnTo>
                <a:lnTo>
                  <a:pt x="13" y="2"/>
                </a:lnTo>
                <a:lnTo>
                  <a:pt x="14" y="2"/>
                </a:lnTo>
                <a:lnTo>
                  <a:pt x="15" y="2"/>
                </a:lnTo>
                <a:lnTo>
                  <a:pt x="22" y="3"/>
                </a:lnTo>
                <a:lnTo>
                  <a:pt x="23" y="3"/>
                </a:lnTo>
                <a:lnTo>
                  <a:pt x="24" y="3"/>
                </a:lnTo>
                <a:lnTo>
                  <a:pt x="24" y="3"/>
                </a:lnTo>
                <a:lnTo>
                  <a:pt x="25" y="3"/>
                </a:lnTo>
                <a:lnTo>
                  <a:pt x="27" y="3"/>
                </a:lnTo>
                <a:lnTo>
                  <a:pt x="28" y="4"/>
                </a:lnTo>
                <a:lnTo>
                  <a:pt x="28" y="4"/>
                </a:lnTo>
                <a:lnTo>
                  <a:pt x="29" y="4"/>
                </a:lnTo>
                <a:lnTo>
                  <a:pt x="33" y="4"/>
                </a:lnTo>
                <a:lnTo>
                  <a:pt x="34" y="4"/>
                </a:lnTo>
                <a:lnTo>
                  <a:pt x="34" y="3"/>
                </a:lnTo>
                <a:lnTo>
                  <a:pt x="32" y="3"/>
                </a:lnTo>
                <a:lnTo>
                  <a:pt x="31" y="3"/>
                </a:lnTo>
                <a:lnTo>
                  <a:pt x="27" y="2"/>
                </a:lnTo>
                <a:lnTo>
                  <a:pt x="22" y="1"/>
                </a:lnTo>
                <a:lnTo>
                  <a:pt x="19" y="1"/>
                </a:lnTo>
                <a:lnTo>
                  <a:pt x="19" y="1"/>
                </a:lnTo>
                <a:lnTo>
                  <a:pt x="19" y="1"/>
                </a:lnTo>
                <a:lnTo>
                  <a:pt x="18" y="1"/>
                </a:lnTo>
                <a:lnTo>
                  <a:pt x="14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18" name="Freeform 618"/>
          <p:cNvSpPr>
            <a:spLocks/>
          </p:cNvSpPr>
          <p:nvPr/>
        </p:nvSpPr>
        <p:spPr bwMode="auto">
          <a:xfrm>
            <a:off x="5222875" y="1373153"/>
            <a:ext cx="31750" cy="4763"/>
          </a:xfrm>
          <a:custGeom>
            <a:avLst/>
            <a:gdLst>
              <a:gd name="T0" fmla="*/ 6 w 20"/>
              <a:gd name="T1" fmla="*/ 0 h 3"/>
              <a:gd name="T2" fmla="*/ 4 w 20"/>
              <a:gd name="T3" fmla="*/ 0 h 3"/>
              <a:gd name="T4" fmla="*/ 3 w 20"/>
              <a:gd name="T5" fmla="*/ 0 h 3"/>
              <a:gd name="T6" fmla="*/ 1 w 20"/>
              <a:gd name="T7" fmla="*/ 0 h 3"/>
              <a:gd name="T8" fmla="*/ 0 w 20"/>
              <a:gd name="T9" fmla="*/ 0 h 3"/>
              <a:gd name="T10" fmla="*/ 0 w 20"/>
              <a:gd name="T11" fmla="*/ 0 h 3"/>
              <a:gd name="T12" fmla="*/ 0 w 20"/>
              <a:gd name="T13" fmla="*/ 0 h 3"/>
              <a:gd name="T14" fmla="*/ 8 w 20"/>
              <a:gd name="T15" fmla="*/ 1 h 3"/>
              <a:gd name="T16" fmla="*/ 13 w 20"/>
              <a:gd name="T17" fmla="*/ 2 h 3"/>
              <a:gd name="T18" fmla="*/ 15 w 20"/>
              <a:gd name="T19" fmla="*/ 2 h 3"/>
              <a:gd name="T20" fmla="*/ 16 w 20"/>
              <a:gd name="T21" fmla="*/ 3 h 3"/>
              <a:gd name="T22" fmla="*/ 18 w 20"/>
              <a:gd name="T23" fmla="*/ 3 h 3"/>
              <a:gd name="T24" fmla="*/ 20 w 20"/>
              <a:gd name="T25" fmla="*/ 2 h 3"/>
              <a:gd name="T26" fmla="*/ 20 w 20"/>
              <a:gd name="T27" fmla="*/ 2 h 3"/>
              <a:gd name="T28" fmla="*/ 17 w 20"/>
              <a:gd name="T29" fmla="*/ 2 h 3"/>
              <a:gd name="T30" fmla="*/ 15 w 20"/>
              <a:gd name="T31" fmla="*/ 1 h 3"/>
              <a:gd name="T32" fmla="*/ 6 w 20"/>
              <a:gd name="T33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0" h="3">
                <a:moveTo>
                  <a:pt x="6" y="0"/>
                </a:moveTo>
                <a:lnTo>
                  <a:pt x="4" y="0"/>
                </a:lnTo>
                <a:lnTo>
                  <a:pt x="3" y="0"/>
                </a:lnTo>
                <a:lnTo>
                  <a:pt x="1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8" y="1"/>
                </a:lnTo>
                <a:lnTo>
                  <a:pt x="13" y="2"/>
                </a:lnTo>
                <a:lnTo>
                  <a:pt x="15" y="2"/>
                </a:lnTo>
                <a:lnTo>
                  <a:pt x="16" y="3"/>
                </a:lnTo>
                <a:lnTo>
                  <a:pt x="18" y="3"/>
                </a:lnTo>
                <a:lnTo>
                  <a:pt x="20" y="2"/>
                </a:lnTo>
                <a:lnTo>
                  <a:pt x="20" y="2"/>
                </a:lnTo>
                <a:lnTo>
                  <a:pt x="17" y="2"/>
                </a:lnTo>
                <a:lnTo>
                  <a:pt x="15" y="1"/>
                </a:lnTo>
                <a:lnTo>
                  <a:pt x="6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19" name="Freeform 619"/>
          <p:cNvSpPr>
            <a:spLocks/>
          </p:cNvSpPr>
          <p:nvPr/>
        </p:nvSpPr>
        <p:spPr bwMode="auto">
          <a:xfrm>
            <a:off x="5222875" y="1373153"/>
            <a:ext cx="31750" cy="4763"/>
          </a:xfrm>
          <a:custGeom>
            <a:avLst/>
            <a:gdLst>
              <a:gd name="T0" fmla="*/ 6 w 20"/>
              <a:gd name="T1" fmla="*/ 0 h 3"/>
              <a:gd name="T2" fmla="*/ 4 w 20"/>
              <a:gd name="T3" fmla="*/ 0 h 3"/>
              <a:gd name="T4" fmla="*/ 3 w 20"/>
              <a:gd name="T5" fmla="*/ 0 h 3"/>
              <a:gd name="T6" fmla="*/ 1 w 20"/>
              <a:gd name="T7" fmla="*/ 0 h 3"/>
              <a:gd name="T8" fmla="*/ 0 w 20"/>
              <a:gd name="T9" fmla="*/ 0 h 3"/>
              <a:gd name="T10" fmla="*/ 0 w 20"/>
              <a:gd name="T11" fmla="*/ 0 h 3"/>
              <a:gd name="T12" fmla="*/ 0 w 20"/>
              <a:gd name="T13" fmla="*/ 0 h 3"/>
              <a:gd name="T14" fmla="*/ 8 w 20"/>
              <a:gd name="T15" fmla="*/ 1 h 3"/>
              <a:gd name="T16" fmla="*/ 13 w 20"/>
              <a:gd name="T17" fmla="*/ 2 h 3"/>
              <a:gd name="T18" fmla="*/ 15 w 20"/>
              <a:gd name="T19" fmla="*/ 2 h 3"/>
              <a:gd name="T20" fmla="*/ 16 w 20"/>
              <a:gd name="T21" fmla="*/ 3 h 3"/>
              <a:gd name="T22" fmla="*/ 18 w 20"/>
              <a:gd name="T23" fmla="*/ 3 h 3"/>
              <a:gd name="T24" fmla="*/ 20 w 20"/>
              <a:gd name="T25" fmla="*/ 2 h 3"/>
              <a:gd name="T26" fmla="*/ 20 w 20"/>
              <a:gd name="T27" fmla="*/ 2 h 3"/>
              <a:gd name="T28" fmla="*/ 17 w 20"/>
              <a:gd name="T29" fmla="*/ 2 h 3"/>
              <a:gd name="T30" fmla="*/ 15 w 20"/>
              <a:gd name="T31" fmla="*/ 1 h 3"/>
              <a:gd name="T32" fmla="*/ 6 w 20"/>
              <a:gd name="T33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0" h="3">
                <a:moveTo>
                  <a:pt x="6" y="0"/>
                </a:moveTo>
                <a:lnTo>
                  <a:pt x="4" y="0"/>
                </a:lnTo>
                <a:lnTo>
                  <a:pt x="3" y="0"/>
                </a:lnTo>
                <a:lnTo>
                  <a:pt x="1" y="0"/>
                </a:ln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  <a:lnTo>
                  <a:pt x="8" y="1"/>
                </a:lnTo>
                <a:lnTo>
                  <a:pt x="13" y="2"/>
                </a:lnTo>
                <a:lnTo>
                  <a:pt x="15" y="2"/>
                </a:lnTo>
                <a:lnTo>
                  <a:pt x="16" y="3"/>
                </a:lnTo>
                <a:lnTo>
                  <a:pt x="18" y="3"/>
                </a:lnTo>
                <a:lnTo>
                  <a:pt x="20" y="2"/>
                </a:lnTo>
                <a:lnTo>
                  <a:pt x="20" y="2"/>
                </a:lnTo>
                <a:lnTo>
                  <a:pt x="17" y="2"/>
                </a:lnTo>
                <a:lnTo>
                  <a:pt x="15" y="1"/>
                </a:lnTo>
                <a:lnTo>
                  <a:pt x="6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20" name="Freeform 620"/>
          <p:cNvSpPr>
            <a:spLocks/>
          </p:cNvSpPr>
          <p:nvPr/>
        </p:nvSpPr>
        <p:spPr bwMode="auto">
          <a:xfrm>
            <a:off x="5270500" y="1536665"/>
            <a:ext cx="123825" cy="66675"/>
          </a:xfrm>
          <a:custGeom>
            <a:avLst/>
            <a:gdLst>
              <a:gd name="T0" fmla="*/ 20 w 78"/>
              <a:gd name="T1" fmla="*/ 1 h 42"/>
              <a:gd name="T2" fmla="*/ 28 w 78"/>
              <a:gd name="T3" fmla="*/ 0 h 42"/>
              <a:gd name="T4" fmla="*/ 36 w 78"/>
              <a:gd name="T5" fmla="*/ 1 h 42"/>
              <a:gd name="T6" fmla="*/ 45 w 78"/>
              <a:gd name="T7" fmla="*/ 3 h 42"/>
              <a:gd name="T8" fmla="*/ 46 w 78"/>
              <a:gd name="T9" fmla="*/ 6 h 42"/>
              <a:gd name="T10" fmla="*/ 38 w 78"/>
              <a:gd name="T11" fmla="*/ 7 h 42"/>
              <a:gd name="T12" fmla="*/ 46 w 78"/>
              <a:gd name="T13" fmla="*/ 7 h 42"/>
              <a:gd name="T14" fmla="*/ 42 w 78"/>
              <a:gd name="T15" fmla="*/ 9 h 42"/>
              <a:gd name="T16" fmla="*/ 42 w 78"/>
              <a:gd name="T17" fmla="*/ 9 h 42"/>
              <a:gd name="T18" fmla="*/ 42 w 78"/>
              <a:gd name="T19" fmla="*/ 12 h 42"/>
              <a:gd name="T20" fmla="*/ 41 w 78"/>
              <a:gd name="T21" fmla="*/ 12 h 42"/>
              <a:gd name="T22" fmla="*/ 41 w 78"/>
              <a:gd name="T23" fmla="*/ 15 h 42"/>
              <a:gd name="T24" fmla="*/ 43 w 78"/>
              <a:gd name="T25" fmla="*/ 18 h 42"/>
              <a:gd name="T26" fmla="*/ 44 w 78"/>
              <a:gd name="T27" fmla="*/ 21 h 42"/>
              <a:gd name="T28" fmla="*/ 49 w 78"/>
              <a:gd name="T29" fmla="*/ 27 h 42"/>
              <a:gd name="T30" fmla="*/ 55 w 78"/>
              <a:gd name="T31" fmla="*/ 30 h 42"/>
              <a:gd name="T32" fmla="*/ 63 w 78"/>
              <a:gd name="T33" fmla="*/ 35 h 42"/>
              <a:gd name="T34" fmla="*/ 71 w 78"/>
              <a:gd name="T35" fmla="*/ 37 h 42"/>
              <a:gd name="T36" fmla="*/ 78 w 78"/>
              <a:gd name="T37" fmla="*/ 39 h 42"/>
              <a:gd name="T38" fmla="*/ 76 w 78"/>
              <a:gd name="T39" fmla="*/ 41 h 42"/>
              <a:gd name="T40" fmla="*/ 75 w 78"/>
              <a:gd name="T41" fmla="*/ 41 h 42"/>
              <a:gd name="T42" fmla="*/ 72 w 78"/>
              <a:gd name="T43" fmla="*/ 42 h 42"/>
              <a:gd name="T44" fmla="*/ 67 w 78"/>
              <a:gd name="T45" fmla="*/ 39 h 42"/>
              <a:gd name="T46" fmla="*/ 63 w 78"/>
              <a:gd name="T47" fmla="*/ 40 h 42"/>
              <a:gd name="T48" fmla="*/ 65 w 78"/>
              <a:gd name="T49" fmla="*/ 40 h 42"/>
              <a:gd name="T50" fmla="*/ 61 w 78"/>
              <a:gd name="T51" fmla="*/ 41 h 42"/>
              <a:gd name="T52" fmla="*/ 59 w 78"/>
              <a:gd name="T53" fmla="*/ 41 h 42"/>
              <a:gd name="T54" fmla="*/ 54 w 78"/>
              <a:gd name="T55" fmla="*/ 39 h 42"/>
              <a:gd name="T56" fmla="*/ 52 w 78"/>
              <a:gd name="T57" fmla="*/ 40 h 42"/>
              <a:gd name="T58" fmla="*/ 46 w 78"/>
              <a:gd name="T59" fmla="*/ 40 h 42"/>
              <a:gd name="T60" fmla="*/ 47 w 78"/>
              <a:gd name="T61" fmla="*/ 39 h 42"/>
              <a:gd name="T62" fmla="*/ 37 w 78"/>
              <a:gd name="T63" fmla="*/ 39 h 42"/>
              <a:gd name="T64" fmla="*/ 34 w 78"/>
              <a:gd name="T65" fmla="*/ 38 h 42"/>
              <a:gd name="T66" fmla="*/ 33 w 78"/>
              <a:gd name="T67" fmla="*/ 36 h 42"/>
              <a:gd name="T68" fmla="*/ 32 w 78"/>
              <a:gd name="T69" fmla="*/ 35 h 42"/>
              <a:gd name="T70" fmla="*/ 33 w 78"/>
              <a:gd name="T71" fmla="*/ 33 h 42"/>
              <a:gd name="T72" fmla="*/ 37 w 78"/>
              <a:gd name="T73" fmla="*/ 33 h 42"/>
              <a:gd name="T74" fmla="*/ 34 w 78"/>
              <a:gd name="T75" fmla="*/ 32 h 42"/>
              <a:gd name="T76" fmla="*/ 27 w 78"/>
              <a:gd name="T77" fmla="*/ 31 h 42"/>
              <a:gd name="T78" fmla="*/ 31 w 78"/>
              <a:gd name="T79" fmla="*/ 28 h 42"/>
              <a:gd name="T80" fmla="*/ 26 w 78"/>
              <a:gd name="T81" fmla="*/ 31 h 42"/>
              <a:gd name="T82" fmla="*/ 24 w 78"/>
              <a:gd name="T83" fmla="*/ 28 h 42"/>
              <a:gd name="T84" fmla="*/ 21 w 78"/>
              <a:gd name="T85" fmla="*/ 28 h 42"/>
              <a:gd name="T86" fmla="*/ 18 w 78"/>
              <a:gd name="T87" fmla="*/ 29 h 42"/>
              <a:gd name="T88" fmla="*/ 14 w 78"/>
              <a:gd name="T89" fmla="*/ 26 h 42"/>
              <a:gd name="T90" fmla="*/ 12 w 78"/>
              <a:gd name="T91" fmla="*/ 27 h 42"/>
              <a:gd name="T92" fmla="*/ 10 w 78"/>
              <a:gd name="T93" fmla="*/ 28 h 42"/>
              <a:gd name="T94" fmla="*/ 5 w 78"/>
              <a:gd name="T95" fmla="*/ 28 h 42"/>
              <a:gd name="T96" fmla="*/ 1 w 78"/>
              <a:gd name="T97" fmla="*/ 23 h 42"/>
              <a:gd name="T98" fmla="*/ 0 w 78"/>
              <a:gd name="T99" fmla="*/ 20 h 42"/>
              <a:gd name="T100" fmla="*/ 4 w 78"/>
              <a:gd name="T101" fmla="*/ 19 h 42"/>
              <a:gd name="T102" fmla="*/ 6 w 78"/>
              <a:gd name="T103" fmla="*/ 19 h 42"/>
              <a:gd name="T104" fmla="*/ 8 w 78"/>
              <a:gd name="T105" fmla="*/ 18 h 42"/>
              <a:gd name="T106" fmla="*/ 10 w 78"/>
              <a:gd name="T107" fmla="*/ 16 h 42"/>
              <a:gd name="T108" fmla="*/ 10 w 78"/>
              <a:gd name="T109" fmla="*/ 15 h 42"/>
              <a:gd name="T110" fmla="*/ 11 w 78"/>
              <a:gd name="T111" fmla="*/ 12 h 42"/>
              <a:gd name="T112" fmla="*/ 10 w 78"/>
              <a:gd name="T113" fmla="*/ 12 h 42"/>
              <a:gd name="T114" fmla="*/ 7 w 78"/>
              <a:gd name="T115" fmla="*/ 11 h 42"/>
              <a:gd name="T116" fmla="*/ 6 w 78"/>
              <a:gd name="T117" fmla="*/ 7 h 42"/>
              <a:gd name="T118" fmla="*/ 13 w 78"/>
              <a:gd name="T119" fmla="*/ 7 h 42"/>
              <a:gd name="T120" fmla="*/ 10 w 78"/>
              <a:gd name="T121" fmla="*/ 6 h 42"/>
              <a:gd name="T122" fmla="*/ 10 w 78"/>
              <a:gd name="T123" fmla="*/ 5 h 42"/>
              <a:gd name="T124" fmla="*/ 14 w 78"/>
              <a:gd name="T125" fmla="*/ 1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8" h="42">
                <a:moveTo>
                  <a:pt x="14" y="1"/>
                </a:moveTo>
                <a:lnTo>
                  <a:pt x="14" y="1"/>
                </a:lnTo>
                <a:lnTo>
                  <a:pt x="20" y="1"/>
                </a:lnTo>
                <a:lnTo>
                  <a:pt x="21" y="1"/>
                </a:lnTo>
                <a:lnTo>
                  <a:pt x="25" y="0"/>
                </a:lnTo>
                <a:lnTo>
                  <a:pt x="28" y="0"/>
                </a:lnTo>
                <a:lnTo>
                  <a:pt x="31" y="0"/>
                </a:lnTo>
                <a:lnTo>
                  <a:pt x="33" y="1"/>
                </a:lnTo>
                <a:lnTo>
                  <a:pt x="36" y="1"/>
                </a:lnTo>
                <a:lnTo>
                  <a:pt x="41" y="2"/>
                </a:lnTo>
                <a:lnTo>
                  <a:pt x="44" y="2"/>
                </a:lnTo>
                <a:lnTo>
                  <a:pt x="45" y="3"/>
                </a:lnTo>
                <a:lnTo>
                  <a:pt x="46" y="5"/>
                </a:lnTo>
                <a:lnTo>
                  <a:pt x="39" y="5"/>
                </a:lnTo>
                <a:lnTo>
                  <a:pt x="46" y="6"/>
                </a:lnTo>
                <a:lnTo>
                  <a:pt x="45" y="6"/>
                </a:lnTo>
                <a:lnTo>
                  <a:pt x="43" y="6"/>
                </a:lnTo>
                <a:lnTo>
                  <a:pt x="38" y="7"/>
                </a:lnTo>
                <a:lnTo>
                  <a:pt x="42" y="7"/>
                </a:lnTo>
                <a:lnTo>
                  <a:pt x="45" y="6"/>
                </a:lnTo>
                <a:lnTo>
                  <a:pt x="46" y="7"/>
                </a:lnTo>
                <a:lnTo>
                  <a:pt x="45" y="8"/>
                </a:lnTo>
                <a:lnTo>
                  <a:pt x="44" y="9"/>
                </a:lnTo>
                <a:lnTo>
                  <a:pt x="42" y="9"/>
                </a:lnTo>
                <a:lnTo>
                  <a:pt x="38" y="9"/>
                </a:lnTo>
                <a:lnTo>
                  <a:pt x="38" y="9"/>
                </a:lnTo>
                <a:lnTo>
                  <a:pt x="42" y="9"/>
                </a:lnTo>
                <a:lnTo>
                  <a:pt x="43" y="10"/>
                </a:lnTo>
                <a:lnTo>
                  <a:pt x="42" y="11"/>
                </a:lnTo>
                <a:lnTo>
                  <a:pt x="42" y="12"/>
                </a:lnTo>
                <a:lnTo>
                  <a:pt x="41" y="12"/>
                </a:lnTo>
                <a:lnTo>
                  <a:pt x="39" y="12"/>
                </a:lnTo>
                <a:lnTo>
                  <a:pt x="41" y="12"/>
                </a:lnTo>
                <a:lnTo>
                  <a:pt x="41" y="13"/>
                </a:lnTo>
                <a:lnTo>
                  <a:pt x="39" y="13"/>
                </a:lnTo>
                <a:lnTo>
                  <a:pt x="41" y="15"/>
                </a:lnTo>
                <a:lnTo>
                  <a:pt x="41" y="16"/>
                </a:lnTo>
                <a:lnTo>
                  <a:pt x="42" y="17"/>
                </a:lnTo>
                <a:lnTo>
                  <a:pt x="43" y="18"/>
                </a:lnTo>
                <a:lnTo>
                  <a:pt x="43" y="19"/>
                </a:lnTo>
                <a:lnTo>
                  <a:pt x="43" y="20"/>
                </a:lnTo>
                <a:lnTo>
                  <a:pt x="44" y="21"/>
                </a:lnTo>
                <a:lnTo>
                  <a:pt x="45" y="21"/>
                </a:lnTo>
                <a:lnTo>
                  <a:pt x="47" y="25"/>
                </a:lnTo>
                <a:lnTo>
                  <a:pt x="49" y="27"/>
                </a:lnTo>
                <a:lnTo>
                  <a:pt x="51" y="28"/>
                </a:lnTo>
                <a:lnTo>
                  <a:pt x="53" y="29"/>
                </a:lnTo>
                <a:lnTo>
                  <a:pt x="55" y="30"/>
                </a:lnTo>
                <a:lnTo>
                  <a:pt x="56" y="31"/>
                </a:lnTo>
                <a:lnTo>
                  <a:pt x="57" y="32"/>
                </a:lnTo>
                <a:lnTo>
                  <a:pt x="63" y="35"/>
                </a:lnTo>
                <a:lnTo>
                  <a:pt x="66" y="36"/>
                </a:lnTo>
                <a:lnTo>
                  <a:pt x="68" y="36"/>
                </a:lnTo>
                <a:lnTo>
                  <a:pt x="71" y="37"/>
                </a:lnTo>
                <a:lnTo>
                  <a:pt x="74" y="38"/>
                </a:lnTo>
                <a:lnTo>
                  <a:pt x="75" y="38"/>
                </a:lnTo>
                <a:lnTo>
                  <a:pt x="78" y="39"/>
                </a:lnTo>
                <a:lnTo>
                  <a:pt x="77" y="39"/>
                </a:lnTo>
                <a:lnTo>
                  <a:pt x="77" y="40"/>
                </a:lnTo>
                <a:lnTo>
                  <a:pt x="76" y="41"/>
                </a:lnTo>
                <a:lnTo>
                  <a:pt x="72" y="40"/>
                </a:lnTo>
                <a:lnTo>
                  <a:pt x="71" y="41"/>
                </a:lnTo>
                <a:lnTo>
                  <a:pt x="75" y="41"/>
                </a:lnTo>
                <a:lnTo>
                  <a:pt x="74" y="41"/>
                </a:lnTo>
                <a:lnTo>
                  <a:pt x="74" y="42"/>
                </a:lnTo>
                <a:lnTo>
                  <a:pt x="72" y="42"/>
                </a:lnTo>
                <a:lnTo>
                  <a:pt x="68" y="40"/>
                </a:lnTo>
                <a:lnTo>
                  <a:pt x="67" y="40"/>
                </a:lnTo>
                <a:lnTo>
                  <a:pt x="67" y="39"/>
                </a:lnTo>
                <a:lnTo>
                  <a:pt x="65" y="39"/>
                </a:lnTo>
                <a:lnTo>
                  <a:pt x="63" y="39"/>
                </a:lnTo>
                <a:lnTo>
                  <a:pt x="63" y="40"/>
                </a:lnTo>
                <a:lnTo>
                  <a:pt x="63" y="40"/>
                </a:lnTo>
                <a:lnTo>
                  <a:pt x="65" y="41"/>
                </a:lnTo>
                <a:lnTo>
                  <a:pt x="65" y="40"/>
                </a:lnTo>
                <a:lnTo>
                  <a:pt x="66" y="41"/>
                </a:lnTo>
                <a:lnTo>
                  <a:pt x="64" y="41"/>
                </a:lnTo>
                <a:lnTo>
                  <a:pt x="61" y="41"/>
                </a:lnTo>
                <a:lnTo>
                  <a:pt x="59" y="41"/>
                </a:lnTo>
                <a:lnTo>
                  <a:pt x="61" y="41"/>
                </a:lnTo>
                <a:lnTo>
                  <a:pt x="59" y="41"/>
                </a:lnTo>
                <a:lnTo>
                  <a:pt x="57" y="40"/>
                </a:lnTo>
                <a:lnTo>
                  <a:pt x="56" y="40"/>
                </a:lnTo>
                <a:lnTo>
                  <a:pt x="54" y="39"/>
                </a:lnTo>
                <a:lnTo>
                  <a:pt x="54" y="40"/>
                </a:lnTo>
                <a:lnTo>
                  <a:pt x="53" y="40"/>
                </a:lnTo>
                <a:lnTo>
                  <a:pt x="52" y="40"/>
                </a:lnTo>
                <a:lnTo>
                  <a:pt x="53" y="41"/>
                </a:lnTo>
                <a:lnTo>
                  <a:pt x="52" y="41"/>
                </a:lnTo>
                <a:lnTo>
                  <a:pt x="46" y="40"/>
                </a:lnTo>
                <a:lnTo>
                  <a:pt x="45" y="39"/>
                </a:lnTo>
                <a:lnTo>
                  <a:pt x="47" y="39"/>
                </a:lnTo>
                <a:lnTo>
                  <a:pt x="47" y="39"/>
                </a:lnTo>
                <a:lnTo>
                  <a:pt x="44" y="39"/>
                </a:lnTo>
                <a:lnTo>
                  <a:pt x="39" y="39"/>
                </a:lnTo>
                <a:lnTo>
                  <a:pt x="37" y="39"/>
                </a:lnTo>
                <a:lnTo>
                  <a:pt x="36" y="38"/>
                </a:lnTo>
                <a:lnTo>
                  <a:pt x="35" y="39"/>
                </a:lnTo>
                <a:lnTo>
                  <a:pt x="34" y="38"/>
                </a:lnTo>
                <a:lnTo>
                  <a:pt x="33" y="38"/>
                </a:lnTo>
                <a:lnTo>
                  <a:pt x="33" y="37"/>
                </a:lnTo>
                <a:lnTo>
                  <a:pt x="33" y="36"/>
                </a:lnTo>
                <a:lnTo>
                  <a:pt x="32" y="36"/>
                </a:lnTo>
                <a:lnTo>
                  <a:pt x="31" y="35"/>
                </a:lnTo>
                <a:lnTo>
                  <a:pt x="32" y="35"/>
                </a:lnTo>
                <a:lnTo>
                  <a:pt x="34" y="35"/>
                </a:lnTo>
                <a:lnTo>
                  <a:pt x="34" y="35"/>
                </a:lnTo>
                <a:lnTo>
                  <a:pt x="33" y="33"/>
                </a:lnTo>
                <a:lnTo>
                  <a:pt x="35" y="35"/>
                </a:lnTo>
                <a:lnTo>
                  <a:pt x="37" y="35"/>
                </a:lnTo>
                <a:lnTo>
                  <a:pt x="37" y="33"/>
                </a:lnTo>
                <a:lnTo>
                  <a:pt x="35" y="33"/>
                </a:lnTo>
                <a:lnTo>
                  <a:pt x="36" y="33"/>
                </a:lnTo>
                <a:lnTo>
                  <a:pt x="34" y="32"/>
                </a:lnTo>
                <a:lnTo>
                  <a:pt x="31" y="32"/>
                </a:lnTo>
                <a:lnTo>
                  <a:pt x="28" y="31"/>
                </a:lnTo>
                <a:lnTo>
                  <a:pt x="27" y="31"/>
                </a:lnTo>
                <a:lnTo>
                  <a:pt x="28" y="31"/>
                </a:lnTo>
                <a:lnTo>
                  <a:pt x="28" y="30"/>
                </a:lnTo>
                <a:lnTo>
                  <a:pt x="31" y="28"/>
                </a:lnTo>
                <a:lnTo>
                  <a:pt x="28" y="29"/>
                </a:lnTo>
                <a:lnTo>
                  <a:pt x="27" y="30"/>
                </a:lnTo>
                <a:lnTo>
                  <a:pt x="26" y="31"/>
                </a:lnTo>
                <a:lnTo>
                  <a:pt x="25" y="30"/>
                </a:lnTo>
                <a:lnTo>
                  <a:pt x="25" y="29"/>
                </a:lnTo>
                <a:lnTo>
                  <a:pt x="24" y="28"/>
                </a:lnTo>
                <a:lnTo>
                  <a:pt x="24" y="27"/>
                </a:lnTo>
                <a:lnTo>
                  <a:pt x="23" y="28"/>
                </a:lnTo>
                <a:lnTo>
                  <a:pt x="21" y="28"/>
                </a:lnTo>
                <a:lnTo>
                  <a:pt x="21" y="29"/>
                </a:lnTo>
                <a:lnTo>
                  <a:pt x="18" y="28"/>
                </a:lnTo>
                <a:lnTo>
                  <a:pt x="18" y="29"/>
                </a:lnTo>
                <a:lnTo>
                  <a:pt x="17" y="28"/>
                </a:lnTo>
                <a:lnTo>
                  <a:pt x="16" y="26"/>
                </a:lnTo>
                <a:lnTo>
                  <a:pt x="14" y="26"/>
                </a:lnTo>
                <a:lnTo>
                  <a:pt x="14" y="27"/>
                </a:lnTo>
                <a:lnTo>
                  <a:pt x="14" y="28"/>
                </a:lnTo>
                <a:lnTo>
                  <a:pt x="12" y="27"/>
                </a:lnTo>
                <a:lnTo>
                  <a:pt x="12" y="27"/>
                </a:lnTo>
                <a:lnTo>
                  <a:pt x="12" y="28"/>
                </a:lnTo>
                <a:lnTo>
                  <a:pt x="10" y="28"/>
                </a:lnTo>
                <a:lnTo>
                  <a:pt x="7" y="28"/>
                </a:lnTo>
                <a:lnTo>
                  <a:pt x="6" y="28"/>
                </a:lnTo>
                <a:lnTo>
                  <a:pt x="5" y="28"/>
                </a:lnTo>
                <a:lnTo>
                  <a:pt x="4" y="27"/>
                </a:lnTo>
                <a:lnTo>
                  <a:pt x="2" y="25"/>
                </a:lnTo>
                <a:lnTo>
                  <a:pt x="1" y="23"/>
                </a:lnTo>
                <a:lnTo>
                  <a:pt x="0" y="22"/>
                </a:lnTo>
                <a:lnTo>
                  <a:pt x="0" y="21"/>
                </a:lnTo>
                <a:lnTo>
                  <a:pt x="0" y="20"/>
                </a:lnTo>
                <a:lnTo>
                  <a:pt x="0" y="19"/>
                </a:lnTo>
                <a:lnTo>
                  <a:pt x="2" y="19"/>
                </a:lnTo>
                <a:lnTo>
                  <a:pt x="4" y="19"/>
                </a:lnTo>
                <a:lnTo>
                  <a:pt x="4" y="19"/>
                </a:lnTo>
                <a:lnTo>
                  <a:pt x="6" y="19"/>
                </a:lnTo>
                <a:lnTo>
                  <a:pt x="6" y="19"/>
                </a:lnTo>
                <a:lnTo>
                  <a:pt x="8" y="20"/>
                </a:lnTo>
                <a:lnTo>
                  <a:pt x="8" y="19"/>
                </a:lnTo>
                <a:lnTo>
                  <a:pt x="8" y="18"/>
                </a:lnTo>
                <a:lnTo>
                  <a:pt x="8" y="18"/>
                </a:lnTo>
                <a:lnTo>
                  <a:pt x="8" y="16"/>
                </a:lnTo>
                <a:lnTo>
                  <a:pt x="10" y="16"/>
                </a:lnTo>
                <a:lnTo>
                  <a:pt x="10" y="16"/>
                </a:lnTo>
                <a:lnTo>
                  <a:pt x="8" y="15"/>
                </a:lnTo>
                <a:lnTo>
                  <a:pt x="10" y="15"/>
                </a:lnTo>
                <a:lnTo>
                  <a:pt x="10" y="13"/>
                </a:lnTo>
                <a:lnTo>
                  <a:pt x="10" y="13"/>
                </a:lnTo>
                <a:lnTo>
                  <a:pt x="11" y="12"/>
                </a:lnTo>
                <a:lnTo>
                  <a:pt x="12" y="12"/>
                </a:lnTo>
                <a:lnTo>
                  <a:pt x="12" y="11"/>
                </a:lnTo>
                <a:lnTo>
                  <a:pt x="10" y="12"/>
                </a:lnTo>
                <a:lnTo>
                  <a:pt x="8" y="12"/>
                </a:lnTo>
                <a:lnTo>
                  <a:pt x="10" y="11"/>
                </a:lnTo>
                <a:lnTo>
                  <a:pt x="7" y="11"/>
                </a:lnTo>
                <a:lnTo>
                  <a:pt x="4" y="10"/>
                </a:lnTo>
                <a:lnTo>
                  <a:pt x="4" y="9"/>
                </a:lnTo>
                <a:lnTo>
                  <a:pt x="6" y="7"/>
                </a:lnTo>
                <a:lnTo>
                  <a:pt x="8" y="7"/>
                </a:lnTo>
                <a:lnTo>
                  <a:pt x="11" y="7"/>
                </a:lnTo>
                <a:lnTo>
                  <a:pt x="13" y="7"/>
                </a:lnTo>
                <a:lnTo>
                  <a:pt x="11" y="7"/>
                </a:lnTo>
                <a:lnTo>
                  <a:pt x="10" y="6"/>
                </a:lnTo>
                <a:lnTo>
                  <a:pt x="10" y="6"/>
                </a:lnTo>
                <a:lnTo>
                  <a:pt x="11" y="6"/>
                </a:lnTo>
                <a:lnTo>
                  <a:pt x="11" y="5"/>
                </a:lnTo>
                <a:lnTo>
                  <a:pt x="10" y="5"/>
                </a:lnTo>
                <a:lnTo>
                  <a:pt x="8" y="3"/>
                </a:lnTo>
                <a:lnTo>
                  <a:pt x="12" y="2"/>
                </a:lnTo>
                <a:lnTo>
                  <a:pt x="14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21" name="Freeform 621"/>
          <p:cNvSpPr>
            <a:spLocks/>
          </p:cNvSpPr>
          <p:nvPr/>
        </p:nvSpPr>
        <p:spPr bwMode="auto">
          <a:xfrm>
            <a:off x="5270500" y="1536665"/>
            <a:ext cx="123825" cy="66675"/>
          </a:xfrm>
          <a:custGeom>
            <a:avLst/>
            <a:gdLst>
              <a:gd name="T0" fmla="*/ 20 w 78"/>
              <a:gd name="T1" fmla="*/ 1 h 42"/>
              <a:gd name="T2" fmla="*/ 28 w 78"/>
              <a:gd name="T3" fmla="*/ 0 h 42"/>
              <a:gd name="T4" fmla="*/ 36 w 78"/>
              <a:gd name="T5" fmla="*/ 1 h 42"/>
              <a:gd name="T6" fmla="*/ 45 w 78"/>
              <a:gd name="T7" fmla="*/ 3 h 42"/>
              <a:gd name="T8" fmla="*/ 46 w 78"/>
              <a:gd name="T9" fmla="*/ 6 h 42"/>
              <a:gd name="T10" fmla="*/ 38 w 78"/>
              <a:gd name="T11" fmla="*/ 7 h 42"/>
              <a:gd name="T12" fmla="*/ 46 w 78"/>
              <a:gd name="T13" fmla="*/ 7 h 42"/>
              <a:gd name="T14" fmla="*/ 42 w 78"/>
              <a:gd name="T15" fmla="*/ 9 h 42"/>
              <a:gd name="T16" fmla="*/ 42 w 78"/>
              <a:gd name="T17" fmla="*/ 9 h 42"/>
              <a:gd name="T18" fmla="*/ 42 w 78"/>
              <a:gd name="T19" fmla="*/ 12 h 42"/>
              <a:gd name="T20" fmla="*/ 41 w 78"/>
              <a:gd name="T21" fmla="*/ 12 h 42"/>
              <a:gd name="T22" fmla="*/ 41 w 78"/>
              <a:gd name="T23" fmla="*/ 15 h 42"/>
              <a:gd name="T24" fmla="*/ 43 w 78"/>
              <a:gd name="T25" fmla="*/ 18 h 42"/>
              <a:gd name="T26" fmla="*/ 44 w 78"/>
              <a:gd name="T27" fmla="*/ 21 h 42"/>
              <a:gd name="T28" fmla="*/ 49 w 78"/>
              <a:gd name="T29" fmla="*/ 27 h 42"/>
              <a:gd name="T30" fmla="*/ 55 w 78"/>
              <a:gd name="T31" fmla="*/ 30 h 42"/>
              <a:gd name="T32" fmla="*/ 63 w 78"/>
              <a:gd name="T33" fmla="*/ 35 h 42"/>
              <a:gd name="T34" fmla="*/ 71 w 78"/>
              <a:gd name="T35" fmla="*/ 37 h 42"/>
              <a:gd name="T36" fmla="*/ 78 w 78"/>
              <a:gd name="T37" fmla="*/ 39 h 42"/>
              <a:gd name="T38" fmla="*/ 76 w 78"/>
              <a:gd name="T39" fmla="*/ 41 h 42"/>
              <a:gd name="T40" fmla="*/ 75 w 78"/>
              <a:gd name="T41" fmla="*/ 41 h 42"/>
              <a:gd name="T42" fmla="*/ 72 w 78"/>
              <a:gd name="T43" fmla="*/ 42 h 42"/>
              <a:gd name="T44" fmla="*/ 67 w 78"/>
              <a:gd name="T45" fmla="*/ 39 h 42"/>
              <a:gd name="T46" fmla="*/ 63 w 78"/>
              <a:gd name="T47" fmla="*/ 40 h 42"/>
              <a:gd name="T48" fmla="*/ 65 w 78"/>
              <a:gd name="T49" fmla="*/ 40 h 42"/>
              <a:gd name="T50" fmla="*/ 61 w 78"/>
              <a:gd name="T51" fmla="*/ 41 h 42"/>
              <a:gd name="T52" fmla="*/ 59 w 78"/>
              <a:gd name="T53" fmla="*/ 41 h 42"/>
              <a:gd name="T54" fmla="*/ 54 w 78"/>
              <a:gd name="T55" fmla="*/ 39 h 42"/>
              <a:gd name="T56" fmla="*/ 52 w 78"/>
              <a:gd name="T57" fmla="*/ 40 h 42"/>
              <a:gd name="T58" fmla="*/ 46 w 78"/>
              <a:gd name="T59" fmla="*/ 40 h 42"/>
              <a:gd name="T60" fmla="*/ 47 w 78"/>
              <a:gd name="T61" fmla="*/ 39 h 42"/>
              <a:gd name="T62" fmla="*/ 37 w 78"/>
              <a:gd name="T63" fmla="*/ 39 h 42"/>
              <a:gd name="T64" fmla="*/ 34 w 78"/>
              <a:gd name="T65" fmla="*/ 38 h 42"/>
              <a:gd name="T66" fmla="*/ 33 w 78"/>
              <a:gd name="T67" fmla="*/ 36 h 42"/>
              <a:gd name="T68" fmla="*/ 32 w 78"/>
              <a:gd name="T69" fmla="*/ 35 h 42"/>
              <a:gd name="T70" fmla="*/ 33 w 78"/>
              <a:gd name="T71" fmla="*/ 33 h 42"/>
              <a:gd name="T72" fmla="*/ 37 w 78"/>
              <a:gd name="T73" fmla="*/ 33 h 42"/>
              <a:gd name="T74" fmla="*/ 34 w 78"/>
              <a:gd name="T75" fmla="*/ 32 h 42"/>
              <a:gd name="T76" fmla="*/ 27 w 78"/>
              <a:gd name="T77" fmla="*/ 31 h 42"/>
              <a:gd name="T78" fmla="*/ 31 w 78"/>
              <a:gd name="T79" fmla="*/ 28 h 42"/>
              <a:gd name="T80" fmla="*/ 26 w 78"/>
              <a:gd name="T81" fmla="*/ 31 h 42"/>
              <a:gd name="T82" fmla="*/ 24 w 78"/>
              <a:gd name="T83" fmla="*/ 28 h 42"/>
              <a:gd name="T84" fmla="*/ 21 w 78"/>
              <a:gd name="T85" fmla="*/ 28 h 42"/>
              <a:gd name="T86" fmla="*/ 18 w 78"/>
              <a:gd name="T87" fmla="*/ 29 h 42"/>
              <a:gd name="T88" fmla="*/ 14 w 78"/>
              <a:gd name="T89" fmla="*/ 26 h 42"/>
              <a:gd name="T90" fmla="*/ 12 w 78"/>
              <a:gd name="T91" fmla="*/ 27 h 42"/>
              <a:gd name="T92" fmla="*/ 10 w 78"/>
              <a:gd name="T93" fmla="*/ 28 h 42"/>
              <a:gd name="T94" fmla="*/ 5 w 78"/>
              <a:gd name="T95" fmla="*/ 28 h 42"/>
              <a:gd name="T96" fmla="*/ 1 w 78"/>
              <a:gd name="T97" fmla="*/ 23 h 42"/>
              <a:gd name="T98" fmla="*/ 0 w 78"/>
              <a:gd name="T99" fmla="*/ 20 h 42"/>
              <a:gd name="T100" fmla="*/ 4 w 78"/>
              <a:gd name="T101" fmla="*/ 19 h 42"/>
              <a:gd name="T102" fmla="*/ 6 w 78"/>
              <a:gd name="T103" fmla="*/ 19 h 42"/>
              <a:gd name="T104" fmla="*/ 8 w 78"/>
              <a:gd name="T105" fmla="*/ 18 h 42"/>
              <a:gd name="T106" fmla="*/ 10 w 78"/>
              <a:gd name="T107" fmla="*/ 16 h 42"/>
              <a:gd name="T108" fmla="*/ 10 w 78"/>
              <a:gd name="T109" fmla="*/ 15 h 42"/>
              <a:gd name="T110" fmla="*/ 11 w 78"/>
              <a:gd name="T111" fmla="*/ 12 h 42"/>
              <a:gd name="T112" fmla="*/ 10 w 78"/>
              <a:gd name="T113" fmla="*/ 12 h 42"/>
              <a:gd name="T114" fmla="*/ 7 w 78"/>
              <a:gd name="T115" fmla="*/ 11 h 42"/>
              <a:gd name="T116" fmla="*/ 6 w 78"/>
              <a:gd name="T117" fmla="*/ 7 h 42"/>
              <a:gd name="T118" fmla="*/ 13 w 78"/>
              <a:gd name="T119" fmla="*/ 7 h 42"/>
              <a:gd name="T120" fmla="*/ 10 w 78"/>
              <a:gd name="T121" fmla="*/ 6 h 42"/>
              <a:gd name="T122" fmla="*/ 10 w 78"/>
              <a:gd name="T123" fmla="*/ 5 h 42"/>
              <a:gd name="T124" fmla="*/ 14 w 78"/>
              <a:gd name="T125" fmla="*/ 1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8" h="42">
                <a:moveTo>
                  <a:pt x="14" y="1"/>
                </a:moveTo>
                <a:lnTo>
                  <a:pt x="14" y="1"/>
                </a:lnTo>
                <a:lnTo>
                  <a:pt x="20" y="1"/>
                </a:lnTo>
                <a:lnTo>
                  <a:pt x="21" y="1"/>
                </a:lnTo>
                <a:lnTo>
                  <a:pt x="25" y="0"/>
                </a:lnTo>
                <a:lnTo>
                  <a:pt x="28" y="0"/>
                </a:lnTo>
                <a:lnTo>
                  <a:pt x="31" y="0"/>
                </a:lnTo>
                <a:lnTo>
                  <a:pt x="33" y="1"/>
                </a:lnTo>
                <a:lnTo>
                  <a:pt x="36" y="1"/>
                </a:lnTo>
                <a:lnTo>
                  <a:pt x="41" y="2"/>
                </a:lnTo>
                <a:lnTo>
                  <a:pt x="44" y="2"/>
                </a:lnTo>
                <a:lnTo>
                  <a:pt x="45" y="3"/>
                </a:lnTo>
                <a:lnTo>
                  <a:pt x="46" y="5"/>
                </a:lnTo>
                <a:lnTo>
                  <a:pt x="39" y="5"/>
                </a:lnTo>
                <a:lnTo>
                  <a:pt x="46" y="6"/>
                </a:lnTo>
                <a:lnTo>
                  <a:pt x="45" y="6"/>
                </a:lnTo>
                <a:lnTo>
                  <a:pt x="43" y="6"/>
                </a:lnTo>
                <a:lnTo>
                  <a:pt x="38" y="7"/>
                </a:lnTo>
                <a:lnTo>
                  <a:pt x="42" y="7"/>
                </a:lnTo>
                <a:lnTo>
                  <a:pt x="45" y="6"/>
                </a:lnTo>
                <a:lnTo>
                  <a:pt x="46" y="7"/>
                </a:lnTo>
                <a:lnTo>
                  <a:pt x="45" y="8"/>
                </a:lnTo>
                <a:lnTo>
                  <a:pt x="44" y="9"/>
                </a:lnTo>
                <a:lnTo>
                  <a:pt x="42" y="9"/>
                </a:lnTo>
                <a:lnTo>
                  <a:pt x="38" y="9"/>
                </a:lnTo>
                <a:lnTo>
                  <a:pt x="38" y="9"/>
                </a:lnTo>
                <a:lnTo>
                  <a:pt x="42" y="9"/>
                </a:lnTo>
                <a:lnTo>
                  <a:pt x="43" y="10"/>
                </a:lnTo>
                <a:lnTo>
                  <a:pt x="42" y="11"/>
                </a:lnTo>
                <a:lnTo>
                  <a:pt x="42" y="12"/>
                </a:lnTo>
                <a:lnTo>
                  <a:pt x="41" y="12"/>
                </a:lnTo>
                <a:lnTo>
                  <a:pt x="39" y="12"/>
                </a:lnTo>
                <a:lnTo>
                  <a:pt x="41" y="12"/>
                </a:lnTo>
                <a:lnTo>
                  <a:pt x="41" y="13"/>
                </a:lnTo>
                <a:lnTo>
                  <a:pt x="39" y="13"/>
                </a:lnTo>
                <a:lnTo>
                  <a:pt x="41" y="15"/>
                </a:lnTo>
                <a:lnTo>
                  <a:pt x="41" y="16"/>
                </a:lnTo>
                <a:lnTo>
                  <a:pt x="42" y="17"/>
                </a:lnTo>
                <a:lnTo>
                  <a:pt x="43" y="18"/>
                </a:lnTo>
                <a:lnTo>
                  <a:pt x="43" y="19"/>
                </a:lnTo>
                <a:lnTo>
                  <a:pt x="43" y="20"/>
                </a:lnTo>
                <a:lnTo>
                  <a:pt x="44" y="21"/>
                </a:lnTo>
                <a:lnTo>
                  <a:pt x="45" y="21"/>
                </a:lnTo>
                <a:lnTo>
                  <a:pt x="47" y="25"/>
                </a:lnTo>
                <a:lnTo>
                  <a:pt x="49" y="27"/>
                </a:lnTo>
                <a:lnTo>
                  <a:pt x="51" y="28"/>
                </a:lnTo>
                <a:lnTo>
                  <a:pt x="53" y="29"/>
                </a:lnTo>
                <a:lnTo>
                  <a:pt x="55" y="30"/>
                </a:lnTo>
                <a:lnTo>
                  <a:pt x="56" y="31"/>
                </a:lnTo>
                <a:lnTo>
                  <a:pt x="57" y="32"/>
                </a:lnTo>
                <a:lnTo>
                  <a:pt x="63" y="35"/>
                </a:lnTo>
                <a:lnTo>
                  <a:pt x="66" y="36"/>
                </a:lnTo>
                <a:lnTo>
                  <a:pt x="68" y="36"/>
                </a:lnTo>
                <a:lnTo>
                  <a:pt x="71" y="37"/>
                </a:lnTo>
                <a:lnTo>
                  <a:pt x="74" y="38"/>
                </a:lnTo>
                <a:lnTo>
                  <a:pt x="75" y="38"/>
                </a:lnTo>
                <a:lnTo>
                  <a:pt x="78" y="39"/>
                </a:lnTo>
                <a:lnTo>
                  <a:pt x="77" y="39"/>
                </a:lnTo>
                <a:lnTo>
                  <a:pt x="77" y="40"/>
                </a:lnTo>
                <a:lnTo>
                  <a:pt x="76" y="41"/>
                </a:lnTo>
                <a:lnTo>
                  <a:pt x="72" y="40"/>
                </a:lnTo>
                <a:lnTo>
                  <a:pt x="71" y="41"/>
                </a:lnTo>
                <a:lnTo>
                  <a:pt x="75" y="41"/>
                </a:lnTo>
                <a:lnTo>
                  <a:pt x="74" y="41"/>
                </a:lnTo>
                <a:lnTo>
                  <a:pt x="74" y="42"/>
                </a:lnTo>
                <a:lnTo>
                  <a:pt x="72" y="42"/>
                </a:lnTo>
                <a:lnTo>
                  <a:pt x="68" y="40"/>
                </a:lnTo>
                <a:lnTo>
                  <a:pt x="67" y="40"/>
                </a:lnTo>
                <a:lnTo>
                  <a:pt x="67" y="39"/>
                </a:lnTo>
                <a:lnTo>
                  <a:pt x="65" y="39"/>
                </a:lnTo>
                <a:lnTo>
                  <a:pt x="63" y="39"/>
                </a:lnTo>
                <a:lnTo>
                  <a:pt x="63" y="40"/>
                </a:lnTo>
                <a:lnTo>
                  <a:pt x="63" y="40"/>
                </a:lnTo>
                <a:lnTo>
                  <a:pt x="65" y="41"/>
                </a:lnTo>
                <a:lnTo>
                  <a:pt x="65" y="40"/>
                </a:lnTo>
                <a:lnTo>
                  <a:pt x="66" y="41"/>
                </a:lnTo>
                <a:lnTo>
                  <a:pt x="64" y="41"/>
                </a:lnTo>
                <a:lnTo>
                  <a:pt x="61" y="41"/>
                </a:lnTo>
                <a:lnTo>
                  <a:pt x="59" y="41"/>
                </a:lnTo>
                <a:lnTo>
                  <a:pt x="61" y="41"/>
                </a:lnTo>
                <a:lnTo>
                  <a:pt x="59" y="41"/>
                </a:lnTo>
                <a:lnTo>
                  <a:pt x="57" y="40"/>
                </a:lnTo>
                <a:lnTo>
                  <a:pt x="56" y="40"/>
                </a:lnTo>
                <a:lnTo>
                  <a:pt x="54" y="39"/>
                </a:lnTo>
                <a:lnTo>
                  <a:pt x="54" y="40"/>
                </a:lnTo>
                <a:lnTo>
                  <a:pt x="53" y="40"/>
                </a:lnTo>
                <a:lnTo>
                  <a:pt x="52" y="40"/>
                </a:lnTo>
                <a:lnTo>
                  <a:pt x="53" y="41"/>
                </a:lnTo>
                <a:lnTo>
                  <a:pt x="52" y="41"/>
                </a:lnTo>
                <a:lnTo>
                  <a:pt x="46" y="40"/>
                </a:lnTo>
                <a:lnTo>
                  <a:pt x="45" y="39"/>
                </a:lnTo>
                <a:lnTo>
                  <a:pt x="47" y="39"/>
                </a:lnTo>
                <a:lnTo>
                  <a:pt x="47" y="39"/>
                </a:lnTo>
                <a:lnTo>
                  <a:pt x="44" y="39"/>
                </a:lnTo>
                <a:lnTo>
                  <a:pt x="39" y="39"/>
                </a:lnTo>
                <a:lnTo>
                  <a:pt x="37" y="39"/>
                </a:lnTo>
                <a:lnTo>
                  <a:pt x="36" y="38"/>
                </a:lnTo>
                <a:lnTo>
                  <a:pt x="35" y="39"/>
                </a:lnTo>
                <a:lnTo>
                  <a:pt x="34" y="38"/>
                </a:lnTo>
                <a:lnTo>
                  <a:pt x="33" y="38"/>
                </a:lnTo>
                <a:lnTo>
                  <a:pt x="33" y="37"/>
                </a:lnTo>
                <a:lnTo>
                  <a:pt x="33" y="36"/>
                </a:lnTo>
                <a:lnTo>
                  <a:pt x="32" y="36"/>
                </a:lnTo>
                <a:lnTo>
                  <a:pt x="31" y="35"/>
                </a:lnTo>
                <a:lnTo>
                  <a:pt x="32" y="35"/>
                </a:lnTo>
                <a:lnTo>
                  <a:pt x="34" y="35"/>
                </a:lnTo>
                <a:lnTo>
                  <a:pt x="34" y="35"/>
                </a:lnTo>
                <a:lnTo>
                  <a:pt x="33" y="33"/>
                </a:lnTo>
                <a:lnTo>
                  <a:pt x="35" y="35"/>
                </a:lnTo>
                <a:lnTo>
                  <a:pt x="37" y="35"/>
                </a:lnTo>
                <a:lnTo>
                  <a:pt x="37" y="33"/>
                </a:lnTo>
                <a:lnTo>
                  <a:pt x="35" y="33"/>
                </a:lnTo>
                <a:lnTo>
                  <a:pt x="36" y="33"/>
                </a:lnTo>
                <a:lnTo>
                  <a:pt x="34" y="32"/>
                </a:lnTo>
                <a:lnTo>
                  <a:pt x="31" y="32"/>
                </a:lnTo>
                <a:lnTo>
                  <a:pt x="28" y="31"/>
                </a:lnTo>
                <a:lnTo>
                  <a:pt x="27" y="31"/>
                </a:lnTo>
                <a:lnTo>
                  <a:pt x="28" y="31"/>
                </a:lnTo>
                <a:lnTo>
                  <a:pt x="28" y="30"/>
                </a:lnTo>
                <a:lnTo>
                  <a:pt x="31" y="28"/>
                </a:lnTo>
                <a:lnTo>
                  <a:pt x="28" y="29"/>
                </a:lnTo>
                <a:lnTo>
                  <a:pt x="27" y="30"/>
                </a:lnTo>
                <a:lnTo>
                  <a:pt x="26" y="31"/>
                </a:lnTo>
                <a:lnTo>
                  <a:pt x="25" y="30"/>
                </a:lnTo>
                <a:lnTo>
                  <a:pt x="25" y="29"/>
                </a:lnTo>
                <a:lnTo>
                  <a:pt x="24" y="28"/>
                </a:lnTo>
                <a:lnTo>
                  <a:pt x="24" y="27"/>
                </a:lnTo>
                <a:lnTo>
                  <a:pt x="23" y="28"/>
                </a:lnTo>
                <a:lnTo>
                  <a:pt x="21" y="28"/>
                </a:lnTo>
                <a:lnTo>
                  <a:pt x="21" y="29"/>
                </a:lnTo>
                <a:lnTo>
                  <a:pt x="18" y="28"/>
                </a:lnTo>
                <a:lnTo>
                  <a:pt x="18" y="29"/>
                </a:lnTo>
                <a:lnTo>
                  <a:pt x="17" y="28"/>
                </a:lnTo>
                <a:lnTo>
                  <a:pt x="16" y="26"/>
                </a:lnTo>
                <a:lnTo>
                  <a:pt x="14" y="26"/>
                </a:lnTo>
                <a:lnTo>
                  <a:pt x="14" y="27"/>
                </a:lnTo>
                <a:lnTo>
                  <a:pt x="14" y="28"/>
                </a:lnTo>
                <a:lnTo>
                  <a:pt x="12" y="27"/>
                </a:lnTo>
                <a:lnTo>
                  <a:pt x="12" y="27"/>
                </a:lnTo>
                <a:lnTo>
                  <a:pt x="12" y="28"/>
                </a:lnTo>
                <a:lnTo>
                  <a:pt x="10" y="28"/>
                </a:lnTo>
                <a:lnTo>
                  <a:pt x="7" y="28"/>
                </a:lnTo>
                <a:lnTo>
                  <a:pt x="6" y="28"/>
                </a:lnTo>
                <a:lnTo>
                  <a:pt x="5" y="28"/>
                </a:lnTo>
                <a:lnTo>
                  <a:pt x="4" y="27"/>
                </a:lnTo>
                <a:lnTo>
                  <a:pt x="2" y="25"/>
                </a:lnTo>
                <a:lnTo>
                  <a:pt x="1" y="23"/>
                </a:lnTo>
                <a:lnTo>
                  <a:pt x="0" y="22"/>
                </a:lnTo>
                <a:lnTo>
                  <a:pt x="0" y="21"/>
                </a:lnTo>
                <a:lnTo>
                  <a:pt x="0" y="20"/>
                </a:lnTo>
                <a:lnTo>
                  <a:pt x="0" y="19"/>
                </a:lnTo>
                <a:lnTo>
                  <a:pt x="2" y="19"/>
                </a:lnTo>
                <a:lnTo>
                  <a:pt x="4" y="19"/>
                </a:lnTo>
                <a:lnTo>
                  <a:pt x="4" y="19"/>
                </a:lnTo>
                <a:lnTo>
                  <a:pt x="6" y="19"/>
                </a:lnTo>
                <a:lnTo>
                  <a:pt x="6" y="19"/>
                </a:lnTo>
                <a:lnTo>
                  <a:pt x="8" y="20"/>
                </a:lnTo>
                <a:lnTo>
                  <a:pt x="8" y="19"/>
                </a:lnTo>
                <a:lnTo>
                  <a:pt x="8" y="18"/>
                </a:lnTo>
                <a:lnTo>
                  <a:pt x="8" y="18"/>
                </a:lnTo>
                <a:lnTo>
                  <a:pt x="8" y="16"/>
                </a:lnTo>
                <a:lnTo>
                  <a:pt x="10" y="16"/>
                </a:lnTo>
                <a:lnTo>
                  <a:pt x="10" y="16"/>
                </a:lnTo>
                <a:lnTo>
                  <a:pt x="8" y="15"/>
                </a:lnTo>
                <a:lnTo>
                  <a:pt x="10" y="15"/>
                </a:lnTo>
                <a:lnTo>
                  <a:pt x="10" y="13"/>
                </a:lnTo>
                <a:lnTo>
                  <a:pt x="10" y="13"/>
                </a:lnTo>
                <a:lnTo>
                  <a:pt x="11" y="12"/>
                </a:lnTo>
                <a:lnTo>
                  <a:pt x="12" y="12"/>
                </a:lnTo>
                <a:lnTo>
                  <a:pt x="12" y="11"/>
                </a:lnTo>
                <a:lnTo>
                  <a:pt x="10" y="12"/>
                </a:lnTo>
                <a:lnTo>
                  <a:pt x="8" y="12"/>
                </a:lnTo>
                <a:lnTo>
                  <a:pt x="10" y="11"/>
                </a:lnTo>
                <a:lnTo>
                  <a:pt x="7" y="11"/>
                </a:lnTo>
                <a:lnTo>
                  <a:pt x="4" y="10"/>
                </a:lnTo>
                <a:lnTo>
                  <a:pt x="4" y="9"/>
                </a:lnTo>
                <a:lnTo>
                  <a:pt x="6" y="7"/>
                </a:lnTo>
                <a:lnTo>
                  <a:pt x="8" y="7"/>
                </a:lnTo>
                <a:lnTo>
                  <a:pt x="11" y="7"/>
                </a:lnTo>
                <a:lnTo>
                  <a:pt x="13" y="7"/>
                </a:lnTo>
                <a:lnTo>
                  <a:pt x="11" y="7"/>
                </a:lnTo>
                <a:lnTo>
                  <a:pt x="10" y="6"/>
                </a:lnTo>
                <a:lnTo>
                  <a:pt x="10" y="6"/>
                </a:lnTo>
                <a:lnTo>
                  <a:pt x="11" y="6"/>
                </a:lnTo>
                <a:lnTo>
                  <a:pt x="11" y="5"/>
                </a:lnTo>
                <a:lnTo>
                  <a:pt x="10" y="5"/>
                </a:lnTo>
                <a:lnTo>
                  <a:pt x="8" y="3"/>
                </a:lnTo>
                <a:lnTo>
                  <a:pt x="12" y="2"/>
                </a:lnTo>
                <a:lnTo>
                  <a:pt x="14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22" name="Freeform 622"/>
          <p:cNvSpPr>
            <a:spLocks/>
          </p:cNvSpPr>
          <p:nvPr/>
        </p:nvSpPr>
        <p:spPr bwMode="auto">
          <a:xfrm>
            <a:off x="5283200" y="1455703"/>
            <a:ext cx="223837" cy="84138"/>
          </a:xfrm>
          <a:custGeom>
            <a:avLst/>
            <a:gdLst>
              <a:gd name="T0" fmla="*/ 6 w 141"/>
              <a:gd name="T1" fmla="*/ 43 h 53"/>
              <a:gd name="T2" fmla="*/ 16 w 141"/>
              <a:gd name="T3" fmla="*/ 40 h 53"/>
              <a:gd name="T4" fmla="*/ 15 w 141"/>
              <a:gd name="T5" fmla="*/ 40 h 53"/>
              <a:gd name="T6" fmla="*/ 13 w 141"/>
              <a:gd name="T7" fmla="*/ 37 h 53"/>
              <a:gd name="T8" fmla="*/ 17 w 141"/>
              <a:gd name="T9" fmla="*/ 36 h 53"/>
              <a:gd name="T10" fmla="*/ 16 w 141"/>
              <a:gd name="T11" fmla="*/ 33 h 53"/>
              <a:gd name="T12" fmla="*/ 23 w 141"/>
              <a:gd name="T13" fmla="*/ 32 h 53"/>
              <a:gd name="T14" fmla="*/ 15 w 141"/>
              <a:gd name="T15" fmla="*/ 30 h 53"/>
              <a:gd name="T16" fmla="*/ 13 w 141"/>
              <a:gd name="T17" fmla="*/ 29 h 53"/>
              <a:gd name="T18" fmla="*/ 10 w 141"/>
              <a:gd name="T19" fmla="*/ 26 h 53"/>
              <a:gd name="T20" fmla="*/ 21 w 141"/>
              <a:gd name="T21" fmla="*/ 26 h 53"/>
              <a:gd name="T22" fmla="*/ 33 w 141"/>
              <a:gd name="T23" fmla="*/ 21 h 53"/>
              <a:gd name="T24" fmla="*/ 37 w 141"/>
              <a:gd name="T25" fmla="*/ 19 h 53"/>
              <a:gd name="T26" fmla="*/ 43 w 141"/>
              <a:gd name="T27" fmla="*/ 16 h 53"/>
              <a:gd name="T28" fmla="*/ 54 w 141"/>
              <a:gd name="T29" fmla="*/ 12 h 53"/>
              <a:gd name="T30" fmla="*/ 57 w 141"/>
              <a:gd name="T31" fmla="*/ 13 h 53"/>
              <a:gd name="T32" fmla="*/ 58 w 141"/>
              <a:gd name="T33" fmla="*/ 10 h 53"/>
              <a:gd name="T34" fmla="*/ 63 w 141"/>
              <a:gd name="T35" fmla="*/ 10 h 53"/>
              <a:gd name="T36" fmla="*/ 78 w 141"/>
              <a:gd name="T37" fmla="*/ 11 h 53"/>
              <a:gd name="T38" fmla="*/ 91 w 141"/>
              <a:gd name="T39" fmla="*/ 10 h 53"/>
              <a:gd name="T40" fmla="*/ 98 w 141"/>
              <a:gd name="T41" fmla="*/ 8 h 53"/>
              <a:gd name="T42" fmla="*/ 106 w 141"/>
              <a:gd name="T43" fmla="*/ 7 h 53"/>
              <a:gd name="T44" fmla="*/ 108 w 141"/>
              <a:gd name="T45" fmla="*/ 2 h 53"/>
              <a:gd name="T46" fmla="*/ 118 w 141"/>
              <a:gd name="T47" fmla="*/ 0 h 53"/>
              <a:gd name="T48" fmla="*/ 136 w 141"/>
              <a:gd name="T49" fmla="*/ 2 h 53"/>
              <a:gd name="T50" fmla="*/ 138 w 141"/>
              <a:gd name="T51" fmla="*/ 7 h 53"/>
              <a:gd name="T52" fmla="*/ 136 w 141"/>
              <a:gd name="T53" fmla="*/ 11 h 53"/>
              <a:gd name="T54" fmla="*/ 125 w 141"/>
              <a:gd name="T55" fmla="*/ 13 h 53"/>
              <a:gd name="T56" fmla="*/ 109 w 141"/>
              <a:gd name="T57" fmla="*/ 15 h 53"/>
              <a:gd name="T58" fmla="*/ 105 w 141"/>
              <a:gd name="T59" fmla="*/ 17 h 53"/>
              <a:gd name="T60" fmla="*/ 91 w 141"/>
              <a:gd name="T61" fmla="*/ 19 h 53"/>
              <a:gd name="T62" fmla="*/ 81 w 141"/>
              <a:gd name="T63" fmla="*/ 23 h 53"/>
              <a:gd name="T64" fmla="*/ 68 w 141"/>
              <a:gd name="T65" fmla="*/ 28 h 53"/>
              <a:gd name="T66" fmla="*/ 66 w 141"/>
              <a:gd name="T67" fmla="*/ 28 h 53"/>
              <a:gd name="T68" fmla="*/ 65 w 141"/>
              <a:gd name="T69" fmla="*/ 32 h 53"/>
              <a:gd name="T70" fmla="*/ 60 w 141"/>
              <a:gd name="T71" fmla="*/ 33 h 53"/>
              <a:gd name="T72" fmla="*/ 53 w 141"/>
              <a:gd name="T73" fmla="*/ 33 h 53"/>
              <a:gd name="T74" fmla="*/ 55 w 141"/>
              <a:gd name="T75" fmla="*/ 36 h 53"/>
              <a:gd name="T76" fmla="*/ 45 w 141"/>
              <a:gd name="T77" fmla="*/ 35 h 53"/>
              <a:gd name="T78" fmla="*/ 53 w 141"/>
              <a:gd name="T79" fmla="*/ 39 h 53"/>
              <a:gd name="T80" fmla="*/ 50 w 141"/>
              <a:gd name="T81" fmla="*/ 40 h 53"/>
              <a:gd name="T82" fmla="*/ 50 w 141"/>
              <a:gd name="T83" fmla="*/ 42 h 53"/>
              <a:gd name="T84" fmla="*/ 40 w 141"/>
              <a:gd name="T85" fmla="*/ 39 h 53"/>
              <a:gd name="T86" fmla="*/ 44 w 141"/>
              <a:gd name="T87" fmla="*/ 42 h 53"/>
              <a:gd name="T88" fmla="*/ 47 w 141"/>
              <a:gd name="T89" fmla="*/ 45 h 53"/>
              <a:gd name="T90" fmla="*/ 37 w 141"/>
              <a:gd name="T91" fmla="*/ 45 h 53"/>
              <a:gd name="T92" fmla="*/ 45 w 141"/>
              <a:gd name="T93" fmla="*/ 48 h 53"/>
              <a:gd name="T94" fmla="*/ 39 w 141"/>
              <a:gd name="T95" fmla="*/ 47 h 53"/>
              <a:gd name="T96" fmla="*/ 43 w 141"/>
              <a:gd name="T97" fmla="*/ 50 h 53"/>
              <a:gd name="T98" fmla="*/ 37 w 141"/>
              <a:gd name="T99" fmla="*/ 53 h 53"/>
              <a:gd name="T100" fmla="*/ 20 w 141"/>
              <a:gd name="T101" fmla="*/ 50 h 53"/>
              <a:gd name="T102" fmla="*/ 12 w 141"/>
              <a:gd name="T103" fmla="*/ 50 h 53"/>
              <a:gd name="T104" fmla="*/ 15 w 141"/>
              <a:gd name="T105" fmla="*/ 48 h 53"/>
              <a:gd name="T106" fmla="*/ 13 w 141"/>
              <a:gd name="T107" fmla="*/ 47 h 53"/>
              <a:gd name="T108" fmla="*/ 2 w 141"/>
              <a:gd name="T109" fmla="*/ 46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1" h="53">
                <a:moveTo>
                  <a:pt x="2" y="46"/>
                </a:moveTo>
                <a:lnTo>
                  <a:pt x="0" y="45"/>
                </a:lnTo>
                <a:lnTo>
                  <a:pt x="2" y="46"/>
                </a:lnTo>
                <a:lnTo>
                  <a:pt x="5" y="45"/>
                </a:lnTo>
                <a:lnTo>
                  <a:pt x="6" y="43"/>
                </a:lnTo>
                <a:lnTo>
                  <a:pt x="12" y="42"/>
                </a:lnTo>
                <a:lnTo>
                  <a:pt x="10" y="42"/>
                </a:lnTo>
                <a:lnTo>
                  <a:pt x="10" y="41"/>
                </a:lnTo>
                <a:lnTo>
                  <a:pt x="14" y="40"/>
                </a:lnTo>
                <a:lnTo>
                  <a:pt x="16" y="40"/>
                </a:lnTo>
                <a:lnTo>
                  <a:pt x="19" y="41"/>
                </a:lnTo>
                <a:lnTo>
                  <a:pt x="23" y="41"/>
                </a:lnTo>
                <a:lnTo>
                  <a:pt x="26" y="41"/>
                </a:lnTo>
                <a:lnTo>
                  <a:pt x="24" y="41"/>
                </a:lnTo>
                <a:lnTo>
                  <a:pt x="15" y="40"/>
                </a:lnTo>
                <a:lnTo>
                  <a:pt x="13" y="39"/>
                </a:lnTo>
                <a:lnTo>
                  <a:pt x="15" y="39"/>
                </a:lnTo>
                <a:lnTo>
                  <a:pt x="18" y="39"/>
                </a:lnTo>
                <a:lnTo>
                  <a:pt x="18" y="38"/>
                </a:lnTo>
                <a:lnTo>
                  <a:pt x="13" y="37"/>
                </a:lnTo>
                <a:lnTo>
                  <a:pt x="14" y="37"/>
                </a:lnTo>
                <a:lnTo>
                  <a:pt x="20" y="37"/>
                </a:lnTo>
                <a:lnTo>
                  <a:pt x="21" y="36"/>
                </a:lnTo>
                <a:lnTo>
                  <a:pt x="19" y="36"/>
                </a:lnTo>
                <a:lnTo>
                  <a:pt x="17" y="36"/>
                </a:lnTo>
                <a:lnTo>
                  <a:pt x="16" y="35"/>
                </a:lnTo>
                <a:lnTo>
                  <a:pt x="15" y="35"/>
                </a:lnTo>
                <a:lnTo>
                  <a:pt x="14" y="33"/>
                </a:lnTo>
                <a:lnTo>
                  <a:pt x="14" y="32"/>
                </a:lnTo>
                <a:lnTo>
                  <a:pt x="16" y="33"/>
                </a:lnTo>
                <a:lnTo>
                  <a:pt x="19" y="32"/>
                </a:lnTo>
                <a:lnTo>
                  <a:pt x="24" y="32"/>
                </a:lnTo>
                <a:lnTo>
                  <a:pt x="26" y="32"/>
                </a:lnTo>
                <a:lnTo>
                  <a:pt x="24" y="32"/>
                </a:lnTo>
                <a:lnTo>
                  <a:pt x="23" y="32"/>
                </a:lnTo>
                <a:lnTo>
                  <a:pt x="20" y="31"/>
                </a:lnTo>
                <a:lnTo>
                  <a:pt x="18" y="31"/>
                </a:lnTo>
                <a:lnTo>
                  <a:pt x="15" y="31"/>
                </a:lnTo>
                <a:lnTo>
                  <a:pt x="14" y="31"/>
                </a:lnTo>
                <a:lnTo>
                  <a:pt x="15" y="30"/>
                </a:lnTo>
                <a:lnTo>
                  <a:pt x="16" y="29"/>
                </a:lnTo>
                <a:lnTo>
                  <a:pt x="15" y="29"/>
                </a:lnTo>
                <a:lnTo>
                  <a:pt x="15" y="28"/>
                </a:lnTo>
                <a:lnTo>
                  <a:pt x="14" y="28"/>
                </a:lnTo>
                <a:lnTo>
                  <a:pt x="13" y="29"/>
                </a:lnTo>
                <a:lnTo>
                  <a:pt x="12" y="28"/>
                </a:lnTo>
                <a:lnTo>
                  <a:pt x="10" y="27"/>
                </a:lnTo>
                <a:lnTo>
                  <a:pt x="10" y="27"/>
                </a:lnTo>
                <a:lnTo>
                  <a:pt x="10" y="26"/>
                </a:lnTo>
                <a:lnTo>
                  <a:pt x="10" y="26"/>
                </a:lnTo>
                <a:lnTo>
                  <a:pt x="14" y="26"/>
                </a:lnTo>
                <a:lnTo>
                  <a:pt x="15" y="27"/>
                </a:lnTo>
                <a:lnTo>
                  <a:pt x="17" y="27"/>
                </a:lnTo>
                <a:lnTo>
                  <a:pt x="20" y="26"/>
                </a:lnTo>
                <a:lnTo>
                  <a:pt x="21" y="26"/>
                </a:lnTo>
                <a:lnTo>
                  <a:pt x="21" y="23"/>
                </a:lnTo>
                <a:lnTo>
                  <a:pt x="25" y="23"/>
                </a:lnTo>
                <a:lnTo>
                  <a:pt x="30" y="23"/>
                </a:lnTo>
                <a:lnTo>
                  <a:pt x="33" y="22"/>
                </a:lnTo>
                <a:lnTo>
                  <a:pt x="33" y="21"/>
                </a:lnTo>
                <a:lnTo>
                  <a:pt x="31" y="21"/>
                </a:lnTo>
                <a:lnTo>
                  <a:pt x="33" y="20"/>
                </a:lnTo>
                <a:lnTo>
                  <a:pt x="33" y="20"/>
                </a:lnTo>
                <a:lnTo>
                  <a:pt x="35" y="19"/>
                </a:lnTo>
                <a:lnTo>
                  <a:pt x="37" y="19"/>
                </a:lnTo>
                <a:lnTo>
                  <a:pt x="38" y="19"/>
                </a:lnTo>
                <a:lnTo>
                  <a:pt x="37" y="18"/>
                </a:lnTo>
                <a:lnTo>
                  <a:pt x="37" y="17"/>
                </a:lnTo>
                <a:lnTo>
                  <a:pt x="38" y="17"/>
                </a:lnTo>
                <a:lnTo>
                  <a:pt x="43" y="16"/>
                </a:lnTo>
                <a:lnTo>
                  <a:pt x="48" y="15"/>
                </a:lnTo>
                <a:lnTo>
                  <a:pt x="49" y="15"/>
                </a:lnTo>
                <a:lnTo>
                  <a:pt x="49" y="13"/>
                </a:lnTo>
                <a:lnTo>
                  <a:pt x="50" y="13"/>
                </a:lnTo>
                <a:lnTo>
                  <a:pt x="54" y="12"/>
                </a:lnTo>
                <a:lnTo>
                  <a:pt x="56" y="12"/>
                </a:lnTo>
                <a:lnTo>
                  <a:pt x="55" y="13"/>
                </a:lnTo>
                <a:lnTo>
                  <a:pt x="55" y="15"/>
                </a:lnTo>
                <a:lnTo>
                  <a:pt x="57" y="15"/>
                </a:lnTo>
                <a:lnTo>
                  <a:pt x="57" y="13"/>
                </a:lnTo>
                <a:lnTo>
                  <a:pt x="60" y="13"/>
                </a:lnTo>
                <a:lnTo>
                  <a:pt x="61" y="12"/>
                </a:lnTo>
                <a:lnTo>
                  <a:pt x="59" y="12"/>
                </a:lnTo>
                <a:lnTo>
                  <a:pt x="58" y="11"/>
                </a:lnTo>
                <a:lnTo>
                  <a:pt x="58" y="10"/>
                </a:lnTo>
                <a:lnTo>
                  <a:pt x="59" y="10"/>
                </a:lnTo>
                <a:lnTo>
                  <a:pt x="59" y="10"/>
                </a:lnTo>
                <a:lnTo>
                  <a:pt x="58" y="10"/>
                </a:lnTo>
                <a:lnTo>
                  <a:pt x="61" y="9"/>
                </a:lnTo>
                <a:lnTo>
                  <a:pt x="63" y="10"/>
                </a:lnTo>
                <a:lnTo>
                  <a:pt x="71" y="10"/>
                </a:lnTo>
                <a:lnTo>
                  <a:pt x="73" y="11"/>
                </a:lnTo>
                <a:lnTo>
                  <a:pt x="75" y="11"/>
                </a:lnTo>
                <a:lnTo>
                  <a:pt x="76" y="11"/>
                </a:lnTo>
                <a:lnTo>
                  <a:pt x="78" y="11"/>
                </a:lnTo>
                <a:lnTo>
                  <a:pt x="86" y="9"/>
                </a:lnTo>
                <a:lnTo>
                  <a:pt x="88" y="9"/>
                </a:lnTo>
                <a:lnTo>
                  <a:pt x="88" y="10"/>
                </a:lnTo>
                <a:lnTo>
                  <a:pt x="89" y="10"/>
                </a:lnTo>
                <a:lnTo>
                  <a:pt x="91" y="10"/>
                </a:lnTo>
                <a:lnTo>
                  <a:pt x="91" y="9"/>
                </a:lnTo>
                <a:lnTo>
                  <a:pt x="93" y="10"/>
                </a:lnTo>
                <a:lnTo>
                  <a:pt x="94" y="9"/>
                </a:lnTo>
                <a:lnTo>
                  <a:pt x="95" y="9"/>
                </a:lnTo>
                <a:lnTo>
                  <a:pt x="98" y="8"/>
                </a:lnTo>
                <a:lnTo>
                  <a:pt x="101" y="8"/>
                </a:lnTo>
                <a:lnTo>
                  <a:pt x="101" y="8"/>
                </a:lnTo>
                <a:lnTo>
                  <a:pt x="102" y="7"/>
                </a:lnTo>
                <a:lnTo>
                  <a:pt x="105" y="7"/>
                </a:lnTo>
                <a:lnTo>
                  <a:pt x="106" y="7"/>
                </a:lnTo>
                <a:lnTo>
                  <a:pt x="107" y="6"/>
                </a:lnTo>
                <a:lnTo>
                  <a:pt x="105" y="5"/>
                </a:lnTo>
                <a:lnTo>
                  <a:pt x="105" y="3"/>
                </a:lnTo>
                <a:lnTo>
                  <a:pt x="107" y="3"/>
                </a:lnTo>
                <a:lnTo>
                  <a:pt x="108" y="2"/>
                </a:lnTo>
                <a:lnTo>
                  <a:pt x="109" y="2"/>
                </a:lnTo>
                <a:lnTo>
                  <a:pt x="111" y="2"/>
                </a:lnTo>
                <a:lnTo>
                  <a:pt x="111" y="1"/>
                </a:lnTo>
                <a:lnTo>
                  <a:pt x="114" y="1"/>
                </a:lnTo>
                <a:lnTo>
                  <a:pt x="118" y="0"/>
                </a:lnTo>
                <a:lnTo>
                  <a:pt x="124" y="1"/>
                </a:lnTo>
                <a:lnTo>
                  <a:pt x="130" y="1"/>
                </a:lnTo>
                <a:lnTo>
                  <a:pt x="132" y="1"/>
                </a:lnTo>
                <a:lnTo>
                  <a:pt x="134" y="2"/>
                </a:lnTo>
                <a:lnTo>
                  <a:pt x="136" y="2"/>
                </a:lnTo>
                <a:lnTo>
                  <a:pt x="136" y="3"/>
                </a:lnTo>
                <a:lnTo>
                  <a:pt x="139" y="5"/>
                </a:lnTo>
                <a:lnTo>
                  <a:pt x="139" y="6"/>
                </a:lnTo>
                <a:lnTo>
                  <a:pt x="138" y="6"/>
                </a:lnTo>
                <a:lnTo>
                  <a:pt x="138" y="7"/>
                </a:lnTo>
                <a:lnTo>
                  <a:pt x="141" y="7"/>
                </a:lnTo>
                <a:lnTo>
                  <a:pt x="141" y="8"/>
                </a:lnTo>
                <a:lnTo>
                  <a:pt x="139" y="8"/>
                </a:lnTo>
                <a:lnTo>
                  <a:pt x="138" y="9"/>
                </a:lnTo>
                <a:lnTo>
                  <a:pt x="136" y="11"/>
                </a:lnTo>
                <a:lnTo>
                  <a:pt x="138" y="11"/>
                </a:lnTo>
                <a:lnTo>
                  <a:pt x="134" y="11"/>
                </a:lnTo>
                <a:lnTo>
                  <a:pt x="132" y="11"/>
                </a:lnTo>
                <a:lnTo>
                  <a:pt x="130" y="11"/>
                </a:lnTo>
                <a:lnTo>
                  <a:pt x="125" y="13"/>
                </a:lnTo>
                <a:lnTo>
                  <a:pt x="121" y="15"/>
                </a:lnTo>
                <a:lnTo>
                  <a:pt x="119" y="15"/>
                </a:lnTo>
                <a:lnTo>
                  <a:pt x="116" y="15"/>
                </a:lnTo>
                <a:lnTo>
                  <a:pt x="114" y="15"/>
                </a:lnTo>
                <a:lnTo>
                  <a:pt x="109" y="15"/>
                </a:lnTo>
                <a:lnTo>
                  <a:pt x="108" y="16"/>
                </a:lnTo>
                <a:lnTo>
                  <a:pt x="108" y="16"/>
                </a:lnTo>
                <a:lnTo>
                  <a:pt x="107" y="17"/>
                </a:lnTo>
                <a:lnTo>
                  <a:pt x="106" y="16"/>
                </a:lnTo>
                <a:lnTo>
                  <a:pt x="105" y="17"/>
                </a:lnTo>
                <a:lnTo>
                  <a:pt x="95" y="19"/>
                </a:lnTo>
                <a:lnTo>
                  <a:pt x="94" y="19"/>
                </a:lnTo>
                <a:lnTo>
                  <a:pt x="91" y="18"/>
                </a:lnTo>
                <a:lnTo>
                  <a:pt x="90" y="18"/>
                </a:lnTo>
                <a:lnTo>
                  <a:pt x="91" y="19"/>
                </a:lnTo>
                <a:lnTo>
                  <a:pt x="91" y="19"/>
                </a:lnTo>
                <a:lnTo>
                  <a:pt x="90" y="19"/>
                </a:lnTo>
                <a:lnTo>
                  <a:pt x="87" y="21"/>
                </a:lnTo>
                <a:lnTo>
                  <a:pt x="83" y="22"/>
                </a:lnTo>
                <a:lnTo>
                  <a:pt x="81" y="23"/>
                </a:lnTo>
                <a:lnTo>
                  <a:pt x="80" y="22"/>
                </a:lnTo>
                <a:lnTo>
                  <a:pt x="78" y="25"/>
                </a:lnTo>
                <a:lnTo>
                  <a:pt x="74" y="27"/>
                </a:lnTo>
                <a:lnTo>
                  <a:pt x="69" y="27"/>
                </a:lnTo>
                <a:lnTo>
                  <a:pt x="68" y="28"/>
                </a:lnTo>
                <a:lnTo>
                  <a:pt x="68" y="27"/>
                </a:lnTo>
                <a:lnTo>
                  <a:pt x="66" y="27"/>
                </a:lnTo>
                <a:lnTo>
                  <a:pt x="65" y="27"/>
                </a:lnTo>
                <a:lnTo>
                  <a:pt x="64" y="28"/>
                </a:lnTo>
                <a:lnTo>
                  <a:pt x="66" y="28"/>
                </a:lnTo>
                <a:lnTo>
                  <a:pt x="67" y="28"/>
                </a:lnTo>
                <a:lnTo>
                  <a:pt x="68" y="29"/>
                </a:lnTo>
                <a:lnTo>
                  <a:pt x="65" y="31"/>
                </a:lnTo>
                <a:lnTo>
                  <a:pt x="65" y="31"/>
                </a:lnTo>
                <a:lnTo>
                  <a:pt x="65" y="32"/>
                </a:lnTo>
                <a:lnTo>
                  <a:pt x="61" y="32"/>
                </a:lnTo>
                <a:lnTo>
                  <a:pt x="59" y="32"/>
                </a:lnTo>
                <a:lnTo>
                  <a:pt x="56" y="31"/>
                </a:lnTo>
                <a:lnTo>
                  <a:pt x="57" y="32"/>
                </a:lnTo>
                <a:lnTo>
                  <a:pt x="60" y="33"/>
                </a:lnTo>
                <a:lnTo>
                  <a:pt x="63" y="35"/>
                </a:lnTo>
                <a:lnTo>
                  <a:pt x="55" y="32"/>
                </a:lnTo>
                <a:lnTo>
                  <a:pt x="53" y="33"/>
                </a:lnTo>
                <a:lnTo>
                  <a:pt x="53" y="33"/>
                </a:lnTo>
                <a:lnTo>
                  <a:pt x="53" y="33"/>
                </a:lnTo>
                <a:lnTo>
                  <a:pt x="55" y="35"/>
                </a:lnTo>
                <a:lnTo>
                  <a:pt x="56" y="35"/>
                </a:lnTo>
                <a:lnTo>
                  <a:pt x="54" y="35"/>
                </a:lnTo>
                <a:lnTo>
                  <a:pt x="53" y="35"/>
                </a:lnTo>
                <a:lnTo>
                  <a:pt x="55" y="36"/>
                </a:lnTo>
                <a:lnTo>
                  <a:pt x="55" y="37"/>
                </a:lnTo>
                <a:lnTo>
                  <a:pt x="53" y="37"/>
                </a:lnTo>
                <a:lnTo>
                  <a:pt x="51" y="36"/>
                </a:lnTo>
                <a:lnTo>
                  <a:pt x="45" y="35"/>
                </a:lnTo>
                <a:lnTo>
                  <a:pt x="45" y="35"/>
                </a:lnTo>
                <a:lnTo>
                  <a:pt x="48" y="36"/>
                </a:lnTo>
                <a:lnTo>
                  <a:pt x="50" y="37"/>
                </a:lnTo>
                <a:lnTo>
                  <a:pt x="53" y="38"/>
                </a:lnTo>
                <a:lnTo>
                  <a:pt x="53" y="39"/>
                </a:lnTo>
                <a:lnTo>
                  <a:pt x="53" y="39"/>
                </a:lnTo>
                <a:lnTo>
                  <a:pt x="51" y="39"/>
                </a:lnTo>
                <a:lnTo>
                  <a:pt x="53" y="40"/>
                </a:lnTo>
                <a:lnTo>
                  <a:pt x="50" y="39"/>
                </a:lnTo>
                <a:lnTo>
                  <a:pt x="50" y="39"/>
                </a:lnTo>
                <a:lnTo>
                  <a:pt x="50" y="40"/>
                </a:lnTo>
                <a:lnTo>
                  <a:pt x="51" y="40"/>
                </a:lnTo>
                <a:lnTo>
                  <a:pt x="50" y="41"/>
                </a:lnTo>
                <a:lnTo>
                  <a:pt x="48" y="40"/>
                </a:lnTo>
                <a:lnTo>
                  <a:pt x="48" y="41"/>
                </a:lnTo>
                <a:lnTo>
                  <a:pt x="50" y="42"/>
                </a:lnTo>
                <a:lnTo>
                  <a:pt x="48" y="42"/>
                </a:lnTo>
                <a:lnTo>
                  <a:pt x="47" y="41"/>
                </a:lnTo>
                <a:lnTo>
                  <a:pt x="46" y="41"/>
                </a:lnTo>
                <a:lnTo>
                  <a:pt x="44" y="41"/>
                </a:lnTo>
                <a:lnTo>
                  <a:pt x="40" y="39"/>
                </a:lnTo>
                <a:lnTo>
                  <a:pt x="39" y="40"/>
                </a:lnTo>
                <a:lnTo>
                  <a:pt x="40" y="41"/>
                </a:lnTo>
                <a:lnTo>
                  <a:pt x="38" y="41"/>
                </a:lnTo>
                <a:lnTo>
                  <a:pt x="41" y="42"/>
                </a:lnTo>
                <a:lnTo>
                  <a:pt x="44" y="42"/>
                </a:lnTo>
                <a:lnTo>
                  <a:pt x="44" y="43"/>
                </a:lnTo>
                <a:lnTo>
                  <a:pt x="46" y="43"/>
                </a:lnTo>
                <a:lnTo>
                  <a:pt x="46" y="43"/>
                </a:lnTo>
                <a:lnTo>
                  <a:pt x="46" y="45"/>
                </a:lnTo>
                <a:lnTo>
                  <a:pt x="47" y="45"/>
                </a:lnTo>
                <a:lnTo>
                  <a:pt x="47" y="46"/>
                </a:lnTo>
                <a:lnTo>
                  <a:pt x="45" y="46"/>
                </a:lnTo>
                <a:lnTo>
                  <a:pt x="44" y="45"/>
                </a:lnTo>
                <a:lnTo>
                  <a:pt x="41" y="45"/>
                </a:lnTo>
                <a:lnTo>
                  <a:pt x="37" y="45"/>
                </a:lnTo>
                <a:lnTo>
                  <a:pt x="35" y="45"/>
                </a:lnTo>
                <a:lnTo>
                  <a:pt x="37" y="45"/>
                </a:lnTo>
                <a:lnTo>
                  <a:pt x="40" y="46"/>
                </a:lnTo>
                <a:lnTo>
                  <a:pt x="44" y="47"/>
                </a:lnTo>
                <a:lnTo>
                  <a:pt x="45" y="48"/>
                </a:lnTo>
                <a:lnTo>
                  <a:pt x="45" y="48"/>
                </a:lnTo>
                <a:lnTo>
                  <a:pt x="44" y="48"/>
                </a:lnTo>
                <a:lnTo>
                  <a:pt x="44" y="49"/>
                </a:lnTo>
                <a:lnTo>
                  <a:pt x="40" y="48"/>
                </a:lnTo>
                <a:lnTo>
                  <a:pt x="39" y="47"/>
                </a:lnTo>
                <a:lnTo>
                  <a:pt x="37" y="47"/>
                </a:lnTo>
                <a:lnTo>
                  <a:pt x="39" y="48"/>
                </a:lnTo>
                <a:lnTo>
                  <a:pt x="40" y="49"/>
                </a:lnTo>
                <a:lnTo>
                  <a:pt x="41" y="50"/>
                </a:lnTo>
                <a:lnTo>
                  <a:pt x="43" y="50"/>
                </a:lnTo>
                <a:lnTo>
                  <a:pt x="41" y="51"/>
                </a:lnTo>
                <a:lnTo>
                  <a:pt x="41" y="52"/>
                </a:lnTo>
                <a:lnTo>
                  <a:pt x="40" y="52"/>
                </a:lnTo>
                <a:lnTo>
                  <a:pt x="39" y="53"/>
                </a:lnTo>
                <a:lnTo>
                  <a:pt x="37" y="53"/>
                </a:lnTo>
                <a:lnTo>
                  <a:pt x="36" y="52"/>
                </a:lnTo>
                <a:lnTo>
                  <a:pt x="33" y="52"/>
                </a:lnTo>
                <a:lnTo>
                  <a:pt x="28" y="51"/>
                </a:lnTo>
                <a:lnTo>
                  <a:pt x="24" y="51"/>
                </a:lnTo>
                <a:lnTo>
                  <a:pt x="20" y="50"/>
                </a:lnTo>
                <a:lnTo>
                  <a:pt x="16" y="50"/>
                </a:lnTo>
                <a:lnTo>
                  <a:pt x="13" y="51"/>
                </a:lnTo>
                <a:lnTo>
                  <a:pt x="9" y="51"/>
                </a:lnTo>
                <a:lnTo>
                  <a:pt x="12" y="51"/>
                </a:lnTo>
                <a:lnTo>
                  <a:pt x="12" y="50"/>
                </a:lnTo>
                <a:lnTo>
                  <a:pt x="10" y="50"/>
                </a:lnTo>
                <a:lnTo>
                  <a:pt x="10" y="49"/>
                </a:lnTo>
                <a:lnTo>
                  <a:pt x="10" y="49"/>
                </a:lnTo>
                <a:lnTo>
                  <a:pt x="14" y="48"/>
                </a:lnTo>
                <a:lnTo>
                  <a:pt x="15" y="48"/>
                </a:lnTo>
                <a:lnTo>
                  <a:pt x="18" y="47"/>
                </a:lnTo>
                <a:lnTo>
                  <a:pt x="17" y="47"/>
                </a:lnTo>
                <a:lnTo>
                  <a:pt x="15" y="46"/>
                </a:lnTo>
                <a:lnTo>
                  <a:pt x="15" y="47"/>
                </a:lnTo>
                <a:lnTo>
                  <a:pt x="13" y="47"/>
                </a:lnTo>
                <a:lnTo>
                  <a:pt x="10" y="48"/>
                </a:lnTo>
                <a:lnTo>
                  <a:pt x="6" y="48"/>
                </a:lnTo>
                <a:lnTo>
                  <a:pt x="6" y="47"/>
                </a:lnTo>
                <a:lnTo>
                  <a:pt x="3" y="47"/>
                </a:lnTo>
                <a:lnTo>
                  <a:pt x="2" y="46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23" name="Freeform 623"/>
          <p:cNvSpPr>
            <a:spLocks/>
          </p:cNvSpPr>
          <p:nvPr/>
        </p:nvSpPr>
        <p:spPr bwMode="auto">
          <a:xfrm>
            <a:off x="5283200" y="1455703"/>
            <a:ext cx="223837" cy="84138"/>
          </a:xfrm>
          <a:custGeom>
            <a:avLst/>
            <a:gdLst>
              <a:gd name="T0" fmla="*/ 6 w 141"/>
              <a:gd name="T1" fmla="*/ 43 h 53"/>
              <a:gd name="T2" fmla="*/ 16 w 141"/>
              <a:gd name="T3" fmla="*/ 40 h 53"/>
              <a:gd name="T4" fmla="*/ 15 w 141"/>
              <a:gd name="T5" fmla="*/ 40 h 53"/>
              <a:gd name="T6" fmla="*/ 13 w 141"/>
              <a:gd name="T7" fmla="*/ 37 h 53"/>
              <a:gd name="T8" fmla="*/ 17 w 141"/>
              <a:gd name="T9" fmla="*/ 36 h 53"/>
              <a:gd name="T10" fmla="*/ 16 w 141"/>
              <a:gd name="T11" fmla="*/ 33 h 53"/>
              <a:gd name="T12" fmla="*/ 23 w 141"/>
              <a:gd name="T13" fmla="*/ 32 h 53"/>
              <a:gd name="T14" fmla="*/ 15 w 141"/>
              <a:gd name="T15" fmla="*/ 30 h 53"/>
              <a:gd name="T16" fmla="*/ 13 w 141"/>
              <a:gd name="T17" fmla="*/ 29 h 53"/>
              <a:gd name="T18" fmla="*/ 10 w 141"/>
              <a:gd name="T19" fmla="*/ 26 h 53"/>
              <a:gd name="T20" fmla="*/ 21 w 141"/>
              <a:gd name="T21" fmla="*/ 26 h 53"/>
              <a:gd name="T22" fmla="*/ 33 w 141"/>
              <a:gd name="T23" fmla="*/ 21 h 53"/>
              <a:gd name="T24" fmla="*/ 37 w 141"/>
              <a:gd name="T25" fmla="*/ 19 h 53"/>
              <a:gd name="T26" fmla="*/ 43 w 141"/>
              <a:gd name="T27" fmla="*/ 16 h 53"/>
              <a:gd name="T28" fmla="*/ 54 w 141"/>
              <a:gd name="T29" fmla="*/ 12 h 53"/>
              <a:gd name="T30" fmla="*/ 57 w 141"/>
              <a:gd name="T31" fmla="*/ 13 h 53"/>
              <a:gd name="T32" fmla="*/ 58 w 141"/>
              <a:gd name="T33" fmla="*/ 10 h 53"/>
              <a:gd name="T34" fmla="*/ 63 w 141"/>
              <a:gd name="T35" fmla="*/ 10 h 53"/>
              <a:gd name="T36" fmla="*/ 78 w 141"/>
              <a:gd name="T37" fmla="*/ 11 h 53"/>
              <a:gd name="T38" fmla="*/ 91 w 141"/>
              <a:gd name="T39" fmla="*/ 10 h 53"/>
              <a:gd name="T40" fmla="*/ 98 w 141"/>
              <a:gd name="T41" fmla="*/ 8 h 53"/>
              <a:gd name="T42" fmla="*/ 106 w 141"/>
              <a:gd name="T43" fmla="*/ 7 h 53"/>
              <a:gd name="T44" fmla="*/ 108 w 141"/>
              <a:gd name="T45" fmla="*/ 2 h 53"/>
              <a:gd name="T46" fmla="*/ 118 w 141"/>
              <a:gd name="T47" fmla="*/ 0 h 53"/>
              <a:gd name="T48" fmla="*/ 136 w 141"/>
              <a:gd name="T49" fmla="*/ 2 h 53"/>
              <a:gd name="T50" fmla="*/ 138 w 141"/>
              <a:gd name="T51" fmla="*/ 7 h 53"/>
              <a:gd name="T52" fmla="*/ 136 w 141"/>
              <a:gd name="T53" fmla="*/ 11 h 53"/>
              <a:gd name="T54" fmla="*/ 125 w 141"/>
              <a:gd name="T55" fmla="*/ 13 h 53"/>
              <a:gd name="T56" fmla="*/ 109 w 141"/>
              <a:gd name="T57" fmla="*/ 15 h 53"/>
              <a:gd name="T58" fmla="*/ 105 w 141"/>
              <a:gd name="T59" fmla="*/ 17 h 53"/>
              <a:gd name="T60" fmla="*/ 91 w 141"/>
              <a:gd name="T61" fmla="*/ 19 h 53"/>
              <a:gd name="T62" fmla="*/ 81 w 141"/>
              <a:gd name="T63" fmla="*/ 23 h 53"/>
              <a:gd name="T64" fmla="*/ 68 w 141"/>
              <a:gd name="T65" fmla="*/ 28 h 53"/>
              <a:gd name="T66" fmla="*/ 66 w 141"/>
              <a:gd name="T67" fmla="*/ 28 h 53"/>
              <a:gd name="T68" fmla="*/ 65 w 141"/>
              <a:gd name="T69" fmla="*/ 32 h 53"/>
              <a:gd name="T70" fmla="*/ 60 w 141"/>
              <a:gd name="T71" fmla="*/ 33 h 53"/>
              <a:gd name="T72" fmla="*/ 53 w 141"/>
              <a:gd name="T73" fmla="*/ 33 h 53"/>
              <a:gd name="T74" fmla="*/ 55 w 141"/>
              <a:gd name="T75" fmla="*/ 36 h 53"/>
              <a:gd name="T76" fmla="*/ 45 w 141"/>
              <a:gd name="T77" fmla="*/ 35 h 53"/>
              <a:gd name="T78" fmla="*/ 53 w 141"/>
              <a:gd name="T79" fmla="*/ 39 h 53"/>
              <a:gd name="T80" fmla="*/ 50 w 141"/>
              <a:gd name="T81" fmla="*/ 40 h 53"/>
              <a:gd name="T82" fmla="*/ 50 w 141"/>
              <a:gd name="T83" fmla="*/ 42 h 53"/>
              <a:gd name="T84" fmla="*/ 40 w 141"/>
              <a:gd name="T85" fmla="*/ 39 h 53"/>
              <a:gd name="T86" fmla="*/ 44 w 141"/>
              <a:gd name="T87" fmla="*/ 42 h 53"/>
              <a:gd name="T88" fmla="*/ 47 w 141"/>
              <a:gd name="T89" fmla="*/ 45 h 53"/>
              <a:gd name="T90" fmla="*/ 37 w 141"/>
              <a:gd name="T91" fmla="*/ 45 h 53"/>
              <a:gd name="T92" fmla="*/ 45 w 141"/>
              <a:gd name="T93" fmla="*/ 48 h 53"/>
              <a:gd name="T94" fmla="*/ 39 w 141"/>
              <a:gd name="T95" fmla="*/ 47 h 53"/>
              <a:gd name="T96" fmla="*/ 43 w 141"/>
              <a:gd name="T97" fmla="*/ 50 h 53"/>
              <a:gd name="T98" fmla="*/ 37 w 141"/>
              <a:gd name="T99" fmla="*/ 53 h 53"/>
              <a:gd name="T100" fmla="*/ 20 w 141"/>
              <a:gd name="T101" fmla="*/ 50 h 53"/>
              <a:gd name="T102" fmla="*/ 12 w 141"/>
              <a:gd name="T103" fmla="*/ 50 h 53"/>
              <a:gd name="T104" fmla="*/ 15 w 141"/>
              <a:gd name="T105" fmla="*/ 48 h 53"/>
              <a:gd name="T106" fmla="*/ 13 w 141"/>
              <a:gd name="T107" fmla="*/ 47 h 53"/>
              <a:gd name="T108" fmla="*/ 2 w 141"/>
              <a:gd name="T109" fmla="*/ 46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1" h="53">
                <a:moveTo>
                  <a:pt x="2" y="46"/>
                </a:moveTo>
                <a:lnTo>
                  <a:pt x="0" y="45"/>
                </a:lnTo>
                <a:lnTo>
                  <a:pt x="2" y="46"/>
                </a:lnTo>
                <a:lnTo>
                  <a:pt x="5" y="45"/>
                </a:lnTo>
                <a:lnTo>
                  <a:pt x="6" y="43"/>
                </a:lnTo>
                <a:lnTo>
                  <a:pt x="12" y="42"/>
                </a:lnTo>
                <a:lnTo>
                  <a:pt x="10" y="42"/>
                </a:lnTo>
                <a:lnTo>
                  <a:pt x="10" y="41"/>
                </a:lnTo>
                <a:lnTo>
                  <a:pt x="14" y="40"/>
                </a:lnTo>
                <a:lnTo>
                  <a:pt x="16" y="40"/>
                </a:lnTo>
                <a:lnTo>
                  <a:pt x="19" y="41"/>
                </a:lnTo>
                <a:lnTo>
                  <a:pt x="23" y="41"/>
                </a:lnTo>
                <a:lnTo>
                  <a:pt x="26" y="41"/>
                </a:lnTo>
                <a:lnTo>
                  <a:pt x="24" y="41"/>
                </a:lnTo>
                <a:lnTo>
                  <a:pt x="15" y="40"/>
                </a:lnTo>
                <a:lnTo>
                  <a:pt x="13" y="39"/>
                </a:lnTo>
                <a:lnTo>
                  <a:pt x="15" y="39"/>
                </a:lnTo>
                <a:lnTo>
                  <a:pt x="18" y="39"/>
                </a:lnTo>
                <a:lnTo>
                  <a:pt x="18" y="38"/>
                </a:lnTo>
                <a:lnTo>
                  <a:pt x="13" y="37"/>
                </a:lnTo>
                <a:lnTo>
                  <a:pt x="14" y="37"/>
                </a:lnTo>
                <a:lnTo>
                  <a:pt x="20" y="37"/>
                </a:lnTo>
                <a:lnTo>
                  <a:pt x="21" y="36"/>
                </a:lnTo>
                <a:lnTo>
                  <a:pt x="19" y="36"/>
                </a:lnTo>
                <a:lnTo>
                  <a:pt x="17" y="36"/>
                </a:lnTo>
                <a:lnTo>
                  <a:pt x="16" y="35"/>
                </a:lnTo>
                <a:lnTo>
                  <a:pt x="15" y="35"/>
                </a:lnTo>
                <a:lnTo>
                  <a:pt x="14" y="33"/>
                </a:lnTo>
                <a:lnTo>
                  <a:pt x="14" y="32"/>
                </a:lnTo>
                <a:lnTo>
                  <a:pt x="16" y="33"/>
                </a:lnTo>
                <a:lnTo>
                  <a:pt x="19" y="32"/>
                </a:lnTo>
                <a:lnTo>
                  <a:pt x="24" y="32"/>
                </a:lnTo>
                <a:lnTo>
                  <a:pt x="26" y="32"/>
                </a:lnTo>
                <a:lnTo>
                  <a:pt x="24" y="32"/>
                </a:lnTo>
                <a:lnTo>
                  <a:pt x="23" y="32"/>
                </a:lnTo>
                <a:lnTo>
                  <a:pt x="20" y="31"/>
                </a:lnTo>
                <a:lnTo>
                  <a:pt x="18" y="31"/>
                </a:lnTo>
                <a:lnTo>
                  <a:pt x="15" y="31"/>
                </a:lnTo>
                <a:lnTo>
                  <a:pt x="14" y="31"/>
                </a:lnTo>
                <a:lnTo>
                  <a:pt x="15" y="30"/>
                </a:lnTo>
                <a:lnTo>
                  <a:pt x="16" y="29"/>
                </a:lnTo>
                <a:lnTo>
                  <a:pt x="15" y="29"/>
                </a:lnTo>
                <a:lnTo>
                  <a:pt x="15" y="28"/>
                </a:lnTo>
                <a:lnTo>
                  <a:pt x="14" y="28"/>
                </a:lnTo>
                <a:lnTo>
                  <a:pt x="13" y="29"/>
                </a:lnTo>
                <a:lnTo>
                  <a:pt x="12" y="28"/>
                </a:lnTo>
                <a:lnTo>
                  <a:pt x="10" y="27"/>
                </a:lnTo>
                <a:lnTo>
                  <a:pt x="10" y="27"/>
                </a:lnTo>
                <a:lnTo>
                  <a:pt x="10" y="26"/>
                </a:lnTo>
                <a:lnTo>
                  <a:pt x="10" y="26"/>
                </a:lnTo>
                <a:lnTo>
                  <a:pt x="14" y="26"/>
                </a:lnTo>
                <a:lnTo>
                  <a:pt x="15" y="27"/>
                </a:lnTo>
                <a:lnTo>
                  <a:pt x="17" y="27"/>
                </a:lnTo>
                <a:lnTo>
                  <a:pt x="20" y="26"/>
                </a:lnTo>
                <a:lnTo>
                  <a:pt x="21" y="26"/>
                </a:lnTo>
                <a:lnTo>
                  <a:pt x="21" y="23"/>
                </a:lnTo>
                <a:lnTo>
                  <a:pt x="25" y="23"/>
                </a:lnTo>
                <a:lnTo>
                  <a:pt x="30" y="23"/>
                </a:lnTo>
                <a:lnTo>
                  <a:pt x="33" y="22"/>
                </a:lnTo>
                <a:lnTo>
                  <a:pt x="33" y="21"/>
                </a:lnTo>
                <a:lnTo>
                  <a:pt x="31" y="21"/>
                </a:lnTo>
                <a:lnTo>
                  <a:pt x="33" y="20"/>
                </a:lnTo>
                <a:lnTo>
                  <a:pt x="33" y="20"/>
                </a:lnTo>
                <a:lnTo>
                  <a:pt x="35" y="19"/>
                </a:lnTo>
                <a:lnTo>
                  <a:pt x="37" y="19"/>
                </a:lnTo>
                <a:lnTo>
                  <a:pt x="38" y="19"/>
                </a:lnTo>
                <a:lnTo>
                  <a:pt x="37" y="18"/>
                </a:lnTo>
                <a:lnTo>
                  <a:pt x="37" y="17"/>
                </a:lnTo>
                <a:lnTo>
                  <a:pt x="38" y="17"/>
                </a:lnTo>
                <a:lnTo>
                  <a:pt x="43" y="16"/>
                </a:lnTo>
                <a:lnTo>
                  <a:pt x="48" y="15"/>
                </a:lnTo>
                <a:lnTo>
                  <a:pt x="49" y="15"/>
                </a:lnTo>
                <a:lnTo>
                  <a:pt x="49" y="13"/>
                </a:lnTo>
                <a:lnTo>
                  <a:pt x="50" y="13"/>
                </a:lnTo>
                <a:lnTo>
                  <a:pt x="54" y="12"/>
                </a:lnTo>
                <a:lnTo>
                  <a:pt x="56" y="12"/>
                </a:lnTo>
                <a:lnTo>
                  <a:pt x="55" y="13"/>
                </a:lnTo>
                <a:lnTo>
                  <a:pt x="55" y="15"/>
                </a:lnTo>
                <a:lnTo>
                  <a:pt x="57" y="15"/>
                </a:lnTo>
                <a:lnTo>
                  <a:pt x="57" y="13"/>
                </a:lnTo>
                <a:lnTo>
                  <a:pt x="60" y="13"/>
                </a:lnTo>
                <a:lnTo>
                  <a:pt x="61" y="12"/>
                </a:lnTo>
                <a:lnTo>
                  <a:pt x="59" y="12"/>
                </a:lnTo>
                <a:lnTo>
                  <a:pt x="58" y="11"/>
                </a:lnTo>
                <a:lnTo>
                  <a:pt x="58" y="10"/>
                </a:lnTo>
                <a:lnTo>
                  <a:pt x="59" y="10"/>
                </a:lnTo>
                <a:lnTo>
                  <a:pt x="59" y="10"/>
                </a:lnTo>
                <a:lnTo>
                  <a:pt x="58" y="10"/>
                </a:lnTo>
                <a:lnTo>
                  <a:pt x="61" y="9"/>
                </a:lnTo>
                <a:lnTo>
                  <a:pt x="63" y="10"/>
                </a:lnTo>
                <a:lnTo>
                  <a:pt x="71" y="10"/>
                </a:lnTo>
                <a:lnTo>
                  <a:pt x="73" y="11"/>
                </a:lnTo>
                <a:lnTo>
                  <a:pt x="75" y="11"/>
                </a:lnTo>
                <a:lnTo>
                  <a:pt x="76" y="11"/>
                </a:lnTo>
                <a:lnTo>
                  <a:pt x="78" y="11"/>
                </a:lnTo>
                <a:lnTo>
                  <a:pt x="86" y="9"/>
                </a:lnTo>
                <a:lnTo>
                  <a:pt x="88" y="9"/>
                </a:lnTo>
                <a:lnTo>
                  <a:pt x="88" y="10"/>
                </a:lnTo>
                <a:lnTo>
                  <a:pt x="89" y="10"/>
                </a:lnTo>
                <a:lnTo>
                  <a:pt x="91" y="10"/>
                </a:lnTo>
                <a:lnTo>
                  <a:pt x="91" y="9"/>
                </a:lnTo>
                <a:lnTo>
                  <a:pt x="93" y="10"/>
                </a:lnTo>
                <a:lnTo>
                  <a:pt x="94" y="9"/>
                </a:lnTo>
                <a:lnTo>
                  <a:pt x="95" y="9"/>
                </a:lnTo>
                <a:lnTo>
                  <a:pt x="98" y="8"/>
                </a:lnTo>
                <a:lnTo>
                  <a:pt x="101" y="8"/>
                </a:lnTo>
                <a:lnTo>
                  <a:pt x="101" y="8"/>
                </a:lnTo>
                <a:lnTo>
                  <a:pt x="102" y="7"/>
                </a:lnTo>
                <a:lnTo>
                  <a:pt x="105" y="7"/>
                </a:lnTo>
                <a:lnTo>
                  <a:pt x="106" y="7"/>
                </a:lnTo>
                <a:lnTo>
                  <a:pt x="107" y="6"/>
                </a:lnTo>
                <a:lnTo>
                  <a:pt x="105" y="5"/>
                </a:lnTo>
                <a:lnTo>
                  <a:pt x="105" y="3"/>
                </a:lnTo>
                <a:lnTo>
                  <a:pt x="107" y="3"/>
                </a:lnTo>
                <a:lnTo>
                  <a:pt x="108" y="2"/>
                </a:lnTo>
                <a:lnTo>
                  <a:pt x="109" y="2"/>
                </a:lnTo>
                <a:lnTo>
                  <a:pt x="111" y="2"/>
                </a:lnTo>
                <a:lnTo>
                  <a:pt x="111" y="1"/>
                </a:lnTo>
                <a:lnTo>
                  <a:pt x="114" y="1"/>
                </a:lnTo>
                <a:lnTo>
                  <a:pt x="118" y="0"/>
                </a:lnTo>
                <a:lnTo>
                  <a:pt x="124" y="1"/>
                </a:lnTo>
                <a:lnTo>
                  <a:pt x="130" y="1"/>
                </a:lnTo>
                <a:lnTo>
                  <a:pt x="132" y="1"/>
                </a:lnTo>
                <a:lnTo>
                  <a:pt x="134" y="2"/>
                </a:lnTo>
                <a:lnTo>
                  <a:pt x="136" y="2"/>
                </a:lnTo>
                <a:lnTo>
                  <a:pt x="136" y="3"/>
                </a:lnTo>
                <a:lnTo>
                  <a:pt x="139" y="5"/>
                </a:lnTo>
                <a:lnTo>
                  <a:pt x="139" y="6"/>
                </a:lnTo>
                <a:lnTo>
                  <a:pt x="138" y="6"/>
                </a:lnTo>
                <a:lnTo>
                  <a:pt x="138" y="7"/>
                </a:lnTo>
                <a:lnTo>
                  <a:pt x="141" y="7"/>
                </a:lnTo>
                <a:lnTo>
                  <a:pt x="141" y="8"/>
                </a:lnTo>
                <a:lnTo>
                  <a:pt x="139" y="8"/>
                </a:lnTo>
                <a:lnTo>
                  <a:pt x="138" y="9"/>
                </a:lnTo>
                <a:lnTo>
                  <a:pt x="136" y="11"/>
                </a:lnTo>
                <a:lnTo>
                  <a:pt x="138" y="11"/>
                </a:lnTo>
                <a:lnTo>
                  <a:pt x="134" y="11"/>
                </a:lnTo>
                <a:lnTo>
                  <a:pt x="132" y="11"/>
                </a:lnTo>
                <a:lnTo>
                  <a:pt x="130" y="11"/>
                </a:lnTo>
                <a:lnTo>
                  <a:pt x="125" y="13"/>
                </a:lnTo>
                <a:lnTo>
                  <a:pt x="121" y="15"/>
                </a:lnTo>
                <a:lnTo>
                  <a:pt x="119" y="15"/>
                </a:lnTo>
                <a:lnTo>
                  <a:pt x="116" y="15"/>
                </a:lnTo>
                <a:lnTo>
                  <a:pt x="114" y="15"/>
                </a:lnTo>
                <a:lnTo>
                  <a:pt x="109" y="15"/>
                </a:lnTo>
                <a:lnTo>
                  <a:pt x="108" y="16"/>
                </a:lnTo>
                <a:lnTo>
                  <a:pt x="108" y="16"/>
                </a:lnTo>
                <a:lnTo>
                  <a:pt x="107" y="17"/>
                </a:lnTo>
                <a:lnTo>
                  <a:pt x="106" y="16"/>
                </a:lnTo>
                <a:lnTo>
                  <a:pt x="105" y="17"/>
                </a:lnTo>
                <a:lnTo>
                  <a:pt x="95" y="19"/>
                </a:lnTo>
                <a:lnTo>
                  <a:pt x="94" y="19"/>
                </a:lnTo>
                <a:lnTo>
                  <a:pt x="91" y="18"/>
                </a:lnTo>
                <a:lnTo>
                  <a:pt x="90" y="18"/>
                </a:lnTo>
                <a:lnTo>
                  <a:pt x="91" y="19"/>
                </a:lnTo>
                <a:lnTo>
                  <a:pt x="91" y="19"/>
                </a:lnTo>
                <a:lnTo>
                  <a:pt x="90" y="19"/>
                </a:lnTo>
                <a:lnTo>
                  <a:pt x="87" y="21"/>
                </a:lnTo>
                <a:lnTo>
                  <a:pt x="83" y="22"/>
                </a:lnTo>
                <a:lnTo>
                  <a:pt x="81" y="23"/>
                </a:lnTo>
                <a:lnTo>
                  <a:pt x="80" y="22"/>
                </a:lnTo>
                <a:lnTo>
                  <a:pt x="78" y="25"/>
                </a:lnTo>
                <a:lnTo>
                  <a:pt x="74" y="27"/>
                </a:lnTo>
                <a:lnTo>
                  <a:pt x="69" y="27"/>
                </a:lnTo>
                <a:lnTo>
                  <a:pt x="68" y="28"/>
                </a:lnTo>
                <a:lnTo>
                  <a:pt x="68" y="27"/>
                </a:lnTo>
                <a:lnTo>
                  <a:pt x="66" y="27"/>
                </a:lnTo>
                <a:lnTo>
                  <a:pt x="65" y="27"/>
                </a:lnTo>
                <a:lnTo>
                  <a:pt x="64" y="28"/>
                </a:lnTo>
                <a:lnTo>
                  <a:pt x="66" y="28"/>
                </a:lnTo>
                <a:lnTo>
                  <a:pt x="67" y="28"/>
                </a:lnTo>
                <a:lnTo>
                  <a:pt x="68" y="29"/>
                </a:lnTo>
                <a:lnTo>
                  <a:pt x="65" y="31"/>
                </a:lnTo>
                <a:lnTo>
                  <a:pt x="65" y="31"/>
                </a:lnTo>
                <a:lnTo>
                  <a:pt x="65" y="32"/>
                </a:lnTo>
                <a:lnTo>
                  <a:pt x="61" y="32"/>
                </a:lnTo>
                <a:lnTo>
                  <a:pt x="59" y="32"/>
                </a:lnTo>
                <a:lnTo>
                  <a:pt x="56" y="31"/>
                </a:lnTo>
                <a:lnTo>
                  <a:pt x="57" y="32"/>
                </a:lnTo>
                <a:lnTo>
                  <a:pt x="60" y="33"/>
                </a:lnTo>
                <a:lnTo>
                  <a:pt x="63" y="35"/>
                </a:lnTo>
                <a:lnTo>
                  <a:pt x="55" y="32"/>
                </a:lnTo>
                <a:lnTo>
                  <a:pt x="53" y="33"/>
                </a:lnTo>
                <a:lnTo>
                  <a:pt x="53" y="33"/>
                </a:lnTo>
                <a:lnTo>
                  <a:pt x="53" y="33"/>
                </a:lnTo>
                <a:lnTo>
                  <a:pt x="55" y="35"/>
                </a:lnTo>
                <a:lnTo>
                  <a:pt x="56" y="35"/>
                </a:lnTo>
                <a:lnTo>
                  <a:pt x="54" y="35"/>
                </a:lnTo>
                <a:lnTo>
                  <a:pt x="53" y="35"/>
                </a:lnTo>
                <a:lnTo>
                  <a:pt x="55" y="36"/>
                </a:lnTo>
                <a:lnTo>
                  <a:pt x="55" y="37"/>
                </a:lnTo>
                <a:lnTo>
                  <a:pt x="53" y="37"/>
                </a:lnTo>
                <a:lnTo>
                  <a:pt x="51" y="36"/>
                </a:lnTo>
                <a:lnTo>
                  <a:pt x="45" y="35"/>
                </a:lnTo>
                <a:lnTo>
                  <a:pt x="45" y="35"/>
                </a:lnTo>
                <a:lnTo>
                  <a:pt x="48" y="36"/>
                </a:lnTo>
                <a:lnTo>
                  <a:pt x="50" y="37"/>
                </a:lnTo>
                <a:lnTo>
                  <a:pt x="53" y="38"/>
                </a:lnTo>
                <a:lnTo>
                  <a:pt x="53" y="39"/>
                </a:lnTo>
                <a:lnTo>
                  <a:pt x="53" y="39"/>
                </a:lnTo>
                <a:lnTo>
                  <a:pt x="51" y="39"/>
                </a:lnTo>
                <a:lnTo>
                  <a:pt x="53" y="40"/>
                </a:lnTo>
                <a:lnTo>
                  <a:pt x="50" y="39"/>
                </a:lnTo>
                <a:lnTo>
                  <a:pt x="50" y="39"/>
                </a:lnTo>
                <a:lnTo>
                  <a:pt x="50" y="40"/>
                </a:lnTo>
                <a:lnTo>
                  <a:pt x="51" y="40"/>
                </a:lnTo>
                <a:lnTo>
                  <a:pt x="50" y="41"/>
                </a:lnTo>
                <a:lnTo>
                  <a:pt x="48" y="40"/>
                </a:lnTo>
                <a:lnTo>
                  <a:pt x="48" y="41"/>
                </a:lnTo>
                <a:lnTo>
                  <a:pt x="50" y="42"/>
                </a:lnTo>
                <a:lnTo>
                  <a:pt x="48" y="42"/>
                </a:lnTo>
                <a:lnTo>
                  <a:pt x="47" y="41"/>
                </a:lnTo>
                <a:lnTo>
                  <a:pt x="46" y="41"/>
                </a:lnTo>
                <a:lnTo>
                  <a:pt x="44" y="41"/>
                </a:lnTo>
                <a:lnTo>
                  <a:pt x="40" y="39"/>
                </a:lnTo>
                <a:lnTo>
                  <a:pt x="39" y="40"/>
                </a:lnTo>
                <a:lnTo>
                  <a:pt x="40" y="41"/>
                </a:lnTo>
                <a:lnTo>
                  <a:pt x="38" y="41"/>
                </a:lnTo>
                <a:lnTo>
                  <a:pt x="41" y="42"/>
                </a:lnTo>
                <a:lnTo>
                  <a:pt x="44" y="42"/>
                </a:lnTo>
                <a:lnTo>
                  <a:pt x="44" y="43"/>
                </a:lnTo>
                <a:lnTo>
                  <a:pt x="46" y="43"/>
                </a:lnTo>
                <a:lnTo>
                  <a:pt x="46" y="43"/>
                </a:lnTo>
                <a:lnTo>
                  <a:pt x="46" y="45"/>
                </a:lnTo>
                <a:lnTo>
                  <a:pt x="47" y="45"/>
                </a:lnTo>
                <a:lnTo>
                  <a:pt x="47" y="46"/>
                </a:lnTo>
                <a:lnTo>
                  <a:pt x="45" y="46"/>
                </a:lnTo>
                <a:lnTo>
                  <a:pt x="44" y="45"/>
                </a:lnTo>
                <a:lnTo>
                  <a:pt x="41" y="45"/>
                </a:lnTo>
                <a:lnTo>
                  <a:pt x="37" y="45"/>
                </a:lnTo>
                <a:lnTo>
                  <a:pt x="35" y="45"/>
                </a:lnTo>
                <a:lnTo>
                  <a:pt x="37" y="45"/>
                </a:lnTo>
                <a:lnTo>
                  <a:pt x="40" y="46"/>
                </a:lnTo>
                <a:lnTo>
                  <a:pt x="44" y="47"/>
                </a:lnTo>
                <a:lnTo>
                  <a:pt x="45" y="48"/>
                </a:lnTo>
                <a:lnTo>
                  <a:pt x="45" y="48"/>
                </a:lnTo>
                <a:lnTo>
                  <a:pt x="44" y="48"/>
                </a:lnTo>
                <a:lnTo>
                  <a:pt x="44" y="49"/>
                </a:lnTo>
                <a:lnTo>
                  <a:pt x="40" y="48"/>
                </a:lnTo>
                <a:lnTo>
                  <a:pt x="39" y="47"/>
                </a:lnTo>
                <a:lnTo>
                  <a:pt x="37" y="47"/>
                </a:lnTo>
                <a:lnTo>
                  <a:pt x="39" y="48"/>
                </a:lnTo>
                <a:lnTo>
                  <a:pt x="40" y="49"/>
                </a:lnTo>
                <a:lnTo>
                  <a:pt x="41" y="50"/>
                </a:lnTo>
                <a:lnTo>
                  <a:pt x="43" y="50"/>
                </a:lnTo>
                <a:lnTo>
                  <a:pt x="41" y="51"/>
                </a:lnTo>
                <a:lnTo>
                  <a:pt x="41" y="52"/>
                </a:lnTo>
                <a:lnTo>
                  <a:pt x="40" y="52"/>
                </a:lnTo>
                <a:lnTo>
                  <a:pt x="39" y="53"/>
                </a:lnTo>
                <a:lnTo>
                  <a:pt x="37" y="53"/>
                </a:lnTo>
                <a:lnTo>
                  <a:pt x="36" y="52"/>
                </a:lnTo>
                <a:lnTo>
                  <a:pt x="33" y="52"/>
                </a:lnTo>
                <a:lnTo>
                  <a:pt x="28" y="51"/>
                </a:lnTo>
                <a:lnTo>
                  <a:pt x="24" y="51"/>
                </a:lnTo>
                <a:lnTo>
                  <a:pt x="20" y="50"/>
                </a:lnTo>
                <a:lnTo>
                  <a:pt x="16" y="50"/>
                </a:lnTo>
                <a:lnTo>
                  <a:pt x="13" y="51"/>
                </a:lnTo>
                <a:lnTo>
                  <a:pt x="9" y="51"/>
                </a:lnTo>
                <a:lnTo>
                  <a:pt x="12" y="51"/>
                </a:lnTo>
                <a:lnTo>
                  <a:pt x="12" y="50"/>
                </a:lnTo>
                <a:lnTo>
                  <a:pt x="10" y="50"/>
                </a:lnTo>
                <a:lnTo>
                  <a:pt x="10" y="49"/>
                </a:lnTo>
                <a:lnTo>
                  <a:pt x="10" y="49"/>
                </a:lnTo>
                <a:lnTo>
                  <a:pt x="14" y="48"/>
                </a:lnTo>
                <a:lnTo>
                  <a:pt x="15" y="48"/>
                </a:lnTo>
                <a:lnTo>
                  <a:pt x="18" y="47"/>
                </a:lnTo>
                <a:lnTo>
                  <a:pt x="17" y="47"/>
                </a:lnTo>
                <a:lnTo>
                  <a:pt x="15" y="46"/>
                </a:lnTo>
                <a:lnTo>
                  <a:pt x="15" y="47"/>
                </a:lnTo>
                <a:lnTo>
                  <a:pt x="13" y="47"/>
                </a:lnTo>
                <a:lnTo>
                  <a:pt x="10" y="48"/>
                </a:lnTo>
                <a:lnTo>
                  <a:pt x="6" y="48"/>
                </a:lnTo>
                <a:lnTo>
                  <a:pt x="6" y="47"/>
                </a:lnTo>
                <a:lnTo>
                  <a:pt x="3" y="47"/>
                </a:lnTo>
                <a:lnTo>
                  <a:pt x="2" y="46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24" name="Freeform 624"/>
          <p:cNvSpPr>
            <a:spLocks/>
          </p:cNvSpPr>
          <p:nvPr/>
        </p:nvSpPr>
        <p:spPr bwMode="auto">
          <a:xfrm>
            <a:off x="5291138" y="1582703"/>
            <a:ext cx="20637" cy="12700"/>
          </a:xfrm>
          <a:custGeom>
            <a:avLst/>
            <a:gdLst>
              <a:gd name="T0" fmla="*/ 0 w 13"/>
              <a:gd name="T1" fmla="*/ 1 h 8"/>
              <a:gd name="T2" fmla="*/ 0 w 13"/>
              <a:gd name="T3" fmla="*/ 1 h 8"/>
              <a:gd name="T4" fmla="*/ 2 w 13"/>
              <a:gd name="T5" fmla="*/ 0 h 8"/>
              <a:gd name="T6" fmla="*/ 5 w 13"/>
              <a:gd name="T7" fmla="*/ 1 h 8"/>
              <a:gd name="T8" fmla="*/ 8 w 13"/>
              <a:gd name="T9" fmla="*/ 2 h 8"/>
              <a:gd name="T10" fmla="*/ 8 w 13"/>
              <a:gd name="T11" fmla="*/ 1 h 8"/>
              <a:gd name="T12" fmla="*/ 11 w 13"/>
              <a:gd name="T13" fmla="*/ 3 h 8"/>
              <a:gd name="T14" fmla="*/ 11 w 13"/>
              <a:gd name="T15" fmla="*/ 4 h 8"/>
              <a:gd name="T16" fmla="*/ 12 w 13"/>
              <a:gd name="T17" fmla="*/ 6 h 8"/>
              <a:gd name="T18" fmla="*/ 11 w 13"/>
              <a:gd name="T19" fmla="*/ 6 h 8"/>
              <a:gd name="T20" fmla="*/ 12 w 13"/>
              <a:gd name="T21" fmla="*/ 7 h 8"/>
              <a:gd name="T22" fmla="*/ 13 w 13"/>
              <a:gd name="T23" fmla="*/ 8 h 8"/>
              <a:gd name="T24" fmla="*/ 12 w 13"/>
              <a:gd name="T25" fmla="*/ 8 h 8"/>
              <a:gd name="T26" fmla="*/ 10 w 13"/>
              <a:gd name="T27" fmla="*/ 6 h 8"/>
              <a:gd name="T28" fmla="*/ 8 w 13"/>
              <a:gd name="T29" fmla="*/ 4 h 8"/>
              <a:gd name="T30" fmla="*/ 5 w 13"/>
              <a:gd name="T31" fmla="*/ 3 h 8"/>
              <a:gd name="T32" fmla="*/ 1 w 13"/>
              <a:gd name="T33" fmla="*/ 2 h 8"/>
              <a:gd name="T34" fmla="*/ 0 w 13"/>
              <a:gd name="T35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3" h="8">
                <a:moveTo>
                  <a:pt x="0" y="1"/>
                </a:moveTo>
                <a:lnTo>
                  <a:pt x="0" y="1"/>
                </a:lnTo>
                <a:lnTo>
                  <a:pt x="2" y="0"/>
                </a:lnTo>
                <a:lnTo>
                  <a:pt x="5" y="1"/>
                </a:lnTo>
                <a:lnTo>
                  <a:pt x="8" y="2"/>
                </a:lnTo>
                <a:lnTo>
                  <a:pt x="8" y="1"/>
                </a:lnTo>
                <a:lnTo>
                  <a:pt x="11" y="3"/>
                </a:lnTo>
                <a:lnTo>
                  <a:pt x="11" y="4"/>
                </a:lnTo>
                <a:lnTo>
                  <a:pt x="12" y="6"/>
                </a:lnTo>
                <a:lnTo>
                  <a:pt x="11" y="6"/>
                </a:lnTo>
                <a:lnTo>
                  <a:pt x="12" y="7"/>
                </a:lnTo>
                <a:lnTo>
                  <a:pt x="13" y="8"/>
                </a:lnTo>
                <a:lnTo>
                  <a:pt x="12" y="8"/>
                </a:lnTo>
                <a:lnTo>
                  <a:pt x="10" y="6"/>
                </a:lnTo>
                <a:lnTo>
                  <a:pt x="8" y="4"/>
                </a:lnTo>
                <a:lnTo>
                  <a:pt x="5" y="3"/>
                </a:lnTo>
                <a:lnTo>
                  <a:pt x="1" y="2"/>
                </a:lnTo>
                <a:lnTo>
                  <a:pt x="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25" name="Freeform 625"/>
          <p:cNvSpPr>
            <a:spLocks/>
          </p:cNvSpPr>
          <p:nvPr/>
        </p:nvSpPr>
        <p:spPr bwMode="auto">
          <a:xfrm>
            <a:off x="5291138" y="1582703"/>
            <a:ext cx="20637" cy="12700"/>
          </a:xfrm>
          <a:custGeom>
            <a:avLst/>
            <a:gdLst>
              <a:gd name="T0" fmla="*/ 0 w 13"/>
              <a:gd name="T1" fmla="*/ 1 h 8"/>
              <a:gd name="T2" fmla="*/ 0 w 13"/>
              <a:gd name="T3" fmla="*/ 1 h 8"/>
              <a:gd name="T4" fmla="*/ 2 w 13"/>
              <a:gd name="T5" fmla="*/ 0 h 8"/>
              <a:gd name="T6" fmla="*/ 5 w 13"/>
              <a:gd name="T7" fmla="*/ 1 h 8"/>
              <a:gd name="T8" fmla="*/ 8 w 13"/>
              <a:gd name="T9" fmla="*/ 2 h 8"/>
              <a:gd name="T10" fmla="*/ 8 w 13"/>
              <a:gd name="T11" fmla="*/ 1 h 8"/>
              <a:gd name="T12" fmla="*/ 11 w 13"/>
              <a:gd name="T13" fmla="*/ 3 h 8"/>
              <a:gd name="T14" fmla="*/ 11 w 13"/>
              <a:gd name="T15" fmla="*/ 4 h 8"/>
              <a:gd name="T16" fmla="*/ 12 w 13"/>
              <a:gd name="T17" fmla="*/ 6 h 8"/>
              <a:gd name="T18" fmla="*/ 11 w 13"/>
              <a:gd name="T19" fmla="*/ 6 h 8"/>
              <a:gd name="T20" fmla="*/ 12 w 13"/>
              <a:gd name="T21" fmla="*/ 7 h 8"/>
              <a:gd name="T22" fmla="*/ 13 w 13"/>
              <a:gd name="T23" fmla="*/ 8 h 8"/>
              <a:gd name="T24" fmla="*/ 12 w 13"/>
              <a:gd name="T25" fmla="*/ 8 h 8"/>
              <a:gd name="T26" fmla="*/ 10 w 13"/>
              <a:gd name="T27" fmla="*/ 6 h 8"/>
              <a:gd name="T28" fmla="*/ 8 w 13"/>
              <a:gd name="T29" fmla="*/ 4 h 8"/>
              <a:gd name="T30" fmla="*/ 5 w 13"/>
              <a:gd name="T31" fmla="*/ 3 h 8"/>
              <a:gd name="T32" fmla="*/ 1 w 13"/>
              <a:gd name="T33" fmla="*/ 2 h 8"/>
              <a:gd name="T34" fmla="*/ 0 w 13"/>
              <a:gd name="T35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3" h="8">
                <a:moveTo>
                  <a:pt x="0" y="1"/>
                </a:moveTo>
                <a:lnTo>
                  <a:pt x="0" y="1"/>
                </a:lnTo>
                <a:lnTo>
                  <a:pt x="2" y="0"/>
                </a:lnTo>
                <a:lnTo>
                  <a:pt x="5" y="1"/>
                </a:lnTo>
                <a:lnTo>
                  <a:pt x="8" y="2"/>
                </a:lnTo>
                <a:lnTo>
                  <a:pt x="8" y="1"/>
                </a:lnTo>
                <a:lnTo>
                  <a:pt x="11" y="3"/>
                </a:lnTo>
                <a:lnTo>
                  <a:pt x="11" y="4"/>
                </a:lnTo>
                <a:lnTo>
                  <a:pt x="12" y="6"/>
                </a:lnTo>
                <a:lnTo>
                  <a:pt x="11" y="6"/>
                </a:lnTo>
                <a:lnTo>
                  <a:pt x="12" y="7"/>
                </a:lnTo>
                <a:lnTo>
                  <a:pt x="13" y="8"/>
                </a:lnTo>
                <a:lnTo>
                  <a:pt x="12" y="8"/>
                </a:lnTo>
                <a:lnTo>
                  <a:pt x="10" y="6"/>
                </a:lnTo>
                <a:lnTo>
                  <a:pt x="8" y="4"/>
                </a:lnTo>
                <a:lnTo>
                  <a:pt x="5" y="3"/>
                </a:lnTo>
                <a:lnTo>
                  <a:pt x="1" y="2"/>
                </a:lnTo>
                <a:lnTo>
                  <a:pt x="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26" name="Freeform 626"/>
          <p:cNvSpPr>
            <a:spLocks/>
          </p:cNvSpPr>
          <p:nvPr/>
        </p:nvSpPr>
        <p:spPr bwMode="auto">
          <a:xfrm>
            <a:off x="6091238" y="1431890"/>
            <a:ext cx="19050" cy="1588"/>
          </a:xfrm>
          <a:custGeom>
            <a:avLst/>
            <a:gdLst>
              <a:gd name="T0" fmla="*/ 3 w 12"/>
              <a:gd name="T1" fmla="*/ 0 h 1"/>
              <a:gd name="T2" fmla="*/ 6 w 12"/>
              <a:gd name="T3" fmla="*/ 0 h 1"/>
              <a:gd name="T4" fmla="*/ 7 w 12"/>
              <a:gd name="T5" fmla="*/ 0 h 1"/>
              <a:gd name="T6" fmla="*/ 8 w 12"/>
              <a:gd name="T7" fmla="*/ 0 h 1"/>
              <a:gd name="T8" fmla="*/ 10 w 12"/>
              <a:gd name="T9" fmla="*/ 0 h 1"/>
              <a:gd name="T10" fmla="*/ 11 w 12"/>
              <a:gd name="T11" fmla="*/ 0 h 1"/>
              <a:gd name="T12" fmla="*/ 12 w 12"/>
              <a:gd name="T13" fmla="*/ 0 h 1"/>
              <a:gd name="T14" fmla="*/ 11 w 12"/>
              <a:gd name="T15" fmla="*/ 1 h 1"/>
              <a:gd name="T16" fmla="*/ 12 w 12"/>
              <a:gd name="T17" fmla="*/ 1 h 1"/>
              <a:gd name="T18" fmla="*/ 10 w 12"/>
              <a:gd name="T19" fmla="*/ 1 h 1"/>
              <a:gd name="T20" fmla="*/ 0 w 12"/>
              <a:gd name="T21" fmla="*/ 0 h 1"/>
              <a:gd name="T22" fmla="*/ 0 w 12"/>
              <a:gd name="T23" fmla="*/ 0 h 1"/>
              <a:gd name="T24" fmla="*/ 1 w 12"/>
              <a:gd name="T25" fmla="*/ 0 h 1"/>
              <a:gd name="T26" fmla="*/ 2 w 12"/>
              <a:gd name="T27" fmla="*/ 0 h 1"/>
              <a:gd name="T28" fmla="*/ 3 w 12"/>
              <a:gd name="T2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2" h="1">
                <a:moveTo>
                  <a:pt x="3" y="0"/>
                </a:moveTo>
                <a:lnTo>
                  <a:pt x="6" y="0"/>
                </a:lnTo>
                <a:lnTo>
                  <a:pt x="7" y="0"/>
                </a:lnTo>
                <a:lnTo>
                  <a:pt x="8" y="0"/>
                </a:lnTo>
                <a:lnTo>
                  <a:pt x="10" y="0"/>
                </a:lnTo>
                <a:lnTo>
                  <a:pt x="11" y="0"/>
                </a:lnTo>
                <a:lnTo>
                  <a:pt x="12" y="0"/>
                </a:lnTo>
                <a:lnTo>
                  <a:pt x="11" y="1"/>
                </a:lnTo>
                <a:lnTo>
                  <a:pt x="12" y="1"/>
                </a:lnTo>
                <a:lnTo>
                  <a:pt x="10" y="1"/>
                </a:lnTo>
                <a:lnTo>
                  <a:pt x="0" y="0"/>
                </a:lnTo>
                <a:lnTo>
                  <a:pt x="0" y="0"/>
                </a:lnTo>
                <a:lnTo>
                  <a:pt x="1" y="0"/>
                </a:lnTo>
                <a:lnTo>
                  <a:pt x="2" y="0"/>
                </a:lnTo>
                <a:lnTo>
                  <a:pt x="3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27" name="Freeform 627"/>
          <p:cNvSpPr>
            <a:spLocks/>
          </p:cNvSpPr>
          <p:nvPr/>
        </p:nvSpPr>
        <p:spPr bwMode="auto">
          <a:xfrm>
            <a:off x="6091238" y="1431890"/>
            <a:ext cx="19050" cy="1588"/>
          </a:xfrm>
          <a:custGeom>
            <a:avLst/>
            <a:gdLst>
              <a:gd name="T0" fmla="*/ 3 w 12"/>
              <a:gd name="T1" fmla="*/ 0 h 1"/>
              <a:gd name="T2" fmla="*/ 6 w 12"/>
              <a:gd name="T3" fmla="*/ 0 h 1"/>
              <a:gd name="T4" fmla="*/ 7 w 12"/>
              <a:gd name="T5" fmla="*/ 0 h 1"/>
              <a:gd name="T6" fmla="*/ 8 w 12"/>
              <a:gd name="T7" fmla="*/ 0 h 1"/>
              <a:gd name="T8" fmla="*/ 10 w 12"/>
              <a:gd name="T9" fmla="*/ 0 h 1"/>
              <a:gd name="T10" fmla="*/ 11 w 12"/>
              <a:gd name="T11" fmla="*/ 0 h 1"/>
              <a:gd name="T12" fmla="*/ 12 w 12"/>
              <a:gd name="T13" fmla="*/ 0 h 1"/>
              <a:gd name="T14" fmla="*/ 11 w 12"/>
              <a:gd name="T15" fmla="*/ 1 h 1"/>
              <a:gd name="T16" fmla="*/ 12 w 12"/>
              <a:gd name="T17" fmla="*/ 1 h 1"/>
              <a:gd name="T18" fmla="*/ 10 w 12"/>
              <a:gd name="T19" fmla="*/ 1 h 1"/>
              <a:gd name="T20" fmla="*/ 0 w 12"/>
              <a:gd name="T21" fmla="*/ 0 h 1"/>
              <a:gd name="T22" fmla="*/ 0 w 12"/>
              <a:gd name="T23" fmla="*/ 0 h 1"/>
              <a:gd name="T24" fmla="*/ 1 w 12"/>
              <a:gd name="T25" fmla="*/ 0 h 1"/>
              <a:gd name="T26" fmla="*/ 2 w 12"/>
              <a:gd name="T27" fmla="*/ 0 h 1"/>
              <a:gd name="T28" fmla="*/ 3 w 12"/>
              <a:gd name="T29" fmla="*/ 0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2" h="1">
                <a:moveTo>
                  <a:pt x="3" y="0"/>
                </a:moveTo>
                <a:lnTo>
                  <a:pt x="6" y="0"/>
                </a:lnTo>
                <a:lnTo>
                  <a:pt x="7" y="0"/>
                </a:lnTo>
                <a:lnTo>
                  <a:pt x="8" y="0"/>
                </a:lnTo>
                <a:lnTo>
                  <a:pt x="10" y="0"/>
                </a:lnTo>
                <a:lnTo>
                  <a:pt x="11" y="0"/>
                </a:lnTo>
                <a:lnTo>
                  <a:pt x="12" y="0"/>
                </a:lnTo>
                <a:lnTo>
                  <a:pt x="11" y="1"/>
                </a:lnTo>
                <a:lnTo>
                  <a:pt x="12" y="1"/>
                </a:lnTo>
                <a:lnTo>
                  <a:pt x="10" y="1"/>
                </a:lnTo>
                <a:lnTo>
                  <a:pt x="0" y="0"/>
                </a:lnTo>
                <a:lnTo>
                  <a:pt x="0" y="0"/>
                </a:lnTo>
                <a:lnTo>
                  <a:pt x="1" y="0"/>
                </a:lnTo>
                <a:lnTo>
                  <a:pt x="2" y="0"/>
                </a:lnTo>
                <a:lnTo>
                  <a:pt x="3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28" name="Freeform 628"/>
          <p:cNvSpPr>
            <a:spLocks/>
          </p:cNvSpPr>
          <p:nvPr/>
        </p:nvSpPr>
        <p:spPr bwMode="auto">
          <a:xfrm>
            <a:off x="5826125" y="1449353"/>
            <a:ext cx="9525" cy="3175"/>
          </a:xfrm>
          <a:custGeom>
            <a:avLst/>
            <a:gdLst>
              <a:gd name="T0" fmla="*/ 2 w 6"/>
              <a:gd name="T1" fmla="*/ 0 h 2"/>
              <a:gd name="T2" fmla="*/ 2 w 6"/>
              <a:gd name="T3" fmla="*/ 0 h 2"/>
              <a:gd name="T4" fmla="*/ 2 w 6"/>
              <a:gd name="T5" fmla="*/ 1 h 2"/>
              <a:gd name="T6" fmla="*/ 3 w 6"/>
              <a:gd name="T7" fmla="*/ 1 h 2"/>
              <a:gd name="T8" fmla="*/ 5 w 6"/>
              <a:gd name="T9" fmla="*/ 1 h 2"/>
              <a:gd name="T10" fmla="*/ 6 w 6"/>
              <a:gd name="T11" fmla="*/ 1 h 2"/>
              <a:gd name="T12" fmla="*/ 6 w 6"/>
              <a:gd name="T13" fmla="*/ 2 h 2"/>
              <a:gd name="T14" fmla="*/ 6 w 6"/>
              <a:gd name="T15" fmla="*/ 2 h 2"/>
              <a:gd name="T16" fmla="*/ 3 w 6"/>
              <a:gd name="T17" fmla="*/ 2 h 2"/>
              <a:gd name="T18" fmla="*/ 3 w 6"/>
              <a:gd name="T19" fmla="*/ 2 h 2"/>
              <a:gd name="T20" fmla="*/ 2 w 6"/>
              <a:gd name="T21" fmla="*/ 2 h 2"/>
              <a:gd name="T22" fmla="*/ 0 w 6"/>
              <a:gd name="T23" fmla="*/ 1 h 2"/>
              <a:gd name="T24" fmla="*/ 0 w 6"/>
              <a:gd name="T25" fmla="*/ 1 h 2"/>
              <a:gd name="T26" fmla="*/ 1 w 6"/>
              <a:gd name="T27" fmla="*/ 0 h 2"/>
              <a:gd name="T28" fmla="*/ 2 w 6"/>
              <a:gd name="T2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" h="2">
                <a:moveTo>
                  <a:pt x="2" y="0"/>
                </a:moveTo>
                <a:lnTo>
                  <a:pt x="2" y="0"/>
                </a:lnTo>
                <a:lnTo>
                  <a:pt x="2" y="1"/>
                </a:lnTo>
                <a:lnTo>
                  <a:pt x="3" y="1"/>
                </a:lnTo>
                <a:lnTo>
                  <a:pt x="5" y="1"/>
                </a:lnTo>
                <a:lnTo>
                  <a:pt x="6" y="1"/>
                </a:lnTo>
                <a:lnTo>
                  <a:pt x="6" y="2"/>
                </a:lnTo>
                <a:lnTo>
                  <a:pt x="6" y="2"/>
                </a:lnTo>
                <a:lnTo>
                  <a:pt x="3" y="2"/>
                </a:lnTo>
                <a:lnTo>
                  <a:pt x="3" y="2"/>
                </a:lnTo>
                <a:lnTo>
                  <a:pt x="2" y="2"/>
                </a:lnTo>
                <a:lnTo>
                  <a:pt x="0" y="1"/>
                </a:lnTo>
                <a:lnTo>
                  <a:pt x="0" y="1"/>
                </a:lnTo>
                <a:lnTo>
                  <a:pt x="1" y="0"/>
                </a:lnTo>
                <a:lnTo>
                  <a:pt x="2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29" name="Freeform 629"/>
          <p:cNvSpPr>
            <a:spLocks/>
          </p:cNvSpPr>
          <p:nvPr/>
        </p:nvSpPr>
        <p:spPr bwMode="auto">
          <a:xfrm>
            <a:off x="5826125" y="1449353"/>
            <a:ext cx="9525" cy="3175"/>
          </a:xfrm>
          <a:custGeom>
            <a:avLst/>
            <a:gdLst>
              <a:gd name="T0" fmla="*/ 2 w 6"/>
              <a:gd name="T1" fmla="*/ 0 h 2"/>
              <a:gd name="T2" fmla="*/ 2 w 6"/>
              <a:gd name="T3" fmla="*/ 0 h 2"/>
              <a:gd name="T4" fmla="*/ 2 w 6"/>
              <a:gd name="T5" fmla="*/ 1 h 2"/>
              <a:gd name="T6" fmla="*/ 3 w 6"/>
              <a:gd name="T7" fmla="*/ 1 h 2"/>
              <a:gd name="T8" fmla="*/ 5 w 6"/>
              <a:gd name="T9" fmla="*/ 1 h 2"/>
              <a:gd name="T10" fmla="*/ 6 w 6"/>
              <a:gd name="T11" fmla="*/ 1 h 2"/>
              <a:gd name="T12" fmla="*/ 6 w 6"/>
              <a:gd name="T13" fmla="*/ 2 h 2"/>
              <a:gd name="T14" fmla="*/ 6 w 6"/>
              <a:gd name="T15" fmla="*/ 2 h 2"/>
              <a:gd name="T16" fmla="*/ 3 w 6"/>
              <a:gd name="T17" fmla="*/ 2 h 2"/>
              <a:gd name="T18" fmla="*/ 3 w 6"/>
              <a:gd name="T19" fmla="*/ 2 h 2"/>
              <a:gd name="T20" fmla="*/ 2 w 6"/>
              <a:gd name="T21" fmla="*/ 2 h 2"/>
              <a:gd name="T22" fmla="*/ 0 w 6"/>
              <a:gd name="T23" fmla="*/ 1 h 2"/>
              <a:gd name="T24" fmla="*/ 0 w 6"/>
              <a:gd name="T25" fmla="*/ 1 h 2"/>
              <a:gd name="T26" fmla="*/ 1 w 6"/>
              <a:gd name="T27" fmla="*/ 0 h 2"/>
              <a:gd name="T28" fmla="*/ 2 w 6"/>
              <a:gd name="T2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" h="2">
                <a:moveTo>
                  <a:pt x="2" y="0"/>
                </a:moveTo>
                <a:lnTo>
                  <a:pt x="2" y="0"/>
                </a:lnTo>
                <a:lnTo>
                  <a:pt x="2" y="1"/>
                </a:lnTo>
                <a:lnTo>
                  <a:pt x="3" y="1"/>
                </a:lnTo>
                <a:lnTo>
                  <a:pt x="5" y="1"/>
                </a:lnTo>
                <a:lnTo>
                  <a:pt x="6" y="1"/>
                </a:lnTo>
                <a:lnTo>
                  <a:pt x="6" y="2"/>
                </a:lnTo>
                <a:lnTo>
                  <a:pt x="6" y="2"/>
                </a:lnTo>
                <a:lnTo>
                  <a:pt x="3" y="2"/>
                </a:lnTo>
                <a:lnTo>
                  <a:pt x="3" y="2"/>
                </a:lnTo>
                <a:lnTo>
                  <a:pt x="2" y="2"/>
                </a:lnTo>
                <a:lnTo>
                  <a:pt x="0" y="1"/>
                </a:lnTo>
                <a:lnTo>
                  <a:pt x="0" y="1"/>
                </a:lnTo>
                <a:lnTo>
                  <a:pt x="1" y="0"/>
                </a:lnTo>
                <a:lnTo>
                  <a:pt x="2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30" name="Freeform 630"/>
          <p:cNvSpPr>
            <a:spLocks/>
          </p:cNvSpPr>
          <p:nvPr/>
        </p:nvSpPr>
        <p:spPr bwMode="auto">
          <a:xfrm>
            <a:off x="5951538" y="1469990"/>
            <a:ext cx="23812" cy="4763"/>
          </a:xfrm>
          <a:custGeom>
            <a:avLst/>
            <a:gdLst>
              <a:gd name="T0" fmla="*/ 11 w 15"/>
              <a:gd name="T1" fmla="*/ 1 h 3"/>
              <a:gd name="T2" fmla="*/ 11 w 15"/>
              <a:gd name="T3" fmla="*/ 1 h 3"/>
              <a:gd name="T4" fmla="*/ 12 w 15"/>
              <a:gd name="T5" fmla="*/ 1 h 3"/>
              <a:gd name="T6" fmla="*/ 12 w 15"/>
              <a:gd name="T7" fmla="*/ 2 h 3"/>
              <a:gd name="T8" fmla="*/ 13 w 15"/>
              <a:gd name="T9" fmla="*/ 2 h 3"/>
              <a:gd name="T10" fmla="*/ 13 w 15"/>
              <a:gd name="T11" fmla="*/ 3 h 3"/>
              <a:gd name="T12" fmla="*/ 8 w 15"/>
              <a:gd name="T13" fmla="*/ 2 h 3"/>
              <a:gd name="T14" fmla="*/ 4 w 15"/>
              <a:gd name="T15" fmla="*/ 2 h 3"/>
              <a:gd name="T16" fmla="*/ 2 w 15"/>
              <a:gd name="T17" fmla="*/ 1 h 3"/>
              <a:gd name="T18" fmla="*/ 0 w 15"/>
              <a:gd name="T19" fmla="*/ 1 h 3"/>
              <a:gd name="T20" fmla="*/ 1 w 15"/>
              <a:gd name="T21" fmla="*/ 1 h 3"/>
              <a:gd name="T22" fmla="*/ 2 w 15"/>
              <a:gd name="T23" fmla="*/ 1 h 3"/>
              <a:gd name="T24" fmla="*/ 3 w 15"/>
              <a:gd name="T25" fmla="*/ 1 h 3"/>
              <a:gd name="T26" fmla="*/ 3 w 15"/>
              <a:gd name="T27" fmla="*/ 1 h 3"/>
              <a:gd name="T28" fmla="*/ 4 w 15"/>
              <a:gd name="T29" fmla="*/ 1 h 3"/>
              <a:gd name="T30" fmla="*/ 4 w 15"/>
              <a:gd name="T31" fmla="*/ 0 h 3"/>
              <a:gd name="T32" fmla="*/ 9 w 15"/>
              <a:gd name="T33" fmla="*/ 1 h 3"/>
              <a:gd name="T34" fmla="*/ 11 w 15"/>
              <a:gd name="T35" fmla="*/ 1 h 3"/>
              <a:gd name="T36" fmla="*/ 12 w 15"/>
              <a:gd name="T37" fmla="*/ 1 h 3"/>
              <a:gd name="T38" fmla="*/ 14 w 15"/>
              <a:gd name="T39" fmla="*/ 1 h 3"/>
              <a:gd name="T40" fmla="*/ 14 w 15"/>
              <a:gd name="T41" fmla="*/ 1 h 3"/>
              <a:gd name="T42" fmla="*/ 15 w 15"/>
              <a:gd name="T43" fmla="*/ 2 h 3"/>
              <a:gd name="T44" fmla="*/ 14 w 15"/>
              <a:gd name="T45" fmla="*/ 2 h 3"/>
              <a:gd name="T46" fmla="*/ 13 w 15"/>
              <a:gd name="T47" fmla="*/ 1 h 3"/>
              <a:gd name="T48" fmla="*/ 11 w 15"/>
              <a:gd name="T49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5" h="3">
                <a:moveTo>
                  <a:pt x="11" y="1"/>
                </a:moveTo>
                <a:lnTo>
                  <a:pt x="11" y="1"/>
                </a:lnTo>
                <a:lnTo>
                  <a:pt x="12" y="1"/>
                </a:lnTo>
                <a:lnTo>
                  <a:pt x="12" y="2"/>
                </a:lnTo>
                <a:lnTo>
                  <a:pt x="13" y="2"/>
                </a:lnTo>
                <a:lnTo>
                  <a:pt x="13" y="3"/>
                </a:lnTo>
                <a:lnTo>
                  <a:pt x="8" y="2"/>
                </a:lnTo>
                <a:lnTo>
                  <a:pt x="4" y="2"/>
                </a:lnTo>
                <a:lnTo>
                  <a:pt x="2" y="1"/>
                </a:lnTo>
                <a:lnTo>
                  <a:pt x="0" y="1"/>
                </a:lnTo>
                <a:lnTo>
                  <a:pt x="1" y="1"/>
                </a:lnTo>
                <a:lnTo>
                  <a:pt x="2" y="1"/>
                </a:lnTo>
                <a:lnTo>
                  <a:pt x="3" y="1"/>
                </a:lnTo>
                <a:lnTo>
                  <a:pt x="3" y="1"/>
                </a:lnTo>
                <a:lnTo>
                  <a:pt x="4" y="1"/>
                </a:lnTo>
                <a:lnTo>
                  <a:pt x="4" y="0"/>
                </a:lnTo>
                <a:lnTo>
                  <a:pt x="9" y="1"/>
                </a:lnTo>
                <a:lnTo>
                  <a:pt x="11" y="1"/>
                </a:lnTo>
                <a:lnTo>
                  <a:pt x="12" y="1"/>
                </a:lnTo>
                <a:lnTo>
                  <a:pt x="14" y="1"/>
                </a:lnTo>
                <a:lnTo>
                  <a:pt x="14" y="1"/>
                </a:lnTo>
                <a:lnTo>
                  <a:pt x="15" y="2"/>
                </a:lnTo>
                <a:lnTo>
                  <a:pt x="14" y="2"/>
                </a:lnTo>
                <a:lnTo>
                  <a:pt x="13" y="1"/>
                </a:lnTo>
                <a:lnTo>
                  <a:pt x="11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31" name="Freeform 631"/>
          <p:cNvSpPr>
            <a:spLocks/>
          </p:cNvSpPr>
          <p:nvPr/>
        </p:nvSpPr>
        <p:spPr bwMode="auto">
          <a:xfrm>
            <a:off x="5951538" y="1469990"/>
            <a:ext cx="23812" cy="4763"/>
          </a:xfrm>
          <a:custGeom>
            <a:avLst/>
            <a:gdLst>
              <a:gd name="T0" fmla="*/ 11 w 15"/>
              <a:gd name="T1" fmla="*/ 1 h 3"/>
              <a:gd name="T2" fmla="*/ 11 w 15"/>
              <a:gd name="T3" fmla="*/ 1 h 3"/>
              <a:gd name="T4" fmla="*/ 12 w 15"/>
              <a:gd name="T5" fmla="*/ 1 h 3"/>
              <a:gd name="T6" fmla="*/ 12 w 15"/>
              <a:gd name="T7" fmla="*/ 2 h 3"/>
              <a:gd name="T8" fmla="*/ 13 w 15"/>
              <a:gd name="T9" fmla="*/ 2 h 3"/>
              <a:gd name="T10" fmla="*/ 13 w 15"/>
              <a:gd name="T11" fmla="*/ 3 h 3"/>
              <a:gd name="T12" fmla="*/ 8 w 15"/>
              <a:gd name="T13" fmla="*/ 2 h 3"/>
              <a:gd name="T14" fmla="*/ 4 w 15"/>
              <a:gd name="T15" fmla="*/ 2 h 3"/>
              <a:gd name="T16" fmla="*/ 2 w 15"/>
              <a:gd name="T17" fmla="*/ 1 h 3"/>
              <a:gd name="T18" fmla="*/ 0 w 15"/>
              <a:gd name="T19" fmla="*/ 1 h 3"/>
              <a:gd name="T20" fmla="*/ 1 w 15"/>
              <a:gd name="T21" fmla="*/ 1 h 3"/>
              <a:gd name="T22" fmla="*/ 2 w 15"/>
              <a:gd name="T23" fmla="*/ 1 h 3"/>
              <a:gd name="T24" fmla="*/ 3 w 15"/>
              <a:gd name="T25" fmla="*/ 1 h 3"/>
              <a:gd name="T26" fmla="*/ 3 w 15"/>
              <a:gd name="T27" fmla="*/ 1 h 3"/>
              <a:gd name="T28" fmla="*/ 4 w 15"/>
              <a:gd name="T29" fmla="*/ 1 h 3"/>
              <a:gd name="T30" fmla="*/ 4 w 15"/>
              <a:gd name="T31" fmla="*/ 0 h 3"/>
              <a:gd name="T32" fmla="*/ 9 w 15"/>
              <a:gd name="T33" fmla="*/ 1 h 3"/>
              <a:gd name="T34" fmla="*/ 11 w 15"/>
              <a:gd name="T35" fmla="*/ 1 h 3"/>
              <a:gd name="T36" fmla="*/ 12 w 15"/>
              <a:gd name="T37" fmla="*/ 1 h 3"/>
              <a:gd name="T38" fmla="*/ 14 w 15"/>
              <a:gd name="T39" fmla="*/ 1 h 3"/>
              <a:gd name="T40" fmla="*/ 14 w 15"/>
              <a:gd name="T41" fmla="*/ 1 h 3"/>
              <a:gd name="T42" fmla="*/ 15 w 15"/>
              <a:gd name="T43" fmla="*/ 2 h 3"/>
              <a:gd name="T44" fmla="*/ 14 w 15"/>
              <a:gd name="T45" fmla="*/ 2 h 3"/>
              <a:gd name="T46" fmla="*/ 13 w 15"/>
              <a:gd name="T47" fmla="*/ 1 h 3"/>
              <a:gd name="T48" fmla="*/ 11 w 15"/>
              <a:gd name="T49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5" h="3">
                <a:moveTo>
                  <a:pt x="11" y="1"/>
                </a:moveTo>
                <a:lnTo>
                  <a:pt x="11" y="1"/>
                </a:lnTo>
                <a:lnTo>
                  <a:pt x="12" y="1"/>
                </a:lnTo>
                <a:lnTo>
                  <a:pt x="12" y="2"/>
                </a:lnTo>
                <a:lnTo>
                  <a:pt x="13" y="2"/>
                </a:lnTo>
                <a:lnTo>
                  <a:pt x="13" y="3"/>
                </a:lnTo>
                <a:lnTo>
                  <a:pt x="8" y="2"/>
                </a:lnTo>
                <a:lnTo>
                  <a:pt x="4" y="2"/>
                </a:lnTo>
                <a:lnTo>
                  <a:pt x="2" y="1"/>
                </a:lnTo>
                <a:lnTo>
                  <a:pt x="0" y="1"/>
                </a:lnTo>
                <a:lnTo>
                  <a:pt x="1" y="1"/>
                </a:lnTo>
                <a:lnTo>
                  <a:pt x="2" y="1"/>
                </a:lnTo>
                <a:lnTo>
                  <a:pt x="3" y="1"/>
                </a:lnTo>
                <a:lnTo>
                  <a:pt x="3" y="1"/>
                </a:lnTo>
                <a:lnTo>
                  <a:pt x="4" y="1"/>
                </a:lnTo>
                <a:lnTo>
                  <a:pt x="4" y="0"/>
                </a:lnTo>
                <a:lnTo>
                  <a:pt x="9" y="1"/>
                </a:lnTo>
                <a:lnTo>
                  <a:pt x="11" y="1"/>
                </a:lnTo>
                <a:lnTo>
                  <a:pt x="12" y="1"/>
                </a:lnTo>
                <a:lnTo>
                  <a:pt x="14" y="1"/>
                </a:lnTo>
                <a:lnTo>
                  <a:pt x="14" y="1"/>
                </a:lnTo>
                <a:lnTo>
                  <a:pt x="15" y="2"/>
                </a:lnTo>
                <a:lnTo>
                  <a:pt x="14" y="2"/>
                </a:lnTo>
                <a:lnTo>
                  <a:pt x="13" y="1"/>
                </a:lnTo>
                <a:lnTo>
                  <a:pt x="11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32" name="Freeform 632"/>
          <p:cNvSpPr>
            <a:spLocks/>
          </p:cNvSpPr>
          <p:nvPr/>
        </p:nvSpPr>
        <p:spPr bwMode="auto">
          <a:xfrm>
            <a:off x="5934075" y="1452528"/>
            <a:ext cx="17462" cy="4763"/>
          </a:xfrm>
          <a:custGeom>
            <a:avLst/>
            <a:gdLst>
              <a:gd name="T0" fmla="*/ 11 w 11"/>
              <a:gd name="T1" fmla="*/ 2 h 3"/>
              <a:gd name="T2" fmla="*/ 11 w 11"/>
              <a:gd name="T3" fmla="*/ 2 h 3"/>
              <a:gd name="T4" fmla="*/ 9 w 11"/>
              <a:gd name="T5" fmla="*/ 3 h 3"/>
              <a:gd name="T6" fmla="*/ 7 w 11"/>
              <a:gd name="T7" fmla="*/ 3 h 3"/>
              <a:gd name="T8" fmla="*/ 7 w 11"/>
              <a:gd name="T9" fmla="*/ 3 h 3"/>
              <a:gd name="T10" fmla="*/ 5 w 11"/>
              <a:gd name="T11" fmla="*/ 3 h 3"/>
              <a:gd name="T12" fmla="*/ 7 w 11"/>
              <a:gd name="T13" fmla="*/ 3 h 3"/>
              <a:gd name="T14" fmla="*/ 8 w 11"/>
              <a:gd name="T15" fmla="*/ 3 h 3"/>
              <a:gd name="T16" fmla="*/ 7 w 11"/>
              <a:gd name="T17" fmla="*/ 2 h 3"/>
              <a:gd name="T18" fmla="*/ 4 w 11"/>
              <a:gd name="T19" fmla="*/ 3 h 3"/>
              <a:gd name="T20" fmla="*/ 1 w 11"/>
              <a:gd name="T21" fmla="*/ 3 h 3"/>
              <a:gd name="T22" fmla="*/ 0 w 11"/>
              <a:gd name="T23" fmla="*/ 3 h 3"/>
              <a:gd name="T24" fmla="*/ 2 w 11"/>
              <a:gd name="T25" fmla="*/ 2 h 3"/>
              <a:gd name="T26" fmla="*/ 3 w 11"/>
              <a:gd name="T27" fmla="*/ 2 h 3"/>
              <a:gd name="T28" fmla="*/ 7 w 11"/>
              <a:gd name="T29" fmla="*/ 1 h 3"/>
              <a:gd name="T30" fmla="*/ 8 w 11"/>
              <a:gd name="T31" fmla="*/ 0 h 3"/>
              <a:gd name="T32" fmla="*/ 10 w 11"/>
              <a:gd name="T33" fmla="*/ 1 h 3"/>
              <a:gd name="T34" fmla="*/ 11 w 11"/>
              <a:gd name="T35" fmla="*/ 1 h 3"/>
              <a:gd name="T36" fmla="*/ 11 w 11"/>
              <a:gd name="T37" fmla="*/ 2 h 3"/>
              <a:gd name="T38" fmla="*/ 11 w 11"/>
              <a:gd name="T39" fmla="*/ 2 h 3"/>
              <a:gd name="T40" fmla="*/ 11 w 11"/>
              <a:gd name="T41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" h="3">
                <a:moveTo>
                  <a:pt x="11" y="2"/>
                </a:moveTo>
                <a:lnTo>
                  <a:pt x="11" y="2"/>
                </a:lnTo>
                <a:lnTo>
                  <a:pt x="9" y="3"/>
                </a:lnTo>
                <a:lnTo>
                  <a:pt x="7" y="3"/>
                </a:lnTo>
                <a:lnTo>
                  <a:pt x="7" y="3"/>
                </a:lnTo>
                <a:lnTo>
                  <a:pt x="5" y="3"/>
                </a:lnTo>
                <a:lnTo>
                  <a:pt x="7" y="3"/>
                </a:lnTo>
                <a:lnTo>
                  <a:pt x="8" y="3"/>
                </a:lnTo>
                <a:lnTo>
                  <a:pt x="7" y="2"/>
                </a:lnTo>
                <a:lnTo>
                  <a:pt x="4" y="3"/>
                </a:lnTo>
                <a:lnTo>
                  <a:pt x="1" y="3"/>
                </a:lnTo>
                <a:lnTo>
                  <a:pt x="0" y="3"/>
                </a:lnTo>
                <a:lnTo>
                  <a:pt x="2" y="2"/>
                </a:lnTo>
                <a:lnTo>
                  <a:pt x="3" y="2"/>
                </a:lnTo>
                <a:lnTo>
                  <a:pt x="7" y="1"/>
                </a:lnTo>
                <a:lnTo>
                  <a:pt x="8" y="0"/>
                </a:lnTo>
                <a:lnTo>
                  <a:pt x="10" y="1"/>
                </a:lnTo>
                <a:lnTo>
                  <a:pt x="11" y="1"/>
                </a:lnTo>
                <a:lnTo>
                  <a:pt x="11" y="2"/>
                </a:lnTo>
                <a:lnTo>
                  <a:pt x="11" y="2"/>
                </a:lnTo>
                <a:lnTo>
                  <a:pt x="11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33" name="Freeform 633"/>
          <p:cNvSpPr>
            <a:spLocks/>
          </p:cNvSpPr>
          <p:nvPr/>
        </p:nvSpPr>
        <p:spPr bwMode="auto">
          <a:xfrm>
            <a:off x="5934075" y="1452528"/>
            <a:ext cx="17462" cy="4763"/>
          </a:xfrm>
          <a:custGeom>
            <a:avLst/>
            <a:gdLst>
              <a:gd name="T0" fmla="*/ 11 w 11"/>
              <a:gd name="T1" fmla="*/ 2 h 3"/>
              <a:gd name="T2" fmla="*/ 11 w 11"/>
              <a:gd name="T3" fmla="*/ 2 h 3"/>
              <a:gd name="T4" fmla="*/ 9 w 11"/>
              <a:gd name="T5" fmla="*/ 3 h 3"/>
              <a:gd name="T6" fmla="*/ 7 w 11"/>
              <a:gd name="T7" fmla="*/ 3 h 3"/>
              <a:gd name="T8" fmla="*/ 7 w 11"/>
              <a:gd name="T9" fmla="*/ 3 h 3"/>
              <a:gd name="T10" fmla="*/ 5 w 11"/>
              <a:gd name="T11" fmla="*/ 3 h 3"/>
              <a:gd name="T12" fmla="*/ 7 w 11"/>
              <a:gd name="T13" fmla="*/ 3 h 3"/>
              <a:gd name="T14" fmla="*/ 8 w 11"/>
              <a:gd name="T15" fmla="*/ 3 h 3"/>
              <a:gd name="T16" fmla="*/ 7 w 11"/>
              <a:gd name="T17" fmla="*/ 2 h 3"/>
              <a:gd name="T18" fmla="*/ 4 w 11"/>
              <a:gd name="T19" fmla="*/ 3 h 3"/>
              <a:gd name="T20" fmla="*/ 1 w 11"/>
              <a:gd name="T21" fmla="*/ 3 h 3"/>
              <a:gd name="T22" fmla="*/ 0 w 11"/>
              <a:gd name="T23" fmla="*/ 3 h 3"/>
              <a:gd name="T24" fmla="*/ 2 w 11"/>
              <a:gd name="T25" fmla="*/ 2 h 3"/>
              <a:gd name="T26" fmla="*/ 3 w 11"/>
              <a:gd name="T27" fmla="*/ 2 h 3"/>
              <a:gd name="T28" fmla="*/ 7 w 11"/>
              <a:gd name="T29" fmla="*/ 1 h 3"/>
              <a:gd name="T30" fmla="*/ 8 w 11"/>
              <a:gd name="T31" fmla="*/ 0 h 3"/>
              <a:gd name="T32" fmla="*/ 10 w 11"/>
              <a:gd name="T33" fmla="*/ 1 h 3"/>
              <a:gd name="T34" fmla="*/ 11 w 11"/>
              <a:gd name="T35" fmla="*/ 1 h 3"/>
              <a:gd name="T36" fmla="*/ 11 w 11"/>
              <a:gd name="T37" fmla="*/ 2 h 3"/>
              <a:gd name="T38" fmla="*/ 11 w 11"/>
              <a:gd name="T39" fmla="*/ 2 h 3"/>
              <a:gd name="T40" fmla="*/ 11 w 11"/>
              <a:gd name="T41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1" h="3">
                <a:moveTo>
                  <a:pt x="11" y="2"/>
                </a:moveTo>
                <a:lnTo>
                  <a:pt x="11" y="2"/>
                </a:lnTo>
                <a:lnTo>
                  <a:pt x="9" y="3"/>
                </a:lnTo>
                <a:lnTo>
                  <a:pt x="7" y="3"/>
                </a:lnTo>
                <a:lnTo>
                  <a:pt x="7" y="3"/>
                </a:lnTo>
                <a:lnTo>
                  <a:pt x="5" y="3"/>
                </a:lnTo>
                <a:lnTo>
                  <a:pt x="7" y="3"/>
                </a:lnTo>
                <a:lnTo>
                  <a:pt x="8" y="3"/>
                </a:lnTo>
                <a:lnTo>
                  <a:pt x="7" y="2"/>
                </a:lnTo>
                <a:lnTo>
                  <a:pt x="4" y="3"/>
                </a:lnTo>
                <a:lnTo>
                  <a:pt x="1" y="3"/>
                </a:lnTo>
                <a:lnTo>
                  <a:pt x="0" y="3"/>
                </a:lnTo>
                <a:lnTo>
                  <a:pt x="2" y="2"/>
                </a:lnTo>
                <a:lnTo>
                  <a:pt x="3" y="2"/>
                </a:lnTo>
                <a:lnTo>
                  <a:pt x="7" y="1"/>
                </a:lnTo>
                <a:lnTo>
                  <a:pt x="8" y="0"/>
                </a:lnTo>
                <a:lnTo>
                  <a:pt x="10" y="1"/>
                </a:lnTo>
                <a:lnTo>
                  <a:pt x="11" y="1"/>
                </a:lnTo>
                <a:lnTo>
                  <a:pt x="11" y="2"/>
                </a:lnTo>
                <a:lnTo>
                  <a:pt x="11" y="2"/>
                </a:lnTo>
                <a:lnTo>
                  <a:pt x="11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34" name="Freeform 634"/>
          <p:cNvSpPr>
            <a:spLocks/>
          </p:cNvSpPr>
          <p:nvPr/>
        </p:nvSpPr>
        <p:spPr bwMode="auto">
          <a:xfrm>
            <a:off x="6276975" y="1511265"/>
            <a:ext cx="33337" cy="7938"/>
          </a:xfrm>
          <a:custGeom>
            <a:avLst/>
            <a:gdLst>
              <a:gd name="T0" fmla="*/ 15 w 21"/>
              <a:gd name="T1" fmla="*/ 0 h 5"/>
              <a:gd name="T2" fmla="*/ 17 w 21"/>
              <a:gd name="T3" fmla="*/ 1 h 5"/>
              <a:gd name="T4" fmla="*/ 18 w 21"/>
              <a:gd name="T5" fmla="*/ 1 h 5"/>
              <a:gd name="T6" fmla="*/ 19 w 21"/>
              <a:gd name="T7" fmla="*/ 1 h 5"/>
              <a:gd name="T8" fmla="*/ 21 w 21"/>
              <a:gd name="T9" fmla="*/ 2 h 5"/>
              <a:gd name="T10" fmla="*/ 21 w 21"/>
              <a:gd name="T11" fmla="*/ 4 h 5"/>
              <a:gd name="T12" fmla="*/ 20 w 21"/>
              <a:gd name="T13" fmla="*/ 4 h 5"/>
              <a:gd name="T14" fmla="*/ 19 w 21"/>
              <a:gd name="T15" fmla="*/ 5 h 5"/>
              <a:gd name="T16" fmla="*/ 14 w 21"/>
              <a:gd name="T17" fmla="*/ 5 h 5"/>
              <a:gd name="T18" fmla="*/ 11 w 21"/>
              <a:gd name="T19" fmla="*/ 5 h 5"/>
              <a:gd name="T20" fmla="*/ 8 w 21"/>
              <a:gd name="T21" fmla="*/ 4 h 5"/>
              <a:gd name="T22" fmla="*/ 4 w 21"/>
              <a:gd name="T23" fmla="*/ 3 h 5"/>
              <a:gd name="T24" fmla="*/ 1 w 21"/>
              <a:gd name="T25" fmla="*/ 3 h 5"/>
              <a:gd name="T26" fmla="*/ 0 w 21"/>
              <a:gd name="T27" fmla="*/ 2 h 5"/>
              <a:gd name="T28" fmla="*/ 1 w 21"/>
              <a:gd name="T29" fmla="*/ 2 h 5"/>
              <a:gd name="T30" fmla="*/ 2 w 21"/>
              <a:gd name="T31" fmla="*/ 2 h 5"/>
              <a:gd name="T32" fmla="*/ 5 w 21"/>
              <a:gd name="T33" fmla="*/ 2 h 5"/>
              <a:gd name="T34" fmla="*/ 5 w 21"/>
              <a:gd name="T35" fmla="*/ 2 h 5"/>
              <a:gd name="T36" fmla="*/ 5 w 21"/>
              <a:gd name="T37" fmla="*/ 1 h 5"/>
              <a:gd name="T38" fmla="*/ 5 w 21"/>
              <a:gd name="T39" fmla="*/ 1 h 5"/>
              <a:gd name="T40" fmla="*/ 2 w 21"/>
              <a:gd name="T41" fmla="*/ 0 h 5"/>
              <a:gd name="T42" fmla="*/ 2 w 21"/>
              <a:gd name="T43" fmla="*/ 0 h 5"/>
              <a:gd name="T44" fmla="*/ 10 w 21"/>
              <a:gd name="T45" fmla="*/ 0 h 5"/>
              <a:gd name="T46" fmla="*/ 12 w 21"/>
              <a:gd name="T47" fmla="*/ 0 h 5"/>
              <a:gd name="T48" fmla="*/ 15 w 21"/>
              <a:gd name="T4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1" h="5">
                <a:moveTo>
                  <a:pt x="15" y="0"/>
                </a:moveTo>
                <a:lnTo>
                  <a:pt x="17" y="1"/>
                </a:lnTo>
                <a:lnTo>
                  <a:pt x="18" y="1"/>
                </a:lnTo>
                <a:lnTo>
                  <a:pt x="19" y="1"/>
                </a:lnTo>
                <a:lnTo>
                  <a:pt x="21" y="2"/>
                </a:lnTo>
                <a:lnTo>
                  <a:pt x="21" y="4"/>
                </a:lnTo>
                <a:lnTo>
                  <a:pt x="20" y="4"/>
                </a:lnTo>
                <a:lnTo>
                  <a:pt x="19" y="5"/>
                </a:lnTo>
                <a:lnTo>
                  <a:pt x="14" y="5"/>
                </a:lnTo>
                <a:lnTo>
                  <a:pt x="11" y="5"/>
                </a:lnTo>
                <a:lnTo>
                  <a:pt x="8" y="4"/>
                </a:lnTo>
                <a:lnTo>
                  <a:pt x="4" y="3"/>
                </a:lnTo>
                <a:lnTo>
                  <a:pt x="1" y="3"/>
                </a:lnTo>
                <a:lnTo>
                  <a:pt x="0" y="2"/>
                </a:lnTo>
                <a:lnTo>
                  <a:pt x="1" y="2"/>
                </a:lnTo>
                <a:lnTo>
                  <a:pt x="2" y="2"/>
                </a:lnTo>
                <a:lnTo>
                  <a:pt x="5" y="2"/>
                </a:lnTo>
                <a:lnTo>
                  <a:pt x="5" y="2"/>
                </a:lnTo>
                <a:lnTo>
                  <a:pt x="5" y="1"/>
                </a:lnTo>
                <a:lnTo>
                  <a:pt x="5" y="1"/>
                </a:lnTo>
                <a:lnTo>
                  <a:pt x="2" y="0"/>
                </a:lnTo>
                <a:lnTo>
                  <a:pt x="2" y="0"/>
                </a:lnTo>
                <a:lnTo>
                  <a:pt x="10" y="0"/>
                </a:lnTo>
                <a:lnTo>
                  <a:pt x="12" y="0"/>
                </a:lnTo>
                <a:lnTo>
                  <a:pt x="15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35" name="Freeform 635"/>
          <p:cNvSpPr>
            <a:spLocks/>
          </p:cNvSpPr>
          <p:nvPr/>
        </p:nvSpPr>
        <p:spPr bwMode="auto">
          <a:xfrm>
            <a:off x="6276975" y="1511265"/>
            <a:ext cx="33337" cy="7938"/>
          </a:xfrm>
          <a:custGeom>
            <a:avLst/>
            <a:gdLst>
              <a:gd name="T0" fmla="*/ 15 w 21"/>
              <a:gd name="T1" fmla="*/ 0 h 5"/>
              <a:gd name="T2" fmla="*/ 17 w 21"/>
              <a:gd name="T3" fmla="*/ 1 h 5"/>
              <a:gd name="T4" fmla="*/ 18 w 21"/>
              <a:gd name="T5" fmla="*/ 1 h 5"/>
              <a:gd name="T6" fmla="*/ 19 w 21"/>
              <a:gd name="T7" fmla="*/ 1 h 5"/>
              <a:gd name="T8" fmla="*/ 21 w 21"/>
              <a:gd name="T9" fmla="*/ 2 h 5"/>
              <a:gd name="T10" fmla="*/ 21 w 21"/>
              <a:gd name="T11" fmla="*/ 4 h 5"/>
              <a:gd name="T12" fmla="*/ 20 w 21"/>
              <a:gd name="T13" fmla="*/ 4 h 5"/>
              <a:gd name="T14" fmla="*/ 19 w 21"/>
              <a:gd name="T15" fmla="*/ 5 h 5"/>
              <a:gd name="T16" fmla="*/ 14 w 21"/>
              <a:gd name="T17" fmla="*/ 5 h 5"/>
              <a:gd name="T18" fmla="*/ 11 w 21"/>
              <a:gd name="T19" fmla="*/ 5 h 5"/>
              <a:gd name="T20" fmla="*/ 8 w 21"/>
              <a:gd name="T21" fmla="*/ 4 h 5"/>
              <a:gd name="T22" fmla="*/ 4 w 21"/>
              <a:gd name="T23" fmla="*/ 3 h 5"/>
              <a:gd name="T24" fmla="*/ 1 w 21"/>
              <a:gd name="T25" fmla="*/ 3 h 5"/>
              <a:gd name="T26" fmla="*/ 0 w 21"/>
              <a:gd name="T27" fmla="*/ 2 h 5"/>
              <a:gd name="T28" fmla="*/ 1 w 21"/>
              <a:gd name="T29" fmla="*/ 2 h 5"/>
              <a:gd name="T30" fmla="*/ 2 w 21"/>
              <a:gd name="T31" fmla="*/ 2 h 5"/>
              <a:gd name="T32" fmla="*/ 5 w 21"/>
              <a:gd name="T33" fmla="*/ 2 h 5"/>
              <a:gd name="T34" fmla="*/ 5 w 21"/>
              <a:gd name="T35" fmla="*/ 2 h 5"/>
              <a:gd name="T36" fmla="*/ 5 w 21"/>
              <a:gd name="T37" fmla="*/ 1 h 5"/>
              <a:gd name="T38" fmla="*/ 5 w 21"/>
              <a:gd name="T39" fmla="*/ 1 h 5"/>
              <a:gd name="T40" fmla="*/ 2 w 21"/>
              <a:gd name="T41" fmla="*/ 0 h 5"/>
              <a:gd name="T42" fmla="*/ 2 w 21"/>
              <a:gd name="T43" fmla="*/ 0 h 5"/>
              <a:gd name="T44" fmla="*/ 10 w 21"/>
              <a:gd name="T45" fmla="*/ 0 h 5"/>
              <a:gd name="T46" fmla="*/ 12 w 21"/>
              <a:gd name="T47" fmla="*/ 0 h 5"/>
              <a:gd name="T48" fmla="*/ 15 w 21"/>
              <a:gd name="T4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1" h="5">
                <a:moveTo>
                  <a:pt x="15" y="0"/>
                </a:moveTo>
                <a:lnTo>
                  <a:pt x="17" y="1"/>
                </a:lnTo>
                <a:lnTo>
                  <a:pt x="18" y="1"/>
                </a:lnTo>
                <a:lnTo>
                  <a:pt x="19" y="1"/>
                </a:lnTo>
                <a:lnTo>
                  <a:pt x="21" y="2"/>
                </a:lnTo>
                <a:lnTo>
                  <a:pt x="21" y="4"/>
                </a:lnTo>
                <a:lnTo>
                  <a:pt x="20" y="4"/>
                </a:lnTo>
                <a:lnTo>
                  <a:pt x="19" y="5"/>
                </a:lnTo>
                <a:lnTo>
                  <a:pt x="14" y="5"/>
                </a:lnTo>
                <a:lnTo>
                  <a:pt x="11" y="5"/>
                </a:lnTo>
                <a:lnTo>
                  <a:pt x="8" y="4"/>
                </a:lnTo>
                <a:lnTo>
                  <a:pt x="4" y="3"/>
                </a:lnTo>
                <a:lnTo>
                  <a:pt x="1" y="3"/>
                </a:lnTo>
                <a:lnTo>
                  <a:pt x="0" y="2"/>
                </a:lnTo>
                <a:lnTo>
                  <a:pt x="1" y="2"/>
                </a:lnTo>
                <a:lnTo>
                  <a:pt x="2" y="2"/>
                </a:lnTo>
                <a:lnTo>
                  <a:pt x="5" y="2"/>
                </a:lnTo>
                <a:lnTo>
                  <a:pt x="5" y="2"/>
                </a:lnTo>
                <a:lnTo>
                  <a:pt x="5" y="1"/>
                </a:lnTo>
                <a:lnTo>
                  <a:pt x="5" y="1"/>
                </a:lnTo>
                <a:lnTo>
                  <a:pt x="2" y="0"/>
                </a:lnTo>
                <a:lnTo>
                  <a:pt x="2" y="0"/>
                </a:lnTo>
                <a:lnTo>
                  <a:pt x="10" y="0"/>
                </a:lnTo>
                <a:lnTo>
                  <a:pt x="12" y="0"/>
                </a:lnTo>
                <a:lnTo>
                  <a:pt x="15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36" name="Freeform 636"/>
          <p:cNvSpPr>
            <a:spLocks/>
          </p:cNvSpPr>
          <p:nvPr/>
        </p:nvSpPr>
        <p:spPr bwMode="auto">
          <a:xfrm>
            <a:off x="6804025" y="1577940"/>
            <a:ext cx="22225" cy="3175"/>
          </a:xfrm>
          <a:custGeom>
            <a:avLst/>
            <a:gdLst>
              <a:gd name="T0" fmla="*/ 2 w 14"/>
              <a:gd name="T1" fmla="*/ 0 h 2"/>
              <a:gd name="T2" fmla="*/ 4 w 14"/>
              <a:gd name="T3" fmla="*/ 1 h 2"/>
              <a:gd name="T4" fmla="*/ 6 w 14"/>
              <a:gd name="T5" fmla="*/ 1 h 2"/>
              <a:gd name="T6" fmla="*/ 7 w 14"/>
              <a:gd name="T7" fmla="*/ 0 h 2"/>
              <a:gd name="T8" fmla="*/ 13 w 14"/>
              <a:gd name="T9" fmla="*/ 1 h 2"/>
              <a:gd name="T10" fmla="*/ 14 w 14"/>
              <a:gd name="T11" fmla="*/ 1 h 2"/>
              <a:gd name="T12" fmla="*/ 14 w 14"/>
              <a:gd name="T13" fmla="*/ 2 h 2"/>
              <a:gd name="T14" fmla="*/ 12 w 14"/>
              <a:gd name="T15" fmla="*/ 2 h 2"/>
              <a:gd name="T16" fmla="*/ 11 w 14"/>
              <a:gd name="T17" fmla="*/ 2 h 2"/>
              <a:gd name="T18" fmla="*/ 1 w 14"/>
              <a:gd name="T19" fmla="*/ 1 h 2"/>
              <a:gd name="T20" fmla="*/ 0 w 14"/>
              <a:gd name="T21" fmla="*/ 1 h 2"/>
              <a:gd name="T22" fmla="*/ 1 w 14"/>
              <a:gd name="T23" fmla="*/ 1 h 2"/>
              <a:gd name="T24" fmla="*/ 2 w 14"/>
              <a:gd name="T2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" h="2">
                <a:moveTo>
                  <a:pt x="2" y="0"/>
                </a:moveTo>
                <a:lnTo>
                  <a:pt x="4" y="1"/>
                </a:lnTo>
                <a:lnTo>
                  <a:pt x="6" y="1"/>
                </a:lnTo>
                <a:lnTo>
                  <a:pt x="7" y="0"/>
                </a:lnTo>
                <a:lnTo>
                  <a:pt x="13" y="1"/>
                </a:lnTo>
                <a:lnTo>
                  <a:pt x="14" y="1"/>
                </a:lnTo>
                <a:lnTo>
                  <a:pt x="14" y="2"/>
                </a:lnTo>
                <a:lnTo>
                  <a:pt x="12" y="2"/>
                </a:lnTo>
                <a:lnTo>
                  <a:pt x="11" y="2"/>
                </a:lnTo>
                <a:lnTo>
                  <a:pt x="1" y="1"/>
                </a:lnTo>
                <a:lnTo>
                  <a:pt x="0" y="1"/>
                </a:lnTo>
                <a:lnTo>
                  <a:pt x="1" y="1"/>
                </a:lnTo>
                <a:lnTo>
                  <a:pt x="2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37" name="Freeform 637"/>
          <p:cNvSpPr>
            <a:spLocks/>
          </p:cNvSpPr>
          <p:nvPr/>
        </p:nvSpPr>
        <p:spPr bwMode="auto">
          <a:xfrm>
            <a:off x="6804025" y="1577940"/>
            <a:ext cx="22225" cy="3175"/>
          </a:xfrm>
          <a:custGeom>
            <a:avLst/>
            <a:gdLst>
              <a:gd name="T0" fmla="*/ 2 w 14"/>
              <a:gd name="T1" fmla="*/ 0 h 2"/>
              <a:gd name="T2" fmla="*/ 4 w 14"/>
              <a:gd name="T3" fmla="*/ 1 h 2"/>
              <a:gd name="T4" fmla="*/ 6 w 14"/>
              <a:gd name="T5" fmla="*/ 1 h 2"/>
              <a:gd name="T6" fmla="*/ 7 w 14"/>
              <a:gd name="T7" fmla="*/ 0 h 2"/>
              <a:gd name="T8" fmla="*/ 13 w 14"/>
              <a:gd name="T9" fmla="*/ 1 h 2"/>
              <a:gd name="T10" fmla="*/ 14 w 14"/>
              <a:gd name="T11" fmla="*/ 1 h 2"/>
              <a:gd name="T12" fmla="*/ 14 w 14"/>
              <a:gd name="T13" fmla="*/ 2 h 2"/>
              <a:gd name="T14" fmla="*/ 12 w 14"/>
              <a:gd name="T15" fmla="*/ 2 h 2"/>
              <a:gd name="T16" fmla="*/ 11 w 14"/>
              <a:gd name="T17" fmla="*/ 2 h 2"/>
              <a:gd name="T18" fmla="*/ 1 w 14"/>
              <a:gd name="T19" fmla="*/ 1 h 2"/>
              <a:gd name="T20" fmla="*/ 0 w 14"/>
              <a:gd name="T21" fmla="*/ 1 h 2"/>
              <a:gd name="T22" fmla="*/ 1 w 14"/>
              <a:gd name="T23" fmla="*/ 1 h 2"/>
              <a:gd name="T24" fmla="*/ 2 w 14"/>
              <a:gd name="T2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" h="2">
                <a:moveTo>
                  <a:pt x="2" y="0"/>
                </a:moveTo>
                <a:lnTo>
                  <a:pt x="4" y="1"/>
                </a:lnTo>
                <a:lnTo>
                  <a:pt x="6" y="1"/>
                </a:lnTo>
                <a:lnTo>
                  <a:pt x="7" y="0"/>
                </a:lnTo>
                <a:lnTo>
                  <a:pt x="13" y="1"/>
                </a:lnTo>
                <a:lnTo>
                  <a:pt x="14" y="1"/>
                </a:lnTo>
                <a:lnTo>
                  <a:pt x="14" y="2"/>
                </a:lnTo>
                <a:lnTo>
                  <a:pt x="12" y="2"/>
                </a:lnTo>
                <a:lnTo>
                  <a:pt x="11" y="2"/>
                </a:lnTo>
                <a:lnTo>
                  <a:pt x="1" y="1"/>
                </a:lnTo>
                <a:lnTo>
                  <a:pt x="0" y="1"/>
                </a:lnTo>
                <a:lnTo>
                  <a:pt x="1" y="1"/>
                </a:lnTo>
                <a:lnTo>
                  <a:pt x="2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38" name="Freeform 638"/>
          <p:cNvSpPr>
            <a:spLocks/>
          </p:cNvSpPr>
          <p:nvPr/>
        </p:nvSpPr>
        <p:spPr bwMode="auto">
          <a:xfrm>
            <a:off x="6826250" y="1577940"/>
            <a:ext cx="20637" cy="6350"/>
          </a:xfrm>
          <a:custGeom>
            <a:avLst/>
            <a:gdLst>
              <a:gd name="T0" fmla="*/ 2 w 13"/>
              <a:gd name="T1" fmla="*/ 1 h 4"/>
              <a:gd name="T2" fmla="*/ 3 w 13"/>
              <a:gd name="T3" fmla="*/ 0 h 4"/>
              <a:gd name="T4" fmla="*/ 4 w 13"/>
              <a:gd name="T5" fmla="*/ 0 h 4"/>
              <a:gd name="T6" fmla="*/ 6 w 13"/>
              <a:gd name="T7" fmla="*/ 1 h 4"/>
              <a:gd name="T8" fmla="*/ 6 w 13"/>
              <a:gd name="T9" fmla="*/ 0 h 4"/>
              <a:gd name="T10" fmla="*/ 5 w 13"/>
              <a:gd name="T11" fmla="*/ 0 h 4"/>
              <a:gd name="T12" fmla="*/ 6 w 13"/>
              <a:gd name="T13" fmla="*/ 0 h 4"/>
              <a:gd name="T14" fmla="*/ 8 w 13"/>
              <a:gd name="T15" fmla="*/ 0 h 4"/>
              <a:gd name="T16" fmla="*/ 10 w 13"/>
              <a:gd name="T17" fmla="*/ 1 h 4"/>
              <a:gd name="T18" fmla="*/ 13 w 13"/>
              <a:gd name="T19" fmla="*/ 2 h 4"/>
              <a:gd name="T20" fmla="*/ 13 w 13"/>
              <a:gd name="T21" fmla="*/ 2 h 4"/>
              <a:gd name="T22" fmla="*/ 13 w 13"/>
              <a:gd name="T23" fmla="*/ 2 h 4"/>
              <a:gd name="T24" fmla="*/ 10 w 13"/>
              <a:gd name="T25" fmla="*/ 4 h 4"/>
              <a:gd name="T26" fmla="*/ 8 w 13"/>
              <a:gd name="T27" fmla="*/ 4 h 4"/>
              <a:gd name="T28" fmla="*/ 6 w 13"/>
              <a:gd name="T29" fmla="*/ 4 h 4"/>
              <a:gd name="T30" fmla="*/ 4 w 13"/>
              <a:gd name="T31" fmla="*/ 3 h 4"/>
              <a:gd name="T32" fmla="*/ 3 w 13"/>
              <a:gd name="T33" fmla="*/ 4 h 4"/>
              <a:gd name="T34" fmla="*/ 2 w 13"/>
              <a:gd name="T35" fmla="*/ 3 h 4"/>
              <a:gd name="T36" fmla="*/ 3 w 13"/>
              <a:gd name="T37" fmla="*/ 2 h 4"/>
              <a:gd name="T38" fmla="*/ 2 w 13"/>
              <a:gd name="T39" fmla="*/ 1 h 4"/>
              <a:gd name="T40" fmla="*/ 0 w 13"/>
              <a:gd name="T41" fmla="*/ 1 h 4"/>
              <a:gd name="T42" fmla="*/ 2 w 13"/>
              <a:gd name="T43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3" h="4">
                <a:moveTo>
                  <a:pt x="2" y="1"/>
                </a:moveTo>
                <a:lnTo>
                  <a:pt x="3" y="0"/>
                </a:lnTo>
                <a:lnTo>
                  <a:pt x="4" y="0"/>
                </a:lnTo>
                <a:lnTo>
                  <a:pt x="6" y="1"/>
                </a:lnTo>
                <a:lnTo>
                  <a:pt x="6" y="0"/>
                </a:lnTo>
                <a:lnTo>
                  <a:pt x="5" y="0"/>
                </a:lnTo>
                <a:lnTo>
                  <a:pt x="6" y="0"/>
                </a:lnTo>
                <a:lnTo>
                  <a:pt x="8" y="0"/>
                </a:lnTo>
                <a:lnTo>
                  <a:pt x="10" y="1"/>
                </a:lnTo>
                <a:lnTo>
                  <a:pt x="13" y="2"/>
                </a:lnTo>
                <a:lnTo>
                  <a:pt x="13" y="2"/>
                </a:lnTo>
                <a:lnTo>
                  <a:pt x="13" y="2"/>
                </a:lnTo>
                <a:lnTo>
                  <a:pt x="10" y="4"/>
                </a:lnTo>
                <a:lnTo>
                  <a:pt x="8" y="4"/>
                </a:lnTo>
                <a:lnTo>
                  <a:pt x="6" y="4"/>
                </a:lnTo>
                <a:lnTo>
                  <a:pt x="4" y="3"/>
                </a:lnTo>
                <a:lnTo>
                  <a:pt x="3" y="4"/>
                </a:lnTo>
                <a:lnTo>
                  <a:pt x="2" y="3"/>
                </a:lnTo>
                <a:lnTo>
                  <a:pt x="3" y="2"/>
                </a:lnTo>
                <a:lnTo>
                  <a:pt x="2" y="1"/>
                </a:lnTo>
                <a:lnTo>
                  <a:pt x="0" y="1"/>
                </a:lnTo>
                <a:lnTo>
                  <a:pt x="2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39" name="Freeform 639"/>
          <p:cNvSpPr>
            <a:spLocks/>
          </p:cNvSpPr>
          <p:nvPr/>
        </p:nvSpPr>
        <p:spPr bwMode="auto">
          <a:xfrm>
            <a:off x="6826250" y="1577940"/>
            <a:ext cx="20637" cy="6350"/>
          </a:xfrm>
          <a:custGeom>
            <a:avLst/>
            <a:gdLst>
              <a:gd name="T0" fmla="*/ 2 w 13"/>
              <a:gd name="T1" fmla="*/ 1 h 4"/>
              <a:gd name="T2" fmla="*/ 3 w 13"/>
              <a:gd name="T3" fmla="*/ 0 h 4"/>
              <a:gd name="T4" fmla="*/ 4 w 13"/>
              <a:gd name="T5" fmla="*/ 0 h 4"/>
              <a:gd name="T6" fmla="*/ 6 w 13"/>
              <a:gd name="T7" fmla="*/ 1 h 4"/>
              <a:gd name="T8" fmla="*/ 6 w 13"/>
              <a:gd name="T9" fmla="*/ 0 h 4"/>
              <a:gd name="T10" fmla="*/ 5 w 13"/>
              <a:gd name="T11" fmla="*/ 0 h 4"/>
              <a:gd name="T12" fmla="*/ 6 w 13"/>
              <a:gd name="T13" fmla="*/ 0 h 4"/>
              <a:gd name="T14" fmla="*/ 8 w 13"/>
              <a:gd name="T15" fmla="*/ 0 h 4"/>
              <a:gd name="T16" fmla="*/ 10 w 13"/>
              <a:gd name="T17" fmla="*/ 1 h 4"/>
              <a:gd name="T18" fmla="*/ 13 w 13"/>
              <a:gd name="T19" fmla="*/ 2 h 4"/>
              <a:gd name="T20" fmla="*/ 13 w 13"/>
              <a:gd name="T21" fmla="*/ 2 h 4"/>
              <a:gd name="T22" fmla="*/ 13 w 13"/>
              <a:gd name="T23" fmla="*/ 2 h 4"/>
              <a:gd name="T24" fmla="*/ 10 w 13"/>
              <a:gd name="T25" fmla="*/ 4 h 4"/>
              <a:gd name="T26" fmla="*/ 8 w 13"/>
              <a:gd name="T27" fmla="*/ 4 h 4"/>
              <a:gd name="T28" fmla="*/ 6 w 13"/>
              <a:gd name="T29" fmla="*/ 4 h 4"/>
              <a:gd name="T30" fmla="*/ 4 w 13"/>
              <a:gd name="T31" fmla="*/ 3 h 4"/>
              <a:gd name="T32" fmla="*/ 3 w 13"/>
              <a:gd name="T33" fmla="*/ 4 h 4"/>
              <a:gd name="T34" fmla="*/ 2 w 13"/>
              <a:gd name="T35" fmla="*/ 3 h 4"/>
              <a:gd name="T36" fmla="*/ 3 w 13"/>
              <a:gd name="T37" fmla="*/ 2 h 4"/>
              <a:gd name="T38" fmla="*/ 2 w 13"/>
              <a:gd name="T39" fmla="*/ 1 h 4"/>
              <a:gd name="T40" fmla="*/ 0 w 13"/>
              <a:gd name="T41" fmla="*/ 1 h 4"/>
              <a:gd name="T42" fmla="*/ 2 w 13"/>
              <a:gd name="T43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3" h="4">
                <a:moveTo>
                  <a:pt x="2" y="1"/>
                </a:moveTo>
                <a:lnTo>
                  <a:pt x="3" y="0"/>
                </a:lnTo>
                <a:lnTo>
                  <a:pt x="4" y="0"/>
                </a:lnTo>
                <a:lnTo>
                  <a:pt x="6" y="1"/>
                </a:lnTo>
                <a:lnTo>
                  <a:pt x="6" y="0"/>
                </a:lnTo>
                <a:lnTo>
                  <a:pt x="5" y="0"/>
                </a:lnTo>
                <a:lnTo>
                  <a:pt x="6" y="0"/>
                </a:lnTo>
                <a:lnTo>
                  <a:pt x="8" y="0"/>
                </a:lnTo>
                <a:lnTo>
                  <a:pt x="10" y="1"/>
                </a:lnTo>
                <a:lnTo>
                  <a:pt x="13" y="2"/>
                </a:lnTo>
                <a:lnTo>
                  <a:pt x="13" y="2"/>
                </a:lnTo>
                <a:lnTo>
                  <a:pt x="13" y="2"/>
                </a:lnTo>
                <a:lnTo>
                  <a:pt x="10" y="4"/>
                </a:lnTo>
                <a:lnTo>
                  <a:pt x="8" y="4"/>
                </a:lnTo>
                <a:lnTo>
                  <a:pt x="6" y="4"/>
                </a:lnTo>
                <a:lnTo>
                  <a:pt x="4" y="3"/>
                </a:lnTo>
                <a:lnTo>
                  <a:pt x="3" y="4"/>
                </a:lnTo>
                <a:lnTo>
                  <a:pt x="2" y="3"/>
                </a:lnTo>
                <a:lnTo>
                  <a:pt x="3" y="2"/>
                </a:lnTo>
                <a:lnTo>
                  <a:pt x="2" y="1"/>
                </a:lnTo>
                <a:lnTo>
                  <a:pt x="0" y="1"/>
                </a:lnTo>
                <a:lnTo>
                  <a:pt x="2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40" name="Freeform 640"/>
          <p:cNvSpPr>
            <a:spLocks/>
          </p:cNvSpPr>
          <p:nvPr/>
        </p:nvSpPr>
        <p:spPr bwMode="auto">
          <a:xfrm>
            <a:off x="6823075" y="1555715"/>
            <a:ext cx="25400" cy="7938"/>
          </a:xfrm>
          <a:custGeom>
            <a:avLst/>
            <a:gdLst>
              <a:gd name="T0" fmla="*/ 6 w 16"/>
              <a:gd name="T1" fmla="*/ 1 h 5"/>
              <a:gd name="T2" fmla="*/ 8 w 16"/>
              <a:gd name="T3" fmla="*/ 1 h 5"/>
              <a:gd name="T4" fmla="*/ 14 w 16"/>
              <a:gd name="T5" fmla="*/ 0 h 5"/>
              <a:gd name="T6" fmla="*/ 14 w 16"/>
              <a:gd name="T7" fmla="*/ 0 h 5"/>
              <a:gd name="T8" fmla="*/ 15 w 16"/>
              <a:gd name="T9" fmla="*/ 1 h 5"/>
              <a:gd name="T10" fmla="*/ 15 w 16"/>
              <a:gd name="T11" fmla="*/ 3 h 5"/>
              <a:gd name="T12" fmla="*/ 16 w 16"/>
              <a:gd name="T13" fmla="*/ 4 h 5"/>
              <a:gd name="T14" fmla="*/ 16 w 16"/>
              <a:gd name="T15" fmla="*/ 4 h 5"/>
              <a:gd name="T16" fmla="*/ 15 w 16"/>
              <a:gd name="T17" fmla="*/ 4 h 5"/>
              <a:gd name="T18" fmla="*/ 14 w 16"/>
              <a:gd name="T19" fmla="*/ 3 h 5"/>
              <a:gd name="T20" fmla="*/ 15 w 16"/>
              <a:gd name="T21" fmla="*/ 5 h 5"/>
              <a:gd name="T22" fmla="*/ 12 w 16"/>
              <a:gd name="T23" fmla="*/ 5 h 5"/>
              <a:gd name="T24" fmla="*/ 10 w 16"/>
              <a:gd name="T25" fmla="*/ 4 h 5"/>
              <a:gd name="T26" fmla="*/ 9 w 16"/>
              <a:gd name="T27" fmla="*/ 5 h 5"/>
              <a:gd name="T28" fmla="*/ 6 w 16"/>
              <a:gd name="T29" fmla="*/ 5 h 5"/>
              <a:gd name="T30" fmla="*/ 6 w 16"/>
              <a:gd name="T31" fmla="*/ 5 h 5"/>
              <a:gd name="T32" fmla="*/ 6 w 16"/>
              <a:gd name="T33" fmla="*/ 5 h 5"/>
              <a:gd name="T34" fmla="*/ 1 w 16"/>
              <a:gd name="T35" fmla="*/ 4 h 5"/>
              <a:gd name="T36" fmla="*/ 1 w 16"/>
              <a:gd name="T37" fmla="*/ 4 h 5"/>
              <a:gd name="T38" fmla="*/ 2 w 16"/>
              <a:gd name="T39" fmla="*/ 4 h 5"/>
              <a:gd name="T40" fmla="*/ 1 w 16"/>
              <a:gd name="T41" fmla="*/ 3 h 5"/>
              <a:gd name="T42" fmla="*/ 1 w 16"/>
              <a:gd name="T43" fmla="*/ 3 h 5"/>
              <a:gd name="T44" fmla="*/ 2 w 16"/>
              <a:gd name="T45" fmla="*/ 3 h 5"/>
              <a:gd name="T46" fmla="*/ 1 w 16"/>
              <a:gd name="T47" fmla="*/ 1 h 5"/>
              <a:gd name="T48" fmla="*/ 0 w 16"/>
              <a:gd name="T49" fmla="*/ 0 h 5"/>
              <a:gd name="T50" fmla="*/ 1 w 16"/>
              <a:gd name="T51" fmla="*/ 0 h 5"/>
              <a:gd name="T52" fmla="*/ 5 w 16"/>
              <a:gd name="T53" fmla="*/ 0 h 5"/>
              <a:gd name="T54" fmla="*/ 6 w 16"/>
              <a:gd name="T55" fmla="*/ 0 h 5"/>
              <a:gd name="T56" fmla="*/ 6 w 16"/>
              <a:gd name="T57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6" h="5">
                <a:moveTo>
                  <a:pt x="6" y="1"/>
                </a:moveTo>
                <a:lnTo>
                  <a:pt x="8" y="1"/>
                </a:lnTo>
                <a:lnTo>
                  <a:pt x="14" y="0"/>
                </a:lnTo>
                <a:lnTo>
                  <a:pt x="14" y="0"/>
                </a:lnTo>
                <a:lnTo>
                  <a:pt x="15" y="1"/>
                </a:lnTo>
                <a:lnTo>
                  <a:pt x="15" y="3"/>
                </a:lnTo>
                <a:lnTo>
                  <a:pt x="16" y="4"/>
                </a:lnTo>
                <a:lnTo>
                  <a:pt x="16" y="4"/>
                </a:lnTo>
                <a:lnTo>
                  <a:pt x="15" y="4"/>
                </a:lnTo>
                <a:lnTo>
                  <a:pt x="14" y="3"/>
                </a:lnTo>
                <a:lnTo>
                  <a:pt x="15" y="5"/>
                </a:lnTo>
                <a:lnTo>
                  <a:pt x="12" y="5"/>
                </a:lnTo>
                <a:lnTo>
                  <a:pt x="10" y="4"/>
                </a:lnTo>
                <a:lnTo>
                  <a:pt x="9" y="5"/>
                </a:lnTo>
                <a:lnTo>
                  <a:pt x="6" y="5"/>
                </a:lnTo>
                <a:lnTo>
                  <a:pt x="6" y="5"/>
                </a:lnTo>
                <a:lnTo>
                  <a:pt x="6" y="5"/>
                </a:lnTo>
                <a:lnTo>
                  <a:pt x="1" y="4"/>
                </a:lnTo>
                <a:lnTo>
                  <a:pt x="1" y="4"/>
                </a:lnTo>
                <a:lnTo>
                  <a:pt x="2" y="4"/>
                </a:lnTo>
                <a:lnTo>
                  <a:pt x="1" y="3"/>
                </a:lnTo>
                <a:lnTo>
                  <a:pt x="1" y="3"/>
                </a:lnTo>
                <a:lnTo>
                  <a:pt x="2" y="3"/>
                </a:lnTo>
                <a:lnTo>
                  <a:pt x="1" y="1"/>
                </a:lnTo>
                <a:lnTo>
                  <a:pt x="0" y="0"/>
                </a:lnTo>
                <a:lnTo>
                  <a:pt x="1" y="0"/>
                </a:lnTo>
                <a:lnTo>
                  <a:pt x="5" y="0"/>
                </a:lnTo>
                <a:lnTo>
                  <a:pt x="6" y="0"/>
                </a:lnTo>
                <a:lnTo>
                  <a:pt x="6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41" name="Freeform 641"/>
          <p:cNvSpPr>
            <a:spLocks/>
          </p:cNvSpPr>
          <p:nvPr/>
        </p:nvSpPr>
        <p:spPr bwMode="auto">
          <a:xfrm>
            <a:off x="6823075" y="1555715"/>
            <a:ext cx="25400" cy="7938"/>
          </a:xfrm>
          <a:custGeom>
            <a:avLst/>
            <a:gdLst>
              <a:gd name="T0" fmla="*/ 6 w 16"/>
              <a:gd name="T1" fmla="*/ 1 h 5"/>
              <a:gd name="T2" fmla="*/ 8 w 16"/>
              <a:gd name="T3" fmla="*/ 1 h 5"/>
              <a:gd name="T4" fmla="*/ 14 w 16"/>
              <a:gd name="T5" fmla="*/ 0 h 5"/>
              <a:gd name="T6" fmla="*/ 14 w 16"/>
              <a:gd name="T7" fmla="*/ 0 h 5"/>
              <a:gd name="T8" fmla="*/ 15 w 16"/>
              <a:gd name="T9" fmla="*/ 1 h 5"/>
              <a:gd name="T10" fmla="*/ 15 w 16"/>
              <a:gd name="T11" fmla="*/ 3 h 5"/>
              <a:gd name="T12" fmla="*/ 16 w 16"/>
              <a:gd name="T13" fmla="*/ 4 h 5"/>
              <a:gd name="T14" fmla="*/ 16 w 16"/>
              <a:gd name="T15" fmla="*/ 4 h 5"/>
              <a:gd name="T16" fmla="*/ 15 w 16"/>
              <a:gd name="T17" fmla="*/ 4 h 5"/>
              <a:gd name="T18" fmla="*/ 14 w 16"/>
              <a:gd name="T19" fmla="*/ 3 h 5"/>
              <a:gd name="T20" fmla="*/ 15 w 16"/>
              <a:gd name="T21" fmla="*/ 5 h 5"/>
              <a:gd name="T22" fmla="*/ 12 w 16"/>
              <a:gd name="T23" fmla="*/ 5 h 5"/>
              <a:gd name="T24" fmla="*/ 10 w 16"/>
              <a:gd name="T25" fmla="*/ 4 h 5"/>
              <a:gd name="T26" fmla="*/ 9 w 16"/>
              <a:gd name="T27" fmla="*/ 5 h 5"/>
              <a:gd name="T28" fmla="*/ 6 w 16"/>
              <a:gd name="T29" fmla="*/ 5 h 5"/>
              <a:gd name="T30" fmla="*/ 6 w 16"/>
              <a:gd name="T31" fmla="*/ 5 h 5"/>
              <a:gd name="T32" fmla="*/ 6 w 16"/>
              <a:gd name="T33" fmla="*/ 5 h 5"/>
              <a:gd name="T34" fmla="*/ 1 w 16"/>
              <a:gd name="T35" fmla="*/ 4 h 5"/>
              <a:gd name="T36" fmla="*/ 1 w 16"/>
              <a:gd name="T37" fmla="*/ 4 h 5"/>
              <a:gd name="T38" fmla="*/ 2 w 16"/>
              <a:gd name="T39" fmla="*/ 4 h 5"/>
              <a:gd name="T40" fmla="*/ 1 w 16"/>
              <a:gd name="T41" fmla="*/ 3 h 5"/>
              <a:gd name="T42" fmla="*/ 1 w 16"/>
              <a:gd name="T43" fmla="*/ 3 h 5"/>
              <a:gd name="T44" fmla="*/ 2 w 16"/>
              <a:gd name="T45" fmla="*/ 3 h 5"/>
              <a:gd name="T46" fmla="*/ 1 w 16"/>
              <a:gd name="T47" fmla="*/ 1 h 5"/>
              <a:gd name="T48" fmla="*/ 0 w 16"/>
              <a:gd name="T49" fmla="*/ 0 h 5"/>
              <a:gd name="T50" fmla="*/ 1 w 16"/>
              <a:gd name="T51" fmla="*/ 0 h 5"/>
              <a:gd name="T52" fmla="*/ 5 w 16"/>
              <a:gd name="T53" fmla="*/ 0 h 5"/>
              <a:gd name="T54" fmla="*/ 6 w 16"/>
              <a:gd name="T55" fmla="*/ 0 h 5"/>
              <a:gd name="T56" fmla="*/ 6 w 16"/>
              <a:gd name="T57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6" h="5">
                <a:moveTo>
                  <a:pt x="6" y="1"/>
                </a:moveTo>
                <a:lnTo>
                  <a:pt x="8" y="1"/>
                </a:lnTo>
                <a:lnTo>
                  <a:pt x="14" y="0"/>
                </a:lnTo>
                <a:lnTo>
                  <a:pt x="14" y="0"/>
                </a:lnTo>
                <a:lnTo>
                  <a:pt x="15" y="1"/>
                </a:lnTo>
                <a:lnTo>
                  <a:pt x="15" y="3"/>
                </a:lnTo>
                <a:lnTo>
                  <a:pt x="16" y="4"/>
                </a:lnTo>
                <a:lnTo>
                  <a:pt x="16" y="4"/>
                </a:lnTo>
                <a:lnTo>
                  <a:pt x="15" y="4"/>
                </a:lnTo>
                <a:lnTo>
                  <a:pt x="14" y="3"/>
                </a:lnTo>
                <a:lnTo>
                  <a:pt x="15" y="5"/>
                </a:lnTo>
                <a:lnTo>
                  <a:pt x="12" y="5"/>
                </a:lnTo>
                <a:lnTo>
                  <a:pt x="10" y="4"/>
                </a:lnTo>
                <a:lnTo>
                  <a:pt x="9" y="5"/>
                </a:lnTo>
                <a:lnTo>
                  <a:pt x="6" y="5"/>
                </a:lnTo>
                <a:lnTo>
                  <a:pt x="6" y="5"/>
                </a:lnTo>
                <a:lnTo>
                  <a:pt x="6" y="5"/>
                </a:lnTo>
                <a:lnTo>
                  <a:pt x="1" y="4"/>
                </a:lnTo>
                <a:lnTo>
                  <a:pt x="1" y="4"/>
                </a:lnTo>
                <a:lnTo>
                  <a:pt x="2" y="4"/>
                </a:lnTo>
                <a:lnTo>
                  <a:pt x="1" y="3"/>
                </a:lnTo>
                <a:lnTo>
                  <a:pt x="1" y="3"/>
                </a:lnTo>
                <a:lnTo>
                  <a:pt x="2" y="3"/>
                </a:lnTo>
                <a:lnTo>
                  <a:pt x="1" y="1"/>
                </a:lnTo>
                <a:lnTo>
                  <a:pt x="0" y="0"/>
                </a:lnTo>
                <a:lnTo>
                  <a:pt x="1" y="0"/>
                </a:lnTo>
                <a:lnTo>
                  <a:pt x="5" y="0"/>
                </a:lnTo>
                <a:lnTo>
                  <a:pt x="6" y="0"/>
                </a:lnTo>
                <a:lnTo>
                  <a:pt x="6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42" name="Freeform 642"/>
          <p:cNvSpPr>
            <a:spLocks/>
          </p:cNvSpPr>
          <p:nvPr/>
        </p:nvSpPr>
        <p:spPr bwMode="auto">
          <a:xfrm>
            <a:off x="7421563" y="1614453"/>
            <a:ext cx="41275" cy="12700"/>
          </a:xfrm>
          <a:custGeom>
            <a:avLst/>
            <a:gdLst>
              <a:gd name="T0" fmla="*/ 3 w 26"/>
              <a:gd name="T1" fmla="*/ 1 h 8"/>
              <a:gd name="T2" fmla="*/ 4 w 26"/>
              <a:gd name="T3" fmla="*/ 0 h 8"/>
              <a:gd name="T4" fmla="*/ 6 w 26"/>
              <a:gd name="T5" fmla="*/ 1 h 8"/>
              <a:gd name="T6" fmla="*/ 10 w 26"/>
              <a:gd name="T7" fmla="*/ 1 h 8"/>
              <a:gd name="T8" fmla="*/ 20 w 26"/>
              <a:gd name="T9" fmla="*/ 3 h 8"/>
              <a:gd name="T10" fmla="*/ 23 w 26"/>
              <a:gd name="T11" fmla="*/ 4 h 8"/>
              <a:gd name="T12" fmla="*/ 23 w 26"/>
              <a:gd name="T13" fmla="*/ 6 h 8"/>
              <a:gd name="T14" fmla="*/ 23 w 26"/>
              <a:gd name="T15" fmla="*/ 6 h 8"/>
              <a:gd name="T16" fmla="*/ 25 w 26"/>
              <a:gd name="T17" fmla="*/ 7 h 8"/>
              <a:gd name="T18" fmla="*/ 26 w 26"/>
              <a:gd name="T19" fmla="*/ 8 h 8"/>
              <a:gd name="T20" fmla="*/ 24 w 26"/>
              <a:gd name="T21" fmla="*/ 8 h 8"/>
              <a:gd name="T22" fmla="*/ 17 w 26"/>
              <a:gd name="T23" fmla="*/ 7 h 8"/>
              <a:gd name="T24" fmla="*/ 14 w 26"/>
              <a:gd name="T25" fmla="*/ 6 h 8"/>
              <a:gd name="T26" fmla="*/ 10 w 26"/>
              <a:gd name="T27" fmla="*/ 6 h 8"/>
              <a:gd name="T28" fmla="*/ 8 w 26"/>
              <a:gd name="T29" fmla="*/ 4 h 8"/>
              <a:gd name="T30" fmla="*/ 5 w 26"/>
              <a:gd name="T31" fmla="*/ 3 h 8"/>
              <a:gd name="T32" fmla="*/ 2 w 26"/>
              <a:gd name="T33" fmla="*/ 2 h 8"/>
              <a:gd name="T34" fmla="*/ 0 w 26"/>
              <a:gd name="T35" fmla="*/ 1 h 8"/>
              <a:gd name="T36" fmla="*/ 3 w 26"/>
              <a:gd name="T37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8">
                <a:moveTo>
                  <a:pt x="3" y="1"/>
                </a:moveTo>
                <a:lnTo>
                  <a:pt x="4" y="0"/>
                </a:lnTo>
                <a:lnTo>
                  <a:pt x="6" y="1"/>
                </a:lnTo>
                <a:lnTo>
                  <a:pt x="10" y="1"/>
                </a:lnTo>
                <a:lnTo>
                  <a:pt x="20" y="3"/>
                </a:lnTo>
                <a:lnTo>
                  <a:pt x="23" y="4"/>
                </a:lnTo>
                <a:lnTo>
                  <a:pt x="23" y="6"/>
                </a:lnTo>
                <a:lnTo>
                  <a:pt x="23" y="6"/>
                </a:lnTo>
                <a:lnTo>
                  <a:pt x="25" y="7"/>
                </a:lnTo>
                <a:lnTo>
                  <a:pt x="26" y="8"/>
                </a:lnTo>
                <a:lnTo>
                  <a:pt x="24" y="8"/>
                </a:lnTo>
                <a:lnTo>
                  <a:pt x="17" y="7"/>
                </a:lnTo>
                <a:lnTo>
                  <a:pt x="14" y="6"/>
                </a:lnTo>
                <a:lnTo>
                  <a:pt x="10" y="6"/>
                </a:lnTo>
                <a:lnTo>
                  <a:pt x="8" y="4"/>
                </a:lnTo>
                <a:lnTo>
                  <a:pt x="5" y="3"/>
                </a:lnTo>
                <a:lnTo>
                  <a:pt x="2" y="2"/>
                </a:lnTo>
                <a:lnTo>
                  <a:pt x="0" y="1"/>
                </a:lnTo>
                <a:lnTo>
                  <a:pt x="3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43" name="Freeform 643"/>
          <p:cNvSpPr>
            <a:spLocks/>
          </p:cNvSpPr>
          <p:nvPr/>
        </p:nvSpPr>
        <p:spPr bwMode="auto">
          <a:xfrm>
            <a:off x="7421563" y="1614453"/>
            <a:ext cx="41275" cy="12700"/>
          </a:xfrm>
          <a:custGeom>
            <a:avLst/>
            <a:gdLst>
              <a:gd name="T0" fmla="*/ 3 w 26"/>
              <a:gd name="T1" fmla="*/ 1 h 8"/>
              <a:gd name="T2" fmla="*/ 4 w 26"/>
              <a:gd name="T3" fmla="*/ 0 h 8"/>
              <a:gd name="T4" fmla="*/ 6 w 26"/>
              <a:gd name="T5" fmla="*/ 1 h 8"/>
              <a:gd name="T6" fmla="*/ 10 w 26"/>
              <a:gd name="T7" fmla="*/ 1 h 8"/>
              <a:gd name="T8" fmla="*/ 20 w 26"/>
              <a:gd name="T9" fmla="*/ 3 h 8"/>
              <a:gd name="T10" fmla="*/ 23 w 26"/>
              <a:gd name="T11" fmla="*/ 4 h 8"/>
              <a:gd name="T12" fmla="*/ 23 w 26"/>
              <a:gd name="T13" fmla="*/ 6 h 8"/>
              <a:gd name="T14" fmla="*/ 23 w 26"/>
              <a:gd name="T15" fmla="*/ 6 h 8"/>
              <a:gd name="T16" fmla="*/ 25 w 26"/>
              <a:gd name="T17" fmla="*/ 7 h 8"/>
              <a:gd name="T18" fmla="*/ 26 w 26"/>
              <a:gd name="T19" fmla="*/ 8 h 8"/>
              <a:gd name="T20" fmla="*/ 24 w 26"/>
              <a:gd name="T21" fmla="*/ 8 h 8"/>
              <a:gd name="T22" fmla="*/ 17 w 26"/>
              <a:gd name="T23" fmla="*/ 7 h 8"/>
              <a:gd name="T24" fmla="*/ 14 w 26"/>
              <a:gd name="T25" fmla="*/ 6 h 8"/>
              <a:gd name="T26" fmla="*/ 10 w 26"/>
              <a:gd name="T27" fmla="*/ 6 h 8"/>
              <a:gd name="T28" fmla="*/ 8 w 26"/>
              <a:gd name="T29" fmla="*/ 4 h 8"/>
              <a:gd name="T30" fmla="*/ 5 w 26"/>
              <a:gd name="T31" fmla="*/ 3 h 8"/>
              <a:gd name="T32" fmla="*/ 2 w 26"/>
              <a:gd name="T33" fmla="*/ 2 h 8"/>
              <a:gd name="T34" fmla="*/ 0 w 26"/>
              <a:gd name="T35" fmla="*/ 1 h 8"/>
              <a:gd name="T36" fmla="*/ 3 w 26"/>
              <a:gd name="T37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" h="8">
                <a:moveTo>
                  <a:pt x="3" y="1"/>
                </a:moveTo>
                <a:lnTo>
                  <a:pt x="4" y="0"/>
                </a:lnTo>
                <a:lnTo>
                  <a:pt x="6" y="1"/>
                </a:lnTo>
                <a:lnTo>
                  <a:pt x="10" y="1"/>
                </a:lnTo>
                <a:lnTo>
                  <a:pt x="20" y="3"/>
                </a:lnTo>
                <a:lnTo>
                  <a:pt x="23" y="4"/>
                </a:lnTo>
                <a:lnTo>
                  <a:pt x="23" y="6"/>
                </a:lnTo>
                <a:lnTo>
                  <a:pt x="23" y="6"/>
                </a:lnTo>
                <a:lnTo>
                  <a:pt x="25" y="7"/>
                </a:lnTo>
                <a:lnTo>
                  <a:pt x="26" y="8"/>
                </a:lnTo>
                <a:lnTo>
                  <a:pt x="24" y="8"/>
                </a:lnTo>
                <a:lnTo>
                  <a:pt x="17" y="7"/>
                </a:lnTo>
                <a:lnTo>
                  <a:pt x="14" y="6"/>
                </a:lnTo>
                <a:lnTo>
                  <a:pt x="10" y="6"/>
                </a:lnTo>
                <a:lnTo>
                  <a:pt x="8" y="4"/>
                </a:lnTo>
                <a:lnTo>
                  <a:pt x="5" y="3"/>
                </a:lnTo>
                <a:lnTo>
                  <a:pt x="2" y="2"/>
                </a:lnTo>
                <a:lnTo>
                  <a:pt x="0" y="1"/>
                </a:lnTo>
                <a:lnTo>
                  <a:pt x="3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44" name="Freeform 644"/>
          <p:cNvSpPr>
            <a:spLocks/>
          </p:cNvSpPr>
          <p:nvPr/>
        </p:nvSpPr>
        <p:spPr bwMode="auto">
          <a:xfrm>
            <a:off x="5241925" y="1628740"/>
            <a:ext cx="38100" cy="19050"/>
          </a:xfrm>
          <a:custGeom>
            <a:avLst/>
            <a:gdLst>
              <a:gd name="T0" fmla="*/ 2 w 24"/>
              <a:gd name="T1" fmla="*/ 0 h 12"/>
              <a:gd name="T2" fmla="*/ 3 w 24"/>
              <a:gd name="T3" fmla="*/ 0 h 12"/>
              <a:gd name="T4" fmla="*/ 3 w 24"/>
              <a:gd name="T5" fmla="*/ 0 h 12"/>
              <a:gd name="T6" fmla="*/ 4 w 24"/>
              <a:gd name="T7" fmla="*/ 0 h 12"/>
              <a:gd name="T8" fmla="*/ 6 w 24"/>
              <a:gd name="T9" fmla="*/ 0 h 12"/>
              <a:gd name="T10" fmla="*/ 8 w 24"/>
              <a:gd name="T11" fmla="*/ 0 h 12"/>
              <a:gd name="T12" fmla="*/ 18 w 24"/>
              <a:gd name="T13" fmla="*/ 3 h 12"/>
              <a:gd name="T14" fmla="*/ 20 w 24"/>
              <a:gd name="T15" fmla="*/ 4 h 12"/>
              <a:gd name="T16" fmla="*/ 21 w 24"/>
              <a:gd name="T17" fmla="*/ 4 h 12"/>
              <a:gd name="T18" fmla="*/ 20 w 24"/>
              <a:gd name="T19" fmla="*/ 3 h 12"/>
              <a:gd name="T20" fmla="*/ 22 w 24"/>
              <a:gd name="T21" fmla="*/ 4 h 12"/>
              <a:gd name="T22" fmla="*/ 24 w 24"/>
              <a:gd name="T23" fmla="*/ 5 h 12"/>
              <a:gd name="T24" fmla="*/ 24 w 24"/>
              <a:gd name="T25" fmla="*/ 8 h 12"/>
              <a:gd name="T26" fmla="*/ 22 w 24"/>
              <a:gd name="T27" fmla="*/ 5 h 12"/>
              <a:gd name="T28" fmla="*/ 20 w 24"/>
              <a:gd name="T29" fmla="*/ 7 h 12"/>
              <a:gd name="T30" fmla="*/ 18 w 24"/>
              <a:gd name="T31" fmla="*/ 10 h 12"/>
              <a:gd name="T32" fmla="*/ 14 w 24"/>
              <a:gd name="T33" fmla="*/ 11 h 12"/>
              <a:gd name="T34" fmla="*/ 13 w 24"/>
              <a:gd name="T35" fmla="*/ 11 h 12"/>
              <a:gd name="T36" fmla="*/ 11 w 24"/>
              <a:gd name="T37" fmla="*/ 12 h 12"/>
              <a:gd name="T38" fmla="*/ 9 w 24"/>
              <a:gd name="T39" fmla="*/ 12 h 12"/>
              <a:gd name="T40" fmla="*/ 8 w 24"/>
              <a:gd name="T41" fmla="*/ 11 h 12"/>
              <a:gd name="T42" fmla="*/ 8 w 24"/>
              <a:gd name="T43" fmla="*/ 12 h 12"/>
              <a:gd name="T44" fmla="*/ 5 w 24"/>
              <a:gd name="T45" fmla="*/ 11 h 12"/>
              <a:gd name="T46" fmla="*/ 3 w 24"/>
              <a:gd name="T47" fmla="*/ 10 h 12"/>
              <a:gd name="T48" fmla="*/ 2 w 24"/>
              <a:gd name="T49" fmla="*/ 10 h 12"/>
              <a:gd name="T50" fmla="*/ 2 w 24"/>
              <a:gd name="T51" fmla="*/ 11 h 12"/>
              <a:gd name="T52" fmla="*/ 3 w 24"/>
              <a:gd name="T53" fmla="*/ 12 h 12"/>
              <a:gd name="T54" fmla="*/ 2 w 24"/>
              <a:gd name="T55" fmla="*/ 11 h 12"/>
              <a:gd name="T56" fmla="*/ 1 w 24"/>
              <a:gd name="T57" fmla="*/ 10 h 12"/>
              <a:gd name="T58" fmla="*/ 1 w 24"/>
              <a:gd name="T59" fmla="*/ 9 h 12"/>
              <a:gd name="T60" fmla="*/ 0 w 24"/>
              <a:gd name="T61" fmla="*/ 5 h 12"/>
              <a:gd name="T62" fmla="*/ 0 w 24"/>
              <a:gd name="T63" fmla="*/ 3 h 12"/>
              <a:gd name="T64" fmla="*/ 1 w 24"/>
              <a:gd name="T65" fmla="*/ 1 h 12"/>
              <a:gd name="T66" fmla="*/ 2 w 24"/>
              <a:gd name="T67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4" h="12">
                <a:moveTo>
                  <a:pt x="2" y="0"/>
                </a:moveTo>
                <a:lnTo>
                  <a:pt x="3" y="0"/>
                </a:lnTo>
                <a:lnTo>
                  <a:pt x="3" y="0"/>
                </a:lnTo>
                <a:lnTo>
                  <a:pt x="4" y="0"/>
                </a:lnTo>
                <a:lnTo>
                  <a:pt x="6" y="0"/>
                </a:lnTo>
                <a:lnTo>
                  <a:pt x="8" y="0"/>
                </a:lnTo>
                <a:lnTo>
                  <a:pt x="18" y="3"/>
                </a:lnTo>
                <a:lnTo>
                  <a:pt x="20" y="4"/>
                </a:lnTo>
                <a:lnTo>
                  <a:pt x="21" y="4"/>
                </a:lnTo>
                <a:lnTo>
                  <a:pt x="20" y="3"/>
                </a:lnTo>
                <a:lnTo>
                  <a:pt x="22" y="4"/>
                </a:lnTo>
                <a:lnTo>
                  <a:pt x="24" y="5"/>
                </a:lnTo>
                <a:lnTo>
                  <a:pt x="24" y="8"/>
                </a:lnTo>
                <a:lnTo>
                  <a:pt x="22" y="5"/>
                </a:lnTo>
                <a:lnTo>
                  <a:pt x="20" y="7"/>
                </a:lnTo>
                <a:lnTo>
                  <a:pt x="18" y="10"/>
                </a:lnTo>
                <a:lnTo>
                  <a:pt x="14" y="11"/>
                </a:lnTo>
                <a:lnTo>
                  <a:pt x="13" y="11"/>
                </a:lnTo>
                <a:lnTo>
                  <a:pt x="11" y="12"/>
                </a:lnTo>
                <a:lnTo>
                  <a:pt x="9" y="12"/>
                </a:lnTo>
                <a:lnTo>
                  <a:pt x="8" y="11"/>
                </a:lnTo>
                <a:lnTo>
                  <a:pt x="8" y="12"/>
                </a:lnTo>
                <a:lnTo>
                  <a:pt x="5" y="11"/>
                </a:lnTo>
                <a:lnTo>
                  <a:pt x="3" y="10"/>
                </a:lnTo>
                <a:lnTo>
                  <a:pt x="2" y="10"/>
                </a:lnTo>
                <a:lnTo>
                  <a:pt x="2" y="11"/>
                </a:lnTo>
                <a:lnTo>
                  <a:pt x="3" y="12"/>
                </a:lnTo>
                <a:lnTo>
                  <a:pt x="2" y="11"/>
                </a:lnTo>
                <a:lnTo>
                  <a:pt x="1" y="10"/>
                </a:lnTo>
                <a:lnTo>
                  <a:pt x="1" y="9"/>
                </a:lnTo>
                <a:lnTo>
                  <a:pt x="0" y="5"/>
                </a:lnTo>
                <a:lnTo>
                  <a:pt x="0" y="3"/>
                </a:lnTo>
                <a:lnTo>
                  <a:pt x="1" y="1"/>
                </a:lnTo>
                <a:lnTo>
                  <a:pt x="2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45" name="Freeform 645"/>
          <p:cNvSpPr>
            <a:spLocks/>
          </p:cNvSpPr>
          <p:nvPr/>
        </p:nvSpPr>
        <p:spPr bwMode="auto">
          <a:xfrm>
            <a:off x="5241925" y="1628740"/>
            <a:ext cx="38100" cy="19050"/>
          </a:xfrm>
          <a:custGeom>
            <a:avLst/>
            <a:gdLst>
              <a:gd name="T0" fmla="*/ 2 w 24"/>
              <a:gd name="T1" fmla="*/ 0 h 12"/>
              <a:gd name="T2" fmla="*/ 3 w 24"/>
              <a:gd name="T3" fmla="*/ 0 h 12"/>
              <a:gd name="T4" fmla="*/ 3 w 24"/>
              <a:gd name="T5" fmla="*/ 0 h 12"/>
              <a:gd name="T6" fmla="*/ 4 w 24"/>
              <a:gd name="T7" fmla="*/ 0 h 12"/>
              <a:gd name="T8" fmla="*/ 6 w 24"/>
              <a:gd name="T9" fmla="*/ 0 h 12"/>
              <a:gd name="T10" fmla="*/ 8 w 24"/>
              <a:gd name="T11" fmla="*/ 0 h 12"/>
              <a:gd name="T12" fmla="*/ 18 w 24"/>
              <a:gd name="T13" fmla="*/ 3 h 12"/>
              <a:gd name="T14" fmla="*/ 20 w 24"/>
              <a:gd name="T15" fmla="*/ 4 h 12"/>
              <a:gd name="T16" fmla="*/ 21 w 24"/>
              <a:gd name="T17" fmla="*/ 4 h 12"/>
              <a:gd name="T18" fmla="*/ 20 w 24"/>
              <a:gd name="T19" fmla="*/ 3 h 12"/>
              <a:gd name="T20" fmla="*/ 22 w 24"/>
              <a:gd name="T21" fmla="*/ 4 h 12"/>
              <a:gd name="T22" fmla="*/ 24 w 24"/>
              <a:gd name="T23" fmla="*/ 5 h 12"/>
              <a:gd name="T24" fmla="*/ 24 w 24"/>
              <a:gd name="T25" fmla="*/ 8 h 12"/>
              <a:gd name="T26" fmla="*/ 22 w 24"/>
              <a:gd name="T27" fmla="*/ 5 h 12"/>
              <a:gd name="T28" fmla="*/ 20 w 24"/>
              <a:gd name="T29" fmla="*/ 7 h 12"/>
              <a:gd name="T30" fmla="*/ 18 w 24"/>
              <a:gd name="T31" fmla="*/ 10 h 12"/>
              <a:gd name="T32" fmla="*/ 14 w 24"/>
              <a:gd name="T33" fmla="*/ 11 h 12"/>
              <a:gd name="T34" fmla="*/ 13 w 24"/>
              <a:gd name="T35" fmla="*/ 11 h 12"/>
              <a:gd name="T36" fmla="*/ 11 w 24"/>
              <a:gd name="T37" fmla="*/ 12 h 12"/>
              <a:gd name="T38" fmla="*/ 9 w 24"/>
              <a:gd name="T39" fmla="*/ 12 h 12"/>
              <a:gd name="T40" fmla="*/ 8 w 24"/>
              <a:gd name="T41" fmla="*/ 11 h 12"/>
              <a:gd name="T42" fmla="*/ 8 w 24"/>
              <a:gd name="T43" fmla="*/ 12 h 12"/>
              <a:gd name="T44" fmla="*/ 5 w 24"/>
              <a:gd name="T45" fmla="*/ 11 h 12"/>
              <a:gd name="T46" fmla="*/ 3 w 24"/>
              <a:gd name="T47" fmla="*/ 10 h 12"/>
              <a:gd name="T48" fmla="*/ 2 w 24"/>
              <a:gd name="T49" fmla="*/ 10 h 12"/>
              <a:gd name="T50" fmla="*/ 2 w 24"/>
              <a:gd name="T51" fmla="*/ 11 h 12"/>
              <a:gd name="T52" fmla="*/ 3 w 24"/>
              <a:gd name="T53" fmla="*/ 12 h 12"/>
              <a:gd name="T54" fmla="*/ 2 w 24"/>
              <a:gd name="T55" fmla="*/ 11 h 12"/>
              <a:gd name="T56" fmla="*/ 1 w 24"/>
              <a:gd name="T57" fmla="*/ 10 h 12"/>
              <a:gd name="T58" fmla="*/ 1 w 24"/>
              <a:gd name="T59" fmla="*/ 9 h 12"/>
              <a:gd name="T60" fmla="*/ 0 w 24"/>
              <a:gd name="T61" fmla="*/ 5 h 12"/>
              <a:gd name="T62" fmla="*/ 0 w 24"/>
              <a:gd name="T63" fmla="*/ 3 h 12"/>
              <a:gd name="T64" fmla="*/ 1 w 24"/>
              <a:gd name="T65" fmla="*/ 1 h 12"/>
              <a:gd name="T66" fmla="*/ 2 w 24"/>
              <a:gd name="T67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4" h="12">
                <a:moveTo>
                  <a:pt x="2" y="0"/>
                </a:moveTo>
                <a:lnTo>
                  <a:pt x="3" y="0"/>
                </a:lnTo>
                <a:lnTo>
                  <a:pt x="3" y="0"/>
                </a:lnTo>
                <a:lnTo>
                  <a:pt x="4" y="0"/>
                </a:lnTo>
                <a:lnTo>
                  <a:pt x="6" y="0"/>
                </a:lnTo>
                <a:lnTo>
                  <a:pt x="8" y="0"/>
                </a:lnTo>
                <a:lnTo>
                  <a:pt x="18" y="3"/>
                </a:lnTo>
                <a:lnTo>
                  <a:pt x="20" y="4"/>
                </a:lnTo>
                <a:lnTo>
                  <a:pt x="21" y="4"/>
                </a:lnTo>
                <a:lnTo>
                  <a:pt x="20" y="3"/>
                </a:lnTo>
                <a:lnTo>
                  <a:pt x="22" y="4"/>
                </a:lnTo>
                <a:lnTo>
                  <a:pt x="24" y="5"/>
                </a:lnTo>
                <a:lnTo>
                  <a:pt x="24" y="8"/>
                </a:lnTo>
                <a:lnTo>
                  <a:pt x="22" y="5"/>
                </a:lnTo>
                <a:lnTo>
                  <a:pt x="20" y="7"/>
                </a:lnTo>
                <a:lnTo>
                  <a:pt x="18" y="10"/>
                </a:lnTo>
                <a:lnTo>
                  <a:pt x="14" y="11"/>
                </a:lnTo>
                <a:lnTo>
                  <a:pt x="13" y="11"/>
                </a:lnTo>
                <a:lnTo>
                  <a:pt x="11" y="12"/>
                </a:lnTo>
                <a:lnTo>
                  <a:pt x="9" y="12"/>
                </a:lnTo>
                <a:lnTo>
                  <a:pt x="8" y="11"/>
                </a:lnTo>
                <a:lnTo>
                  <a:pt x="8" y="12"/>
                </a:lnTo>
                <a:lnTo>
                  <a:pt x="5" y="11"/>
                </a:lnTo>
                <a:lnTo>
                  <a:pt x="3" y="10"/>
                </a:lnTo>
                <a:lnTo>
                  <a:pt x="2" y="10"/>
                </a:lnTo>
                <a:lnTo>
                  <a:pt x="2" y="11"/>
                </a:lnTo>
                <a:lnTo>
                  <a:pt x="3" y="12"/>
                </a:lnTo>
                <a:lnTo>
                  <a:pt x="2" y="11"/>
                </a:lnTo>
                <a:lnTo>
                  <a:pt x="1" y="10"/>
                </a:lnTo>
                <a:lnTo>
                  <a:pt x="1" y="9"/>
                </a:lnTo>
                <a:lnTo>
                  <a:pt x="0" y="5"/>
                </a:lnTo>
                <a:lnTo>
                  <a:pt x="0" y="3"/>
                </a:lnTo>
                <a:lnTo>
                  <a:pt x="1" y="1"/>
                </a:lnTo>
                <a:lnTo>
                  <a:pt x="2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46" name="Freeform 646"/>
          <p:cNvSpPr>
            <a:spLocks/>
          </p:cNvSpPr>
          <p:nvPr/>
        </p:nvSpPr>
        <p:spPr bwMode="auto">
          <a:xfrm>
            <a:off x="5418138" y="1604928"/>
            <a:ext cx="41275" cy="19050"/>
          </a:xfrm>
          <a:custGeom>
            <a:avLst/>
            <a:gdLst>
              <a:gd name="T0" fmla="*/ 4 w 26"/>
              <a:gd name="T1" fmla="*/ 7 h 12"/>
              <a:gd name="T2" fmla="*/ 4 w 26"/>
              <a:gd name="T3" fmla="*/ 7 h 12"/>
              <a:gd name="T4" fmla="*/ 2 w 26"/>
              <a:gd name="T5" fmla="*/ 6 h 12"/>
              <a:gd name="T6" fmla="*/ 2 w 26"/>
              <a:gd name="T7" fmla="*/ 5 h 12"/>
              <a:gd name="T8" fmla="*/ 1 w 26"/>
              <a:gd name="T9" fmla="*/ 5 h 12"/>
              <a:gd name="T10" fmla="*/ 0 w 26"/>
              <a:gd name="T11" fmla="*/ 4 h 12"/>
              <a:gd name="T12" fmla="*/ 2 w 26"/>
              <a:gd name="T13" fmla="*/ 4 h 12"/>
              <a:gd name="T14" fmla="*/ 3 w 26"/>
              <a:gd name="T15" fmla="*/ 4 h 12"/>
              <a:gd name="T16" fmla="*/ 0 w 26"/>
              <a:gd name="T17" fmla="*/ 3 h 12"/>
              <a:gd name="T18" fmla="*/ 1 w 26"/>
              <a:gd name="T19" fmla="*/ 3 h 12"/>
              <a:gd name="T20" fmla="*/ 2 w 26"/>
              <a:gd name="T21" fmla="*/ 2 h 12"/>
              <a:gd name="T22" fmla="*/ 2 w 26"/>
              <a:gd name="T23" fmla="*/ 0 h 12"/>
              <a:gd name="T24" fmla="*/ 3 w 26"/>
              <a:gd name="T25" fmla="*/ 0 h 12"/>
              <a:gd name="T26" fmla="*/ 6 w 26"/>
              <a:gd name="T27" fmla="*/ 2 h 12"/>
              <a:gd name="T28" fmla="*/ 9 w 26"/>
              <a:gd name="T29" fmla="*/ 3 h 12"/>
              <a:gd name="T30" fmla="*/ 11 w 26"/>
              <a:gd name="T31" fmla="*/ 4 h 12"/>
              <a:gd name="T32" fmla="*/ 14 w 26"/>
              <a:gd name="T33" fmla="*/ 5 h 12"/>
              <a:gd name="T34" fmla="*/ 17 w 26"/>
              <a:gd name="T35" fmla="*/ 6 h 12"/>
              <a:gd name="T36" fmla="*/ 25 w 26"/>
              <a:gd name="T37" fmla="*/ 9 h 12"/>
              <a:gd name="T38" fmla="*/ 26 w 26"/>
              <a:gd name="T39" fmla="*/ 10 h 12"/>
              <a:gd name="T40" fmla="*/ 25 w 26"/>
              <a:gd name="T41" fmla="*/ 12 h 12"/>
              <a:gd name="T42" fmla="*/ 24 w 26"/>
              <a:gd name="T43" fmla="*/ 12 h 12"/>
              <a:gd name="T44" fmla="*/ 22 w 26"/>
              <a:gd name="T45" fmla="*/ 12 h 12"/>
              <a:gd name="T46" fmla="*/ 22 w 26"/>
              <a:gd name="T47" fmla="*/ 12 h 12"/>
              <a:gd name="T48" fmla="*/ 20 w 26"/>
              <a:gd name="T49" fmla="*/ 12 h 12"/>
              <a:gd name="T50" fmla="*/ 16 w 26"/>
              <a:gd name="T51" fmla="*/ 10 h 12"/>
              <a:gd name="T52" fmla="*/ 16 w 26"/>
              <a:gd name="T53" fmla="*/ 10 h 12"/>
              <a:gd name="T54" fmla="*/ 14 w 26"/>
              <a:gd name="T55" fmla="*/ 9 h 12"/>
              <a:gd name="T56" fmla="*/ 12 w 26"/>
              <a:gd name="T57" fmla="*/ 9 h 12"/>
              <a:gd name="T58" fmla="*/ 8 w 26"/>
              <a:gd name="T59" fmla="*/ 8 h 12"/>
              <a:gd name="T60" fmla="*/ 9 w 26"/>
              <a:gd name="T61" fmla="*/ 9 h 12"/>
              <a:gd name="T62" fmla="*/ 11 w 26"/>
              <a:gd name="T63" fmla="*/ 10 h 12"/>
              <a:gd name="T64" fmla="*/ 11 w 26"/>
              <a:gd name="T65" fmla="*/ 12 h 12"/>
              <a:gd name="T66" fmla="*/ 9 w 26"/>
              <a:gd name="T67" fmla="*/ 9 h 12"/>
              <a:gd name="T68" fmla="*/ 4 w 26"/>
              <a:gd name="T69" fmla="*/ 7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6" h="12">
                <a:moveTo>
                  <a:pt x="4" y="7"/>
                </a:moveTo>
                <a:lnTo>
                  <a:pt x="4" y="7"/>
                </a:lnTo>
                <a:lnTo>
                  <a:pt x="2" y="6"/>
                </a:lnTo>
                <a:lnTo>
                  <a:pt x="2" y="5"/>
                </a:lnTo>
                <a:lnTo>
                  <a:pt x="1" y="5"/>
                </a:lnTo>
                <a:lnTo>
                  <a:pt x="0" y="4"/>
                </a:lnTo>
                <a:lnTo>
                  <a:pt x="2" y="4"/>
                </a:lnTo>
                <a:lnTo>
                  <a:pt x="3" y="4"/>
                </a:lnTo>
                <a:lnTo>
                  <a:pt x="0" y="3"/>
                </a:lnTo>
                <a:lnTo>
                  <a:pt x="1" y="3"/>
                </a:lnTo>
                <a:lnTo>
                  <a:pt x="2" y="2"/>
                </a:lnTo>
                <a:lnTo>
                  <a:pt x="2" y="0"/>
                </a:lnTo>
                <a:lnTo>
                  <a:pt x="3" y="0"/>
                </a:lnTo>
                <a:lnTo>
                  <a:pt x="6" y="2"/>
                </a:lnTo>
                <a:lnTo>
                  <a:pt x="9" y="3"/>
                </a:lnTo>
                <a:lnTo>
                  <a:pt x="11" y="4"/>
                </a:lnTo>
                <a:lnTo>
                  <a:pt x="14" y="5"/>
                </a:lnTo>
                <a:lnTo>
                  <a:pt x="17" y="6"/>
                </a:lnTo>
                <a:lnTo>
                  <a:pt x="25" y="9"/>
                </a:lnTo>
                <a:lnTo>
                  <a:pt x="26" y="10"/>
                </a:lnTo>
                <a:lnTo>
                  <a:pt x="25" y="12"/>
                </a:lnTo>
                <a:lnTo>
                  <a:pt x="24" y="12"/>
                </a:lnTo>
                <a:lnTo>
                  <a:pt x="22" y="12"/>
                </a:lnTo>
                <a:lnTo>
                  <a:pt x="22" y="12"/>
                </a:lnTo>
                <a:lnTo>
                  <a:pt x="20" y="12"/>
                </a:lnTo>
                <a:lnTo>
                  <a:pt x="16" y="10"/>
                </a:lnTo>
                <a:lnTo>
                  <a:pt x="16" y="10"/>
                </a:lnTo>
                <a:lnTo>
                  <a:pt x="14" y="9"/>
                </a:lnTo>
                <a:lnTo>
                  <a:pt x="12" y="9"/>
                </a:lnTo>
                <a:lnTo>
                  <a:pt x="8" y="8"/>
                </a:lnTo>
                <a:lnTo>
                  <a:pt x="9" y="9"/>
                </a:lnTo>
                <a:lnTo>
                  <a:pt x="11" y="10"/>
                </a:lnTo>
                <a:lnTo>
                  <a:pt x="11" y="12"/>
                </a:lnTo>
                <a:lnTo>
                  <a:pt x="9" y="9"/>
                </a:lnTo>
                <a:lnTo>
                  <a:pt x="4" y="7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47" name="Freeform 647"/>
          <p:cNvSpPr>
            <a:spLocks/>
          </p:cNvSpPr>
          <p:nvPr/>
        </p:nvSpPr>
        <p:spPr bwMode="auto">
          <a:xfrm>
            <a:off x="5418138" y="1604928"/>
            <a:ext cx="41275" cy="19050"/>
          </a:xfrm>
          <a:custGeom>
            <a:avLst/>
            <a:gdLst>
              <a:gd name="T0" fmla="*/ 4 w 26"/>
              <a:gd name="T1" fmla="*/ 7 h 12"/>
              <a:gd name="T2" fmla="*/ 4 w 26"/>
              <a:gd name="T3" fmla="*/ 7 h 12"/>
              <a:gd name="T4" fmla="*/ 2 w 26"/>
              <a:gd name="T5" fmla="*/ 6 h 12"/>
              <a:gd name="T6" fmla="*/ 2 w 26"/>
              <a:gd name="T7" fmla="*/ 5 h 12"/>
              <a:gd name="T8" fmla="*/ 1 w 26"/>
              <a:gd name="T9" fmla="*/ 5 h 12"/>
              <a:gd name="T10" fmla="*/ 0 w 26"/>
              <a:gd name="T11" fmla="*/ 4 h 12"/>
              <a:gd name="T12" fmla="*/ 2 w 26"/>
              <a:gd name="T13" fmla="*/ 4 h 12"/>
              <a:gd name="T14" fmla="*/ 3 w 26"/>
              <a:gd name="T15" fmla="*/ 4 h 12"/>
              <a:gd name="T16" fmla="*/ 0 w 26"/>
              <a:gd name="T17" fmla="*/ 3 h 12"/>
              <a:gd name="T18" fmla="*/ 1 w 26"/>
              <a:gd name="T19" fmla="*/ 3 h 12"/>
              <a:gd name="T20" fmla="*/ 2 w 26"/>
              <a:gd name="T21" fmla="*/ 2 h 12"/>
              <a:gd name="T22" fmla="*/ 2 w 26"/>
              <a:gd name="T23" fmla="*/ 0 h 12"/>
              <a:gd name="T24" fmla="*/ 3 w 26"/>
              <a:gd name="T25" fmla="*/ 0 h 12"/>
              <a:gd name="T26" fmla="*/ 6 w 26"/>
              <a:gd name="T27" fmla="*/ 2 h 12"/>
              <a:gd name="T28" fmla="*/ 9 w 26"/>
              <a:gd name="T29" fmla="*/ 3 h 12"/>
              <a:gd name="T30" fmla="*/ 11 w 26"/>
              <a:gd name="T31" fmla="*/ 4 h 12"/>
              <a:gd name="T32" fmla="*/ 14 w 26"/>
              <a:gd name="T33" fmla="*/ 5 h 12"/>
              <a:gd name="T34" fmla="*/ 17 w 26"/>
              <a:gd name="T35" fmla="*/ 6 h 12"/>
              <a:gd name="T36" fmla="*/ 25 w 26"/>
              <a:gd name="T37" fmla="*/ 9 h 12"/>
              <a:gd name="T38" fmla="*/ 26 w 26"/>
              <a:gd name="T39" fmla="*/ 10 h 12"/>
              <a:gd name="T40" fmla="*/ 25 w 26"/>
              <a:gd name="T41" fmla="*/ 12 h 12"/>
              <a:gd name="T42" fmla="*/ 24 w 26"/>
              <a:gd name="T43" fmla="*/ 12 h 12"/>
              <a:gd name="T44" fmla="*/ 22 w 26"/>
              <a:gd name="T45" fmla="*/ 12 h 12"/>
              <a:gd name="T46" fmla="*/ 22 w 26"/>
              <a:gd name="T47" fmla="*/ 12 h 12"/>
              <a:gd name="T48" fmla="*/ 20 w 26"/>
              <a:gd name="T49" fmla="*/ 12 h 12"/>
              <a:gd name="T50" fmla="*/ 16 w 26"/>
              <a:gd name="T51" fmla="*/ 10 h 12"/>
              <a:gd name="T52" fmla="*/ 16 w 26"/>
              <a:gd name="T53" fmla="*/ 10 h 12"/>
              <a:gd name="T54" fmla="*/ 14 w 26"/>
              <a:gd name="T55" fmla="*/ 9 h 12"/>
              <a:gd name="T56" fmla="*/ 12 w 26"/>
              <a:gd name="T57" fmla="*/ 9 h 12"/>
              <a:gd name="T58" fmla="*/ 8 w 26"/>
              <a:gd name="T59" fmla="*/ 8 h 12"/>
              <a:gd name="T60" fmla="*/ 9 w 26"/>
              <a:gd name="T61" fmla="*/ 9 h 12"/>
              <a:gd name="T62" fmla="*/ 11 w 26"/>
              <a:gd name="T63" fmla="*/ 10 h 12"/>
              <a:gd name="T64" fmla="*/ 11 w 26"/>
              <a:gd name="T65" fmla="*/ 12 h 12"/>
              <a:gd name="T66" fmla="*/ 9 w 26"/>
              <a:gd name="T67" fmla="*/ 9 h 12"/>
              <a:gd name="T68" fmla="*/ 4 w 26"/>
              <a:gd name="T69" fmla="*/ 7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6" h="12">
                <a:moveTo>
                  <a:pt x="4" y="7"/>
                </a:moveTo>
                <a:lnTo>
                  <a:pt x="4" y="7"/>
                </a:lnTo>
                <a:lnTo>
                  <a:pt x="2" y="6"/>
                </a:lnTo>
                <a:lnTo>
                  <a:pt x="2" y="5"/>
                </a:lnTo>
                <a:lnTo>
                  <a:pt x="1" y="5"/>
                </a:lnTo>
                <a:lnTo>
                  <a:pt x="0" y="4"/>
                </a:lnTo>
                <a:lnTo>
                  <a:pt x="2" y="4"/>
                </a:lnTo>
                <a:lnTo>
                  <a:pt x="3" y="4"/>
                </a:lnTo>
                <a:lnTo>
                  <a:pt x="0" y="3"/>
                </a:lnTo>
                <a:lnTo>
                  <a:pt x="1" y="3"/>
                </a:lnTo>
                <a:lnTo>
                  <a:pt x="2" y="2"/>
                </a:lnTo>
                <a:lnTo>
                  <a:pt x="2" y="0"/>
                </a:lnTo>
                <a:lnTo>
                  <a:pt x="3" y="0"/>
                </a:lnTo>
                <a:lnTo>
                  <a:pt x="6" y="2"/>
                </a:lnTo>
                <a:lnTo>
                  <a:pt x="9" y="3"/>
                </a:lnTo>
                <a:lnTo>
                  <a:pt x="11" y="4"/>
                </a:lnTo>
                <a:lnTo>
                  <a:pt x="14" y="5"/>
                </a:lnTo>
                <a:lnTo>
                  <a:pt x="17" y="6"/>
                </a:lnTo>
                <a:lnTo>
                  <a:pt x="25" y="9"/>
                </a:lnTo>
                <a:lnTo>
                  <a:pt x="26" y="10"/>
                </a:lnTo>
                <a:lnTo>
                  <a:pt x="25" y="12"/>
                </a:lnTo>
                <a:lnTo>
                  <a:pt x="24" y="12"/>
                </a:lnTo>
                <a:lnTo>
                  <a:pt x="22" y="12"/>
                </a:lnTo>
                <a:lnTo>
                  <a:pt x="22" y="12"/>
                </a:lnTo>
                <a:lnTo>
                  <a:pt x="20" y="12"/>
                </a:lnTo>
                <a:lnTo>
                  <a:pt x="16" y="10"/>
                </a:lnTo>
                <a:lnTo>
                  <a:pt x="16" y="10"/>
                </a:lnTo>
                <a:lnTo>
                  <a:pt x="14" y="9"/>
                </a:lnTo>
                <a:lnTo>
                  <a:pt x="12" y="9"/>
                </a:lnTo>
                <a:lnTo>
                  <a:pt x="8" y="8"/>
                </a:lnTo>
                <a:lnTo>
                  <a:pt x="9" y="9"/>
                </a:lnTo>
                <a:lnTo>
                  <a:pt x="11" y="10"/>
                </a:lnTo>
                <a:lnTo>
                  <a:pt x="11" y="12"/>
                </a:lnTo>
                <a:lnTo>
                  <a:pt x="9" y="9"/>
                </a:lnTo>
                <a:lnTo>
                  <a:pt x="4" y="7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48" name="Freeform 648"/>
          <p:cNvSpPr>
            <a:spLocks/>
          </p:cNvSpPr>
          <p:nvPr/>
        </p:nvSpPr>
        <p:spPr bwMode="auto">
          <a:xfrm>
            <a:off x="5581650" y="1535078"/>
            <a:ext cx="26987" cy="9525"/>
          </a:xfrm>
          <a:custGeom>
            <a:avLst/>
            <a:gdLst>
              <a:gd name="T0" fmla="*/ 3 w 17"/>
              <a:gd name="T1" fmla="*/ 6 h 6"/>
              <a:gd name="T2" fmla="*/ 2 w 17"/>
              <a:gd name="T3" fmla="*/ 6 h 6"/>
              <a:gd name="T4" fmla="*/ 2 w 17"/>
              <a:gd name="T5" fmla="*/ 4 h 6"/>
              <a:gd name="T6" fmla="*/ 1 w 17"/>
              <a:gd name="T7" fmla="*/ 3 h 6"/>
              <a:gd name="T8" fmla="*/ 0 w 17"/>
              <a:gd name="T9" fmla="*/ 2 h 6"/>
              <a:gd name="T10" fmla="*/ 1 w 17"/>
              <a:gd name="T11" fmla="*/ 0 h 6"/>
              <a:gd name="T12" fmla="*/ 4 w 17"/>
              <a:gd name="T13" fmla="*/ 0 h 6"/>
              <a:gd name="T14" fmla="*/ 8 w 17"/>
              <a:gd name="T15" fmla="*/ 0 h 6"/>
              <a:gd name="T16" fmla="*/ 10 w 17"/>
              <a:gd name="T17" fmla="*/ 1 h 6"/>
              <a:gd name="T18" fmla="*/ 10 w 17"/>
              <a:gd name="T19" fmla="*/ 2 h 6"/>
              <a:gd name="T20" fmla="*/ 14 w 17"/>
              <a:gd name="T21" fmla="*/ 3 h 6"/>
              <a:gd name="T22" fmla="*/ 17 w 17"/>
              <a:gd name="T23" fmla="*/ 3 h 6"/>
              <a:gd name="T24" fmla="*/ 13 w 17"/>
              <a:gd name="T25" fmla="*/ 4 h 6"/>
              <a:gd name="T26" fmla="*/ 12 w 17"/>
              <a:gd name="T27" fmla="*/ 4 h 6"/>
              <a:gd name="T28" fmla="*/ 9 w 17"/>
              <a:gd name="T29" fmla="*/ 4 h 6"/>
              <a:gd name="T30" fmla="*/ 5 w 17"/>
              <a:gd name="T31" fmla="*/ 6 h 6"/>
              <a:gd name="T32" fmla="*/ 4 w 17"/>
              <a:gd name="T33" fmla="*/ 4 h 6"/>
              <a:gd name="T34" fmla="*/ 4 w 17"/>
              <a:gd name="T35" fmla="*/ 6 h 6"/>
              <a:gd name="T36" fmla="*/ 3 w 17"/>
              <a:gd name="T37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7" h="6">
                <a:moveTo>
                  <a:pt x="3" y="6"/>
                </a:moveTo>
                <a:lnTo>
                  <a:pt x="2" y="6"/>
                </a:lnTo>
                <a:lnTo>
                  <a:pt x="2" y="4"/>
                </a:lnTo>
                <a:lnTo>
                  <a:pt x="1" y="3"/>
                </a:lnTo>
                <a:lnTo>
                  <a:pt x="0" y="2"/>
                </a:lnTo>
                <a:lnTo>
                  <a:pt x="1" y="0"/>
                </a:lnTo>
                <a:lnTo>
                  <a:pt x="4" y="0"/>
                </a:lnTo>
                <a:lnTo>
                  <a:pt x="8" y="0"/>
                </a:lnTo>
                <a:lnTo>
                  <a:pt x="10" y="1"/>
                </a:lnTo>
                <a:lnTo>
                  <a:pt x="10" y="2"/>
                </a:lnTo>
                <a:lnTo>
                  <a:pt x="14" y="3"/>
                </a:lnTo>
                <a:lnTo>
                  <a:pt x="17" y="3"/>
                </a:lnTo>
                <a:lnTo>
                  <a:pt x="13" y="4"/>
                </a:lnTo>
                <a:lnTo>
                  <a:pt x="12" y="4"/>
                </a:lnTo>
                <a:lnTo>
                  <a:pt x="9" y="4"/>
                </a:lnTo>
                <a:lnTo>
                  <a:pt x="5" y="6"/>
                </a:lnTo>
                <a:lnTo>
                  <a:pt x="4" y="4"/>
                </a:lnTo>
                <a:lnTo>
                  <a:pt x="4" y="6"/>
                </a:lnTo>
                <a:lnTo>
                  <a:pt x="3" y="6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49" name="Freeform 649"/>
          <p:cNvSpPr>
            <a:spLocks/>
          </p:cNvSpPr>
          <p:nvPr/>
        </p:nvSpPr>
        <p:spPr bwMode="auto">
          <a:xfrm>
            <a:off x="5581650" y="1535078"/>
            <a:ext cx="26987" cy="9525"/>
          </a:xfrm>
          <a:custGeom>
            <a:avLst/>
            <a:gdLst>
              <a:gd name="T0" fmla="*/ 3 w 17"/>
              <a:gd name="T1" fmla="*/ 6 h 6"/>
              <a:gd name="T2" fmla="*/ 2 w 17"/>
              <a:gd name="T3" fmla="*/ 6 h 6"/>
              <a:gd name="T4" fmla="*/ 2 w 17"/>
              <a:gd name="T5" fmla="*/ 4 h 6"/>
              <a:gd name="T6" fmla="*/ 1 w 17"/>
              <a:gd name="T7" fmla="*/ 3 h 6"/>
              <a:gd name="T8" fmla="*/ 0 w 17"/>
              <a:gd name="T9" fmla="*/ 2 h 6"/>
              <a:gd name="T10" fmla="*/ 1 w 17"/>
              <a:gd name="T11" fmla="*/ 0 h 6"/>
              <a:gd name="T12" fmla="*/ 4 w 17"/>
              <a:gd name="T13" fmla="*/ 0 h 6"/>
              <a:gd name="T14" fmla="*/ 8 w 17"/>
              <a:gd name="T15" fmla="*/ 0 h 6"/>
              <a:gd name="T16" fmla="*/ 10 w 17"/>
              <a:gd name="T17" fmla="*/ 1 h 6"/>
              <a:gd name="T18" fmla="*/ 10 w 17"/>
              <a:gd name="T19" fmla="*/ 2 h 6"/>
              <a:gd name="T20" fmla="*/ 14 w 17"/>
              <a:gd name="T21" fmla="*/ 3 h 6"/>
              <a:gd name="T22" fmla="*/ 17 w 17"/>
              <a:gd name="T23" fmla="*/ 3 h 6"/>
              <a:gd name="T24" fmla="*/ 13 w 17"/>
              <a:gd name="T25" fmla="*/ 4 h 6"/>
              <a:gd name="T26" fmla="*/ 12 w 17"/>
              <a:gd name="T27" fmla="*/ 4 h 6"/>
              <a:gd name="T28" fmla="*/ 9 w 17"/>
              <a:gd name="T29" fmla="*/ 4 h 6"/>
              <a:gd name="T30" fmla="*/ 5 w 17"/>
              <a:gd name="T31" fmla="*/ 6 h 6"/>
              <a:gd name="T32" fmla="*/ 4 w 17"/>
              <a:gd name="T33" fmla="*/ 4 h 6"/>
              <a:gd name="T34" fmla="*/ 4 w 17"/>
              <a:gd name="T35" fmla="*/ 6 h 6"/>
              <a:gd name="T36" fmla="*/ 3 w 17"/>
              <a:gd name="T37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7" h="6">
                <a:moveTo>
                  <a:pt x="3" y="6"/>
                </a:moveTo>
                <a:lnTo>
                  <a:pt x="2" y="6"/>
                </a:lnTo>
                <a:lnTo>
                  <a:pt x="2" y="4"/>
                </a:lnTo>
                <a:lnTo>
                  <a:pt x="1" y="3"/>
                </a:lnTo>
                <a:lnTo>
                  <a:pt x="0" y="2"/>
                </a:lnTo>
                <a:lnTo>
                  <a:pt x="1" y="0"/>
                </a:lnTo>
                <a:lnTo>
                  <a:pt x="4" y="0"/>
                </a:lnTo>
                <a:lnTo>
                  <a:pt x="8" y="0"/>
                </a:lnTo>
                <a:lnTo>
                  <a:pt x="10" y="1"/>
                </a:lnTo>
                <a:lnTo>
                  <a:pt x="10" y="2"/>
                </a:lnTo>
                <a:lnTo>
                  <a:pt x="14" y="3"/>
                </a:lnTo>
                <a:lnTo>
                  <a:pt x="17" y="3"/>
                </a:lnTo>
                <a:lnTo>
                  <a:pt x="13" y="4"/>
                </a:lnTo>
                <a:lnTo>
                  <a:pt x="12" y="4"/>
                </a:lnTo>
                <a:lnTo>
                  <a:pt x="9" y="4"/>
                </a:lnTo>
                <a:lnTo>
                  <a:pt x="5" y="6"/>
                </a:lnTo>
                <a:lnTo>
                  <a:pt x="4" y="4"/>
                </a:lnTo>
                <a:lnTo>
                  <a:pt x="4" y="6"/>
                </a:lnTo>
                <a:lnTo>
                  <a:pt x="3" y="6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50" name="Freeform 650"/>
          <p:cNvSpPr>
            <a:spLocks/>
          </p:cNvSpPr>
          <p:nvPr/>
        </p:nvSpPr>
        <p:spPr bwMode="auto">
          <a:xfrm>
            <a:off x="5656263" y="1541428"/>
            <a:ext cx="11112" cy="7938"/>
          </a:xfrm>
          <a:custGeom>
            <a:avLst/>
            <a:gdLst>
              <a:gd name="T0" fmla="*/ 0 w 7"/>
              <a:gd name="T1" fmla="*/ 2 h 5"/>
              <a:gd name="T2" fmla="*/ 0 w 7"/>
              <a:gd name="T3" fmla="*/ 2 h 5"/>
              <a:gd name="T4" fmla="*/ 2 w 7"/>
              <a:gd name="T5" fmla="*/ 0 h 5"/>
              <a:gd name="T6" fmla="*/ 7 w 7"/>
              <a:gd name="T7" fmla="*/ 2 h 5"/>
              <a:gd name="T8" fmla="*/ 7 w 7"/>
              <a:gd name="T9" fmla="*/ 2 h 5"/>
              <a:gd name="T10" fmla="*/ 6 w 7"/>
              <a:gd name="T11" fmla="*/ 3 h 5"/>
              <a:gd name="T12" fmla="*/ 6 w 7"/>
              <a:gd name="T13" fmla="*/ 4 h 5"/>
              <a:gd name="T14" fmla="*/ 7 w 7"/>
              <a:gd name="T15" fmla="*/ 5 h 5"/>
              <a:gd name="T16" fmla="*/ 1 w 7"/>
              <a:gd name="T17" fmla="*/ 3 h 5"/>
              <a:gd name="T18" fmla="*/ 0 w 7"/>
              <a:gd name="T19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" h="5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7" y="2"/>
                </a:lnTo>
                <a:lnTo>
                  <a:pt x="7" y="2"/>
                </a:lnTo>
                <a:lnTo>
                  <a:pt x="6" y="3"/>
                </a:lnTo>
                <a:lnTo>
                  <a:pt x="6" y="4"/>
                </a:lnTo>
                <a:lnTo>
                  <a:pt x="7" y="5"/>
                </a:lnTo>
                <a:lnTo>
                  <a:pt x="1" y="3"/>
                </a:lnTo>
                <a:lnTo>
                  <a:pt x="0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51" name="Freeform 651"/>
          <p:cNvSpPr>
            <a:spLocks/>
          </p:cNvSpPr>
          <p:nvPr/>
        </p:nvSpPr>
        <p:spPr bwMode="auto">
          <a:xfrm>
            <a:off x="5656263" y="1541428"/>
            <a:ext cx="11112" cy="7938"/>
          </a:xfrm>
          <a:custGeom>
            <a:avLst/>
            <a:gdLst>
              <a:gd name="T0" fmla="*/ 0 w 7"/>
              <a:gd name="T1" fmla="*/ 2 h 5"/>
              <a:gd name="T2" fmla="*/ 0 w 7"/>
              <a:gd name="T3" fmla="*/ 2 h 5"/>
              <a:gd name="T4" fmla="*/ 2 w 7"/>
              <a:gd name="T5" fmla="*/ 0 h 5"/>
              <a:gd name="T6" fmla="*/ 7 w 7"/>
              <a:gd name="T7" fmla="*/ 2 h 5"/>
              <a:gd name="T8" fmla="*/ 7 w 7"/>
              <a:gd name="T9" fmla="*/ 2 h 5"/>
              <a:gd name="T10" fmla="*/ 6 w 7"/>
              <a:gd name="T11" fmla="*/ 3 h 5"/>
              <a:gd name="T12" fmla="*/ 6 w 7"/>
              <a:gd name="T13" fmla="*/ 4 h 5"/>
              <a:gd name="T14" fmla="*/ 7 w 7"/>
              <a:gd name="T15" fmla="*/ 5 h 5"/>
              <a:gd name="T16" fmla="*/ 1 w 7"/>
              <a:gd name="T17" fmla="*/ 3 h 5"/>
              <a:gd name="T18" fmla="*/ 0 w 7"/>
              <a:gd name="T19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" h="5">
                <a:moveTo>
                  <a:pt x="0" y="2"/>
                </a:moveTo>
                <a:lnTo>
                  <a:pt x="0" y="2"/>
                </a:lnTo>
                <a:lnTo>
                  <a:pt x="2" y="0"/>
                </a:lnTo>
                <a:lnTo>
                  <a:pt x="7" y="2"/>
                </a:lnTo>
                <a:lnTo>
                  <a:pt x="7" y="2"/>
                </a:lnTo>
                <a:lnTo>
                  <a:pt x="6" y="3"/>
                </a:lnTo>
                <a:lnTo>
                  <a:pt x="6" y="4"/>
                </a:lnTo>
                <a:lnTo>
                  <a:pt x="7" y="5"/>
                </a:lnTo>
                <a:lnTo>
                  <a:pt x="1" y="3"/>
                </a:lnTo>
                <a:lnTo>
                  <a:pt x="0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52" name="Freeform 652"/>
          <p:cNvSpPr>
            <a:spLocks/>
          </p:cNvSpPr>
          <p:nvPr/>
        </p:nvSpPr>
        <p:spPr bwMode="auto">
          <a:xfrm>
            <a:off x="5738813" y="1544603"/>
            <a:ext cx="17462" cy="7938"/>
          </a:xfrm>
          <a:custGeom>
            <a:avLst/>
            <a:gdLst>
              <a:gd name="T0" fmla="*/ 4 w 11"/>
              <a:gd name="T1" fmla="*/ 0 h 5"/>
              <a:gd name="T2" fmla="*/ 5 w 11"/>
              <a:gd name="T3" fmla="*/ 1 h 5"/>
              <a:gd name="T4" fmla="*/ 9 w 11"/>
              <a:gd name="T5" fmla="*/ 2 h 5"/>
              <a:gd name="T6" fmla="*/ 10 w 11"/>
              <a:gd name="T7" fmla="*/ 4 h 5"/>
              <a:gd name="T8" fmla="*/ 11 w 11"/>
              <a:gd name="T9" fmla="*/ 5 h 5"/>
              <a:gd name="T10" fmla="*/ 10 w 11"/>
              <a:gd name="T11" fmla="*/ 5 h 5"/>
              <a:gd name="T12" fmla="*/ 9 w 11"/>
              <a:gd name="T13" fmla="*/ 5 h 5"/>
              <a:gd name="T14" fmla="*/ 5 w 11"/>
              <a:gd name="T15" fmla="*/ 5 h 5"/>
              <a:gd name="T16" fmla="*/ 2 w 11"/>
              <a:gd name="T17" fmla="*/ 4 h 5"/>
              <a:gd name="T18" fmla="*/ 0 w 11"/>
              <a:gd name="T19" fmla="*/ 3 h 5"/>
              <a:gd name="T20" fmla="*/ 1 w 11"/>
              <a:gd name="T21" fmla="*/ 2 h 5"/>
              <a:gd name="T22" fmla="*/ 3 w 11"/>
              <a:gd name="T23" fmla="*/ 0 h 5"/>
              <a:gd name="T24" fmla="*/ 4 w 11"/>
              <a:gd name="T25" fmla="*/ 0 h 5"/>
              <a:gd name="T26" fmla="*/ 4 w 11"/>
              <a:gd name="T27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1" h="5">
                <a:moveTo>
                  <a:pt x="4" y="0"/>
                </a:moveTo>
                <a:lnTo>
                  <a:pt x="5" y="1"/>
                </a:lnTo>
                <a:lnTo>
                  <a:pt x="9" y="2"/>
                </a:lnTo>
                <a:lnTo>
                  <a:pt x="10" y="4"/>
                </a:lnTo>
                <a:lnTo>
                  <a:pt x="11" y="5"/>
                </a:lnTo>
                <a:lnTo>
                  <a:pt x="10" y="5"/>
                </a:lnTo>
                <a:lnTo>
                  <a:pt x="9" y="5"/>
                </a:lnTo>
                <a:lnTo>
                  <a:pt x="5" y="5"/>
                </a:lnTo>
                <a:lnTo>
                  <a:pt x="2" y="4"/>
                </a:lnTo>
                <a:lnTo>
                  <a:pt x="0" y="3"/>
                </a:lnTo>
                <a:lnTo>
                  <a:pt x="1" y="2"/>
                </a:lnTo>
                <a:lnTo>
                  <a:pt x="3" y="0"/>
                </a:lnTo>
                <a:lnTo>
                  <a:pt x="4" y="0"/>
                </a:lnTo>
                <a:lnTo>
                  <a:pt x="4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53" name="Freeform 653"/>
          <p:cNvSpPr>
            <a:spLocks/>
          </p:cNvSpPr>
          <p:nvPr/>
        </p:nvSpPr>
        <p:spPr bwMode="auto">
          <a:xfrm>
            <a:off x="5738813" y="1544603"/>
            <a:ext cx="17462" cy="7938"/>
          </a:xfrm>
          <a:custGeom>
            <a:avLst/>
            <a:gdLst>
              <a:gd name="T0" fmla="*/ 4 w 11"/>
              <a:gd name="T1" fmla="*/ 0 h 5"/>
              <a:gd name="T2" fmla="*/ 5 w 11"/>
              <a:gd name="T3" fmla="*/ 1 h 5"/>
              <a:gd name="T4" fmla="*/ 9 w 11"/>
              <a:gd name="T5" fmla="*/ 2 h 5"/>
              <a:gd name="T6" fmla="*/ 10 w 11"/>
              <a:gd name="T7" fmla="*/ 4 h 5"/>
              <a:gd name="T8" fmla="*/ 11 w 11"/>
              <a:gd name="T9" fmla="*/ 5 h 5"/>
              <a:gd name="T10" fmla="*/ 10 w 11"/>
              <a:gd name="T11" fmla="*/ 5 h 5"/>
              <a:gd name="T12" fmla="*/ 9 w 11"/>
              <a:gd name="T13" fmla="*/ 5 h 5"/>
              <a:gd name="T14" fmla="*/ 5 w 11"/>
              <a:gd name="T15" fmla="*/ 5 h 5"/>
              <a:gd name="T16" fmla="*/ 2 w 11"/>
              <a:gd name="T17" fmla="*/ 4 h 5"/>
              <a:gd name="T18" fmla="*/ 0 w 11"/>
              <a:gd name="T19" fmla="*/ 3 h 5"/>
              <a:gd name="T20" fmla="*/ 1 w 11"/>
              <a:gd name="T21" fmla="*/ 2 h 5"/>
              <a:gd name="T22" fmla="*/ 3 w 11"/>
              <a:gd name="T23" fmla="*/ 0 h 5"/>
              <a:gd name="T24" fmla="*/ 4 w 11"/>
              <a:gd name="T25" fmla="*/ 0 h 5"/>
              <a:gd name="T26" fmla="*/ 4 w 11"/>
              <a:gd name="T27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1" h="5">
                <a:moveTo>
                  <a:pt x="4" y="0"/>
                </a:moveTo>
                <a:lnTo>
                  <a:pt x="5" y="1"/>
                </a:lnTo>
                <a:lnTo>
                  <a:pt x="9" y="2"/>
                </a:lnTo>
                <a:lnTo>
                  <a:pt x="10" y="4"/>
                </a:lnTo>
                <a:lnTo>
                  <a:pt x="11" y="5"/>
                </a:lnTo>
                <a:lnTo>
                  <a:pt x="10" y="5"/>
                </a:lnTo>
                <a:lnTo>
                  <a:pt x="9" y="5"/>
                </a:lnTo>
                <a:lnTo>
                  <a:pt x="5" y="5"/>
                </a:lnTo>
                <a:lnTo>
                  <a:pt x="2" y="4"/>
                </a:lnTo>
                <a:lnTo>
                  <a:pt x="0" y="3"/>
                </a:lnTo>
                <a:lnTo>
                  <a:pt x="1" y="2"/>
                </a:lnTo>
                <a:lnTo>
                  <a:pt x="3" y="0"/>
                </a:lnTo>
                <a:lnTo>
                  <a:pt x="4" y="0"/>
                </a:lnTo>
                <a:lnTo>
                  <a:pt x="4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54" name="Freeform 654"/>
          <p:cNvSpPr>
            <a:spLocks/>
          </p:cNvSpPr>
          <p:nvPr/>
        </p:nvSpPr>
        <p:spPr bwMode="auto">
          <a:xfrm>
            <a:off x="5716588" y="1554128"/>
            <a:ext cx="22225" cy="9525"/>
          </a:xfrm>
          <a:custGeom>
            <a:avLst/>
            <a:gdLst>
              <a:gd name="T0" fmla="*/ 3 w 14"/>
              <a:gd name="T1" fmla="*/ 1 h 6"/>
              <a:gd name="T2" fmla="*/ 4 w 14"/>
              <a:gd name="T3" fmla="*/ 1 h 6"/>
              <a:gd name="T4" fmla="*/ 5 w 14"/>
              <a:gd name="T5" fmla="*/ 0 h 6"/>
              <a:gd name="T6" fmla="*/ 11 w 14"/>
              <a:gd name="T7" fmla="*/ 1 h 6"/>
              <a:gd name="T8" fmla="*/ 14 w 14"/>
              <a:gd name="T9" fmla="*/ 2 h 6"/>
              <a:gd name="T10" fmla="*/ 14 w 14"/>
              <a:gd name="T11" fmla="*/ 4 h 6"/>
              <a:gd name="T12" fmla="*/ 13 w 14"/>
              <a:gd name="T13" fmla="*/ 4 h 6"/>
              <a:gd name="T14" fmla="*/ 11 w 14"/>
              <a:gd name="T15" fmla="*/ 5 h 6"/>
              <a:gd name="T16" fmla="*/ 3 w 14"/>
              <a:gd name="T17" fmla="*/ 6 h 6"/>
              <a:gd name="T18" fmla="*/ 0 w 14"/>
              <a:gd name="T19" fmla="*/ 5 h 6"/>
              <a:gd name="T20" fmla="*/ 1 w 14"/>
              <a:gd name="T21" fmla="*/ 4 h 6"/>
              <a:gd name="T22" fmla="*/ 3 w 14"/>
              <a:gd name="T23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4" h="6">
                <a:moveTo>
                  <a:pt x="3" y="1"/>
                </a:moveTo>
                <a:lnTo>
                  <a:pt x="4" y="1"/>
                </a:lnTo>
                <a:lnTo>
                  <a:pt x="5" y="0"/>
                </a:lnTo>
                <a:lnTo>
                  <a:pt x="11" y="1"/>
                </a:lnTo>
                <a:lnTo>
                  <a:pt x="14" y="2"/>
                </a:lnTo>
                <a:lnTo>
                  <a:pt x="14" y="4"/>
                </a:lnTo>
                <a:lnTo>
                  <a:pt x="13" y="4"/>
                </a:lnTo>
                <a:lnTo>
                  <a:pt x="11" y="5"/>
                </a:lnTo>
                <a:lnTo>
                  <a:pt x="3" y="6"/>
                </a:lnTo>
                <a:lnTo>
                  <a:pt x="0" y="5"/>
                </a:lnTo>
                <a:lnTo>
                  <a:pt x="1" y="4"/>
                </a:lnTo>
                <a:lnTo>
                  <a:pt x="3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55" name="Freeform 655"/>
          <p:cNvSpPr>
            <a:spLocks/>
          </p:cNvSpPr>
          <p:nvPr/>
        </p:nvSpPr>
        <p:spPr bwMode="auto">
          <a:xfrm>
            <a:off x="5716588" y="1554128"/>
            <a:ext cx="22225" cy="9525"/>
          </a:xfrm>
          <a:custGeom>
            <a:avLst/>
            <a:gdLst>
              <a:gd name="T0" fmla="*/ 3 w 14"/>
              <a:gd name="T1" fmla="*/ 1 h 6"/>
              <a:gd name="T2" fmla="*/ 4 w 14"/>
              <a:gd name="T3" fmla="*/ 1 h 6"/>
              <a:gd name="T4" fmla="*/ 5 w 14"/>
              <a:gd name="T5" fmla="*/ 0 h 6"/>
              <a:gd name="T6" fmla="*/ 11 w 14"/>
              <a:gd name="T7" fmla="*/ 1 h 6"/>
              <a:gd name="T8" fmla="*/ 14 w 14"/>
              <a:gd name="T9" fmla="*/ 2 h 6"/>
              <a:gd name="T10" fmla="*/ 14 w 14"/>
              <a:gd name="T11" fmla="*/ 4 h 6"/>
              <a:gd name="T12" fmla="*/ 13 w 14"/>
              <a:gd name="T13" fmla="*/ 4 h 6"/>
              <a:gd name="T14" fmla="*/ 11 w 14"/>
              <a:gd name="T15" fmla="*/ 5 h 6"/>
              <a:gd name="T16" fmla="*/ 3 w 14"/>
              <a:gd name="T17" fmla="*/ 6 h 6"/>
              <a:gd name="T18" fmla="*/ 0 w 14"/>
              <a:gd name="T19" fmla="*/ 5 h 6"/>
              <a:gd name="T20" fmla="*/ 1 w 14"/>
              <a:gd name="T21" fmla="*/ 4 h 6"/>
              <a:gd name="T22" fmla="*/ 3 w 14"/>
              <a:gd name="T23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4" h="6">
                <a:moveTo>
                  <a:pt x="3" y="1"/>
                </a:moveTo>
                <a:lnTo>
                  <a:pt x="4" y="1"/>
                </a:lnTo>
                <a:lnTo>
                  <a:pt x="5" y="0"/>
                </a:lnTo>
                <a:lnTo>
                  <a:pt x="11" y="1"/>
                </a:lnTo>
                <a:lnTo>
                  <a:pt x="14" y="2"/>
                </a:lnTo>
                <a:lnTo>
                  <a:pt x="14" y="4"/>
                </a:lnTo>
                <a:lnTo>
                  <a:pt x="13" y="4"/>
                </a:lnTo>
                <a:lnTo>
                  <a:pt x="11" y="5"/>
                </a:lnTo>
                <a:lnTo>
                  <a:pt x="3" y="6"/>
                </a:lnTo>
                <a:lnTo>
                  <a:pt x="0" y="5"/>
                </a:lnTo>
                <a:lnTo>
                  <a:pt x="1" y="4"/>
                </a:lnTo>
                <a:lnTo>
                  <a:pt x="3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56" name="Freeform 656"/>
          <p:cNvSpPr>
            <a:spLocks/>
          </p:cNvSpPr>
          <p:nvPr/>
        </p:nvSpPr>
        <p:spPr bwMode="auto">
          <a:xfrm>
            <a:off x="5738813" y="1487453"/>
            <a:ext cx="14287" cy="7938"/>
          </a:xfrm>
          <a:custGeom>
            <a:avLst/>
            <a:gdLst>
              <a:gd name="T0" fmla="*/ 6 w 9"/>
              <a:gd name="T1" fmla="*/ 1 h 5"/>
              <a:gd name="T2" fmla="*/ 7 w 9"/>
              <a:gd name="T3" fmla="*/ 2 h 5"/>
              <a:gd name="T4" fmla="*/ 9 w 9"/>
              <a:gd name="T5" fmla="*/ 2 h 5"/>
              <a:gd name="T6" fmla="*/ 6 w 9"/>
              <a:gd name="T7" fmla="*/ 2 h 5"/>
              <a:gd name="T8" fmla="*/ 6 w 9"/>
              <a:gd name="T9" fmla="*/ 3 h 5"/>
              <a:gd name="T10" fmla="*/ 9 w 9"/>
              <a:gd name="T11" fmla="*/ 5 h 5"/>
              <a:gd name="T12" fmla="*/ 6 w 9"/>
              <a:gd name="T13" fmla="*/ 3 h 5"/>
              <a:gd name="T14" fmla="*/ 4 w 9"/>
              <a:gd name="T15" fmla="*/ 2 h 5"/>
              <a:gd name="T16" fmla="*/ 4 w 9"/>
              <a:gd name="T17" fmla="*/ 3 h 5"/>
              <a:gd name="T18" fmla="*/ 2 w 9"/>
              <a:gd name="T19" fmla="*/ 2 h 5"/>
              <a:gd name="T20" fmla="*/ 1 w 9"/>
              <a:gd name="T21" fmla="*/ 2 h 5"/>
              <a:gd name="T22" fmla="*/ 2 w 9"/>
              <a:gd name="T23" fmla="*/ 3 h 5"/>
              <a:gd name="T24" fmla="*/ 4 w 9"/>
              <a:gd name="T25" fmla="*/ 5 h 5"/>
              <a:gd name="T26" fmla="*/ 0 w 9"/>
              <a:gd name="T27" fmla="*/ 2 h 5"/>
              <a:gd name="T28" fmla="*/ 0 w 9"/>
              <a:gd name="T29" fmla="*/ 1 h 5"/>
              <a:gd name="T30" fmla="*/ 1 w 9"/>
              <a:gd name="T31" fmla="*/ 1 h 5"/>
              <a:gd name="T32" fmla="*/ 1 w 9"/>
              <a:gd name="T33" fmla="*/ 1 h 5"/>
              <a:gd name="T34" fmla="*/ 2 w 9"/>
              <a:gd name="T35" fmla="*/ 2 h 5"/>
              <a:gd name="T36" fmla="*/ 3 w 9"/>
              <a:gd name="T37" fmla="*/ 1 h 5"/>
              <a:gd name="T38" fmla="*/ 3 w 9"/>
              <a:gd name="T39" fmla="*/ 0 h 5"/>
              <a:gd name="T40" fmla="*/ 2 w 9"/>
              <a:gd name="T41" fmla="*/ 1 h 5"/>
              <a:gd name="T42" fmla="*/ 2 w 9"/>
              <a:gd name="T43" fmla="*/ 0 h 5"/>
              <a:gd name="T44" fmla="*/ 4 w 9"/>
              <a:gd name="T45" fmla="*/ 0 h 5"/>
              <a:gd name="T46" fmla="*/ 6 w 9"/>
              <a:gd name="T47" fmla="*/ 1 h 5"/>
              <a:gd name="T48" fmla="*/ 6 w 9"/>
              <a:gd name="T49" fmla="*/ 1 h 5"/>
              <a:gd name="T50" fmla="*/ 6 w 9"/>
              <a:gd name="T51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9" h="5">
                <a:moveTo>
                  <a:pt x="6" y="1"/>
                </a:moveTo>
                <a:lnTo>
                  <a:pt x="7" y="2"/>
                </a:lnTo>
                <a:lnTo>
                  <a:pt x="9" y="2"/>
                </a:lnTo>
                <a:lnTo>
                  <a:pt x="6" y="2"/>
                </a:lnTo>
                <a:lnTo>
                  <a:pt x="6" y="3"/>
                </a:lnTo>
                <a:lnTo>
                  <a:pt x="9" y="5"/>
                </a:lnTo>
                <a:lnTo>
                  <a:pt x="6" y="3"/>
                </a:lnTo>
                <a:lnTo>
                  <a:pt x="4" y="2"/>
                </a:lnTo>
                <a:lnTo>
                  <a:pt x="4" y="3"/>
                </a:lnTo>
                <a:lnTo>
                  <a:pt x="2" y="2"/>
                </a:lnTo>
                <a:lnTo>
                  <a:pt x="1" y="2"/>
                </a:lnTo>
                <a:lnTo>
                  <a:pt x="2" y="3"/>
                </a:lnTo>
                <a:lnTo>
                  <a:pt x="4" y="5"/>
                </a:lnTo>
                <a:lnTo>
                  <a:pt x="0" y="2"/>
                </a:lnTo>
                <a:lnTo>
                  <a:pt x="0" y="1"/>
                </a:lnTo>
                <a:lnTo>
                  <a:pt x="1" y="1"/>
                </a:lnTo>
                <a:lnTo>
                  <a:pt x="1" y="1"/>
                </a:lnTo>
                <a:lnTo>
                  <a:pt x="2" y="2"/>
                </a:lnTo>
                <a:lnTo>
                  <a:pt x="3" y="1"/>
                </a:lnTo>
                <a:lnTo>
                  <a:pt x="3" y="0"/>
                </a:lnTo>
                <a:lnTo>
                  <a:pt x="2" y="1"/>
                </a:lnTo>
                <a:lnTo>
                  <a:pt x="2" y="0"/>
                </a:lnTo>
                <a:lnTo>
                  <a:pt x="4" y="0"/>
                </a:lnTo>
                <a:lnTo>
                  <a:pt x="6" y="1"/>
                </a:lnTo>
                <a:lnTo>
                  <a:pt x="6" y="1"/>
                </a:lnTo>
                <a:lnTo>
                  <a:pt x="6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57" name="Freeform 657"/>
          <p:cNvSpPr>
            <a:spLocks/>
          </p:cNvSpPr>
          <p:nvPr/>
        </p:nvSpPr>
        <p:spPr bwMode="auto">
          <a:xfrm>
            <a:off x="5738813" y="1487453"/>
            <a:ext cx="14287" cy="7938"/>
          </a:xfrm>
          <a:custGeom>
            <a:avLst/>
            <a:gdLst>
              <a:gd name="T0" fmla="*/ 6 w 9"/>
              <a:gd name="T1" fmla="*/ 1 h 5"/>
              <a:gd name="T2" fmla="*/ 7 w 9"/>
              <a:gd name="T3" fmla="*/ 2 h 5"/>
              <a:gd name="T4" fmla="*/ 9 w 9"/>
              <a:gd name="T5" fmla="*/ 2 h 5"/>
              <a:gd name="T6" fmla="*/ 6 w 9"/>
              <a:gd name="T7" fmla="*/ 2 h 5"/>
              <a:gd name="T8" fmla="*/ 6 w 9"/>
              <a:gd name="T9" fmla="*/ 3 h 5"/>
              <a:gd name="T10" fmla="*/ 9 w 9"/>
              <a:gd name="T11" fmla="*/ 5 h 5"/>
              <a:gd name="T12" fmla="*/ 6 w 9"/>
              <a:gd name="T13" fmla="*/ 3 h 5"/>
              <a:gd name="T14" fmla="*/ 4 w 9"/>
              <a:gd name="T15" fmla="*/ 2 h 5"/>
              <a:gd name="T16" fmla="*/ 4 w 9"/>
              <a:gd name="T17" fmla="*/ 3 h 5"/>
              <a:gd name="T18" fmla="*/ 2 w 9"/>
              <a:gd name="T19" fmla="*/ 2 h 5"/>
              <a:gd name="T20" fmla="*/ 1 w 9"/>
              <a:gd name="T21" fmla="*/ 2 h 5"/>
              <a:gd name="T22" fmla="*/ 2 w 9"/>
              <a:gd name="T23" fmla="*/ 3 h 5"/>
              <a:gd name="T24" fmla="*/ 4 w 9"/>
              <a:gd name="T25" fmla="*/ 5 h 5"/>
              <a:gd name="T26" fmla="*/ 0 w 9"/>
              <a:gd name="T27" fmla="*/ 2 h 5"/>
              <a:gd name="T28" fmla="*/ 0 w 9"/>
              <a:gd name="T29" fmla="*/ 1 h 5"/>
              <a:gd name="T30" fmla="*/ 1 w 9"/>
              <a:gd name="T31" fmla="*/ 1 h 5"/>
              <a:gd name="T32" fmla="*/ 1 w 9"/>
              <a:gd name="T33" fmla="*/ 1 h 5"/>
              <a:gd name="T34" fmla="*/ 2 w 9"/>
              <a:gd name="T35" fmla="*/ 2 h 5"/>
              <a:gd name="T36" fmla="*/ 3 w 9"/>
              <a:gd name="T37" fmla="*/ 1 h 5"/>
              <a:gd name="T38" fmla="*/ 3 w 9"/>
              <a:gd name="T39" fmla="*/ 0 h 5"/>
              <a:gd name="T40" fmla="*/ 2 w 9"/>
              <a:gd name="T41" fmla="*/ 1 h 5"/>
              <a:gd name="T42" fmla="*/ 2 w 9"/>
              <a:gd name="T43" fmla="*/ 0 h 5"/>
              <a:gd name="T44" fmla="*/ 4 w 9"/>
              <a:gd name="T45" fmla="*/ 0 h 5"/>
              <a:gd name="T46" fmla="*/ 6 w 9"/>
              <a:gd name="T47" fmla="*/ 1 h 5"/>
              <a:gd name="T48" fmla="*/ 6 w 9"/>
              <a:gd name="T49" fmla="*/ 1 h 5"/>
              <a:gd name="T50" fmla="*/ 6 w 9"/>
              <a:gd name="T51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9" h="5">
                <a:moveTo>
                  <a:pt x="6" y="1"/>
                </a:moveTo>
                <a:lnTo>
                  <a:pt x="7" y="2"/>
                </a:lnTo>
                <a:lnTo>
                  <a:pt x="9" y="2"/>
                </a:lnTo>
                <a:lnTo>
                  <a:pt x="6" y="2"/>
                </a:lnTo>
                <a:lnTo>
                  <a:pt x="6" y="3"/>
                </a:lnTo>
                <a:lnTo>
                  <a:pt x="9" y="5"/>
                </a:lnTo>
                <a:lnTo>
                  <a:pt x="6" y="3"/>
                </a:lnTo>
                <a:lnTo>
                  <a:pt x="4" y="2"/>
                </a:lnTo>
                <a:lnTo>
                  <a:pt x="4" y="3"/>
                </a:lnTo>
                <a:lnTo>
                  <a:pt x="2" y="2"/>
                </a:lnTo>
                <a:lnTo>
                  <a:pt x="1" y="2"/>
                </a:lnTo>
                <a:lnTo>
                  <a:pt x="2" y="3"/>
                </a:lnTo>
                <a:lnTo>
                  <a:pt x="4" y="5"/>
                </a:lnTo>
                <a:lnTo>
                  <a:pt x="0" y="2"/>
                </a:lnTo>
                <a:lnTo>
                  <a:pt x="0" y="1"/>
                </a:lnTo>
                <a:lnTo>
                  <a:pt x="1" y="1"/>
                </a:lnTo>
                <a:lnTo>
                  <a:pt x="1" y="1"/>
                </a:lnTo>
                <a:lnTo>
                  <a:pt x="2" y="2"/>
                </a:lnTo>
                <a:lnTo>
                  <a:pt x="3" y="1"/>
                </a:lnTo>
                <a:lnTo>
                  <a:pt x="3" y="0"/>
                </a:lnTo>
                <a:lnTo>
                  <a:pt x="2" y="1"/>
                </a:lnTo>
                <a:lnTo>
                  <a:pt x="2" y="0"/>
                </a:lnTo>
                <a:lnTo>
                  <a:pt x="4" y="0"/>
                </a:lnTo>
                <a:lnTo>
                  <a:pt x="6" y="1"/>
                </a:lnTo>
                <a:lnTo>
                  <a:pt x="6" y="1"/>
                </a:lnTo>
                <a:lnTo>
                  <a:pt x="6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58" name="Freeform 658"/>
          <p:cNvSpPr>
            <a:spLocks/>
          </p:cNvSpPr>
          <p:nvPr/>
        </p:nvSpPr>
        <p:spPr bwMode="auto">
          <a:xfrm>
            <a:off x="5684838" y="1693828"/>
            <a:ext cx="25400" cy="9525"/>
          </a:xfrm>
          <a:custGeom>
            <a:avLst/>
            <a:gdLst>
              <a:gd name="T0" fmla="*/ 0 w 16"/>
              <a:gd name="T1" fmla="*/ 3 h 6"/>
              <a:gd name="T2" fmla="*/ 5 w 16"/>
              <a:gd name="T3" fmla="*/ 2 h 6"/>
              <a:gd name="T4" fmla="*/ 8 w 16"/>
              <a:gd name="T5" fmla="*/ 0 h 6"/>
              <a:gd name="T6" fmla="*/ 11 w 16"/>
              <a:gd name="T7" fmla="*/ 0 h 6"/>
              <a:gd name="T8" fmla="*/ 13 w 16"/>
              <a:gd name="T9" fmla="*/ 0 h 6"/>
              <a:gd name="T10" fmla="*/ 16 w 16"/>
              <a:gd name="T11" fmla="*/ 2 h 6"/>
              <a:gd name="T12" fmla="*/ 13 w 16"/>
              <a:gd name="T13" fmla="*/ 2 h 6"/>
              <a:gd name="T14" fmla="*/ 11 w 16"/>
              <a:gd name="T15" fmla="*/ 3 h 6"/>
              <a:gd name="T16" fmla="*/ 7 w 16"/>
              <a:gd name="T17" fmla="*/ 6 h 6"/>
              <a:gd name="T18" fmla="*/ 6 w 16"/>
              <a:gd name="T19" fmla="*/ 6 h 6"/>
              <a:gd name="T20" fmla="*/ 3 w 16"/>
              <a:gd name="T21" fmla="*/ 4 h 6"/>
              <a:gd name="T22" fmla="*/ 0 w 16"/>
              <a:gd name="T23" fmla="*/ 3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" h="6">
                <a:moveTo>
                  <a:pt x="0" y="3"/>
                </a:moveTo>
                <a:lnTo>
                  <a:pt x="5" y="2"/>
                </a:lnTo>
                <a:lnTo>
                  <a:pt x="8" y="0"/>
                </a:lnTo>
                <a:lnTo>
                  <a:pt x="11" y="0"/>
                </a:lnTo>
                <a:lnTo>
                  <a:pt x="13" y="0"/>
                </a:lnTo>
                <a:lnTo>
                  <a:pt x="16" y="2"/>
                </a:lnTo>
                <a:lnTo>
                  <a:pt x="13" y="2"/>
                </a:lnTo>
                <a:lnTo>
                  <a:pt x="11" y="3"/>
                </a:lnTo>
                <a:lnTo>
                  <a:pt x="7" y="6"/>
                </a:lnTo>
                <a:lnTo>
                  <a:pt x="6" y="6"/>
                </a:lnTo>
                <a:lnTo>
                  <a:pt x="3" y="4"/>
                </a:lnTo>
                <a:lnTo>
                  <a:pt x="0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59" name="Freeform 659"/>
          <p:cNvSpPr>
            <a:spLocks/>
          </p:cNvSpPr>
          <p:nvPr/>
        </p:nvSpPr>
        <p:spPr bwMode="auto">
          <a:xfrm>
            <a:off x="5684838" y="1693828"/>
            <a:ext cx="25400" cy="9525"/>
          </a:xfrm>
          <a:custGeom>
            <a:avLst/>
            <a:gdLst>
              <a:gd name="T0" fmla="*/ 0 w 16"/>
              <a:gd name="T1" fmla="*/ 3 h 6"/>
              <a:gd name="T2" fmla="*/ 5 w 16"/>
              <a:gd name="T3" fmla="*/ 2 h 6"/>
              <a:gd name="T4" fmla="*/ 8 w 16"/>
              <a:gd name="T5" fmla="*/ 0 h 6"/>
              <a:gd name="T6" fmla="*/ 11 w 16"/>
              <a:gd name="T7" fmla="*/ 0 h 6"/>
              <a:gd name="T8" fmla="*/ 13 w 16"/>
              <a:gd name="T9" fmla="*/ 0 h 6"/>
              <a:gd name="T10" fmla="*/ 16 w 16"/>
              <a:gd name="T11" fmla="*/ 2 h 6"/>
              <a:gd name="T12" fmla="*/ 13 w 16"/>
              <a:gd name="T13" fmla="*/ 2 h 6"/>
              <a:gd name="T14" fmla="*/ 11 w 16"/>
              <a:gd name="T15" fmla="*/ 3 h 6"/>
              <a:gd name="T16" fmla="*/ 7 w 16"/>
              <a:gd name="T17" fmla="*/ 6 h 6"/>
              <a:gd name="T18" fmla="*/ 6 w 16"/>
              <a:gd name="T19" fmla="*/ 6 h 6"/>
              <a:gd name="T20" fmla="*/ 3 w 16"/>
              <a:gd name="T21" fmla="*/ 4 h 6"/>
              <a:gd name="T22" fmla="*/ 0 w 16"/>
              <a:gd name="T23" fmla="*/ 3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6" h="6">
                <a:moveTo>
                  <a:pt x="0" y="3"/>
                </a:moveTo>
                <a:lnTo>
                  <a:pt x="5" y="2"/>
                </a:lnTo>
                <a:lnTo>
                  <a:pt x="8" y="0"/>
                </a:lnTo>
                <a:lnTo>
                  <a:pt x="11" y="0"/>
                </a:lnTo>
                <a:lnTo>
                  <a:pt x="13" y="0"/>
                </a:lnTo>
                <a:lnTo>
                  <a:pt x="16" y="2"/>
                </a:lnTo>
                <a:lnTo>
                  <a:pt x="13" y="2"/>
                </a:lnTo>
                <a:lnTo>
                  <a:pt x="11" y="3"/>
                </a:lnTo>
                <a:lnTo>
                  <a:pt x="7" y="6"/>
                </a:lnTo>
                <a:lnTo>
                  <a:pt x="6" y="6"/>
                </a:lnTo>
                <a:lnTo>
                  <a:pt x="3" y="4"/>
                </a:lnTo>
                <a:lnTo>
                  <a:pt x="0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60" name="Freeform 660"/>
          <p:cNvSpPr>
            <a:spLocks/>
          </p:cNvSpPr>
          <p:nvPr/>
        </p:nvSpPr>
        <p:spPr bwMode="auto">
          <a:xfrm>
            <a:off x="5846763" y="1603340"/>
            <a:ext cx="12700" cy="9525"/>
          </a:xfrm>
          <a:custGeom>
            <a:avLst/>
            <a:gdLst>
              <a:gd name="T0" fmla="*/ 0 w 8"/>
              <a:gd name="T1" fmla="*/ 1 h 6"/>
              <a:gd name="T2" fmla="*/ 0 w 8"/>
              <a:gd name="T3" fmla="*/ 0 h 6"/>
              <a:gd name="T4" fmla="*/ 0 w 8"/>
              <a:gd name="T5" fmla="*/ 0 h 6"/>
              <a:gd name="T6" fmla="*/ 3 w 8"/>
              <a:gd name="T7" fmla="*/ 0 h 6"/>
              <a:gd name="T8" fmla="*/ 6 w 8"/>
              <a:gd name="T9" fmla="*/ 3 h 6"/>
              <a:gd name="T10" fmla="*/ 8 w 8"/>
              <a:gd name="T11" fmla="*/ 4 h 6"/>
              <a:gd name="T12" fmla="*/ 7 w 8"/>
              <a:gd name="T13" fmla="*/ 6 h 6"/>
              <a:gd name="T14" fmla="*/ 6 w 8"/>
              <a:gd name="T15" fmla="*/ 5 h 6"/>
              <a:gd name="T16" fmla="*/ 4 w 8"/>
              <a:gd name="T17" fmla="*/ 5 h 6"/>
              <a:gd name="T18" fmla="*/ 3 w 8"/>
              <a:gd name="T19" fmla="*/ 4 h 6"/>
              <a:gd name="T20" fmla="*/ 2 w 8"/>
              <a:gd name="T21" fmla="*/ 3 h 6"/>
              <a:gd name="T22" fmla="*/ 0 w 8"/>
              <a:gd name="T23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" h="6">
                <a:moveTo>
                  <a:pt x="0" y="1"/>
                </a:moveTo>
                <a:lnTo>
                  <a:pt x="0" y="0"/>
                </a:lnTo>
                <a:lnTo>
                  <a:pt x="0" y="0"/>
                </a:lnTo>
                <a:lnTo>
                  <a:pt x="3" y="0"/>
                </a:lnTo>
                <a:lnTo>
                  <a:pt x="6" y="3"/>
                </a:lnTo>
                <a:lnTo>
                  <a:pt x="8" y="4"/>
                </a:lnTo>
                <a:lnTo>
                  <a:pt x="7" y="6"/>
                </a:lnTo>
                <a:lnTo>
                  <a:pt x="6" y="5"/>
                </a:lnTo>
                <a:lnTo>
                  <a:pt x="4" y="5"/>
                </a:lnTo>
                <a:lnTo>
                  <a:pt x="3" y="4"/>
                </a:lnTo>
                <a:lnTo>
                  <a:pt x="2" y="3"/>
                </a:lnTo>
                <a:lnTo>
                  <a:pt x="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61" name="Freeform 661"/>
          <p:cNvSpPr>
            <a:spLocks/>
          </p:cNvSpPr>
          <p:nvPr/>
        </p:nvSpPr>
        <p:spPr bwMode="auto">
          <a:xfrm>
            <a:off x="5846763" y="1603340"/>
            <a:ext cx="12700" cy="9525"/>
          </a:xfrm>
          <a:custGeom>
            <a:avLst/>
            <a:gdLst>
              <a:gd name="T0" fmla="*/ 0 w 8"/>
              <a:gd name="T1" fmla="*/ 1 h 6"/>
              <a:gd name="T2" fmla="*/ 0 w 8"/>
              <a:gd name="T3" fmla="*/ 0 h 6"/>
              <a:gd name="T4" fmla="*/ 0 w 8"/>
              <a:gd name="T5" fmla="*/ 0 h 6"/>
              <a:gd name="T6" fmla="*/ 3 w 8"/>
              <a:gd name="T7" fmla="*/ 0 h 6"/>
              <a:gd name="T8" fmla="*/ 6 w 8"/>
              <a:gd name="T9" fmla="*/ 3 h 6"/>
              <a:gd name="T10" fmla="*/ 8 w 8"/>
              <a:gd name="T11" fmla="*/ 4 h 6"/>
              <a:gd name="T12" fmla="*/ 7 w 8"/>
              <a:gd name="T13" fmla="*/ 6 h 6"/>
              <a:gd name="T14" fmla="*/ 6 w 8"/>
              <a:gd name="T15" fmla="*/ 5 h 6"/>
              <a:gd name="T16" fmla="*/ 4 w 8"/>
              <a:gd name="T17" fmla="*/ 5 h 6"/>
              <a:gd name="T18" fmla="*/ 3 w 8"/>
              <a:gd name="T19" fmla="*/ 4 h 6"/>
              <a:gd name="T20" fmla="*/ 2 w 8"/>
              <a:gd name="T21" fmla="*/ 3 h 6"/>
              <a:gd name="T22" fmla="*/ 0 w 8"/>
              <a:gd name="T23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" h="6">
                <a:moveTo>
                  <a:pt x="0" y="1"/>
                </a:moveTo>
                <a:lnTo>
                  <a:pt x="0" y="0"/>
                </a:lnTo>
                <a:lnTo>
                  <a:pt x="0" y="0"/>
                </a:lnTo>
                <a:lnTo>
                  <a:pt x="3" y="0"/>
                </a:lnTo>
                <a:lnTo>
                  <a:pt x="6" y="3"/>
                </a:lnTo>
                <a:lnTo>
                  <a:pt x="8" y="4"/>
                </a:lnTo>
                <a:lnTo>
                  <a:pt x="7" y="6"/>
                </a:lnTo>
                <a:lnTo>
                  <a:pt x="6" y="5"/>
                </a:lnTo>
                <a:lnTo>
                  <a:pt x="4" y="5"/>
                </a:lnTo>
                <a:lnTo>
                  <a:pt x="3" y="4"/>
                </a:lnTo>
                <a:lnTo>
                  <a:pt x="2" y="3"/>
                </a:lnTo>
                <a:lnTo>
                  <a:pt x="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62" name="Freeform 662"/>
          <p:cNvSpPr>
            <a:spLocks/>
          </p:cNvSpPr>
          <p:nvPr/>
        </p:nvSpPr>
        <p:spPr bwMode="auto">
          <a:xfrm>
            <a:off x="4124325" y="1997040"/>
            <a:ext cx="95250" cy="103188"/>
          </a:xfrm>
          <a:custGeom>
            <a:avLst/>
            <a:gdLst>
              <a:gd name="T0" fmla="*/ 58 w 60"/>
              <a:gd name="T1" fmla="*/ 18 h 65"/>
              <a:gd name="T2" fmla="*/ 47 w 60"/>
              <a:gd name="T3" fmla="*/ 15 h 65"/>
              <a:gd name="T4" fmla="*/ 40 w 60"/>
              <a:gd name="T5" fmla="*/ 19 h 65"/>
              <a:gd name="T6" fmla="*/ 37 w 60"/>
              <a:gd name="T7" fmla="*/ 12 h 65"/>
              <a:gd name="T8" fmla="*/ 41 w 60"/>
              <a:gd name="T9" fmla="*/ 8 h 65"/>
              <a:gd name="T10" fmla="*/ 41 w 60"/>
              <a:gd name="T11" fmla="*/ 1 h 65"/>
              <a:gd name="T12" fmla="*/ 38 w 60"/>
              <a:gd name="T13" fmla="*/ 1 h 65"/>
              <a:gd name="T14" fmla="*/ 31 w 60"/>
              <a:gd name="T15" fmla="*/ 3 h 65"/>
              <a:gd name="T16" fmla="*/ 30 w 60"/>
              <a:gd name="T17" fmla="*/ 7 h 65"/>
              <a:gd name="T18" fmla="*/ 26 w 60"/>
              <a:gd name="T19" fmla="*/ 10 h 65"/>
              <a:gd name="T20" fmla="*/ 29 w 60"/>
              <a:gd name="T21" fmla="*/ 11 h 65"/>
              <a:gd name="T22" fmla="*/ 34 w 60"/>
              <a:gd name="T23" fmla="*/ 12 h 65"/>
              <a:gd name="T24" fmla="*/ 28 w 60"/>
              <a:gd name="T25" fmla="*/ 17 h 65"/>
              <a:gd name="T26" fmla="*/ 19 w 60"/>
              <a:gd name="T27" fmla="*/ 18 h 65"/>
              <a:gd name="T28" fmla="*/ 10 w 60"/>
              <a:gd name="T29" fmla="*/ 18 h 65"/>
              <a:gd name="T30" fmla="*/ 9 w 60"/>
              <a:gd name="T31" fmla="*/ 22 h 65"/>
              <a:gd name="T32" fmla="*/ 14 w 60"/>
              <a:gd name="T33" fmla="*/ 24 h 65"/>
              <a:gd name="T34" fmla="*/ 9 w 60"/>
              <a:gd name="T35" fmla="*/ 29 h 65"/>
              <a:gd name="T36" fmla="*/ 8 w 60"/>
              <a:gd name="T37" fmla="*/ 32 h 65"/>
              <a:gd name="T38" fmla="*/ 13 w 60"/>
              <a:gd name="T39" fmla="*/ 33 h 65"/>
              <a:gd name="T40" fmla="*/ 21 w 60"/>
              <a:gd name="T41" fmla="*/ 35 h 65"/>
              <a:gd name="T42" fmla="*/ 16 w 60"/>
              <a:gd name="T43" fmla="*/ 39 h 65"/>
              <a:gd name="T44" fmla="*/ 9 w 60"/>
              <a:gd name="T45" fmla="*/ 46 h 65"/>
              <a:gd name="T46" fmla="*/ 21 w 60"/>
              <a:gd name="T47" fmla="*/ 44 h 65"/>
              <a:gd name="T48" fmla="*/ 16 w 60"/>
              <a:gd name="T49" fmla="*/ 46 h 65"/>
              <a:gd name="T50" fmla="*/ 9 w 60"/>
              <a:gd name="T51" fmla="*/ 51 h 65"/>
              <a:gd name="T52" fmla="*/ 5 w 60"/>
              <a:gd name="T53" fmla="*/ 52 h 65"/>
              <a:gd name="T54" fmla="*/ 0 w 60"/>
              <a:gd name="T55" fmla="*/ 54 h 65"/>
              <a:gd name="T56" fmla="*/ 5 w 60"/>
              <a:gd name="T57" fmla="*/ 56 h 65"/>
              <a:gd name="T58" fmla="*/ 4 w 60"/>
              <a:gd name="T59" fmla="*/ 59 h 65"/>
              <a:gd name="T60" fmla="*/ 10 w 60"/>
              <a:gd name="T61" fmla="*/ 59 h 65"/>
              <a:gd name="T62" fmla="*/ 5 w 60"/>
              <a:gd name="T63" fmla="*/ 63 h 65"/>
              <a:gd name="T64" fmla="*/ 13 w 60"/>
              <a:gd name="T65" fmla="*/ 62 h 65"/>
              <a:gd name="T66" fmla="*/ 9 w 60"/>
              <a:gd name="T67" fmla="*/ 64 h 65"/>
              <a:gd name="T68" fmla="*/ 11 w 60"/>
              <a:gd name="T69" fmla="*/ 64 h 65"/>
              <a:gd name="T70" fmla="*/ 16 w 60"/>
              <a:gd name="T71" fmla="*/ 65 h 65"/>
              <a:gd name="T72" fmla="*/ 26 w 60"/>
              <a:gd name="T73" fmla="*/ 62 h 65"/>
              <a:gd name="T74" fmla="*/ 28 w 60"/>
              <a:gd name="T75" fmla="*/ 59 h 65"/>
              <a:gd name="T76" fmla="*/ 30 w 60"/>
              <a:gd name="T77" fmla="*/ 60 h 65"/>
              <a:gd name="T78" fmla="*/ 37 w 60"/>
              <a:gd name="T79" fmla="*/ 58 h 65"/>
              <a:gd name="T80" fmla="*/ 39 w 60"/>
              <a:gd name="T81" fmla="*/ 54 h 65"/>
              <a:gd name="T82" fmla="*/ 51 w 60"/>
              <a:gd name="T83" fmla="*/ 53 h 65"/>
              <a:gd name="T84" fmla="*/ 56 w 60"/>
              <a:gd name="T85" fmla="*/ 52 h 65"/>
              <a:gd name="T86" fmla="*/ 58 w 60"/>
              <a:gd name="T87" fmla="*/ 44 h 65"/>
              <a:gd name="T88" fmla="*/ 59 w 60"/>
              <a:gd name="T89" fmla="*/ 36 h 65"/>
              <a:gd name="T90" fmla="*/ 60 w 60"/>
              <a:gd name="T91" fmla="*/ 30 h 65"/>
              <a:gd name="T92" fmla="*/ 59 w 60"/>
              <a:gd name="T93" fmla="*/ 21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60" h="65">
                <a:moveTo>
                  <a:pt x="59" y="21"/>
                </a:moveTo>
                <a:lnTo>
                  <a:pt x="58" y="21"/>
                </a:lnTo>
                <a:lnTo>
                  <a:pt x="58" y="18"/>
                </a:lnTo>
                <a:lnTo>
                  <a:pt x="58" y="17"/>
                </a:lnTo>
                <a:lnTo>
                  <a:pt x="55" y="14"/>
                </a:lnTo>
                <a:lnTo>
                  <a:pt x="47" y="15"/>
                </a:lnTo>
                <a:lnTo>
                  <a:pt x="46" y="18"/>
                </a:lnTo>
                <a:lnTo>
                  <a:pt x="42" y="20"/>
                </a:lnTo>
                <a:lnTo>
                  <a:pt x="40" y="19"/>
                </a:lnTo>
                <a:lnTo>
                  <a:pt x="38" y="15"/>
                </a:lnTo>
                <a:lnTo>
                  <a:pt x="35" y="13"/>
                </a:lnTo>
                <a:lnTo>
                  <a:pt x="37" y="12"/>
                </a:lnTo>
                <a:lnTo>
                  <a:pt x="37" y="9"/>
                </a:lnTo>
                <a:lnTo>
                  <a:pt x="40" y="9"/>
                </a:lnTo>
                <a:lnTo>
                  <a:pt x="41" y="8"/>
                </a:lnTo>
                <a:lnTo>
                  <a:pt x="41" y="5"/>
                </a:lnTo>
                <a:lnTo>
                  <a:pt x="42" y="4"/>
                </a:lnTo>
                <a:lnTo>
                  <a:pt x="41" y="1"/>
                </a:lnTo>
                <a:lnTo>
                  <a:pt x="41" y="0"/>
                </a:lnTo>
                <a:lnTo>
                  <a:pt x="40" y="0"/>
                </a:lnTo>
                <a:lnTo>
                  <a:pt x="38" y="1"/>
                </a:lnTo>
                <a:lnTo>
                  <a:pt x="37" y="1"/>
                </a:lnTo>
                <a:lnTo>
                  <a:pt x="34" y="2"/>
                </a:lnTo>
                <a:lnTo>
                  <a:pt x="31" y="3"/>
                </a:lnTo>
                <a:lnTo>
                  <a:pt x="30" y="4"/>
                </a:lnTo>
                <a:lnTo>
                  <a:pt x="30" y="5"/>
                </a:lnTo>
                <a:lnTo>
                  <a:pt x="30" y="7"/>
                </a:lnTo>
                <a:lnTo>
                  <a:pt x="30" y="7"/>
                </a:lnTo>
                <a:lnTo>
                  <a:pt x="28" y="9"/>
                </a:lnTo>
                <a:lnTo>
                  <a:pt x="26" y="10"/>
                </a:lnTo>
                <a:lnTo>
                  <a:pt x="26" y="11"/>
                </a:lnTo>
                <a:lnTo>
                  <a:pt x="28" y="11"/>
                </a:lnTo>
                <a:lnTo>
                  <a:pt x="29" y="11"/>
                </a:lnTo>
                <a:lnTo>
                  <a:pt x="30" y="11"/>
                </a:lnTo>
                <a:lnTo>
                  <a:pt x="32" y="11"/>
                </a:lnTo>
                <a:lnTo>
                  <a:pt x="34" y="12"/>
                </a:lnTo>
                <a:lnTo>
                  <a:pt x="32" y="13"/>
                </a:lnTo>
                <a:lnTo>
                  <a:pt x="28" y="15"/>
                </a:lnTo>
                <a:lnTo>
                  <a:pt x="28" y="17"/>
                </a:lnTo>
                <a:lnTo>
                  <a:pt x="27" y="18"/>
                </a:lnTo>
                <a:lnTo>
                  <a:pt x="24" y="18"/>
                </a:lnTo>
                <a:lnTo>
                  <a:pt x="19" y="18"/>
                </a:lnTo>
                <a:lnTo>
                  <a:pt x="18" y="17"/>
                </a:lnTo>
                <a:lnTo>
                  <a:pt x="13" y="17"/>
                </a:lnTo>
                <a:lnTo>
                  <a:pt x="10" y="18"/>
                </a:lnTo>
                <a:lnTo>
                  <a:pt x="9" y="19"/>
                </a:lnTo>
                <a:lnTo>
                  <a:pt x="10" y="22"/>
                </a:lnTo>
                <a:lnTo>
                  <a:pt x="9" y="22"/>
                </a:lnTo>
                <a:lnTo>
                  <a:pt x="7" y="22"/>
                </a:lnTo>
                <a:lnTo>
                  <a:pt x="8" y="23"/>
                </a:lnTo>
                <a:lnTo>
                  <a:pt x="14" y="24"/>
                </a:lnTo>
                <a:lnTo>
                  <a:pt x="14" y="25"/>
                </a:lnTo>
                <a:lnTo>
                  <a:pt x="10" y="26"/>
                </a:lnTo>
                <a:lnTo>
                  <a:pt x="9" y="29"/>
                </a:lnTo>
                <a:lnTo>
                  <a:pt x="7" y="30"/>
                </a:lnTo>
                <a:lnTo>
                  <a:pt x="7" y="31"/>
                </a:lnTo>
                <a:lnTo>
                  <a:pt x="8" y="32"/>
                </a:lnTo>
                <a:lnTo>
                  <a:pt x="9" y="32"/>
                </a:lnTo>
                <a:lnTo>
                  <a:pt x="9" y="33"/>
                </a:lnTo>
                <a:lnTo>
                  <a:pt x="13" y="33"/>
                </a:lnTo>
                <a:lnTo>
                  <a:pt x="13" y="34"/>
                </a:lnTo>
                <a:lnTo>
                  <a:pt x="21" y="34"/>
                </a:lnTo>
                <a:lnTo>
                  <a:pt x="21" y="35"/>
                </a:lnTo>
                <a:lnTo>
                  <a:pt x="20" y="36"/>
                </a:lnTo>
                <a:lnTo>
                  <a:pt x="17" y="38"/>
                </a:lnTo>
                <a:lnTo>
                  <a:pt x="16" y="39"/>
                </a:lnTo>
                <a:lnTo>
                  <a:pt x="15" y="42"/>
                </a:lnTo>
                <a:lnTo>
                  <a:pt x="14" y="43"/>
                </a:lnTo>
                <a:lnTo>
                  <a:pt x="9" y="46"/>
                </a:lnTo>
                <a:lnTo>
                  <a:pt x="18" y="45"/>
                </a:lnTo>
                <a:lnTo>
                  <a:pt x="21" y="42"/>
                </a:lnTo>
                <a:lnTo>
                  <a:pt x="21" y="44"/>
                </a:lnTo>
                <a:lnTo>
                  <a:pt x="24" y="44"/>
                </a:lnTo>
                <a:lnTo>
                  <a:pt x="24" y="45"/>
                </a:lnTo>
                <a:lnTo>
                  <a:pt x="16" y="46"/>
                </a:lnTo>
                <a:lnTo>
                  <a:pt x="11" y="46"/>
                </a:lnTo>
                <a:lnTo>
                  <a:pt x="9" y="50"/>
                </a:lnTo>
                <a:lnTo>
                  <a:pt x="9" y="51"/>
                </a:lnTo>
                <a:lnTo>
                  <a:pt x="8" y="52"/>
                </a:lnTo>
                <a:lnTo>
                  <a:pt x="6" y="52"/>
                </a:lnTo>
                <a:lnTo>
                  <a:pt x="5" y="52"/>
                </a:lnTo>
                <a:lnTo>
                  <a:pt x="4" y="52"/>
                </a:lnTo>
                <a:lnTo>
                  <a:pt x="1" y="53"/>
                </a:lnTo>
                <a:lnTo>
                  <a:pt x="0" y="54"/>
                </a:lnTo>
                <a:lnTo>
                  <a:pt x="7" y="54"/>
                </a:lnTo>
                <a:lnTo>
                  <a:pt x="7" y="55"/>
                </a:lnTo>
                <a:lnTo>
                  <a:pt x="5" y="56"/>
                </a:lnTo>
                <a:lnTo>
                  <a:pt x="3" y="59"/>
                </a:lnTo>
                <a:lnTo>
                  <a:pt x="1" y="60"/>
                </a:lnTo>
                <a:lnTo>
                  <a:pt x="4" y="59"/>
                </a:lnTo>
                <a:lnTo>
                  <a:pt x="4" y="61"/>
                </a:lnTo>
                <a:lnTo>
                  <a:pt x="5" y="61"/>
                </a:lnTo>
                <a:lnTo>
                  <a:pt x="10" y="59"/>
                </a:lnTo>
                <a:lnTo>
                  <a:pt x="10" y="60"/>
                </a:lnTo>
                <a:lnTo>
                  <a:pt x="8" y="61"/>
                </a:lnTo>
                <a:lnTo>
                  <a:pt x="5" y="63"/>
                </a:lnTo>
                <a:lnTo>
                  <a:pt x="6" y="63"/>
                </a:lnTo>
                <a:lnTo>
                  <a:pt x="11" y="61"/>
                </a:lnTo>
                <a:lnTo>
                  <a:pt x="13" y="62"/>
                </a:lnTo>
                <a:lnTo>
                  <a:pt x="11" y="63"/>
                </a:lnTo>
                <a:lnTo>
                  <a:pt x="10" y="63"/>
                </a:lnTo>
                <a:lnTo>
                  <a:pt x="9" y="64"/>
                </a:lnTo>
                <a:lnTo>
                  <a:pt x="9" y="64"/>
                </a:lnTo>
                <a:lnTo>
                  <a:pt x="9" y="65"/>
                </a:lnTo>
                <a:lnTo>
                  <a:pt x="11" y="64"/>
                </a:lnTo>
                <a:lnTo>
                  <a:pt x="14" y="64"/>
                </a:lnTo>
                <a:lnTo>
                  <a:pt x="15" y="64"/>
                </a:lnTo>
                <a:lnTo>
                  <a:pt x="16" y="65"/>
                </a:lnTo>
                <a:lnTo>
                  <a:pt x="17" y="64"/>
                </a:lnTo>
                <a:lnTo>
                  <a:pt x="19" y="64"/>
                </a:lnTo>
                <a:lnTo>
                  <a:pt x="26" y="62"/>
                </a:lnTo>
                <a:lnTo>
                  <a:pt x="28" y="61"/>
                </a:lnTo>
                <a:lnTo>
                  <a:pt x="28" y="60"/>
                </a:lnTo>
                <a:lnTo>
                  <a:pt x="28" y="59"/>
                </a:lnTo>
                <a:lnTo>
                  <a:pt x="29" y="59"/>
                </a:lnTo>
                <a:lnTo>
                  <a:pt x="29" y="60"/>
                </a:lnTo>
                <a:lnTo>
                  <a:pt x="30" y="60"/>
                </a:lnTo>
                <a:lnTo>
                  <a:pt x="34" y="59"/>
                </a:lnTo>
                <a:lnTo>
                  <a:pt x="35" y="58"/>
                </a:lnTo>
                <a:lnTo>
                  <a:pt x="37" y="58"/>
                </a:lnTo>
                <a:lnTo>
                  <a:pt x="38" y="56"/>
                </a:lnTo>
                <a:lnTo>
                  <a:pt x="39" y="55"/>
                </a:lnTo>
                <a:lnTo>
                  <a:pt x="39" y="54"/>
                </a:lnTo>
                <a:lnTo>
                  <a:pt x="46" y="53"/>
                </a:lnTo>
                <a:lnTo>
                  <a:pt x="48" y="53"/>
                </a:lnTo>
                <a:lnTo>
                  <a:pt x="51" y="53"/>
                </a:lnTo>
                <a:lnTo>
                  <a:pt x="54" y="53"/>
                </a:lnTo>
                <a:lnTo>
                  <a:pt x="55" y="53"/>
                </a:lnTo>
                <a:lnTo>
                  <a:pt x="56" y="52"/>
                </a:lnTo>
                <a:lnTo>
                  <a:pt x="55" y="50"/>
                </a:lnTo>
                <a:lnTo>
                  <a:pt x="57" y="46"/>
                </a:lnTo>
                <a:lnTo>
                  <a:pt x="58" y="44"/>
                </a:lnTo>
                <a:lnTo>
                  <a:pt x="59" y="42"/>
                </a:lnTo>
                <a:lnTo>
                  <a:pt x="60" y="40"/>
                </a:lnTo>
                <a:lnTo>
                  <a:pt x="59" y="36"/>
                </a:lnTo>
                <a:lnTo>
                  <a:pt x="59" y="33"/>
                </a:lnTo>
                <a:lnTo>
                  <a:pt x="59" y="32"/>
                </a:lnTo>
                <a:lnTo>
                  <a:pt x="60" y="30"/>
                </a:lnTo>
                <a:lnTo>
                  <a:pt x="57" y="23"/>
                </a:lnTo>
                <a:lnTo>
                  <a:pt x="57" y="22"/>
                </a:lnTo>
                <a:lnTo>
                  <a:pt x="59" y="2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63" name="Freeform 663"/>
          <p:cNvSpPr>
            <a:spLocks/>
          </p:cNvSpPr>
          <p:nvPr/>
        </p:nvSpPr>
        <p:spPr bwMode="auto">
          <a:xfrm>
            <a:off x="4124325" y="1997040"/>
            <a:ext cx="95250" cy="103188"/>
          </a:xfrm>
          <a:custGeom>
            <a:avLst/>
            <a:gdLst>
              <a:gd name="T0" fmla="*/ 58 w 60"/>
              <a:gd name="T1" fmla="*/ 18 h 65"/>
              <a:gd name="T2" fmla="*/ 47 w 60"/>
              <a:gd name="T3" fmla="*/ 15 h 65"/>
              <a:gd name="T4" fmla="*/ 40 w 60"/>
              <a:gd name="T5" fmla="*/ 19 h 65"/>
              <a:gd name="T6" fmla="*/ 37 w 60"/>
              <a:gd name="T7" fmla="*/ 12 h 65"/>
              <a:gd name="T8" fmla="*/ 41 w 60"/>
              <a:gd name="T9" fmla="*/ 8 h 65"/>
              <a:gd name="T10" fmla="*/ 41 w 60"/>
              <a:gd name="T11" fmla="*/ 1 h 65"/>
              <a:gd name="T12" fmla="*/ 38 w 60"/>
              <a:gd name="T13" fmla="*/ 1 h 65"/>
              <a:gd name="T14" fmla="*/ 31 w 60"/>
              <a:gd name="T15" fmla="*/ 3 h 65"/>
              <a:gd name="T16" fmla="*/ 30 w 60"/>
              <a:gd name="T17" fmla="*/ 7 h 65"/>
              <a:gd name="T18" fmla="*/ 26 w 60"/>
              <a:gd name="T19" fmla="*/ 10 h 65"/>
              <a:gd name="T20" fmla="*/ 29 w 60"/>
              <a:gd name="T21" fmla="*/ 11 h 65"/>
              <a:gd name="T22" fmla="*/ 34 w 60"/>
              <a:gd name="T23" fmla="*/ 12 h 65"/>
              <a:gd name="T24" fmla="*/ 28 w 60"/>
              <a:gd name="T25" fmla="*/ 17 h 65"/>
              <a:gd name="T26" fmla="*/ 19 w 60"/>
              <a:gd name="T27" fmla="*/ 18 h 65"/>
              <a:gd name="T28" fmla="*/ 10 w 60"/>
              <a:gd name="T29" fmla="*/ 18 h 65"/>
              <a:gd name="T30" fmla="*/ 9 w 60"/>
              <a:gd name="T31" fmla="*/ 22 h 65"/>
              <a:gd name="T32" fmla="*/ 14 w 60"/>
              <a:gd name="T33" fmla="*/ 24 h 65"/>
              <a:gd name="T34" fmla="*/ 9 w 60"/>
              <a:gd name="T35" fmla="*/ 29 h 65"/>
              <a:gd name="T36" fmla="*/ 8 w 60"/>
              <a:gd name="T37" fmla="*/ 32 h 65"/>
              <a:gd name="T38" fmla="*/ 13 w 60"/>
              <a:gd name="T39" fmla="*/ 33 h 65"/>
              <a:gd name="T40" fmla="*/ 21 w 60"/>
              <a:gd name="T41" fmla="*/ 35 h 65"/>
              <a:gd name="T42" fmla="*/ 16 w 60"/>
              <a:gd name="T43" fmla="*/ 39 h 65"/>
              <a:gd name="T44" fmla="*/ 9 w 60"/>
              <a:gd name="T45" fmla="*/ 46 h 65"/>
              <a:gd name="T46" fmla="*/ 21 w 60"/>
              <a:gd name="T47" fmla="*/ 44 h 65"/>
              <a:gd name="T48" fmla="*/ 16 w 60"/>
              <a:gd name="T49" fmla="*/ 46 h 65"/>
              <a:gd name="T50" fmla="*/ 9 w 60"/>
              <a:gd name="T51" fmla="*/ 51 h 65"/>
              <a:gd name="T52" fmla="*/ 5 w 60"/>
              <a:gd name="T53" fmla="*/ 52 h 65"/>
              <a:gd name="T54" fmla="*/ 0 w 60"/>
              <a:gd name="T55" fmla="*/ 54 h 65"/>
              <a:gd name="T56" fmla="*/ 5 w 60"/>
              <a:gd name="T57" fmla="*/ 56 h 65"/>
              <a:gd name="T58" fmla="*/ 4 w 60"/>
              <a:gd name="T59" fmla="*/ 59 h 65"/>
              <a:gd name="T60" fmla="*/ 10 w 60"/>
              <a:gd name="T61" fmla="*/ 59 h 65"/>
              <a:gd name="T62" fmla="*/ 5 w 60"/>
              <a:gd name="T63" fmla="*/ 63 h 65"/>
              <a:gd name="T64" fmla="*/ 13 w 60"/>
              <a:gd name="T65" fmla="*/ 62 h 65"/>
              <a:gd name="T66" fmla="*/ 9 w 60"/>
              <a:gd name="T67" fmla="*/ 64 h 65"/>
              <a:gd name="T68" fmla="*/ 11 w 60"/>
              <a:gd name="T69" fmla="*/ 64 h 65"/>
              <a:gd name="T70" fmla="*/ 16 w 60"/>
              <a:gd name="T71" fmla="*/ 65 h 65"/>
              <a:gd name="T72" fmla="*/ 26 w 60"/>
              <a:gd name="T73" fmla="*/ 62 h 65"/>
              <a:gd name="T74" fmla="*/ 28 w 60"/>
              <a:gd name="T75" fmla="*/ 59 h 65"/>
              <a:gd name="T76" fmla="*/ 30 w 60"/>
              <a:gd name="T77" fmla="*/ 60 h 65"/>
              <a:gd name="T78" fmla="*/ 37 w 60"/>
              <a:gd name="T79" fmla="*/ 58 h 65"/>
              <a:gd name="T80" fmla="*/ 39 w 60"/>
              <a:gd name="T81" fmla="*/ 54 h 65"/>
              <a:gd name="T82" fmla="*/ 51 w 60"/>
              <a:gd name="T83" fmla="*/ 53 h 65"/>
              <a:gd name="T84" fmla="*/ 56 w 60"/>
              <a:gd name="T85" fmla="*/ 52 h 65"/>
              <a:gd name="T86" fmla="*/ 58 w 60"/>
              <a:gd name="T87" fmla="*/ 44 h 65"/>
              <a:gd name="T88" fmla="*/ 59 w 60"/>
              <a:gd name="T89" fmla="*/ 36 h 65"/>
              <a:gd name="T90" fmla="*/ 60 w 60"/>
              <a:gd name="T91" fmla="*/ 30 h 65"/>
              <a:gd name="T92" fmla="*/ 59 w 60"/>
              <a:gd name="T93" fmla="*/ 21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60" h="65">
                <a:moveTo>
                  <a:pt x="59" y="21"/>
                </a:moveTo>
                <a:lnTo>
                  <a:pt x="58" y="21"/>
                </a:lnTo>
                <a:lnTo>
                  <a:pt x="58" y="18"/>
                </a:lnTo>
                <a:lnTo>
                  <a:pt x="58" y="17"/>
                </a:lnTo>
                <a:lnTo>
                  <a:pt x="55" y="14"/>
                </a:lnTo>
                <a:lnTo>
                  <a:pt x="47" y="15"/>
                </a:lnTo>
                <a:lnTo>
                  <a:pt x="46" y="18"/>
                </a:lnTo>
                <a:lnTo>
                  <a:pt x="42" y="20"/>
                </a:lnTo>
                <a:lnTo>
                  <a:pt x="40" y="19"/>
                </a:lnTo>
                <a:lnTo>
                  <a:pt x="38" y="15"/>
                </a:lnTo>
                <a:lnTo>
                  <a:pt x="35" y="13"/>
                </a:lnTo>
                <a:lnTo>
                  <a:pt x="37" y="12"/>
                </a:lnTo>
                <a:lnTo>
                  <a:pt x="37" y="9"/>
                </a:lnTo>
                <a:lnTo>
                  <a:pt x="40" y="9"/>
                </a:lnTo>
                <a:lnTo>
                  <a:pt x="41" y="8"/>
                </a:lnTo>
                <a:lnTo>
                  <a:pt x="41" y="5"/>
                </a:lnTo>
                <a:lnTo>
                  <a:pt x="42" y="4"/>
                </a:lnTo>
                <a:lnTo>
                  <a:pt x="41" y="1"/>
                </a:lnTo>
                <a:lnTo>
                  <a:pt x="41" y="0"/>
                </a:lnTo>
                <a:lnTo>
                  <a:pt x="40" y="0"/>
                </a:lnTo>
                <a:lnTo>
                  <a:pt x="38" y="1"/>
                </a:lnTo>
                <a:lnTo>
                  <a:pt x="37" y="1"/>
                </a:lnTo>
                <a:lnTo>
                  <a:pt x="34" y="2"/>
                </a:lnTo>
                <a:lnTo>
                  <a:pt x="31" y="3"/>
                </a:lnTo>
                <a:lnTo>
                  <a:pt x="30" y="4"/>
                </a:lnTo>
                <a:lnTo>
                  <a:pt x="30" y="5"/>
                </a:lnTo>
                <a:lnTo>
                  <a:pt x="30" y="7"/>
                </a:lnTo>
                <a:lnTo>
                  <a:pt x="30" y="7"/>
                </a:lnTo>
                <a:lnTo>
                  <a:pt x="28" y="9"/>
                </a:lnTo>
                <a:lnTo>
                  <a:pt x="26" y="10"/>
                </a:lnTo>
                <a:lnTo>
                  <a:pt x="26" y="11"/>
                </a:lnTo>
                <a:lnTo>
                  <a:pt x="28" y="11"/>
                </a:lnTo>
                <a:lnTo>
                  <a:pt x="29" y="11"/>
                </a:lnTo>
                <a:lnTo>
                  <a:pt x="30" y="11"/>
                </a:lnTo>
                <a:lnTo>
                  <a:pt x="32" y="11"/>
                </a:lnTo>
                <a:lnTo>
                  <a:pt x="34" y="12"/>
                </a:lnTo>
                <a:lnTo>
                  <a:pt x="32" y="13"/>
                </a:lnTo>
                <a:lnTo>
                  <a:pt x="28" y="15"/>
                </a:lnTo>
                <a:lnTo>
                  <a:pt x="28" y="17"/>
                </a:lnTo>
                <a:lnTo>
                  <a:pt x="27" y="18"/>
                </a:lnTo>
                <a:lnTo>
                  <a:pt x="24" y="18"/>
                </a:lnTo>
                <a:lnTo>
                  <a:pt x="19" y="18"/>
                </a:lnTo>
                <a:lnTo>
                  <a:pt x="18" y="17"/>
                </a:lnTo>
                <a:lnTo>
                  <a:pt x="13" y="17"/>
                </a:lnTo>
                <a:lnTo>
                  <a:pt x="10" y="18"/>
                </a:lnTo>
                <a:lnTo>
                  <a:pt x="9" y="19"/>
                </a:lnTo>
                <a:lnTo>
                  <a:pt x="10" y="22"/>
                </a:lnTo>
                <a:lnTo>
                  <a:pt x="9" y="22"/>
                </a:lnTo>
                <a:lnTo>
                  <a:pt x="7" y="22"/>
                </a:lnTo>
                <a:lnTo>
                  <a:pt x="8" y="23"/>
                </a:lnTo>
                <a:lnTo>
                  <a:pt x="14" y="24"/>
                </a:lnTo>
                <a:lnTo>
                  <a:pt x="14" y="25"/>
                </a:lnTo>
                <a:lnTo>
                  <a:pt x="10" y="26"/>
                </a:lnTo>
                <a:lnTo>
                  <a:pt x="9" y="29"/>
                </a:lnTo>
                <a:lnTo>
                  <a:pt x="7" y="30"/>
                </a:lnTo>
                <a:lnTo>
                  <a:pt x="7" y="31"/>
                </a:lnTo>
                <a:lnTo>
                  <a:pt x="8" y="32"/>
                </a:lnTo>
                <a:lnTo>
                  <a:pt x="9" y="32"/>
                </a:lnTo>
                <a:lnTo>
                  <a:pt x="9" y="33"/>
                </a:lnTo>
                <a:lnTo>
                  <a:pt x="13" y="33"/>
                </a:lnTo>
                <a:lnTo>
                  <a:pt x="13" y="34"/>
                </a:lnTo>
                <a:lnTo>
                  <a:pt x="21" y="34"/>
                </a:lnTo>
                <a:lnTo>
                  <a:pt x="21" y="35"/>
                </a:lnTo>
                <a:lnTo>
                  <a:pt x="20" y="36"/>
                </a:lnTo>
                <a:lnTo>
                  <a:pt x="17" y="38"/>
                </a:lnTo>
                <a:lnTo>
                  <a:pt x="16" y="39"/>
                </a:lnTo>
                <a:lnTo>
                  <a:pt x="15" y="42"/>
                </a:lnTo>
                <a:lnTo>
                  <a:pt x="14" y="43"/>
                </a:lnTo>
                <a:lnTo>
                  <a:pt x="9" y="46"/>
                </a:lnTo>
                <a:lnTo>
                  <a:pt x="18" y="45"/>
                </a:lnTo>
                <a:lnTo>
                  <a:pt x="21" y="42"/>
                </a:lnTo>
                <a:lnTo>
                  <a:pt x="21" y="44"/>
                </a:lnTo>
                <a:lnTo>
                  <a:pt x="24" y="44"/>
                </a:lnTo>
                <a:lnTo>
                  <a:pt x="24" y="45"/>
                </a:lnTo>
                <a:lnTo>
                  <a:pt x="16" y="46"/>
                </a:lnTo>
                <a:lnTo>
                  <a:pt x="11" y="46"/>
                </a:lnTo>
                <a:lnTo>
                  <a:pt x="9" y="50"/>
                </a:lnTo>
                <a:lnTo>
                  <a:pt x="9" y="51"/>
                </a:lnTo>
                <a:lnTo>
                  <a:pt x="8" y="52"/>
                </a:lnTo>
                <a:lnTo>
                  <a:pt x="6" y="52"/>
                </a:lnTo>
                <a:lnTo>
                  <a:pt x="5" y="52"/>
                </a:lnTo>
                <a:lnTo>
                  <a:pt x="4" y="52"/>
                </a:lnTo>
                <a:lnTo>
                  <a:pt x="1" y="53"/>
                </a:lnTo>
                <a:lnTo>
                  <a:pt x="0" y="54"/>
                </a:lnTo>
                <a:lnTo>
                  <a:pt x="7" y="54"/>
                </a:lnTo>
                <a:lnTo>
                  <a:pt x="7" y="55"/>
                </a:lnTo>
                <a:lnTo>
                  <a:pt x="5" y="56"/>
                </a:lnTo>
                <a:lnTo>
                  <a:pt x="3" y="59"/>
                </a:lnTo>
                <a:lnTo>
                  <a:pt x="1" y="60"/>
                </a:lnTo>
                <a:lnTo>
                  <a:pt x="4" y="59"/>
                </a:lnTo>
                <a:lnTo>
                  <a:pt x="4" y="61"/>
                </a:lnTo>
                <a:lnTo>
                  <a:pt x="5" y="61"/>
                </a:lnTo>
                <a:lnTo>
                  <a:pt x="10" y="59"/>
                </a:lnTo>
                <a:lnTo>
                  <a:pt x="10" y="60"/>
                </a:lnTo>
                <a:lnTo>
                  <a:pt x="8" y="61"/>
                </a:lnTo>
                <a:lnTo>
                  <a:pt x="5" y="63"/>
                </a:lnTo>
                <a:lnTo>
                  <a:pt x="6" y="63"/>
                </a:lnTo>
                <a:lnTo>
                  <a:pt x="11" y="61"/>
                </a:lnTo>
                <a:lnTo>
                  <a:pt x="13" y="62"/>
                </a:lnTo>
                <a:lnTo>
                  <a:pt x="11" y="63"/>
                </a:lnTo>
                <a:lnTo>
                  <a:pt x="10" y="63"/>
                </a:lnTo>
                <a:lnTo>
                  <a:pt x="9" y="64"/>
                </a:lnTo>
                <a:lnTo>
                  <a:pt x="9" y="64"/>
                </a:lnTo>
                <a:lnTo>
                  <a:pt x="9" y="65"/>
                </a:lnTo>
                <a:lnTo>
                  <a:pt x="11" y="64"/>
                </a:lnTo>
                <a:lnTo>
                  <a:pt x="14" y="64"/>
                </a:lnTo>
                <a:lnTo>
                  <a:pt x="15" y="64"/>
                </a:lnTo>
                <a:lnTo>
                  <a:pt x="16" y="65"/>
                </a:lnTo>
                <a:lnTo>
                  <a:pt x="17" y="64"/>
                </a:lnTo>
                <a:lnTo>
                  <a:pt x="19" y="64"/>
                </a:lnTo>
                <a:lnTo>
                  <a:pt x="26" y="62"/>
                </a:lnTo>
                <a:lnTo>
                  <a:pt x="28" y="61"/>
                </a:lnTo>
                <a:lnTo>
                  <a:pt x="28" y="60"/>
                </a:lnTo>
                <a:lnTo>
                  <a:pt x="28" y="59"/>
                </a:lnTo>
                <a:lnTo>
                  <a:pt x="29" y="59"/>
                </a:lnTo>
                <a:lnTo>
                  <a:pt x="29" y="60"/>
                </a:lnTo>
                <a:lnTo>
                  <a:pt x="30" y="60"/>
                </a:lnTo>
                <a:lnTo>
                  <a:pt x="34" y="59"/>
                </a:lnTo>
                <a:lnTo>
                  <a:pt x="35" y="58"/>
                </a:lnTo>
                <a:lnTo>
                  <a:pt x="37" y="58"/>
                </a:lnTo>
                <a:lnTo>
                  <a:pt x="38" y="56"/>
                </a:lnTo>
                <a:lnTo>
                  <a:pt x="39" y="55"/>
                </a:lnTo>
                <a:lnTo>
                  <a:pt x="39" y="54"/>
                </a:lnTo>
                <a:lnTo>
                  <a:pt x="46" y="53"/>
                </a:lnTo>
                <a:lnTo>
                  <a:pt x="48" y="53"/>
                </a:lnTo>
                <a:lnTo>
                  <a:pt x="51" y="53"/>
                </a:lnTo>
                <a:lnTo>
                  <a:pt x="54" y="53"/>
                </a:lnTo>
                <a:lnTo>
                  <a:pt x="55" y="53"/>
                </a:lnTo>
                <a:lnTo>
                  <a:pt x="56" y="52"/>
                </a:lnTo>
                <a:lnTo>
                  <a:pt x="55" y="50"/>
                </a:lnTo>
                <a:lnTo>
                  <a:pt x="57" y="46"/>
                </a:lnTo>
                <a:lnTo>
                  <a:pt x="58" y="44"/>
                </a:lnTo>
                <a:lnTo>
                  <a:pt x="59" y="42"/>
                </a:lnTo>
                <a:lnTo>
                  <a:pt x="60" y="40"/>
                </a:lnTo>
                <a:lnTo>
                  <a:pt x="59" y="36"/>
                </a:lnTo>
                <a:lnTo>
                  <a:pt x="59" y="33"/>
                </a:lnTo>
                <a:lnTo>
                  <a:pt x="59" y="32"/>
                </a:lnTo>
                <a:lnTo>
                  <a:pt x="60" y="30"/>
                </a:lnTo>
                <a:lnTo>
                  <a:pt x="57" y="23"/>
                </a:lnTo>
                <a:lnTo>
                  <a:pt x="57" y="22"/>
                </a:lnTo>
                <a:lnTo>
                  <a:pt x="59" y="2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64" name="Freeform 664"/>
          <p:cNvSpPr>
            <a:spLocks/>
          </p:cNvSpPr>
          <p:nvPr/>
        </p:nvSpPr>
        <p:spPr bwMode="auto">
          <a:xfrm>
            <a:off x="4575175" y="1639853"/>
            <a:ext cx="234950" cy="354013"/>
          </a:xfrm>
          <a:custGeom>
            <a:avLst/>
            <a:gdLst>
              <a:gd name="T0" fmla="*/ 5 w 148"/>
              <a:gd name="T1" fmla="*/ 172 h 223"/>
              <a:gd name="T2" fmla="*/ 7 w 148"/>
              <a:gd name="T3" fmla="*/ 173 h 223"/>
              <a:gd name="T4" fmla="*/ 13 w 148"/>
              <a:gd name="T5" fmla="*/ 180 h 223"/>
              <a:gd name="T6" fmla="*/ 16 w 148"/>
              <a:gd name="T7" fmla="*/ 193 h 223"/>
              <a:gd name="T8" fmla="*/ 26 w 148"/>
              <a:gd name="T9" fmla="*/ 205 h 223"/>
              <a:gd name="T10" fmla="*/ 26 w 148"/>
              <a:gd name="T11" fmla="*/ 214 h 223"/>
              <a:gd name="T12" fmla="*/ 30 w 148"/>
              <a:gd name="T13" fmla="*/ 222 h 223"/>
              <a:gd name="T14" fmla="*/ 46 w 148"/>
              <a:gd name="T15" fmla="*/ 215 h 223"/>
              <a:gd name="T16" fmla="*/ 59 w 148"/>
              <a:gd name="T17" fmla="*/ 209 h 223"/>
              <a:gd name="T18" fmla="*/ 71 w 148"/>
              <a:gd name="T19" fmla="*/ 195 h 223"/>
              <a:gd name="T20" fmla="*/ 74 w 148"/>
              <a:gd name="T21" fmla="*/ 183 h 223"/>
              <a:gd name="T22" fmla="*/ 74 w 148"/>
              <a:gd name="T23" fmla="*/ 177 h 223"/>
              <a:gd name="T24" fmla="*/ 69 w 148"/>
              <a:gd name="T25" fmla="*/ 169 h 223"/>
              <a:gd name="T26" fmla="*/ 66 w 148"/>
              <a:gd name="T27" fmla="*/ 167 h 223"/>
              <a:gd name="T28" fmla="*/ 82 w 148"/>
              <a:gd name="T29" fmla="*/ 162 h 223"/>
              <a:gd name="T30" fmla="*/ 91 w 148"/>
              <a:gd name="T31" fmla="*/ 156 h 223"/>
              <a:gd name="T32" fmla="*/ 80 w 148"/>
              <a:gd name="T33" fmla="*/ 156 h 223"/>
              <a:gd name="T34" fmla="*/ 67 w 148"/>
              <a:gd name="T35" fmla="*/ 153 h 223"/>
              <a:gd name="T36" fmla="*/ 79 w 148"/>
              <a:gd name="T37" fmla="*/ 153 h 223"/>
              <a:gd name="T38" fmla="*/ 87 w 148"/>
              <a:gd name="T39" fmla="*/ 155 h 223"/>
              <a:gd name="T40" fmla="*/ 90 w 148"/>
              <a:gd name="T41" fmla="*/ 139 h 223"/>
              <a:gd name="T42" fmla="*/ 80 w 148"/>
              <a:gd name="T43" fmla="*/ 134 h 223"/>
              <a:gd name="T44" fmla="*/ 70 w 148"/>
              <a:gd name="T45" fmla="*/ 142 h 223"/>
              <a:gd name="T46" fmla="*/ 72 w 148"/>
              <a:gd name="T47" fmla="*/ 138 h 223"/>
              <a:gd name="T48" fmla="*/ 75 w 148"/>
              <a:gd name="T49" fmla="*/ 128 h 223"/>
              <a:gd name="T50" fmla="*/ 76 w 148"/>
              <a:gd name="T51" fmla="*/ 117 h 223"/>
              <a:gd name="T52" fmla="*/ 74 w 148"/>
              <a:gd name="T53" fmla="*/ 103 h 223"/>
              <a:gd name="T54" fmla="*/ 79 w 148"/>
              <a:gd name="T55" fmla="*/ 98 h 223"/>
              <a:gd name="T56" fmla="*/ 85 w 148"/>
              <a:gd name="T57" fmla="*/ 97 h 223"/>
              <a:gd name="T58" fmla="*/ 88 w 148"/>
              <a:gd name="T59" fmla="*/ 93 h 223"/>
              <a:gd name="T60" fmla="*/ 96 w 148"/>
              <a:gd name="T61" fmla="*/ 87 h 223"/>
              <a:gd name="T62" fmla="*/ 107 w 148"/>
              <a:gd name="T63" fmla="*/ 84 h 223"/>
              <a:gd name="T64" fmla="*/ 117 w 148"/>
              <a:gd name="T65" fmla="*/ 74 h 223"/>
              <a:gd name="T66" fmla="*/ 120 w 148"/>
              <a:gd name="T67" fmla="*/ 71 h 223"/>
              <a:gd name="T68" fmla="*/ 115 w 148"/>
              <a:gd name="T69" fmla="*/ 65 h 223"/>
              <a:gd name="T70" fmla="*/ 117 w 148"/>
              <a:gd name="T71" fmla="*/ 57 h 223"/>
              <a:gd name="T72" fmla="*/ 122 w 148"/>
              <a:gd name="T73" fmla="*/ 54 h 223"/>
              <a:gd name="T74" fmla="*/ 127 w 148"/>
              <a:gd name="T75" fmla="*/ 53 h 223"/>
              <a:gd name="T76" fmla="*/ 129 w 148"/>
              <a:gd name="T77" fmla="*/ 49 h 223"/>
              <a:gd name="T78" fmla="*/ 137 w 148"/>
              <a:gd name="T79" fmla="*/ 51 h 223"/>
              <a:gd name="T80" fmla="*/ 148 w 148"/>
              <a:gd name="T81" fmla="*/ 48 h 223"/>
              <a:gd name="T82" fmla="*/ 138 w 148"/>
              <a:gd name="T83" fmla="*/ 31 h 223"/>
              <a:gd name="T84" fmla="*/ 136 w 148"/>
              <a:gd name="T85" fmla="*/ 18 h 223"/>
              <a:gd name="T86" fmla="*/ 98 w 148"/>
              <a:gd name="T87" fmla="*/ 0 h 223"/>
              <a:gd name="T88" fmla="*/ 94 w 148"/>
              <a:gd name="T89" fmla="*/ 2 h 223"/>
              <a:gd name="T90" fmla="*/ 92 w 148"/>
              <a:gd name="T91" fmla="*/ 10 h 223"/>
              <a:gd name="T92" fmla="*/ 71 w 148"/>
              <a:gd name="T93" fmla="*/ 12 h 223"/>
              <a:gd name="T94" fmla="*/ 59 w 148"/>
              <a:gd name="T95" fmla="*/ 14 h 223"/>
              <a:gd name="T96" fmla="*/ 49 w 148"/>
              <a:gd name="T97" fmla="*/ 25 h 223"/>
              <a:gd name="T98" fmla="*/ 43 w 148"/>
              <a:gd name="T99" fmla="*/ 38 h 223"/>
              <a:gd name="T100" fmla="*/ 34 w 148"/>
              <a:gd name="T101" fmla="*/ 47 h 223"/>
              <a:gd name="T102" fmla="*/ 29 w 148"/>
              <a:gd name="T103" fmla="*/ 72 h 223"/>
              <a:gd name="T104" fmla="*/ 17 w 148"/>
              <a:gd name="T105" fmla="*/ 78 h 223"/>
              <a:gd name="T106" fmla="*/ 9 w 148"/>
              <a:gd name="T107" fmla="*/ 94 h 223"/>
              <a:gd name="T108" fmla="*/ 8 w 148"/>
              <a:gd name="T109" fmla="*/ 104 h 223"/>
              <a:gd name="T110" fmla="*/ 17 w 148"/>
              <a:gd name="T111" fmla="*/ 125 h 223"/>
              <a:gd name="T112" fmla="*/ 16 w 148"/>
              <a:gd name="T113" fmla="*/ 141 h 223"/>
              <a:gd name="T114" fmla="*/ 7 w 148"/>
              <a:gd name="T115" fmla="*/ 156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48" h="223">
                <a:moveTo>
                  <a:pt x="1" y="159"/>
                </a:moveTo>
                <a:lnTo>
                  <a:pt x="0" y="162"/>
                </a:lnTo>
                <a:lnTo>
                  <a:pt x="0" y="163"/>
                </a:lnTo>
                <a:lnTo>
                  <a:pt x="3" y="169"/>
                </a:lnTo>
                <a:lnTo>
                  <a:pt x="3" y="170"/>
                </a:lnTo>
                <a:lnTo>
                  <a:pt x="4" y="170"/>
                </a:lnTo>
                <a:lnTo>
                  <a:pt x="5" y="172"/>
                </a:lnTo>
                <a:lnTo>
                  <a:pt x="5" y="173"/>
                </a:lnTo>
                <a:lnTo>
                  <a:pt x="5" y="174"/>
                </a:lnTo>
                <a:lnTo>
                  <a:pt x="6" y="172"/>
                </a:lnTo>
                <a:lnTo>
                  <a:pt x="6" y="170"/>
                </a:lnTo>
                <a:lnTo>
                  <a:pt x="7" y="172"/>
                </a:lnTo>
                <a:lnTo>
                  <a:pt x="7" y="173"/>
                </a:lnTo>
                <a:lnTo>
                  <a:pt x="7" y="173"/>
                </a:lnTo>
                <a:lnTo>
                  <a:pt x="8" y="174"/>
                </a:lnTo>
                <a:lnTo>
                  <a:pt x="7" y="174"/>
                </a:lnTo>
                <a:lnTo>
                  <a:pt x="5" y="176"/>
                </a:lnTo>
                <a:lnTo>
                  <a:pt x="9" y="177"/>
                </a:lnTo>
                <a:lnTo>
                  <a:pt x="10" y="178"/>
                </a:lnTo>
                <a:lnTo>
                  <a:pt x="9" y="180"/>
                </a:lnTo>
                <a:lnTo>
                  <a:pt x="13" y="180"/>
                </a:lnTo>
                <a:lnTo>
                  <a:pt x="13" y="183"/>
                </a:lnTo>
                <a:lnTo>
                  <a:pt x="11" y="184"/>
                </a:lnTo>
                <a:lnTo>
                  <a:pt x="13" y="186"/>
                </a:lnTo>
                <a:lnTo>
                  <a:pt x="13" y="188"/>
                </a:lnTo>
                <a:lnTo>
                  <a:pt x="14" y="188"/>
                </a:lnTo>
                <a:lnTo>
                  <a:pt x="16" y="190"/>
                </a:lnTo>
                <a:lnTo>
                  <a:pt x="16" y="193"/>
                </a:lnTo>
                <a:lnTo>
                  <a:pt x="18" y="196"/>
                </a:lnTo>
                <a:lnTo>
                  <a:pt x="20" y="197"/>
                </a:lnTo>
                <a:lnTo>
                  <a:pt x="23" y="199"/>
                </a:lnTo>
                <a:lnTo>
                  <a:pt x="25" y="200"/>
                </a:lnTo>
                <a:lnTo>
                  <a:pt x="27" y="203"/>
                </a:lnTo>
                <a:lnTo>
                  <a:pt x="27" y="204"/>
                </a:lnTo>
                <a:lnTo>
                  <a:pt x="26" y="205"/>
                </a:lnTo>
                <a:lnTo>
                  <a:pt x="24" y="204"/>
                </a:lnTo>
                <a:lnTo>
                  <a:pt x="24" y="205"/>
                </a:lnTo>
                <a:lnTo>
                  <a:pt x="26" y="208"/>
                </a:lnTo>
                <a:lnTo>
                  <a:pt x="24" y="207"/>
                </a:lnTo>
                <a:lnTo>
                  <a:pt x="21" y="207"/>
                </a:lnTo>
                <a:lnTo>
                  <a:pt x="21" y="208"/>
                </a:lnTo>
                <a:lnTo>
                  <a:pt x="26" y="214"/>
                </a:lnTo>
                <a:lnTo>
                  <a:pt x="28" y="216"/>
                </a:lnTo>
                <a:lnTo>
                  <a:pt x="29" y="218"/>
                </a:lnTo>
                <a:lnTo>
                  <a:pt x="29" y="219"/>
                </a:lnTo>
                <a:lnTo>
                  <a:pt x="28" y="220"/>
                </a:lnTo>
                <a:lnTo>
                  <a:pt x="28" y="222"/>
                </a:lnTo>
                <a:lnTo>
                  <a:pt x="28" y="222"/>
                </a:lnTo>
                <a:lnTo>
                  <a:pt x="30" y="222"/>
                </a:lnTo>
                <a:lnTo>
                  <a:pt x="34" y="223"/>
                </a:lnTo>
                <a:lnTo>
                  <a:pt x="38" y="222"/>
                </a:lnTo>
                <a:lnTo>
                  <a:pt x="43" y="222"/>
                </a:lnTo>
                <a:lnTo>
                  <a:pt x="45" y="222"/>
                </a:lnTo>
                <a:lnTo>
                  <a:pt x="46" y="222"/>
                </a:lnTo>
                <a:lnTo>
                  <a:pt x="47" y="219"/>
                </a:lnTo>
                <a:lnTo>
                  <a:pt x="46" y="215"/>
                </a:lnTo>
                <a:lnTo>
                  <a:pt x="46" y="213"/>
                </a:lnTo>
                <a:lnTo>
                  <a:pt x="48" y="210"/>
                </a:lnTo>
                <a:lnTo>
                  <a:pt x="50" y="212"/>
                </a:lnTo>
                <a:lnTo>
                  <a:pt x="51" y="209"/>
                </a:lnTo>
                <a:lnTo>
                  <a:pt x="54" y="208"/>
                </a:lnTo>
                <a:lnTo>
                  <a:pt x="57" y="208"/>
                </a:lnTo>
                <a:lnTo>
                  <a:pt x="59" y="209"/>
                </a:lnTo>
                <a:lnTo>
                  <a:pt x="61" y="208"/>
                </a:lnTo>
                <a:lnTo>
                  <a:pt x="65" y="209"/>
                </a:lnTo>
                <a:lnTo>
                  <a:pt x="67" y="209"/>
                </a:lnTo>
                <a:lnTo>
                  <a:pt x="68" y="206"/>
                </a:lnTo>
                <a:lnTo>
                  <a:pt x="70" y="202"/>
                </a:lnTo>
                <a:lnTo>
                  <a:pt x="71" y="199"/>
                </a:lnTo>
                <a:lnTo>
                  <a:pt x="71" y="195"/>
                </a:lnTo>
                <a:lnTo>
                  <a:pt x="72" y="193"/>
                </a:lnTo>
                <a:lnTo>
                  <a:pt x="71" y="190"/>
                </a:lnTo>
                <a:lnTo>
                  <a:pt x="72" y="189"/>
                </a:lnTo>
                <a:lnTo>
                  <a:pt x="74" y="187"/>
                </a:lnTo>
                <a:lnTo>
                  <a:pt x="74" y="185"/>
                </a:lnTo>
                <a:lnTo>
                  <a:pt x="72" y="184"/>
                </a:lnTo>
                <a:lnTo>
                  <a:pt x="74" y="183"/>
                </a:lnTo>
                <a:lnTo>
                  <a:pt x="72" y="182"/>
                </a:lnTo>
                <a:lnTo>
                  <a:pt x="71" y="179"/>
                </a:lnTo>
                <a:lnTo>
                  <a:pt x="71" y="179"/>
                </a:lnTo>
                <a:lnTo>
                  <a:pt x="71" y="178"/>
                </a:lnTo>
                <a:lnTo>
                  <a:pt x="72" y="179"/>
                </a:lnTo>
                <a:lnTo>
                  <a:pt x="74" y="178"/>
                </a:lnTo>
                <a:lnTo>
                  <a:pt x="74" y="177"/>
                </a:lnTo>
                <a:lnTo>
                  <a:pt x="74" y="177"/>
                </a:lnTo>
                <a:lnTo>
                  <a:pt x="74" y="176"/>
                </a:lnTo>
                <a:lnTo>
                  <a:pt x="74" y="175"/>
                </a:lnTo>
                <a:lnTo>
                  <a:pt x="74" y="173"/>
                </a:lnTo>
                <a:lnTo>
                  <a:pt x="74" y="172"/>
                </a:lnTo>
                <a:lnTo>
                  <a:pt x="71" y="170"/>
                </a:lnTo>
                <a:lnTo>
                  <a:pt x="69" y="169"/>
                </a:lnTo>
                <a:lnTo>
                  <a:pt x="70" y="169"/>
                </a:lnTo>
                <a:lnTo>
                  <a:pt x="72" y="170"/>
                </a:lnTo>
                <a:lnTo>
                  <a:pt x="75" y="170"/>
                </a:lnTo>
                <a:lnTo>
                  <a:pt x="75" y="169"/>
                </a:lnTo>
                <a:lnTo>
                  <a:pt x="72" y="168"/>
                </a:lnTo>
                <a:lnTo>
                  <a:pt x="66" y="167"/>
                </a:lnTo>
                <a:lnTo>
                  <a:pt x="66" y="167"/>
                </a:lnTo>
                <a:lnTo>
                  <a:pt x="71" y="166"/>
                </a:lnTo>
                <a:lnTo>
                  <a:pt x="75" y="167"/>
                </a:lnTo>
                <a:lnTo>
                  <a:pt x="76" y="166"/>
                </a:lnTo>
                <a:lnTo>
                  <a:pt x="76" y="165"/>
                </a:lnTo>
                <a:lnTo>
                  <a:pt x="79" y="165"/>
                </a:lnTo>
                <a:lnTo>
                  <a:pt x="81" y="163"/>
                </a:lnTo>
                <a:lnTo>
                  <a:pt x="82" y="162"/>
                </a:lnTo>
                <a:lnTo>
                  <a:pt x="82" y="160"/>
                </a:lnTo>
                <a:lnTo>
                  <a:pt x="85" y="160"/>
                </a:lnTo>
                <a:lnTo>
                  <a:pt x="85" y="163"/>
                </a:lnTo>
                <a:lnTo>
                  <a:pt x="88" y="162"/>
                </a:lnTo>
                <a:lnTo>
                  <a:pt x="89" y="160"/>
                </a:lnTo>
                <a:lnTo>
                  <a:pt x="92" y="158"/>
                </a:lnTo>
                <a:lnTo>
                  <a:pt x="91" y="156"/>
                </a:lnTo>
                <a:lnTo>
                  <a:pt x="92" y="157"/>
                </a:lnTo>
                <a:lnTo>
                  <a:pt x="95" y="157"/>
                </a:lnTo>
                <a:lnTo>
                  <a:pt x="94" y="156"/>
                </a:lnTo>
                <a:lnTo>
                  <a:pt x="96" y="155"/>
                </a:lnTo>
                <a:lnTo>
                  <a:pt x="95" y="155"/>
                </a:lnTo>
                <a:lnTo>
                  <a:pt x="82" y="156"/>
                </a:lnTo>
                <a:lnTo>
                  <a:pt x="80" y="156"/>
                </a:lnTo>
                <a:lnTo>
                  <a:pt x="79" y="156"/>
                </a:lnTo>
                <a:lnTo>
                  <a:pt x="78" y="155"/>
                </a:lnTo>
                <a:lnTo>
                  <a:pt x="77" y="155"/>
                </a:lnTo>
                <a:lnTo>
                  <a:pt x="71" y="153"/>
                </a:lnTo>
                <a:lnTo>
                  <a:pt x="68" y="153"/>
                </a:lnTo>
                <a:lnTo>
                  <a:pt x="66" y="153"/>
                </a:lnTo>
                <a:lnTo>
                  <a:pt x="67" y="153"/>
                </a:lnTo>
                <a:lnTo>
                  <a:pt x="68" y="152"/>
                </a:lnTo>
                <a:lnTo>
                  <a:pt x="70" y="152"/>
                </a:lnTo>
                <a:lnTo>
                  <a:pt x="71" y="152"/>
                </a:lnTo>
                <a:lnTo>
                  <a:pt x="75" y="152"/>
                </a:lnTo>
                <a:lnTo>
                  <a:pt x="75" y="152"/>
                </a:lnTo>
                <a:lnTo>
                  <a:pt x="77" y="153"/>
                </a:lnTo>
                <a:lnTo>
                  <a:pt x="79" y="153"/>
                </a:lnTo>
                <a:lnTo>
                  <a:pt x="79" y="152"/>
                </a:lnTo>
                <a:lnTo>
                  <a:pt x="80" y="153"/>
                </a:lnTo>
                <a:lnTo>
                  <a:pt x="82" y="153"/>
                </a:lnTo>
                <a:lnTo>
                  <a:pt x="84" y="152"/>
                </a:lnTo>
                <a:lnTo>
                  <a:pt x="84" y="153"/>
                </a:lnTo>
                <a:lnTo>
                  <a:pt x="85" y="154"/>
                </a:lnTo>
                <a:lnTo>
                  <a:pt x="87" y="155"/>
                </a:lnTo>
                <a:lnTo>
                  <a:pt x="94" y="152"/>
                </a:lnTo>
                <a:lnTo>
                  <a:pt x="96" y="149"/>
                </a:lnTo>
                <a:lnTo>
                  <a:pt x="97" y="148"/>
                </a:lnTo>
                <a:lnTo>
                  <a:pt x="98" y="146"/>
                </a:lnTo>
                <a:lnTo>
                  <a:pt x="96" y="144"/>
                </a:lnTo>
                <a:lnTo>
                  <a:pt x="92" y="142"/>
                </a:lnTo>
                <a:lnTo>
                  <a:pt x="90" y="139"/>
                </a:lnTo>
                <a:lnTo>
                  <a:pt x="92" y="139"/>
                </a:lnTo>
                <a:lnTo>
                  <a:pt x="92" y="139"/>
                </a:lnTo>
                <a:lnTo>
                  <a:pt x="87" y="138"/>
                </a:lnTo>
                <a:lnTo>
                  <a:pt x="87" y="136"/>
                </a:lnTo>
                <a:lnTo>
                  <a:pt x="85" y="135"/>
                </a:lnTo>
                <a:lnTo>
                  <a:pt x="81" y="135"/>
                </a:lnTo>
                <a:lnTo>
                  <a:pt x="80" y="134"/>
                </a:lnTo>
                <a:lnTo>
                  <a:pt x="79" y="134"/>
                </a:lnTo>
                <a:lnTo>
                  <a:pt x="79" y="134"/>
                </a:lnTo>
                <a:lnTo>
                  <a:pt x="79" y="134"/>
                </a:lnTo>
                <a:lnTo>
                  <a:pt x="78" y="137"/>
                </a:lnTo>
                <a:lnTo>
                  <a:pt x="76" y="138"/>
                </a:lnTo>
                <a:lnTo>
                  <a:pt x="72" y="141"/>
                </a:lnTo>
                <a:lnTo>
                  <a:pt x="70" y="142"/>
                </a:lnTo>
                <a:lnTo>
                  <a:pt x="68" y="142"/>
                </a:lnTo>
                <a:lnTo>
                  <a:pt x="66" y="142"/>
                </a:lnTo>
                <a:lnTo>
                  <a:pt x="64" y="142"/>
                </a:lnTo>
                <a:lnTo>
                  <a:pt x="66" y="141"/>
                </a:lnTo>
                <a:lnTo>
                  <a:pt x="69" y="141"/>
                </a:lnTo>
                <a:lnTo>
                  <a:pt x="70" y="139"/>
                </a:lnTo>
                <a:lnTo>
                  <a:pt x="72" y="138"/>
                </a:lnTo>
                <a:lnTo>
                  <a:pt x="76" y="136"/>
                </a:lnTo>
                <a:lnTo>
                  <a:pt x="77" y="135"/>
                </a:lnTo>
                <a:lnTo>
                  <a:pt x="77" y="133"/>
                </a:lnTo>
                <a:lnTo>
                  <a:pt x="75" y="133"/>
                </a:lnTo>
                <a:lnTo>
                  <a:pt x="76" y="132"/>
                </a:lnTo>
                <a:lnTo>
                  <a:pt x="76" y="129"/>
                </a:lnTo>
                <a:lnTo>
                  <a:pt x="75" y="128"/>
                </a:lnTo>
                <a:lnTo>
                  <a:pt x="74" y="125"/>
                </a:lnTo>
                <a:lnTo>
                  <a:pt x="72" y="122"/>
                </a:lnTo>
                <a:lnTo>
                  <a:pt x="71" y="118"/>
                </a:lnTo>
                <a:lnTo>
                  <a:pt x="71" y="117"/>
                </a:lnTo>
                <a:lnTo>
                  <a:pt x="72" y="116"/>
                </a:lnTo>
                <a:lnTo>
                  <a:pt x="72" y="116"/>
                </a:lnTo>
                <a:lnTo>
                  <a:pt x="76" y="117"/>
                </a:lnTo>
                <a:lnTo>
                  <a:pt x="76" y="116"/>
                </a:lnTo>
                <a:lnTo>
                  <a:pt x="75" y="113"/>
                </a:lnTo>
                <a:lnTo>
                  <a:pt x="75" y="109"/>
                </a:lnTo>
                <a:lnTo>
                  <a:pt x="76" y="107"/>
                </a:lnTo>
                <a:lnTo>
                  <a:pt x="74" y="106"/>
                </a:lnTo>
                <a:lnTo>
                  <a:pt x="74" y="105"/>
                </a:lnTo>
                <a:lnTo>
                  <a:pt x="74" y="103"/>
                </a:lnTo>
                <a:lnTo>
                  <a:pt x="77" y="104"/>
                </a:lnTo>
                <a:lnTo>
                  <a:pt x="77" y="104"/>
                </a:lnTo>
                <a:lnTo>
                  <a:pt x="78" y="103"/>
                </a:lnTo>
                <a:lnTo>
                  <a:pt x="79" y="102"/>
                </a:lnTo>
                <a:lnTo>
                  <a:pt x="79" y="102"/>
                </a:lnTo>
                <a:lnTo>
                  <a:pt x="79" y="101"/>
                </a:lnTo>
                <a:lnTo>
                  <a:pt x="79" y="98"/>
                </a:lnTo>
                <a:lnTo>
                  <a:pt x="78" y="97"/>
                </a:lnTo>
                <a:lnTo>
                  <a:pt x="78" y="96"/>
                </a:lnTo>
                <a:lnTo>
                  <a:pt x="79" y="97"/>
                </a:lnTo>
                <a:lnTo>
                  <a:pt x="81" y="98"/>
                </a:lnTo>
                <a:lnTo>
                  <a:pt x="81" y="98"/>
                </a:lnTo>
                <a:lnTo>
                  <a:pt x="82" y="97"/>
                </a:lnTo>
                <a:lnTo>
                  <a:pt x="85" y="97"/>
                </a:lnTo>
                <a:lnTo>
                  <a:pt x="85" y="96"/>
                </a:lnTo>
                <a:lnTo>
                  <a:pt x="86" y="96"/>
                </a:lnTo>
                <a:lnTo>
                  <a:pt x="82" y="95"/>
                </a:lnTo>
                <a:lnTo>
                  <a:pt x="85" y="95"/>
                </a:lnTo>
                <a:lnTo>
                  <a:pt x="86" y="94"/>
                </a:lnTo>
                <a:lnTo>
                  <a:pt x="86" y="94"/>
                </a:lnTo>
                <a:lnTo>
                  <a:pt x="88" y="93"/>
                </a:lnTo>
                <a:lnTo>
                  <a:pt x="88" y="92"/>
                </a:lnTo>
                <a:lnTo>
                  <a:pt x="89" y="92"/>
                </a:lnTo>
                <a:lnTo>
                  <a:pt x="89" y="89"/>
                </a:lnTo>
                <a:lnTo>
                  <a:pt x="90" y="89"/>
                </a:lnTo>
                <a:lnTo>
                  <a:pt x="92" y="91"/>
                </a:lnTo>
                <a:lnTo>
                  <a:pt x="95" y="89"/>
                </a:lnTo>
                <a:lnTo>
                  <a:pt x="96" y="87"/>
                </a:lnTo>
                <a:lnTo>
                  <a:pt x="99" y="86"/>
                </a:lnTo>
                <a:lnTo>
                  <a:pt x="100" y="87"/>
                </a:lnTo>
                <a:lnTo>
                  <a:pt x="102" y="86"/>
                </a:lnTo>
                <a:lnTo>
                  <a:pt x="104" y="85"/>
                </a:lnTo>
                <a:lnTo>
                  <a:pt x="105" y="84"/>
                </a:lnTo>
                <a:lnTo>
                  <a:pt x="107" y="84"/>
                </a:lnTo>
                <a:lnTo>
                  <a:pt x="107" y="84"/>
                </a:lnTo>
                <a:lnTo>
                  <a:pt x="110" y="83"/>
                </a:lnTo>
                <a:lnTo>
                  <a:pt x="111" y="82"/>
                </a:lnTo>
                <a:lnTo>
                  <a:pt x="112" y="81"/>
                </a:lnTo>
                <a:lnTo>
                  <a:pt x="114" y="78"/>
                </a:lnTo>
                <a:lnTo>
                  <a:pt x="114" y="77"/>
                </a:lnTo>
                <a:lnTo>
                  <a:pt x="117" y="76"/>
                </a:lnTo>
                <a:lnTo>
                  <a:pt x="117" y="74"/>
                </a:lnTo>
                <a:lnTo>
                  <a:pt x="119" y="73"/>
                </a:lnTo>
                <a:lnTo>
                  <a:pt x="119" y="72"/>
                </a:lnTo>
                <a:lnTo>
                  <a:pt x="120" y="73"/>
                </a:lnTo>
                <a:lnTo>
                  <a:pt x="120" y="74"/>
                </a:lnTo>
                <a:lnTo>
                  <a:pt x="121" y="73"/>
                </a:lnTo>
                <a:lnTo>
                  <a:pt x="122" y="72"/>
                </a:lnTo>
                <a:lnTo>
                  <a:pt x="120" y="71"/>
                </a:lnTo>
                <a:lnTo>
                  <a:pt x="120" y="71"/>
                </a:lnTo>
                <a:lnTo>
                  <a:pt x="117" y="68"/>
                </a:lnTo>
                <a:lnTo>
                  <a:pt x="116" y="67"/>
                </a:lnTo>
                <a:lnTo>
                  <a:pt x="117" y="67"/>
                </a:lnTo>
                <a:lnTo>
                  <a:pt x="116" y="66"/>
                </a:lnTo>
                <a:lnTo>
                  <a:pt x="115" y="66"/>
                </a:lnTo>
                <a:lnTo>
                  <a:pt x="115" y="65"/>
                </a:lnTo>
                <a:lnTo>
                  <a:pt x="116" y="65"/>
                </a:lnTo>
                <a:lnTo>
                  <a:pt x="116" y="64"/>
                </a:lnTo>
                <a:lnTo>
                  <a:pt x="118" y="64"/>
                </a:lnTo>
                <a:lnTo>
                  <a:pt x="120" y="61"/>
                </a:lnTo>
                <a:lnTo>
                  <a:pt x="120" y="59"/>
                </a:lnTo>
                <a:lnTo>
                  <a:pt x="117" y="57"/>
                </a:lnTo>
                <a:lnTo>
                  <a:pt x="117" y="57"/>
                </a:lnTo>
                <a:lnTo>
                  <a:pt x="120" y="56"/>
                </a:lnTo>
                <a:lnTo>
                  <a:pt x="119" y="55"/>
                </a:lnTo>
                <a:lnTo>
                  <a:pt x="120" y="55"/>
                </a:lnTo>
                <a:lnTo>
                  <a:pt x="122" y="56"/>
                </a:lnTo>
                <a:lnTo>
                  <a:pt x="124" y="56"/>
                </a:lnTo>
                <a:lnTo>
                  <a:pt x="124" y="55"/>
                </a:lnTo>
                <a:lnTo>
                  <a:pt x="122" y="54"/>
                </a:lnTo>
                <a:lnTo>
                  <a:pt x="125" y="54"/>
                </a:lnTo>
                <a:lnTo>
                  <a:pt x="125" y="54"/>
                </a:lnTo>
                <a:lnTo>
                  <a:pt x="122" y="52"/>
                </a:lnTo>
                <a:lnTo>
                  <a:pt x="122" y="52"/>
                </a:lnTo>
                <a:lnTo>
                  <a:pt x="125" y="52"/>
                </a:lnTo>
                <a:lnTo>
                  <a:pt x="126" y="53"/>
                </a:lnTo>
                <a:lnTo>
                  <a:pt x="127" y="53"/>
                </a:lnTo>
                <a:lnTo>
                  <a:pt x="126" y="52"/>
                </a:lnTo>
                <a:lnTo>
                  <a:pt x="127" y="52"/>
                </a:lnTo>
                <a:lnTo>
                  <a:pt x="127" y="52"/>
                </a:lnTo>
                <a:lnTo>
                  <a:pt x="127" y="48"/>
                </a:lnTo>
                <a:lnTo>
                  <a:pt x="128" y="48"/>
                </a:lnTo>
                <a:lnTo>
                  <a:pt x="129" y="48"/>
                </a:lnTo>
                <a:lnTo>
                  <a:pt x="129" y="49"/>
                </a:lnTo>
                <a:lnTo>
                  <a:pt x="130" y="49"/>
                </a:lnTo>
                <a:lnTo>
                  <a:pt x="131" y="51"/>
                </a:lnTo>
                <a:lnTo>
                  <a:pt x="131" y="48"/>
                </a:lnTo>
                <a:lnTo>
                  <a:pt x="132" y="49"/>
                </a:lnTo>
                <a:lnTo>
                  <a:pt x="135" y="51"/>
                </a:lnTo>
                <a:lnTo>
                  <a:pt x="135" y="51"/>
                </a:lnTo>
                <a:lnTo>
                  <a:pt x="137" y="51"/>
                </a:lnTo>
                <a:lnTo>
                  <a:pt x="137" y="49"/>
                </a:lnTo>
                <a:lnTo>
                  <a:pt x="143" y="49"/>
                </a:lnTo>
                <a:lnTo>
                  <a:pt x="145" y="49"/>
                </a:lnTo>
                <a:lnTo>
                  <a:pt x="147" y="51"/>
                </a:lnTo>
                <a:lnTo>
                  <a:pt x="148" y="49"/>
                </a:lnTo>
                <a:lnTo>
                  <a:pt x="148" y="49"/>
                </a:lnTo>
                <a:lnTo>
                  <a:pt x="148" y="48"/>
                </a:lnTo>
                <a:lnTo>
                  <a:pt x="143" y="44"/>
                </a:lnTo>
                <a:lnTo>
                  <a:pt x="142" y="42"/>
                </a:lnTo>
                <a:lnTo>
                  <a:pt x="142" y="40"/>
                </a:lnTo>
                <a:lnTo>
                  <a:pt x="145" y="38"/>
                </a:lnTo>
                <a:lnTo>
                  <a:pt x="145" y="37"/>
                </a:lnTo>
                <a:lnTo>
                  <a:pt x="143" y="35"/>
                </a:lnTo>
                <a:lnTo>
                  <a:pt x="138" y="31"/>
                </a:lnTo>
                <a:lnTo>
                  <a:pt x="138" y="28"/>
                </a:lnTo>
                <a:lnTo>
                  <a:pt x="138" y="26"/>
                </a:lnTo>
                <a:lnTo>
                  <a:pt x="138" y="25"/>
                </a:lnTo>
                <a:lnTo>
                  <a:pt x="137" y="24"/>
                </a:lnTo>
                <a:lnTo>
                  <a:pt x="136" y="23"/>
                </a:lnTo>
                <a:lnTo>
                  <a:pt x="135" y="21"/>
                </a:lnTo>
                <a:lnTo>
                  <a:pt x="136" y="18"/>
                </a:lnTo>
                <a:lnTo>
                  <a:pt x="136" y="17"/>
                </a:lnTo>
                <a:lnTo>
                  <a:pt x="136" y="16"/>
                </a:lnTo>
                <a:lnTo>
                  <a:pt x="127" y="11"/>
                </a:lnTo>
                <a:lnTo>
                  <a:pt x="122" y="8"/>
                </a:lnTo>
                <a:lnTo>
                  <a:pt x="115" y="7"/>
                </a:lnTo>
                <a:lnTo>
                  <a:pt x="108" y="4"/>
                </a:lnTo>
                <a:lnTo>
                  <a:pt x="98" y="0"/>
                </a:lnTo>
                <a:lnTo>
                  <a:pt x="98" y="0"/>
                </a:lnTo>
                <a:lnTo>
                  <a:pt x="97" y="0"/>
                </a:lnTo>
                <a:lnTo>
                  <a:pt x="92" y="0"/>
                </a:lnTo>
                <a:lnTo>
                  <a:pt x="91" y="0"/>
                </a:lnTo>
                <a:lnTo>
                  <a:pt x="91" y="1"/>
                </a:lnTo>
                <a:lnTo>
                  <a:pt x="92" y="1"/>
                </a:lnTo>
                <a:lnTo>
                  <a:pt x="94" y="2"/>
                </a:lnTo>
                <a:lnTo>
                  <a:pt x="94" y="3"/>
                </a:lnTo>
                <a:lnTo>
                  <a:pt x="92" y="4"/>
                </a:lnTo>
                <a:lnTo>
                  <a:pt x="91" y="5"/>
                </a:lnTo>
                <a:lnTo>
                  <a:pt x="90" y="6"/>
                </a:lnTo>
                <a:lnTo>
                  <a:pt x="91" y="7"/>
                </a:lnTo>
                <a:lnTo>
                  <a:pt x="94" y="8"/>
                </a:lnTo>
                <a:lnTo>
                  <a:pt x="92" y="10"/>
                </a:lnTo>
                <a:lnTo>
                  <a:pt x="90" y="10"/>
                </a:lnTo>
                <a:lnTo>
                  <a:pt x="80" y="7"/>
                </a:lnTo>
                <a:lnTo>
                  <a:pt x="74" y="7"/>
                </a:lnTo>
                <a:lnTo>
                  <a:pt x="72" y="7"/>
                </a:lnTo>
                <a:lnTo>
                  <a:pt x="71" y="8"/>
                </a:lnTo>
                <a:lnTo>
                  <a:pt x="70" y="8"/>
                </a:lnTo>
                <a:lnTo>
                  <a:pt x="71" y="12"/>
                </a:lnTo>
                <a:lnTo>
                  <a:pt x="70" y="13"/>
                </a:lnTo>
                <a:lnTo>
                  <a:pt x="70" y="15"/>
                </a:lnTo>
                <a:lnTo>
                  <a:pt x="68" y="16"/>
                </a:lnTo>
                <a:lnTo>
                  <a:pt x="67" y="16"/>
                </a:lnTo>
                <a:lnTo>
                  <a:pt x="65" y="15"/>
                </a:lnTo>
                <a:lnTo>
                  <a:pt x="62" y="14"/>
                </a:lnTo>
                <a:lnTo>
                  <a:pt x="59" y="14"/>
                </a:lnTo>
                <a:lnTo>
                  <a:pt x="56" y="16"/>
                </a:lnTo>
                <a:lnTo>
                  <a:pt x="55" y="17"/>
                </a:lnTo>
                <a:lnTo>
                  <a:pt x="54" y="20"/>
                </a:lnTo>
                <a:lnTo>
                  <a:pt x="54" y="21"/>
                </a:lnTo>
                <a:lnTo>
                  <a:pt x="53" y="22"/>
                </a:lnTo>
                <a:lnTo>
                  <a:pt x="49" y="24"/>
                </a:lnTo>
                <a:lnTo>
                  <a:pt x="49" y="25"/>
                </a:lnTo>
                <a:lnTo>
                  <a:pt x="53" y="28"/>
                </a:lnTo>
                <a:lnTo>
                  <a:pt x="53" y="30"/>
                </a:lnTo>
                <a:lnTo>
                  <a:pt x="53" y="31"/>
                </a:lnTo>
                <a:lnTo>
                  <a:pt x="51" y="32"/>
                </a:lnTo>
                <a:lnTo>
                  <a:pt x="48" y="33"/>
                </a:lnTo>
                <a:lnTo>
                  <a:pt x="47" y="35"/>
                </a:lnTo>
                <a:lnTo>
                  <a:pt x="43" y="38"/>
                </a:lnTo>
                <a:lnTo>
                  <a:pt x="41" y="40"/>
                </a:lnTo>
                <a:lnTo>
                  <a:pt x="41" y="43"/>
                </a:lnTo>
                <a:lnTo>
                  <a:pt x="40" y="44"/>
                </a:lnTo>
                <a:lnTo>
                  <a:pt x="37" y="45"/>
                </a:lnTo>
                <a:lnTo>
                  <a:pt x="35" y="45"/>
                </a:lnTo>
                <a:lnTo>
                  <a:pt x="33" y="46"/>
                </a:lnTo>
                <a:lnTo>
                  <a:pt x="34" y="47"/>
                </a:lnTo>
                <a:lnTo>
                  <a:pt x="34" y="51"/>
                </a:lnTo>
                <a:lnTo>
                  <a:pt x="34" y="54"/>
                </a:lnTo>
                <a:lnTo>
                  <a:pt x="33" y="59"/>
                </a:lnTo>
                <a:lnTo>
                  <a:pt x="29" y="64"/>
                </a:lnTo>
                <a:lnTo>
                  <a:pt x="26" y="68"/>
                </a:lnTo>
                <a:lnTo>
                  <a:pt x="26" y="69"/>
                </a:lnTo>
                <a:lnTo>
                  <a:pt x="29" y="72"/>
                </a:lnTo>
                <a:lnTo>
                  <a:pt x="31" y="73"/>
                </a:lnTo>
                <a:lnTo>
                  <a:pt x="31" y="75"/>
                </a:lnTo>
                <a:lnTo>
                  <a:pt x="30" y="77"/>
                </a:lnTo>
                <a:lnTo>
                  <a:pt x="29" y="78"/>
                </a:lnTo>
                <a:lnTo>
                  <a:pt x="26" y="78"/>
                </a:lnTo>
                <a:lnTo>
                  <a:pt x="21" y="78"/>
                </a:lnTo>
                <a:lnTo>
                  <a:pt x="17" y="78"/>
                </a:lnTo>
                <a:lnTo>
                  <a:pt x="13" y="81"/>
                </a:lnTo>
                <a:lnTo>
                  <a:pt x="8" y="84"/>
                </a:lnTo>
                <a:lnTo>
                  <a:pt x="7" y="86"/>
                </a:lnTo>
                <a:lnTo>
                  <a:pt x="6" y="88"/>
                </a:lnTo>
                <a:lnTo>
                  <a:pt x="7" y="91"/>
                </a:lnTo>
                <a:lnTo>
                  <a:pt x="8" y="93"/>
                </a:lnTo>
                <a:lnTo>
                  <a:pt x="9" y="94"/>
                </a:lnTo>
                <a:lnTo>
                  <a:pt x="8" y="95"/>
                </a:lnTo>
                <a:lnTo>
                  <a:pt x="8" y="96"/>
                </a:lnTo>
                <a:lnTo>
                  <a:pt x="8" y="98"/>
                </a:lnTo>
                <a:lnTo>
                  <a:pt x="8" y="101"/>
                </a:lnTo>
                <a:lnTo>
                  <a:pt x="7" y="102"/>
                </a:lnTo>
                <a:lnTo>
                  <a:pt x="7" y="104"/>
                </a:lnTo>
                <a:lnTo>
                  <a:pt x="8" y="104"/>
                </a:lnTo>
                <a:lnTo>
                  <a:pt x="9" y="106"/>
                </a:lnTo>
                <a:lnTo>
                  <a:pt x="9" y="112"/>
                </a:lnTo>
                <a:lnTo>
                  <a:pt x="10" y="115"/>
                </a:lnTo>
                <a:lnTo>
                  <a:pt x="13" y="117"/>
                </a:lnTo>
                <a:lnTo>
                  <a:pt x="17" y="119"/>
                </a:lnTo>
                <a:lnTo>
                  <a:pt x="18" y="122"/>
                </a:lnTo>
                <a:lnTo>
                  <a:pt x="17" y="125"/>
                </a:lnTo>
                <a:lnTo>
                  <a:pt x="15" y="126"/>
                </a:lnTo>
                <a:lnTo>
                  <a:pt x="11" y="127"/>
                </a:lnTo>
                <a:lnTo>
                  <a:pt x="11" y="128"/>
                </a:lnTo>
                <a:lnTo>
                  <a:pt x="14" y="131"/>
                </a:lnTo>
                <a:lnTo>
                  <a:pt x="16" y="135"/>
                </a:lnTo>
                <a:lnTo>
                  <a:pt x="15" y="139"/>
                </a:lnTo>
                <a:lnTo>
                  <a:pt x="16" y="141"/>
                </a:lnTo>
                <a:lnTo>
                  <a:pt x="16" y="143"/>
                </a:lnTo>
                <a:lnTo>
                  <a:pt x="15" y="145"/>
                </a:lnTo>
                <a:lnTo>
                  <a:pt x="8" y="146"/>
                </a:lnTo>
                <a:lnTo>
                  <a:pt x="8" y="148"/>
                </a:lnTo>
                <a:lnTo>
                  <a:pt x="6" y="152"/>
                </a:lnTo>
                <a:lnTo>
                  <a:pt x="6" y="154"/>
                </a:lnTo>
                <a:lnTo>
                  <a:pt x="7" y="156"/>
                </a:lnTo>
                <a:lnTo>
                  <a:pt x="6" y="162"/>
                </a:lnTo>
                <a:lnTo>
                  <a:pt x="4" y="163"/>
                </a:lnTo>
                <a:lnTo>
                  <a:pt x="3" y="162"/>
                </a:lnTo>
                <a:lnTo>
                  <a:pt x="3" y="164"/>
                </a:lnTo>
                <a:lnTo>
                  <a:pt x="3" y="160"/>
                </a:lnTo>
                <a:lnTo>
                  <a:pt x="1" y="159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65" name="Freeform 665"/>
          <p:cNvSpPr>
            <a:spLocks/>
          </p:cNvSpPr>
          <p:nvPr/>
        </p:nvSpPr>
        <p:spPr bwMode="auto">
          <a:xfrm>
            <a:off x="4575175" y="1639853"/>
            <a:ext cx="234950" cy="354013"/>
          </a:xfrm>
          <a:custGeom>
            <a:avLst/>
            <a:gdLst>
              <a:gd name="T0" fmla="*/ 5 w 148"/>
              <a:gd name="T1" fmla="*/ 172 h 223"/>
              <a:gd name="T2" fmla="*/ 7 w 148"/>
              <a:gd name="T3" fmla="*/ 173 h 223"/>
              <a:gd name="T4" fmla="*/ 13 w 148"/>
              <a:gd name="T5" fmla="*/ 180 h 223"/>
              <a:gd name="T6" fmla="*/ 16 w 148"/>
              <a:gd name="T7" fmla="*/ 193 h 223"/>
              <a:gd name="T8" fmla="*/ 26 w 148"/>
              <a:gd name="T9" fmla="*/ 205 h 223"/>
              <a:gd name="T10" fmla="*/ 26 w 148"/>
              <a:gd name="T11" fmla="*/ 214 h 223"/>
              <a:gd name="T12" fmla="*/ 30 w 148"/>
              <a:gd name="T13" fmla="*/ 222 h 223"/>
              <a:gd name="T14" fmla="*/ 46 w 148"/>
              <a:gd name="T15" fmla="*/ 215 h 223"/>
              <a:gd name="T16" fmla="*/ 59 w 148"/>
              <a:gd name="T17" fmla="*/ 209 h 223"/>
              <a:gd name="T18" fmla="*/ 71 w 148"/>
              <a:gd name="T19" fmla="*/ 195 h 223"/>
              <a:gd name="T20" fmla="*/ 74 w 148"/>
              <a:gd name="T21" fmla="*/ 183 h 223"/>
              <a:gd name="T22" fmla="*/ 74 w 148"/>
              <a:gd name="T23" fmla="*/ 177 h 223"/>
              <a:gd name="T24" fmla="*/ 69 w 148"/>
              <a:gd name="T25" fmla="*/ 169 h 223"/>
              <a:gd name="T26" fmla="*/ 66 w 148"/>
              <a:gd name="T27" fmla="*/ 167 h 223"/>
              <a:gd name="T28" fmla="*/ 82 w 148"/>
              <a:gd name="T29" fmla="*/ 162 h 223"/>
              <a:gd name="T30" fmla="*/ 91 w 148"/>
              <a:gd name="T31" fmla="*/ 156 h 223"/>
              <a:gd name="T32" fmla="*/ 80 w 148"/>
              <a:gd name="T33" fmla="*/ 156 h 223"/>
              <a:gd name="T34" fmla="*/ 67 w 148"/>
              <a:gd name="T35" fmla="*/ 153 h 223"/>
              <a:gd name="T36" fmla="*/ 79 w 148"/>
              <a:gd name="T37" fmla="*/ 153 h 223"/>
              <a:gd name="T38" fmla="*/ 87 w 148"/>
              <a:gd name="T39" fmla="*/ 155 h 223"/>
              <a:gd name="T40" fmla="*/ 90 w 148"/>
              <a:gd name="T41" fmla="*/ 139 h 223"/>
              <a:gd name="T42" fmla="*/ 80 w 148"/>
              <a:gd name="T43" fmla="*/ 134 h 223"/>
              <a:gd name="T44" fmla="*/ 70 w 148"/>
              <a:gd name="T45" fmla="*/ 142 h 223"/>
              <a:gd name="T46" fmla="*/ 72 w 148"/>
              <a:gd name="T47" fmla="*/ 138 h 223"/>
              <a:gd name="T48" fmla="*/ 75 w 148"/>
              <a:gd name="T49" fmla="*/ 128 h 223"/>
              <a:gd name="T50" fmla="*/ 76 w 148"/>
              <a:gd name="T51" fmla="*/ 117 h 223"/>
              <a:gd name="T52" fmla="*/ 74 w 148"/>
              <a:gd name="T53" fmla="*/ 103 h 223"/>
              <a:gd name="T54" fmla="*/ 79 w 148"/>
              <a:gd name="T55" fmla="*/ 98 h 223"/>
              <a:gd name="T56" fmla="*/ 85 w 148"/>
              <a:gd name="T57" fmla="*/ 97 h 223"/>
              <a:gd name="T58" fmla="*/ 88 w 148"/>
              <a:gd name="T59" fmla="*/ 93 h 223"/>
              <a:gd name="T60" fmla="*/ 96 w 148"/>
              <a:gd name="T61" fmla="*/ 87 h 223"/>
              <a:gd name="T62" fmla="*/ 107 w 148"/>
              <a:gd name="T63" fmla="*/ 84 h 223"/>
              <a:gd name="T64" fmla="*/ 117 w 148"/>
              <a:gd name="T65" fmla="*/ 74 h 223"/>
              <a:gd name="T66" fmla="*/ 120 w 148"/>
              <a:gd name="T67" fmla="*/ 71 h 223"/>
              <a:gd name="T68" fmla="*/ 115 w 148"/>
              <a:gd name="T69" fmla="*/ 65 h 223"/>
              <a:gd name="T70" fmla="*/ 117 w 148"/>
              <a:gd name="T71" fmla="*/ 57 h 223"/>
              <a:gd name="T72" fmla="*/ 122 w 148"/>
              <a:gd name="T73" fmla="*/ 54 h 223"/>
              <a:gd name="T74" fmla="*/ 127 w 148"/>
              <a:gd name="T75" fmla="*/ 53 h 223"/>
              <a:gd name="T76" fmla="*/ 129 w 148"/>
              <a:gd name="T77" fmla="*/ 49 h 223"/>
              <a:gd name="T78" fmla="*/ 137 w 148"/>
              <a:gd name="T79" fmla="*/ 51 h 223"/>
              <a:gd name="T80" fmla="*/ 148 w 148"/>
              <a:gd name="T81" fmla="*/ 48 h 223"/>
              <a:gd name="T82" fmla="*/ 138 w 148"/>
              <a:gd name="T83" fmla="*/ 31 h 223"/>
              <a:gd name="T84" fmla="*/ 136 w 148"/>
              <a:gd name="T85" fmla="*/ 18 h 223"/>
              <a:gd name="T86" fmla="*/ 98 w 148"/>
              <a:gd name="T87" fmla="*/ 0 h 223"/>
              <a:gd name="T88" fmla="*/ 94 w 148"/>
              <a:gd name="T89" fmla="*/ 2 h 223"/>
              <a:gd name="T90" fmla="*/ 92 w 148"/>
              <a:gd name="T91" fmla="*/ 10 h 223"/>
              <a:gd name="T92" fmla="*/ 71 w 148"/>
              <a:gd name="T93" fmla="*/ 12 h 223"/>
              <a:gd name="T94" fmla="*/ 59 w 148"/>
              <a:gd name="T95" fmla="*/ 14 h 223"/>
              <a:gd name="T96" fmla="*/ 49 w 148"/>
              <a:gd name="T97" fmla="*/ 25 h 223"/>
              <a:gd name="T98" fmla="*/ 43 w 148"/>
              <a:gd name="T99" fmla="*/ 38 h 223"/>
              <a:gd name="T100" fmla="*/ 34 w 148"/>
              <a:gd name="T101" fmla="*/ 47 h 223"/>
              <a:gd name="T102" fmla="*/ 29 w 148"/>
              <a:gd name="T103" fmla="*/ 72 h 223"/>
              <a:gd name="T104" fmla="*/ 17 w 148"/>
              <a:gd name="T105" fmla="*/ 78 h 223"/>
              <a:gd name="T106" fmla="*/ 9 w 148"/>
              <a:gd name="T107" fmla="*/ 94 h 223"/>
              <a:gd name="T108" fmla="*/ 8 w 148"/>
              <a:gd name="T109" fmla="*/ 104 h 223"/>
              <a:gd name="T110" fmla="*/ 17 w 148"/>
              <a:gd name="T111" fmla="*/ 125 h 223"/>
              <a:gd name="T112" fmla="*/ 16 w 148"/>
              <a:gd name="T113" fmla="*/ 141 h 223"/>
              <a:gd name="T114" fmla="*/ 7 w 148"/>
              <a:gd name="T115" fmla="*/ 156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48" h="223">
                <a:moveTo>
                  <a:pt x="1" y="159"/>
                </a:moveTo>
                <a:lnTo>
                  <a:pt x="0" y="162"/>
                </a:lnTo>
                <a:lnTo>
                  <a:pt x="0" y="163"/>
                </a:lnTo>
                <a:lnTo>
                  <a:pt x="3" y="169"/>
                </a:lnTo>
                <a:lnTo>
                  <a:pt x="3" y="170"/>
                </a:lnTo>
                <a:lnTo>
                  <a:pt x="4" y="170"/>
                </a:lnTo>
                <a:lnTo>
                  <a:pt x="5" y="172"/>
                </a:lnTo>
                <a:lnTo>
                  <a:pt x="5" y="173"/>
                </a:lnTo>
                <a:lnTo>
                  <a:pt x="5" y="174"/>
                </a:lnTo>
                <a:lnTo>
                  <a:pt x="6" y="172"/>
                </a:lnTo>
                <a:lnTo>
                  <a:pt x="6" y="170"/>
                </a:lnTo>
                <a:lnTo>
                  <a:pt x="7" y="172"/>
                </a:lnTo>
                <a:lnTo>
                  <a:pt x="7" y="173"/>
                </a:lnTo>
                <a:lnTo>
                  <a:pt x="7" y="173"/>
                </a:lnTo>
                <a:lnTo>
                  <a:pt x="8" y="174"/>
                </a:lnTo>
                <a:lnTo>
                  <a:pt x="7" y="174"/>
                </a:lnTo>
                <a:lnTo>
                  <a:pt x="5" y="176"/>
                </a:lnTo>
                <a:lnTo>
                  <a:pt x="9" y="177"/>
                </a:lnTo>
                <a:lnTo>
                  <a:pt x="10" y="178"/>
                </a:lnTo>
                <a:lnTo>
                  <a:pt x="9" y="180"/>
                </a:lnTo>
                <a:lnTo>
                  <a:pt x="13" y="180"/>
                </a:lnTo>
                <a:lnTo>
                  <a:pt x="13" y="183"/>
                </a:lnTo>
                <a:lnTo>
                  <a:pt x="11" y="184"/>
                </a:lnTo>
                <a:lnTo>
                  <a:pt x="13" y="186"/>
                </a:lnTo>
                <a:lnTo>
                  <a:pt x="13" y="188"/>
                </a:lnTo>
                <a:lnTo>
                  <a:pt x="14" y="188"/>
                </a:lnTo>
                <a:lnTo>
                  <a:pt x="16" y="190"/>
                </a:lnTo>
                <a:lnTo>
                  <a:pt x="16" y="193"/>
                </a:lnTo>
                <a:lnTo>
                  <a:pt x="18" y="196"/>
                </a:lnTo>
                <a:lnTo>
                  <a:pt x="20" y="197"/>
                </a:lnTo>
                <a:lnTo>
                  <a:pt x="23" y="199"/>
                </a:lnTo>
                <a:lnTo>
                  <a:pt x="25" y="200"/>
                </a:lnTo>
                <a:lnTo>
                  <a:pt x="27" y="203"/>
                </a:lnTo>
                <a:lnTo>
                  <a:pt x="27" y="204"/>
                </a:lnTo>
                <a:lnTo>
                  <a:pt x="26" y="205"/>
                </a:lnTo>
                <a:lnTo>
                  <a:pt x="24" y="204"/>
                </a:lnTo>
                <a:lnTo>
                  <a:pt x="24" y="205"/>
                </a:lnTo>
                <a:lnTo>
                  <a:pt x="26" y="208"/>
                </a:lnTo>
                <a:lnTo>
                  <a:pt x="24" y="207"/>
                </a:lnTo>
                <a:lnTo>
                  <a:pt x="21" y="207"/>
                </a:lnTo>
                <a:lnTo>
                  <a:pt x="21" y="208"/>
                </a:lnTo>
                <a:lnTo>
                  <a:pt x="26" y="214"/>
                </a:lnTo>
                <a:lnTo>
                  <a:pt x="28" y="216"/>
                </a:lnTo>
                <a:lnTo>
                  <a:pt x="29" y="218"/>
                </a:lnTo>
                <a:lnTo>
                  <a:pt x="29" y="219"/>
                </a:lnTo>
                <a:lnTo>
                  <a:pt x="28" y="220"/>
                </a:lnTo>
                <a:lnTo>
                  <a:pt x="28" y="222"/>
                </a:lnTo>
                <a:lnTo>
                  <a:pt x="28" y="222"/>
                </a:lnTo>
                <a:lnTo>
                  <a:pt x="30" y="222"/>
                </a:lnTo>
                <a:lnTo>
                  <a:pt x="34" y="223"/>
                </a:lnTo>
                <a:lnTo>
                  <a:pt x="38" y="222"/>
                </a:lnTo>
                <a:lnTo>
                  <a:pt x="43" y="222"/>
                </a:lnTo>
                <a:lnTo>
                  <a:pt x="45" y="222"/>
                </a:lnTo>
                <a:lnTo>
                  <a:pt x="46" y="222"/>
                </a:lnTo>
                <a:lnTo>
                  <a:pt x="47" y="219"/>
                </a:lnTo>
                <a:lnTo>
                  <a:pt x="46" y="215"/>
                </a:lnTo>
                <a:lnTo>
                  <a:pt x="46" y="213"/>
                </a:lnTo>
                <a:lnTo>
                  <a:pt x="48" y="210"/>
                </a:lnTo>
                <a:lnTo>
                  <a:pt x="50" y="212"/>
                </a:lnTo>
                <a:lnTo>
                  <a:pt x="51" y="209"/>
                </a:lnTo>
                <a:lnTo>
                  <a:pt x="54" y="208"/>
                </a:lnTo>
                <a:lnTo>
                  <a:pt x="57" y="208"/>
                </a:lnTo>
                <a:lnTo>
                  <a:pt x="59" y="209"/>
                </a:lnTo>
                <a:lnTo>
                  <a:pt x="61" y="208"/>
                </a:lnTo>
                <a:lnTo>
                  <a:pt x="65" y="209"/>
                </a:lnTo>
                <a:lnTo>
                  <a:pt x="67" y="209"/>
                </a:lnTo>
                <a:lnTo>
                  <a:pt x="68" y="206"/>
                </a:lnTo>
                <a:lnTo>
                  <a:pt x="70" y="202"/>
                </a:lnTo>
                <a:lnTo>
                  <a:pt x="71" y="199"/>
                </a:lnTo>
                <a:lnTo>
                  <a:pt x="71" y="195"/>
                </a:lnTo>
                <a:lnTo>
                  <a:pt x="72" y="193"/>
                </a:lnTo>
                <a:lnTo>
                  <a:pt x="71" y="190"/>
                </a:lnTo>
                <a:lnTo>
                  <a:pt x="72" y="189"/>
                </a:lnTo>
                <a:lnTo>
                  <a:pt x="74" y="187"/>
                </a:lnTo>
                <a:lnTo>
                  <a:pt x="74" y="185"/>
                </a:lnTo>
                <a:lnTo>
                  <a:pt x="72" y="184"/>
                </a:lnTo>
                <a:lnTo>
                  <a:pt x="74" y="183"/>
                </a:lnTo>
                <a:lnTo>
                  <a:pt x="72" y="182"/>
                </a:lnTo>
                <a:lnTo>
                  <a:pt x="71" y="179"/>
                </a:lnTo>
                <a:lnTo>
                  <a:pt x="71" y="179"/>
                </a:lnTo>
                <a:lnTo>
                  <a:pt x="71" y="178"/>
                </a:lnTo>
                <a:lnTo>
                  <a:pt x="72" y="179"/>
                </a:lnTo>
                <a:lnTo>
                  <a:pt x="74" y="178"/>
                </a:lnTo>
                <a:lnTo>
                  <a:pt x="74" y="177"/>
                </a:lnTo>
                <a:lnTo>
                  <a:pt x="74" y="177"/>
                </a:lnTo>
                <a:lnTo>
                  <a:pt x="74" y="176"/>
                </a:lnTo>
                <a:lnTo>
                  <a:pt x="74" y="175"/>
                </a:lnTo>
                <a:lnTo>
                  <a:pt x="74" y="173"/>
                </a:lnTo>
                <a:lnTo>
                  <a:pt x="74" y="172"/>
                </a:lnTo>
                <a:lnTo>
                  <a:pt x="71" y="170"/>
                </a:lnTo>
                <a:lnTo>
                  <a:pt x="69" y="169"/>
                </a:lnTo>
                <a:lnTo>
                  <a:pt x="70" y="169"/>
                </a:lnTo>
                <a:lnTo>
                  <a:pt x="72" y="170"/>
                </a:lnTo>
                <a:lnTo>
                  <a:pt x="75" y="170"/>
                </a:lnTo>
                <a:lnTo>
                  <a:pt x="75" y="169"/>
                </a:lnTo>
                <a:lnTo>
                  <a:pt x="72" y="168"/>
                </a:lnTo>
                <a:lnTo>
                  <a:pt x="66" y="167"/>
                </a:lnTo>
                <a:lnTo>
                  <a:pt x="66" y="167"/>
                </a:lnTo>
                <a:lnTo>
                  <a:pt x="71" y="166"/>
                </a:lnTo>
                <a:lnTo>
                  <a:pt x="75" y="167"/>
                </a:lnTo>
                <a:lnTo>
                  <a:pt x="76" y="166"/>
                </a:lnTo>
                <a:lnTo>
                  <a:pt x="76" y="165"/>
                </a:lnTo>
                <a:lnTo>
                  <a:pt x="79" y="165"/>
                </a:lnTo>
                <a:lnTo>
                  <a:pt x="81" y="163"/>
                </a:lnTo>
                <a:lnTo>
                  <a:pt x="82" y="162"/>
                </a:lnTo>
                <a:lnTo>
                  <a:pt x="82" y="160"/>
                </a:lnTo>
                <a:lnTo>
                  <a:pt x="85" y="160"/>
                </a:lnTo>
                <a:lnTo>
                  <a:pt x="85" y="163"/>
                </a:lnTo>
                <a:lnTo>
                  <a:pt x="88" y="162"/>
                </a:lnTo>
                <a:lnTo>
                  <a:pt x="89" y="160"/>
                </a:lnTo>
                <a:lnTo>
                  <a:pt x="92" y="158"/>
                </a:lnTo>
                <a:lnTo>
                  <a:pt x="91" y="156"/>
                </a:lnTo>
                <a:lnTo>
                  <a:pt x="92" y="157"/>
                </a:lnTo>
                <a:lnTo>
                  <a:pt x="95" y="157"/>
                </a:lnTo>
                <a:lnTo>
                  <a:pt x="94" y="156"/>
                </a:lnTo>
                <a:lnTo>
                  <a:pt x="96" y="155"/>
                </a:lnTo>
                <a:lnTo>
                  <a:pt x="95" y="155"/>
                </a:lnTo>
                <a:lnTo>
                  <a:pt x="82" y="156"/>
                </a:lnTo>
                <a:lnTo>
                  <a:pt x="80" y="156"/>
                </a:lnTo>
                <a:lnTo>
                  <a:pt x="79" y="156"/>
                </a:lnTo>
                <a:lnTo>
                  <a:pt x="78" y="155"/>
                </a:lnTo>
                <a:lnTo>
                  <a:pt x="77" y="155"/>
                </a:lnTo>
                <a:lnTo>
                  <a:pt x="71" y="153"/>
                </a:lnTo>
                <a:lnTo>
                  <a:pt x="68" y="153"/>
                </a:lnTo>
                <a:lnTo>
                  <a:pt x="66" y="153"/>
                </a:lnTo>
                <a:lnTo>
                  <a:pt x="67" y="153"/>
                </a:lnTo>
                <a:lnTo>
                  <a:pt x="68" y="152"/>
                </a:lnTo>
                <a:lnTo>
                  <a:pt x="70" y="152"/>
                </a:lnTo>
                <a:lnTo>
                  <a:pt x="71" y="152"/>
                </a:lnTo>
                <a:lnTo>
                  <a:pt x="75" y="152"/>
                </a:lnTo>
                <a:lnTo>
                  <a:pt x="75" y="152"/>
                </a:lnTo>
                <a:lnTo>
                  <a:pt x="77" y="153"/>
                </a:lnTo>
                <a:lnTo>
                  <a:pt x="79" y="153"/>
                </a:lnTo>
                <a:lnTo>
                  <a:pt x="79" y="152"/>
                </a:lnTo>
                <a:lnTo>
                  <a:pt x="80" y="153"/>
                </a:lnTo>
                <a:lnTo>
                  <a:pt x="82" y="153"/>
                </a:lnTo>
                <a:lnTo>
                  <a:pt x="84" y="152"/>
                </a:lnTo>
                <a:lnTo>
                  <a:pt x="84" y="153"/>
                </a:lnTo>
                <a:lnTo>
                  <a:pt x="85" y="154"/>
                </a:lnTo>
                <a:lnTo>
                  <a:pt x="87" y="155"/>
                </a:lnTo>
                <a:lnTo>
                  <a:pt x="94" y="152"/>
                </a:lnTo>
                <a:lnTo>
                  <a:pt x="96" y="149"/>
                </a:lnTo>
                <a:lnTo>
                  <a:pt x="97" y="148"/>
                </a:lnTo>
                <a:lnTo>
                  <a:pt x="98" y="146"/>
                </a:lnTo>
                <a:lnTo>
                  <a:pt x="96" y="144"/>
                </a:lnTo>
                <a:lnTo>
                  <a:pt x="92" y="142"/>
                </a:lnTo>
                <a:lnTo>
                  <a:pt x="90" y="139"/>
                </a:lnTo>
                <a:lnTo>
                  <a:pt x="92" y="139"/>
                </a:lnTo>
                <a:lnTo>
                  <a:pt x="92" y="139"/>
                </a:lnTo>
                <a:lnTo>
                  <a:pt x="87" y="138"/>
                </a:lnTo>
                <a:lnTo>
                  <a:pt x="87" y="136"/>
                </a:lnTo>
                <a:lnTo>
                  <a:pt x="85" y="135"/>
                </a:lnTo>
                <a:lnTo>
                  <a:pt x="81" y="135"/>
                </a:lnTo>
                <a:lnTo>
                  <a:pt x="80" y="134"/>
                </a:lnTo>
                <a:lnTo>
                  <a:pt x="79" y="134"/>
                </a:lnTo>
                <a:lnTo>
                  <a:pt x="79" y="134"/>
                </a:lnTo>
                <a:lnTo>
                  <a:pt x="79" y="134"/>
                </a:lnTo>
                <a:lnTo>
                  <a:pt x="78" y="137"/>
                </a:lnTo>
                <a:lnTo>
                  <a:pt x="76" y="138"/>
                </a:lnTo>
                <a:lnTo>
                  <a:pt x="72" y="141"/>
                </a:lnTo>
                <a:lnTo>
                  <a:pt x="70" y="142"/>
                </a:lnTo>
                <a:lnTo>
                  <a:pt x="68" y="142"/>
                </a:lnTo>
                <a:lnTo>
                  <a:pt x="66" y="142"/>
                </a:lnTo>
                <a:lnTo>
                  <a:pt x="64" y="142"/>
                </a:lnTo>
                <a:lnTo>
                  <a:pt x="66" y="141"/>
                </a:lnTo>
                <a:lnTo>
                  <a:pt x="69" y="141"/>
                </a:lnTo>
                <a:lnTo>
                  <a:pt x="70" y="139"/>
                </a:lnTo>
                <a:lnTo>
                  <a:pt x="72" y="138"/>
                </a:lnTo>
                <a:lnTo>
                  <a:pt x="76" y="136"/>
                </a:lnTo>
                <a:lnTo>
                  <a:pt x="77" y="135"/>
                </a:lnTo>
                <a:lnTo>
                  <a:pt x="77" y="133"/>
                </a:lnTo>
                <a:lnTo>
                  <a:pt x="75" y="133"/>
                </a:lnTo>
                <a:lnTo>
                  <a:pt x="76" y="132"/>
                </a:lnTo>
                <a:lnTo>
                  <a:pt x="76" y="129"/>
                </a:lnTo>
                <a:lnTo>
                  <a:pt x="75" y="128"/>
                </a:lnTo>
                <a:lnTo>
                  <a:pt x="74" y="125"/>
                </a:lnTo>
                <a:lnTo>
                  <a:pt x="72" y="122"/>
                </a:lnTo>
                <a:lnTo>
                  <a:pt x="71" y="118"/>
                </a:lnTo>
                <a:lnTo>
                  <a:pt x="71" y="117"/>
                </a:lnTo>
                <a:lnTo>
                  <a:pt x="72" y="116"/>
                </a:lnTo>
                <a:lnTo>
                  <a:pt x="72" y="116"/>
                </a:lnTo>
                <a:lnTo>
                  <a:pt x="76" y="117"/>
                </a:lnTo>
                <a:lnTo>
                  <a:pt x="76" y="116"/>
                </a:lnTo>
                <a:lnTo>
                  <a:pt x="75" y="113"/>
                </a:lnTo>
                <a:lnTo>
                  <a:pt x="75" y="109"/>
                </a:lnTo>
                <a:lnTo>
                  <a:pt x="76" y="107"/>
                </a:lnTo>
                <a:lnTo>
                  <a:pt x="74" y="106"/>
                </a:lnTo>
                <a:lnTo>
                  <a:pt x="74" y="105"/>
                </a:lnTo>
                <a:lnTo>
                  <a:pt x="74" y="103"/>
                </a:lnTo>
                <a:lnTo>
                  <a:pt x="77" y="104"/>
                </a:lnTo>
                <a:lnTo>
                  <a:pt x="77" y="104"/>
                </a:lnTo>
                <a:lnTo>
                  <a:pt x="78" y="103"/>
                </a:lnTo>
                <a:lnTo>
                  <a:pt x="79" y="102"/>
                </a:lnTo>
                <a:lnTo>
                  <a:pt x="79" y="102"/>
                </a:lnTo>
                <a:lnTo>
                  <a:pt x="79" y="101"/>
                </a:lnTo>
                <a:lnTo>
                  <a:pt x="79" y="98"/>
                </a:lnTo>
                <a:lnTo>
                  <a:pt x="78" y="97"/>
                </a:lnTo>
                <a:lnTo>
                  <a:pt x="78" y="96"/>
                </a:lnTo>
                <a:lnTo>
                  <a:pt x="79" y="97"/>
                </a:lnTo>
                <a:lnTo>
                  <a:pt x="81" y="98"/>
                </a:lnTo>
                <a:lnTo>
                  <a:pt x="81" y="98"/>
                </a:lnTo>
                <a:lnTo>
                  <a:pt x="82" y="97"/>
                </a:lnTo>
                <a:lnTo>
                  <a:pt x="85" y="97"/>
                </a:lnTo>
                <a:lnTo>
                  <a:pt x="85" y="96"/>
                </a:lnTo>
                <a:lnTo>
                  <a:pt x="86" y="96"/>
                </a:lnTo>
                <a:lnTo>
                  <a:pt x="82" y="95"/>
                </a:lnTo>
                <a:lnTo>
                  <a:pt x="85" y="95"/>
                </a:lnTo>
                <a:lnTo>
                  <a:pt x="86" y="94"/>
                </a:lnTo>
                <a:lnTo>
                  <a:pt x="86" y="94"/>
                </a:lnTo>
                <a:lnTo>
                  <a:pt x="88" y="93"/>
                </a:lnTo>
                <a:lnTo>
                  <a:pt x="88" y="92"/>
                </a:lnTo>
                <a:lnTo>
                  <a:pt x="89" y="92"/>
                </a:lnTo>
                <a:lnTo>
                  <a:pt x="89" y="89"/>
                </a:lnTo>
                <a:lnTo>
                  <a:pt x="90" y="89"/>
                </a:lnTo>
                <a:lnTo>
                  <a:pt x="92" y="91"/>
                </a:lnTo>
                <a:lnTo>
                  <a:pt x="95" y="89"/>
                </a:lnTo>
                <a:lnTo>
                  <a:pt x="96" y="87"/>
                </a:lnTo>
                <a:lnTo>
                  <a:pt x="99" y="86"/>
                </a:lnTo>
                <a:lnTo>
                  <a:pt x="100" y="87"/>
                </a:lnTo>
                <a:lnTo>
                  <a:pt x="102" y="86"/>
                </a:lnTo>
                <a:lnTo>
                  <a:pt x="104" y="85"/>
                </a:lnTo>
                <a:lnTo>
                  <a:pt x="105" y="84"/>
                </a:lnTo>
                <a:lnTo>
                  <a:pt x="107" y="84"/>
                </a:lnTo>
                <a:lnTo>
                  <a:pt x="107" y="84"/>
                </a:lnTo>
                <a:lnTo>
                  <a:pt x="110" y="83"/>
                </a:lnTo>
                <a:lnTo>
                  <a:pt x="111" y="82"/>
                </a:lnTo>
                <a:lnTo>
                  <a:pt x="112" y="81"/>
                </a:lnTo>
                <a:lnTo>
                  <a:pt x="114" y="78"/>
                </a:lnTo>
                <a:lnTo>
                  <a:pt x="114" y="77"/>
                </a:lnTo>
                <a:lnTo>
                  <a:pt x="117" y="76"/>
                </a:lnTo>
                <a:lnTo>
                  <a:pt x="117" y="74"/>
                </a:lnTo>
                <a:lnTo>
                  <a:pt x="119" y="73"/>
                </a:lnTo>
                <a:lnTo>
                  <a:pt x="119" y="72"/>
                </a:lnTo>
                <a:lnTo>
                  <a:pt x="120" y="73"/>
                </a:lnTo>
                <a:lnTo>
                  <a:pt x="120" y="74"/>
                </a:lnTo>
                <a:lnTo>
                  <a:pt x="121" y="73"/>
                </a:lnTo>
                <a:lnTo>
                  <a:pt x="122" y="72"/>
                </a:lnTo>
                <a:lnTo>
                  <a:pt x="120" y="71"/>
                </a:lnTo>
                <a:lnTo>
                  <a:pt x="120" y="71"/>
                </a:lnTo>
                <a:lnTo>
                  <a:pt x="117" y="68"/>
                </a:lnTo>
                <a:lnTo>
                  <a:pt x="116" y="67"/>
                </a:lnTo>
                <a:lnTo>
                  <a:pt x="117" y="67"/>
                </a:lnTo>
                <a:lnTo>
                  <a:pt x="116" y="66"/>
                </a:lnTo>
                <a:lnTo>
                  <a:pt x="115" y="66"/>
                </a:lnTo>
                <a:lnTo>
                  <a:pt x="115" y="65"/>
                </a:lnTo>
                <a:lnTo>
                  <a:pt x="116" y="65"/>
                </a:lnTo>
                <a:lnTo>
                  <a:pt x="116" y="64"/>
                </a:lnTo>
                <a:lnTo>
                  <a:pt x="118" y="64"/>
                </a:lnTo>
                <a:lnTo>
                  <a:pt x="120" y="61"/>
                </a:lnTo>
                <a:lnTo>
                  <a:pt x="120" y="59"/>
                </a:lnTo>
                <a:lnTo>
                  <a:pt x="117" y="57"/>
                </a:lnTo>
                <a:lnTo>
                  <a:pt x="117" y="57"/>
                </a:lnTo>
                <a:lnTo>
                  <a:pt x="120" y="56"/>
                </a:lnTo>
                <a:lnTo>
                  <a:pt x="119" y="55"/>
                </a:lnTo>
                <a:lnTo>
                  <a:pt x="120" y="55"/>
                </a:lnTo>
                <a:lnTo>
                  <a:pt x="122" y="56"/>
                </a:lnTo>
                <a:lnTo>
                  <a:pt x="124" y="56"/>
                </a:lnTo>
                <a:lnTo>
                  <a:pt x="124" y="55"/>
                </a:lnTo>
                <a:lnTo>
                  <a:pt x="122" y="54"/>
                </a:lnTo>
                <a:lnTo>
                  <a:pt x="125" y="54"/>
                </a:lnTo>
                <a:lnTo>
                  <a:pt x="125" y="54"/>
                </a:lnTo>
                <a:lnTo>
                  <a:pt x="122" y="52"/>
                </a:lnTo>
                <a:lnTo>
                  <a:pt x="122" y="52"/>
                </a:lnTo>
                <a:lnTo>
                  <a:pt x="125" y="52"/>
                </a:lnTo>
                <a:lnTo>
                  <a:pt x="126" y="53"/>
                </a:lnTo>
                <a:lnTo>
                  <a:pt x="127" y="53"/>
                </a:lnTo>
                <a:lnTo>
                  <a:pt x="126" y="52"/>
                </a:lnTo>
                <a:lnTo>
                  <a:pt x="127" y="52"/>
                </a:lnTo>
                <a:lnTo>
                  <a:pt x="127" y="52"/>
                </a:lnTo>
                <a:lnTo>
                  <a:pt x="127" y="48"/>
                </a:lnTo>
                <a:lnTo>
                  <a:pt x="128" y="48"/>
                </a:lnTo>
                <a:lnTo>
                  <a:pt x="129" y="48"/>
                </a:lnTo>
                <a:lnTo>
                  <a:pt x="129" y="49"/>
                </a:lnTo>
                <a:lnTo>
                  <a:pt x="130" y="49"/>
                </a:lnTo>
                <a:lnTo>
                  <a:pt x="131" y="51"/>
                </a:lnTo>
                <a:lnTo>
                  <a:pt x="131" y="48"/>
                </a:lnTo>
                <a:lnTo>
                  <a:pt x="132" y="49"/>
                </a:lnTo>
                <a:lnTo>
                  <a:pt x="135" y="51"/>
                </a:lnTo>
                <a:lnTo>
                  <a:pt x="135" y="51"/>
                </a:lnTo>
                <a:lnTo>
                  <a:pt x="137" y="51"/>
                </a:lnTo>
                <a:lnTo>
                  <a:pt x="137" y="49"/>
                </a:lnTo>
                <a:lnTo>
                  <a:pt x="143" y="49"/>
                </a:lnTo>
                <a:lnTo>
                  <a:pt x="145" y="49"/>
                </a:lnTo>
                <a:lnTo>
                  <a:pt x="147" y="51"/>
                </a:lnTo>
                <a:lnTo>
                  <a:pt x="148" y="49"/>
                </a:lnTo>
                <a:lnTo>
                  <a:pt x="148" y="49"/>
                </a:lnTo>
                <a:lnTo>
                  <a:pt x="148" y="48"/>
                </a:lnTo>
                <a:lnTo>
                  <a:pt x="143" y="44"/>
                </a:lnTo>
                <a:lnTo>
                  <a:pt x="142" y="42"/>
                </a:lnTo>
                <a:lnTo>
                  <a:pt x="142" y="40"/>
                </a:lnTo>
                <a:lnTo>
                  <a:pt x="145" y="38"/>
                </a:lnTo>
                <a:lnTo>
                  <a:pt x="145" y="37"/>
                </a:lnTo>
                <a:lnTo>
                  <a:pt x="143" y="35"/>
                </a:lnTo>
                <a:lnTo>
                  <a:pt x="138" y="31"/>
                </a:lnTo>
                <a:lnTo>
                  <a:pt x="138" y="28"/>
                </a:lnTo>
                <a:lnTo>
                  <a:pt x="138" y="26"/>
                </a:lnTo>
                <a:lnTo>
                  <a:pt x="138" y="25"/>
                </a:lnTo>
                <a:lnTo>
                  <a:pt x="137" y="24"/>
                </a:lnTo>
                <a:lnTo>
                  <a:pt x="136" y="23"/>
                </a:lnTo>
                <a:lnTo>
                  <a:pt x="135" y="21"/>
                </a:lnTo>
                <a:lnTo>
                  <a:pt x="136" y="18"/>
                </a:lnTo>
                <a:lnTo>
                  <a:pt x="136" y="17"/>
                </a:lnTo>
                <a:lnTo>
                  <a:pt x="136" y="16"/>
                </a:lnTo>
                <a:lnTo>
                  <a:pt x="127" y="11"/>
                </a:lnTo>
                <a:lnTo>
                  <a:pt x="122" y="8"/>
                </a:lnTo>
                <a:lnTo>
                  <a:pt x="115" y="7"/>
                </a:lnTo>
                <a:lnTo>
                  <a:pt x="108" y="4"/>
                </a:lnTo>
                <a:lnTo>
                  <a:pt x="98" y="0"/>
                </a:lnTo>
                <a:lnTo>
                  <a:pt x="98" y="0"/>
                </a:lnTo>
                <a:lnTo>
                  <a:pt x="97" y="0"/>
                </a:lnTo>
                <a:lnTo>
                  <a:pt x="92" y="0"/>
                </a:lnTo>
                <a:lnTo>
                  <a:pt x="91" y="0"/>
                </a:lnTo>
                <a:lnTo>
                  <a:pt x="91" y="1"/>
                </a:lnTo>
                <a:lnTo>
                  <a:pt x="92" y="1"/>
                </a:lnTo>
                <a:lnTo>
                  <a:pt x="94" y="2"/>
                </a:lnTo>
                <a:lnTo>
                  <a:pt x="94" y="3"/>
                </a:lnTo>
                <a:lnTo>
                  <a:pt x="92" y="4"/>
                </a:lnTo>
                <a:lnTo>
                  <a:pt x="91" y="5"/>
                </a:lnTo>
                <a:lnTo>
                  <a:pt x="90" y="6"/>
                </a:lnTo>
                <a:lnTo>
                  <a:pt x="91" y="7"/>
                </a:lnTo>
                <a:lnTo>
                  <a:pt x="94" y="8"/>
                </a:lnTo>
                <a:lnTo>
                  <a:pt x="92" y="10"/>
                </a:lnTo>
                <a:lnTo>
                  <a:pt x="90" y="10"/>
                </a:lnTo>
                <a:lnTo>
                  <a:pt x="80" y="7"/>
                </a:lnTo>
                <a:lnTo>
                  <a:pt x="74" y="7"/>
                </a:lnTo>
                <a:lnTo>
                  <a:pt x="72" y="7"/>
                </a:lnTo>
                <a:lnTo>
                  <a:pt x="71" y="8"/>
                </a:lnTo>
                <a:lnTo>
                  <a:pt x="70" y="8"/>
                </a:lnTo>
                <a:lnTo>
                  <a:pt x="71" y="12"/>
                </a:lnTo>
                <a:lnTo>
                  <a:pt x="70" y="13"/>
                </a:lnTo>
                <a:lnTo>
                  <a:pt x="70" y="15"/>
                </a:lnTo>
                <a:lnTo>
                  <a:pt x="68" y="16"/>
                </a:lnTo>
                <a:lnTo>
                  <a:pt x="67" y="16"/>
                </a:lnTo>
                <a:lnTo>
                  <a:pt x="65" y="15"/>
                </a:lnTo>
                <a:lnTo>
                  <a:pt x="62" y="14"/>
                </a:lnTo>
                <a:lnTo>
                  <a:pt x="59" y="14"/>
                </a:lnTo>
                <a:lnTo>
                  <a:pt x="56" y="16"/>
                </a:lnTo>
                <a:lnTo>
                  <a:pt x="55" y="17"/>
                </a:lnTo>
                <a:lnTo>
                  <a:pt x="54" y="20"/>
                </a:lnTo>
                <a:lnTo>
                  <a:pt x="54" y="21"/>
                </a:lnTo>
                <a:lnTo>
                  <a:pt x="53" y="22"/>
                </a:lnTo>
                <a:lnTo>
                  <a:pt x="49" y="24"/>
                </a:lnTo>
                <a:lnTo>
                  <a:pt x="49" y="25"/>
                </a:lnTo>
                <a:lnTo>
                  <a:pt x="53" y="28"/>
                </a:lnTo>
                <a:lnTo>
                  <a:pt x="53" y="30"/>
                </a:lnTo>
                <a:lnTo>
                  <a:pt x="53" y="31"/>
                </a:lnTo>
                <a:lnTo>
                  <a:pt x="51" y="32"/>
                </a:lnTo>
                <a:lnTo>
                  <a:pt x="48" y="33"/>
                </a:lnTo>
                <a:lnTo>
                  <a:pt x="47" y="35"/>
                </a:lnTo>
                <a:lnTo>
                  <a:pt x="43" y="38"/>
                </a:lnTo>
                <a:lnTo>
                  <a:pt x="41" y="40"/>
                </a:lnTo>
                <a:lnTo>
                  <a:pt x="41" y="43"/>
                </a:lnTo>
                <a:lnTo>
                  <a:pt x="40" y="44"/>
                </a:lnTo>
                <a:lnTo>
                  <a:pt x="37" y="45"/>
                </a:lnTo>
                <a:lnTo>
                  <a:pt x="35" y="45"/>
                </a:lnTo>
                <a:lnTo>
                  <a:pt x="33" y="46"/>
                </a:lnTo>
                <a:lnTo>
                  <a:pt x="34" y="47"/>
                </a:lnTo>
                <a:lnTo>
                  <a:pt x="34" y="51"/>
                </a:lnTo>
                <a:lnTo>
                  <a:pt x="34" y="54"/>
                </a:lnTo>
                <a:lnTo>
                  <a:pt x="33" y="59"/>
                </a:lnTo>
                <a:lnTo>
                  <a:pt x="29" y="64"/>
                </a:lnTo>
                <a:lnTo>
                  <a:pt x="26" y="68"/>
                </a:lnTo>
                <a:lnTo>
                  <a:pt x="26" y="69"/>
                </a:lnTo>
                <a:lnTo>
                  <a:pt x="29" y="72"/>
                </a:lnTo>
                <a:lnTo>
                  <a:pt x="31" y="73"/>
                </a:lnTo>
                <a:lnTo>
                  <a:pt x="31" y="75"/>
                </a:lnTo>
                <a:lnTo>
                  <a:pt x="30" y="77"/>
                </a:lnTo>
                <a:lnTo>
                  <a:pt x="29" y="78"/>
                </a:lnTo>
                <a:lnTo>
                  <a:pt x="26" y="78"/>
                </a:lnTo>
                <a:lnTo>
                  <a:pt x="21" y="78"/>
                </a:lnTo>
                <a:lnTo>
                  <a:pt x="17" y="78"/>
                </a:lnTo>
                <a:lnTo>
                  <a:pt x="13" y="81"/>
                </a:lnTo>
                <a:lnTo>
                  <a:pt x="8" y="84"/>
                </a:lnTo>
                <a:lnTo>
                  <a:pt x="7" y="86"/>
                </a:lnTo>
                <a:lnTo>
                  <a:pt x="6" y="88"/>
                </a:lnTo>
                <a:lnTo>
                  <a:pt x="7" y="91"/>
                </a:lnTo>
                <a:lnTo>
                  <a:pt x="8" y="93"/>
                </a:lnTo>
                <a:lnTo>
                  <a:pt x="9" y="94"/>
                </a:lnTo>
                <a:lnTo>
                  <a:pt x="8" y="95"/>
                </a:lnTo>
                <a:lnTo>
                  <a:pt x="8" y="96"/>
                </a:lnTo>
                <a:lnTo>
                  <a:pt x="8" y="98"/>
                </a:lnTo>
                <a:lnTo>
                  <a:pt x="8" y="101"/>
                </a:lnTo>
                <a:lnTo>
                  <a:pt x="7" y="102"/>
                </a:lnTo>
                <a:lnTo>
                  <a:pt x="7" y="104"/>
                </a:lnTo>
                <a:lnTo>
                  <a:pt x="8" y="104"/>
                </a:lnTo>
                <a:lnTo>
                  <a:pt x="9" y="106"/>
                </a:lnTo>
                <a:lnTo>
                  <a:pt x="9" y="112"/>
                </a:lnTo>
                <a:lnTo>
                  <a:pt x="10" y="115"/>
                </a:lnTo>
                <a:lnTo>
                  <a:pt x="13" y="117"/>
                </a:lnTo>
                <a:lnTo>
                  <a:pt x="17" y="119"/>
                </a:lnTo>
                <a:lnTo>
                  <a:pt x="18" y="122"/>
                </a:lnTo>
                <a:lnTo>
                  <a:pt x="17" y="125"/>
                </a:lnTo>
                <a:lnTo>
                  <a:pt x="15" y="126"/>
                </a:lnTo>
                <a:lnTo>
                  <a:pt x="11" y="127"/>
                </a:lnTo>
                <a:lnTo>
                  <a:pt x="11" y="128"/>
                </a:lnTo>
                <a:lnTo>
                  <a:pt x="14" y="131"/>
                </a:lnTo>
                <a:lnTo>
                  <a:pt x="16" y="135"/>
                </a:lnTo>
                <a:lnTo>
                  <a:pt x="15" y="139"/>
                </a:lnTo>
                <a:lnTo>
                  <a:pt x="16" y="141"/>
                </a:lnTo>
                <a:lnTo>
                  <a:pt x="16" y="143"/>
                </a:lnTo>
                <a:lnTo>
                  <a:pt x="15" y="145"/>
                </a:lnTo>
                <a:lnTo>
                  <a:pt x="8" y="146"/>
                </a:lnTo>
                <a:lnTo>
                  <a:pt x="8" y="148"/>
                </a:lnTo>
                <a:lnTo>
                  <a:pt x="6" y="152"/>
                </a:lnTo>
                <a:lnTo>
                  <a:pt x="6" y="154"/>
                </a:lnTo>
                <a:lnTo>
                  <a:pt x="7" y="156"/>
                </a:lnTo>
                <a:lnTo>
                  <a:pt x="6" y="162"/>
                </a:lnTo>
                <a:lnTo>
                  <a:pt x="4" y="163"/>
                </a:lnTo>
                <a:lnTo>
                  <a:pt x="3" y="162"/>
                </a:lnTo>
                <a:lnTo>
                  <a:pt x="3" y="164"/>
                </a:lnTo>
                <a:lnTo>
                  <a:pt x="3" y="160"/>
                </a:lnTo>
                <a:lnTo>
                  <a:pt x="1" y="159"/>
                </a:lnTo>
              </a:path>
            </a:pathLst>
          </a:custGeom>
          <a:solidFill>
            <a:srgbClr val="00A6D3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66" name="Freeform 666"/>
          <p:cNvSpPr>
            <a:spLocks/>
          </p:cNvSpPr>
          <p:nvPr/>
        </p:nvSpPr>
        <p:spPr bwMode="auto">
          <a:xfrm>
            <a:off x="4943475" y="2184365"/>
            <a:ext cx="82550" cy="82550"/>
          </a:xfrm>
          <a:custGeom>
            <a:avLst/>
            <a:gdLst>
              <a:gd name="T0" fmla="*/ 29 w 52"/>
              <a:gd name="T1" fmla="*/ 52 h 52"/>
              <a:gd name="T2" fmla="*/ 29 w 52"/>
              <a:gd name="T3" fmla="*/ 48 h 52"/>
              <a:gd name="T4" fmla="*/ 28 w 52"/>
              <a:gd name="T5" fmla="*/ 46 h 52"/>
              <a:gd name="T6" fmla="*/ 27 w 52"/>
              <a:gd name="T7" fmla="*/ 43 h 52"/>
              <a:gd name="T8" fmla="*/ 27 w 52"/>
              <a:gd name="T9" fmla="*/ 39 h 52"/>
              <a:gd name="T10" fmla="*/ 27 w 52"/>
              <a:gd name="T11" fmla="*/ 35 h 52"/>
              <a:gd name="T12" fmla="*/ 25 w 52"/>
              <a:gd name="T13" fmla="*/ 28 h 52"/>
              <a:gd name="T14" fmla="*/ 21 w 52"/>
              <a:gd name="T15" fmla="*/ 24 h 52"/>
              <a:gd name="T16" fmla="*/ 17 w 52"/>
              <a:gd name="T17" fmla="*/ 19 h 52"/>
              <a:gd name="T18" fmla="*/ 14 w 52"/>
              <a:gd name="T19" fmla="*/ 15 h 52"/>
              <a:gd name="T20" fmla="*/ 11 w 52"/>
              <a:gd name="T21" fmla="*/ 12 h 52"/>
              <a:gd name="T22" fmla="*/ 9 w 52"/>
              <a:gd name="T23" fmla="*/ 8 h 52"/>
              <a:gd name="T24" fmla="*/ 6 w 52"/>
              <a:gd name="T25" fmla="*/ 5 h 52"/>
              <a:gd name="T26" fmla="*/ 1 w 52"/>
              <a:gd name="T27" fmla="*/ 3 h 52"/>
              <a:gd name="T28" fmla="*/ 0 w 52"/>
              <a:gd name="T29" fmla="*/ 3 h 52"/>
              <a:gd name="T30" fmla="*/ 1 w 52"/>
              <a:gd name="T31" fmla="*/ 1 h 52"/>
              <a:gd name="T32" fmla="*/ 2 w 52"/>
              <a:gd name="T33" fmla="*/ 0 h 52"/>
              <a:gd name="T34" fmla="*/ 5 w 52"/>
              <a:gd name="T35" fmla="*/ 1 h 52"/>
              <a:gd name="T36" fmla="*/ 7 w 52"/>
              <a:gd name="T37" fmla="*/ 1 h 52"/>
              <a:gd name="T38" fmla="*/ 11 w 52"/>
              <a:gd name="T39" fmla="*/ 0 h 52"/>
              <a:gd name="T40" fmla="*/ 15 w 52"/>
              <a:gd name="T41" fmla="*/ 1 h 52"/>
              <a:gd name="T42" fmla="*/ 17 w 52"/>
              <a:gd name="T43" fmla="*/ 1 h 52"/>
              <a:gd name="T44" fmla="*/ 22 w 52"/>
              <a:gd name="T45" fmla="*/ 4 h 52"/>
              <a:gd name="T46" fmla="*/ 25 w 52"/>
              <a:gd name="T47" fmla="*/ 5 h 52"/>
              <a:gd name="T48" fmla="*/ 29 w 52"/>
              <a:gd name="T49" fmla="*/ 4 h 52"/>
              <a:gd name="T50" fmla="*/ 30 w 52"/>
              <a:gd name="T51" fmla="*/ 5 h 52"/>
              <a:gd name="T52" fmla="*/ 34 w 52"/>
              <a:gd name="T53" fmla="*/ 7 h 52"/>
              <a:gd name="T54" fmla="*/ 36 w 52"/>
              <a:gd name="T55" fmla="*/ 7 h 52"/>
              <a:gd name="T56" fmla="*/ 37 w 52"/>
              <a:gd name="T57" fmla="*/ 8 h 52"/>
              <a:gd name="T58" fmla="*/ 38 w 52"/>
              <a:gd name="T59" fmla="*/ 11 h 52"/>
              <a:gd name="T60" fmla="*/ 38 w 52"/>
              <a:gd name="T61" fmla="*/ 12 h 52"/>
              <a:gd name="T62" fmla="*/ 38 w 52"/>
              <a:gd name="T63" fmla="*/ 15 h 52"/>
              <a:gd name="T64" fmla="*/ 39 w 52"/>
              <a:gd name="T65" fmla="*/ 16 h 52"/>
              <a:gd name="T66" fmla="*/ 40 w 52"/>
              <a:gd name="T67" fmla="*/ 18 h 52"/>
              <a:gd name="T68" fmla="*/ 42 w 52"/>
              <a:gd name="T69" fmla="*/ 18 h 52"/>
              <a:gd name="T70" fmla="*/ 44 w 52"/>
              <a:gd name="T71" fmla="*/ 21 h 52"/>
              <a:gd name="T72" fmla="*/ 44 w 52"/>
              <a:gd name="T73" fmla="*/ 22 h 52"/>
              <a:gd name="T74" fmla="*/ 46 w 52"/>
              <a:gd name="T75" fmla="*/ 25 h 52"/>
              <a:gd name="T76" fmla="*/ 50 w 52"/>
              <a:gd name="T77" fmla="*/ 27 h 52"/>
              <a:gd name="T78" fmla="*/ 51 w 52"/>
              <a:gd name="T79" fmla="*/ 28 h 52"/>
              <a:gd name="T80" fmla="*/ 51 w 52"/>
              <a:gd name="T81" fmla="*/ 31 h 52"/>
              <a:gd name="T82" fmla="*/ 51 w 52"/>
              <a:gd name="T83" fmla="*/ 32 h 52"/>
              <a:gd name="T84" fmla="*/ 52 w 52"/>
              <a:gd name="T85" fmla="*/ 34 h 52"/>
              <a:gd name="T86" fmla="*/ 52 w 52"/>
              <a:gd name="T87" fmla="*/ 35 h 52"/>
              <a:gd name="T88" fmla="*/ 50 w 52"/>
              <a:gd name="T89" fmla="*/ 36 h 52"/>
              <a:gd name="T90" fmla="*/ 44 w 52"/>
              <a:gd name="T91" fmla="*/ 35 h 52"/>
              <a:gd name="T92" fmla="*/ 42 w 52"/>
              <a:gd name="T93" fmla="*/ 36 h 52"/>
              <a:gd name="T94" fmla="*/ 41 w 52"/>
              <a:gd name="T95" fmla="*/ 34 h 52"/>
              <a:gd name="T96" fmla="*/ 39 w 52"/>
              <a:gd name="T97" fmla="*/ 35 h 52"/>
              <a:gd name="T98" fmla="*/ 38 w 52"/>
              <a:gd name="T99" fmla="*/ 37 h 52"/>
              <a:gd name="T100" fmla="*/ 38 w 52"/>
              <a:gd name="T101" fmla="*/ 43 h 52"/>
              <a:gd name="T102" fmla="*/ 37 w 52"/>
              <a:gd name="T103" fmla="*/ 43 h 52"/>
              <a:gd name="T104" fmla="*/ 36 w 52"/>
              <a:gd name="T105" fmla="*/ 44 h 52"/>
              <a:gd name="T106" fmla="*/ 36 w 52"/>
              <a:gd name="T107" fmla="*/ 46 h 52"/>
              <a:gd name="T108" fmla="*/ 34 w 52"/>
              <a:gd name="T109" fmla="*/ 47 h 52"/>
              <a:gd name="T110" fmla="*/ 34 w 52"/>
              <a:gd name="T111" fmla="*/ 49 h 52"/>
              <a:gd name="T112" fmla="*/ 34 w 52"/>
              <a:gd name="T113" fmla="*/ 51 h 52"/>
              <a:gd name="T114" fmla="*/ 31 w 52"/>
              <a:gd name="T115" fmla="*/ 52 h 52"/>
              <a:gd name="T116" fmla="*/ 29 w 52"/>
              <a:gd name="T117" fmla="*/ 5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2" h="52">
                <a:moveTo>
                  <a:pt x="29" y="52"/>
                </a:moveTo>
                <a:lnTo>
                  <a:pt x="29" y="48"/>
                </a:lnTo>
                <a:lnTo>
                  <a:pt x="28" y="46"/>
                </a:lnTo>
                <a:lnTo>
                  <a:pt x="27" y="43"/>
                </a:lnTo>
                <a:lnTo>
                  <a:pt x="27" y="39"/>
                </a:lnTo>
                <a:lnTo>
                  <a:pt x="27" y="35"/>
                </a:lnTo>
                <a:lnTo>
                  <a:pt x="25" y="28"/>
                </a:lnTo>
                <a:lnTo>
                  <a:pt x="21" y="24"/>
                </a:lnTo>
                <a:lnTo>
                  <a:pt x="17" y="19"/>
                </a:lnTo>
                <a:lnTo>
                  <a:pt x="14" y="15"/>
                </a:lnTo>
                <a:lnTo>
                  <a:pt x="11" y="12"/>
                </a:lnTo>
                <a:lnTo>
                  <a:pt x="9" y="8"/>
                </a:lnTo>
                <a:lnTo>
                  <a:pt x="6" y="5"/>
                </a:lnTo>
                <a:lnTo>
                  <a:pt x="1" y="3"/>
                </a:lnTo>
                <a:lnTo>
                  <a:pt x="0" y="3"/>
                </a:lnTo>
                <a:lnTo>
                  <a:pt x="1" y="1"/>
                </a:lnTo>
                <a:lnTo>
                  <a:pt x="2" y="0"/>
                </a:lnTo>
                <a:lnTo>
                  <a:pt x="5" y="1"/>
                </a:lnTo>
                <a:lnTo>
                  <a:pt x="7" y="1"/>
                </a:lnTo>
                <a:lnTo>
                  <a:pt x="11" y="0"/>
                </a:lnTo>
                <a:lnTo>
                  <a:pt x="15" y="1"/>
                </a:lnTo>
                <a:lnTo>
                  <a:pt x="17" y="1"/>
                </a:lnTo>
                <a:lnTo>
                  <a:pt x="22" y="4"/>
                </a:lnTo>
                <a:lnTo>
                  <a:pt x="25" y="5"/>
                </a:lnTo>
                <a:lnTo>
                  <a:pt x="29" y="4"/>
                </a:lnTo>
                <a:lnTo>
                  <a:pt x="30" y="5"/>
                </a:lnTo>
                <a:lnTo>
                  <a:pt x="34" y="7"/>
                </a:lnTo>
                <a:lnTo>
                  <a:pt x="36" y="7"/>
                </a:lnTo>
                <a:lnTo>
                  <a:pt x="37" y="8"/>
                </a:lnTo>
                <a:lnTo>
                  <a:pt x="38" y="11"/>
                </a:lnTo>
                <a:lnTo>
                  <a:pt x="38" y="12"/>
                </a:lnTo>
                <a:lnTo>
                  <a:pt x="38" y="15"/>
                </a:lnTo>
                <a:lnTo>
                  <a:pt x="39" y="16"/>
                </a:lnTo>
                <a:lnTo>
                  <a:pt x="40" y="18"/>
                </a:lnTo>
                <a:lnTo>
                  <a:pt x="42" y="18"/>
                </a:lnTo>
                <a:lnTo>
                  <a:pt x="44" y="21"/>
                </a:lnTo>
                <a:lnTo>
                  <a:pt x="44" y="22"/>
                </a:lnTo>
                <a:lnTo>
                  <a:pt x="46" y="25"/>
                </a:lnTo>
                <a:lnTo>
                  <a:pt x="50" y="27"/>
                </a:lnTo>
                <a:lnTo>
                  <a:pt x="51" y="28"/>
                </a:lnTo>
                <a:lnTo>
                  <a:pt x="51" y="31"/>
                </a:lnTo>
                <a:lnTo>
                  <a:pt x="51" y="32"/>
                </a:lnTo>
                <a:lnTo>
                  <a:pt x="52" y="34"/>
                </a:lnTo>
                <a:lnTo>
                  <a:pt x="52" y="35"/>
                </a:lnTo>
                <a:lnTo>
                  <a:pt x="50" y="36"/>
                </a:lnTo>
                <a:lnTo>
                  <a:pt x="44" y="35"/>
                </a:lnTo>
                <a:lnTo>
                  <a:pt x="42" y="36"/>
                </a:lnTo>
                <a:lnTo>
                  <a:pt x="41" y="34"/>
                </a:lnTo>
                <a:lnTo>
                  <a:pt x="39" y="35"/>
                </a:lnTo>
                <a:lnTo>
                  <a:pt x="38" y="37"/>
                </a:lnTo>
                <a:lnTo>
                  <a:pt x="38" y="43"/>
                </a:lnTo>
                <a:lnTo>
                  <a:pt x="37" y="43"/>
                </a:lnTo>
                <a:lnTo>
                  <a:pt x="36" y="44"/>
                </a:lnTo>
                <a:lnTo>
                  <a:pt x="36" y="46"/>
                </a:lnTo>
                <a:lnTo>
                  <a:pt x="34" y="47"/>
                </a:lnTo>
                <a:lnTo>
                  <a:pt x="34" y="49"/>
                </a:lnTo>
                <a:lnTo>
                  <a:pt x="34" y="51"/>
                </a:lnTo>
                <a:lnTo>
                  <a:pt x="31" y="52"/>
                </a:lnTo>
                <a:lnTo>
                  <a:pt x="29" y="5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67" name="Freeform 667"/>
          <p:cNvSpPr>
            <a:spLocks/>
          </p:cNvSpPr>
          <p:nvPr/>
        </p:nvSpPr>
        <p:spPr bwMode="auto">
          <a:xfrm>
            <a:off x="4943475" y="2184365"/>
            <a:ext cx="82550" cy="82550"/>
          </a:xfrm>
          <a:custGeom>
            <a:avLst/>
            <a:gdLst>
              <a:gd name="T0" fmla="*/ 29 w 52"/>
              <a:gd name="T1" fmla="*/ 52 h 52"/>
              <a:gd name="T2" fmla="*/ 29 w 52"/>
              <a:gd name="T3" fmla="*/ 48 h 52"/>
              <a:gd name="T4" fmla="*/ 28 w 52"/>
              <a:gd name="T5" fmla="*/ 46 h 52"/>
              <a:gd name="T6" fmla="*/ 27 w 52"/>
              <a:gd name="T7" fmla="*/ 43 h 52"/>
              <a:gd name="T8" fmla="*/ 27 w 52"/>
              <a:gd name="T9" fmla="*/ 39 h 52"/>
              <a:gd name="T10" fmla="*/ 27 w 52"/>
              <a:gd name="T11" fmla="*/ 35 h 52"/>
              <a:gd name="T12" fmla="*/ 25 w 52"/>
              <a:gd name="T13" fmla="*/ 28 h 52"/>
              <a:gd name="T14" fmla="*/ 21 w 52"/>
              <a:gd name="T15" fmla="*/ 24 h 52"/>
              <a:gd name="T16" fmla="*/ 17 w 52"/>
              <a:gd name="T17" fmla="*/ 19 h 52"/>
              <a:gd name="T18" fmla="*/ 14 w 52"/>
              <a:gd name="T19" fmla="*/ 15 h 52"/>
              <a:gd name="T20" fmla="*/ 11 w 52"/>
              <a:gd name="T21" fmla="*/ 12 h 52"/>
              <a:gd name="T22" fmla="*/ 9 w 52"/>
              <a:gd name="T23" fmla="*/ 8 h 52"/>
              <a:gd name="T24" fmla="*/ 6 w 52"/>
              <a:gd name="T25" fmla="*/ 5 h 52"/>
              <a:gd name="T26" fmla="*/ 1 w 52"/>
              <a:gd name="T27" fmla="*/ 3 h 52"/>
              <a:gd name="T28" fmla="*/ 0 w 52"/>
              <a:gd name="T29" fmla="*/ 3 h 52"/>
              <a:gd name="T30" fmla="*/ 1 w 52"/>
              <a:gd name="T31" fmla="*/ 1 h 52"/>
              <a:gd name="T32" fmla="*/ 2 w 52"/>
              <a:gd name="T33" fmla="*/ 0 h 52"/>
              <a:gd name="T34" fmla="*/ 5 w 52"/>
              <a:gd name="T35" fmla="*/ 1 h 52"/>
              <a:gd name="T36" fmla="*/ 7 w 52"/>
              <a:gd name="T37" fmla="*/ 1 h 52"/>
              <a:gd name="T38" fmla="*/ 11 w 52"/>
              <a:gd name="T39" fmla="*/ 0 h 52"/>
              <a:gd name="T40" fmla="*/ 15 w 52"/>
              <a:gd name="T41" fmla="*/ 1 h 52"/>
              <a:gd name="T42" fmla="*/ 17 w 52"/>
              <a:gd name="T43" fmla="*/ 1 h 52"/>
              <a:gd name="T44" fmla="*/ 22 w 52"/>
              <a:gd name="T45" fmla="*/ 4 h 52"/>
              <a:gd name="T46" fmla="*/ 25 w 52"/>
              <a:gd name="T47" fmla="*/ 5 h 52"/>
              <a:gd name="T48" fmla="*/ 29 w 52"/>
              <a:gd name="T49" fmla="*/ 4 h 52"/>
              <a:gd name="T50" fmla="*/ 30 w 52"/>
              <a:gd name="T51" fmla="*/ 5 h 52"/>
              <a:gd name="T52" fmla="*/ 34 w 52"/>
              <a:gd name="T53" fmla="*/ 7 h 52"/>
              <a:gd name="T54" fmla="*/ 36 w 52"/>
              <a:gd name="T55" fmla="*/ 7 h 52"/>
              <a:gd name="T56" fmla="*/ 37 w 52"/>
              <a:gd name="T57" fmla="*/ 8 h 52"/>
              <a:gd name="T58" fmla="*/ 38 w 52"/>
              <a:gd name="T59" fmla="*/ 11 h 52"/>
              <a:gd name="T60" fmla="*/ 38 w 52"/>
              <a:gd name="T61" fmla="*/ 12 h 52"/>
              <a:gd name="T62" fmla="*/ 38 w 52"/>
              <a:gd name="T63" fmla="*/ 15 h 52"/>
              <a:gd name="T64" fmla="*/ 39 w 52"/>
              <a:gd name="T65" fmla="*/ 16 h 52"/>
              <a:gd name="T66" fmla="*/ 40 w 52"/>
              <a:gd name="T67" fmla="*/ 18 h 52"/>
              <a:gd name="T68" fmla="*/ 42 w 52"/>
              <a:gd name="T69" fmla="*/ 18 h 52"/>
              <a:gd name="T70" fmla="*/ 44 w 52"/>
              <a:gd name="T71" fmla="*/ 21 h 52"/>
              <a:gd name="T72" fmla="*/ 44 w 52"/>
              <a:gd name="T73" fmla="*/ 22 h 52"/>
              <a:gd name="T74" fmla="*/ 46 w 52"/>
              <a:gd name="T75" fmla="*/ 25 h 52"/>
              <a:gd name="T76" fmla="*/ 50 w 52"/>
              <a:gd name="T77" fmla="*/ 27 h 52"/>
              <a:gd name="T78" fmla="*/ 51 w 52"/>
              <a:gd name="T79" fmla="*/ 28 h 52"/>
              <a:gd name="T80" fmla="*/ 51 w 52"/>
              <a:gd name="T81" fmla="*/ 31 h 52"/>
              <a:gd name="T82" fmla="*/ 51 w 52"/>
              <a:gd name="T83" fmla="*/ 32 h 52"/>
              <a:gd name="T84" fmla="*/ 52 w 52"/>
              <a:gd name="T85" fmla="*/ 34 h 52"/>
              <a:gd name="T86" fmla="*/ 52 w 52"/>
              <a:gd name="T87" fmla="*/ 35 h 52"/>
              <a:gd name="T88" fmla="*/ 50 w 52"/>
              <a:gd name="T89" fmla="*/ 36 h 52"/>
              <a:gd name="T90" fmla="*/ 44 w 52"/>
              <a:gd name="T91" fmla="*/ 35 h 52"/>
              <a:gd name="T92" fmla="*/ 42 w 52"/>
              <a:gd name="T93" fmla="*/ 36 h 52"/>
              <a:gd name="T94" fmla="*/ 41 w 52"/>
              <a:gd name="T95" fmla="*/ 34 h 52"/>
              <a:gd name="T96" fmla="*/ 39 w 52"/>
              <a:gd name="T97" fmla="*/ 35 h 52"/>
              <a:gd name="T98" fmla="*/ 38 w 52"/>
              <a:gd name="T99" fmla="*/ 37 h 52"/>
              <a:gd name="T100" fmla="*/ 38 w 52"/>
              <a:gd name="T101" fmla="*/ 43 h 52"/>
              <a:gd name="T102" fmla="*/ 37 w 52"/>
              <a:gd name="T103" fmla="*/ 43 h 52"/>
              <a:gd name="T104" fmla="*/ 36 w 52"/>
              <a:gd name="T105" fmla="*/ 44 h 52"/>
              <a:gd name="T106" fmla="*/ 36 w 52"/>
              <a:gd name="T107" fmla="*/ 46 h 52"/>
              <a:gd name="T108" fmla="*/ 34 w 52"/>
              <a:gd name="T109" fmla="*/ 47 h 52"/>
              <a:gd name="T110" fmla="*/ 34 w 52"/>
              <a:gd name="T111" fmla="*/ 49 h 52"/>
              <a:gd name="T112" fmla="*/ 34 w 52"/>
              <a:gd name="T113" fmla="*/ 51 h 52"/>
              <a:gd name="T114" fmla="*/ 31 w 52"/>
              <a:gd name="T115" fmla="*/ 52 h 52"/>
              <a:gd name="T116" fmla="*/ 29 w 52"/>
              <a:gd name="T117" fmla="*/ 5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2" h="52">
                <a:moveTo>
                  <a:pt x="29" y="52"/>
                </a:moveTo>
                <a:lnTo>
                  <a:pt x="29" y="48"/>
                </a:lnTo>
                <a:lnTo>
                  <a:pt x="28" y="46"/>
                </a:lnTo>
                <a:lnTo>
                  <a:pt x="27" y="43"/>
                </a:lnTo>
                <a:lnTo>
                  <a:pt x="27" y="39"/>
                </a:lnTo>
                <a:lnTo>
                  <a:pt x="27" y="35"/>
                </a:lnTo>
                <a:lnTo>
                  <a:pt x="25" y="28"/>
                </a:lnTo>
                <a:lnTo>
                  <a:pt x="21" y="24"/>
                </a:lnTo>
                <a:lnTo>
                  <a:pt x="17" y="19"/>
                </a:lnTo>
                <a:lnTo>
                  <a:pt x="14" y="15"/>
                </a:lnTo>
                <a:lnTo>
                  <a:pt x="11" y="12"/>
                </a:lnTo>
                <a:lnTo>
                  <a:pt x="9" y="8"/>
                </a:lnTo>
                <a:lnTo>
                  <a:pt x="6" y="5"/>
                </a:lnTo>
                <a:lnTo>
                  <a:pt x="1" y="3"/>
                </a:lnTo>
                <a:lnTo>
                  <a:pt x="0" y="3"/>
                </a:lnTo>
                <a:lnTo>
                  <a:pt x="1" y="1"/>
                </a:lnTo>
                <a:lnTo>
                  <a:pt x="2" y="0"/>
                </a:lnTo>
                <a:lnTo>
                  <a:pt x="5" y="1"/>
                </a:lnTo>
                <a:lnTo>
                  <a:pt x="7" y="1"/>
                </a:lnTo>
                <a:lnTo>
                  <a:pt x="11" y="0"/>
                </a:lnTo>
                <a:lnTo>
                  <a:pt x="15" y="1"/>
                </a:lnTo>
                <a:lnTo>
                  <a:pt x="17" y="1"/>
                </a:lnTo>
                <a:lnTo>
                  <a:pt x="22" y="4"/>
                </a:lnTo>
                <a:lnTo>
                  <a:pt x="25" y="5"/>
                </a:lnTo>
                <a:lnTo>
                  <a:pt x="29" y="4"/>
                </a:lnTo>
                <a:lnTo>
                  <a:pt x="30" y="5"/>
                </a:lnTo>
                <a:lnTo>
                  <a:pt x="34" y="7"/>
                </a:lnTo>
                <a:lnTo>
                  <a:pt x="36" y="7"/>
                </a:lnTo>
                <a:lnTo>
                  <a:pt x="37" y="8"/>
                </a:lnTo>
                <a:lnTo>
                  <a:pt x="38" y="11"/>
                </a:lnTo>
                <a:lnTo>
                  <a:pt x="38" y="12"/>
                </a:lnTo>
                <a:lnTo>
                  <a:pt x="38" y="15"/>
                </a:lnTo>
                <a:lnTo>
                  <a:pt x="39" y="16"/>
                </a:lnTo>
                <a:lnTo>
                  <a:pt x="40" y="18"/>
                </a:lnTo>
                <a:lnTo>
                  <a:pt x="42" y="18"/>
                </a:lnTo>
                <a:lnTo>
                  <a:pt x="44" y="21"/>
                </a:lnTo>
                <a:lnTo>
                  <a:pt x="44" y="22"/>
                </a:lnTo>
                <a:lnTo>
                  <a:pt x="46" y="25"/>
                </a:lnTo>
                <a:lnTo>
                  <a:pt x="50" y="27"/>
                </a:lnTo>
                <a:lnTo>
                  <a:pt x="51" y="28"/>
                </a:lnTo>
                <a:lnTo>
                  <a:pt x="51" y="31"/>
                </a:lnTo>
                <a:lnTo>
                  <a:pt x="51" y="32"/>
                </a:lnTo>
                <a:lnTo>
                  <a:pt x="52" y="34"/>
                </a:lnTo>
                <a:lnTo>
                  <a:pt x="52" y="35"/>
                </a:lnTo>
                <a:lnTo>
                  <a:pt x="50" y="36"/>
                </a:lnTo>
                <a:lnTo>
                  <a:pt x="44" y="35"/>
                </a:lnTo>
                <a:lnTo>
                  <a:pt x="42" y="36"/>
                </a:lnTo>
                <a:lnTo>
                  <a:pt x="41" y="34"/>
                </a:lnTo>
                <a:lnTo>
                  <a:pt x="39" y="35"/>
                </a:lnTo>
                <a:lnTo>
                  <a:pt x="38" y="37"/>
                </a:lnTo>
                <a:lnTo>
                  <a:pt x="38" y="43"/>
                </a:lnTo>
                <a:lnTo>
                  <a:pt x="37" y="43"/>
                </a:lnTo>
                <a:lnTo>
                  <a:pt x="36" y="44"/>
                </a:lnTo>
                <a:lnTo>
                  <a:pt x="36" y="46"/>
                </a:lnTo>
                <a:lnTo>
                  <a:pt x="34" y="47"/>
                </a:lnTo>
                <a:lnTo>
                  <a:pt x="34" y="49"/>
                </a:lnTo>
                <a:lnTo>
                  <a:pt x="34" y="51"/>
                </a:lnTo>
                <a:lnTo>
                  <a:pt x="31" y="52"/>
                </a:lnTo>
                <a:lnTo>
                  <a:pt x="29" y="5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68" name="Freeform 668"/>
          <p:cNvSpPr>
            <a:spLocks/>
          </p:cNvSpPr>
          <p:nvPr/>
        </p:nvSpPr>
        <p:spPr bwMode="auto">
          <a:xfrm>
            <a:off x="4560888" y="2170078"/>
            <a:ext cx="171450" cy="69850"/>
          </a:xfrm>
          <a:custGeom>
            <a:avLst/>
            <a:gdLst>
              <a:gd name="T0" fmla="*/ 59 w 108"/>
              <a:gd name="T1" fmla="*/ 5 h 44"/>
              <a:gd name="T2" fmla="*/ 54 w 108"/>
              <a:gd name="T3" fmla="*/ 9 h 44"/>
              <a:gd name="T4" fmla="*/ 48 w 108"/>
              <a:gd name="T5" fmla="*/ 13 h 44"/>
              <a:gd name="T6" fmla="*/ 47 w 108"/>
              <a:gd name="T7" fmla="*/ 19 h 44"/>
              <a:gd name="T8" fmla="*/ 49 w 108"/>
              <a:gd name="T9" fmla="*/ 24 h 44"/>
              <a:gd name="T10" fmla="*/ 46 w 108"/>
              <a:gd name="T11" fmla="*/ 23 h 44"/>
              <a:gd name="T12" fmla="*/ 39 w 108"/>
              <a:gd name="T13" fmla="*/ 22 h 44"/>
              <a:gd name="T14" fmla="*/ 30 w 108"/>
              <a:gd name="T15" fmla="*/ 24 h 44"/>
              <a:gd name="T16" fmla="*/ 22 w 108"/>
              <a:gd name="T17" fmla="*/ 27 h 44"/>
              <a:gd name="T18" fmla="*/ 15 w 108"/>
              <a:gd name="T19" fmla="*/ 25 h 44"/>
              <a:gd name="T20" fmla="*/ 13 w 108"/>
              <a:gd name="T21" fmla="*/ 27 h 44"/>
              <a:gd name="T22" fmla="*/ 9 w 108"/>
              <a:gd name="T23" fmla="*/ 27 h 44"/>
              <a:gd name="T24" fmla="*/ 5 w 108"/>
              <a:gd name="T25" fmla="*/ 25 h 44"/>
              <a:gd name="T26" fmla="*/ 0 w 108"/>
              <a:gd name="T27" fmla="*/ 26 h 44"/>
              <a:gd name="T28" fmla="*/ 5 w 108"/>
              <a:gd name="T29" fmla="*/ 28 h 44"/>
              <a:gd name="T30" fmla="*/ 5 w 108"/>
              <a:gd name="T31" fmla="*/ 33 h 44"/>
              <a:gd name="T32" fmla="*/ 5 w 108"/>
              <a:gd name="T33" fmla="*/ 35 h 44"/>
              <a:gd name="T34" fmla="*/ 10 w 108"/>
              <a:gd name="T35" fmla="*/ 37 h 44"/>
              <a:gd name="T36" fmla="*/ 14 w 108"/>
              <a:gd name="T37" fmla="*/ 37 h 44"/>
              <a:gd name="T38" fmla="*/ 18 w 108"/>
              <a:gd name="T39" fmla="*/ 38 h 44"/>
              <a:gd name="T40" fmla="*/ 27 w 108"/>
              <a:gd name="T41" fmla="*/ 35 h 44"/>
              <a:gd name="T42" fmla="*/ 35 w 108"/>
              <a:gd name="T43" fmla="*/ 34 h 44"/>
              <a:gd name="T44" fmla="*/ 38 w 108"/>
              <a:gd name="T45" fmla="*/ 33 h 44"/>
              <a:gd name="T46" fmla="*/ 38 w 108"/>
              <a:gd name="T47" fmla="*/ 35 h 44"/>
              <a:gd name="T48" fmla="*/ 40 w 108"/>
              <a:gd name="T49" fmla="*/ 38 h 44"/>
              <a:gd name="T50" fmla="*/ 45 w 108"/>
              <a:gd name="T51" fmla="*/ 40 h 44"/>
              <a:gd name="T52" fmla="*/ 55 w 108"/>
              <a:gd name="T53" fmla="*/ 43 h 44"/>
              <a:gd name="T54" fmla="*/ 60 w 108"/>
              <a:gd name="T55" fmla="*/ 44 h 44"/>
              <a:gd name="T56" fmla="*/ 73 w 108"/>
              <a:gd name="T57" fmla="*/ 44 h 44"/>
              <a:gd name="T58" fmla="*/ 77 w 108"/>
              <a:gd name="T59" fmla="*/ 41 h 44"/>
              <a:gd name="T60" fmla="*/ 85 w 108"/>
              <a:gd name="T61" fmla="*/ 41 h 44"/>
              <a:gd name="T62" fmla="*/ 87 w 108"/>
              <a:gd name="T63" fmla="*/ 38 h 44"/>
              <a:gd name="T64" fmla="*/ 93 w 108"/>
              <a:gd name="T65" fmla="*/ 37 h 44"/>
              <a:gd name="T66" fmla="*/ 97 w 108"/>
              <a:gd name="T67" fmla="*/ 34 h 44"/>
              <a:gd name="T68" fmla="*/ 99 w 108"/>
              <a:gd name="T69" fmla="*/ 32 h 44"/>
              <a:gd name="T70" fmla="*/ 101 w 108"/>
              <a:gd name="T71" fmla="*/ 25 h 44"/>
              <a:gd name="T72" fmla="*/ 100 w 108"/>
              <a:gd name="T73" fmla="*/ 22 h 44"/>
              <a:gd name="T74" fmla="*/ 108 w 108"/>
              <a:gd name="T75" fmla="*/ 20 h 44"/>
              <a:gd name="T76" fmla="*/ 106 w 108"/>
              <a:gd name="T77" fmla="*/ 13 h 44"/>
              <a:gd name="T78" fmla="*/ 104 w 108"/>
              <a:gd name="T79" fmla="*/ 7 h 44"/>
              <a:gd name="T80" fmla="*/ 101 w 108"/>
              <a:gd name="T81" fmla="*/ 3 h 44"/>
              <a:gd name="T82" fmla="*/ 88 w 108"/>
              <a:gd name="T83" fmla="*/ 1 h 44"/>
              <a:gd name="T84" fmla="*/ 77 w 108"/>
              <a:gd name="T85" fmla="*/ 0 h 44"/>
              <a:gd name="T86" fmla="*/ 75 w 108"/>
              <a:gd name="T87" fmla="*/ 3 h 44"/>
              <a:gd name="T88" fmla="*/ 70 w 108"/>
              <a:gd name="T89" fmla="*/ 6 h 44"/>
              <a:gd name="T90" fmla="*/ 65 w 108"/>
              <a:gd name="T91" fmla="*/ 6 h 44"/>
              <a:gd name="T92" fmla="*/ 59 w 108"/>
              <a:gd name="T93" fmla="*/ 4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8" h="44">
                <a:moveTo>
                  <a:pt x="59" y="4"/>
                </a:moveTo>
                <a:lnTo>
                  <a:pt x="59" y="5"/>
                </a:lnTo>
                <a:lnTo>
                  <a:pt x="55" y="7"/>
                </a:lnTo>
                <a:lnTo>
                  <a:pt x="54" y="9"/>
                </a:lnTo>
                <a:lnTo>
                  <a:pt x="54" y="11"/>
                </a:lnTo>
                <a:lnTo>
                  <a:pt x="48" y="13"/>
                </a:lnTo>
                <a:lnTo>
                  <a:pt x="47" y="15"/>
                </a:lnTo>
                <a:lnTo>
                  <a:pt x="47" y="19"/>
                </a:lnTo>
                <a:lnTo>
                  <a:pt x="49" y="22"/>
                </a:lnTo>
                <a:lnTo>
                  <a:pt x="49" y="24"/>
                </a:lnTo>
                <a:lnTo>
                  <a:pt x="47" y="24"/>
                </a:lnTo>
                <a:lnTo>
                  <a:pt x="46" y="23"/>
                </a:lnTo>
                <a:lnTo>
                  <a:pt x="43" y="23"/>
                </a:lnTo>
                <a:lnTo>
                  <a:pt x="39" y="22"/>
                </a:lnTo>
                <a:lnTo>
                  <a:pt x="38" y="23"/>
                </a:lnTo>
                <a:lnTo>
                  <a:pt x="30" y="24"/>
                </a:lnTo>
                <a:lnTo>
                  <a:pt x="25" y="27"/>
                </a:lnTo>
                <a:lnTo>
                  <a:pt x="22" y="27"/>
                </a:lnTo>
                <a:lnTo>
                  <a:pt x="18" y="25"/>
                </a:lnTo>
                <a:lnTo>
                  <a:pt x="15" y="25"/>
                </a:lnTo>
                <a:lnTo>
                  <a:pt x="14" y="26"/>
                </a:lnTo>
                <a:lnTo>
                  <a:pt x="13" y="27"/>
                </a:lnTo>
                <a:lnTo>
                  <a:pt x="12" y="28"/>
                </a:lnTo>
                <a:lnTo>
                  <a:pt x="9" y="27"/>
                </a:lnTo>
                <a:lnTo>
                  <a:pt x="7" y="25"/>
                </a:lnTo>
                <a:lnTo>
                  <a:pt x="5" y="25"/>
                </a:lnTo>
                <a:lnTo>
                  <a:pt x="3" y="25"/>
                </a:lnTo>
                <a:lnTo>
                  <a:pt x="0" y="26"/>
                </a:lnTo>
                <a:lnTo>
                  <a:pt x="3" y="27"/>
                </a:lnTo>
                <a:lnTo>
                  <a:pt x="5" y="28"/>
                </a:lnTo>
                <a:lnTo>
                  <a:pt x="5" y="31"/>
                </a:lnTo>
                <a:lnTo>
                  <a:pt x="5" y="33"/>
                </a:lnTo>
                <a:lnTo>
                  <a:pt x="4" y="34"/>
                </a:lnTo>
                <a:lnTo>
                  <a:pt x="5" y="35"/>
                </a:lnTo>
                <a:lnTo>
                  <a:pt x="8" y="36"/>
                </a:lnTo>
                <a:lnTo>
                  <a:pt x="10" y="37"/>
                </a:lnTo>
                <a:lnTo>
                  <a:pt x="13" y="36"/>
                </a:lnTo>
                <a:lnTo>
                  <a:pt x="14" y="37"/>
                </a:lnTo>
                <a:lnTo>
                  <a:pt x="17" y="38"/>
                </a:lnTo>
                <a:lnTo>
                  <a:pt x="18" y="38"/>
                </a:lnTo>
                <a:lnTo>
                  <a:pt x="23" y="37"/>
                </a:lnTo>
                <a:lnTo>
                  <a:pt x="27" y="35"/>
                </a:lnTo>
                <a:lnTo>
                  <a:pt x="33" y="35"/>
                </a:lnTo>
                <a:lnTo>
                  <a:pt x="35" y="34"/>
                </a:lnTo>
                <a:lnTo>
                  <a:pt x="36" y="34"/>
                </a:lnTo>
                <a:lnTo>
                  <a:pt x="38" y="33"/>
                </a:lnTo>
                <a:lnTo>
                  <a:pt x="38" y="34"/>
                </a:lnTo>
                <a:lnTo>
                  <a:pt x="38" y="35"/>
                </a:lnTo>
                <a:lnTo>
                  <a:pt x="39" y="36"/>
                </a:lnTo>
                <a:lnTo>
                  <a:pt x="40" y="38"/>
                </a:lnTo>
                <a:lnTo>
                  <a:pt x="44" y="40"/>
                </a:lnTo>
                <a:lnTo>
                  <a:pt x="45" y="40"/>
                </a:lnTo>
                <a:lnTo>
                  <a:pt x="47" y="42"/>
                </a:lnTo>
                <a:lnTo>
                  <a:pt x="55" y="43"/>
                </a:lnTo>
                <a:lnTo>
                  <a:pt x="58" y="44"/>
                </a:lnTo>
                <a:lnTo>
                  <a:pt x="60" y="44"/>
                </a:lnTo>
                <a:lnTo>
                  <a:pt x="65" y="44"/>
                </a:lnTo>
                <a:lnTo>
                  <a:pt x="73" y="44"/>
                </a:lnTo>
                <a:lnTo>
                  <a:pt x="75" y="43"/>
                </a:lnTo>
                <a:lnTo>
                  <a:pt x="77" y="41"/>
                </a:lnTo>
                <a:lnTo>
                  <a:pt x="80" y="40"/>
                </a:lnTo>
                <a:lnTo>
                  <a:pt x="85" y="41"/>
                </a:lnTo>
                <a:lnTo>
                  <a:pt x="87" y="38"/>
                </a:lnTo>
                <a:lnTo>
                  <a:pt x="87" y="38"/>
                </a:lnTo>
                <a:lnTo>
                  <a:pt x="93" y="40"/>
                </a:lnTo>
                <a:lnTo>
                  <a:pt x="93" y="37"/>
                </a:lnTo>
                <a:lnTo>
                  <a:pt x="95" y="36"/>
                </a:lnTo>
                <a:lnTo>
                  <a:pt x="97" y="34"/>
                </a:lnTo>
                <a:lnTo>
                  <a:pt x="100" y="34"/>
                </a:lnTo>
                <a:lnTo>
                  <a:pt x="99" y="32"/>
                </a:lnTo>
                <a:lnTo>
                  <a:pt x="99" y="30"/>
                </a:lnTo>
                <a:lnTo>
                  <a:pt x="101" y="25"/>
                </a:lnTo>
                <a:lnTo>
                  <a:pt x="99" y="23"/>
                </a:lnTo>
                <a:lnTo>
                  <a:pt x="100" y="22"/>
                </a:lnTo>
                <a:lnTo>
                  <a:pt x="107" y="22"/>
                </a:lnTo>
                <a:lnTo>
                  <a:pt x="108" y="20"/>
                </a:lnTo>
                <a:lnTo>
                  <a:pt x="108" y="15"/>
                </a:lnTo>
                <a:lnTo>
                  <a:pt x="106" y="13"/>
                </a:lnTo>
                <a:lnTo>
                  <a:pt x="104" y="7"/>
                </a:lnTo>
                <a:lnTo>
                  <a:pt x="104" y="7"/>
                </a:lnTo>
                <a:lnTo>
                  <a:pt x="104" y="5"/>
                </a:lnTo>
                <a:lnTo>
                  <a:pt x="101" y="3"/>
                </a:lnTo>
                <a:lnTo>
                  <a:pt x="91" y="3"/>
                </a:lnTo>
                <a:lnTo>
                  <a:pt x="88" y="1"/>
                </a:lnTo>
                <a:lnTo>
                  <a:pt x="86" y="0"/>
                </a:lnTo>
                <a:lnTo>
                  <a:pt x="77" y="0"/>
                </a:lnTo>
                <a:lnTo>
                  <a:pt x="76" y="2"/>
                </a:lnTo>
                <a:lnTo>
                  <a:pt x="75" y="3"/>
                </a:lnTo>
                <a:lnTo>
                  <a:pt x="73" y="5"/>
                </a:lnTo>
                <a:lnTo>
                  <a:pt x="70" y="6"/>
                </a:lnTo>
                <a:lnTo>
                  <a:pt x="68" y="6"/>
                </a:lnTo>
                <a:lnTo>
                  <a:pt x="65" y="6"/>
                </a:lnTo>
                <a:lnTo>
                  <a:pt x="63" y="5"/>
                </a:lnTo>
                <a:lnTo>
                  <a:pt x="59" y="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69" name="Freeform 669"/>
          <p:cNvSpPr>
            <a:spLocks/>
          </p:cNvSpPr>
          <p:nvPr/>
        </p:nvSpPr>
        <p:spPr bwMode="auto">
          <a:xfrm>
            <a:off x="4560888" y="2170078"/>
            <a:ext cx="171450" cy="69850"/>
          </a:xfrm>
          <a:custGeom>
            <a:avLst/>
            <a:gdLst>
              <a:gd name="T0" fmla="*/ 59 w 108"/>
              <a:gd name="T1" fmla="*/ 5 h 44"/>
              <a:gd name="T2" fmla="*/ 54 w 108"/>
              <a:gd name="T3" fmla="*/ 9 h 44"/>
              <a:gd name="T4" fmla="*/ 48 w 108"/>
              <a:gd name="T5" fmla="*/ 13 h 44"/>
              <a:gd name="T6" fmla="*/ 47 w 108"/>
              <a:gd name="T7" fmla="*/ 19 h 44"/>
              <a:gd name="T8" fmla="*/ 49 w 108"/>
              <a:gd name="T9" fmla="*/ 24 h 44"/>
              <a:gd name="T10" fmla="*/ 46 w 108"/>
              <a:gd name="T11" fmla="*/ 23 h 44"/>
              <a:gd name="T12" fmla="*/ 39 w 108"/>
              <a:gd name="T13" fmla="*/ 22 h 44"/>
              <a:gd name="T14" fmla="*/ 30 w 108"/>
              <a:gd name="T15" fmla="*/ 24 h 44"/>
              <a:gd name="T16" fmla="*/ 22 w 108"/>
              <a:gd name="T17" fmla="*/ 27 h 44"/>
              <a:gd name="T18" fmla="*/ 15 w 108"/>
              <a:gd name="T19" fmla="*/ 25 h 44"/>
              <a:gd name="T20" fmla="*/ 13 w 108"/>
              <a:gd name="T21" fmla="*/ 27 h 44"/>
              <a:gd name="T22" fmla="*/ 9 w 108"/>
              <a:gd name="T23" fmla="*/ 27 h 44"/>
              <a:gd name="T24" fmla="*/ 5 w 108"/>
              <a:gd name="T25" fmla="*/ 25 h 44"/>
              <a:gd name="T26" fmla="*/ 0 w 108"/>
              <a:gd name="T27" fmla="*/ 26 h 44"/>
              <a:gd name="T28" fmla="*/ 5 w 108"/>
              <a:gd name="T29" fmla="*/ 28 h 44"/>
              <a:gd name="T30" fmla="*/ 5 w 108"/>
              <a:gd name="T31" fmla="*/ 33 h 44"/>
              <a:gd name="T32" fmla="*/ 5 w 108"/>
              <a:gd name="T33" fmla="*/ 35 h 44"/>
              <a:gd name="T34" fmla="*/ 10 w 108"/>
              <a:gd name="T35" fmla="*/ 37 h 44"/>
              <a:gd name="T36" fmla="*/ 14 w 108"/>
              <a:gd name="T37" fmla="*/ 37 h 44"/>
              <a:gd name="T38" fmla="*/ 18 w 108"/>
              <a:gd name="T39" fmla="*/ 38 h 44"/>
              <a:gd name="T40" fmla="*/ 27 w 108"/>
              <a:gd name="T41" fmla="*/ 35 h 44"/>
              <a:gd name="T42" fmla="*/ 35 w 108"/>
              <a:gd name="T43" fmla="*/ 34 h 44"/>
              <a:gd name="T44" fmla="*/ 38 w 108"/>
              <a:gd name="T45" fmla="*/ 33 h 44"/>
              <a:gd name="T46" fmla="*/ 38 w 108"/>
              <a:gd name="T47" fmla="*/ 35 h 44"/>
              <a:gd name="T48" fmla="*/ 40 w 108"/>
              <a:gd name="T49" fmla="*/ 38 h 44"/>
              <a:gd name="T50" fmla="*/ 45 w 108"/>
              <a:gd name="T51" fmla="*/ 40 h 44"/>
              <a:gd name="T52" fmla="*/ 55 w 108"/>
              <a:gd name="T53" fmla="*/ 43 h 44"/>
              <a:gd name="T54" fmla="*/ 60 w 108"/>
              <a:gd name="T55" fmla="*/ 44 h 44"/>
              <a:gd name="T56" fmla="*/ 73 w 108"/>
              <a:gd name="T57" fmla="*/ 44 h 44"/>
              <a:gd name="T58" fmla="*/ 77 w 108"/>
              <a:gd name="T59" fmla="*/ 41 h 44"/>
              <a:gd name="T60" fmla="*/ 85 w 108"/>
              <a:gd name="T61" fmla="*/ 41 h 44"/>
              <a:gd name="T62" fmla="*/ 87 w 108"/>
              <a:gd name="T63" fmla="*/ 38 h 44"/>
              <a:gd name="T64" fmla="*/ 93 w 108"/>
              <a:gd name="T65" fmla="*/ 37 h 44"/>
              <a:gd name="T66" fmla="*/ 97 w 108"/>
              <a:gd name="T67" fmla="*/ 34 h 44"/>
              <a:gd name="T68" fmla="*/ 99 w 108"/>
              <a:gd name="T69" fmla="*/ 32 h 44"/>
              <a:gd name="T70" fmla="*/ 101 w 108"/>
              <a:gd name="T71" fmla="*/ 25 h 44"/>
              <a:gd name="T72" fmla="*/ 100 w 108"/>
              <a:gd name="T73" fmla="*/ 22 h 44"/>
              <a:gd name="T74" fmla="*/ 108 w 108"/>
              <a:gd name="T75" fmla="*/ 20 h 44"/>
              <a:gd name="T76" fmla="*/ 106 w 108"/>
              <a:gd name="T77" fmla="*/ 13 h 44"/>
              <a:gd name="T78" fmla="*/ 104 w 108"/>
              <a:gd name="T79" fmla="*/ 7 h 44"/>
              <a:gd name="T80" fmla="*/ 101 w 108"/>
              <a:gd name="T81" fmla="*/ 3 h 44"/>
              <a:gd name="T82" fmla="*/ 88 w 108"/>
              <a:gd name="T83" fmla="*/ 1 h 44"/>
              <a:gd name="T84" fmla="*/ 77 w 108"/>
              <a:gd name="T85" fmla="*/ 0 h 44"/>
              <a:gd name="T86" fmla="*/ 75 w 108"/>
              <a:gd name="T87" fmla="*/ 3 h 44"/>
              <a:gd name="T88" fmla="*/ 70 w 108"/>
              <a:gd name="T89" fmla="*/ 6 h 44"/>
              <a:gd name="T90" fmla="*/ 65 w 108"/>
              <a:gd name="T91" fmla="*/ 6 h 44"/>
              <a:gd name="T92" fmla="*/ 59 w 108"/>
              <a:gd name="T93" fmla="*/ 4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08" h="44">
                <a:moveTo>
                  <a:pt x="59" y="4"/>
                </a:moveTo>
                <a:lnTo>
                  <a:pt x="59" y="5"/>
                </a:lnTo>
                <a:lnTo>
                  <a:pt x="55" y="7"/>
                </a:lnTo>
                <a:lnTo>
                  <a:pt x="54" y="9"/>
                </a:lnTo>
                <a:lnTo>
                  <a:pt x="54" y="11"/>
                </a:lnTo>
                <a:lnTo>
                  <a:pt x="48" y="13"/>
                </a:lnTo>
                <a:lnTo>
                  <a:pt x="47" y="15"/>
                </a:lnTo>
                <a:lnTo>
                  <a:pt x="47" y="19"/>
                </a:lnTo>
                <a:lnTo>
                  <a:pt x="49" y="22"/>
                </a:lnTo>
                <a:lnTo>
                  <a:pt x="49" y="24"/>
                </a:lnTo>
                <a:lnTo>
                  <a:pt x="47" y="24"/>
                </a:lnTo>
                <a:lnTo>
                  <a:pt x="46" y="23"/>
                </a:lnTo>
                <a:lnTo>
                  <a:pt x="43" y="23"/>
                </a:lnTo>
                <a:lnTo>
                  <a:pt x="39" y="22"/>
                </a:lnTo>
                <a:lnTo>
                  <a:pt x="38" y="23"/>
                </a:lnTo>
                <a:lnTo>
                  <a:pt x="30" y="24"/>
                </a:lnTo>
                <a:lnTo>
                  <a:pt x="25" y="27"/>
                </a:lnTo>
                <a:lnTo>
                  <a:pt x="22" y="27"/>
                </a:lnTo>
                <a:lnTo>
                  <a:pt x="18" y="25"/>
                </a:lnTo>
                <a:lnTo>
                  <a:pt x="15" y="25"/>
                </a:lnTo>
                <a:lnTo>
                  <a:pt x="14" y="26"/>
                </a:lnTo>
                <a:lnTo>
                  <a:pt x="13" y="27"/>
                </a:lnTo>
                <a:lnTo>
                  <a:pt x="12" y="28"/>
                </a:lnTo>
                <a:lnTo>
                  <a:pt x="9" y="27"/>
                </a:lnTo>
                <a:lnTo>
                  <a:pt x="7" y="25"/>
                </a:lnTo>
                <a:lnTo>
                  <a:pt x="5" y="25"/>
                </a:lnTo>
                <a:lnTo>
                  <a:pt x="3" y="25"/>
                </a:lnTo>
                <a:lnTo>
                  <a:pt x="0" y="26"/>
                </a:lnTo>
                <a:lnTo>
                  <a:pt x="3" y="27"/>
                </a:lnTo>
                <a:lnTo>
                  <a:pt x="5" y="28"/>
                </a:lnTo>
                <a:lnTo>
                  <a:pt x="5" y="31"/>
                </a:lnTo>
                <a:lnTo>
                  <a:pt x="5" y="33"/>
                </a:lnTo>
                <a:lnTo>
                  <a:pt x="4" y="34"/>
                </a:lnTo>
                <a:lnTo>
                  <a:pt x="5" y="35"/>
                </a:lnTo>
                <a:lnTo>
                  <a:pt x="8" y="36"/>
                </a:lnTo>
                <a:lnTo>
                  <a:pt x="10" y="37"/>
                </a:lnTo>
                <a:lnTo>
                  <a:pt x="13" y="36"/>
                </a:lnTo>
                <a:lnTo>
                  <a:pt x="14" y="37"/>
                </a:lnTo>
                <a:lnTo>
                  <a:pt x="17" y="38"/>
                </a:lnTo>
                <a:lnTo>
                  <a:pt x="18" y="38"/>
                </a:lnTo>
                <a:lnTo>
                  <a:pt x="23" y="37"/>
                </a:lnTo>
                <a:lnTo>
                  <a:pt x="27" y="35"/>
                </a:lnTo>
                <a:lnTo>
                  <a:pt x="33" y="35"/>
                </a:lnTo>
                <a:lnTo>
                  <a:pt x="35" y="34"/>
                </a:lnTo>
                <a:lnTo>
                  <a:pt x="36" y="34"/>
                </a:lnTo>
                <a:lnTo>
                  <a:pt x="38" y="33"/>
                </a:lnTo>
                <a:lnTo>
                  <a:pt x="38" y="34"/>
                </a:lnTo>
                <a:lnTo>
                  <a:pt x="38" y="35"/>
                </a:lnTo>
                <a:lnTo>
                  <a:pt x="39" y="36"/>
                </a:lnTo>
                <a:lnTo>
                  <a:pt x="40" y="38"/>
                </a:lnTo>
                <a:lnTo>
                  <a:pt x="44" y="40"/>
                </a:lnTo>
                <a:lnTo>
                  <a:pt x="45" y="40"/>
                </a:lnTo>
                <a:lnTo>
                  <a:pt x="47" y="42"/>
                </a:lnTo>
                <a:lnTo>
                  <a:pt x="55" y="43"/>
                </a:lnTo>
                <a:lnTo>
                  <a:pt x="58" y="44"/>
                </a:lnTo>
                <a:lnTo>
                  <a:pt x="60" y="44"/>
                </a:lnTo>
                <a:lnTo>
                  <a:pt x="65" y="44"/>
                </a:lnTo>
                <a:lnTo>
                  <a:pt x="73" y="44"/>
                </a:lnTo>
                <a:lnTo>
                  <a:pt x="75" y="43"/>
                </a:lnTo>
                <a:lnTo>
                  <a:pt x="77" y="41"/>
                </a:lnTo>
                <a:lnTo>
                  <a:pt x="80" y="40"/>
                </a:lnTo>
                <a:lnTo>
                  <a:pt x="85" y="41"/>
                </a:lnTo>
                <a:lnTo>
                  <a:pt x="87" y="38"/>
                </a:lnTo>
                <a:lnTo>
                  <a:pt x="87" y="38"/>
                </a:lnTo>
                <a:lnTo>
                  <a:pt x="93" y="40"/>
                </a:lnTo>
                <a:lnTo>
                  <a:pt x="93" y="37"/>
                </a:lnTo>
                <a:lnTo>
                  <a:pt x="95" y="36"/>
                </a:lnTo>
                <a:lnTo>
                  <a:pt x="97" y="34"/>
                </a:lnTo>
                <a:lnTo>
                  <a:pt x="100" y="34"/>
                </a:lnTo>
                <a:lnTo>
                  <a:pt x="99" y="32"/>
                </a:lnTo>
                <a:lnTo>
                  <a:pt x="99" y="30"/>
                </a:lnTo>
                <a:lnTo>
                  <a:pt x="101" y="25"/>
                </a:lnTo>
                <a:lnTo>
                  <a:pt x="99" y="23"/>
                </a:lnTo>
                <a:lnTo>
                  <a:pt x="100" y="22"/>
                </a:lnTo>
                <a:lnTo>
                  <a:pt x="107" y="22"/>
                </a:lnTo>
                <a:lnTo>
                  <a:pt x="108" y="20"/>
                </a:lnTo>
                <a:lnTo>
                  <a:pt x="108" y="15"/>
                </a:lnTo>
                <a:lnTo>
                  <a:pt x="106" y="13"/>
                </a:lnTo>
                <a:lnTo>
                  <a:pt x="104" y="7"/>
                </a:lnTo>
                <a:lnTo>
                  <a:pt x="104" y="7"/>
                </a:lnTo>
                <a:lnTo>
                  <a:pt x="104" y="5"/>
                </a:lnTo>
                <a:lnTo>
                  <a:pt x="101" y="3"/>
                </a:lnTo>
                <a:lnTo>
                  <a:pt x="91" y="3"/>
                </a:lnTo>
                <a:lnTo>
                  <a:pt x="88" y="1"/>
                </a:lnTo>
                <a:lnTo>
                  <a:pt x="86" y="0"/>
                </a:lnTo>
                <a:lnTo>
                  <a:pt x="77" y="0"/>
                </a:lnTo>
                <a:lnTo>
                  <a:pt x="76" y="2"/>
                </a:lnTo>
                <a:lnTo>
                  <a:pt x="75" y="3"/>
                </a:lnTo>
                <a:lnTo>
                  <a:pt x="73" y="5"/>
                </a:lnTo>
                <a:lnTo>
                  <a:pt x="70" y="6"/>
                </a:lnTo>
                <a:lnTo>
                  <a:pt x="68" y="6"/>
                </a:lnTo>
                <a:lnTo>
                  <a:pt x="65" y="6"/>
                </a:lnTo>
                <a:lnTo>
                  <a:pt x="63" y="5"/>
                </a:lnTo>
                <a:lnTo>
                  <a:pt x="59" y="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70" name="Freeform 670"/>
          <p:cNvSpPr>
            <a:spLocks/>
          </p:cNvSpPr>
          <p:nvPr/>
        </p:nvSpPr>
        <p:spPr bwMode="auto">
          <a:xfrm>
            <a:off x="4425950" y="2046253"/>
            <a:ext cx="76200" cy="74613"/>
          </a:xfrm>
          <a:custGeom>
            <a:avLst/>
            <a:gdLst>
              <a:gd name="T0" fmla="*/ 32 w 48"/>
              <a:gd name="T1" fmla="*/ 47 h 47"/>
              <a:gd name="T2" fmla="*/ 29 w 48"/>
              <a:gd name="T3" fmla="*/ 43 h 47"/>
              <a:gd name="T4" fmla="*/ 29 w 48"/>
              <a:gd name="T5" fmla="*/ 39 h 47"/>
              <a:gd name="T6" fmla="*/ 24 w 48"/>
              <a:gd name="T7" fmla="*/ 38 h 47"/>
              <a:gd name="T8" fmla="*/ 22 w 48"/>
              <a:gd name="T9" fmla="*/ 35 h 47"/>
              <a:gd name="T10" fmla="*/ 20 w 48"/>
              <a:gd name="T11" fmla="*/ 34 h 47"/>
              <a:gd name="T12" fmla="*/ 13 w 48"/>
              <a:gd name="T13" fmla="*/ 35 h 47"/>
              <a:gd name="T14" fmla="*/ 4 w 48"/>
              <a:gd name="T15" fmla="*/ 39 h 47"/>
              <a:gd name="T16" fmla="*/ 0 w 48"/>
              <a:gd name="T17" fmla="*/ 37 h 47"/>
              <a:gd name="T18" fmla="*/ 2 w 48"/>
              <a:gd name="T19" fmla="*/ 35 h 47"/>
              <a:gd name="T20" fmla="*/ 8 w 48"/>
              <a:gd name="T21" fmla="*/ 37 h 47"/>
              <a:gd name="T22" fmla="*/ 11 w 48"/>
              <a:gd name="T23" fmla="*/ 35 h 47"/>
              <a:gd name="T24" fmla="*/ 7 w 48"/>
              <a:gd name="T25" fmla="*/ 35 h 47"/>
              <a:gd name="T26" fmla="*/ 6 w 48"/>
              <a:gd name="T27" fmla="*/ 33 h 47"/>
              <a:gd name="T28" fmla="*/ 13 w 48"/>
              <a:gd name="T29" fmla="*/ 31 h 47"/>
              <a:gd name="T30" fmla="*/ 19 w 48"/>
              <a:gd name="T31" fmla="*/ 30 h 47"/>
              <a:gd name="T32" fmla="*/ 16 w 48"/>
              <a:gd name="T33" fmla="*/ 30 h 47"/>
              <a:gd name="T34" fmla="*/ 11 w 48"/>
              <a:gd name="T35" fmla="*/ 30 h 47"/>
              <a:gd name="T36" fmla="*/ 10 w 48"/>
              <a:gd name="T37" fmla="*/ 27 h 47"/>
              <a:gd name="T38" fmla="*/ 16 w 48"/>
              <a:gd name="T39" fmla="*/ 20 h 47"/>
              <a:gd name="T40" fmla="*/ 18 w 48"/>
              <a:gd name="T41" fmla="*/ 10 h 47"/>
              <a:gd name="T42" fmla="*/ 21 w 48"/>
              <a:gd name="T43" fmla="*/ 11 h 47"/>
              <a:gd name="T44" fmla="*/ 23 w 48"/>
              <a:gd name="T45" fmla="*/ 12 h 47"/>
              <a:gd name="T46" fmla="*/ 21 w 48"/>
              <a:gd name="T47" fmla="*/ 13 h 47"/>
              <a:gd name="T48" fmla="*/ 20 w 48"/>
              <a:gd name="T49" fmla="*/ 15 h 47"/>
              <a:gd name="T50" fmla="*/ 21 w 48"/>
              <a:gd name="T51" fmla="*/ 18 h 47"/>
              <a:gd name="T52" fmla="*/ 24 w 48"/>
              <a:gd name="T53" fmla="*/ 20 h 47"/>
              <a:gd name="T54" fmla="*/ 27 w 48"/>
              <a:gd name="T55" fmla="*/ 20 h 47"/>
              <a:gd name="T56" fmla="*/ 24 w 48"/>
              <a:gd name="T57" fmla="*/ 17 h 47"/>
              <a:gd name="T58" fmla="*/ 26 w 48"/>
              <a:gd name="T59" fmla="*/ 15 h 47"/>
              <a:gd name="T60" fmla="*/ 28 w 48"/>
              <a:gd name="T61" fmla="*/ 12 h 47"/>
              <a:gd name="T62" fmla="*/ 28 w 48"/>
              <a:gd name="T63" fmla="*/ 10 h 47"/>
              <a:gd name="T64" fmla="*/ 26 w 48"/>
              <a:gd name="T65" fmla="*/ 9 h 47"/>
              <a:gd name="T66" fmla="*/ 26 w 48"/>
              <a:gd name="T67" fmla="*/ 5 h 47"/>
              <a:gd name="T68" fmla="*/ 28 w 48"/>
              <a:gd name="T69" fmla="*/ 2 h 47"/>
              <a:gd name="T70" fmla="*/ 33 w 48"/>
              <a:gd name="T71" fmla="*/ 1 h 47"/>
              <a:gd name="T72" fmla="*/ 39 w 48"/>
              <a:gd name="T73" fmla="*/ 0 h 47"/>
              <a:gd name="T74" fmla="*/ 44 w 48"/>
              <a:gd name="T75" fmla="*/ 1 h 47"/>
              <a:gd name="T76" fmla="*/ 48 w 48"/>
              <a:gd name="T77" fmla="*/ 3 h 47"/>
              <a:gd name="T78" fmla="*/ 42 w 48"/>
              <a:gd name="T79" fmla="*/ 14 h 47"/>
              <a:gd name="T80" fmla="*/ 48 w 48"/>
              <a:gd name="T81" fmla="*/ 18 h 47"/>
              <a:gd name="T82" fmla="*/ 46 w 48"/>
              <a:gd name="T83" fmla="*/ 21 h 47"/>
              <a:gd name="T84" fmla="*/ 42 w 48"/>
              <a:gd name="T85" fmla="*/ 25 h 47"/>
              <a:gd name="T86" fmla="*/ 40 w 48"/>
              <a:gd name="T87" fmla="*/ 28 h 47"/>
              <a:gd name="T88" fmla="*/ 33 w 48"/>
              <a:gd name="T89" fmla="*/ 27 h 47"/>
              <a:gd name="T90" fmla="*/ 34 w 48"/>
              <a:gd name="T91" fmla="*/ 31 h 47"/>
              <a:gd name="T92" fmla="*/ 34 w 48"/>
              <a:gd name="T93" fmla="*/ 35 h 47"/>
              <a:gd name="T94" fmla="*/ 33 w 48"/>
              <a:gd name="T95" fmla="*/ 41 h 47"/>
              <a:gd name="T96" fmla="*/ 34 w 48"/>
              <a:gd name="T97" fmla="*/ 45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8" h="47">
                <a:moveTo>
                  <a:pt x="34" y="47"/>
                </a:moveTo>
                <a:lnTo>
                  <a:pt x="32" y="47"/>
                </a:lnTo>
                <a:lnTo>
                  <a:pt x="30" y="45"/>
                </a:lnTo>
                <a:lnTo>
                  <a:pt x="29" y="43"/>
                </a:lnTo>
                <a:lnTo>
                  <a:pt x="30" y="41"/>
                </a:lnTo>
                <a:lnTo>
                  <a:pt x="29" y="39"/>
                </a:lnTo>
                <a:lnTo>
                  <a:pt x="28" y="38"/>
                </a:lnTo>
                <a:lnTo>
                  <a:pt x="24" y="38"/>
                </a:lnTo>
                <a:lnTo>
                  <a:pt x="23" y="37"/>
                </a:lnTo>
                <a:lnTo>
                  <a:pt x="22" y="35"/>
                </a:lnTo>
                <a:lnTo>
                  <a:pt x="21" y="35"/>
                </a:lnTo>
                <a:lnTo>
                  <a:pt x="20" y="34"/>
                </a:lnTo>
                <a:lnTo>
                  <a:pt x="16" y="34"/>
                </a:lnTo>
                <a:lnTo>
                  <a:pt x="13" y="35"/>
                </a:lnTo>
                <a:lnTo>
                  <a:pt x="9" y="37"/>
                </a:lnTo>
                <a:lnTo>
                  <a:pt x="4" y="39"/>
                </a:lnTo>
                <a:lnTo>
                  <a:pt x="0" y="37"/>
                </a:lnTo>
                <a:lnTo>
                  <a:pt x="0" y="37"/>
                </a:lnTo>
                <a:lnTo>
                  <a:pt x="1" y="35"/>
                </a:lnTo>
                <a:lnTo>
                  <a:pt x="2" y="35"/>
                </a:lnTo>
                <a:lnTo>
                  <a:pt x="6" y="37"/>
                </a:lnTo>
                <a:lnTo>
                  <a:pt x="8" y="37"/>
                </a:lnTo>
                <a:lnTo>
                  <a:pt x="10" y="37"/>
                </a:lnTo>
                <a:lnTo>
                  <a:pt x="11" y="35"/>
                </a:lnTo>
                <a:lnTo>
                  <a:pt x="9" y="35"/>
                </a:lnTo>
                <a:lnTo>
                  <a:pt x="7" y="35"/>
                </a:lnTo>
                <a:lnTo>
                  <a:pt x="4" y="35"/>
                </a:lnTo>
                <a:lnTo>
                  <a:pt x="6" y="33"/>
                </a:lnTo>
                <a:lnTo>
                  <a:pt x="11" y="32"/>
                </a:lnTo>
                <a:lnTo>
                  <a:pt x="13" y="31"/>
                </a:lnTo>
                <a:lnTo>
                  <a:pt x="18" y="31"/>
                </a:lnTo>
                <a:lnTo>
                  <a:pt x="19" y="30"/>
                </a:lnTo>
                <a:lnTo>
                  <a:pt x="19" y="29"/>
                </a:lnTo>
                <a:lnTo>
                  <a:pt x="16" y="30"/>
                </a:lnTo>
                <a:lnTo>
                  <a:pt x="13" y="30"/>
                </a:lnTo>
                <a:lnTo>
                  <a:pt x="11" y="30"/>
                </a:lnTo>
                <a:lnTo>
                  <a:pt x="10" y="29"/>
                </a:lnTo>
                <a:lnTo>
                  <a:pt x="10" y="27"/>
                </a:lnTo>
                <a:lnTo>
                  <a:pt x="10" y="25"/>
                </a:lnTo>
                <a:lnTo>
                  <a:pt x="16" y="20"/>
                </a:lnTo>
                <a:lnTo>
                  <a:pt x="17" y="13"/>
                </a:lnTo>
                <a:lnTo>
                  <a:pt x="18" y="10"/>
                </a:lnTo>
                <a:lnTo>
                  <a:pt x="20" y="9"/>
                </a:lnTo>
                <a:lnTo>
                  <a:pt x="21" y="11"/>
                </a:lnTo>
                <a:lnTo>
                  <a:pt x="23" y="12"/>
                </a:lnTo>
                <a:lnTo>
                  <a:pt x="23" y="12"/>
                </a:lnTo>
                <a:lnTo>
                  <a:pt x="23" y="13"/>
                </a:lnTo>
                <a:lnTo>
                  <a:pt x="21" y="13"/>
                </a:lnTo>
                <a:lnTo>
                  <a:pt x="20" y="14"/>
                </a:lnTo>
                <a:lnTo>
                  <a:pt x="20" y="15"/>
                </a:lnTo>
                <a:lnTo>
                  <a:pt x="21" y="18"/>
                </a:lnTo>
                <a:lnTo>
                  <a:pt x="21" y="18"/>
                </a:lnTo>
                <a:lnTo>
                  <a:pt x="22" y="19"/>
                </a:lnTo>
                <a:lnTo>
                  <a:pt x="24" y="20"/>
                </a:lnTo>
                <a:lnTo>
                  <a:pt x="26" y="20"/>
                </a:lnTo>
                <a:lnTo>
                  <a:pt x="27" y="20"/>
                </a:lnTo>
                <a:lnTo>
                  <a:pt x="26" y="18"/>
                </a:lnTo>
                <a:lnTo>
                  <a:pt x="24" y="17"/>
                </a:lnTo>
                <a:lnTo>
                  <a:pt x="24" y="15"/>
                </a:lnTo>
                <a:lnTo>
                  <a:pt x="26" y="15"/>
                </a:lnTo>
                <a:lnTo>
                  <a:pt x="27" y="14"/>
                </a:lnTo>
                <a:lnTo>
                  <a:pt x="28" y="12"/>
                </a:lnTo>
                <a:lnTo>
                  <a:pt x="28" y="10"/>
                </a:lnTo>
                <a:lnTo>
                  <a:pt x="28" y="10"/>
                </a:lnTo>
                <a:lnTo>
                  <a:pt x="26" y="10"/>
                </a:lnTo>
                <a:lnTo>
                  <a:pt x="26" y="9"/>
                </a:lnTo>
                <a:lnTo>
                  <a:pt x="26" y="5"/>
                </a:lnTo>
                <a:lnTo>
                  <a:pt x="26" y="5"/>
                </a:lnTo>
                <a:lnTo>
                  <a:pt x="27" y="3"/>
                </a:lnTo>
                <a:lnTo>
                  <a:pt x="28" y="2"/>
                </a:lnTo>
                <a:lnTo>
                  <a:pt x="31" y="1"/>
                </a:lnTo>
                <a:lnTo>
                  <a:pt x="33" y="1"/>
                </a:lnTo>
                <a:lnTo>
                  <a:pt x="37" y="1"/>
                </a:lnTo>
                <a:lnTo>
                  <a:pt x="39" y="0"/>
                </a:lnTo>
                <a:lnTo>
                  <a:pt x="42" y="0"/>
                </a:lnTo>
                <a:lnTo>
                  <a:pt x="44" y="1"/>
                </a:lnTo>
                <a:lnTo>
                  <a:pt x="47" y="2"/>
                </a:lnTo>
                <a:lnTo>
                  <a:pt x="48" y="3"/>
                </a:lnTo>
                <a:lnTo>
                  <a:pt x="46" y="12"/>
                </a:lnTo>
                <a:lnTo>
                  <a:pt x="42" y="14"/>
                </a:lnTo>
                <a:lnTo>
                  <a:pt x="42" y="15"/>
                </a:lnTo>
                <a:lnTo>
                  <a:pt x="48" y="18"/>
                </a:lnTo>
                <a:lnTo>
                  <a:pt x="47" y="20"/>
                </a:lnTo>
                <a:lnTo>
                  <a:pt x="46" y="21"/>
                </a:lnTo>
                <a:lnTo>
                  <a:pt x="43" y="23"/>
                </a:lnTo>
                <a:lnTo>
                  <a:pt x="42" y="25"/>
                </a:lnTo>
                <a:lnTo>
                  <a:pt x="41" y="27"/>
                </a:lnTo>
                <a:lnTo>
                  <a:pt x="40" y="28"/>
                </a:lnTo>
                <a:lnTo>
                  <a:pt x="37" y="27"/>
                </a:lnTo>
                <a:lnTo>
                  <a:pt x="33" y="27"/>
                </a:lnTo>
                <a:lnTo>
                  <a:pt x="33" y="28"/>
                </a:lnTo>
                <a:lnTo>
                  <a:pt x="34" y="31"/>
                </a:lnTo>
                <a:lnTo>
                  <a:pt x="36" y="33"/>
                </a:lnTo>
                <a:lnTo>
                  <a:pt x="34" y="35"/>
                </a:lnTo>
                <a:lnTo>
                  <a:pt x="34" y="39"/>
                </a:lnTo>
                <a:lnTo>
                  <a:pt x="33" y="41"/>
                </a:lnTo>
                <a:lnTo>
                  <a:pt x="33" y="42"/>
                </a:lnTo>
                <a:lnTo>
                  <a:pt x="34" y="45"/>
                </a:lnTo>
                <a:lnTo>
                  <a:pt x="34" y="47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71" name="Freeform 671"/>
          <p:cNvSpPr>
            <a:spLocks/>
          </p:cNvSpPr>
          <p:nvPr/>
        </p:nvSpPr>
        <p:spPr bwMode="auto">
          <a:xfrm>
            <a:off x="4425950" y="2046253"/>
            <a:ext cx="76200" cy="74613"/>
          </a:xfrm>
          <a:custGeom>
            <a:avLst/>
            <a:gdLst>
              <a:gd name="T0" fmla="*/ 32 w 48"/>
              <a:gd name="T1" fmla="*/ 47 h 47"/>
              <a:gd name="T2" fmla="*/ 29 w 48"/>
              <a:gd name="T3" fmla="*/ 43 h 47"/>
              <a:gd name="T4" fmla="*/ 29 w 48"/>
              <a:gd name="T5" fmla="*/ 39 h 47"/>
              <a:gd name="T6" fmla="*/ 24 w 48"/>
              <a:gd name="T7" fmla="*/ 38 h 47"/>
              <a:gd name="T8" fmla="*/ 22 w 48"/>
              <a:gd name="T9" fmla="*/ 35 h 47"/>
              <a:gd name="T10" fmla="*/ 20 w 48"/>
              <a:gd name="T11" fmla="*/ 34 h 47"/>
              <a:gd name="T12" fmla="*/ 13 w 48"/>
              <a:gd name="T13" fmla="*/ 35 h 47"/>
              <a:gd name="T14" fmla="*/ 4 w 48"/>
              <a:gd name="T15" fmla="*/ 39 h 47"/>
              <a:gd name="T16" fmla="*/ 0 w 48"/>
              <a:gd name="T17" fmla="*/ 37 h 47"/>
              <a:gd name="T18" fmla="*/ 2 w 48"/>
              <a:gd name="T19" fmla="*/ 35 h 47"/>
              <a:gd name="T20" fmla="*/ 8 w 48"/>
              <a:gd name="T21" fmla="*/ 37 h 47"/>
              <a:gd name="T22" fmla="*/ 11 w 48"/>
              <a:gd name="T23" fmla="*/ 35 h 47"/>
              <a:gd name="T24" fmla="*/ 7 w 48"/>
              <a:gd name="T25" fmla="*/ 35 h 47"/>
              <a:gd name="T26" fmla="*/ 6 w 48"/>
              <a:gd name="T27" fmla="*/ 33 h 47"/>
              <a:gd name="T28" fmla="*/ 13 w 48"/>
              <a:gd name="T29" fmla="*/ 31 h 47"/>
              <a:gd name="T30" fmla="*/ 19 w 48"/>
              <a:gd name="T31" fmla="*/ 30 h 47"/>
              <a:gd name="T32" fmla="*/ 16 w 48"/>
              <a:gd name="T33" fmla="*/ 30 h 47"/>
              <a:gd name="T34" fmla="*/ 11 w 48"/>
              <a:gd name="T35" fmla="*/ 30 h 47"/>
              <a:gd name="T36" fmla="*/ 10 w 48"/>
              <a:gd name="T37" fmla="*/ 27 h 47"/>
              <a:gd name="T38" fmla="*/ 16 w 48"/>
              <a:gd name="T39" fmla="*/ 20 h 47"/>
              <a:gd name="T40" fmla="*/ 18 w 48"/>
              <a:gd name="T41" fmla="*/ 10 h 47"/>
              <a:gd name="T42" fmla="*/ 21 w 48"/>
              <a:gd name="T43" fmla="*/ 11 h 47"/>
              <a:gd name="T44" fmla="*/ 23 w 48"/>
              <a:gd name="T45" fmla="*/ 12 h 47"/>
              <a:gd name="T46" fmla="*/ 21 w 48"/>
              <a:gd name="T47" fmla="*/ 13 h 47"/>
              <a:gd name="T48" fmla="*/ 20 w 48"/>
              <a:gd name="T49" fmla="*/ 15 h 47"/>
              <a:gd name="T50" fmla="*/ 21 w 48"/>
              <a:gd name="T51" fmla="*/ 18 h 47"/>
              <a:gd name="T52" fmla="*/ 24 w 48"/>
              <a:gd name="T53" fmla="*/ 20 h 47"/>
              <a:gd name="T54" fmla="*/ 27 w 48"/>
              <a:gd name="T55" fmla="*/ 20 h 47"/>
              <a:gd name="T56" fmla="*/ 24 w 48"/>
              <a:gd name="T57" fmla="*/ 17 h 47"/>
              <a:gd name="T58" fmla="*/ 26 w 48"/>
              <a:gd name="T59" fmla="*/ 15 h 47"/>
              <a:gd name="T60" fmla="*/ 28 w 48"/>
              <a:gd name="T61" fmla="*/ 12 h 47"/>
              <a:gd name="T62" fmla="*/ 28 w 48"/>
              <a:gd name="T63" fmla="*/ 10 h 47"/>
              <a:gd name="T64" fmla="*/ 26 w 48"/>
              <a:gd name="T65" fmla="*/ 9 h 47"/>
              <a:gd name="T66" fmla="*/ 26 w 48"/>
              <a:gd name="T67" fmla="*/ 5 h 47"/>
              <a:gd name="T68" fmla="*/ 28 w 48"/>
              <a:gd name="T69" fmla="*/ 2 h 47"/>
              <a:gd name="T70" fmla="*/ 33 w 48"/>
              <a:gd name="T71" fmla="*/ 1 h 47"/>
              <a:gd name="T72" fmla="*/ 39 w 48"/>
              <a:gd name="T73" fmla="*/ 0 h 47"/>
              <a:gd name="T74" fmla="*/ 44 w 48"/>
              <a:gd name="T75" fmla="*/ 1 h 47"/>
              <a:gd name="T76" fmla="*/ 48 w 48"/>
              <a:gd name="T77" fmla="*/ 3 h 47"/>
              <a:gd name="T78" fmla="*/ 42 w 48"/>
              <a:gd name="T79" fmla="*/ 14 h 47"/>
              <a:gd name="T80" fmla="*/ 48 w 48"/>
              <a:gd name="T81" fmla="*/ 18 h 47"/>
              <a:gd name="T82" fmla="*/ 46 w 48"/>
              <a:gd name="T83" fmla="*/ 21 h 47"/>
              <a:gd name="T84" fmla="*/ 42 w 48"/>
              <a:gd name="T85" fmla="*/ 25 h 47"/>
              <a:gd name="T86" fmla="*/ 40 w 48"/>
              <a:gd name="T87" fmla="*/ 28 h 47"/>
              <a:gd name="T88" fmla="*/ 33 w 48"/>
              <a:gd name="T89" fmla="*/ 27 h 47"/>
              <a:gd name="T90" fmla="*/ 34 w 48"/>
              <a:gd name="T91" fmla="*/ 31 h 47"/>
              <a:gd name="T92" fmla="*/ 34 w 48"/>
              <a:gd name="T93" fmla="*/ 35 h 47"/>
              <a:gd name="T94" fmla="*/ 33 w 48"/>
              <a:gd name="T95" fmla="*/ 41 h 47"/>
              <a:gd name="T96" fmla="*/ 34 w 48"/>
              <a:gd name="T97" fmla="*/ 45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8" h="47">
                <a:moveTo>
                  <a:pt x="34" y="47"/>
                </a:moveTo>
                <a:lnTo>
                  <a:pt x="32" y="47"/>
                </a:lnTo>
                <a:lnTo>
                  <a:pt x="30" y="45"/>
                </a:lnTo>
                <a:lnTo>
                  <a:pt x="29" y="43"/>
                </a:lnTo>
                <a:lnTo>
                  <a:pt x="30" y="41"/>
                </a:lnTo>
                <a:lnTo>
                  <a:pt x="29" y="39"/>
                </a:lnTo>
                <a:lnTo>
                  <a:pt x="28" y="38"/>
                </a:lnTo>
                <a:lnTo>
                  <a:pt x="24" y="38"/>
                </a:lnTo>
                <a:lnTo>
                  <a:pt x="23" y="37"/>
                </a:lnTo>
                <a:lnTo>
                  <a:pt x="22" y="35"/>
                </a:lnTo>
                <a:lnTo>
                  <a:pt x="21" y="35"/>
                </a:lnTo>
                <a:lnTo>
                  <a:pt x="20" y="34"/>
                </a:lnTo>
                <a:lnTo>
                  <a:pt x="16" y="34"/>
                </a:lnTo>
                <a:lnTo>
                  <a:pt x="13" y="35"/>
                </a:lnTo>
                <a:lnTo>
                  <a:pt x="9" y="37"/>
                </a:lnTo>
                <a:lnTo>
                  <a:pt x="4" y="39"/>
                </a:lnTo>
                <a:lnTo>
                  <a:pt x="0" y="37"/>
                </a:lnTo>
                <a:lnTo>
                  <a:pt x="0" y="37"/>
                </a:lnTo>
                <a:lnTo>
                  <a:pt x="1" y="35"/>
                </a:lnTo>
                <a:lnTo>
                  <a:pt x="2" y="35"/>
                </a:lnTo>
                <a:lnTo>
                  <a:pt x="6" y="37"/>
                </a:lnTo>
                <a:lnTo>
                  <a:pt x="8" y="37"/>
                </a:lnTo>
                <a:lnTo>
                  <a:pt x="10" y="37"/>
                </a:lnTo>
                <a:lnTo>
                  <a:pt x="11" y="35"/>
                </a:lnTo>
                <a:lnTo>
                  <a:pt x="9" y="35"/>
                </a:lnTo>
                <a:lnTo>
                  <a:pt x="7" y="35"/>
                </a:lnTo>
                <a:lnTo>
                  <a:pt x="4" y="35"/>
                </a:lnTo>
                <a:lnTo>
                  <a:pt x="6" y="33"/>
                </a:lnTo>
                <a:lnTo>
                  <a:pt x="11" y="32"/>
                </a:lnTo>
                <a:lnTo>
                  <a:pt x="13" y="31"/>
                </a:lnTo>
                <a:lnTo>
                  <a:pt x="18" y="31"/>
                </a:lnTo>
                <a:lnTo>
                  <a:pt x="19" y="30"/>
                </a:lnTo>
                <a:lnTo>
                  <a:pt x="19" y="29"/>
                </a:lnTo>
                <a:lnTo>
                  <a:pt x="16" y="30"/>
                </a:lnTo>
                <a:lnTo>
                  <a:pt x="13" y="30"/>
                </a:lnTo>
                <a:lnTo>
                  <a:pt x="11" y="30"/>
                </a:lnTo>
                <a:lnTo>
                  <a:pt x="10" y="29"/>
                </a:lnTo>
                <a:lnTo>
                  <a:pt x="10" y="27"/>
                </a:lnTo>
                <a:lnTo>
                  <a:pt x="10" y="25"/>
                </a:lnTo>
                <a:lnTo>
                  <a:pt x="16" y="20"/>
                </a:lnTo>
                <a:lnTo>
                  <a:pt x="17" y="13"/>
                </a:lnTo>
                <a:lnTo>
                  <a:pt x="18" y="10"/>
                </a:lnTo>
                <a:lnTo>
                  <a:pt x="20" y="9"/>
                </a:lnTo>
                <a:lnTo>
                  <a:pt x="21" y="11"/>
                </a:lnTo>
                <a:lnTo>
                  <a:pt x="23" y="12"/>
                </a:lnTo>
                <a:lnTo>
                  <a:pt x="23" y="12"/>
                </a:lnTo>
                <a:lnTo>
                  <a:pt x="23" y="13"/>
                </a:lnTo>
                <a:lnTo>
                  <a:pt x="21" y="13"/>
                </a:lnTo>
                <a:lnTo>
                  <a:pt x="20" y="14"/>
                </a:lnTo>
                <a:lnTo>
                  <a:pt x="20" y="15"/>
                </a:lnTo>
                <a:lnTo>
                  <a:pt x="21" y="18"/>
                </a:lnTo>
                <a:lnTo>
                  <a:pt x="21" y="18"/>
                </a:lnTo>
                <a:lnTo>
                  <a:pt x="22" y="19"/>
                </a:lnTo>
                <a:lnTo>
                  <a:pt x="24" y="20"/>
                </a:lnTo>
                <a:lnTo>
                  <a:pt x="26" y="20"/>
                </a:lnTo>
                <a:lnTo>
                  <a:pt x="27" y="20"/>
                </a:lnTo>
                <a:lnTo>
                  <a:pt x="26" y="18"/>
                </a:lnTo>
                <a:lnTo>
                  <a:pt x="24" y="17"/>
                </a:lnTo>
                <a:lnTo>
                  <a:pt x="24" y="15"/>
                </a:lnTo>
                <a:lnTo>
                  <a:pt x="26" y="15"/>
                </a:lnTo>
                <a:lnTo>
                  <a:pt x="27" y="14"/>
                </a:lnTo>
                <a:lnTo>
                  <a:pt x="28" y="12"/>
                </a:lnTo>
                <a:lnTo>
                  <a:pt x="28" y="10"/>
                </a:lnTo>
                <a:lnTo>
                  <a:pt x="28" y="10"/>
                </a:lnTo>
                <a:lnTo>
                  <a:pt x="26" y="10"/>
                </a:lnTo>
                <a:lnTo>
                  <a:pt x="26" y="9"/>
                </a:lnTo>
                <a:lnTo>
                  <a:pt x="26" y="5"/>
                </a:lnTo>
                <a:lnTo>
                  <a:pt x="26" y="5"/>
                </a:lnTo>
                <a:lnTo>
                  <a:pt x="27" y="3"/>
                </a:lnTo>
                <a:lnTo>
                  <a:pt x="28" y="2"/>
                </a:lnTo>
                <a:lnTo>
                  <a:pt x="31" y="1"/>
                </a:lnTo>
                <a:lnTo>
                  <a:pt x="33" y="1"/>
                </a:lnTo>
                <a:lnTo>
                  <a:pt x="37" y="1"/>
                </a:lnTo>
                <a:lnTo>
                  <a:pt x="39" y="0"/>
                </a:lnTo>
                <a:lnTo>
                  <a:pt x="42" y="0"/>
                </a:lnTo>
                <a:lnTo>
                  <a:pt x="44" y="1"/>
                </a:lnTo>
                <a:lnTo>
                  <a:pt x="47" y="2"/>
                </a:lnTo>
                <a:lnTo>
                  <a:pt x="48" y="3"/>
                </a:lnTo>
                <a:lnTo>
                  <a:pt x="46" y="12"/>
                </a:lnTo>
                <a:lnTo>
                  <a:pt x="42" y="14"/>
                </a:lnTo>
                <a:lnTo>
                  <a:pt x="42" y="15"/>
                </a:lnTo>
                <a:lnTo>
                  <a:pt x="48" y="18"/>
                </a:lnTo>
                <a:lnTo>
                  <a:pt x="47" y="20"/>
                </a:lnTo>
                <a:lnTo>
                  <a:pt x="46" y="21"/>
                </a:lnTo>
                <a:lnTo>
                  <a:pt x="43" y="23"/>
                </a:lnTo>
                <a:lnTo>
                  <a:pt x="42" y="25"/>
                </a:lnTo>
                <a:lnTo>
                  <a:pt x="41" y="27"/>
                </a:lnTo>
                <a:lnTo>
                  <a:pt x="40" y="28"/>
                </a:lnTo>
                <a:lnTo>
                  <a:pt x="37" y="27"/>
                </a:lnTo>
                <a:lnTo>
                  <a:pt x="33" y="27"/>
                </a:lnTo>
                <a:lnTo>
                  <a:pt x="33" y="28"/>
                </a:lnTo>
                <a:lnTo>
                  <a:pt x="34" y="31"/>
                </a:lnTo>
                <a:lnTo>
                  <a:pt x="36" y="33"/>
                </a:lnTo>
                <a:lnTo>
                  <a:pt x="34" y="35"/>
                </a:lnTo>
                <a:lnTo>
                  <a:pt x="34" y="39"/>
                </a:lnTo>
                <a:lnTo>
                  <a:pt x="33" y="41"/>
                </a:lnTo>
                <a:lnTo>
                  <a:pt x="33" y="42"/>
                </a:lnTo>
                <a:lnTo>
                  <a:pt x="34" y="45"/>
                </a:lnTo>
                <a:lnTo>
                  <a:pt x="34" y="47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72" name="Freeform 672"/>
          <p:cNvSpPr>
            <a:spLocks/>
          </p:cNvSpPr>
          <p:nvPr/>
        </p:nvSpPr>
        <p:spPr bwMode="auto">
          <a:xfrm>
            <a:off x="4244975" y="2111340"/>
            <a:ext cx="282575" cy="246063"/>
          </a:xfrm>
          <a:custGeom>
            <a:avLst/>
            <a:gdLst>
              <a:gd name="T0" fmla="*/ 90 w 178"/>
              <a:gd name="T1" fmla="*/ 7 h 155"/>
              <a:gd name="T2" fmla="*/ 83 w 178"/>
              <a:gd name="T3" fmla="*/ 20 h 155"/>
              <a:gd name="T4" fmla="*/ 73 w 178"/>
              <a:gd name="T5" fmla="*/ 28 h 155"/>
              <a:gd name="T6" fmla="*/ 64 w 178"/>
              <a:gd name="T7" fmla="*/ 31 h 155"/>
              <a:gd name="T8" fmla="*/ 50 w 178"/>
              <a:gd name="T9" fmla="*/ 27 h 155"/>
              <a:gd name="T10" fmla="*/ 41 w 178"/>
              <a:gd name="T11" fmla="*/ 29 h 155"/>
              <a:gd name="T12" fmla="*/ 46 w 178"/>
              <a:gd name="T13" fmla="*/ 41 h 155"/>
              <a:gd name="T14" fmla="*/ 42 w 178"/>
              <a:gd name="T15" fmla="*/ 42 h 155"/>
              <a:gd name="T16" fmla="*/ 24 w 178"/>
              <a:gd name="T17" fmla="*/ 40 h 155"/>
              <a:gd name="T18" fmla="*/ 13 w 178"/>
              <a:gd name="T19" fmla="*/ 42 h 155"/>
              <a:gd name="T20" fmla="*/ 0 w 178"/>
              <a:gd name="T21" fmla="*/ 49 h 155"/>
              <a:gd name="T22" fmla="*/ 3 w 178"/>
              <a:gd name="T23" fmla="*/ 51 h 155"/>
              <a:gd name="T24" fmla="*/ 3 w 178"/>
              <a:gd name="T25" fmla="*/ 54 h 155"/>
              <a:gd name="T26" fmla="*/ 11 w 178"/>
              <a:gd name="T27" fmla="*/ 57 h 155"/>
              <a:gd name="T28" fmla="*/ 26 w 178"/>
              <a:gd name="T29" fmla="*/ 61 h 155"/>
              <a:gd name="T30" fmla="*/ 33 w 178"/>
              <a:gd name="T31" fmla="*/ 63 h 155"/>
              <a:gd name="T32" fmla="*/ 39 w 178"/>
              <a:gd name="T33" fmla="*/ 69 h 155"/>
              <a:gd name="T34" fmla="*/ 37 w 178"/>
              <a:gd name="T35" fmla="*/ 74 h 155"/>
              <a:gd name="T36" fmla="*/ 49 w 178"/>
              <a:gd name="T37" fmla="*/ 84 h 155"/>
              <a:gd name="T38" fmla="*/ 51 w 178"/>
              <a:gd name="T39" fmla="*/ 94 h 155"/>
              <a:gd name="T40" fmla="*/ 56 w 178"/>
              <a:gd name="T41" fmla="*/ 102 h 155"/>
              <a:gd name="T42" fmla="*/ 51 w 178"/>
              <a:gd name="T43" fmla="*/ 114 h 155"/>
              <a:gd name="T44" fmla="*/ 51 w 178"/>
              <a:gd name="T45" fmla="*/ 119 h 155"/>
              <a:gd name="T46" fmla="*/ 42 w 178"/>
              <a:gd name="T47" fmla="*/ 138 h 155"/>
              <a:gd name="T48" fmla="*/ 57 w 178"/>
              <a:gd name="T49" fmla="*/ 147 h 155"/>
              <a:gd name="T50" fmla="*/ 80 w 178"/>
              <a:gd name="T51" fmla="*/ 148 h 155"/>
              <a:gd name="T52" fmla="*/ 94 w 178"/>
              <a:gd name="T53" fmla="*/ 154 h 155"/>
              <a:gd name="T54" fmla="*/ 113 w 178"/>
              <a:gd name="T55" fmla="*/ 154 h 155"/>
              <a:gd name="T56" fmla="*/ 118 w 178"/>
              <a:gd name="T57" fmla="*/ 138 h 155"/>
              <a:gd name="T58" fmla="*/ 127 w 178"/>
              <a:gd name="T59" fmla="*/ 135 h 155"/>
              <a:gd name="T60" fmla="*/ 137 w 178"/>
              <a:gd name="T61" fmla="*/ 138 h 155"/>
              <a:gd name="T62" fmla="*/ 144 w 178"/>
              <a:gd name="T63" fmla="*/ 138 h 155"/>
              <a:gd name="T64" fmla="*/ 155 w 178"/>
              <a:gd name="T65" fmla="*/ 142 h 155"/>
              <a:gd name="T66" fmla="*/ 167 w 178"/>
              <a:gd name="T67" fmla="*/ 133 h 155"/>
              <a:gd name="T68" fmla="*/ 175 w 178"/>
              <a:gd name="T69" fmla="*/ 128 h 155"/>
              <a:gd name="T70" fmla="*/ 166 w 178"/>
              <a:gd name="T71" fmla="*/ 120 h 155"/>
              <a:gd name="T72" fmla="*/ 163 w 178"/>
              <a:gd name="T73" fmla="*/ 110 h 155"/>
              <a:gd name="T74" fmla="*/ 166 w 178"/>
              <a:gd name="T75" fmla="*/ 102 h 155"/>
              <a:gd name="T76" fmla="*/ 165 w 178"/>
              <a:gd name="T77" fmla="*/ 92 h 155"/>
              <a:gd name="T78" fmla="*/ 161 w 178"/>
              <a:gd name="T79" fmla="*/ 82 h 155"/>
              <a:gd name="T80" fmla="*/ 151 w 178"/>
              <a:gd name="T81" fmla="*/ 81 h 155"/>
              <a:gd name="T82" fmla="*/ 156 w 178"/>
              <a:gd name="T83" fmla="*/ 74 h 155"/>
              <a:gd name="T84" fmla="*/ 164 w 178"/>
              <a:gd name="T85" fmla="*/ 62 h 155"/>
              <a:gd name="T86" fmla="*/ 171 w 178"/>
              <a:gd name="T87" fmla="*/ 58 h 155"/>
              <a:gd name="T88" fmla="*/ 178 w 178"/>
              <a:gd name="T89" fmla="*/ 37 h 155"/>
              <a:gd name="T90" fmla="*/ 156 w 178"/>
              <a:gd name="T91" fmla="*/ 29 h 155"/>
              <a:gd name="T92" fmla="*/ 141 w 178"/>
              <a:gd name="T93" fmla="*/ 26 h 155"/>
              <a:gd name="T94" fmla="*/ 134 w 178"/>
              <a:gd name="T95" fmla="*/ 17 h 155"/>
              <a:gd name="T96" fmla="*/ 125 w 178"/>
              <a:gd name="T97" fmla="*/ 19 h 155"/>
              <a:gd name="T98" fmla="*/ 115 w 178"/>
              <a:gd name="T99" fmla="*/ 10 h 155"/>
              <a:gd name="T100" fmla="*/ 104 w 178"/>
              <a:gd name="T101" fmla="*/ 3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78" h="155">
                <a:moveTo>
                  <a:pt x="104" y="0"/>
                </a:moveTo>
                <a:lnTo>
                  <a:pt x="103" y="0"/>
                </a:lnTo>
                <a:lnTo>
                  <a:pt x="97" y="1"/>
                </a:lnTo>
                <a:lnTo>
                  <a:pt x="91" y="3"/>
                </a:lnTo>
                <a:lnTo>
                  <a:pt x="90" y="7"/>
                </a:lnTo>
                <a:lnTo>
                  <a:pt x="89" y="13"/>
                </a:lnTo>
                <a:lnTo>
                  <a:pt x="90" y="14"/>
                </a:lnTo>
                <a:lnTo>
                  <a:pt x="90" y="16"/>
                </a:lnTo>
                <a:lnTo>
                  <a:pt x="86" y="18"/>
                </a:lnTo>
                <a:lnTo>
                  <a:pt x="83" y="20"/>
                </a:lnTo>
                <a:lnTo>
                  <a:pt x="75" y="22"/>
                </a:lnTo>
                <a:lnTo>
                  <a:pt x="71" y="24"/>
                </a:lnTo>
                <a:lnTo>
                  <a:pt x="70" y="27"/>
                </a:lnTo>
                <a:lnTo>
                  <a:pt x="70" y="28"/>
                </a:lnTo>
                <a:lnTo>
                  <a:pt x="73" y="28"/>
                </a:lnTo>
                <a:lnTo>
                  <a:pt x="74" y="29"/>
                </a:lnTo>
                <a:lnTo>
                  <a:pt x="74" y="29"/>
                </a:lnTo>
                <a:lnTo>
                  <a:pt x="69" y="30"/>
                </a:lnTo>
                <a:lnTo>
                  <a:pt x="66" y="31"/>
                </a:lnTo>
                <a:lnTo>
                  <a:pt x="64" y="31"/>
                </a:lnTo>
                <a:lnTo>
                  <a:pt x="62" y="31"/>
                </a:lnTo>
                <a:lnTo>
                  <a:pt x="57" y="31"/>
                </a:lnTo>
                <a:lnTo>
                  <a:pt x="54" y="30"/>
                </a:lnTo>
                <a:lnTo>
                  <a:pt x="52" y="30"/>
                </a:lnTo>
                <a:lnTo>
                  <a:pt x="50" y="27"/>
                </a:lnTo>
                <a:lnTo>
                  <a:pt x="50" y="26"/>
                </a:lnTo>
                <a:lnTo>
                  <a:pt x="49" y="24"/>
                </a:lnTo>
                <a:lnTo>
                  <a:pt x="43" y="24"/>
                </a:lnTo>
                <a:lnTo>
                  <a:pt x="41" y="24"/>
                </a:lnTo>
                <a:lnTo>
                  <a:pt x="41" y="29"/>
                </a:lnTo>
                <a:lnTo>
                  <a:pt x="42" y="30"/>
                </a:lnTo>
                <a:lnTo>
                  <a:pt x="44" y="31"/>
                </a:lnTo>
                <a:lnTo>
                  <a:pt x="45" y="37"/>
                </a:lnTo>
                <a:lnTo>
                  <a:pt x="45" y="39"/>
                </a:lnTo>
                <a:lnTo>
                  <a:pt x="46" y="41"/>
                </a:lnTo>
                <a:lnTo>
                  <a:pt x="47" y="42"/>
                </a:lnTo>
                <a:lnTo>
                  <a:pt x="46" y="43"/>
                </a:lnTo>
                <a:lnTo>
                  <a:pt x="43" y="43"/>
                </a:lnTo>
                <a:lnTo>
                  <a:pt x="43" y="42"/>
                </a:lnTo>
                <a:lnTo>
                  <a:pt x="42" y="42"/>
                </a:lnTo>
                <a:lnTo>
                  <a:pt x="40" y="42"/>
                </a:lnTo>
                <a:lnTo>
                  <a:pt x="37" y="43"/>
                </a:lnTo>
                <a:lnTo>
                  <a:pt x="35" y="43"/>
                </a:lnTo>
                <a:lnTo>
                  <a:pt x="31" y="44"/>
                </a:lnTo>
                <a:lnTo>
                  <a:pt x="24" y="40"/>
                </a:lnTo>
                <a:lnTo>
                  <a:pt x="20" y="40"/>
                </a:lnTo>
                <a:lnTo>
                  <a:pt x="19" y="40"/>
                </a:lnTo>
                <a:lnTo>
                  <a:pt x="18" y="40"/>
                </a:lnTo>
                <a:lnTo>
                  <a:pt x="18" y="41"/>
                </a:lnTo>
                <a:lnTo>
                  <a:pt x="13" y="42"/>
                </a:lnTo>
                <a:lnTo>
                  <a:pt x="11" y="42"/>
                </a:lnTo>
                <a:lnTo>
                  <a:pt x="8" y="43"/>
                </a:lnTo>
                <a:lnTo>
                  <a:pt x="1" y="46"/>
                </a:lnTo>
                <a:lnTo>
                  <a:pt x="1" y="48"/>
                </a:lnTo>
                <a:lnTo>
                  <a:pt x="0" y="49"/>
                </a:lnTo>
                <a:lnTo>
                  <a:pt x="5" y="48"/>
                </a:lnTo>
                <a:lnTo>
                  <a:pt x="5" y="49"/>
                </a:lnTo>
                <a:lnTo>
                  <a:pt x="4" y="49"/>
                </a:lnTo>
                <a:lnTo>
                  <a:pt x="3" y="50"/>
                </a:lnTo>
                <a:lnTo>
                  <a:pt x="3" y="51"/>
                </a:lnTo>
                <a:lnTo>
                  <a:pt x="5" y="51"/>
                </a:lnTo>
                <a:lnTo>
                  <a:pt x="8" y="51"/>
                </a:lnTo>
                <a:lnTo>
                  <a:pt x="6" y="53"/>
                </a:lnTo>
                <a:lnTo>
                  <a:pt x="2" y="53"/>
                </a:lnTo>
                <a:lnTo>
                  <a:pt x="3" y="54"/>
                </a:lnTo>
                <a:lnTo>
                  <a:pt x="6" y="56"/>
                </a:lnTo>
                <a:lnTo>
                  <a:pt x="6" y="58"/>
                </a:lnTo>
                <a:lnTo>
                  <a:pt x="9" y="59"/>
                </a:lnTo>
                <a:lnTo>
                  <a:pt x="9" y="57"/>
                </a:lnTo>
                <a:lnTo>
                  <a:pt x="11" y="57"/>
                </a:lnTo>
                <a:lnTo>
                  <a:pt x="20" y="59"/>
                </a:lnTo>
                <a:lnTo>
                  <a:pt x="22" y="61"/>
                </a:lnTo>
                <a:lnTo>
                  <a:pt x="22" y="62"/>
                </a:lnTo>
                <a:lnTo>
                  <a:pt x="24" y="62"/>
                </a:lnTo>
                <a:lnTo>
                  <a:pt x="26" y="61"/>
                </a:lnTo>
                <a:lnTo>
                  <a:pt x="29" y="62"/>
                </a:lnTo>
                <a:lnTo>
                  <a:pt x="27" y="63"/>
                </a:lnTo>
                <a:lnTo>
                  <a:pt x="31" y="63"/>
                </a:lnTo>
                <a:lnTo>
                  <a:pt x="32" y="63"/>
                </a:lnTo>
                <a:lnTo>
                  <a:pt x="33" y="63"/>
                </a:lnTo>
                <a:lnTo>
                  <a:pt x="32" y="67"/>
                </a:lnTo>
                <a:lnTo>
                  <a:pt x="36" y="68"/>
                </a:lnTo>
                <a:lnTo>
                  <a:pt x="40" y="67"/>
                </a:lnTo>
                <a:lnTo>
                  <a:pt x="43" y="68"/>
                </a:lnTo>
                <a:lnTo>
                  <a:pt x="39" y="69"/>
                </a:lnTo>
                <a:lnTo>
                  <a:pt x="39" y="70"/>
                </a:lnTo>
                <a:lnTo>
                  <a:pt x="40" y="72"/>
                </a:lnTo>
                <a:lnTo>
                  <a:pt x="39" y="73"/>
                </a:lnTo>
                <a:lnTo>
                  <a:pt x="37" y="72"/>
                </a:lnTo>
                <a:lnTo>
                  <a:pt x="37" y="74"/>
                </a:lnTo>
                <a:lnTo>
                  <a:pt x="40" y="77"/>
                </a:lnTo>
                <a:lnTo>
                  <a:pt x="42" y="79"/>
                </a:lnTo>
                <a:lnTo>
                  <a:pt x="42" y="81"/>
                </a:lnTo>
                <a:lnTo>
                  <a:pt x="45" y="82"/>
                </a:lnTo>
                <a:lnTo>
                  <a:pt x="49" y="84"/>
                </a:lnTo>
                <a:lnTo>
                  <a:pt x="52" y="85"/>
                </a:lnTo>
                <a:lnTo>
                  <a:pt x="52" y="87"/>
                </a:lnTo>
                <a:lnTo>
                  <a:pt x="53" y="89"/>
                </a:lnTo>
                <a:lnTo>
                  <a:pt x="53" y="91"/>
                </a:lnTo>
                <a:lnTo>
                  <a:pt x="51" y="94"/>
                </a:lnTo>
                <a:lnTo>
                  <a:pt x="52" y="97"/>
                </a:lnTo>
                <a:lnTo>
                  <a:pt x="55" y="98"/>
                </a:lnTo>
                <a:lnTo>
                  <a:pt x="56" y="100"/>
                </a:lnTo>
                <a:lnTo>
                  <a:pt x="57" y="103"/>
                </a:lnTo>
                <a:lnTo>
                  <a:pt x="56" y="102"/>
                </a:lnTo>
                <a:lnTo>
                  <a:pt x="53" y="99"/>
                </a:lnTo>
                <a:lnTo>
                  <a:pt x="52" y="100"/>
                </a:lnTo>
                <a:lnTo>
                  <a:pt x="52" y="104"/>
                </a:lnTo>
                <a:lnTo>
                  <a:pt x="51" y="112"/>
                </a:lnTo>
                <a:lnTo>
                  <a:pt x="51" y="114"/>
                </a:lnTo>
                <a:lnTo>
                  <a:pt x="52" y="112"/>
                </a:lnTo>
                <a:lnTo>
                  <a:pt x="53" y="113"/>
                </a:lnTo>
                <a:lnTo>
                  <a:pt x="52" y="114"/>
                </a:lnTo>
                <a:lnTo>
                  <a:pt x="51" y="115"/>
                </a:lnTo>
                <a:lnTo>
                  <a:pt x="51" y="119"/>
                </a:lnTo>
                <a:lnTo>
                  <a:pt x="47" y="133"/>
                </a:lnTo>
                <a:lnTo>
                  <a:pt x="46" y="135"/>
                </a:lnTo>
                <a:lnTo>
                  <a:pt x="44" y="137"/>
                </a:lnTo>
                <a:lnTo>
                  <a:pt x="41" y="137"/>
                </a:lnTo>
                <a:lnTo>
                  <a:pt x="42" y="138"/>
                </a:lnTo>
                <a:lnTo>
                  <a:pt x="47" y="142"/>
                </a:lnTo>
                <a:lnTo>
                  <a:pt x="50" y="143"/>
                </a:lnTo>
                <a:lnTo>
                  <a:pt x="52" y="144"/>
                </a:lnTo>
                <a:lnTo>
                  <a:pt x="55" y="145"/>
                </a:lnTo>
                <a:lnTo>
                  <a:pt x="57" y="147"/>
                </a:lnTo>
                <a:lnTo>
                  <a:pt x="70" y="150"/>
                </a:lnTo>
                <a:lnTo>
                  <a:pt x="73" y="150"/>
                </a:lnTo>
                <a:lnTo>
                  <a:pt x="75" y="150"/>
                </a:lnTo>
                <a:lnTo>
                  <a:pt x="77" y="149"/>
                </a:lnTo>
                <a:lnTo>
                  <a:pt x="80" y="148"/>
                </a:lnTo>
                <a:lnTo>
                  <a:pt x="82" y="149"/>
                </a:lnTo>
                <a:lnTo>
                  <a:pt x="86" y="151"/>
                </a:lnTo>
                <a:lnTo>
                  <a:pt x="90" y="151"/>
                </a:lnTo>
                <a:lnTo>
                  <a:pt x="91" y="152"/>
                </a:lnTo>
                <a:lnTo>
                  <a:pt x="94" y="154"/>
                </a:lnTo>
                <a:lnTo>
                  <a:pt x="96" y="155"/>
                </a:lnTo>
                <a:lnTo>
                  <a:pt x="104" y="154"/>
                </a:lnTo>
                <a:lnTo>
                  <a:pt x="107" y="154"/>
                </a:lnTo>
                <a:lnTo>
                  <a:pt x="111" y="154"/>
                </a:lnTo>
                <a:lnTo>
                  <a:pt x="113" y="154"/>
                </a:lnTo>
                <a:lnTo>
                  <a:pt x="112" y="148"/>
                </a:lnTo>
                <a:lnTo>
                  <a:pt x="111" y="147"/>
                </a:lnTo>
                <a:lnTo>
                  <a:pt x="112" y="143"/>
                </a:lnTo>
                <a:lnTo>
                  <a:pt x="113" y="140"/>
                </a:lnTo>
                <a:lnTo>
                  <a:pt x="118" y="138"/>
                </a:lnTo>
                <a:lnTo>
                  <a:pt x="121" y="137"/>
                </a:lnTo>
                <a:lnTo>
                  <a:pt x="123" y="135"/>
                </a:lnTo>
                <a:lnTo>
                  <a:pt x="125" y="134"/>
                </a:lnTo>
                <a:lnTo>
                  <a:pt x="126" y="134"/>
                </a:lnTo>
                <a:lnTo>
                  <a:pt x="127" y="135"/>
                </a:lnTo>
                <a:lnTo>
                  <a:pt x="132" y="135"/>
                </a:lnTo>
                <a:lnTo>
                  <a:pt x="132" y="135"/>
                </a:lnTo>
                <a:lnTo>
                  <a:pt x="133" y="137"/>
                </a:lnTo>
                <a:lnTo>
                  <a:pt x="134" y="137"/>
                </a:lnTo>
                <a:lnTo>
                  <a:pt x="137" y="138"/>
                </a:lnTo>
                <a:lnTo>
                  <a:pt x="137" y="137"/>
                </a:lnTo>
                <a:lnTo>
                  <a:pt x="140" y="137"/>
                </a:lnTo>
                <a:lnTo>
                  <a:pt x="141" y="138"/>
                </a:lnTo>
                <a:lnTo>
                  <a:pt x="143" y="138"/>
                </a:lnTo>
                <a:lnTo>
                  <a:pt x="144" y="138"/>
                </a:lnTo>
                <a:lnTo>
                  <a:pt x="145" y="139"/>
                </a:lnTo>
                <a:lnTo>
                  <a:pt x="146" y="140"/>
                </a:lnTo>
                <a:lnTo>
                  <a:pt x="148" y="140"/>
                </a:lnTo>
                <a:lnTo>
                  <a:pt x="152" y="142"/>
                </a:lnTo>
                <a:lnTo>
                  <a:pt x="155" y="142"/>
                </a:lnTo>
                <a:lnTo>
                  <a:pt x="162" y="140"/>
                </a:lnTo>
                <a:lnTo>
                  <a:pt x="163" y="139"/>
                </a:lnTo>
                <a:lnTo>
                  <a:pt x="163" y="138"/>
                </a:lnTo>
                <a:lnTo>
                  <a:pt x="165" y="135"/>
                </a:lnTo>
                <a:lnTo>
                  <a:pt x="167" y="133"/>
                </a:lnTo>
                <a:lnTo>
                  <a:pt x="170" y="132"/>
                </a:lnTo>
                <a:lnTo>
                  <a:pt x="170" y="131"/>
                </a:lnTo>
                <a:lnTo>
                  <a:pt x="175" y="129"/>
                </a:lnTo>
                <a:lnTo>
                  <a:pt x="175" y="129"/>
                </a:lnTo>
                <a:lnTo>
                  <a:pt x="175" y="128"/>
                </a:lnTo>
                <a:lnTo>
                  <a:pt x="175" y="127"/>
                </a:lnTo>
                <a:lnTo>
                  <a:pt x="175" y="124"/>
                </a:lnTo>
                <a:lnTo>
                  <a:pt x="174" y="122"/>
                </a:lnTo>
                <a:lnTo>
                  <a:pt x="167" y="121"/>
                </a:lnTo>
                <a:lnTo>
                  <a:pt x="166" y="120"/>
                </a:lnTo>
                <a:lnTo>
                  <a:pt x="165" y="117"/>
                </a:lnTo>
                <a:lnTo>
                  <a:pt x="165" y="114"/>
                </a:lnTo>
                <a:lnTo>
                  <a:pt x="165" y="112"/>
                </a:lnTo>
                <a:lnTo>
                  <a:pt x="165" y="110"/>
                </a:lnTo>
                <a:lnTo>
                  <a:pt x="163" y="110"/>
                </a:lnTo>
                <a:lnTo>
                  <a:pt x="162" y="109"/>
                </a:lnTo>
                <a:lnTo>
                  <a:pt x="162" y="108"/>
                </a:lnTo>
                <a:lnTo>
                  <a:pt x="163" y="105"/>
                </a:lnTo>
                <a:lnTo>
                  <a:pt x="164" y="104"/>
                </a:lnTo>
                <a:lnTo>
                  <a:pt x="166" y="102"/>
                </a:lnTo>
                <a:lnTo>
                  <a:pt x="166" y="100"/>
                </a:lnTo>
                <a:lnTo>
                  <a:pt x="163" y="94"/>
                </a:lnTo>
                <a:lnTo>
                  <a:pt x="163" y="93"/>
                </a:lnTo>
                <a:lnTo>
                  <a:pt x="163" y="92"/>
                </a:lnTo>
                <a:lnTo>
                  <a:pt x="165" y="92"/>
                </a:lnTo>
                <a:lnTo>
                  <a:pt x="164" y="89"/>
                </a:lnTo>
                <a:lnTo>
                  <a:pt x="163" y="89"/>
                </a:lnTo>
                <a:lnTo>
                  <a:pt x="162" y="87"/>
                </a:lnTo>
                <a:lnTo>
                  <a:pt x="162" y="82"/>
                </a:lnTo>
                <a:lnTo>
                  <a:pt x="161" y="82"/>
                </a:lnTo>
                <a:lnTo>
                  <a:pt x="156" y="82"/>
                </a:lnTo>
                <a:lnTo>
                  <a:pt x="154" y="87"/>
                </a:lnTo>
                <a:lnTo>
                  <a:pt x="152" y="87"/>
                </a:lnTo>
                <a:lnTo>
                  <a:pt x="151" y="87"/>
                </a:lnTo>
                <a:lnTo>
                  <a:pt x="151" y="81"/>
                </a:lnTo>
                <a:lnTo>
                  <a:pt x="152" y="79"/>
                </a:lnTo>
                <a:lnTo>
                  <a:pt x="153" y="78"/>
                </a:lnTo>
                <a:lnTo>
                  <a:pt x="154" y="77"/>
                </a:lnTo>
                <a:lnTo>
                  <a:pt x="156" y="75"/>
                </a:lnTo>
                <a:lnTo>
                  <a:pt x="156" y="74"/>
                </a:lnTo>
                <a:lnTo>
                  <a:pt x="156" y="72"/>
                </a:lnTo>
                <a:lnTo>
                  <a:pt x="158" y="71"/>
                </a:lnTo>
                <a:lnTo>
                  <a:pt x="164" y="65"/>
                </a:lnTo>
                <a:lnTo>
                  <a:pt x="163" y="64"/>
                </a:lnTo>
                <a:lnTo>
                  <a:pt x="164" y="62"/>
                </a:lnTo>
                <a:lnTo>
                  <a:pt x="168" y="63"/>
                </a:lnTo>
                <a:lnTo>
                  <a:pt x="171" y="62"/>
                </a:lnTo>
                <a:lnTo>
                  <a:pt x="172" y="61"/>
                </a:lnTo>
                <a:lnTo>
                  <a:pt x="172" y="60"/>
                </a:lnTo>
                <a:lnTo>
                  <a:pt x="171" y="58"/>
                </a:lnTo>
                <a:lnTo>
                  <a:pt x="171" y="52"/>
                </a:lnTo>
                <a:lnTo>
                  <a:pt x="173" y="47"/>
                </a:lnTo>
                <a:lnTo>
                  <a:pt x="173" y="44"/>
                </a:lnTo>
                <a:lnTo>
                  <a:pt x="177" y="39"/>
                </a:lnTo>
                <a:lnTo>
                  <a:pt x="178" y="37"/>
                </a:lnTo>
                <a:lnTo>
                  <a:pt x="175" y="36"/>
                </a:lnTo>
                <a:lnTo>
                  <a:pt x="164" y="33"/>
                </a:lnTo>
                <a:lnTo>
                  <a:pt x="160" y="32"/>
                </a:lnTo>
                <a:lnTo>
                  <a:pt x="157" y="30"/>
                </a:lnTo>
                <a:lnTo>
                  <a:pt x="156" y="29"/>
                </a:lnTo>
                <a:lnTo>
                  <a:pt x="153" y="27"/>
                </a:lnTo>
                <a:lnTo>
                  <a:pt x="150" y="27"/>
                </a:lnTo>
                <a:lnTo>
                  <a:pt x="145" y="26"/>
                </a:lnTo>
                <a:lnTo>
                  <a:pt x="143" y="27"/>
                </a:lnTo>
                <a:lnTo>
                  <a:pt x="141" y="26"/>
                </a:lnTo>
                <a:lnTo>
                  <a:pt x="138" y="24"/>
                </a:lnTo>
                <a:lnTo>
                  <a:pt x="135" y="23"/>
                </a:lnTo>
                <a:lnTo>
                  <a:pt x="136" y="22"/>
                </a:lnTo>
                <a:lnTo>
                  <a:pt x="135" y="21"/>
                </a:lnTo>
                <a:lnTo>
                  <a:pt x="134" y="17"/>
                </a:lnTo>
                <a:lnTo>
                  <a:pt x="133" y="17"/>
                </a:lnTo>
                <a:lnTo>
                  <a:pt x="132" y="18"/>
                </a:lnTo>
                <a:lnTo>
                  <a:pt x="131" y="20"/>
                </a:lnTo>
                <a:lnTo>
                  <a:pt x="127" y="20"/>
                </a:lnTo>
                <a:lnTo>
                  <a:pt x="125" y="19"/>
                </a:lnTo>
                <a:lnTo>
                  <a:pt x="124" y="16"/>
                </a:lnTo>
                <a:lnTo>
                  <a:pt x="124" y="13"/>
                </a:lnTo>
                <a:lnTo>
                  <a:pt x="123" y="12"/>
                </a:lnTo>
                <a:lnTo>
                  <a:pt x="120" y="12"/>
                </a:lnTo>
                <a:lnTo>
                  <a:pt x="115" y="10"/>
                </a:lnTo>
                <a:lnTo>
                  <a:pt x="113" y="10"/>
                </a:lnTo>
                <a:lnTo>
                  <a:pt x="111" y="6"/>
                </a:lnTo>
                <a:lnTo>
                  <a:pt x="108" y="6"/>
                </a:lnTo>
                <a:lnTo>
                  <a:pt x="105" y="4"/>
                </a:lnTo>
                <a:lnTo>
                  <a:pt x="104" y="3"/>
                </a:lnTo>
                <a:lnTo>
                  <a:pt x="104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73" name="Freeform 673"/>
          <p:cNvSpPr>
            <a:spLocks/>
          </p:cNvSpPr>
          <p:nvPr/>
        </p:nvSpPr>
        <p:spPr bwMode="auto">
          <a:xfrm>
            <a:off x="4244975" y="2111340"/>
            <a:ext cx="282575" cy="246063"/>
          </a:xfrm>
          <a:custGeom>
            <a:avLst/>
            <a:gdLst>
              <a:gd name="T0" fmla="*/ 90 w 178"/>
              <a:gd name="T1" fmla="*/ 7 h 155"/>
              <a:gd name="T2" fmla="*/ 83 w 178"/>
              <a:gd name="T3" fmla="*/ 20 h 155"/>
              <a:gd name="T4" fmla="*/ 73 w 178"/>
              <a:gd name="T5" fmla="*/ 28 h 155"/>
              <a:gd name="T6" fmla="*/ 64 w 178"/>
              <a:gd name="T7" fmla="*/ 31 h 155"/>
              <a:gd name="T8" fmla="*/ 50 w 178"/>
              <a:gd name="T9" fmla="*/ 27 h 155"/>
              <a:gd name="T10" fmla="*/ 41 w 178"/>
              <a:gd name="T11" fmla="*/ 29 h 155"/>
              <a:gd name="T12" fmla="*/ 46 w 178"/>
              <a:gd name="T13" fmla="*/ 41 h 155"/>
              <a:gd name="T14" fmla="*/ 42 w 178"/>
              <a:gd name="T15" fmla="*/ 42 h 155"/>
              <a:gd name="T16" fmla="*/ 24 w 178"/>
              <a:gd name="T17" fmla="*/ 40 h 155"/>
              <a:gd name="T18" fmla="*/ 13 w 178"/>
              <a:gd name="T19" fmla="*/ 42 h 155"/>
              <a:gd name="T20" fmla="*/ 0 w 178"/>
              <a:gd name="T21" fmla="*/ 49 h 155"/>
              <a:gd name="T22" fmla="*/ 3 w 178"/>
              <a:gd name="T23" fmla="*/ 51 h 155"/>
              <a:gd name="T24" fmla="*/ 3 w 178"/>
              <a:gd name="T25" fmla="*/ 54 h 155"/>
              <a:gd name="T26" fmla="*/ 11 w 178"/>
              <a:gd name="T27" fmla="*/ 57 h 155"/>
              <a:gd name="T28" fmla="*/ 26 w 178"/>
              <a:gd name="T29" fmla="*/ 61 h 155"/>
              <a:gd name="T30" fmla="*/ 33 w 178"/>
              <a:gd name="T31" fmla="*/ 63 h 155"/>
              <a:gd name="T32" fmla="*/ 39 w 178"/>
              <a:gd name="T33" fmla="*/ 69 h 155"/>
              <a:gd name="T34" fmla="*/ 37 w 178"/>
              <a:gd name="T35" fmla="*/ 74 h 155"/>
              <a:gd name="T36" fmla="*/ 49 w 178"/>
              <a:gd name="T37" fmla="*/ 84 h 155"/>
              <a:gd name="T38" fmla="*/ 51 w 178"/>
              <a:gd name="T39" fmla="*/ 94 h 155"/>
              <a:gd name="T40" fmla="*/ 56 w 178"/>
              <a:gd name="T41" fmla="*/ 102 h 155"/>
              <a:gd name="T42" fmla="*/ 51 w 178"/>
              <a:gd name="T43" fmla="*/ 114 h 155"/>
              <a:gd name="T44" fmla="*/ 51 w 178"/>
              <a:gd name="T45" fmla="*/ 119 h 155"/>
              <a:gd name="T46" fmla="*/ 42 w 178"/>
              <a:gd name="T47" fmla="*/ 138 h 155"/>
              <a:gd name="T48" fmla="*/ 57 w 178"/>
              <a:gd name="T49" fmla="*/ 147 h 155"/>
              <a:gd name="T50" fmla="*/ 80 w 178"/>
              <a:gd name="T51" fmla="*/ 148 h 155"/>
              <a:gd name="T52" fmla="*/ 94 w 178"/>
              <a:gd name="T53" fmla="*/ 154 h 155"/>
              <a:gd name="T54" fmla="*/ 113 w 178"/>
              <a:gd name="T55" fmla="*/ 154 h 155"/>
              <a:gd name="T56" fmla="*/ 118 w 178"/>
              <a:gd name="T57" fmla="*/ 138 h 155"/>
              <a:gd name="T58" fmla="*/ 127 w 178"/>
              <a:gd name="T59" fmla="*/ 135 h 155"/>
              <a:gd name="T60" fmla="*/ 137 w 178"/>
              <a:gd name="T61" fmla="*/ 138 h 155"/>
              <a:gd name="T62" fmla="*/ 144 w 178"/>
              <a:gd name="T63" fmla="*/ 138 h 155"/>
              <a:gd name="T64" fmla="*/ 155 w 178"/>
              <a:gd name="T65" fmla="*/ 142 h 155"/>
              <a:gd name="T66" fmla="*/ 167 w 178"/>
              <a:gd name="T67" fmla="*/ 133 h 155"/>
              <a:gd name="T68" fmla="*/ 175 w 178"/>
              <a:gd name="T69" fmla="*/ 128 h 155"/>
              <a:gd name="T70" fmla="*/ 166 w 178"/>
              <a:gd name="T71" fmla="*/ 120 h 155"/>
              <a:gd name="T72" fmla="*/ 163 w 178"/>
              <a:gd name="T73" fmla="*/ 110 h 155"/>
              <a:gd name="T74" fmla="*/ 166 w 178"/>
              <a:gd name="T75" fmla="*/ 102 h 155"/>
              <a:gd name="T76" fmla="*/ 165 w 178"/>
              <a:gd name="T77" fmla="*/ 92 h 155"/>
              <a:gd name="T78" fmla="*/ 161 w 178"/>
              <a:gd name="T79" fmla="*/ 82 h 155"/>
              <a:gd name="T80" fmla="*/ 151 w 178"/>
              <a:gd name="T81" fmla="*/ 81 h 155"/>
              <a:gd name="T82" fmla="*/ 156 w 178"/>
              <a:gd name="T83" fmla="*/ 74 h 155"/>
              <a:gd name="T84" fmla="*/ 164 w 178"/>
              <a:gd name="T85" fmla="*/ 62 h 155"/>
              <a:gd name="T86" fmla="*/ 171 w 178"/>
              <a:gd name="T87" fmla="*/ 58 h 155"/>
              <a:gd name="T88" fmla="*/ 178 w 178"/>
              <a:gd name="T89" fmla="*/ 37 h 155"/>
              <a:gd name="T90" fmla="*/ 156 w 178"/>
              <a:gd name="T91" fmla="*/ 29 h 155"/>
              <a:gd name="T92" fmla="*/ 141 w 178"/>
              <a:gd name="T93" fmla="*/ 26 h 155"/>
              <a:gd name="T94" fmla="*/ 134 w 178"/>
              <a:gd name="T95" fmla="*/ 17 h 155"/>
              <a:gd name="T96" fmla="*/ 125 w 178"/>
              <a:gd name="T97" fmla="*/ 19 h 155"/>
              <a:gd name="T98" fmla="*/ 115 w 178"/>
              <a:gd name="T99" fmla="*/ 10 h 155"/>
              <a:gd name="T100" fmla="*/ 104 w 178"/>
              <a:gd name="T101" fmla="*/ 3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78" h="155">
                <a:moveTo>
                  <a:pt x="104" y="0"/>
                </a:moveTo>
                <a:lnTo>
                  <a:pt x="103" y="0"/>
                </a:lnTo>
                <a:lnTo>
                  <a:pt x="97" y="1"/>
                </a:lnTo>
                <a:lnTo>
                  <a:pt x="91" y="3"/>
                </a:lnTo>
                <a:lnTo>
                  <a:pt x="90" y="7"/>
                </a:lnTo>
                <a:lnTo>
                  <a:pt x="89" y="13"/>
                </a:lnTo>
                <a:lnTo>
                  <a:pt x="90" y="14"/>
                </a:lnTo>
                <a:lnTo>
                  <a:pt x="90" y="16"/>
                </a:lnTo>
                <a:lnTo>
                  <a:pt x="86" y="18"/>
                </a:lnTo>
                <a:lnTo>
                  <a:pt x="83" y="20"/>
                </a:lnTo>
                <a:lnTo>
                  <a:pt x="75" y="22"/>
                </a:lnTo>
                <a:lnTo>
                  <a:pt x="71" y="24"/>
                </a:lnTo>
                <a:lnTo>
                  <a:pt x="70" y="27"/>
                </a:lnTo>
                <a:lnTo>
                  <a:pt x="70" y="28"/>
                </a:lnTo>
                <a:lnTo>
                  <a:pt x="73" y="28"/>
                </a:lnTo>
                <a:lnTo>
                  <a:pt x="74" y="29"/>
                </a:lnTo>
                <a:lnTo>
                  <a:pt x="74" y="29"/>
                </a:lnTo>
                <a:lnTo>
                  <a:pt x="69" y="30"/>
                </a:lnTo>
                <a:lnTo>
                  <a:pt x="66" y="31"/>
                </a:lnTo>
                <a:lnTo>
                  <a:pt x="64" y="31"/>
                </a:lnTo>
                <a:lnTo>
                  <a:pt x="62" y="31"/>
                </a:lnTo>
                <a:lnTo>
                  <a:pt x="57" y="31"/>
                </a:lnTo>
                <a:lnTo>
                  <a:pt x="54" y="30"/>
                </a:lnTo>
                <a:lnTo>
                  <a:pt x="52" y="30"/>
                </a:lnTo>
                <a:lnTo>
                  <a:pt x="50" y="27"/>
                </a:lnTo>
                <a:lnTo>
                  <a:pt x="50" y="26"/>
                </a:lnTo>
                <a:lnTo>
                  <a:pt x="49" y="24"/>
                </a:lnTo>
                <a:lnTo>
                  <a:pt x="43" y="24"/>
                </a:lnTo>
                <a:lnTo>
                  <a:pt x="41" y="24"/>
                </a:lnTo>
                <a:lnTo>
                  <a:pt x="41" y="29"/>
                </a:lnTo>
                <a:lnTo>
                  <a:pt x="42" y="30"/>
                </a:lnTo>
                <a:lnTo>
                  <a:pt x="44" y="31"/>
                </a:lnTo>
                <a:lnTo>
                  <a:pt x="45" y="37"/>
                </a:lnTo>
                <a:lnTo>
                  <a:pt x="45" y="39"/>
                </a:lnTo>
                <a:lnTo>
                  <a:pt x="46" y="41"/>
                </a:lnTo>
                <a:lnTo>
                  <a:pt x="47" y="42"/>
                </a:lnTo>
                <a:lnTo>
                  <a:pt x="46" y="43"/>
                </a:lnTo>
                <a:lnTo>
                  <a:pt x="43" y="43"/>
                </a:lnTo>
                <a:lnTo>
                  <a:pt x="43" y="42"/>
                </a:lnTo>
                <a:lnTo>
                  <a:pt x="42" y="42"/>
                </a:lnTo>
                <a:lnTo>
                  <a:pt x="40" y="42"/>
                </a:lnTo>
                <a:lnTo>
                  <a:pt x="37" y="43"/>
                </a:lnTo>
                <a:lnTo>
                  <a:pt x="35" y="43"/>
                </a:lnTo>
                <a:lnTo>
                  <a:pt x="31" y="44"/>
                </a:lnTo>
                <a:lnTo>
                  <a:pt x="24" y="40"/>
                </a:lnTo>
                <a:lnTo>
                  <a:pt x="20" y="40"/>
                </a:lnTo>
                <a:lnTo>
                  <a:pt x="19" y="40"/>
                </a:lnTo>
                <a:lnTo>
                  <a:pt x="18" y="40"/>
                </a:lnTo>
                <a:lnTo>
                  <a:pt x="18" y="41"/>
                </a:lnTo>
                <a:lnTo>
                  <a:pt x="13" y="42"/>
                </a:lnTo>
                <a:lnTo>
                  <a:pt x="11" y="42"/>
                </a:lnTo>
                <a:lnTo>
                  <a:pt x="8" y="43"/>
                </a:lnTo>
                <a:lnTo>
                  <a:pt x="1" y="46"/>
                </a:lnTo>
                <a:lnTo>
                  <a:pt x="1" y="48"/>
                </a:lnTo>
                <a:lnTo>
                  <a:pt x="0" y="49"/>
                </a:lnTo>
                <a:lnTo>
                  <a:pt x="5" y="48"/>
                </a:lnTo>
                <a:lnTo>
                  <a:pt x="5" y="49"/>
                </a:lnTo>
                <a:lnTo>
                  <a:pt x="4" y="49"/>
                </a:lnTo>
                <a:lnTo>
                  <a:pt x="3" y="50"/>
                </a:lnTo>
                <a:lnTo>
                  <a:pt x="3" y="51"/>
                </a:lnTo>
                <a:lnTo>
                  <a:pt x="5" y="51"/>
                </a:lnTo>
                <a:lnTo>
                  <a:pt x="8" y="51"/>
                </a:lnTo>
                <a:lnTo>
                  <a:pt x="6" y="53"/>
                </a:lnTo>
                <a:lnTo>
                  <a:pt x="2" y="53"/>
                </a:lnTo>
                <a:lnTo>
                  <a:pt x="3" y="54"/>
                </a:lnTo>
                <a:lnTo>
                  <a:pt x="6" y="56"/>
                </a:lnTo>
                <a:lnTo>
                  <a:pt x="6" y="58"/>
                </a:lnTo>
                <a:lnTo>
                  <a:pt x="9" y="59"/>
                </a:lnTo>
                <a:lnTo>
                  <a:pt x="9" y="57"/>
                </a:lnTo>
                <a:lnTo>
                  <a:pt x="11" y="57"/>
                </a:lnTo>
                <a:lnTo>
                  <a:pt x="20" y="59"/>
                </a:lnTo>
                <a:lnTo>
                  <a:pt x="22" y="61"/>
                </a:lnTo>
                <a:lnTo>
                  <a:pt x="22" y="62"/>
                </a:lnTo>
                <a:lnTo>
                  <a:pt x="24" y="62"/>
                </a:lnTo>
                <a:lnTo>
                  <a:pt x="26" y="61"/>
                </a:lnTo>
                <a:lnTo>
                  <a:pt x="29" y="62"/>
                </a:lnTo>
                <a:lnTo>
                  <a:pt x="27" y="63"/>
                </a:lnTo>
                <a:lnTo>
                  <a:pt x="31" y="63"/>
                </a:lnTo>
                <a:lnTo>
                  <a:pt x="32" y="63"/>
                </a:lnTo>
                <a:lnTo>
                  <a:pt x="33" y="63"/>
                </a:lnTo>
                <a:lnTo>
                  <a:pt x="32" y="67"/>
                </a:lnTo>
                <a:lnTo>
                  <a:pt x="36" y="68"/>
                </a:lnTo>
                <a:lnTo>
                  <a:pt x="40" y="67"/>
                </a:lnTo>
                <a:lnTo>
                  <a:pt x="43" y="68"/>
                </a:lnTo>
                <a:lnTo>
                  <a:pt x="39" y="69"/>
                </a:lnTo>
                <a:lnTo>
                  <a:pt x="39" y="70"/>
                </a:lnTo>
                <a:lnTo>
                  <a:pt x="40" y="72"/>
                </a:lnTo>
                <a:lnTo>
                  <a:pt x="39" y="73"/>
                </a:lnTo>
                <a:lnTo>
                  <a:pt x="37" y="72"/>
                </a:lnTo>
                <a:lnTo>
                  <a:pt x="37" y="74"/>
                </a:lnTo>
                <a:lnTo>
                  <a:pt x="40" y="77"/>
                </a:lnTo>
                <a:lnTo>
                  <a:pt x="42" y="79"/>
                </a:lnTo>
                <a:lnTo>
                  <a:pt x="42" y="81"/>
                </a:lnTo>
                <a:lnTo>
                  <a:pt x="45" y="82"/>
                </a:lnTo>
                <a:lnTo>
                  <a:pt x="49" y="84"/>
                </a:lnTo>
                <a:lnTo>
                  <a:pt x="52" y="85"/>
                </a:lnTo>
                <a:lnTo>
                  <a:pt x="52" y="87"/>
                </a:lnTo>
                <a:lnTo>
                  <a:pt x="53" y="89"/>
                </a:lnTo>
                <a:lnTo>
                  <a:pt x="53" y="91"/>
                </a:lnTo>
                <a:lnTo>
                  <a:pt x="51" y="94"/>
                </a:lnTo>
                <a:lnTo>
                  <a:pt x="52" y="97"/>
                </a:lnTo>
                <a:lnTo>
                  <a:pt x="55" y="98"/>
                </a:lnTo>
                <a:lnTo>
                  <a:pt x="56" y="100"/>
                </a:lnTo>
                <a:lnTo>
                  <a:pt x="57" y="103"/>
                </a:lnTo>
                <a:lnTo>
                  <a:pt x="56" y="102"/>
                </a:lnTo>
                <a:lnTo>
                  <a:pt x="53" y="99"/>
                </a:lnTo>
                <a:lnTo>
                  <a:pt x="52" y="100"/>
                </a:lnTo>
                <a:lnTo>
                  <a:pt x="52" y="104"/>
                </a:lnTo>
                <a:lnTo>
                  <a:pt x="51" y="112"/>
                </a:lnTo>
                <a:lnTo>
                  <a:pt x="51" y="114"/>
                </a:lnTo>
                <a:lnTo>
                  <a:pt x="52" y="112"/>
                </a:lnTo>
                <a:lnTo>
                  <a:pt x="53" y="113"/>
                </a:lnTo>
                <a:lnTo>
                  <a:pt x="52" y="114"/>
                </a:lnTo>
                <a:lnTo>
                  <a:pt x="51" y="115"/>
                </a:lnTo>
                <a:lnTo>
                  <a:pt x="51" y="119"/>
                </a:lnTo>
                <a:lnTo>
                  <a:pt x="47" y="133"/>
                </a:lnTo>
                <a:lnTo>
                  <a:pt x="46" y="135"/>
                </a:lnTo>
                <a:lnTo>
                  <a:pt x="44" y="137"/>
                </a:lnTo>
                <a:lnTo>
                  <a:pt x="41" y="137"/>
                </a:lnTo>
                <a:lnTo>
                  <a:pt x="42" y="138"/>
                </a:lnTo>
                <a:lnTo>
                  <a:pt x="47" y="142"/>
                </a:lnTo>
                <a:lnTo>
                  <a:pt x="50" y="143"/>
                </a:lnTo>
                <a:lnTo>
                  <a:pt x="52" y="144"/>
                </a:lnTo>
                <a:lnTo>
                  <a:pt x="55" y="145"/>
                </a:lnTo>
                <a:lnTo>
                  <a:pt x="57" y="147"/>
                </a:lnTo>
                <a:lnTo>
                  <a:pt x="70" y="150"/>
                </a:lnTo>
                <a:lnTo>
                  <a:pt x="73" y="150"/>
                </a:lnTo>
                <a:lnTo>
                  <a:pt x="75" y="150"/>
                </a:lnTo>
                <a:lnTo>
                  <a:pt x="77" y="149"/>
                </a:lnTo>
                <a:lnTo>
                  <a:pt x="80" y="148"/>
                </a:lnTo>
                <a:lnTo>
                  <a:pt x="82" y="149"/>
                </a:lnTo>
                <a:lnTo>
                  <a:pt x="86" y="151"/>
                </a:lnTo>
                <a:lnTo>
                  <a:pt x="90" y="151"/>
                </a:lnTo>
                <a:lnTo>
                  <a:pt x="91" y="152"/>
                </a:lnTo>
                <a:lnTo>
                  <a:pt x="94" y="154"/>
                </a:lnTo>
                <a:lnTo>
                  <a:pt x="96" y="155"/>
                </a:lnTo>
                <a:lnTo>
                  <a:pt x="104" y="154"/>
                </a:lnTo>
                <a:lnTo>
                  <a:pt x="107" y="154"/>
                </a:lnTo>
                <a:lnTo>
                  <a:pt x="111" y="154"/>
                </a:lnTo>
                <a:lnTo>
                  <a:pt x="113" y="154"/>
                </a:lnTo>
                <a:lnTo>
                  <a:pt x="112" y="148"/>
                </a:lnTo>
                <a:lnTo>
                  <a:pt x="111" y="147"/>
                </a:lnTo>
                <a:lnTo>
                  <a:pt x="112" y="143"/>
                </a:lnTo>
                <a:lnTo>
                  <a:pt x="113" y="140"/>
                </a:lnTo>
                <a:lnTo>
                  <a:pt x="118" y="138"/>
                </a:lnTo>
                <a:lnTo>
                  <a:pt x="121" y="137"/>
                </a:lnTo>
                <a:lnTo>
                  <a:pt x="123" y="135"/>
                </a:lnTo>
                <a:lnTo>
                  <a:pt x="125" y="134"/>
                </a:lnTo>
                <a:lnTo>
                  <a:pt x="126" y="134"/>
                </a:lnTo>
                <a:lnTo>
                  <a:pt x="127" y="135"/>
                </a:lnTo>
                <a:lnTo>
                  <a:pt x="132" y="135"/>
                </a:lnTo>
                <a:lnTo>
                  <a:pt x="132" y="135"/>
                </a:lnTo>
                <a:lnTo>
                  <a:pt x="133" y="137"/>
                </a:lnTo>
                <a:lnTo>
                  <a:pt x="134" y="137"/>
                </a:lnTo>
                <a:lnTo>
                  <a:pt x="137" y="138"/>
                </a:lnTo>
                <a:lnTo>
                  <a:pt x="137" y="137"/>
                </a:lnTo>
                <a:lnTo>
                  <a:pt x="140" y="137"/>
                </a:lnTo>
                <a:lnTo>
                  <a:pt x="141" y="138"/>
                </a:lnTo>
                <a:lnTo>
                  <a:pt x="143" y="138"/>
                </a:lnTo>
                <a:lnTo>
                  <a:pt x="144" y="138"/>
                </a:lnTo>
                <a:lnTo>
                  <a:pt x="145" y="139"/>
                </a:lnTo>
                <a:lnTo>
                  <a:pt x="146" y="140"/>
                </a:lnTo>
                <a:lnTo>
                  <a:pt x="148" y="140"/>
                </a:lnTo>
                <a:lnTo>
                  <a:pt x="152" y="142"/>
                </a:lnTo>
                <a:lnTo>
                  <a:pt x="155" y="142"/>
                </a:lnTo>
                <a:lnTo>
                  <a:pt x="162" y="140"/>
                </a:lnTo>
                <a:lnTo>
                  <a:pt x="163" y="139"/>
                </a:lnTo>
                <a:lnTo>
                  <a:pt x="163" y="138"/>
                </a:lnTo>
                <a:lnTo>
                  <a:pt x="165" y="135"/>
                </a:lnTo>
                <a:lnTo>
                  <a:pt x="167" y="133"/>
                </a:lnTo>
                <a:lnTo>
                  <a:pt x="170" y="132"/>
                </a:lnTo>
                <a:lnTo>
                  <a:pt x="170" y="131"/>
                </a:lnTo>
                <a:lnTo>
                  <a:pt x="175" y="129"/>
                </a:lnTo>
                <a:lnTo>
                  <a:pt x="175" y="129"/>
                </a:lnTo>
                <a:lnTo>
                  <a:pt x="175" y="128"/>
                </a:lnTo>
                <a:lnTo>
                  <a:pt x="175" y="127"/>
                </a:lnTo>
                <a:lnTo>
                  <a:pt x="175" y="124"/>
                </a:lnTo>
                <a:lnTo>
                  <a:pt x="174" y="122"/>
                </a:lnTo>
                <a:lnTo>
                  <a:pt x="167" y="121"/>
                </a:lnTo>
                <a:lnTo>
                  <a:pt x="166" y="120"/>
                </a:lnTo>
                <a:lnTo>
                  <a:pt x="165" y="117"/>
                </a:lnTo>
                <a:lnTo>
                  <a:pt x="165" y="114"/>
                </a:lnTo>
                <a:lnTo>
                  <a:pt x="165" y="112"/>
                </a:lnTo>
                <a:lnTo>
                  <a:pt x="165" y="110"/>
                </a:lnTo>
                <a:lnTo>
                  <a:pt x="163" y="110"/>
                </a:lnTo>
                <a:lnTo>
                  <a:pt x="162" y="109"/>
                </a:lnTo>
                <a:lnTo>
                  <a:pt x="162" y="108"/>
                </a:lnTo>
                <a:lnTo>
                  <a:pt x="163" y="105"/>
                </a:lnTo>
                <a:lnTo>
                  <a:pt x="164" y="104"/>
                </a:lnTo>
                <a:lnTo>
                  <a:pt x="166" y="102"/>
                </a:lnTo>
                <a:lnTo>
                  <a:pt x="166" y="100"/>
                </a:lnTo>
                <a:lnTo>
                  <a:pt x="163" y="94"/>
                </a:lnTo>
                <a:lnTo>
                  <a:pt x="163" y="93"/>
                </a:lnTo>
                <a:lnTo>
                  <a:pt x="163" y="92"/>
                </a:lnTo>
                <a:lnTo>
                  <a:pt x="165" y="92"/>
                </a:lnTo>
                <a:lnTo>
                  <a:pt x="164" y="89"/>
                </a:lnTo>
                <a:lnTo>
                  <a:pt x="163" y="89"/>
                </a:lnTo>
                <a:lnTo>
                  <a:pt x="162" y="87"/>
                </a:lnTo>
                <a:lnTo>
                  <a:pt x="162" y="82"/>
                </a:lnTo>
                <a:lnTo>
                  <a:pt x="161" y="82"/>
                </a:lnTo>
                <a:lnTo>
                  <a:pt x="156" y="82"/>
                </a:lnTo>
                <a:lnTo>
                  <a:pt x="154" y="87"/>
                </a:lnTo>
                <a:lnTo>
                  <a:pt x="152" y="87"/>
                </a:lnTo>
                <a:lnTo>
                  <a:pt x="151" y="87"/>
                </a:lnTo>
                <a:lnTo>
                  <a:pt x="151" y="81"/>
                </a:lnTo>
                <a:lnTo>
                  <a:pt x="152" y="79"/>
                </a:lnTo>
                <a:lnTo>
                  <a:pt x="153" y="78"/>
                </a:lnTo>
                <a:lnTo>
                  <a:pt x="154" y="77"/>
                </a:lnTo>
                <a:lnTo>
                  <a:pt x="156" y="75"/>
                </a:lnTo>
                <a:lnTo>
                  <a:pt x="156" y="74"/>
                </a:lnTo>
                <a:lnTo>
                  <a:pt x="156" y="72"/>
                </a:lnTo>
                <a:lnTo>
                  <a:pt x="158" y="71"/>
                </a:lnTo>
                <a:lnTo>
                  <a:pt x="164" y="65"/>
                </a:lnTo>
                <a:lnTo>
                  <a:pt x="163" y="64"/>
                </a:lnTo>
                <a:lnTo>
                  <a:pt x="164" y="62"/>
                </a:lnTo>
                <a:lnTo>
                  <a:pt x="168" y="63"/>
                </a:lnTo>
                <a:lnTo>
                  <a:pt x="171" y="62"/>
                </a:lnTo>
                <a:lnTo>
                  <a:pt x="172" y="61"/>
                </a:lnTo>
                <a:lnTo>
                  <a:pt x="172" y="60"/>
                </a:lnTo>
                <a:lnTo>
                  <a:pt x="171" y="58"/>
                </a:lnTo>
                <a:lnTo>
                  <a:pt x="171" y="52"/>
                </a:lnTo>
                <a:lnTo>
                  <a:pt x="173" y="47"/>
                </a:lnTo>
                <a:lnTo>
                  <a:pt x="173" y="44"/>
                </a:lnTo>
                <a:lnTo>
                  <a:pt x="177" y="39"/>
                </a:lnTo>
                <a:lnTo>
                  <a:pt x="178" y="37"/>
                </a:lnTo>
                <a:lnTo>
                  <a:pt x="175" y="36"/>
                </a:lnTo>
                <a:lnTo>
                  <a:pt x="164" y="33"/>
                </a:lnTo>
                <a:lnTo>
                  <a:pt x="160" y="32"/>
                </a:lnTo>
                <a:lnTo>
                  <a:pt x="157" y="30"/>
                </a:lnTo>
                <a:lnTo>
                  <a:pt x="156" y="29"/>
                </a:lnTo>
                <a:lnTo>
                  <a:pt x="153" y="27"/>
                </a:lnTo>
                <a:lnTo>
                  <a:pt x="150" y="27"/>
                </a:lnTo>
                <a:lnTo>
                  <a:pt x="145" y="26"/>
                </a:lnTo>
                <a:lnTo>
                  <a:pt x="143" y="27"/>
                </a:lnTo>
                <a:lnTo>
                  <a:pt x="141" y="26"/>
                </a:lnTo>
                <a:lnTo>
                  <a:pt x="138" y="24"/>
                </a:lnTo>
                <a:lnTo>
                  <a:pt x="135" y="23"/>
                </a:lnTo>
                <a:lnTo>
                  <a:pt x="136" y="22"/>
                </a:lnTo>
                <a:lnTo>
                  <a:pt x="135" y="21"/>
                </a:lnTo>
                <a:lnTo>
                  <a:pt x="134" y="17"/>
                </a:lnTo>
                <a:lnTo>
                  <a:pt x="133" y="17"/>
                </a:lnTo>
                <a:lnTo>
                  <a:pt x="132" y="18"/>
                </a:lnTo>
                <a:lnTo>
                  <a:pt x="131" y="20"/>
                </a:lnTo>
                <a:lnTo>
                  <a:pt x="127" y="20"/>
                </a:lnTo>
                <a:lnTo>
                  <a:pt x="125" y="19"/>
                </a:lnTo>
                <a:lnTo>
                  <a:pt x="124" y="16"/>
                </a:lnTo>
                <a:lnTo>
                  <a:pt x="124" y="13"/>
                </a:lnTo>
                <a:lnTo>
                  <a:pt x="123" y="12"/>
                </a:lnTo>
                <a:lnTo>
                  <a:pt x="120" y="12"/>
                </a:lnTo>
                <a:lnTo>
                  <a:pt x="115" y="10"/>
                </a:lnTo>
                <a:lnTo>
                  <a:pt x="113" y="10"/>
                </a:lnTo>
                <a:lnTo>
                  <a:pt x="111" y="6"/>
                </a:lnTo>
                <a:lnTo>
                  <a:pt x="108" y="6"/>
                </a:lnTo>
                <a:lnTo>
                  <a:pt x="105" y="4"/>
                </a:lnTo>
                <a:lnTo>
                  <a:pt x="104" y="3"/>
                </a:lnTo>
                <a:lnTo>
                  <a:pt x="104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74" name="Freeform 674"/>
          <p:cNvSpPr>
            <a:spLocks/>
          </p:cNvSpPr>
          <p:nvPr/>
        </p:nvSpPr>
        <p:spPr bwMode="auto">
          <a:xfrm>
            <a:off x="4130675" y="2365340"/>
            <a:ext cx="76200" cy="144463"/>
          </a:xfrm>
          <a:custGeom>
            <a:avLst/>
            <a:gdLst>
              <a:gd name="T0" fmla="*/ 28 w 48"/>
              <a:gd name="T1" fmla="*/ 83 h 91"/>
              <a:gd name="T2" fmla="*/ 31 w 48"/>
              <a:gd name="T3" fmla="*/ 77 h 91"/>
              <a:gd name="T4" fmla="*/ 36 w 48"/>
              <a:gd name="T5" fmla="*/ 73 h 91"/>
              <a:gd name="T6" fmla="*/ 33 w 48"/>
              <a:gd name="T7" fmla="*/ 67 h 91"/>
              <a:gd name="T8" fmla="*/ 33 w 48"/>
              <a:gd name="T9" fmla="*/ 60 h 91"/>
              <a:gd name="T10" fmla="*/ 35 w 48"/>
              <a:gd name="T11" fmla="*/ 54 h 91"/>
              <a:gd name="T12" fmla="*/ 32 w 48"/>
              <a:gd name="T13" fmla="*/ 49 h 91"/>
              <a:gd name="T14" fmla="*/ 33 w 48"/>
              <a:gd name="T15" fmla="*/ 43 h 91"/>
              <a:gd name="T16" fmla="*/ 38 w 48"/>
              <a:gd name="T17" fmla="*/ 39 h 91"/>
              <a:gd name="T18" fmla="*/ 37 w 48"/>
              <a:gd name="T19" fmla="*/ 34 h 91"/>
              <a:gd name="T20" fmla="*/ 40 w 48"/>
              <a:gd name="T21" fmla="*/ 29 h 91"/>
              <a:gd name="T22" fmla="*/ 41 w 48"/>
              <a:gd name="T23" fmla="*/ 22 h 91"/>
              <a:gd name="T24" fmla="*/ 46 w 48"/>
              <a:gd name="T25" fmla="*/ 13 h 91"/>
              <a:gd name="T26" fmla="*/ 48 w 48"/>
              <a:gd name="T27" fmla="*/ 9 h 91"/>
              <a:gd name="T28" fmla="*/ 45 w 48"/>
              <a:gd name="T29" fmla="*/ 3 h 91"/>
              <a:gd name="T30" fmla="*/ 36 w 48"/>
              <a:gd name="T31" fmla="*/ 3 h 91"/>
              <a:gd name="T32" fmla="*/ 26 w 48"/>
              <a:gd name="T33" fmla="*/ 4 h 91"/>
              <a:gd name="T34" fmla="*/ 22 w 48"/>
              <a:gd name="T35" fmla="*/ 3 h 91"/>
              <a:gd name="T36" fmla="*/ 17 w 48"/>
              <a:gd name="T37" fmla="*/ 1 h 91"/>
              <a:gd name="T38" fmla="*/ 11 w 48"/>
              <a:gd name="T39" fmla="*/ 4 h 91"/>
              <a:gd name="T40" fmla="*/ 13 w 48"/>
              <a:gd name="T41" fmla="*/ 19 h 91"/>
              <a:gd name="T42" fmla="*/ 11 w 48"/>
              <a:gd name="T43" fmla="*/ 25 h 91"/>
              <a:gd name="T44" fmla="*/ 10 w 48"/>
              <a:gd name="T45" fmla="*/ 32 h 91"/>
              <a:gd name="T46" fmla="*/ 7 w 48"/>
              <a:gd name="T47" fmla="*/ 39 h 91"/>
              <a:gd name="T48" fmla="*/ 4 w 48"/>
              <a:gd name="T49" fmla="*/ 46 h 91"/>
              <a:gd name="T50" fmla="*/ 1 w 48"/>
              <a:gd name="T51" fmla="*/ 55 h 91"/>
              <a:gd name="T52" fmla="*/ 0 w 48"/>
              <a:gd name="T53" fmla="*/ 60 h 91"/>
              <a:gd name="T54" fmla="*/ 4 w 48"/>
              <a:gd name="T55" fmla="*/ 65 h 91"/>
              <a:gd name="T56" fmla="*/ 11 w 48"/>
              <a:gd name="T57" fmla="*/ 64 h 91"/>
              <a:gd name="T58" fmla="*/ 10 w 48"/>
              <a:gd name="T59" fmla="*/ 66 h 91"/>
              <a:gd name="T60" fmla="*/ 9 w 48"/>
              <a:gd name="T61" fmla="*/ 73 h 91"/>
              <a:gd name="T62" fmla="*/ 9 w 48"/>
              <a:gd name="T63" fmla="*/ 81 h 91"/>
              <a:gd name="T64" fmla="*/ 6 w 48"/>
              <a:gd name="T65" fmla="*/ 86 h 91"/>
              <a:gd name="T66" fmla="*/ 7 w 48"/>
              <a:gd name="T67" fmla="*/ 91 h 91"/>
              <a:gd name="T68" fmla="*/ 13 w 48"/>
              <a:gd name="T69" fmla="*/ 90 h 91"/>
              <a:gd name="T70" fmla="*/ 20 w 48"/>
              <a:gd name="T71" fmla="*/ 91 h 91"/>
              <a:gd name="T72" fmla="*/ 25 w 48"/>
              <a:gd name="T73" fmla="*/ 90 h 91"/>
              <a:gd name="T74" fmla="*/ 30 w 48"/>
              <a:gd name="T75" fmla="*/ 87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8" h="91">
                <a:moveTo>
                  <a:pt x="30" y="87"/>
                </a:moveTo>
                <a:lnTo>
                  <a:pt x="28" y="83"/>
                </a:lnTo>
                <a:lnTo>
                  <a:pt x="28" y="81"/>
                </a:lnTo>
                <a:lnTo>
                  <a:pt x="31" y="77"/>
                </a:lnTo>
                <a:lnTo>
                  <a:pt x="34" y="75"/>
                </a:lnTo>
                <a:lnTo>
                  <a:pt x="36" y="73"/>
                </a:lnTo>
                <a:lnTo>
                  <a:pt x="35" y="70"/>
                </a:lnTo>
                <a:lnTo>
                  <a:pt x="33" y="67"/>
                </a:lnTo>
                <a:lnTo>
                  <a:pt x="32" y="63"/>
                </a:lnTo>
                <a:lnTo>
                  <a:pt x="33" y="60"/>
                </a:lnTo>
                <a:lnTo>
                  <a:pt x="34" y="56"/>
                </a:lnTo>
                <a:lnTo>
                  <a:pt x="35" y="54"/>
                </a:lnTo>
                <a:lnTo>
                  <a:pt x="35" y="53"/>
                </a:lnTo>
                <a:lnTo>
                  <a:pt x="32" y="49"/>
                </a:lnTo>
                <a:lnTo>
                  <a:pt x="31" y="44"/>
                </a:lnTo>
                <a:lnTo>
                  <a:pt x="33" y="43"/>
                </a:lnTo>
                <a:lnTo>
                  <a:pt x="36" y="42"/>
                </a:lnTo>
                <a:lnTo>
                  <a:pt x="38" y="39"/>
                </a:lnTo>
                <a:lnTo>
                  <a:pt x="40" y="36"/>
                </a:lnTo>
                <a:lnTo>
                  <a:pt x="37" y="34"/>
                </a:lnTo>
                <a:lnTo>
                  <a:pt x="37" y="32"/>
                </a:lnTo>
                <a:lnTo>
                  <a:pt x="40" y="29"/>
                </a:lnTo>
                <a:lnTo>
                  <a:pt x="40" y="25"/>
                </a:lnTo>
                <a:lnTo>
                  <a:pt x="41" y="22"/>
                </a:lnTo>
                <a:lnTo>
                  <a:pt x="41" y="19"/>
                </a:lnTo>
                <a:lnTo>
                  <a:pt x="46" y="13"/>
                </a:lnTo>
                <a:lnTo>
                  <a:pt x="48" y="10"/>
                </a:lnTo>
                <a:lnTo>
                  <a:pt x="48" y="9"/>
                </a:lnTo>
                <a:lnTo>
                  <a:pt x="46" y="6"/>
                </a:lnTo>
                <a:lnTo>
                  <a:pt x="45" y="3"/>
                </a:lnTo>
                <a:lnTo>
                  <a:pt x="41" y="3"/>
                </a:lnTo>
                <a:lnTo>
                  <a:pt x="36" y="3"/>
                </a:lnTo>
                <a:lnTo>
                  <a:pt x="33" y="4"/>
                </a:lnTo>
                <a:lnTo>
                  <a:pt x="26" y="4"/>
                </a:lnTo>
                <a:lnTo>
                  <a:pt x="23" y="4"/>
                </a:lnTo>
                <a:lnTo>
                  <a:pt x="22" y="3"/>
                </a:lnTo>
                <a:lnTo>
                  <a:pt x="21" y="0"/>
                </a:lnTo>
                <a:lnTo>
                  <a:pt x="17" y="1"/>
                </a:lnTo>
                <a:lnTo>
                  <a:pt x="13" y="2"/>
                </a:lnTo>
                <a:lnTo>
                  <a:pt x="11" y="4"/>
                </a:lnTo>
                <a:lnTo>
                  <a:pt x="13" y="15"/>
                </a:lnTo>
                <a:lnTo>
                  <a:pt x="13" y="19"/>
                </a:lnTo>
                <a:lnTo>
                  <a:pt x="12" y="20"/>
                </a:lnTo>
                <a:lnTo>
                  <a:pt x="11" y="25"/>
                </a:lnTo>
                <a:lnTo>
                  <a:pt x="10" y="28"/>
                </a:lnTo>
                <a:lnTo>
                  <a:pt x="10" y="32"/>
                </a:lnTo>
                <a:lnTo>
                  <a:pt x="9" y="35"/>
                </a:lnTo>
                <a:lnTo>
                  <a:pt x="7" y="39"/>
                </a:lnTo>
                <a:lnTo>
                  <a:pt x="6" y="43"/>
                </a:lnTo>
                <a:lnTo>
                  <a:pt x="4" y="46"/>
                </a:lnTo>
                <a:lnTo>
                  <a:pt x="1" y="51"/>
                </a:lnTo>
                <a:lnTo>
                  <a:pt x="1" y="55"/>
                </a:lnTo>
                <a:lnTo>
                  <a:pt x="0" y="59"/>
                </a:lnTo>
                <a:lnTo>
                  <a:pt x="0" y="60"/>
                </a:lnTo>
                <a:lnTo>
                  <a:pt x="2" y="61"/>
                </a:lnTo>
                <a:lnTo>
                  <a:pt x="4" y="65"/>
                </a:lnTo>
                <a:lnTo>
                  <a:pt x="6" y="64"/>
                </a:lnTo>
                <a:lnTo>
                  <a:pt x="11" y="64"/>
                </a:lnTo>
                <a:lnTo>
                  <a:pt x="10" y="65"/>
                </a:lnTo>
                <a:lnTo>
                  <a:pt x="10" y="66"/>
                </a:lnTo>
                <a:lnTo>
                  <a:pt x="10" y="70"/>
                </a:lnTo>
                <a:lnTo>
                  <a:pt x="9" y="73"/>
                </a:lnTo>
                <a:lnTo>
                  <a:pt x="9" y="75"/>
                </a:lnTo>
                <a:lnTo>
                  <a:pt x="9" y="81"/>
                </a:lnTo>
                <a:lnTo>
                  <a:pt x="9" y="83"/>
                </a:lnTo>
                <a:lnTo>
                  <a:pt x="6" y="86"/>
                </a:lnTo>
                <a:lnTo>
                  <a:pt x="6" y="90"/>
                </a:lnTo>
                <a:lnTo>
                  <a:pt x="7" y="91"/>
                </a:lnTo>
                <a:lnTo>
                  <a:pt x="10" y="90"/>
                </a:lnTo>
                <a:lnTo>
                  <a:pt x="13" y="90"/>
                </a:lnTo>
                <a:lnTo>
                  <a:pt x="17" y="90"/>
                </a:lnTo>
                <a:lnTo>
                  <a:pt x="20" y="91"/>
                </a:lnTo>
                <a:lnTo>
                  <a:pt x="22" y="91"/>
                </a:lnTo>
                <a:lnTo>
                  <a:pt x="25" y="90"/>
                </a:lnTo>
                <a:lnTo>
                  <a:pt x="27" y="89"/>
                </a:lnTo>
                <a:lnTo>
                  <a:pt x="30" y="87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75" name="Freeform 675"/>
          <p:cNvSpPr>
            <a:spLocks/>
          </p:cNvSpPr>
          <p:nvPr/>
        </p:nvSpPr>
        <p:spPr bwMode="auto">
          <a:xfrm>
            <a:off x="4130675" y="2365340"/>
            <a:ext cx="76200" cy="144463"/>
          </a:xfrm>
          <a:custGeom>
            <a:avLst/>
            <a:gdLst>
              <a:gd name="T0" fmla="*/ 28 w 48"/>
              <a:gd name="T1" fmla="*/ 83 h 91"/>
              <a:gd name="T2" fmla="*/ 31 w 48"/>
              <a:gd name="T3" fmla="*/ 77 h 91"/>
              <a:gd name="T4" fmla="*/ 36 w 48"/>
              <a:gd name="T5" fmla="*/ 73 h 91"/>
              <a:gd name="T6" fmla="*/ 33 w 48"/>
              <a:gd name="T7" fmla="*/ 67 h 91"/>
              <a:gd name="T8" fmla="*/ 33 w 48"/>
              <a:gd name="T9" fmla="*/ 60 h 91"/>
              <a:gd name="T10" fmla="*/ 35 w 48"/>
              <a:gd name="T11" fmla="*/ 54 h 91"/>
              <a:gd name="T12" fmla="*/ 32 w 48"/>
              <a:gd name="T13" fmla="*/ 49 h 91"/>
              <a:gd name="T14" fmla="*/ 33 w 48"/>
              <a:gd name="T15" fmla="*/ 43 h 91"/>
              <a:gd name="T16" fmla="*/ 38 w 48"/>
              <a:gd name="T17" fmla="*/ 39 h 91"/>
              <a:gd name="T18" fmla="*/ 37 w 48"/>
              <a:gd name="T19" fmla="*/ 34 h 91"/>
              <a:gd name="T20" fmla="*/ 40 w 48"/>
              <a:gd name="T21" fmla="*/ 29 h 91"/>
              <a:gd name="T22" fmla="*/ 41 w 48"/>
              <a:gd name="T23" fmla="*/ 22 h 91"/>
              <a:gd name="T24" fmla="*/ 46 w 48"/>
              <a:gd name="T25" fmla="*/ 13 h 91"/>
              <a:gd name="T26" fmla="*/ 48 w 48"/>
              <a:gd name="T27" fmla="*/ 9 h 91"/>
              <a:gd name="T28" fmla="*/ 45 w 48"/>
              <a:gd name="T29" fmla="*/ 3 h 91"/>
              <a:gd name="T30" fmla="*/ 36 w 48"/>
              <a:gd name="T31" fmla="*/ 3 h 91"/>
              <a:gd name="T32" fmla="*/ 26 w 48"/>
              <a:gd name="T33" fmla="*/ 4 h 91"/>
              <a:gd name="T34" fmla="*/ 22 w 48"/>
              <a:gd name="T35" fmla="*/ 3 h 91"/>
              <a:gd name="T36" fmla="*/ 17 w 48"/>
              <a:gd name="T37" fmla="*/ 1 h 91"/>
              <a:gd name="T38" fmla="*/ 11 w 48"/>
              <a:gd name="T39" fmla="*/ 4 h 91"/>
              <a:gd name="T40" fmla="*/ 13 w 48"/>
              <a:gd name="T41" fmla="*/ 19 h 91"/>
              <a:gd name="T42" fmla="*/ 11 w 48"/>
              <a:gd name="T43" fmla="*/ 25 h 91"/>
              <a:gd name="T44" fmla="*/ 10 w 48"/>
              <a:gd name="T45" fmla="*/ 32 h 91"/>
              <a:gd name="T46" fmla="*/ 7 w 48"/>
              <a:gd name="T47" fmla="*/ 39 h 91"/>
              <a:gd name="T48" fmla="*/ 4 w 48"/>
              <a:gd name="T49" fmla="*/ 46 h 91"/>
              <a:gd name="T50" fmla="*/ 1 w 48"/>
              <a:gd name="T51" fmla="*/ 55 h 91"/>
              <a:gd name="T52" fmla="*/ 0 w 48"/>
              <a:gd name="T53" fmla="*/ 60 h 91"/>
              <a:gd name="T54" fmla="*/ 4 w 48"/>
              <a:gd name="T55" fmla="*/ 65 h 91"/>
              <a:gd name="T56" fmla="*/ 11 w 48"/>
              <a:gd name="T57" fmla="*/ 64 h 91"/>
              <a:gd name="T58" fmla="*/ 10 w 48"/>
              <a:gd name="T59" fmla="*/ 66 h 91"/>
              <a:gd name="T60" fmla="*/ 9 w 48"/>
              <a:gd name="T61" fmla="*/ 73 h 91"/>
              <a:gd name="T62" fmla="*/ 9 w 48"/>
              <a:gd name="T63" fmla="*/ 81 h 91"/>
              <a:gd name="T64" fmla="*/ 6 w 48"/>
              <a:gd name="T65" fmla="*/ 86 h 91"/>
              <a:gd name="T66" fmla="*/ 7 w 48"/>
              <a:gd name="T67" fmla="*/ 91 h 91"/>
              <a:gd name="T68" fmla="*/ 13 w 48"/>
              <a:gd name="T69" fmla="*/ 90 h 91"/>
              <a:gd name="T70" fmla="*/ 20 w 48"/>
              <a:gd name="T71" fmla="*/ 91 h 91"/>
              <a:gd name="T72" fmla="*/ 25 w 48"/>
              <a:gd name="T73" fmla="*/ 90 h 91"/>
              <a:gd name="T74" fmla="*/ 30 w 48"/>
              <a:gd name="T75" fmla="*/ 87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8" h="91">
                <a:moveTo>
                  <a:pt x="30" y="87"/>
                </a:moveTo>
                <a:lnTo>
                  <a:pt x="28" y="83"/>
                </a:lnTo>
                <a:lnTo>
                  <a:pt x="28" y="81"/>
                </a:lnTo>
                <a:lnTo>
                  <a:pt x="31" y="77"/>
                </a:lnTo>
                <a:lnTo>
                  <a:pt x="34" y="75"/>
                </a:lnTo>
                <a:lnTo>
                  <a:pt x="36" y="73"/>
                </a:lnTo>
                <a:lnTo>
                  <a:pt x="35" y="70"/>
                </a:lnTo>
                <a:lnTo>
                  <a:pt x="33" y="67"/>
                </a:lnTo>
                <a:lnTo>
                  <a:pt x="32" y="63"/>
                </a:lnTo>
                <a:lnTo>
                  <a:pt x="33" y="60"/>
                </a:lnTo>
                <a:lnTo>
                  <a:pt x="34" y="56"/>
                </a:lnTo>
                <a:lnTo>
                  <a:pt x="35" y="54"/>
                </a:lnTo>
                <a:lnTo>
                  <a:pt x="35" y="53"/>
                </a:lnTo>
                <a:lnTo>
                  <a:pt x="32" y="49"/>
                </a:lnTo>
                <a:lnTo>
                  <a:pt x="31" y="44"/>
                </a:lnTo>
                <a:lnTo>
                  <a:pt x="33" y="43"/>
                </a:lnTo>
                <a:lnTo>
                  <a:pt x="36" y="42"/>
                </a:lnTo>
                <a:lnTo>
                  <a:pt x="38" y="39"/>
                </a:lnTo>
                <a:lnTo>
                  <a:pt x="40" y="36"/>
                </a:lnTo>
                <a:lnTo>
                  <a:pt x="37" y="34"/>
                </a:lnTo>
                <a:lnTo>
                  <a:pt x="37" y="32"/>
                </a:lnTo>
                <a:lnTo>
                  <a:pt x="40" y="29"/>
                </a:lnTo>
                <a:lnTo>
                  <a:pt x="40" y="25"/>
                </a:lnTo>
                <a:lnTo>
                  <a:pt x="41" y="22"/>
                </a:lnTo>
                <a:lnTo>
                  <a:pt x="41" y="19"/>
                </a:lnTo>
                <a:lnTo>
                  <a:pt x="46" y="13"/>
                </a:lnTo>
                <a:lnTo>
                  <a:pt x="48" y="10"/>
                </a:lnTo>
                <a:lnTo>
                  <a:pt x="48" y="9"/>
                </a:lnTo>
                <a:lnTo>
                  <a:pt x="46" y="6"/>
                </a:lnTo>
                <a:lnTo>
                  <a:pt x="45" y="3"/>
                </a:lnTo>
                <a:lnTo>
                  <a:pt x="41" y="3"/>
                </a:lnTo>
                <a:lnTo>
                  <a:pt x="36" y="3"/>
                </a:lnTo>
                <a:lnTo>
                  <a:pt x="33" y="4"/>
                </a:lnTo>
                <a:lnTo>
                  <a:pt x="26" y="4"/>
                </a:lnTo>
                <a:lnTo>
                  <a:pt x="23" y="4"/>
                </a:lnTo>
                <a:lnTo>
                  <a:pt x="22" y="3"/>
                </a:lnTo>
                <a:lnTo>
                  <a:pt x="21" y="0"/>
                </a:lnTo>
                <a:lnTo>
                  <a:pt x="17" y="1"/>
                </a:lnTo>
                <a:lnTo>
                  <a:pt x="13" y="2"/>
                </a:lnTo>
                <a:lnTo>
                  <a:pt x="11" y="4"/>
                </a:lnTo>
                <a:lnTo>
                  <a:pt x="13" y="15"/>
                </a:lnTo>
                <a:lnTo>
                  <a:pt x="13" y="19"/>
                </a:lnTo>
                <a:lnTo>
                  <a:pt x="12" y="20"/>
                </a:lnTo>
                <a:lnTo>
                  <a:pt x="11" y="25"/>
                </a:lnTo>
                <a:lnTo>
                  <a:pt x="10" y="28"/>
                </a:lnTo>
                <a:lnTo>
                  <a:pt x="10" y="32"/>
                </a:lnTo>
                <a:lnTo>
                  <a:pt x="9" y="35"/>
                </a:lnTo>
                <a:lnTo>
                  <a:pt x="7" y="39"/>
                </a:lnTo>
                <a:lnTo>
                  <a:pt x="6" y="43"/>
                </a:lnTo>
                <a:lnTo>
                  <a:pt x="4" y="46"/>
                </a:lnTo>
                <a:lnTo>
                  <a:pt x="1" y="51"/>
                </a:lnTo>
                <a:lnTo>
                  <a:pt x="1" y="55"/>
                </a:lnTo>
                <a:lnTo>
                  <a:pt x="0" y="59"/>
                </a:lnTo>
                <a:lnTo>
                  <a:pt x="0" y="60"/>
                </a:lnTo>
                <a:lnTo>
                  <a:pt x="2" y="61"/>
                </a:lnTo>
                <a:lnTo>
                  <a:pt x="4" y="65"/>
                </a:lnTo>
                <a:lnTo>
                  <a:pt x="6" y="64"/>
                </a:lnTo>
                <a:lnTo>
                  <a:pt x="11" y="64"/>
                </a:lnTo>
                <a:lnTo>
                  <a:pt x="10" y="65"/>
                </a:lnTo>
                <a:lnTo>
                  <a:pt x="10" y="66"/>
                </a:lnTo>
                <a:lnTo>
                  <a:pt x="10" y="70"/>
                </a:lnTo>
                <a:lnTo>
                  <a:pt x="9" y="73"/>
                </a:lnTo>
                <a:lnTo>
                  <a:pt x="9" y="75"/>
                </a:lnTo>
                <a:lnTo>
                  <a:pt x="9" y="81"/>
                </a:lnTo>
                <a:lnTo>
                  <a:pt x="9" y="83"/>
                </a:lnTo>
                <a:lnTo>
                  <a:pt x="6" y="86"/>
                </a:lnTo>
                <a:lnTo>
                  <a:pt x="6" y="90"/>
                </a:lnTo>
                <a:lnTo>
                  <a:pt x="7" y="91"/>
                </a:lnTo>
                <a:lnTo>
                  <a:pt x="10" y="90"/>
                </a:lnTo>
                <a:lnTo>
                  <a:pt x="13" y="90"/>
                </a:lnTo>
                <a:lnTo>
                  <a:pt x="17" y="90"/>
                </a:lnTo>
                <a:lnTo>
                  <a:pt x="20" y="91"/>
                </a:lnTo>
                <a:lnTo>
                  <a:pt x="22" y="91"/>
                </a:lnTo>
                <a:lnTo>
                  <a:pt x="25" y="90"/>
                </a:lnTo>
                <a:lnTo>
                  <a:pt x="27" y="89"/>
                </a:lnTo>
                <a:lnTo>
                  <a:pt x="30" y="87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76" name="Freeform 676"/>
          <p:cNvSpPr>
            <a:spLocks/>
          </p:cNvSpPr>
          <p:nvPr/>
        </p:nvSpPr>
        <p:spPr bwMode="auto">
          <a:xfrm>
            <a:off x="4965700" y="2365340"/>
            <a:ext cx="449262" cy="177800"/>
          </a:xfrm>
          <a:custGeom>
            <a:avLst/>
            <a:gdLst>
              <a:gd name="T0" fmla="*/ 156 w 283"/>
              <a:gd name="T1" fmla="*/ 96 h 112"/>
              <a:gd name="T2" fmla="*/ 143 w 283"/>
              <a:gd name="T3" fmla="*/ 99 h 112"/>
              <a:gd name="T4" fmla="*/ 131 w 283"/>
              <a:gd name="T5" fmla="*/ 96 h 112"/>
              <a:gd name="T6" fmla="*/ 117 w 283"/>
              <a:gd name="T7" fmla="*/ 106 h 112"/>
              <a:gd name="T8" fmla="*/ 98 w 283"/>
              <a:gd name="T9" fmla="*/ 104 h 112"/>
              <a:gd name="T10" fmla="*/ 82 w 283"/>
              <a:gd name="T11" fmla="*/ 94 h 112"/>
              <a:gd name="T12" fmla="*/ 72 w 283"/>
              <a:gd name="T13" fmla="*/ 100 h 112"/>
              <a:gd name="T14" fmla="*/ 59 w 283"/>
              <a:gd name="T15" fmla="*/ 106 h 112"/>
              <a:gd name="T16" fmla="*/ 50 w 283"/>
              <a:gd name="T17" fmla="*/ 96 h 112"/>
              <a:gd name="T18" fmla="*/ 44 w 283"/>
              <a:gd name="T19" fmla="*/ 96 h 112"/>
              <a:gd name="T20" fmla="*/ 34 w 283"/>
              <a:gd name="T21" fmla="*/ 97 h 112"/>
              <a:gd name="T22" fmla="*/ 26 w 283"/>
              <a:gd name="T23" fmla="*/ 95 h 112"/>
              <a:gd name="T24" fmla="*/ 36 w 283"/>
              <a:gd name="T25" fmla="*/ 92 h 112"/>
              <a:gd name="T26" fmla="*/ 22 w 283"/>
              <a:gd name="T27" fmla="*/ 90 h 112"/>
              <a:gd name="T28" fmla="*/ 21 w 283"/>
              <a:gd name="T29" fmla="*/ 82 h 112"/>
              <a:gd name="T30" fmla="*/ 17 w 283"/>
              <a:gd name="T31" fmla="*/ 79 h 112"/>
              <a:gd name="T32" fmla="*/ 12 w 283"/>
              <a:gd name="T33" fmla="*/ 71 h 112"/>
              <a:gd name="T34" fmla="*/ 4 w 283"/>
              <a:gd name="T35" fmla="*/ 66 h 112"/>
              <a:gd name="T36" fmla="*/ 7 w 283"/>
              <a:gd name="T37" fmla="*/ 61 h 112"/>
              <a:gd name="T38" fmla="*/ 15 w 283"/>
              <a:gd name="T39" fmla="*/ 64 h 112"/>
              <a:gd name="T40" fmla="*/ 13 w 283"/>
              <a:gd name="T41" fmla="*/ 56 h 112"/>
              <a:gd name="T42" fmla="*/ 11 w 283"/>
              <a:gd name="T43" fmla="*/ 45 h 112"/>
              <a:gd name="T44" fmla="*/ 0 w 283"/>
              <a:gd name="T45" fmla="*/ 39 h 112"/>
              <a:gd name="T46" fmla="*/ 7 w 283"/>
              <a:gd name="T47" fmla="*/ 30 h 112"/>
              <a:gd name="T48" fmla="*/ 22 w 283"/>
              <a:gd name="T49" fmla="*/ 31 h 112"/>
              <a:gd name="T50" fmla="*/ 27 w 283"/>
              <a:gd name="T51" fmla="*/ 30 h 112"/>
              <a:gd name="T52" fmla="*/ 38 w 283"/>
              <a:gd name="T53" fmla="*/ 26 h 112"/>
              <a:gd name="T54" fmla="*/ 50 w 283"/>
              <a:gd name="T55" fmla="*/ 22 h 112"/>
              <a:gd name="T56" fmla="*/ 42 w 283"/>
              <a:gd name="T57" fmla="*/ 20 h 112"/>
              <a:gd name="T58" fmla="*/ 44 w 283"/>
              <a:gd name="T59" fmla="*/ 15 h 112"/>
              <a:gd name="T60" fmla="*/ 64 w 283"/>
              <a:gd name="T61" fmla="*/ 18 h 112"/>
              <a:gd name="T62" fmla="*/ 81 w 283"/>
              <a:gd name="T63" fmla="*/ 10 h 112"/>
              <a:gd name="T64" fmla="*/ 101 w 283"/>
              <a:gd name="T65" fmla="*/ 1 h 112"/>
              <a:gd name="T66" fmla="*/ 126 w 283"/>
              <a:gd name="T67" fmla="*/ 0 h 112"/>
              <a:gd name="T68" fmla="*/ 138 w 283"/>
              <a:gd name="T69" fmla="*/ 8 h 112"/>
              <a:gd name="T70" fmla="*/ 164 w 283"/>
              <a:gd name="T71" fmla="*/ 19 h 112"/>
              <a:gd name="T72" fmla="*/ 183 w 283"/>
              <a:gd name="T73" fmla="*/ 18 h 112"/>
              <a:gd name="T74" fmla="*/ 219 w 283"/>
              <a:gd name="T75" fmla="*/ 9 h 112"/>
              <a:gd name="T76" fmla="*/ 233 w 283"/>
              <a:gd name="T77" fmla="*/ 10 h 112"/>
              <a:gd name="T78" fmla="*/ 241 w 283"/>
              <a:gd name="T79" fmla="*/ 10 h 112"/>
              <a:gd name="T80" fmla="*/ 254 w 283"/>
              <a:gd name="T81" fmla="*/ 21 h 112"/>
              <a:gd name="T82" fmla="*/ 265 w 283"/>
              <a:gd name="T83" fmla="*/ 34 h 112"/>
              <a:gd name="T84" fmla="*/ 270 w 283"/>
              <a:gd name="T85" fmla="*/ 45 h 112"/>
              <a:gd name="T86" fmla="*/ 273 w 283"/>
              <a:gd name="T87" fmla="*/ 65 h 112"/>
              <a:gd name="T88" fmla="*/ 283 w 283"/>
              <a:gd name="T89" fmla="*/ 86 h 112"/>
              <a:gd name="T90" fmla="*/ 260 w 283"/>
              <a:gd name="T91" fmla="*/ 84 h 112"/>
              <a:gd name="T92" fmla="*/ 246 w 283"/>
              <a:gd name="T93" fmla="*/ 86 h 112"/>
              <a:gd name="T94" fmla="*/ 228 w 283"/>
              <a:gd name="T95" fmla="*/ 90 h 112"/>
              <a:gd name="T96" fmla="*/ 214 w 283"/>
              <a:gd name="T97" fmla="*/ 93 h 112"/>
              <a:gd name="T98" fmla="*/ 189 w 283"/>
              <a:gd name="T99" fmla="*/ 93 h 112"/>
              <a:gd name="T100" fmla="*/ 176 w 283"/>
              <a:gd name="T101" fmla="*/ 96 h 112"/>
              <a:gd name="T102" fmla="*/ 168 w 283"/>
              <a:gd name="T103" fmla="*/ 96 h 112"/>
              <a:gd name="T104" fmla="*/ 163 w 283"/>
              <a:gd name="T105" fmla="*/ 94 h 112"/>
              <a:gd name="T106" fmla="*/ 164 w 283"/>
              <a:gd name="T107" fmla="*/ 104 h 112"/>
              <a:gd name="T108" fmla="*/ 159 w 283"/>
              <a:gd name="T109" fmla="*/ 106 h 112"/>
              <a:gd name="T110" fmla="*/ 155 w 283"/>
              <a:gd name="T111" fmla="*/ 111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83" h="112">
                <a:moveTo>
                  <a:pt x="154" y="109"/>
                </a:moveTo>
                <a:lnTo>
                  <a:pt x="152" y="104"/>
                </a:lnTo>
                <a:lnTo>
                  <a:pt x="153" y="100"/>
                </a:lnTo>
                <a:lnTo>
                  <a:pt x="155" y="99"/>
                </a:lnTo>
                <a:lnTo>
                  <a:pt x="156" y="96"/>
                </a:lnTo>
                <a:lnTo>
                  <a:pt x="153" y="94"/>
                </a:lnTo>
                <a:lnTo>
                  <a:pt x="148" y="95"/>
                </a:lnTo>
                <a:lnTo>
                  <a:pt x="148" y="99"/>
                </a:lnTo>
                <a:lnTo>
                  <a:pt x="146" y="100"/>
                </a:lnTo>
                <a:lnTo>
                  <a:pt x="143" y="99"/>
                </a:lnTo>
                <a:lnTo>
                  <a:pt x="139" y="96"/>
                </a:lnTo>
                <a:lnTo>
                  <a:pt x="137" y="95"/>
                </a:lnTo>
                <a:lnTo>
                  <a:pt x="135" y="95"/>
                </a:lnTo>
                <a:lnTo>
                  <a:pt x="133" y="95"/>
                </a:lnTo>
                <a:lnTo>
                  <a:pt x="131" y="96"/>
                </a:lnTo>
                <a:lnTo>
                  <a:pt x="126" y="101"/>
                </a:lnTo>
                <a:lnTo>
                  <a:pt x="125" y="103"/>
                </a:lnTo>
                <a:lnTo>
                  <a:pt x="122" y="104"/>
                </a:lnTo>
                <a:lnTo>
                  <a:pt x="121" y="105"/>
                </a:lnTo>
                <a:lnTo>
                  <a:pt x="117" y="106"/>
                </a:lnTo>
                <a:lnTo>
                  <a:pt x="115" y="106"/>
                </a:lnTo>
                <a:lnTo>
                  <a:pt x="109" y="107"/>
                </a:lnTo>
                <a:lnTo>
                  <a:pt x="107" y="109"/>
                </a:lnTo>
                <a:lnTo>
                  <a:pt x="102" y="107"/>
                </a:lnTo>
                <a:lnTo>
                  <a:pt x="98" y="104"/>
                </a:lnTo>
                <a:lnTo>
                  <a:pt x="97" y="102"/>
                </a:lnTo>
                <a:lnTo>
                  <a:pt x="95" y="101"/>
                </a:lnTo>
                <a:lnTo>
                  <a:pt x="93" y="100"/>
                </a:lnTo>
                <a:lnTo>
                  <a:pt x="85" y="96"/>
                </a:lnTo>
                <a:lnTo>
                  <a:pt x="82" y="94"/>
                </a:lnTo>
                <a:lnTo>
                  <a:pt x="77" y="93"/>
                </a:lnTo>
                <a:lnTo>
                  <a:pt x="74" y="94"/>
                </a:lnTo>
                <a:lnTo>
                  <a:pt x="72" y="94"/>
                </a:lnTo>
                <a:lnTo>
                  <a:pt x="72" y="96"/>
                </a:lnTo>
                <a:lnTo>
                  <a:pt x="72" y="100"/>
                </a:lnTo>
                <a:lnTo>
                  <a:pt x="71" y="101"/>
                </a:lnTo>
                <a:lnTo>
                  <a:pt x="71" y="103"/>
                </a:lnTo>
                <a:lnTo>
                  <a:pt x="66" y="105"/>
                </a:lnTo>
                <a:lnTo>
                  <a:pt x="62" y="106"/>
                </a:lnTo>
                <a:lnTo>
                  <a:pt x="59" y="106"/>
                </a:lnTo>
                <a:lnTo>
                  <a:pt x="56" y="105"/>
                </a:lnTo>
                <a:lnTo>
                  <a:pt x="54" y="104"/>
                </a:lnTo>
                <a:lnTo>
                  <a:pt x="51" y="102"/>
                </a:lnTo>
                <a:lnTo>
                  <a:pt x="50" y="97"/>
                </a:lnTo>
                <a:lnTo>
                  <a:pt x="50" y="96"/>
                </a:lnTo>
                <a:lnTo>
                  <a:pt x="47" y="95"/>
                </a:lnTo>
                <a:lnTo>
                  <a:pt x="46" y="97"/>
                </a:lnTo>
                <a:lnTo>
                  <a:pt x="47" y="97"/>
                </a:lnTo>
                <a:lnTo>
                  <a:pt x="46" y="97"/>
                </a:lnTo>
                <a:lnTo>
                  <a:pt x="44" y="96"/>
                </a:lnTo>
                <a:lnTo>
                  <a:pt x="42" y="94"/>
                </a:lnTo>
                <a:lnTo>
                  <a:pt x="41" y="94"/>
                </a:lnTo>
                <a:lnTo>
                  <a:pt x="37" y="95"/>
                </a:lnTo>
                <a:lnTo>
                  <a:pt x="36" y="96"/>
                </a:lnTo>
                <a:lnTo>
                  <a:pt x="34" y="97"/>
                </a:lnTo>
                <a:lnTo>
                  <a:pt x="33" y="97"/>
                </a:lnTo>
                <a:lnTo>
                  <a:pt x="34" y="96"/>
                </a:lnTo>
                <a:lnTo>
                  <a:pt x="34" y="95"/>
                </a:lnTo>
                <a:lnTo>
                  <a:pt x="25" y="97"/>
                </a:lnTo>
                <a:lnTo>
                  <a:pt x="26" y="95"/>
                </a:lnTo>
                <a:lnTo>
                  <a:pt x="28" y="94"/>
                </a:lnTo>
                <a:lnTo>
                  <a:pt x="32" y="94"/>
                </a:lnTo>
                <a:lnTo>
                  <a:pt x="34" y="93"/>
                </a:lnTo>
                <a:lnTo>
                  <a:pt x="34" y="93"/>
                </a:lnTo>
                <a:lnTo>
                  <a:pt x="36" y="92"/>
                </a:lnTo>
                <a:lnTo>
                  <a:pt x="37" y="90"/>
                </a:lnTo>
                <a:lnTo>
                  <a:pt x="35" y="90"/>
                </a:lnTo>
                <a:lnTo>
                  <a:pt x="30" y="91"/>
                </a:lnTo>
                <a:lnTo>
                  <a:pt x="23" y="91"/>
                </a:lnTo>
                <a:lnTo>
                  <a:pt x="22" y="90"/>
                </a:lnTo>
                <a:lnTo>
                  <a:pt x="25" y="86"/>
                </a:lnTo>
                <a:lnTo>
                  <a:pt x="23" y="85"/>
                </a:lnTo>
                <a:lnTo>
                  <a:pt x="22" y="84"/>
                </a:lnTo>
                <a:lnTo>
                  <a:pt x="21" y="84"/>
                </a:lnTo>
                <a:lnTo>
                  <a:pt x="21" y="82"/>
                </a:lnTo>
                <a:lnTo>
                  <a:pt x="22" y="81"/>
                </a:lnTo>
                <a:lnTo>
                  <a:pt x="22" y="80"/>
                </a:lnTo>
                <a:lnTo>
                  <a:pt x="21" y="80"/>
                </a:lnTo>
                <a:lnTo>
                  <a:pt x="18" y="81"/>
                </a:lnTo>
                <a:lnTo>
                  <a:pt x="17" y="79"/>
                </a:lnTo>
                <a:lnTo>
                  <a:pt x="18" y="77"/>
                </a:lnTo>
                <a:lnTo>
                  <a:pt x="20" y="75"/>
                </a:lnTo>
                <a:lnTo>
                  <a:pt x="17" y="73"/>
                </a:lnTo>
                <a:lnTo>
                  <a:pt x="16" y="72"/>
                </a:lnTo>
                <a:lnTo>
                  <a:pt x="12" y="71"/>
                </a:lnTo>
                <a:lnTo>
                  <a:pt x="10" y="70"/>
                </a:lnTo>
                <a:lnTo>
                  <a:pt x="7" y="70"/>
                </a:lnTo>
                <a:lnTo>
                  <a:pt x="6" y="69"/>
                </a:lnTo>
                <a:lnTo>
                  <a:pt x="4" y="67"/>
                </a:lnTo>
                <a:lnTo>
                  <a:pt x="4" y="66"/>
                </a:lnTo>
                <a:lnTo>
                  <a:pt x="6" y="66"/>
                </a:lnTo>
                <a:lnTo>
                  <a:pt x="6" y="64"/>
                </a:lnTo>
                <a:lnTo>
                  <a:pt x="5" y="62"/>
                </a:lnTo>
                <a:lnTo>
                  <a:pt x="6" y="61"/>
                </a:lnTo>
                <a:lnTo>
                  <a:pt x="7" y="61"/>
                </a:lnTo>
                <a:lnTo>
                  <a:pt x="10" y="65"/>
                </a:lnTo>
                <a:lnTo>
                  <a:pt x="11" y="65"/>
                </a:lnTo>
                <a:lnTo>
                  <a:pt x="13" y="65"/>
                </a:lnTo>
                <a:lnTo>
                  <a:pt x="16" y="65"/>
                </a:lnTo>
                <a:lnTo>
                  <a:pt x="15" y="64"/>
                </a:lnTo>
                <a:lnTo>
                  <a:pt x="13" y="63"/>
                </a:lnTo>
                <a:lnTo>
                  <a:pt x="11" y="61"/>
                </a:lnTo>
                <a:lnTo>
                  <a:pt x="12" y="60"/>
                </a:lnTo>
                <a:lnTo>
                  <a:pt x="13" y="57"/>
                </a:lnTo>
                <a:lnTo>
                  <a:pt x="13" y="56"/>
                </a:lnTo>
                <a:lnTo>
                  <a:pt x="11" y="54"/>
                </a:lnTo>
                <a:lnTo>
                  <a:pt x="11" y="53"/>
                </a:lnTo>
                <a:lnTo>
                  <a:pt x="8" y="51"/>
                </a:lnTo>
                <a:lnTo>
                  <a:pt x="8" y="48"/>
                </a:lnTo>
                <a:lnTo>
                  <a:pt x="11" y="45"/>
                </a:lnTo>
                <a:lnTo>
                  <a:pt x="11" y="44"/>
                </a:lnTo>
                <a:lnTo>
                  <a:pt x="6" y="45"/>
                </a:lnTo>
                <a:lnTo>
                  <a:pt x="0" y="45"/>
                </a:lnTo>
                <a:lnTo>
                  <a:pt x="0" y="44"/>
                </a:lnTo>
                <a:lnTo>
                  <a:pt x="0" y="39"/>
                </a:lnTo>
                <a:lnTo>
                  <a:pt x="1" y="36"/>
                </a:lnTo>
                <a:lnTo>
                  <a:pt x="2" y="36"/>
                </a:lnTo>
                <a:lnTo>
                  <a:pt x="4" y="33"/>
                </a:lnTo>
                <a:lnTo>
                  <a:pt x="5" y="32"/>
                </a:lnTo>
                <a:lnTo>
                  <a:pt x="7" y="30"/>
                </a:lnTo>
                <a:lnTo>
                  <a:pt x="11" y="30"/>
                </a:lnTo>
                <a:lnTo>
                  <a:pt x="14" y="29"/>
                </a:lnTo>
                <a:lnTo>
                  <a:pt x="16" y="30"/>
                </a:lnTo>
                <a:lnTo>
                  <a:pt x="20" y="31"/>
                </a:lnTo>
                <a:lnTo>
                  <a:pt x="22" y="31"/>
                </a:lnTo>
                <a:lnTo>
                  <a:pt x="21" y="28"/>
                </a:lnTo>
                <a:lnTo>
                  <a:pt x="23" y="28"/>
                </a:lnTo>
                <a:lnTo>
                  <a:pt x="25" y="29"/>
                </a:lnTo>
                <a:lnTo>
                  <a:pt x="25" y="30"/>
                </a:lnTo>
                <a:lnTo>
                  <a:pt x="27" y="30"/>
                </a:lnTo>
                <a:lnTo>
                  <a:pt x="31" y="29"/>
                </a:lnTo>
                <a:lnTo>
                  <a:pt x="37" y="30"/>
                </a:lnTo>
                <a:lnTo>
                  <a:pt x="41" y="29"/>
                </a:lnTo>
                <a:lnTo>
                  <a:pt x="41" y="28"/>
                </a:lnTo>
                <a:lnTo>
                  <a:pt x="38" y="26"/>
                </a:lnTo>
                <a:lnTo>
                  <a:pt x="37" y="25"/>
                </a:lnTo>
                <a:lnTo>
                  <a:pt x="41" y="25"/>
                </a:lnTo>
                <a:lnTo>
                  <a:pt x="52" y="24"/>
                </a:lnTo>
                <a:lnTo>
                  <a:pt x="52" y="23"/>
                </a:lnTo>
                <a:lnTo>
                  <a:pt x="50" y="22"/>
                </a:lnTo>
                <a:lnTo>
                  <a:pt x="48" y="23"/>
                </a:lnTo>
                <a:lnTo>
                  <a:pt x="44" y="23"/>
                </a:lnTo>
                <a:lnTo>
                  <a:pt x="43" y="22"/>
                </a:lnTo>
                <a:lnTo>
                  <a:pt x="42" y="21"/>
                </a:lnTo>
                <a:lnTo>
                  <a:pt x="42" y="20"/>
                </a:lnTo>
                <a:lnTo>
                  <a:pt x="40" y="19"/>
                </a:lnTo>
                <a:lnTo>
                  <a:pt x="41" y="18"/>
                </a:lnTo>
                <a:lnTo>
                  <a:pt x="42" y="14"/>
                </a:lnTo>
                <a:lnTo>
                  <a:pt x="42" y="15"/>
                </a:lnTo>
                <a:lnTo>
                  <a:pt x="44" y="15"/>
                </a:lnTo>
                <a:lnTo>
                  <a:pt x="47" y="16"/>
                </a:lnTo>
                <a:lnTo>
                  <a:pt x="58" y="16"/>
                </a:lnTo>
                <a:lnTo>
                  <a:pt x="61" y="16"/>
                </a:lnTo>
                <a:lnTo>
                  <a:pt x="63" y="18"/>
                </a:lnTo>
                <a:lnTo>
                  <a:pt x="64" y="18"/>
                </a:lnTo>
                <a:lnTo>
                  <a:pt x="69" y="19"/>
                </a:lnTo>
                <a:lnTo>
                  <a:pt x="74" y="16"/>
                </a:lnTo>
                <a:lnTo>
                  <a:pt x="75" y="13"/>
                </a:lnTo>
                <a:lnTo>
                  <a:pt x="77" y="12"/>
                </a:lnTo>
                <a:lnTo>
                  <a:pt x="81" y="10"/>
                </a:lnTo>
                <a:lnTo>
                  <a:pt x="84" y="8"/>
                </a:lnTo>
                <a:lnTo>
                  <a:pt x="86" y="5"/>
                </a:lnTo>
                <a:lnTo>
                  <a:pt x="89" y="4"/>
                </a:lnTo>
                <a:lnTo>
                  <a:pt x="96" y="1"/>
                </a:lnTo>
                <a:lnTo>
                  <a:pt x="101" y="1"/>
                </a:lnTo>
                <a:lnTo>
                  <a:pt x="105" y="1"/>
                </a:lnTo>
                <a:lnTo>
                  <a:pt x="111" y="1"/>
                </a:lnTo>
                <a:lnTo>
                  <a:pt x="121" y="1"/>
                </a:lnTo>
                <a:lnTo>
                  <a:pt x="124" y="0"/>
                </a:lnTo>
                <a:lnTo>
                  <a:pt x="126" y="0"/>
                </a:lnTo>
                <a:lnTo>
                  <a:pt x="127" y="0"/>
                </a:lnTo>
                <a:lnTo>
                  <a:pt x="127" y="2"/>
                </a:lnTo>
                <a:lnTo>
                  <a:pt x="131" y="4"/>
                </a:lnTo>
                <a:lnTo>
                  <a:pt x="134" y="6"/>
                </a:lnTo>
                <a:lnTo>
                  <a:pt x="138" y="8"/>
                </a:lnTo>
                <a:lnTo>
                  <a:pt x="140" y="5"/>
                </a:lnTo>
                <a:lnTo>
                  <a:pt x="143" y="9"/>
                </a:lnTo>
                <a:lnTo>
                  <a:pt x="146" y="13"/>
                </a:lnTo>
                <a:lnTo>
                  <a:pt x="154" y="14"/>
                </a:lnTo>
                <a:lnTo>
                  <a:pt x="164" y="19"/>
                </a:lnTo>
                <a:lnTo>
                  <a:pt x="165" y="18"/>
                </a:lnTo>
                <a:lnTo>
                  <a:pt x="167" y="18"/>
                </a:lnTo>
                <a:lnTo>
                  <a:pt x="173" y="20"/>
                </a:lnTo>
                <a:lnTo>
                  <a:pt x="178" y="20"/>
                </a:lnTo>
                <a:lnTo>
                  <a:pt x="183" y="18"/>
                </a:lnTo>
                <a:lnTo>
                  <a:pt x="190" y="18"/>
                </a:lnTo>
                <a:lnTo>
                  <a:pt x="199" y="19"/>
                </a:lnTo>
                <a:lnTo>
                  <a:pt x="206" y="19"/>
                </a:lnTo>
                <a:lnTo>
                  <a:pt x="215" y="12"/>
                </a:lnTo>
                <a:lnTo>
                  <a:pt x="219" y="9"/>
                </a:lnTo>
                <a:lnTo>
                  <a:pt x="220" y="8"/>
                </a:lnTo>
                <a:lnTo>
                  <a:pt x="221" y="10"/>
                </a:lnTo>
                <a:lnTo>
                  <a:pt x="225" y="10"/>
                </a:lnTo>
                <a:lnTo>
                  <a:pt x="227" y="9"/>
                </a:lnTo>
                <a:lnTo>
                  <a:pt x="233" y="10"/>
                </a:lnTo>
                <a:lnTo>
                  <a:pt x="235" y="10"/>
                </a:lnTo>
                <a:lnTo>
                  <a:pt x="236" y="8"/>
                </a:lnTo>
                <a:lnTo>
                  <a:pt x="237" y="8"/>
                </a:lnTo>
                <a:lnTo>
                  <a:pt x="239" y="8"/>
                </a:lnTo>
                <a:lnTo>
                  <a:pt x="241" y="10"/>
                </a:lnTo>
                <a:lnTo>
                  <a:pt x="245" y="13"/>
                </a:lnTo>
                <a:lnTo>
                  <a:pt x="247" y="14"/>
                </a:lnTo>
                <a:lnTo>
                  <a:pt x="249" y="16"/>
                </a:lnTo>
                <a:lnTo>
                  <a:pt x="251" y="18"/>
                </a:lnTo>
                <a:lnTo>
                  <a:pt x="254" y="21"/>
                </a:lnTo>
                <a:lnTo>
                  <a:pt x="255" y="26"/>
                </a:lnTo>
                <a:lnTo>
                  <a:pt x="257" y="30"/>
                </a:lnTo>
                <a:lnTo>
                  <a:pt x="259" y="32"/>
                </a:lnTo>
                <a:lnTo>
                  <a:pt x="263" y="33"/>
                </a:lnTo>
                <a:lnTo>
                  <a:pt x="265" y="34"/>
                </a:lnTo>
                <a:lnTo>
                  <a:pt x="268" y="38"/>
                </a:lnTo>
                <a:lnTo>
                  <a:pt x="270" y="39"/>
                </a:lnTo>
                <a:lnTo>
                  <a:pt x="271" y="40"/>
                </a:lnTo>
                <a:lnTo>
                  <a:pt x="270" y="44"/>
                </a:lnTo>
                <a:lnTo>
                  <a:pt x="270" y="45"/>
                </a:lnTo>
                <a:lnTo>
                  <a:pt x="266" y="48"/>
                </a:lnTo>
                <a:lnTo>
                  <a:pt x="267" y="50"/>
                </a:lnTo>
                <a:lnTo>
                  <a:pt x="270" y="54"/>
                </a:lnTo>
                <a:lnTo>
                  <a:pt x="271" y="61"/>
                </a:lnTo>
                <a:lnTo>
                  <a:pt x="273" y="65"/>
                </a:lnTo>
                <a:lnTo>
                  <a:pt x="274" y="70"/>
                </a:lnTo>
                <a:lnTo>
                  <a:pt x="274" y="75"/>
                </a:lnTo>
                <a:lnTo>
                  <a:pt x="278" y="77"/>
                </a:lnTo>
                <a:lnTo>
                  <a:pt x="281" y="82"/>
                </a:lnTo>
                <a:lnTo>
                  <a:pt x="283" y="86"/>
                </a:lnTo>
                <a:lnTo>
                  <a:pt x="281" y="87"/>
                </a:lnTo>
                <a:lnTo>
                  <a:pt x="277" y="87"/>
                </a:lnTo>
                <a:lnTo>
                  <a:pt x="274" y="84"/>
                </a:lnTo>
                <a:lnTo>
                  <a:pt x="269" y="85"/>
                </a:lnTo>
                <a:lnTo>
                  <a:pt x="260" y="84"/>
                </a:lnTo>
                <a:lnTo>
                  <a:pt x="255" y="82"/>
                </a:lnTo>
                <a:lnTo>
                  <a:pt x="249" y="87"/>
                </a:lnTo>
                <a:lnTo>
                  <a:pt x="246" y="89"/>
                </a:lnTo>
                <a:lnTo>
                  <a:pt x="246" y="87"/>
                </a:lnTo>
                <a:lnTo>
                  <a:pt x="246" y="86"/>
                </a:lnTo>
                <a:lnTo>
                  <a:pt x="245" y="85"/>
                </a:lnTo>
                <a:lnTo>
                  <a:pt x="244" y="85"/>
                </a:lnTo>
                <a:lnTo>
                  <a:pt x="241" y="86"/>
                </a:lnTo>
                <a:lnTo>
                  <a:pt x="237" y="89"/>
                </a:lnTo>
                <a:lnTo>
                  <a:pt x="228" y="90"/>
                </a:lnTo>
                <a:lnTo>
                  <a:pt x="225" y="89"/>
                </a:lnTo>
                <a:lnTo>
                  <a:pt x="223" y="89"/>
                </a:lnTo>
                <a:lnTo>
                  <a:pt x="218" y="90"/>
                </a:lnTo>
                <a:lnTo>
                  <a:pt x="216" y="92"/>
                </a:lnTo>
                <a:lnTo>
                  <a:pt x="214" y="93"/>
                </a:lnTo>
                <a:lnTo>
                  <a:pt x="210" y="94"/>
                </a:lnTo>
                <a:lnTo>
                  <a:pt x="209" y="95"/>
                </a:lnTo>
                <a:lnTo>
                  <a:pt x="200" y="96"/>
                </a:lnTo>
                <a:lnTo>
                  <a:pt x="193" y="95"/>
                </a:lnTo>
                <a:lnTo>
                  <a:pt x="189" y="93"/>
                </a:lnTo>
                <a:lnTo>
                  <a:pt x="187" y="92"/>
                </a:lnTo>
                <a:lnTo>
                  <a:pt x="184" y="93"/>
                </a:lnTo>
                <a:lnTo>
                  <a:pt x="182" y="94"/>
                </a:lnTo>
                <a:lnTo>
                  <a:pt x="178" y="95"/>
                </a:lnTo>
                <a:lnTo>
                  <a:pt x="176" y="96"/>
                </a:lnTo>
                <a:lnTo>
                  <a:pt x="175" y="97"/>
                </a:lnTo>
                <a:lnTo>
                  <a:pt x="170" y="96"/>
                </a:lnTo>
                <a:lnTo>
                  <a:pt x="168" y="97"/>
                </a:lnTo>
                <a:lnTo>
                  <a:pt x="168" y="96"/>
                </a:lnTo>
                <a:lnTo>
                  <a:pt x="168" y="96"/>
                </a:lnTo>
                <a:lnTo>
                  <a:pt x="168" y="95"/>
                </a:lnTo>
                <a:lnTo>
                  <a:pt x="168" y="95"/>
                </a:lnTo>
                <a:lnTo>
                  <a:pt x="166" y="95"/>
                </a:lnTo>
                <a:lnTo>
                  <a:pt x="164" y="94"/>
                </a:lnTo>
                <a:lnTo>
                  <a:pt x="163" y="94"/>
                </a:lnTo>
                <a:lnTo>
                  <a:pt x="162" y="96"/>
                </a:lnTo>
                <a:lnTo>
                  <a:pt x="160" y="97"/>
                </a:lnTo>
                <a:lnTo>
                  <a:pt x="162" y="99"/>
                </a:lnTo>
                <a:lnTo>
                  <a:pt x="160" y="101"/>
                </a:lnTo>
                <a:lnTo>
                  <a:pt x="164" y="104"/>
                </a:lnTo>
                <a:lnTo>
                  <a:pt x="164" y="104"/>
                </a:lnTo>
                <a:lnTo>
                  <a:pt x="164" y="105"/>
                </a:lnTo>
                <a:lnTo>
                  <a:pt x="162" y="105"/>
                </a:lnTo>
                <a:lnTo>
                  <a:pt x="159" y="105"/>
                </a:lnTo>
                <a:lnTo>
                  <a:pt x="159" y="106"/>
                </a:lnTo>
                <a:lnTo>
                  <a:pt x="159" y="109"/>
                </a:lnTo>
                <a:lnTo>
                  <a:pt x="158" y="110"/>
                </a:lnTo>
                <a:lnTo>
                  <a:pt x="157" y="111"/>
                </a:lnTo>
                <a:lnTo>
                  <a:pt x="157" y="112"/>
                </a:lnTo>
                <a:lnTo>
                  <a:pt x="155" y="111"/>
                </a:lnTo>
                <a:lnTo>
                  <a:pt x="154" y="110"/>
                </a:lnTo>
                <a:lnTo>
                  <a:pt x="153" y="110"/>
                </a:lnTo>
                <a:lnTo>
                  <a:pt x="154" y="109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77" name="Freeform 677"/>
          <p:cNvSpPr>
            <a:spLocks/>
          </p:cNvSpPr>
          <p:nvPr/>
        </p:nvSpPr>
        <p:spPr bwMode="auto">
          <a:xfrm>
            <a:off x="4965700" y="2365340"/>
            <a:ext cx="449262" cy="177800"/>
          </a:xfrm>
          <a:custGeom>
            <a:avLst/>
            <a:gdLst>
              <a:gd name="T0" fmla="*/ 156 w 283"/>
              <a:gd name="T1" fmla="*/ 96 h 112"/>
              <a:gd name="T2" fmla="*/ 143 w 283"/>
              <a:gd name="T3" fmla="*/ 99 h 112"/>
              <a:gd name="T4" fmla="*/ 131 w 283"/>
              <a:gd name="T5" fmla="*/ 96 h 112"/>
              <a:gd name="T6" fmla="*/ 117 w 283"/>
              <a:gd name="T7" fmla="*/ 106 h 112"/>
              <a:gd name="T8" fmla="*/ 98 w 283"/>
              <a:gd name="T9" fmla="*/ 104 h 112"/>
              <a:gd name="T10" fmla="*/ 82 w 283"/>
              <a:gd name="T11" fmla="*/ 94 h 112"/>
              <a:gd name="T12" fmla="*/ 72 w 283"/>
              <a:gd name="T13" fmla="*/ 100 h 112"/>
              <a:gd name="T14" fmla="*/ 59 w 283"/>
              <a:gd name="T15" fmla="*/ 106 h 112"/>
              <a:gd name="T16" fmla="*/ 50 w 283"/>
              <a:gd name="T17" fmla="*/ 96 h 112"/>
              <a:gd name="T18" fmla="*/ 44 w 283"/>
              <a:gd name="T19" fmla="*/ 96 h 112"/>
              <a:gd name="T20" fmla="*/ 34 w 283"/>
              <a:gd name="T21" fmla="*/ 97 h 112"/>
              <a:gd name="T22" fmla="*/ 26 w 283"/>
              <a:gd name="T23" fmla="*/ 95 h 112"/>
              <a:gd name="T24" fmla="*/ 36 w 283"/>
              <a:gd name="T25" fmla="*/ 92 h 112"/>
              <a:gd name="T26" fmla="*/ 22 w 283"/>
              <a:gd name="T27" fmla="*/ 90 h 112"/>
              <a:gd name="T28" fmla="*/ 21 w 283"/>
              <a:gd name="T29" fmla="*/ 82 h 112"/>
              <a:gd name="T30" fmla="*/ 17 w 283"/>
              <a:gd name="T31" fmla="*/ 79 h 112"/>
              <a:gd name="T32" fmla="*/ 12 w 283"/>
              <a:gd name="T33" fmla="*/ 71 h 112"/>
              <a:gd name="T34" fmla="*/ 4 w 283"/>
              <a:gd name="T35" fmla="*/ 66 h 112"/>
              <a:gd name="T36" fmla="*/ 7 w 283"/>
              <a:gd name="T37" fmla="*/ 61 h 112"/>
              <a:gd name="T38" fmla="*/ 15 w 283"/>
              <a:gd name="T39" fmla="*/ 64 h 112"/>
              <a:gd name="T40" fmla="*/ 13 w 283"/>
              <a:gd name="T41" fmla="*/ 56 h 112"/>
              <a:gd name="T42" fmla="*/ 11 w 283"/>
              <a:gd name="T43" fmla="*/ 45 h 112"/>
              <a:gd name="T44" fmla="*/ 0 w 283"/>
              <a:gd name="T45" fmla="*/ 39 h 112"/>
              <a:gd name="T46" fmla="*/ 7 w 283"/>
              <a:gd name="T47" fmla="*/ 30 h 112"/>
              <a:gd name="T48" fmla="*/ 22 w 283"/>
              <a:gd name="T49" fmla="*/ 31 h 112"/>
              <a:gd name="T50" fmla="*/ 27 w 283"/>
              <a:gd name="T51" fmla="*/ 30 h 112"/>
              <a:gd name="T52" fmla="*/ 38 w 283"/>
              <a:gd name="T53" fmla="*/ 26 h 112"/>
              <a:gd name="T54" fmla="*/ 50 w 283"/>
              <a:gd name="T55" fmla="*/ 22 h 112"/>
              <a:gd name="T56" fmla="*/ 42 w 283"/>
              <a:gd name="T57" fmla="*/ 20 h 112"/>
              <a:gd name="T58" fmla="*/ 44 w 283"/>
              <a:gd name="T59" fmla="*/ 15 h 112"/>
              <a:gd name="T60" fmla="*/ 64 w 283"/>
              <a:gd name="T61" fmla="*/ 18 h 112"/>
              <a:gd name="T62" fmla="*/ 81 w 283"/>
              <a:gd name="T63" fmla="*/ 10 h 112"/>
              <a:gd name="T64" fmla="*/ 101 w 283"/>
              <a:gd name="T65" fmla="*/ 1 h 112"/>
              <a:gd name="T66" fmla="*/ 126 w 283"/>
              <a:gd name="T67" fmla="*/ 0 h 112"/>
              <a:gd name="T68" fmla="*/ 138 w 283"/>
              <a:gd name="T69" fmla="*/ 8 h 112"/>
              <a:gd name="T70" fmla="*/ 164 w 283"/>
              <a:gd name="T71" fmla="*/ 19 h 112"/>
              <a:gd name="T72" fmla="*/ 183 w 283"/>
              <a:gd name="T73" fmla="*/ 18 h 112"/>
              <a:gd name="T74" fmla="*/ 219 w 283"/>
              <a:gd name="T75" fmla="*/ 9 h 112"/>
              <a:gd name="T76" fmla="*/ 233 w 283"/>
              <a:gd name="T77" fmla="*/ 10 h 112"/>
              <a:gd name="T78" fmla="*/ 241 w 283"/>
              <a:gd name="T79" fmla="*/ 10 h 112"/>
              <a:gd name="T80" fmla="*/ 254 w 283"/>
              <a:gd name="T81" fmla="*/ 21 h 112"/>
              <a:gd name="T82" fmla="*/ 265 w 283"/>
              <a:gd name="T83" fmla="*/ 34 h 112"/>
              <a:gd name="T84" fmla="*/ 270 w 283"/>
              <a:gd name="T85" fmla="*/ 45 h 112"/>
              <a:gd name="T86" fmla="*/ 273 w 283"/>
              <a:gd name="T87" fmla="*/ 65 h 112"/>
              <a:gd name="T88" fmla="*/ 283 w 283"/>
              <a:gd name="T89" fmla="*/ 86 h 112"/>
              <a:gd name="T90" fmla="*/ 260 w 283"/>
              <a:gd name="T91" fmla="*/ 84 h 112"/>
              <a:gd name="T92" fmla="*/ 246 w 283"/>
              <a:gd name="T93" fmla="*/ 86 h 112"/>
              <a:gd name="T94" fmla="*/ 228 w 283"/>
              <a:gd name="T95" fmla="*/ 90 h 112"/>
              <a:gd name="T96" fmla="*/ 214 w 283"/>
              <a:gd name="T97" fmla="*/ 93 h 112"/>
              <a:gd name="T98" fmla="*/ 189 w 283"/>
              <a:gd name="T99" fmla="*/ 93 h 112"/>
              <a:gd name="T100" fmla="*/ 176 w 283"/>
              <a:gd name="T101" fmla="*/ 96 h 112"/>
              <a:gd name="T102" fmla="*/ 168 w 283"/>
              <a:gd name="T103" fmla="*/ 96 h 112"/>
              <a:gd name="T104" fmla="*/ 163 w 283"/>
              <a:gd name="T105" fmla="*/ 94 h 112"/>
              <a:gd name="T106" fmla="*/ 164 w 283"/>
              <a:gd name="T107" fmla="*/ 104 h 112"/>
              <a:gd name="T108" fmla="*/ 159 w 283"/>
              <a:gd name="T109" fmla="*/ 106 h 112"/>
              <a:gd name="T110" fmla="*/ 155 w 283"/>
              <a:gd name="T111" fmla="*/ 111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83" h="112">
                <a:moveTo>
                  <a:pt x="154" y="109"/>
                </a:moveTo>
                <a:lnTo>
                  <a:pt x="152" y="104"/>
                </a:lnTo>
                <a:lnTo>
                  <a:pt x="153" y="100"/>
                </a:lnTo>
                <a:lnTo>
                  <a:pt x="155" y="99"/>
                </a:lnTo>
                <a:lnTo>
                  <a:pt x="156" y="96"/>
                </a:lnTo>
                <a:lnTo>
                  <a:pt x="153" y="94"/>
                </a:lnTo>
                <a:lnTo>
                  <a:pt x="148" y="95"/>
                </a:lnTo>
                <a:lnTo>
                  <a:pt x="148" y="99"/>
                </a:lnTo>
                <a:lnTo>
                  <a:pt x="146" y="100"/>
                </a:lnTo>
                <a:lnTo>
                  <a:pt x="143" y="99"/>
                </a:lnTo>
                <a:lnTo>
                  <a:pt x="139" y="96"/>
                </a:lnTo>
                <a:lnTo>
                  <a:pt x="137" y="95"/>
                </a:lnTo>
                <a:lnTo>
                  <a:pt x="135" y="95"/>
                </a:lnTo>
                <a:lnTo>
                  <a:pt x="133" y="95"/>
                </a:lnTo>
                <a:lnTo>
                  <a:pt x="131" y="96"/>
                </a:lnTo>
                <a:lnTo>
                  <a:pt x="126" y="101"/>
                </a:lnTo>
                <a:lnTo>
                  <a:pt x="125" y="103"/>
                </a:lnTo>
                <a:lnTo>
                  <a:pt x="122" y="104"/>
                </a:lnTo>
                <a:lnTo>
                  <a:pt x="121" y="105"/>
                </a:lnTo>
                <a:lnTo>
                  <a:pt x="117" y="106"/>
                </a:lnTo>
                <a:lnTo>
                  <a:pt x="115" y="106"/>
                </a:lnTo>
                <a:lnTo>
                  <a:pt x="109" y="107"/>
                </a:lnTo>
                <a:lnTo>
                  <a:pt x="107" y="109"/>
                </a:lnTo>
                <a:lnTo>
                  <a:pt x="102" y="107"/>
                </a:lnTo>
                <a:lnTo>
                  <a:pt x="98" y="104"/>
                </a:lnTo>
                <a:lnTo>
                  <a:pt x="97" y="102"/>
                </a:lnTo>
                <a:lnTo>
                  <a:pt x="95" y="101"/>
                </a:lnTo>
                <a:lnTo>
                  <a:pt x="93" y="100"/>
                </a:lnTo>
                <a:lnTo>
                  <a:pt x="85" y="96"/>
                </a:lnTo>
                <a:lnTo>
                  <a:pt x="82" y="94"/>
                </a:lnTo>
                <a:lnTo>
                  <a:pt x="77" y="93"/>
                </a:lnTo>
                <a:lnTo>
                  <a:pt x="74" y="94"/>
                </a:lnTo>
                <a:lnTo>
                  <a:pt x="72" y="94"/>
                </a:lnTo>
                <a:lnTo>
                  <a:pt x="72" y="96"/>
                </a:lnTo>
                <a:lnTo>
                  <a:pt x="72" y="100"/>
                </a:lnTo>
                <a:lnTo>
                  <a:pt x="71" y="101"/>
                </a:lnTo>
                <a:lnTo>
                  <a:pt x="71" y="103"/>
                </a:lnTo>
                <a:lnTo>
                  <a:pt x="66" y="105"/>
                </a:lnTo>
                <a:lnTo>
                  <a:pt x="62" y="106"/>
                </a:lnTo>
                <a:lnTo>
                  <a:pt x="59" y="106"/>
                </a:lnTo>
                <a:lnTo>
                  <a:pt x="56" y="105"/>
                </a:lnTo>
                <a:lnTo>
                  <a:pt x="54" y="104"/>
                </a:lnTo>
                <a:lnTo>
                  <a:pt x="51" y="102"/>
                </a:lnTo>
                <a:lnTo>
                  <a:pt x="50" y="97"/>
                </a:lnTo>
                <a:lnTo>
                  <a:pt x="50" y="96"/>
                </a:lnTo>
                <a:lnTo>
                  <a:pt x="47" y="95"/>
                </a:lnTo>
                <a:lnTo>
                  <a:pt x="46" y="97"/>
                </a:lnTo>
                <a:lnTo>
                  <a:pt x="47" y="97"/>
                </a:lnTo>
                <a:lnTo>
                  <a:pt x="46" y="97"/>
                </a:lnTo>
                <a:lnTo>
                  <a:pt x="44" y="96"/>
                </a:lnTo>
                <a:lnTo>
                  <a:pt x="42" y="94"/>
                </a:lnTo>
                <a:lnTo>
                  <a:pt x="41" y="94"/>
                </a:lnTo>
                <a:lnTo>
                  <a:pt x="37" y="95"/>
                </a:lnTo>
                <a:lnTo>
                  <a:pt x="36" y="96"/>
                </a:lnTo>
                <a:lnTo>
                  <a:pt x="34" y="97"/>
                </a:lnTo>
                <a:lnTo>
                  <a:pt x="33" y="97"/>
                </a:lnTo>
                <a:lnTo>
                  <a:pt x="34" y="96"/>
                </a:lnTo>
                <a:lnTo>
                  <a:pt x="34" y="95"/>
                </a:lnTo>
                <a:lnTo>
                  <a:pt x="25" y="97"/>
                </a:lnTo>
                <a:lnTo>
                  <a:pt x="26" y="95"/>
                </a:lnTo>
                <a:lnTo>
                  <a:pt x="28" y="94"/>
                </a:lnTo>
                <a:lnTo>
                  <a:pt x="32" y="94"/>
                </a:lnTo>
                <a:lnTo>
                  <a:pt x="34" y="93"/>
                </a:lnTo>
                <a:lnTo>
                  <a:pt x="34" y="93"/>
                </a:lnTo>
                <a:lnTo>
                  <a:pt x="36" y="92"/>
                </a:lnTo>
                <a:lnTo>
                  <a:pt x="37" y="90"/>
                </a:lnTo>
                <a:lnTo>
                  <a:pt x="35" y="90"/>
                </a:lnTo>
                <a:lnTo>
                  <a:pt x="30" y="91"/>
                </a:lnTo>
                <a:lnTo>
                  <a:pt x="23" y="91"/>
                </a:lnTo>
                <a:lnTo>
                  <a:pt x="22" y="90"/>
                </a:lnTo>
                <a:lnTo>
                  <a:pt x="25" y="86"/>
                </a:lnTo>
                <a:lnTo>
                  <a:pt x="23" y="85"/>
                </a:lnTo>
                <a:lnTo>
                  <a:pt x="22" y="84"/>
                </a:lnTo>
                <a:lnTo>
                  <a:pt x="21" y="84"/>
                </a:lnTo>
                <a:lnTo>
                  <a:pt x="21" y="82"/>
                </a:lnTo>
                <a:lnTo>
                  <a:pt x="22" y="81"/>
                </a:lnTo>
                <a:lnTo>
                  <a:pt x="22" y="80"/>
                </a:lnTo>
                <a:lnTo>
                  <a:pt x="21" y="80"/>
                </a:lnTo>
                <a:lnTo>
                  <a:pt x="18" y="81"/>
                </a:lnTo>
                <a:lnTo>
                  <a:pt x="17" y="79"/>
                </a:lnTo>
                <a:lnTo>
                  <a:pt x="18" y="77"/>
                </a:lnTo>
                <a:lnTo>
                  <a:pt x="20" y="75"/>
                </a:lnTo>
                <a:lnTo>
                  <a:pt x="17" y="73"/>
                </a:lnTo>
                <a:lnTo>
                  <a:pt x="16" y="72"/>
                </a:lnTo>
                <a:lnTo>
                  <a:pt x="12" y="71"/>
                </a:lnTo>
                <a:lnTo>
                  <a:pt x="10" y="70"/>
                </a:lnTo>
                <a:lnTo>
                  <a:pt x="7" y="70"/>
                </a:lnTo>
                <a:lnTo>
                  <a:pt x="6" y="69"/>
                </a:lnTo>
                <a:lnTo>
                  <a:pt x="4" y="67"/>
                </a:lnTo>
                <a:lnTo>
                  <a:pt x="4" y="66"/>
                </a:lnTo>
                <a:lnTo>
                  <a:pt x="6" y="66"/>
                </a:lnTo>
                <a:lnTo>
                  <a:pt x="6" y="64"/>
                </a:lnTo>
                <a:lnTo>
                  <a:pt x="5" y="62"/>
                </a:lnTo>
                <a:lnTo>
                  <a:pt x="6" y="61"/>
                </a:lnTo>
                <a:lnTo>
                  <a:pt x="7" y="61"/>
                </a:lnTo>
                <a:lnTo>
                  <a:pt x="10" y="65"/>
                </a:lnTo>
                <a:lnTo>
                  <a:pt x="11" y="65"/>
                </a:lnTo>
                <a:lnTo>
                  <a:pt x="13" y="65"/>
                </a:lnTo>
                <a:lnTo>
                  <a:pt x="16" y="65"/>
                </a:lnTo>
                <a:lnTo>
                  <a:pt x="15" y="64"/>
                </a:lnTo>
                <a:lnTo>
                  <a:pt x="13" y="63"/>
                </a:lnTo>
                <a:lnTo>
                  <a:pt x="11" y="61"/>
                </a:lnTo>
                <a:lnTo>
                  <a:pt x="12" y="60"/>
                </a:lnTo>
                <a:lnTo>
                  <a:pt x="13" y="57"/>
                </a:lnTo>
                <a:lnTo>
                  <a:pt x="13" y="56"/>
                </a:lnTo>
                <a:lnTo>
                  <a:pt x="11" y="54"/>
                </a:lnTo>
                <a:lnTo>
                  <a:pt x="11" y="53"/>
                </a:lnTo>
                <a:lnTo>
                  <a:pt x="8" y="51"/>
                </a:lnTo>
                <a:lnTo>
                  <a:pt x="8" y="48"/>
                </a:lnTo>
                <a:lnTo>
                  <a:pt x="11" y="45"/>
                </a:lnTo>
                <a:lnTo>
                  <a:pt x="11" y="44"/>
                </a:lnTo>
                <a:lnTo>
                  <a:pt x="6" y="45"/>
                </a:lnTo>
                <a:lnTo>
                  <a:pt x="0" y="45"/>
                </a:lnTo>
                <a:lnTo>
                  <a:pt x="0" y="44"/>
                </a:lnTo>
                <a:lnTo>
                  <a:pt x="0" y="39"/>
                </a:lnTo>
                <a:lnTo>
                  <a:pt x="1" y="36"/>
                </a:lnTo>
                <a:lnTo>
                  <a:pt x="2" y="36"/>
                </a:lnTo>
                <a:lnTo>
                  <a:pt x="4" y="33"/>
                </a:lnTo>
                <a:lnTo>
                  <a:pt x="5" y="32"/>
                </a:lnTo>
                <a:lnTo>
                  <a:pt x="7" y="30"/>
                </a:lnTo>
                <a:lnTo>
                  <a:pt x="11" y="30"/>
                </a:lnTo>
                <a:lnTo>
                  <a:pt x="14" y="29"/>
                </a:lnTo>
                <a:lnTo>
                  <a:pt x="16" y="30"/>
                </a:lnTo>
                <a:lnTo>
                  <a:pt x="20" y="31"/>
                </a:lnTo>
                <a:lnTo>
                  <a:pt x="22" y="31"/>
                </a:lnTo>
                <a:lnTo>
                  <a:pt x="21" y="28"/>
                </a:lnTo>
                <a:lnTo>
                  <a:pt x="23" y="28"/>
                </a:lnTo>
                <a:lnTo>
                  <a:pt x="25" y="29"/>
                </a:lnTo>
                <a:lnTo>
                  <a:pt x="25" y="30"/>
                </a:lnTo>
                <a:lnTo>
                  <a:pt x="27" y="30"/>
                </a:lnTo>
                <a:lnTo>
                  <a:pt x="31" y="29"/>
                </a:lnTo>
                <a:lnTo>
                  <a:pt x="37" y="30"/>
                </a:lnTo>
                <a:lnTo>
                  <a:pt x="41" y="29"/>
                </a:lnTo>
                <a:lnTo>
                  <a:pt x="41" y="28"/>
                </a:lnTo>
                <a:lnTo>
                  <a:pt x="38" y="26"/>
                </a:lnTo>
                <a:lnTo>
                  <a:pt x="37" y="25"/>
                </a:lnTo>
                <a:lnTo>
                  <a:pt x="41" y="25"/>
                </a:lnTo>
                <a:lnTo>
                  <a:pt x="52" y="24"/>
                </a:lnTo>
                <a:lnTo>
                  <a:pt x="52" y="23"/>
                </a:lnTo>
                <a:lnTo>
                  <a:pt x="50" y="22"/>
                </a:lnTo>
                <a:lnTo>
                  <a:pt x="48" y="23"/>
                </a:lnTo>
                <a:lnTo>
                  <a:pt x="44" y="23"/>
                </a:lnTo>
                <a:lnTo>
                  <a:pt x="43" y="22"/>
                </a:lnTo>
                <a:lnTo>
                  <a:pt x="42" y="21"/>
                </a:lnTo>
                <a:lnTo>
                  <a:pt x="42" y="20"/>
                </a:lnTo>
                <a:lnTo>
                  <a:pt x="40" y="19"/>
                </a:lnTo>
                <a:lnTo>
                  <a:pt x="41" y="18"/>
                </a:lnTo>
                <a:lnTo>
                  <a:pt x="42" y="14"/>
                </a:lnTo>
                <a:lnTo>
                  <a:pt x="42" y="15"/>
                </a:lnTo>
                <a:lnTo>
                  <a:pt x="44" y="15"/>
                </a:lnTo>
                <a:lnTo>
                  <a:pt x="47" y="16"/>
                </a:lnTo>
                <a:lnTo>
                  <a:pt x="58" y="16"/>
                </a:lnTo>
                <a:lnTo>
                  <a:pt x="61" y="16"/>
                </a:lnTo>
                <a:lnTo>
                  <a:pt x="63" y="18"/>
                </a:lnTo>
                <a:lnTo>
                  <a:pt x="64" y="18"/>
                </a:lnTo>
                <a:lnTo>
                  <a:pt x="69" y="19"/>
                </a:lnTo>
                <a:lnTo>
                  <a:pt x="74" y="16"/>
                </a:lnTo>
                <a:lnTo>
                  <a:pt x="75" y="13"/>
                </a:lnTo>
                <a:lnTo>
                  <a:pt x="77" y="12"/>
                </a:lnTo>
                <a:lnTo>
                  <a:pt x="81" y="10"/>
                </a:lnTo>
                <a:lnTo>
                  <a:pt x="84" y="8"/>
                </a:lnTo>
                <a:lnTo>
                  <a:pt x="86" y="5"/>
                </a:lnTo>
                <a:lnTo>
                  <a:pt x="89" y="4"/>
                </a:lnTo>
                <a:lnTo>
                  <a:pt x="96" y="1"/>
                </a:lnTo>
                <a:lnTo>
                  <a:pt x="101" y="1"/>
                </a:lnTo>
                <a:lnTo>
                  <a:pt x="105" y="1"/>
                </a:lnTo>
                <a:lnTo>
                  <a:pt x="111" y="1"/>
                </a:lnTo>
                <a:lnTo>
                  <a:pt x="121" y="1"/>
                </a:lnTo>
                <a:lnTo>
                  <a:pt x="124" y="0"/>
                </a:lnTo>
                <a:lnTo>
                  <a:pt x="126" y="0"/>
                </a:lnTo>
                <a:lnTo>
                  <a:pt x="127" y="0"/>
                </a:lnTo>
                <a:lnTo>
                  <a:pt x="127" y="2"/>
                </a:lnTo>
                <a:lnTo>
                  <a:pt x="131" y="4"/>
                </a:lnTo>
                <a:lnTo>
                  <a:pt x="134" y="6"/>
                </a:lnTo>
                <a:lnTo>
                  <a:pt x="138" y="8"/>
                </a:lnTo>
                <a:lnTo>
                  <a:pt x="140" y="5"/>
                </a:lnTo>
                <a:lnTo>
                  <a:pt x="143" y="9"/>
                </a:lnTo>
                <a:lnTo>
                  <a:pt x="146" y="13"/>
                </a:lnTo>
                <a:lnTo>
                  <a:pt x="154" y="14"/>
                </a:lnTo>
                <a:lnTo>
                  <a:pt x="164" y="19"/>
                </a:lnTo>
                <a:lnTo>
                  <a:pt x="165" y="18"/>
                </a:lnTo>
                <a:lnTo>
                  <a:pt x="167" y="18"/>
                </a:lnTo>
                <a:lnTo>
                  <a:pt x="173" y="20"/>
                </a:lnTo>
                <a:lnTo>
                  <a:pt x="178" y="20"/>
                </a:lnTo>
                <a:lnTo>
                  <a:pt x="183" y="18"/>
                </a:lnTo>
                <a:lnTo>
                  <a:pt x="190" y="18"/>
                </a:lnTo>
                <a:lnTo>
                  <a:pt x="199" y="19"/>
                </a:lnTo>
                <a:lnTo>
                  <a:pt x="206" y="19"/>
                </a:lnTo>
                <a:lnTo>
                  <a:pt x="215" y="12"/>
                </a:lnTo>
                <a:lnTo>
                  <a:pt x="219" y="9"/>
                </a:lnTo>
                <a:lnTo>
                  <a:pt x="220" y="8"/>
                </a:lnTo>
                <a:lnTo>
                  <a:pt x="221" y="10"/>
                </a:lnTo>
                <a:lnTo>
                  <a:pt x="225" y="10"/>
                </a:lnTo>
                <a:lnTo>
                  <a:pt x="227" y="9"/>
                </a:lnTo>
                <a:lnTo>
                  <a:pt x="233" y="10"/>
                </a:lnTo>
                <a:lnTo>
                  <a:pt x="235" y="10"/>
                </a:lnTo>
                <a:lnTo>
                  <a:pt x="236" y="8"/>
                </a:lnTo>
                <a:lnTo>
                  <a:pt x="237" y="8"/>
                </a:lnTo>
                <a:lnTo>
                  <a:pt x="239" y="8"/>
                </a:lnTo>
                <a:lnTo>
                  <a:pt x="241" y="10"/>
                </a:lnTo>
                <a:lnTo>
                  <a:pt x="245" y="13"/>
                </a:lnTo>
                <a:lnTo>
                  <a:pt x="247" y="14"/>
                </a:lnTo>
                <a:lnTo>
                  <a:pt x="249" y="16"/>
                </a:lnTo>
                <a:lnTo>
                  <a:pt x="251" y="18"/>
                </a:lnTo>
                <a:lnTo>
                  <a:pt x="254" y="21"/>
                </a:lnTo>
                <a:lnTo>
                  <a:pt x="255" y="26"/>
                </a:lnTo>
                <a:lnTo>
                  <a:pt x="257" y="30"/>
                </a:lnTo>
                <a:lnTo>
                  <a:pt x="259" y="32"/>
                </a:lnTo>
                <a:lnTo>
                  <a:pt x="263" y="33"/>
                </a:lnTo>
                <a:lnTo>
                  <a:pt x="265" y="34"/>
                </a:lnTo>
                <a:lnTo>
                  <a:pt x="268" y="38"/>
                </a:lnTo>
                <a:lnTo>
                  <a:pt x="270" y="39"/>
                </a:lnTo>
                <a:lnTo>
                  <a:pt x="271" y="40"/>
                </a:lnTo>
                <a:lnTo>
                  <a:pt x="270" y="44"/>
                </a:lnTo>
                <a:lnTo>
                  <a:pt x="270" y="45"/>
                </a:lnTo>
                <a:lnTo>
                  <a:pt x="266" y="48"/>
                </a:lnTo>
                <a:lnTo>
                  <a:pt x="267" y="50"/>
                </a:lnTo>
                <a:lnTo>
                  <a:pt x="270" y="54"/>
                </a:lnTo>
                <a:lnTo>
                  <a:pt x="271" y="61"/>
                </a:lnTo>
                <a:lnTo>
                  <a:pt x="273" y="65"/>
                </a:lnTo>
                <a:lnTo>
                  <a:pt x="274" y="70"/>
                </a:lnTo>
                <a:lnTo>
                  <a:pt x="274" y="75"/>
                </a:lnTo>
                <a:lnTo>
                  <a:pt x="278" y="77"/>
                </a:lnTo>
                <a:lnTo>
                  <a:pt x="281" y="82"/>
                </a:lnTo>
                <a:lnTo>
                  <a:pt x="283" y="86"/>
                </a:lnTo>
                <a:lnTo>
                  <a:pt x="281" y="87"/>
                </a:lnTo>
                <a:lnTo>
                  <a:pt x="277" y="87"/>
                </a:lnTo>
                <a:lnTo>
                  <a:pt x="274" y="84"/>
                </a:lnTo>
                <a:lnTo>
                  <a:pt x="269" y="85"/>
                </a:lnTo>
                <a:lnTo>
                  <a:pt x="260" y="84"/>
                </a:lnTo>
                <a:lnTo>
                  <a:pt x="255" y="82"/>
                </a:lnTo>
                <a:lnTo>
                  <a:pt x="249" y="87"/>
                </a:lnTo>
                <a:lnTo>
                  <a:pt x="246" y="89"/>
                </a:lnTo>
                <a:lnTo>
                  <a:pt x="246" y="87"/>
                </a:lnTo>
                <a:lnTo>
                  <a:pt x="246" y="86"/>
                </a:lnTo>
                <a:lnTo>
                  <a:pt x="245" y="85"/>
                </a:lnTo>
                <a:lnTo>
                  <a:pt x="244" y="85"/>
                </a:lnTo>
                <a:lnTo>
                  <a:pt x="241" y="86"/>
                </a:lnTo>
                <a:lnTo>
                  <a:pt x="237" y="89"/>
                </a:lnTo>
                <a:lnTo>
                  <a:pt x="228" y="90"/>
                </a:lnTo>
                <a:lnTo>
                  <a:pt x="225" y="89"/>
                </a:lnTo>
                <a:lnTo>
                  <a:pt x="223" y="89"/>
                </a:lnTo>
                <a:lnTo>
                  <a:pt x="218" y="90"/>
                </a:lnTo>
                <a:lnTo>
                  <a:pt x="216" y="92"/>
                </a:lnTo>
                <a:lnTo>
                  <a:pt x="214" y="93"/>
                </a:lnTo>
                <a:lnTo>
                  <a:pt x="210" y="94"/>
                </a:lnTo>
                <a:lnTo>
                  <a:pt x="209" y="95"/>
                </a:lnTo>
                <a:lnTo>
                  <a:pt x="200" y="96"/>
                </a:lnTo>
                <a:lnTo>
                  <a:pt x="193" y="95"/>
                </a:lnTo>
                <a:lnTo>
                  <a:pt x="189" y="93"/>
                </a:lnTo>
                <a:lnTo>
                  <a:pt x="187" y="92"/>
                </a:lnTo>
                <a:lnTo>
                  <a:pt x="184" y="93"/>
                </a:lnTo>
                <a:lnTo>
                  <a:pt x="182" y="94"/>
                </a:lnTo>
                <a:lnTo>
                  <a:pt x="178" y="95"/>
                </a:lnTo>
                <a:lnTo>
                  <a:pt x="176" y="96"/>
                </a:lnTo>
                <a:lnTo>
                  <a:pt x="175" y="97"/>
                </a:lnTo>
                <a:lnTo>
                  <a:pt x="170" y="96"/>
                </a:lnTo>
                <a:lnTo>
                  <a:pt x="168" y="97"/>
                </a:lnTo>
                <a:lnTo>
                  <a:pt x="168" y="96"/>
                </a:lnTo>
                <a:lnTo>
                  <a:pt x="168" y="96"/>
                </a:lnTo>
                <a:lnTo>
                  <a:pt x="168" y="95"/>
                </a:lnTo>
                <a:lnTo>
                  <a:pt x="168" y="95"/>
                </a:lnTo>
                <a:lnTo>
                  <a:pt x="166" y="95"/>
                </a:lnTo>
                <a:lnTo>
                  <a:pt x="164" y="94"/>
                </a:lnTo>
                <a:lnTo>
                  <a:pt x="163" y="94"/>
                </a:lnTo>
                <a:lnTo>
                  <a:pt x="162" y="96"/>
                </a:lnTo>
                <a:lnTo>
                  <a:pt x="160" y="97"/>
                </a:lnTo>
                <a:lnTo>
                  <a:pt x="162" y="99"/>
                </a:lnTo>
                <a:lnTo>
                  <a:pt x="160" y="101"/>
                </a:lnTo>
                <a:lnTo>
                  <a:pt x="164" y="104"/>
                </a:lnTo>
                <a:lnTo>
                  <a:pt x="164" y="104"/>
                </a:lnTo>
                <a:lnTo>
                  <a:pt x="164" y="105"/>
                </a:lnTo>
                <a:lnTo>
                  <a:pt x="162" y="105"/>
                </a:lnTo>
                <a:lnTo>
                  <a:pt x="159" y="105"/>
                </a:lnTo>
                <a:lnTo>
                  <a:pt x="159" y="106"/>
                </a:lnTo>
                <a:lnTo>
                  <a:pt x="159" y="109"/>
                </a:lnTo>
                <a:lnTo>
                  <a:pt x="158" y="110"/>
                </a:lnTo>
                <a:lnTo>
                  <a:pt x="157" y="111"/>
                </a:lnTo>
                <a:lnTo>
                  <a:pt x="157" y="112"/>
                </a:lnTo>
                <a:lnTo>
                  <a:pt x="155" y="111"/>
                </a:lnTo>
                <a:lnTo>
                  <a:pt x="154" y="110"/>
                </a:lnTo>
                <a:lnTo>
                  <a:pt x="153" y="110"/>
                </a:lnTo>
                <a:lnTo>
                  <a:pt x="154" y="109"/>
                </a:lnTo>
              </a:path>
            </a:pathLst>
          </a:custGeom>
          <a:solidFill>
            <a:srgbClr val="00A6D3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78" name="Freeform 678"/>
          <p:cNvSpPr>
            <a:spLocks/>
          </p:cNvSpPr>
          <p:nvPr/>
        </p:nvSpPr>
        <p:spPr bwMode="auto">
          <a:xfrm>
            <a:off x="5491163" y="2709828"/>
            <a:ext cx="44450" cy="44450"/>
          </a:xfrm>
          <a:custGeom>
            <a:avLst/>
            <a:gdLst>
              <a:gd name="T0" fmla="*/ 28 w 28"/>
              <a:gd name="T1" fmla="*/ 28 h 28"/>
              <a:gd name="T2" fmla="*/ 27 w 28"/>
              <a:gd name="T3" fmla="*/ 25 h 28"/>
              <a:gd name="T4" fmla="*/ 26 w 28"/>
              <a:gd name="T5" fmla="*/ 24 h 28"/>
              <a:gd name="T6" fmla="*/ 25 w 28"/>
              <a:gd name="T7" fmla="*/ 21 h 28"/>
              <a:gd name="T8" fmla="*/ 23 w 28"/>
              <a:gd name="T9" fmla="*/ 15 h 28"/>
              <a:gd name="T10" fmla="*/ 20 w 28"/>
              <a:gd name="T11" fmla="*/ 14 h 28"/>
              <a:gd name="T12" fmla="*/ 17 w 28"/>
              <a:gd name="T13" fmla="*/ 14 h 28"/>
              <a:gd name="T14" fmla="*/ 17 w 28"/>
              <a:gd name="T15" fmla="*/ 13 h 28"/>
              <a:gd name="T16" fmla="*/ 18 w 28"/>
              <a:gd name="T17" fmla="*/ 11 h 28"/>
              <a:gd name="T18" fmla="*/ 19 w 28"/>
              <a:gd name="T19" fmla="*/ 10 h 28"/>
              <a:gd name="T20" fmla="*/ 23 w 28"/>
              <a:gd name="T21" fmla="*/ 9 h 28"/>
              <a:gd name="T22" fmla="*/ 25 w 28"/>
              <a:gd name="T23" fmla="*/ 8 h 28"/>
              <a:gd name="T24" fmla="*/ 25 w 28"/>
              <a:gd name="T25" fmla="*/ 7 h 28"/>
              <a:gd name="T26" fmla="*/ 24 w 28"/>
              <a:gd name="T27" fmla="*/ 6 h 28"/>
              <a:gd name="T28" fmla="*/ 20 w 28"/>
              <a:gd name="T29" fmla="*/ 4 h 28"/>
              <a:gd name="T30" fmla="*/ 19 w 28"/>
              <a:gd name="T31" fmla="*/ 3 h 28"/>
              <a:gd name="T32" fmla="*/ 20 w 28"/>
              <a:gd name="T33" fmla="*/ 1 h 28"/>
              <a:gd name="T34" fmla="*/ 17 w 28"/>
              <a:gd name="T35" fmla="*/ 0 h 28"/>
              <a:gd name="T36" fmla="*/ 13 w 28"/>
              <a:gd name="T37" fmla="*/ 0 h 28"/>
              <a:gd name="T38" fmla="*/ 8 w 28"/>
              <a:gd name="T39" fmla="*/ 1 h 28"/>
              <a:gd name="T40" fmla="*/ 6 w 28"/>
              <a:gd name="T41" fmla="*/ 7 h 28"/>
              <a:gd name="T42" fmla="*/ 4 w 28"/>
              <a:gd name="T43" fmla="*/ 13 h 28"/>
              <a:gd name="T44" fmla="*/ 0 w 28"/>
              <a:gd name="T45" fmla="*/ 17 h 28"/>
              <a:gd name="T46" fmla="*/ 1 w 28"/>
              <a:gd name="T47" fmla="*/ 18 h 28"/>
              <a:gd name="T48" fmla="*/ 7 w 28"/>
              <a:gd name="T49" fmla="*/ 19 h 28"/>
              <a:gd name="T50" fmla="*/ 14 w 28"/>
              <a:gd name="T51" fmla="*/ 21 h 28"/>
              <a:gd name="T52" fmla="*/ 16 w 28"/>
              <a:gd name="T53" fmla="*/ 24 h 28"/>
              <a:gd name="T54" fmla="*/ 19 w 28"/>
              <a:gd name="T55" fmla="*/ 28 h 28"/>
              <a:gd name="T56" fmla="*/ 28 w 28"/>
              <a:gd name="T57" fmla="*/ 28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8" h="28">
                <a:moveTo>
                  <a:pt x="28" y="28"/>
                </a:moveTo>
                <a:lnTo>
                  <a:pt x="27" y="25"/>
                </a:lnTo>
                <a:lnTo>
                  <a:pt x="26" y="24"/>
                </a:lnTo>
                <a:lnTo>
                  <a:pt x="25" y="21"/>
                </a:lnTo>
                <a:lnTo>
                  <a:pt x="23" y="15"/>
                </a:lnTo>
                <a:lnTo>
                  <a:pt x="20" y="14"/>
                </a:lnTo>
                <a:lnTo>
                  <a:pt x="17" y="14"/>
                </a:lnTo>
                <a:lnTo>
                  <a:pt x="17" y="13"/>
                </a:lnTo>
                <a:lnTo>
                  <a:pt x="18" y="11"/>
                </a:lnTo>
                <a:lnTo>
                  <a:pt x="19" y="10"/>
                </a:lnTo>
                <a:lnTo>
                  <a:pt x="23" y="9"/>
                </a:lnTo>
                <a:lnTo>
                  <a:pt x="25" y="8"/>
                </a:lnTo>
                <a:lnTo>
                  <a:pt x="25" y="7"/>
                </a:lnTo>
                <a:lnTo>
                  <a:pt x="24" y="6"/>
                </a:lnTo>
                <a:lnTo>
                  <a:pt x="20" y="4"/>
                </a:lnTo>
                <a:lnTo>
                  <a:pt x="19" y="3"/>
                </a:lnTo>
                <a:lnTo>
                  <a:pt x="20" y="1"/>
                </a:lnTo>
                <a:lnTo>
                  <a:pt x="17" y="0"/>
                </a:lnTo>
                <a:lnTo>
                  <a:pt x="13" y="0"/>
                </a:lnTo>
                <a:lnTo>
                  <a:pt x="8" y="1"/>
                </a:lnTo>
                <a:lnTo>
                  <a:pt x="6" y="7"/>
                </a:lnTo>
                <a:lnTo>
                  <a:pt x="4" y="13"/>
                </a:lnTo>
                <a:lnTo>
                  <a:pt x="0" y="17"/>
                </a:lnTo>
                <a:lnTo>
                  <a:pt x="1" y="18"/>
                </a:lnTo>
                <a:lnTo>
                  <a:pt x="7" y="19"/>
                </a:lnTo>
                <a:lnTo>
                  <a:pt x="14" y="21"/>
                </a:lnTo>
                <a:lnTo>
                  <a:pt x="16" y="24"/>
                </a:lnTo>
                <a:lnTo>
                  <a:pt x="19" y="28"/>
                </a:lnTo>
                <a:lnTo>
                  <a:pt x="28" y="28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79" name="Freeform 679"/>
          <p:cNvSpPr>
            <a:spLocks/>
          </p:cNvSpPr>
          <p:nvPr/>
        </p:nvSpPr>
        <p:spPr bwMode="auto">
          <a:xfrm>
            <a:off x="5491163" y="2709828"/>
            <a:ext cx="44450" cy="44450"/>
          </a:xfrm>
          <a:custGeom>
            <a:avLst/>
            <a:gdLst>
              <a:gd name="T0" fmla="*/ 28 w 28"/>
              <a:gd name="T1" fmla="*/ 28 h 28"/>
              <a:gd name="T2" fmla="*/ 27 w 28"/>
              <a:gd name="T3" fmla="*/ 25 h 28"/>
              <a:gd name="T4" fmla="*/ 26 w 28"/>
              <a:gd name="T5" fmla="*/ 24 h 28"/>
              <a:gd name="T6" fmla="*/ 25 w 28"/>
              <a:gd name="T7" fmla="*/ 21 h 28"/>
              <a:gd name="T8" fmla="*/ 23 w 28"/>
              <a:gd name="T9" fmla="*/ 15 h 28"/>
              <a:gd name="T10" fmla="*/ 20 w 28"/>
              <a:gd name="T11" fmla="*/ 14 h 28"/>
              <a:gd name="T12" fmla="*/ 17 w 28"/>
              <a:gd name="T13" fmla="*/ 14 h 28"/>
              <a:gd name="T14" fmla="*/ 17 w 28"/>
              <a:gd name="T15" fmla="*/ 13 h 28"/>
              <a:gd name="T16" fmla="*/ 18 w 28"/>
              <a:gd name="T17" fmla="*/ 11 h 28"/>
              <a:gd name="T18" fmla="*/ 19 w 28"/>
              <a:gd name="T19" fmla="*/ 10 h 28"/>
              <a:gd name="T20" fmla="*/ 23 w 28"/>
              <a:gd name="T21" fmla="*/ 9 h 28"/>
              <a:gd name="T22" fmla="*/ 25 w 28"/>
              <a:gd name="T23" fmla="*/ 8 h 28"/>
              <a:gd name="T24" fmla="*/ 25 w 28"/>
              <a:gd name="T25" fmla="*/ 7 h 28"/>
              <a:gd name="T26" fmla="*/ 24 w 28"/>
              <a:gd name="T27" fmla="*/ 6 h 28"/>
              <a:gd name="T28" fmla="*/ 20 w 28"/>
              <a:gd name="T29" fmla="*/ 4 h 28"/>
              <a:gd name="T30" fmla="*/ 19 w 28"/>
              <a:gd name="T31" fmla="*/ 3 h 28"/>
              <a:gd name="T32" fmla="*/ 20 w 28"/>
              <a:gd name="T33" fmla="*/ 1 h 28"/>
              <a:gd name="T34" fmla="*/ 17 w 28"/>
              <a:gd name="T35" fmla="*/ 0 h 28"/>
              <a:gd name="T36" fmla="*/ 13 w 28"/>
              <a:gd name="T37" fmla="*/ 0 h 28"/>
              <a:gd name="T38" fmla="*/ 8 w 28"/>
              <a:gd name="T39" fmla="*/ 1 h 28"/>
              <a:gd name="T40" fmla="*/ 6 w 28"/>
              <a:gd name="T41" fmla="*/ 7 h 28"/>
              <a:gd name="T42" fmla="*/ 4 w 28"/>
              <a:gd name="T43" fmla="*/ 13 h 28"/>
              <a:gd name="T44" fmla="*/ 0 w 28"/>
              <a:gd name="T45" fmla="*/ 17 h 28"/>
              <a:gd name="T46" fmla="*/ 1 w 28"/>
              <a:gd name="T47" fmla="*/ 18 h 28"/>
              <a:gd name="T48" fmla="*/ 7 w 28"/>
              <a:gd name="T49" fmla="*/ 19 h 28"/>
              <a:gd name="T50" fmla="*/ 14 w 28"/>
              <a:gd name="T51" fmla="*/ 21 h 28"/>
              <a:gd name="T52" fmla="*/ 16 w 28"/>
              <a:gd name="T53" fmla="*/ 24 h 28"/>
              <a:gd name="T54" fmla="*/ 19 w 28"/>
              <a:gd name="T55" fmla="*/ 28 h 28"/>
              <a:gd name="T56" fmla="*/ 28 w 28"/>
              <a:gd name="T57" fmla="*/ 28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8" h="28">
                <a:moveTo>
                  <a:pt x="28" y="28"/>
                </a:moveTo>
                <a:lnTo>
                  <a:pt x="27" y="25"/>
                </a:lnTo>
                <a:lnTo>
                  <a:pt x="26" y="24"/>
                </a:lnTo>
                <a:lnTo>
                  <a:pt x="25" y="21"/>
                </a:lnTo>
                <a:lnTo>
                  <a:pt x="23" y="15"/>
                </a:lnTo>
                <a:lnTo>
                  <a:pt x="20" y="14"/>
                </a:lnTo>
                <a:lnTo>
                  <a:pt x="17" y="14"/>
                </a:lnTo>
                <a:lnTo>
                  <a:pt x="17" y="13"/>
                </a:lnTo>
                <a:lnTo>
                  <a:pt x="18" y="11"/>
                </a:lnTo>
                <a:lnTo>
                  <a:pt x="19" y="10"/>
                </a:lnTo>
                <a:lnTo>
                  <a:pt x="23" y="9"/>
                </a:lnTo>
                <a:lnTo>
                  <a:pt x="25" y="8"/>
                </a:lnTo>
                <a:lnTo>
                  <a:pt x="25" y="7"/>
                </a:lnTo>
                <a:lnTo>
                  <a:pt x="24" y="6"/>
                </a:lnTo>
                <a:lnTo>
                  <a:pt x="20" y="4"/>
                </a:lnTo>
                <a:lnTo>
                  <a:pt x="19" y="3"/>
                </a:lnTo>
                <a:lnTo>
                  <a:pt x="20" y="1"/>
                </a:lnTo>
                <a:lnTo>
                  <a:pt x="17" y="0"/>
                </a:lnTo>
                <a:lnTo>
                  <a:pt x="13" y="0"/>
                </a:lnTo>
                <a:lnTo>
                  <a:pt x="8" y="1"/>
                </a:lnTo>
                <a:lnTo>
                  <a:pt x="6" y="7"/>
                </a:lnTo>
                <a:lnTo>
                  <a:pt x="4" y="13"/>
                </a:lnTo>
                <a:lnTo>
                  <a:pt x="0" y="17"/>
                </a:lnTo>
                <a:lnTo>
                  <a:pt x="1" y="18"/>
                </a:lnTo>
                <a:lnTo>
                  <a:pt x="7" y="19"/>
                </a:lnTo>
                <a:lnTo>
                  <a:pt x="14" y="21"/>
                </a:lnTo>
                <a:lnTo>
                  <a:pt x="16" y="24"/>
                </a:lnTo>
                <a:lnTo>
                  <a:pt x="19" y="28"/>
                </a:lnTo>
                <a:lnTo>
                  <a:pt x="28" y="28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80" name="Freeform 680"/>
          <p:cNvSpPr>
            <a:spLocks/>
          </p:cNvSpPr>
          <p:nvPr/>
        </p:nvSpPr>
        <p:spPr bwMode="auto">
          <a:xfrm>
            <a:off x="5614988" y="2827303"/>
            <a:ext cx="128587" cy="101600"/>
          </a:xfrm>
          <a:custGeom>
            <a:avLst/>
            <a:gdLst>
              <a:gd name="T0" fmla="*/ 65 w 81"/>
              <a:gd name="T1" fmla="*/ 64 h 64"/>
              <a:gd name="T2" fmla="*/ 11 w 81"/>
              <a:gd name="T3" fmla="*/ 41 h 64"/>
              <a:gd name="T4" fmla="*/ 0 w 81"/>
              <a:gd name="T5" fmla="*/ 27 h 64"/>
              <a:gd name="T6" fmla="*/ 4 w 81"/>
              <a:gd name="T7" fmla="*/ 26 h 64"/>
              <a:gd name="T8" fmla="*/ 6 w 81"/>
              <a:gd name="T9" fmla="*/ 27 h 64"/>
              <a:gd name="T10" fmla="*/ 4 w 81"/>
              <a:gd name="T11" fmla="*/ 32 h 64"/>
              <a:gd name="T12" fmla="*/ 9 w 81"/>
              <a:gd name="T13" fmla="*/ 32 h 64"/>
              <a:gd name="T14" fmla="*/ 10 w 81"/>
              <a:gd name="T15" fmla="*/ 32 h 64"/>
              <a:gd name="T16" fmla="*/ 12 w 81"/>
              <a:gd name="T17" fmla="*/ 36 h 64"/>
              <a:gd name="T18" fmla="*/ 21 w 81"/>
              <a:gd name="T19" fmla="*/ 36 h 64"/>
              <a:gd name="T20" fmla="*/ 23 w 81"/>
              <a:gd name="T21" fmla="*/ 34 h 64"/>
              <a:gd name="T22" fmla="*/ 32 w 81"/>
              <a:gd name="T23" fmla="*/ 34 h 64"/>
              <a:gd name="T24" fmla="*/ 37 w 81"/>
              <a:gd name="T25" fmla="*/ 35 h 64"/>
              <a:gd name="T26" fmla="*/ 47 w 81"/>
              <a:gd name="T27" fmla="*/ 35 h 64"/>
              <a:gd name="T28" fmla="*/ 49 w 81"/>
              <a:gd name="T29" fmla="*/ 32 h 64"/>
              <a:gd name="T30" fmla="*/ 51 w 81"/>
              <a:gd name="T31" fmla="*/ 31 h 64"/>
              <a:gd name="T32" fmla="*/ 53 w 81"/>
              <a:gd name="T33" fmla="*/ 30 h 64"/>
              <a:gd name="T34" fmla="*/ 52 w 81"/>
              <a:gd name="T35" fmla="*/ 28 h 64"/>
              <a:gd name="T36" fmla="*/ 54 w 81"/>
              <a:gd name="T37" fmla="*/ 27 h 64"/>
              <a:gd name="T38" fmla="*/ 55 w 81"/>
              <a:gd name="T39" fmla="*/ 26 h 64"/>
              <a:gd name="T40" fmla="*/ 55 w 81"/>
              <a:gd name="T41" fmla="*/ 24 h 64"/>
              <a:gd name="T42" fmla="*/ 57 w 81"/>
              <a:gd name="T43" fmla="*/ 22 h 64"/>
              <a:gd name="T44" fmla="*/ 60 w 81"/>
              <a:gd name="T45" fmla="*/ 18 h 64"/>
              <a:gd name="T46" fmla="*/ 62 w 81"/>
              <a:gd name="T47" fmla="*/ 17 h 64"/>
              <a:gd name="T48" fmla="*/ 64 w 81"/>
              <a:gd name="T49" fmla="*/ 14 h 64"/>
              <a:gd name="T50" fmla="*/ 67 w 81"/>
              <a:gd name="T51" fmla="*/ 12 h 64"/>
              <a:gd name="T52" fmla="*/ 67 w 81"/>
              <a:gd name="T53" fmla="*/ 11 h 64"/>
              <a:gd name="T54" fmla="*/ 68 w 81"/>
              <a:gd name="T55" fmla="*/ 8 h 64"/>
              <a:gd name="T56" fmla="*/ 69 w 81"/>
              <a:gd name="T57" fmla="*/ 7 h 64"/>
              <a:gd name="T58" fmla="*/ 74 w 81"/>
              <a:gd name="T59" fmla="*/ 2 h 64"/>
              <a:gd name="T60" fmla="*/ 75 w 81"/>
              <a:gd name="T61" fmla="*/ 1 h 64"/>
              <a:gd name="T62" fmla="*/ 75 w 81"/>
              <a:gd name="T63" fmla="*/ 3 h 64"/>
              <a:gd name="T64" fmla="*/ 77 w 81"/>
              <a:gd name="T65" fmla="*/ 5 h 64"/>
              <a:gd name="T66" fmla="*/ 79 w 81"/>
              <a:gd name="T67" fmla="*/ 6 h 64"/>
              <a:gd name="T68" fmla="*/ 81 w 81"/>
              <a:gd name="T69" fmla="*/ 18 h 64"/>
              <a:gd name="T70" fmla="*/ 72 w 81"/>
              <a:gd name="T71" fmla="*/ 21 h 64"/>
              <a:gd name="T72" fmla="*/ 69 w 81"/>
              <a:gd name="T73" fmla="*/ 38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1" h="64">
                <a:moveTo>
                  <a:pt x="68" y="61"/>
                </a:moveTo>
                <a:lnTo>
                  <a:pt x="65" y="64"/>
                </a:lnTo>
                <a:lnTo>
                  <a:pt x="18" y="55"/>
                </a:lnTo>
                <a:lnTo>
                  <a:pt x="11" y="41"/>
                </a:lnTo>
                <a:lnTo>
                  <a:pt x="1" y="32"/>
                </a:lnTo>
                <a:lnTo>
                  <a:pt x="0" y="27"/>
                </a:lnTo>
                <a:lnTo>
                  <a:pt x="6" y="24"/>
                </a:lnTo>
                <a:lnTo>
                  <a:pt x="4" y="26"/>
                </a:lnTo>
                <a:lnTo>
                  <a:pt x="4" y="27"/>
                </a:lnTo>
                <a:lnTo>
                  <a:pt x="6" y="27"/>
                </a:lnTo>
                <a:lnTo>
                  <a:pt x="4" y="30"/>
                </a:lnTo>
                <a:lnTo>
                  <a:pt x="4" y="32"/>
                </a:lnTo>
                <a:lnTo>
                  <a:pt x="8" y="32"/>
                </a:lnTo>
                <a:lnTo>
                  <a:pt x="9" y="32"/>
                </a:lnTo>
                <a:lnTo>
                  <a:pt x="10" y="32"/>
                </a:lnTo>
                <a:lnTo>
                  <a:pt x="10" y="32"/>
                </a:lnTo>
                <a:lnTo>
                  <a:pt x="11" y="35"/>
                </a:lnTo>
                <a:lnTo>
                  <a:pt x="12" y="36"/>
                </a:lnTo>
                <a:lnTo>
                  <a:pt x="17" y="36"/>
                </a:lnTo>
                <a:lnTo>
                  <a:pt x="21" y="36"/>
                </a:lnTo>
                <a:lnTo>
                  <a:pt x="22" y="36"/>
                </a:lnTo>
                <a:lnTo>
                  <a:pt x="23" y="34"/>
                </a:lnTo>
                <a:lnTo>
                  <a:pt x="26" y="33"/>
                </a:lnTo>
                <a:lnTo>
                  <a:pt x="32" y="34"/>
                </a:lnTo>
                <a:lnTo>
                  <a:pt x="34" y="35"/>
                </a:lnTo>
                <a:lnTo>
                  <a:pt x="37" y="35"/>
                </a:lnTo>
                <a:lnTo>
                  <a:pt x="39" y="35"/>
                </a:lnTo>
                <a:lnTo>
                  <a:pt x="47" y="35"/>
                </a:lnTo>
                <a:lnTo>
                  <a:pt x="48" y="34"/>
                </a:lnTo>
                <a:lnTo>
                  <a:pt x="49" y="32"/>
                </a:lnTo>
                <a:lnTo>
                  <a:pt x="51" y="32"/>
                </a:lnTo>
                <a:lnTo>
                  <a:pt x="51" y="31"/>
                </a:lnTo>
                <a:lnTo>
                  <a:pt x="53" y="31"/>
                </a:lnTo>
                <a:lnTo>
                  <a:pt x="53" y="30"/>
                </a:lnTo>
                <a:lnTo>
                  <a:pt x="52" y="28"/>
                </a:lnTo>
                <a:lnTo>
                  <a:pt x="52" y="28"/>
                </a:lnTo>
                <a:lnTo>
                  <a:pt x="52" y="28"/>
                </a:lnTo>
                <a:lnTo>
                  <a:pt x="54" y="27"/>
                </a:lnTo>
                <a:lnTo>
                  <a:pt x="54" y="27"/>
                </a:lnTo>
                <a:lnTo>
                  <a:pt x="55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7" y="22"/>
                </a:lnTo>
                <a:lnTo>
                  <a:pt x="60" y="21"/>
                </a:lnTo>
                <a:lnTo>
                  <a:pt x="60" y="18"/>
                </a:lnTo>
                <a:lnTo>
                  <a:pt x="61" y="18"/>
                </a:lnTo>
                <a:lnTo>
                  <a:pt x="62" y="17"/>
                </a:lnTo>
                <a:lnTo>
                  <a:pt x="63" y="15"/>
                </a:lnTo>
                <a:lnTo>
                  <a:pt x="64" y="14"/>
                </a:lnTo>
                <a:lnTo>
                  <a:pt x="65" y="13"/>
                </a:lnTo>
                <a:lnTo>
                  <a:pt x="67" y="12"/>
                </a:lnTo>
                <a:lnTo>
                  <a:pt x="67" y="12"/>
                </a:lnTo>
                <a:lnTo>
                  <a:pt x="67" y="11"/>
                </a:lnTo>
                <a:lnTo>
                  <a:pt x="68" y="10"/>
                </a:lnTo>
                <a:lnTo>
                  <a:pt x="68" y="8"/>
                </a:lnTo>
                <a:lnTo>
                  <a:pt x="69" y="8"/>
                </a:lnTo>
                <a:lnTo>
                  <a:pt x="69" y="7"/>
                </a:lnTo>
                <a:lnTo>
                  <a:pt x="71" y="5"/>
                </a:lnTo>
                <a:lnTo>
                  <a:pt x="74" y="2"/>
                </a:lnTo>
                <a:lnTo>
                  <a:pt x="74" y="0"/>
                </a:lnTo>
                <a:lnTo>
                  <a:pt x="75" y="1"/>
                </a:lnTo>
                <a:lnTo>
                  <a:pt x="77" y="2"/>
                </a:lnTo>
                <a:lnTo>
                  <a:pt x="75" y="3"/>
                </a:lnTo>
                <a:lnTo>
                  <a:pt x="77" y="4"/>
                </a:lnTo>
                <a:lnTo>
                  <a:pt x="77" y="5"/>
                </a:lnTo>
                <a:lnTo>
                  <a:pt x="77" y="6"/>
                </a:lnTo>
                <a:lnTo>
                  <a:pt x="79" y="6"/>
                </a:lnTo>
                <a:lnTo>
                  <a:pt x="80" y="8"/>
                </a:lnTo>
                <a:lnTo>
                  <a:pt x="81" y="18"/>
                </a:lnTo>
                <a:lnTo>
                  <a:pt x="81" y="21"/>
                </a:lnTo>
                <a:lnTo>
                  <a:pt x="72" y="21"/>
                </a:lnTo>
                <a:lnTo>
                  <a:pt x="78" y="35"/>
                </a:lnTo>
                <a:lnTo>
                  <a:pt x="69" y="38"/>
                </a:lnTo>
                <a:lnTo>
                  <a:pt x="68" y="6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81" name="Freeform 681"/>
          <p:cNvSpPr>
            <a:spLocks/>
          </p:cNvSpPr>
          <p:nvPr/>
        </p:nvSpPr>
        <p:spPr bwMode="auto">
          <a:xfrm>
            <a:off x="5614988" y="2827303"/>
            <a:ext cx="128587" cy="101600"/>
          </a:xfrm>
          <a:custGeom>
            <a:avLst/>
            <a:gdLst>
              <a:gd name="T0" fmla="*/ 65 w 81"/>
              <a:gd name="T1" fmla="*/ 64 h 64"/>
              <a:gd name="T2" fmla="*/ 11 w 81"/>
              <a:gd name="T3" fmla="*/ 41 h 64"/>
              <a:gd name="T4" fmla="*/ 0 w 81"/>
              <a:gd name="T5" fmla="*/ 27 h 64"/>
              <a:gd name="T6" fmla="*/ 4 w 81"/>
              <a:gd name="T7" fmla="*/ 26 h 64"/>
              <a:gd name="T8" fmla="*/ 6 w 81"/>
              <a:gd name="T9" fmla="*/ 27 h 64"/>
              <a:gd name="T10" fmla="*/ 4 w 81"/>
              <a:gd name="T11" fmla="*/ 32 h 64"/>
              <a:gd name="T12" fmla="*/ 9 w 81"/>
              <a:gd name="T13" fmla="*/ 32 h 64"/>
              <a:gd name="T14" fmla="*/ 10 w 81"/>
              <a:gd name="T15" fmla="*/ 32 h 64"/>
              <a:gd name="T16" fmla="*/ 12 w 81"/>
              <a:gd name="T17" fmla="*/ 36 h 64"/>
              <a:gd name="T18" fmla="*/ 21 w 81"/>
              <a:gd name="T19" fmla="*/ 36 h 64"/>
              <a:gd name="T20" fmla="*/ 23 w 81"/>
              <a:gd name="T21" fmla="*/ 34 h 64"/>
              <a:gd name="T22" fmla="*/ 32 w 81"/>
              <a:gd name="T23" fmla="*/ 34 h 64"/>
              <a:gd name="T24" fmla="*/ 37 w 81"/>
              <a:gd name="T25" fmla="*/ 35 h 64"/>
              <a:gd name="T26" fmla="*/ 47 w 81"/>
              <a:gd name="T27" fmla="*/ 35 h 64"/>
              <a:gd name="T28" fmla="*/ 49 w 81"/>
              <a:gd name="T29" fmla="*/ 32 h 64"/>
              <a:gd name="T30" fmla="*/ 51 w 81"/>
              <a:gd name="T31" fmla="*/ 31 h 64"/>
              <a:gd name="T32" fmla="*/ 53 w 81"/>
              <a:gd name="T33" fmla="*/ 30 h 64"/>
              <a:gd name="T34" fmla="*/ 52 w 81"/>
              <a:gd name="T35" fmla="*/ 28 h 64"/>
              <a:gd name="T36" fmla="*/ 54 w 81"/>
              <a:gd name="T37" fmla="*/ 27 h 64"/>
              <a:gd name="T38" fmla="*/ 55 w 81"/>
              <a:gd name="T39" fmla="*/ 26 h 64"/>
              <a:gd name="T40" fmla="*/ 55 w 81"/>
              <a:gd name="T41" fmla="*/ 24 h 64"/>
              <a:gd name="T42" fmla="*/ 57 w 81"/>
              <a:gd name="T43" fmla="*/ 22 h 64"/>
              <a:gd name="T44" fmla="*/ 60 w 81"/>
              <a:gd name="T45" fmla="*/ 18 h 64"/>
              <a:gd name="T46" fmla="*/ 62 w 81"/>
              <a:gd name="T47" fmla="*/ 17 h 64"/>
              <a:gd name="T48" fmla="*/ 64 w 81"/>
              <a:gd name="T49" fmla="*/ 14 h 64"/>
              <a:gd name="T50" fmla="*/ 67 w 81"/>
              <a:gd name="T51" fmla="*/ 12 h 64"/>
              <a:gd name="T52" fmla="*/ 67 w 81"/>
              <a:gd name="T53" fmla="*/ 11 h 64"/>
              <a:gd name="T54" fmla="*/ 68 w 81"/>
              <a:gd name="T55" fmla="*/ 8 h 64"/>
              <a:gd name="T56" fmla="*/ 69 w 81"/>
              <a:gd name="T57" fmla="*/ 7 h 64"/>
              <a:gd name="T58" fmla="*/ 74 w 81"/>
              <a:gd name="T59" fmla="*/ 2 h 64"/>
              <a:gd name="T60" fmla="*/ 75 w 81"/>
              <a:gd name="T61" fmla="*/ 1 h 64"/>
              <a:gd name="T62" fmla="*/ 75 w 81"/>
              <a:gd name="T63" fmla="*/ 3 h 64"/>
              <a:gd name="T64" fmla="*/ 77 w 81"/>
              <a:gd name="T65" fmla="*/ 5 h 64"/>
              <a:gd name="T66" fmla="*/ 79 w 81"/>
              <a:gd name="T67" fmla="*/ 6 h 64"/>
              <a:gd name="T68" fmla="*/ 81 w 81"/>
              <a:gd name="T69" fmla="*/ 18 h 64"/>
              <a:gd name="T70" fmla="*/ 72 w 81"/>
              <a:gd name="T71" fmla="*/ 21 h 64"/>
              <a:gd name="T72" fmla="*/ 69 w 81"/>
              <a:gd name="T73" fmla="*/ 38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1" h="64">
                <a:moveTo>
                  <a:pt x="68" y="61"/>
                </a:moveTo>
                <a:lnTo>
                  <a:pt x="65" y="64"/>
                </a:lnTo>
                <a:lnTo>
                  <a:pt x="18" y="55"/>
                </a:lnTo>
                <a:lnTo>
                  <a:pt x="11" y="41"/>
                </a:lnTo>
                <a:lnTo>
                  <a:pt x="1" y="32"/>
                </a:lnTo>
                <a:lnTo>
                  <a:pt x="0" y="27"/>
                </a:lnTo>
                <a:lnTo>
                  <a:pt x="6" y="24"/>
                </a:lnTo>
                <a:lnTo>
                  <a:pt x="4" y="26"/>
                </a:lnTo>
                <a:lnTo>
                  <a:pt x="4" y="27"/>
                </a:lnTo>
                <a:lnTo>
                  <a:pt x="6" y="27"/>
                </a:lnTo>
                <a:lnTo>
                  <a:pt x="4" y="30"/>
                </a:lnTo>
                <a:lnTo>
                  <a:pt x="4" y="32"/>
                </a:lnTo>
                <a:lnTo>
                  <a:pt x="8" y="32"/>
                </a:lnTo>
                <a:lnTo>
                  <a:pt x="9" y="32"/>
                </a:lnTo>
                <a:lnTo>
                  <a:pt x="10" y="32"/>
                </a:lnTo>
                <a:lnTo>
                  <a:pt x="10" y="32"/>
                </a:lnTo>
                <a:lnTo>
                  <a:pt x="11" y="35"/>
                </a:lnTo>
                <a:lnTo>
                  <a:pt x="12" y="36"/>
                </a:lnTo>
                <a:lnTo>
                  <a:pt x="17" y="36"/>
                </a:lnTo>
                <a:lnTo>
                  <a:pt x="21" y="36"/>
                </a:lnTo>
                <a:lnTo>
                  <a:pt x="22" y="36"/>
                </a:lnTo>
                <a:lnTo>
                  <a:pt x="23" y="34"/>
                </a:lnTo>
                <a:lnTo>
                  <a:pt x="26" y="33"/>
                </a:lnTo>
                <a:lnTo>
                  <a:pt x="32" y="34"/>
                </a:lnTo>
                <a:lnTo>
                  <a:pt x="34" y="35"/>
                </a:lnTo>
                <a:lnTo>
                  <a:pt x="37" y="35"/>
                </a:lnTo>
                <a:lnTo>
                  <a:pt x="39" y="35"/>
                </a:lnTo>
                <a:lnTo>
                  <a:pt x="47" y="35"/>
                </a:lnTo>
                <a:lnTo>
                  <a:pt x="48" y="34"/>
                </a:lnTo>
                <a:lnTo>
                  <a:pt x="49" y="32"/>
                </a:lnTo>
                <a:lnTo>
                  <a:pt x="51" y="32"/>
                </a:lnTo>
                <a:lnTo>
                  <a:pt x="51" y="31"/>
                </a:lnTo>
                <a:lnTo>
                  <a:pt x="53" y="31"/>
                </a:lnTo>
                <a:lnTo>
                  <a:pt x="53" y="30"/>
                </a:lnTo>
                <a:lnTo>
                  <a:pt x="52" y="28"/>
                </a:lnTo>
                <a:lnTo>
                  <a:pt x="52" y="28"/>
                </a:lnTo>
                <a:lnTo>
                  <a:pt x="52" y="28"/>
                </a:lnTo>
                <a:lnTo>
                  <a:pt x="54" y="27"/>
                </a:lnTo>
                <a:lnTo>
                  <a:pt x="54" y="27"/>
                </a:lnTo>
                <a:lnTo>
                  <a:pt x="55" y="26"/>
                </a:lnTo>
                <a:lnTo>
                  <a:pt x="55" y="25"/>
                </a:lnTo>
                <a:lnTo>
                  <a:pt x="55" y="24"/>
                </a:lnTo>
                <a:lnTo>
                  <a:pt x="55" y="23"/>
                </a:lnTo>
                <a:lnTo>
                  <a:pt x="57" y="22"/>
                </a:lnTo>
                <a:lnTo>
                  <a:pt x="60" y="21"/>
                </a:lnTo>
                <a:lnTo>
                  <a:pt x="60" y="18"/>
                </a:lnTo>
                <a:lnTo>
                  <a:pt x="61" y="18"/>
                </a:lnTo>
                <a:lnTo>
                  <a:pt x="62" y="17"/>
                </a:lnTo>
                <a:lnTo>
                  <a:pt x="63" y="15"/>
                </a:lnTo>
                <a:lnTo>
                  <a:pt x="64" y="14"/>
                </a:lnTo>
                <a:lnTo>
                  <a:pt x="65" y="13"/>
                </a:lnTo>
                <a:lnTo>
                  <a:pt x="67" y="12"/>
                </a:lnTo>
                <a:lnTo>
                  <a:pt x="67" y="12"/>
                </a:lnTo>
                <a:lnTo>
                  <a:pt x="67" y="11"/>
                </a:lnTo>
                <a:lnTo>
                  <a:pt x="68" y="10"/>
                </a:lnTo>
                <a:lnTo>
                  <a:pt x="68" y="8"/>
                </a:lnTo>
                <a:lnTo>
                  <a:pt x="69" y="8"/>
                </a:lnTo>
                <a:lnTo>
                  <a:pt x="69" y="7"/>
                </a:lnTo>
                <a:lnTo>
                  <a:pt x="71" y="5"/>
                </a:lnTo>
                <a:lnTo>
                  <a:pt x="74" y="2"/>
                </a:lnTo>
                <a:lnTo>
                  <a:pt x="74" y="0"/>
                </a:lnTo>
                <a:lnTo>
                  <a:pt x="75" y="1"/>
                </a:lnTo>
                <a:lnTo>
                  <a:pt x="77" y="2"/>
                </a:lnTo>
                <a:lnTo>
                  <a:pt x="75" y="3"/>
                </a:lnTo>
                <a:lnTo>
                  <a:pt x="77" y="4"/>
                </a:lnTo>
                <a:lnTo>
                  <a:pt x="77" y="5"/>
                </a:lnTo>
                <a:lnTo>
                  <a:pt x="77" y="6"/>
                </a:lnTo>
                <a:lnTo>
                  <a:pt x="79" y="6"/>
                </a:lnTo>
                <a:lnTo>
                  <a:pt x="80" y="8"/>
                </a:lnTo>
                <a:lnTo>
                  <a:pt x="81" y="18"/>
                </a:lnTo>
                <a:lnTo>
                  <a:pt x="81" y="21"/>
                </a:lnTo>
                <a:lnTo>
                  <a:pt x="72" y="21"/>
                </a:lnTo>
                <a:lnTo>
                  <a:pt x="78" y="35"/>
                </a:lnTo>
                <a:lnTo>
                  <a:pt x="69" y="38"/>
                </a:lnTo>
                <a:lnTo>
                  <a:pt x="68" y="6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82" name="Freeform 682"/>
          <p:cNvSpPr>
            <a:spLocks/>
          </p:cNvSpPr>
          <p:nvPr/>
        </p:nvSpPr>
        <p:spPr bwMode="auto">
          <a:xfrm>
            <a:off x="5422900" y="3028915"/>
            <a:ext cx="260350" cy="185738"/>
          </a:xfrm>
          <a:custGeom>
            <a:avLst/>
            <a:gdLst>
              <a:gd name="T0" fmla="*/ 159 w 164"/>
              <a:gd name="T1" fmla="*/ 47 h 117"/>
              <a:gd name="T2" fmla="*/ 153 w 164"/>
              <a:gd name="T3" fmla="*/ 52 h 117"/>
              <a:gd name="T4" fmla="*/ 152 w 164"/>
              <a:gd name="T5" fmla="*/ 59 h 117"/>
              <a:gd name="T6" fmla="*/ 153 w 164"/>
              <a:gd name="T7" fmla="*/ 62 h 117"/>
              <a:gd name="T8" fmla="*/ 151 w 164"/>
              <a:gd name="T9" fmla="*/ 63 h 117"/>
              <a:gd name="T10" fmla="*/ 148 w 164"/>
              <a:gd name="T11" fmla="*/ 63 h 117"/>
              <a:gd name="T12" fmla="*/ 141 w 164"/>
              <a:gd name="T13" fmla="*/ 68 h 117"/>
              <a:gd name="T14" fmla="*/ 133 w 164"/>
              <a:gd name="T15" fmla="*/ 70 h 117"/>
              <a:gd name="T16" fmla="*/ 128 w 164"/>
              <a:gd name="T17" fmla="*/ 73 h 117"/>
              <a:gd name="T18" fmla="*/ 119 w 164"/>
              <a:gd name="T19" fmla="*/ 77 h 117"/>
              <a:gd name="T20" fmla="*/ 111 w 164"/>
              <a:gd name="T21" fmla="*/ 78 h 117"/>
              <a:gd name="T22" fmla="*/ 103 w 164"/>
              <a:gd name="T23" fmla="*/ 82 h 117"/>
              <a:gd name="T24" fmla="*/ 101 w 164"/>
              <a:gd name="T25" fmla="*/ 87 h 117"/>
              <a:gd name="T26" fmla="*/ 97 w 164"/>
              <a:gd name="T27" fmla="*/ 91 h 117"/>
              <a:gd name="T28" fmla="*/ 95 w 164"/>
              <a:gd name="T29" fmla="*/ 93 h 117"/>
              <a:gd name="T30" fmla="*/ 84 w 164"/>
              <a:gd name="T31" fmla="*/ 93 h 117"/>
              <a:gd name="T32" fmla="*/ 80 w 164"/>
              <a:gd name="T33" fmla="*/ 98 h 117"/>
              <a:gd name="T34" fmla="*/ 73 w 164"/>
              <a:gd name="T35" fmla="*/ 101 h 117"/>
              <a:gd name="T36" fmla="*/ 64 w 164"/>
              <a:gd name="T37" fmla="*/ 103 h 117"/>
              <a:gd name="T38" fmla="*/ 59 w 164"/>
              <a:gd name="T39" fmla="*/ 103 h 117"/>
              <a:gd name="T40" fmla="*/ 52 w 164"/>
              <a:gd name="T41" fmla="*/ 103 h 117"/>
              <a:gd name="T42" fmla="*/ 48 w 164"/>
              <a:gd name="T43" fmla="*/ 109 h 117"/>
              <a:gd name="T44" fmla="*/ 38 w 164"/>
              <a:gd name="T45" fmla="*/ 115 h 117"/>
              <a:gd name="T46" fmla="*/ 28 w 164"/>
              <a:gd name="T47" fmla="*/ 117 h 117"/>
              <a:gd name="T48" fmla="*/ 23 w 164"/>
              <a:gd name="T49" fmla="*/ 117 h 117"/>
              <a:gd name="T50" fmla="*/ 17 w 164"/>
              <a:gd name="T51" fmla="*/ 116 h 117"/>
              <a:gd name="T52" fmla="*/ 11 w 164"/>
              <a:gd name="T53" fmla="*/ 107 h 117"/>
              <a:gd name="T54" fmla="*/ 11 w 164"/>
              <a:gd name="T55" fmla="*/ 95 h 117"/>
              <a:gd name="T56" fmla="*/ 8 w 164"/>
              <a:gd name="T57" fmla="*/ 91 h 117"/>
              <a:gd name="T58" fmla="*/ 6 w 164"/>
              <a:gd name="T59" fmla="*/ 79 h 117"/>
              <a:gd name="T60" fmla="*/ 5 w 164"/>
              <a:gd name="T61" fmla="*/ 76 h 117"/>
              <a:gd name="T62" fmla="*/ 1 w 164"/>
              <a:gd name="T63" fmla="*/ 69 h 117"/>
              <a:gd name="T64" fmla="*/ 1 w 164"/>
              <a:gd name="T65" fmla="*/ 67 h 117"/>
              <a:gd name="T66" fmla="*/ 1 w 164"/>
              <a:gd name="T67" fmla="*/ 67 h 117"/>
              <a:gd name="T68" fmla="*/ 1 w 164"/>
              <a:gd name="T69" fmla="*/ 62 h 117"/>
              <a:gd name="T70" fmla="*/ 2 w 164"/>
              <a:gd name="T71" fmla="*/ 59 h 117"/>
              <a:gd name="T72" fmla="*/ 1 w 164"/>
              <a:gd name="T73" fmla="*/ 52 h 117"/>
              <a:gd name="T74" fmla="*/ 0 w 164"/>
              <a:gd name="T75" fmla="*/ 48 h 117"/>
              <a:gd name="T76" fmla="*/ 5 w 164"/>
              <a:gd name="T77" fmla="*/ 45 h 117"/>
              <a:gd name="T78" fmla="*/ 7 w 164"/>
              <a:gd name="T79" fmla="*/ 41 h 117"/>
              <a:gd name="T80" fmla="*/ 10 w 164"/>
              <a:gd name="T81" fmla="*/ 38 h 117"/>
              <a:gd name="T82" fmla="*/ 18 w 164"/>
              <a:gd name="T83" fmla="*/ 36 h 117"/>
              <a:gd name="T84" fmla="*/ 57 w 164"/>
              <a:gd name="T85" fmla="*/ 42 h 117"/>
              <a:gd name="T86" fmla="*/ 94 w 164"/>
              <a:gd name="T87" fmla="*/ 14 h 117"/>
              <a:gd name="T88" fmla="*/ 164 w 164"/>
              <a:gd name="T89" fmla="*/ 45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64" h="117">
                <a:moveTo>
                  <a:pt x="164" y="45"/>
                </a:moveTo>
                <a:lnTo>
                  <a:pt x="159" y="47"/>
                </a:lnTo>
                <a:lnTo>
                  <a:pt x="155" y="49"/>
                </a:lnTo>
                <a:lnTo>
                  <a:pt x="153" y="52"/>
                </a:lnTo>
                <a:lnTo>
                  <a:pt x="152" y="57"/>
                </a:lnTo>
                <a:lnTo>
                  <a:pt x="152" y="59"/>
                </a:lnTo>
                <a:lnTo>
                  <a:pt x="153" y="61"/>
                </a:lnTo>
                <a:lnTo>
                  <a:pt x="153" y="62"/>
                </a:lnTo>
                <a:lnTo>
                  <a:pt x="152" y="63"/>
                </a:lnTo>
                <a:lnTo>
                  <a:pt x="151" y="63"/>
                </a:lnTo>
                <a:lnTo>
                  <a:pt x="150" y="63"/>
                </a:lnTo>
                <a:lnTo>
                  <a:pt x="148" y="63"/>
                </a:lnTo>
                <a:lnTo>
                  <a:pt x="143" y="66"/>
                </a:lnTo>
                <a:lnTo>
                  <a:pt x="141" y="68"/>
                </a:lnTo>
                <a:lnTo>
                  <a:pt x="138" y="70"/>
                </a:lnTo>
                <a:lnTo>
                  <a:pt x="133" y="70"/>
                </a:lnTo>
                <a:lnTo>
                  <a:pt x="131" y="71"/>
                </a:lnTo>
                <a:lnTo>
                  <a:pt x="128" y="73"/>
                </a:lnTo>
                <a:lnTo>
                  <a:pt x="124" y="75"/>
                </a:lnTo>
                <a:lnTo>
                  <a:pt x="119" y="77"/>
                </a:lnTo>
                <a:lnTo>
                  <a:pt x="115" y="77"/>
                </a:lnTo>
                <a:lnTo>
                  <a:pt x="111" y="78"/>
                </a:lnTo>
                <a:lnTo>
                  <a:pt x="107" y="81"/>
                </a:lnTo>
                <a:lnTo>
                  <a:pt x="103" y="82"/>
                </a:lnTo>
                <a:lnTo>
                  <a:pt x="103" y="85"/>
                </a:lnTo>
                <a:lnTo>
                  <a:pt x="101" y="87"/>
                </a:lnTo>
                <a:lnTo>
                  <a:pt x="99" y="91"/>
                </a:lnTo>
                <a:lnTo>
                  <a:pt x="97" y="91"/>
                </a:lnTo>
                <a:lnTo>
                  <a:pt x="97" y="92"/>
                </a:lnTo>
                <a:lnTo>
                  <a:pt x="95" y="93"/>
                </a:lnTo>
                <a:lnTo>
                  <a:pt x="88" y="92"/>
                </a:lnTo>
                <a:lnTo>
                  <a:pt x="84" y="93"/>
                </a:lnTo>
                <a:lnTo>
                  <a:pt x="81" y="96"/>
                </a:lnTo>
                <a:lnTo>
                  <a:pt x="80" y="98"/>
                </a:lnTo>
                <a:lnTo>
                  <a:pt x="76" y="100"/>
                </a:lnTo>
                <a:lnTo>
                  <a:pt x="73" y="101"/>
                </a:lnTo>
                <a:lnTo>
                  <a:pt x="68" y="103"/>
                </a:lnTo>
                <a:lnTo>
                  <a:pt x="64" y="103"/>
                </a:lnTo>
                <a:lnTo>
                  <a:pt x="62" y="102"/>
                </a:lnTo>
                <a:lnTo>
                  <a:pt x="59" y="103"/>
                </a:lnTo>
                <a:lnTo>
                  <a:pt x="56" y="102"/>
                </a:lnTo>
                <a:lnTo>
                  <a:pt x="52" y="103"/>
                </a:lnTo>
                <a:lnTo>
                  <a:pt x="50" y="106"/>
                </a:lnTo>
                <a:lnTo>
                  <a:pt x="48" y="109"/>
                </a:lnTo>
                <a:lnTo>
                  <a:pt x="41" y="112"/>
                </a:lnTo>
                <a:lnTo>
                  <a:pt x="38" y="115"/>
                </a:lnTo>
                <a:lnTo>
                  <a:pt x="31" y="115"/>
                </a:lnTo>
                <a:lnTo>
                  <a:pt x="28" y="117"/>
                </a:lnTo>
                <a:lnTo>
                  <a:pt x="26" y="116"/>
                </a:lnTo>
                <a:lnTo>
                  <a:pt x="23" y="117"/>
                </a:lnTo>
                <a:lnTo>
                  <a:pt x="20" y="116"/>
                </a:lnTo>
                <a:lnTo>
                  <a:pt x="17" y="116"/>
                </a:lnTo>
                <a:lnTo>
                  <a:pt x="14" y="111"/>
                </a:lnTo>
                <a:lnTo>
                  <a:pt x="11" y="107"/>
                </a:lnTo>
                <a:lnTo>
                  <a:pt x="11" y="98"/>
                </a:lnTo>
                <a:lnTo>
                  <a:pt x="11" y="95"/>
                </a:lnTo>
                <a:lnTo>
                  <a:pt x="9" y="93"/>
                </a:lnTo>
                <a:lnTo>
                  <a:pt x="8" y="91"/>
                </a:lnTo>
                <a:lnTo>
                  <a:pt x="7" y="86"/>
                </a:lnTo>
                <a:lnTo>
                  <a:pt x="6" y="79"/>
                </a:lnTo>
                <a:lnTo>
                  <a:pt x="5" y="77"/>
                </a:lnTo>
                <a:lnTo>
                  <a:pt x="5" y="76"/>
                </a:lnTo>
                <a:lnTo>
                  <a:pt x="3" y="72"/>
                </a:lnTo>
                <a:lnTo>
                  <a:pt x="1" y="69"/>
                </a:lnTo>
                <a:lnTo>
                  <a:pt x="0" y="68"/>
                </a:lnTo>
                <a:lnTo>
                  <a:pt x="1" y="67"/>
                </a:lnTo>
                <a:lnTo>
                  <a:pt x="1" y="68"/>
                </a:lnTo>
                <a:lnTo>
                  <a:pt x="1" y="67"/>
                </a:lnTo>
                <a:lnTo>
                  <a:pt x="1" y="65"/>
                </a:lnTo>
                <a:lnTo>
                  <a:pt x="1" y="62"/>
                </a:lnTo>
                <a:lnTo>
                  <a:pt x="0" y="60"/>
                </a:lnTo>
                <a:lnTo>
                  <a:pt x="2" y="59"/>
                </a:lnTo>
                <a:lnTo>
                  <a:pt x="2" y="57"/>
                </a:lnTo>
                <a:lnTo>
                  <a:pt x="1" y="52"/>
                </a:lnTo>
                <a:lnTo>
                  <a:pt x="1" y="49"/>
                </a:lnTo>
                <a:lnTo>
                  <a:pt x="0" y="48"/>
                </a:lnTo>
                <a:lnTo>
                  <a:pt x="3" y="47"/>
                </a:lnTo>
                <a:lnTo>
                  <a:pt x="5" y="45"/>
                </a:lnTo>
                <a:lnTo>
                  <a:pt x="5" y="42"/>
                </a:lnTo>
                <a:lnTo>
                  <a:pt x="7" y="41"/>
                </a:lnTo>
                <a:lnTo>
                  <a:pt x="9" y="40"/>
                </a:lnTo>
                <a:lnTo>
                  <a:pt x="10" y="38"/>
                </a:lnTo>
                <a:lnTo>
                  <a:pt x="11" y="36"/>
                </a:lnTo>
                <a:lnTo>
                  <a:pt x="18" y="36"/>
                </a:lnTo>
                <a:lnTo>
                  <a:pt x="28" y="31"/>
                </a:lnTo>
                <a:lnTo>
                  <a:pt x="57" y="42"/>
                </a:lnTo>
                <a:lnTo>
                  <a:pt x="58" y="62"/>
                </a:lnTo>
                <a:lnTo>
                  <a:pt x="94" y="14"/>
                </a:lnTo>
                <a:lnTo>
                  <a:pt x="144" y="0"/>
                </a:lnTo>
                <a:lnTo>
                  <a:pt x="164" y="4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83" name="Freeform 683"/>
          <p:cNvSpPr>
            <a:spLocks/>
          </p:cNvSpPr>
          <p:nvPr/>
        </p:nvSpPr>
        <p:spPr bwMode="auto">
          <a:xfrm>
            <a:off x="5422900" y="3028915"/>
            <a:ext cx="260350" cy="185738"/>
          </a:xfrm>
          <a:custGeom>
            <a:avLst/>
            <a:gdLst>
              <a:gd name="T0" fmla="*/ 159 w 164"/>
              <a:gd name="T1" fmla="*/ 47 h 117"/>
              <a:gd name="T2" fmla="*/ 153 w 164"/>
              <a:gd name="T3" fmla="*/ 52 h 117"/>
              <a:gd name="T4" fmla="*/ 152 w 164"/>
              <a:gd name="T5" fmla="*/ 59 h 117"/>
              <a:gd name="T6" fmla="*/ 153 w 164"/>
              <a:gd name="T7" fmla="*/ 62 h 117"/>
              <a:gd name="T8" fmla="*/ 151 w 164"/>
              <a:gd name="T9" fmla="*/ 63 h 117"/>
              <a:gd name="T10" fmla="*/ 148 w 164"/>
              <a:gd name="T11" fmla="*/ 63 h 117"/>
              <a:gd name="T12" fmla="*/ 141 w 164"/>
              <a:gd name="T13" fmla="*/ 68 h 117"/>
              <a:gd name="T14" fmla="*/ 133 w 164"/>
              <a:gd name="T15" fmla="*/ 70 h 117"/>
              <a:gd name="T16" fmla="*/ 128 w 164"/>
              <a:gd name="T17" fmla="*/ 73 h 117"/>
              <a:gd name="T18" fmla="*/ 119 w 164"/>
              <a:gd name="T19" fmla="*/ 77 h 117"/>
              <a:gd name="T20" fmla="*/ 111 w 164"/>
              <a:gd name="T21" fmla="*/ 78 h 117"/>
              <a:gd name="T22" fmla="*/ 103 w 164"/>
              <a:gd name="T23" fmla="*/ 82 h 117"/>
              <a:gd name="T24" fmla="*/ 101 w 164"/>
              <a:gd name="T25" fmla="*/ 87 h 117"/>
              <a:gd name="T26" fmla="*/ 97 w 164"/>
              <a:gd name="T27" fmla="*/ 91 h 117"/>
              <a:gd name="T28" fmla="*/ 95 w 164"/>
              <a:gd name="T29" fmla="*/ 93 h 117"/>
              <a:gd name="T30" fmla="*/ 84 w 164"/>
              <a:gd name="T31" fmla="*/ 93 h 117"/>
              <a:gd name="T32" fmla="*/ 80 w 164"/>
              <a:gd name="T33" fmla="*/ 98 h 117"/>
              <a:gd name="T34" fmla="*/ 73 w 164"/>
              <a:gd name="T35" fmla="*/ 101 h 117"/>
              <a:gd name="T36" fmla="*/ 64 w 164"/>
              <a:gd name="T37" fmla="*/ 103 h 117"/>
              <a:gd name="T38" fmla="*/ 59 w 164"/>
              <a:gd name="T39" fmla="*/ 103 h 117"/>
              <a:gd name="T40" fmla="*/ 52 w 164"/>
              <a:gd name="T41" fmla="*/ 103 h 117"/>
              <a:gd name="T42" fmla="*/ 48 w 164"/>
              <a:gd name="T43" fmla="*/ 109 h 117"/>
              <a:gd name="T44" fmla="*/ 38 w 164"/>
              <a:gd name="T45" fmla="*/ 115 h 117"/>
              <a:gd name="T46" fmla="*/ 28 w 164"/>
              <a:gd name="T47" fmla="*/ 117 h 117"/>
              <a:gd name="T48" fmla="*/ 23 w 164"/>
              <a:gd name="T49" fmla="*/ 117 h 117"/>
              <a:gd name="T50" fmla="*/ 17 w 164"/>
              <a:gd name="T51" fmla="*/ 116 h 117"/>
              <a:gd name="T52" fmla="*/ 11 w 164"/>
              <a:gd name="T53" fmla="*/ 107 h 117"/>
              <a:gd name="T54" fmla="*/ 11 w 164"/>
              <a:gd name="T55" fmla="*/ 95 h 117"/>
              <a:gd name="T56" fmla="*/ 8 w 164"/>
              <a:gd name="T57" fmla="*/ 91 h 117"/>
              <a:gd name="T58" fmla="*/ 6 w 164"/>
              <a:gd name="T59" fmla="*/ 79 h 117"/>
              <a:gd name="T60" fmla="*/ 5 w 164"/>
              <a:gd name="T61" fmla="*/ 76 h 117"/>
              <a:gd name="T62" fmla="*/ 1 w 164"/>
              <a:gd name="T63" fmla="*/ 69 h 117"/>
              <a:gd name="T64" fmla="*/ 1 w 164"/>
              <a:gd name="T65" fmla="*/ 67 h 117"/>
              <a:gd name="T66" fmla="*/ 1 w 164"/>
              <a:gd name="T67" fmla="*/ 67 h 117"/>
              <a:gd name="T68" fmla="*/ 1 w 164"/>
              <a:gd name="T69" fmla="*/ 62 h 117"/>
              <a:gd name="T70" fmla="*/ 2 w 164"/>
              <a:gd name="T71" fmla="*/ 59 h 117"/>
              <a:gd name="T72" fmla="*/ 1 w 164"/>
              <a:gd name="T73" fmla="*/ 52 h 117"/>
              <a:gd name="T74" fmla="*/ 0 w 164"/>
              <a:gd name="T75" fmla="*/ 48 h 117"/>
              <a:gd name="T76" fmla="*/ 5 w 164"/>
              <a:gd name="T77" fmla="*/ 45 h 117"/>
              <a:gd name="T78" fmla="*/ 7 w 164"/>
              <a:gd name="T79" fmla="*/ 41 h 117"/>
              <a:gd name="T80" fmla="*/ 10 w 164"/>
              <a:gd name="T81" fmla="*/ 38 h 117"/>
              <a:gd name="T82" fmla="*/ 18 w 164"/>
              <a:gd name="T83" fmla="*/ 36 h 117"/>
              <a:gd name="T84" fmla="*/ 57 w 164"/>
              <a:gd name="T85" fmla="*/ 42 h 117"/>
              <a:gd name="T86" fmla="*/ 94 w 164"/>
              <a:gd name="T87" fmla="*/ 14 h 117"/>
              <a:gd name="T88" fmla="*/ 164 w 164"/>
              <a:gd name="T89" fmla="*/ 45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64" h="117">
                <a:moveTo>
                  <a:pt x="164" y="45"/>
                </a:moveTo>
                <a:lnTo>
                  <a:pt x="159" y="47"/>
                </a:lnTo>
                <a:lnTo>
                  <a:pt x="155" y="49"/>
                </a:lnTo>
                <a:lnTo>
                  <a:pt x="153" y="52"/>
                </a:lnTo>
                <a:lnTo>
                  <a:pt x="152" y="57"/>
                </a:lnTo>
                <a:lnTo>
                  <a:pt x="152" y="59"/>
                </a:lnTo>
                <a:lnTo>
                  <a:pt x="153" y="61"/>
                </a:lnTo>
                <a:lnTo>
                  <a:pt x="153" y="62"/>
                </a:lnTo>
                <a:lnTo>
                  <a:pt x="152" y="63"/>
                </a:lnTo>
                <a:lnTo>
                  <a:pt x="151" y="63"/>
                </a:lnTo>
                <a:lnTo>
                  <a:pt x="150" y="63"/>
                </a:lnTo>
                <a:lnTo>
                  <a:pt x="148" y="63"/>
                </a:lnTo>
                <a:lnTo>
                  <a:pt x="143" y="66"/>
                </a:lnTo>
                <a:lnTo>
                  <a:pt x="141" y="68"/>
                </a:lnTo>
                <a:lnTo>
                  <a:pt x="138" y="70"/>
                </a:lnTo>
                <a:lnTo>
                  <a:pt x="133" y="70"/>
                </a:lnTo>
                <a:lnTo>
                  <a:pt x="131" y="71"/>
                </a:lnTo>
                <a:lnTo>
                  <a:pt x="128" y="73"/>
                </a:lnTo>
                <a:lnTo>
                  <a:pt x="124" y="75"/>
                </a:lnTo>
                <a:lnTo>
                  <a:pt x="119" y="77"/>
                </a:lnTo>
                <a:lnTo>
                  <a:pt x="115" y="77"/>
                </a:lnTo>
                <a:lnTo>
                  <a:pt x="111" y="78"/>
                </a:lnTo>
                <a:lnTo>
                  <a:pt x="107" y="81"/>
                </a:lnTo>
                <a:lnTo>
                  <a:pt x="103" y="82"/>
                </a:lnTo>
                <a:lnTo>
                  <a:pt x="103" y="85"/>
                </a:lnTo>
                <a:lnTo>
                  <a:pt x="101" y="87"/>
                </a:lnTo>
                <a:lnTo>
                  <a:pt x="99" y="91"/>
                </a:lnTo>
                <a:lnTo>
                  <a:pt x="97" y="91"/>
                </a:lnTo>
                <a:lnTo>
                  <a:pt x="97" y="92"/>
                </a:lnTo>
                <a:lnTo>
                  <a:pt x="95" y="93"/>
                </a:lnTo>
                <a:lnTo>
                  <a:pt x="88" y="92"/>
                </a:lnTo>
                <a:lnTo>
                  <a:pt x="84" y="93"/>
                </a:lnTo>
                <a:lnTo>
                  <a:pt x="81" y="96"/>
                </a:lnTo>
                <a:lnTo>
                  <a:pt x="80" y="98"/>
                </a:lnTo>
                <a:lnTo>
                  <a:pt x="76" y="100"/>
                </a:lnTo>
                <a:lnTo>
                  <a:pt x="73" y="101"/>
                </a:lnTo>
                <a:lnTo>
                  <a:pt x="68" y="103"/>
                </a:lnTo>
                <a:lnTo>
                  <a:pt x="64" y="103"/>
                </a:lnTo>
                <a:lnTo>
                  <a:pt x="62" y="102"/>
                </a:lnTo>
                <a:lnTo>
                  <a:pt x="59" y="103"/>
                </a:lnTo>
                <a:lnTo>
                  <a:pt x="56" y="102"/>
                </a:lnTo>
                <a:lnTo>
                  <a:pt x="52" y="103"/>
                </a:lnTo>
                <a:lnTo>
                  <a:pt x="50" y="106"/>
                </a:lnTo>
                <a:lnTo>
                  <a:pt x="48" y="109"/>
                </a:lnTo>
                <a:lnTo>
                  <a:pt x="41" y="112"/>
                </a:lnTo>
                <a:lnTo>
                  <a:pt x="38" y="115"/>
                </a:lnTo>
                <a:lnTo>
                  <a:pt x="31" y="115"/>
                </a:lnTo>
                <a:lnTo>
                  <a:pt x="28" y="117"/>
                </a:lnTo>
                <a:lnTo>
                  <a:pt x="26" y="116"/>
                </a:lnTo>
                <a:lnTo>
                  <a:pt x="23" y="117"/>
                </a:lnTo>
                <a:lnTo>
                  <a:pt x="20" y="116"/>
                </a:lnTo>
                <a:lnTo>
                  <a:pt x="17" y="116"/>
                </a:lnTo>
                <a:lnTo>
                  <a:pt x="14" y="111"/>
                </a:lnTo>
                <a:lnTo>
                  <a:pt x="11" y="107"/>
                </a:lnTo>
                <a:lnTo>
                  <a:pt x="11" y="98"/>
                </a:lnTo>
                <a:lnTo>
                  <a:pt x="11" y="95"/>
                </a:lnTo>
                <a:lnTo>
                  <a:pt x="9" y="93"/>
                </a:lnTo>
                <a:lnTo>
                  <a:pt x="8" y="91"/>
                </a:lnTo>
                <a:lnTo>
                  <a:pt x="7" y="86"/>
                </a:lnTo>
                <a:lnTo>
                  <a:pt x="6" y="79"/>
                </a:lnTo>
                <a:lnTo>
                  <a:pt x="5" y="77"/>
                </a:lnTo>
                <a:lnTo>
                  <a:pt x="5" y="76"/>
                </a:lnTo>
                <a:lnTo>
                  <a:pt x="3" y="72"/>
                </a:lnTo>
                <a:lnTo>
                  <a:pt x="1" y="69"/>
                </a:lnTo>
                <a:lnTo>
                  <a:pt x="0" y="68"/>
                </a:lnTo>
                <a:lnTo>
                  <a:pt x="1" y="67"/>
                </a:lnTo>
                <a:lnTo>
                  <a:pt x="1" y="68"/>
                </a:lnTo>
                <a:lnTo>
                  <a:pt x="1" y="67"/>
                </a:lnTo>
                <a:lnTo>
                  <a:pt x="1" y="65"/>
                </a:lnTo>
                <a:lnTo>
                  <a:pt x="1" y="62"/>
                </a:lnTo>
                <a:lnTo>
                  <a:pt x="0" y="60"/>
                </a:lnTo>
                <a:lnTo>
                  <a:pt x="2" y="59"/>
                </a:lnTo>
                <a:lnTo>
                  <a:pt x="2" y="57"/>
                </a:lnTo>
                <a:lnTo>
                  <a:pt x="1" y="52"/>
                </a:lnTo>
                <a:lnTo>
                  <a:pt x="1" y="49"/>
                </a:lnTo>
                <a:lnTo>
                  <a:pt x="0" y="48"/>
                </a:lnTo>
                <a:lnTo>
                  <a:pt x="3" y="47"/>
                </a:lnTo>
                <a:lnTo>
                  <a:pt x="5" y="45"/>
                </a:lnTo>
                <a:lnTo>
                  <a:pt x="5" y="42"/>
                </a:lnTo>
                <a:lnTo>
                  <a:pt x="7" y="41"/>
                </a:lnTo>
                <a:lnTo>
                  <a:pt x="9" y="40"/>
                </a:lnTo>
                <a:lnTo>
                  <a:pt x="10" y="38"/>
                </a:lnTo>
                <a:lnTo>
                  <a:pt x="11" y="36"/>
                </a:lnTo>
                <a:lnTo>
                  <a:pt x="18" y="36"/>
                </a:lnTo>
                <a:lnTo>
                  <a:pt x="28" y="31"/>
                </a:lnTo>
                <a:lnTo>
                  <a:pt x="57" y="42"/>
                </a:lnTo>
                <a:lnTo>
                  <a:pt x="58" y="62"/>
                </a:lnTo>
                <a:lnTo>
                  <a:pt x="94" y="14"/>
                </a:lnTo>
                <a:lnTo>
                  <a:pt x="144" y="0"/>
                </a:lnTo>
                <a:lnTo>
                  <a:pt x="164" y="4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84" name="Freeform 684"/>
          <p:cNvSpPr>
            <a:spLocks/>
          </p:cNvSpPr>
          <p:nvPr/>
        </p:nvSpPr>
        <p:spPr bwMode="auto">
          <a:xfrm>
            <a:off x="5838825" y="2509803"/>
            <a:ext cx="371475" cy="384175"/>
          </a:xfrm>
          <a:custGeom>
            <a:avLst/>
            <a:gdLst>
              <a:gd name="T0" fmla="*/ 38 w 234"/>
              <a:gd name="T1" fmla="*/ 188 h 242"/>
              <a:gd name="T2" fmla="*/ 35 w 234"/>
              <a:gd name="T3" fmla="*/ 169 h 242"/>
              <a:gd name="T4" fmla="*/ 0 w 234"/>
              <a:gd name="T5" fmla="*/ 132 h 242"/>
              <a:gd name="T6" fmla="*/ 29 w 234"/>
              <a:gd name="T7" fmla="*/ 137 h 242"/>
              <a:gd name="T8" fmla="*/ 52 w 234"/>
              <a:gd name="T9" fmla="*/ 136 h 242"/>
              <a:gd name="T10" fmla="*/ 84 w 234"/>
              <a:gd name="T11" fmla="*/ 129 h 242"/>
              <a:gd name="T12" fmla="*/ 85 w 234"/>
              <a:gd name="T13" fmla="*/ 107 h 242"/>
              <a:gd name="T14" fmla="*/ 101 w 234"/>
              <a:gd name="T15" fmla="*/ 104 h 242"/>
              <a:gd name="T16" fmla="*/ 104 w 234"/>
              <a:gd name="T17" fmla="*/ 95 h 242"/>
              <a:gd name="T18" fmla="*/ 114 w 234"/>
              <a:gd name="T19" fmla="*/ 97 h 242"/>
              <a:gd name="T20" fmla="*/ 120 w 234"/>
              <a:gd name="T21" fmla="*/ 83 h 242"/>
              <a:gd name="T22" fmla="*/ 122 w 234"/>
              <a:gd name="T23" fmla="*/ 72 h 242"/>
              <a:gd name="T24" fmla="*/ 128 w 234"/>
              <a:gd name="T25" fmla="*/ 60 h 242"/>
              <a:gd name="T26" fmla="*/ 135 w 234"/>
              <a:gd name="T27" fmla="*/ 55 h 242"/>
              <a:gd name="T28" fmla="*/ 138 w 234"/>
              <a:gd name="T29" fmla="*/ 45 h 242"/>
              <a:gd name="T30" fmla="*/ 143 w 234"/>
              <a:gd name="T31" fmla="*/ 32 h 242"/>
              <a:gd name="T32" fmla="*/ 134 w 234"/>
              <a:gd name="T33" fmla="*/ 18 h 242"/>
              <a:gd name="T34" fmla="*/ 142 w 234"/>
              <a:gd name="T35" fmla="*/ 11 h 242"/>
              <a:gd name="T36" fmla="*/ 150 w 234"/>
              <a:gd name="T37" fmla="*/ 5 h 242"/>
              <a:gd name="T38" fmla="*/ 173 w 234"/>
              <a:gd name="T39" fmla="*/ 3 h 242"/>
              <a:gd name="T40" fmla="*/ 184 w 234"/>
              <a:gd name="T41" fmla="*/ 2 h 242"/>
              <a:gd name="T42" fmla="*/ 196 w 234"/>
              <a:gd name="T43" fmla="*/ 4 h 242"/>
              <a:gd name="T44" fmla="*/ 205 w 234"/>
              <a:gd name="T45" fmla="*/ 15 h 242"/>
              <a:gd name="T46" fmla="*/ 212 w 234"/>
              <a:gd name="T47" fmla="*/ 21 h 242"/>
              <a:gd name="T48" fmla="*/ 226 w 234"/>
              <a:gd name="T49" fmla="*/ 28 h 242"/>
              <a:gd name="T50" fmla="*/ 226 w 234"/>
              <a:gd name="T51" fmla="*/ 41 h 242"/>
              <a:gd name="T52" fmla="*/ 214 w 234"/>
              <a:gd name="T53" fmla="*/ 43 h 242"/>
              <a:gd name="T54" fmla="*/ 205 w 234"/>
              <a:gd name="T55" fmla="*/ 44 h 242"/>
              <a:gd name="T56" fmla="*/ 184 w 234"/>
              <a:gd name="T57" fmla="*/ 41 h 242"/>
              <a:gd name="T58" fmla="*/ 183 w 234"/>
              <a:gd name="T59" fmla="*/ 50 h 242"/>
              <a:gd name="T60" fmla="*/ 187 w 234"/>
              <a:gd name="T61" fmla="*/ 54 h 242"/>
              <a:gd name="T62" fmla="*/ 191 w 234"/>
              <a:gd name="T63" fmla="*/ 65 h 242"/>
              <a:gd name="T64" fmla="*/ 197 w 234"/>
              <a:gd name="T65" fmla="*/ 77 h 242"/>
              <a:gd name="T66" fmla="*/ 210 w 234"/>
              <a:gd name="T67" fmla="*/ 84 h 242"/>
              <a:gd name="T68" fmla="*/ 210 w 234"/>
              <a:gd name="T69" fmla="*/ 91 h 242"/>
              <a:gd name="T70" fmla="*/ 205 w 234"/>
              <a:gd name="T71" fmla="*/ 102 h 242"/>
              <a:gd name="T72" fmla="*/ 210 w 234"/>
              <a:gd name="T73" fmla="*/ 107 h 242"/>
              <a:gd name="T74" fmla="*/ 201 w 234"/>
              <a:gd name="T75" fmla="*/ 117 h 242"/>
              <a:gd name="T76" fmla="*/ 194 w 234"/>
              <a:gd name="T77" fmla="*/ 129 h 242"/>
              <a:gd name="T78" fmla="*/ 180 w 234"/>
              <a:gd name="T79" fmla="*/ 152 h 242"/>
              <a:gd name="T80" fmla="*/ 164 w 234"/>
              <a:gd name="T81" fmla="*/ 167 h 242"/>
              <a:gd name="T82" fmla="*/ 153 w 234"/>
              <a:gd name="T83" fmla="*/ 164 h 242"/>
              <a:gd name="T84" fmla="*/ 142 w 234"/>
              <a:gd name="T85" fmla="*/ 187 h 242"/>
              <a:gd name="T86" fmla="*/ 154 w 234"/>
              <a:gd name="T87" fmla="*/ 193 h 242"/>
              <a:gd name="T88" fmla="*/ 162 w 234"/>
              <a:gd name="T89" fmla="*/ 206 h 242"/>
              <a:gd name="T90" fmla="*/ 170 w 234"/>
              <a:gd name="T91" fmla="*/ 222 h 242"/>
              <a:gd name="T92" fmla="*/ 173 w 234"/>
              <a:gd name="T93" fmla="*/ 231 h 242"/>
              <a:gd name="T94" fmla="*/ 165 w 234"/>
              <a:gd name="T95" fmla="*/ 232 h 242"/>
              <a:gd name="T96" fmla="*/ 156 w 234"/>
              <a:gd name="T97" fmla="*/ 234 h 242"/>
              <a:gd name="T98" fmla="*/ 140 w 234"/>
              <a:gd name="T99" fmla="*/ 232 h 242"/>
              <a:gd name="T100" fmla="*/ 131 w 234"/>
              <a:gd name="T101" fmla="*/ 237 h 242"/>
              <a:gd name="T102" fmla="*/ 119 w 234"/>
              <a:gd name="T103" fmla="*/ 240 h 242"/>
              <a:gd name="T104" fmla="*/ 109 w 234"/>
              <a:gd name="T105" fmla="*/ 224 h 242"/>
              <a:gd name="T106" fmla="*/ 88 w 234"/>
              <a:gd name="T107" fmla="*/ 212 h 242"/>
              <a:gd name="T108" fmla="*/ 62 w 234"/>
              <a:gd name="T109" fmla="*/ 212 h 242"/>
              <a:gd name="T110" fmla="*/ 31 w 234"/>
              <a:gd name="T111" fmla="*/ 215 h 2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34" h="242">
                <a:moveTo>
                  <a:pt x="23" y="216"/>
                </a:moveTo>
                <a:lnTo>
                  <a:pt x="22" y="211"/>
                </a:lnTo>
                <a:lnTo>
                  <a:pt x="23" y="207"/>
                </a:lnTo>
                <a:lnTo>
                  <a:pt x="24" y="198"/>
                </a:lnTo>
                <a:lnTo>
                  <a:pt x="27" y="195"/>
                </a:lnTo>
                <a:lnTo>
                  <a:pt x="30" y="192"/>
                </a:lnTo>
                <a:lnTo>
                  <a:pt x="33" y="191"/>
                </a:lnTo>
                <a:lnTo>
                  <a:pt x="38" y="188"/>
                </a:lnTo>
                <a:lnTo>
                  <a:pt x="41" y="188"/>
                </a:lnTo>
                <a:lnTo>
                  <a:pt x="44" y="184"/>
                </a:lnTo>
                <a:lnTo>
                  <a:pt x="45" y="183"/>
                </a:lnTo>
                <a:lnTo>
                  <a:pt x="44" y="180"/>
                </a:lnTo>
                <a:lnTo>
                  <a:pt x="42" y="178"/>
                </a:lnTo>
                <a:lnTo>
                  <a:pt x="37" y="177"/>
                </a:lnTo>
                <a:lnTo>
                  <a:pt x="37" y="173"/>
                </a:lnTo>
                <a:lnTo>
                  <a:pt x="35" y="169"/>
                </a:lnTo>
                <a:lnTo>
                  <a:pt x="33" y="161"/>
                </a:lnTo>
                <a:lnTo>
                  <a:pt x="31" y="159"/>
                </a:lnTo>
                <a:lnTo>
                  <a:pt x="23" y="156"/>
                </a:lnTo>
                <a:lnTo>
                  <a:pt x="19" y="154"/>
                </a:lnTo>
                <a:lnTo>
                  <a:pt x="14" y="151"/>
                </a:lnTo>
                <a:lnTo>
                  <a:pt x="7" y="139"/>
                </a:lnTo>
                <a:lnTo>
                  <a:pt x="2" y="135"/>
                </a:lnTo>
                <a:lnTo>
                  <a:pt x="0" y="132"/>
                </a:lnTo>
                <a:lnTo>
                  <a:pt x="0" y="131"/>
                </a:lnTo>
                <a:lnTo>
                  <a:pt x="0" y="131"/>
                </a:lnTo>
                <a:lnTo>
                  <a:pt x="18" y="135"/>
                </a:lnTo>
                <a:lnTo>
                  <a:pt x="23" y="139"/>
                </a:lnTo>
                <a:lnTo>
                  <a:pt x="25" y="139"/>
                </a:lnTo>
                <a:lnTo>
                  <a:pt x="27" y="139"/>
                </a:lnTo>
                <a:lnTo>
                  <a:pt x="28" y="137"/>
                </a:lnTo>
                <a:lnTo>
                  <a:pt x="29" y="137"/>
                </a:lnTo>
                <a:lnTo>
                  <a:pt x="31" y="137"/>
                </a:lnTo>
                <a:lnTo>
                  <a:pt x="33" y="137"/>
                </a:lnTo>
                <a:lnTo>
                  <a:pt x="37" y="137"/>
                </a:lnTo>
                <a:lnTo>
                  <a:pt x="41" y="136"/>
                </a:lnTo>
                <a:lnTo>
                  <a:pt x="45" y="136"/>
                </a:lnTo>
                <a:lnTo>
                  <a:pt x="51" y="139"/>
                </a:lnTo>
                <a:lnTo>
                  <a:pt x="51" y="137"/>
                </a:lnTo>
                <a:lnTo>
                  <a:pt x="52" y="136"/>
                </a:lnTo>
                <a:lnTo>
                  <a:pt x="52" y="136"/>
                </a:lnTo>
                <a:lnTo>
                  <a:pt x="54" y="135"/>
                </a:lnTo>
                <a:lnTo>
                  <a:pt x="58" y="135"/>
                </a:lnTo>
                <a:lnTo>
                  <a:pt x="65" y="135"/>
                </a:lnTo>
                <a:lnTo>
                  <a:pt x="70" y="134"/>
                </a:lnTo>
                <a:lnTo>
                  <a:pt x="75" y="132"/>
                </a:lnTo>
                <a:lnTo>
                  <a:pt x="82" y="131"/>
                </a:lnTo>
                <a:lnTo>
                  <a:pt x="84" y="129"/>
                </a:lnTo>
                <a:lnTo>
                  <a:pt x="83" y="127"/>
                </a:lnTo>
                <a:lnTo>
                  <a:pt x="82" y="126"/>
                </a:lnTo>
                <a:lnTo>
                  <a:pt x="82" y="125"/>
                </a:lnTo>
                <a:lnTo>
                  <a:pt x="82" y="120"/>
                </a:lnTo>
                <a:lnTo>
                  <a:pt x="81" y="116"/>
                </a:lnTo>
                <a:lnTo>
                  <a:pt x="81" y="112"/>
                </a:lnTo>
                <a:lnTo>
                  <a:pt x="82" y="110"/>
                </a:lnTo>
                <a:lnTo>
                  <a:pt x="85" y="107"/>
                </a:lnTo>
                <a:lnTo>
                  <a:pt x="86" y="104"/>
                </a:lnTo>
                <a:lnTo>
                  <a:pt x="88" y="103"/>
                </a:lnTo>
                <a:lnTo>
                  <a:pt x="89" y="104"/>
                </a:lnTo>
                <a:lnTo>
                  <a:pt x="90" y="105"/>
                </a:lnTo>
                <a:lnTo>
                  <a:pt x="92" y="105"/>
                </a:lnTo>
                <a:lnTo>
                  <a:pt x="95" y="105"/>
                </a:lnTo>
                <a:lnTo>
                  <a:pt x="99" y="104"/>
                </a:lnTo>
                <a:lnTo>
                  <a:pt x="101" y="104"/>
                </a:lnTo>
                <a:lnTo>
                  <a:pt x="101" y="103"/>
                </a:lnTo>
                <a:lnTo>
                  <a:pt x="101" y="102"/>
                </a:lnTo>
                <a:lnTo>
                  <a:pt x="99" y="102"/>
                </a:lnTo>
                <a:lnTo>
                  <a:pt x="98" y="101"/>
                </a:lnTo>
                <a:lnTo>
                  <a:pt x="99" y="100"/>
                </a:lnTo>
                <a:lnTo>
                  <a:pt x="103" y="97"/>
                </a:lnTo>
                <a:lnTo>
                  <a:pt x="103" y="96"/>
                </a:lnTo>
                <a:lnTo>
                  <a:pt x="104" y="95"/>
                </a:lnTo>
                <a:lnTo>
                  <a:pt x="106" y="95"/>
                </a:lnTo>
                <a:lnTo>
                  <a:pt x="112" y="96"/>
                </a:lnTo>
                <a:lnTo>
                  <a:pt x="111" y="96"/>
                </a:lnTo>
                <a:lnTo>
                  <a:pt x="110" y="95"/>
                </a:lnTo>
                <a:lnTo>
                  <a:pt x="111" y="95"/>
                </a:lnTo>
                <a:lnTo>
                  <a:pt x="112" y="95"/>
                </a:lnTo>
                <a:lnTo>
                  <a:pt x="114" y="96"/>
                </a:lnTo>
                <a:lnTo>
                  <a:pt x="114" y="97"/>
                </a:lnTo>
                <a:lnTo>
                  <a:pt x="115" y="99"/>
                </a:lnTo>
                <a:lnTo>
                  <a:pt x="118" y="99"/>
                </a:lnTo>
                <a:lnTo>
                  <a:pt x="118" y="99"/>
                </a:lnTo>
                <a:lnTo>
                  <a:pt x="122" y="93"/>
                </a:lnTo>
                <a:lnTo>
                  <a:pt x="122" y="92"/>
                </a:lnTo>
                <a:lnTo>
                  <a:pt x="121" y="89"/>
                </a:lnTo>
                <a:lnTo>
                  <a:pt x="120" y="84"/>
                </a:lnTo>
                <a:lnTo>
                  <a:pt x="120" y="83"/>
                </a:lnTo>
                <a:lnTo>
                  <a:pt x="120" y="82"/>
                </a:lnTo>
                <a:lnTo>
                  <a:pt x="121" y="80"/>
                </a:lnTo>
                <a:lnTo>
                  <a:pt x="121" y="80"/>
                </a:lnTo>
                <a:lnTo>
                  <a:pt x="121" y="79"/>
                </a:lnTo>
                <a:lnTo>
                  <a:pt x="121" y="77"/>
                </a:lnTo>
                <a:lnTo>
                  <a:pt x="121" y="76"/>
                </a:lnTo>
                <a:lnTo>
                  <a:pt x="122" y="75"/>
                </a:lnTo>
                <a:lnTo>
                  <a:pt x="122" y="72"/>
                </a:lnTo>
                <a:lnTo>
                  <a:pt x="124" y="71"/>
                </a:lnTo>
                <a:lnTo>
                  <a:pt x="128" y="71"/>
                </a:lnTo>
                <a:lnTo>
                  <a:pt x="130" y="69"/>
                </a:lnTo>
                <a:lnTo>
                  <a:pt x="131" y="67"/>
                </a:lnTo>
                <a:lnTo>
                  <a:pt x="132" y="66"/>
                </a:lnTo>
                <a:lnTo>
                  <a:pt x="132" y="65"/>
                </a:lnTo>
                <a:lnTo>
                  <a:pt x="130" y="64"/>
                </a:lnTo>
                <a:lnTo>
                  <a:pt x="128" y="60"/>
                </a:lnTo>
                <a:lnTo>
                  <a:pt x="126" y="60"/>
                </a:lnTo>
                <a:lnTo>
                  <a:pt x="124" y="58"/>
                </a:lnTo>
                <a:lnTo>
                  <a:pt x="124" y="56"/>
                </a:lnTo>
                <a:lnTo>
                  <a:pt x="124" y="54"/>
                </a:lnTo>
                <a:lnTo>
                  <a:pt x="125" y="54"/>
                </a:lnTo>
                <a:lnTo>
                  <a:pt x="126" y="54"/>
                </a:lnTo>
                <a:lnTo>
                  <a:pt x="132" y="55"/>
                </a:lnTo>
                <a:lnTo>
                  <a:pt x="135" y="55"/>
                </a:lnTo>
                <a:lnTo>
                  <a:pt x="138" y="55"/>
                </a:lnTo>
                <a:lnTo>
                  <a:pt x="140" y="54"/>
                </a:lnTo>
                <a:lnTo>
                  <a:pt x="141" y="51"/>
                </a:lnTo>
                <a:lnTo>
                  <a:pt x="141" y="50"/>
                </a:lnTo>
                <a:lnTo>
                  <a:pt x="141" y="49"/>
                </a:lnTo>
                <a:lnTo>
                  <a:pt x="140" y="48"/>
                </a:lnTo>
                <a:lnTo>
                  <a:pt x="139" y="48"/>
                </a:lnTo>
                <a:lnTo>
                  <a:pt x="138" y="45"/>
                </a:lnTo>
                <a:lnTo>
                  <a:pt x="139" y="44"/>
                </a:lnTo>
                <a:lnTo>
                  <a:pt x="140" y="42"/>
                </a:lnTo>
                <a:lnTo>
                  <a:pt x="141" y="40"/>
                </a:lnTo>
                <a:lnTo>
                  <a:pt x="142" y="39"/>
                </a:lnTo>
                <a:lnTo>
                  <a:pt x="144" y="36"/>
                </a:lnTo>
                <a:lnTo>
                  <a:pt x="144" y="34"/>
                </a:lnTo>
                <a:lnTo>
                  <a:pt x="144" y="33"/>
                </a:lnTo>
                <a:lnTo>
                  <a:pt x="143" y="32"/>
                </a:lnTo>
                <a:lnTo>
                  <a:pt x="143" y="31"/>
                </a:lnTo>
                <a:lnTo>
                  <a:pt x="143" y="29"/>
                </a:lnTo>
                <a:lnTo>
                  <a:pt x="143" y="29"/>
                </a:lnTo>
                <a:lnTo>
                  <a:pt x="142" y="25"/>
                </a:lnTo>
                <a:lnTo>
                  <a:pt x="140" y="22"/>
                </a:lnTo>
                <a:lnTo>
                  <a:pt x="138" y="20"/>
                </a:lnTo>
                <a:lnTo>
                  <a:pt x="134" y="19"/>
                </a:lnTo>
                <a:lnTo>
                  <a:pt x="134" y="18"/>
                </a:lnTo>
                <a:lnTo>
                  <a:pt x="134" y="16"/>
                </a:lnTo>
                <a:lnTo>
                  <a:pt x="135" y="15"/>
                </a:lnTo>
                <a:lnTo>
                  <a:pt x="139" y="12"/>
                </a:lnTo>
                <a:lnTo>
                  <a:pt x="139" y="11"/>
                </a:lnTo>
                <a:lnTo>
                  <a:pt x="139" y="10"/>
                </a:lnTo>
                <a:lnTo>
                  <a:pt x="140" y="10"/>
                </a:lnTo>
                <a:lnTo>
                  <a:pt x="141" y="11"/>
                </a:lnTo>
                <a:lnTo>
                  <a:pt x="142" y="11"/>
                </a:lnTo>
                <a:lnTo>
                  <a:pt x="142" y="10"/>
                </a:lnTo>
                <a:lnTo>
                  <a:pt x="142" y="9"/>
                </a:lnTo>
                <a:lnTo>
                  <a:pt x="144" y="9"/>
                </a:lnTo>
                <a:lnTo>
                  <a:pt x="145" y="8"/>
                </a:lnTo>
                <a:lnTo>
                  <a:pt x="145" y="6"/>
                </a:lnTo>
                <a:lnTo>
                  <a:pt x="146" y="6"/>
                </a:lnTo>
                <a:lnTo>
                  <a:pt x="148" y="5"/>
                </a:lnTo>
                <a:lnTo>
                  <a:pt x="150" y="5"/>
                </a:lnTo>
                <a:lnTo>
                  <a:pt x="152" y="4"/>
                </a:lnTo>
                <a:lnTo>
                  <a:pt x="153" y="3"/>
                </a:lnTo>
                <a:lnTo>
                  <a:pt x="155" y="2"/>
                </a:lnTo>
                <a:lnTo>
                  <a:pt x="156" y="3"/>
                </a:lnTo>
                <a:lnTo>
                  <a:pt x="166" y="2"/>
                </a:lnTo>
                <a:lnTo>
                  <a:pt x="167" y="2"/>
                </a:lnTo>
                <a:lnTo>
                  <a:pt x="170" y="2"/>
                </a:lnTo>
                <a:lnTo>
                  <a:pt x="173" y="3"/>
                </a:lnTo>
                <a:lnTo>
                  <a:pt x="175" y="3"/>
                </a:lnTo>
                <a:lnTo>
                  <a:pt x="176" y="2"/>
                </a:lnTo>
                <a:lnTo>
                  <a:pt x="177" y="2"/>
                </a:lnTo>
                <a:lnTo>
                  <a:pt x="179" y="1"/>
                </a:lnTo>
                <a:lnTo>
                  <a:pt x="181" y="2"/>
                </a:lnTo>
                <a:lnTo>
                  <a:pt x="181" y="0"/>
                </a:lnTo>
                <a:lnTo>
                  <a:pt x="181" y="1"/>
                </a:lnTo>
                <a:lnTo>
                  <a:pt x="184" y="2"/>
                </a:lnTo>
                <a:lnTo>
                  <a:pt x="187" y="1"/>
                </a:lnTo>
                <a:lnTo>
                  <a:pt x="189" y="1"/>
                </a:lnTo>
                <a:lnTo>
                  <a:pt x="191" y="2"/>
                </a:lnTo>
                <a:lnTo>
                  <a:pt x="192" y="2"/>
                </a:lnTo>
                <a:lnTo>
                  <a:pt x="193" y="2"/>
                </a:lnTo>
                <a:lnTo>
                  <a:pt x="194" y="5"/>
                </a:lnTo>
                <a:lnTo>
                  <a:pt x="194" y="6"/>
                </a:lnTo>
                <a:lnTo>
                  <a:pt x="196" y="4"/>
                </a:lnTo>
                <a:lnTo>
                  <a:pt x="197" y="4"/>
                </a:lnTo>
                <a:lnTo>
                  <a:pt x="201" y="6"/>
                </a:lnTo>
                <a:lnTo>
                  <a:pt x="203" y="9"/>
                </a:lnTo>
                <a:lnTo>
                  <a:pt x="204" y="10"/>
                </a:lnTo>
                <a:lnTo>
                  <a:pt x="204" y="11"/>
                </a:lnTo>
                <a:lnTo>
                  <a:pt x="204" y="13"/>
                </a:lnTo>
                <a:lnTo>
                  <a:pt x="205" y="14"/>
                </a:lnTo>
                <a:lnTo>
                  <a:pt x="205" y="15"/>
                </a:lnTo>
                <a:lnTo>
                  <a:pt x="205" y="16"/>
                </a:lnTo>
                <a:lnTo>
                  <a:pt x="204" y="16"/>
                </a:lnTo>
                <a:lnTo>
                  <a:pt x="204" y="18"/>
                </a:lnTo>
                <a:lnTo>
                  <a:pt x="205" y="18"/>
                </a:lnTo>
                <a:lnTo>
                  <a:pt x="207" y="19"/>
                </a:lnTo>
                <a:lnTo>
                  <a:pt x="210" y="22"/>
                </a:lnTo>
                <a:lnTo>
                  <a:pt x="211" y="22"/>
                </a:lnTo>
                <a:lnTo>
                  <a:pt x="212" y="21"/>
                </a:lnTo>
                <a:lnTo>
                  <a:pt x="213" y="21"/>
                </a:lnTo>
                <a:lnTo>
                  <a:pt x="214" y="21"/>
                </a:lnTo>
                <a:lnTo>
                  <a:pt x="215" y="20"/>
                </a:lnTo>
                <a:lnTo>
                  <a:pt x="215" y="21"/>
                </a:lnTo>
                <a:lnTo>
                  <a:pt x="216" y="23"/>
                </a:lnTo>
                <a:lnTo>
                  <a:pt x="220" y="24"/>
                </a:lnTo>
                <a:lnTo>
                  <a:pt x="224" y="26"/>
                </a:lnTo>
                <a:lnTo>
                  <a:pt x="226" y="28"/>
                </a:lnTo>
                <a:lnTo>
                  <a:pt x="229" y="28"/>
                </a:lnTo>
                <a:lnTo>
                  <a:pt x="231" y="29"/>
                </a:lnTo>
                <a:lnTo>
                  <a:pt x="234" y="29"/>
                </a:lnTo>
                <a:lnTo>
                  <a:pt x="226" y="35"/>
                </a:lnTo>
                <a:lnTo>
                  <a:pt x="225" y="38"/>
                </a:lnTo>
                <a:lnTo>
                  <a:pt x="226" y="38"/>
                </a:lnTo>
                <a:lnTo>
                  <a:pt x="226" y="39"/>
                </a:lnTo>
                <a:lnTo>
                  <a:pt x="226" y="41"/>
                </a:lnTo>
                <a:lnTo>
                  <a:pt x="225" y="42"/>
                </a:lnTo>
                <a:lnTo>
                  <a:pt x="224" y="41"/>
                </a:lnTo>
                <a:lnTo>
                  <a:pt x="223" y="40"/>
                </a:lnTo>
                <a:lnTo>
                  <a:pt x="217" y="41"/>
                </a:lnTo>
                <a:lnTo>
                  <a:pt x="217" y="41"/>
                </a:lnTo>
                <a:lnTo>
                  <a:pt x="216" y="43"/>
                </a:lnTo>
                <a:lnTo>
                  <a:pt x="215" y="43"/>
                </a:lnTo>
                <a:lnTo>
                  <a:pt x="214" y="43"/>
                </a:lnTo>
                <a:lnTo>
                  <a:pt x="212" y="42"/>
                </a:lnTo>
                <a:lnTo>
                  <a:pt x="211" y="43"/>
                </a:lnTo>
                <a:lnTo>
                  <a:pt x="211" y="44"/>
                </a:lnTo>
                <a:lnTo>
                  <a:pt x="210" y="45"/>
                </a:lnTo>
                <a:lnTo>
                  <a:pt x="209" y="45"/>
                </a:lnTo>
                <a:lnTo>
                  <a:pt x="207" y="44"/>
                </a:lnTo>
                <a:lnTo>
                  <a:pt x="206" y="45"/>
                </a:lnTo>
                <a:lnTo>
                  <a:pt x="205" y="44"/>
                </a:lnTo>
                <a:lnTo>
                  <a:pt x="202" y="44"/>
                </a:lnTo>
                <a:lnTo>
                  <a:pt x="201" y="44"/>
                </a:lnTo>
                <a:lnTo>
                  <a:pt x="199" y="44"/>
                </a:lnTo>
                <a:lnTo>
                  <a:pt x="194" y="42"/>
                </a:lnTo>
                <a:lnTo>
                  <a:pt x="191" y="41"/>
                </a:lnTo>
                <a:lnTo>
                  <a:pt x="186" y="39"/>
                </a:lnTo>
                <a:lnTo>
                  <a:pt x="185" y="40"/>
                </a:lnTo>
                <a:lnTo>
                  <a:pt x="184" y="41"/>
                </a:lnTo>
                <a:lnTo>
                  <a:pt x="182" y="41"/>
                </a:lnTo>
                <a:lnTo>
                  <a:pt x="181" y="41"/>
                </a:lnTo>
                <a:lnTo>
                  <a:pt x="181" y="41"/>
                </a:lnTo>
                <a:lnTo>
                  <a:pt x="181" y="43"/>
                </a:lnTo>
                <a:lnTo>
                  <a:pt x="180" y="48"/>
                </a:lnTo>
                <a:lnTo>
                  <a:pt x="180" y="48"/>
                </a:lnTo>
                <a:lnTo>
                  <a:pt x="182" y="48"/>
                </a:lnTo>
                <a:lnTo>
                  <a:pt x="183" y="50"/>
                </a:lnTo>
                <a:lnTo>
                  <a:pt x="183" y="51"/>
                </a:lnTo>
                <a:lnTo>
                  <a:pt x="183" y="51"/>
                </a:lnTo>
                <a:lnTo>
                  <a:pt x="182" y="52"/>
                </a:lnTo>
                <a:lnTo>
                  <a:pt x="182" y="53"/>
                </a:lnTo>
                <a:lnTo>
                  <a:pt x="183" y="53"/>
                </a:lnTo>
                <a:lnTo>
                  <a:pt x="184" y="54"/>
                </a:lnTo>
                <a:lnTo>
                  <a:pt x="187" y="53"/>
                </a:lnTo>
                <a:lnTo>
                  <a:pt x="187" y="54"/>
                </a:lnTo>
                <a:lnTo>
                  <a:pt x="189" y="55"/>
                </a:lnTo>
                <a:lnTo>
                  <a:pt x="189" y="55"/>
                </a:lnTo>
                <a:lnTo>
                  <a:pt x="187" y="56"/>
                </a:lnTo>
                <a:lnTo>
                  <a:pt x="186" y="58"/>
                </a:lnTo>
                <a:lnTo>
                  <a:pt x="186" y="59"/>
                </a:lnTo>
                <a:lnTo>
                  <a:pt x="190" y="62"/>
                </a:lnTo>
                <a:lnTo>
                  <a:pt x="191" y="64"/>
                </a:lnTo>
                <a:lnTo>
                  <a:pt x="191" y="65"/>
                </a:lnTo>
                <a:lnTo>
                  <a:pt x="187" y="67"/>
                </a:lnTo>
                <a:lnTo>
                  <a:pt x="187" y="69"/>
                </a:lnTo>
                <a:lnTo>
                  <a:pt x="190" y="70"/>
                </a:lnTo>
                <a:lnTo>
                  <a:pt x="192" y="72"/>
                </a:lnTo>
                <a:lnTo>
                  <a:pt x="194" y="74"/>
                </a:lnTo>
                <a:lnTo>
                  <a:pt x="195" y="76"/>
                </a:lnTo>
                <a:lnTo>
                  <a:pt x="197" y="76"/>
                </a:lnTo>
                <a:lnTo>
                  <a:pt x="197" y="77"/>
                </a:lnTo>
                <a:lnTo>
                  <a:pt x="200" y="76"/>
                </a:lnTo>
                <a:lnTo>
                  <a:pt x="201" y="77"/>
                </a:lnTo>
                <a:lnTo>
                  <a:pt x="201" y="79"/>
                </a:lnTo>
                <a:lnTo>
                  <a:pt x="201" y="80"/>
                </a:lnTo>
                <a:lnTo>
                  <a:pt x="203" y="82"/>
                </a:lnTo>
                <a:lnTo>
                  <a:pt x="203" y="83"/>
                </a:lnTo>
                <a:lnTo>
                  <a:pt x="209" y="83"/>
                </a:lnTo>
                <a:lnTo>
                  <a:pt x="210" y="84"/>
                </a:lnTo>
                <a:lnTo>
                  <a:pt x="211" y="84"/>
                </a:lnTo>
                <a:lnTo>
                  <a:pt x="213" y="86"/>
                </a:lnTo>
                <a:lnTo>
                  <a:pt x="213" y="87"/>
                </a:lnTo>
                <a:lnTo>
                  <a:pt x="214" y="89"/>
                </a:lnTo>
                <a:lnTo>
                  <a:pt x="213" y="90"/>
                </a:lnTo>
                <a:lnTo>
                  <a:pt x="213" y="91"/>
                </a:lnTo>
                <a:lnTo>
                  <a:pt x="211" y="91"/>
                </a:lnTo>
                <a:lnTo>
                  <a:pt x="210" y="91"/>
                </a:lnTo>
                <a:lnTo>
                  <a:pt x="209" y="91"/>
                </a:lnTo>
                <a:lnTo>
                  <a:pt x="207" y="91"/>
                </a:lnTo>
                <a:lnTo>
                  <a:pt x="206" y="92"/>
                </a:lnTo>
                <a:lnTo>
                  <a:pt x="204" y="93"/>
                </a:lnTo>
                <a:lnTo>
                  <a:pt x="203" y="95"/>
                </a:lnTo>
                <a:lnTo>
                  <a:pt x="204" y="99"/>
                </a:lnTo>
                <a:lnTo>
                  <a:pt x="205" y="100"/>
                </a:lnTo>
                <a:lnTo>
                  <a:pt x="205" y="102"/>
                </a:lnTo>
                <a:lnTo>
                  <a:pt x="206" y="102"/>
                </a:lnTo>
                <a:lnTo>
                  <a:pt x="207" y="102"/>
                </a:lnTo>
                <a:lnTo>
                  <a:pt x="206" y="103"/>
                </a:lnTo>
                <a:lnTo>
                  <a:pt x="205" y="104"/>
                </a:lnTo>
                <a:lnTo>
                  <a:pt x="205" y="106"/>
                </a:lnTo>
                <a:lnTo>
                  <a:pt x="206" y="107"/>
                </a:lnTo>
                <a:lnTo>
                  <a:pt x="206" y="107"/>
                </a:lnTo>
                <a:lnTo>
                  <a:pt x="210" y="107"/>
                </a:lnTo>
                <a:lnTo>
                  <a:pt x="210" y="110"/>
                </a:lnTo>
                <a:lnTo>
                  <a:pt x="210" y="110"/>
                </a:lnTo>
                <a:lnTo>
                  <a:pt x="209" y="110"/>
                </a:lnTo>
                <a:lnTo>
                  <a:pt x="207" y="110"/>
                </a:lnTo>
                <a:lnTo>
                  <a:pt x="206" y="110"/>
                </a:lnTo>
                <a:lnTo>
                  <a:pt x="206" y="111"/>
                </a:lnTo>
                <a:lnTo>
                  <a:pt x="203" y="113"/>
                </a:lnTo>
                <a:lnTo>
                  <a:pt x="201" y="117"/>
                </a:lnTo>
                <a:lnTo>
                  <a:pt x="200" y="117"/>
                </a:lnTo>
                <a:lnTo>
                  <a:pt x="199" y="120"/>
                </a:lnTo>
                <a:lnTo>
                  <a:pt x="197" y="121"/>
                </a:lnTo>
                <a:lnTo>
                  <a:pt x="197" y="123"/>
                </a:lnTo>
                <a:lnTo>
                  <a:pt x="199" y="125"/>
                </a:lnTo>
                <a:lnTo>
                  <a:pt x="197" y="127"/>
                </a:lnTo>
                <a:lnTo>
                  <a:pt x="196" y="129"/>
                </a:lnTo>
                <a:lnTo>
                  <a:pt x="194" y="129"/>
                </a:lnTo>
                <a:lnTo>
                  <a:pt x="192" y="131"/>
                </a:lnTo>
                <a:lnTo>
                  <a:pt x="191" y="133"/>
                </a:lnTo>
                <a:lnTo>
                  <a:pt x="191" y="136"/>
                </a:lnTo>
                <a:lnTo>
                  <a:pt x="190" y="139"/>
                </a:lnTo>
                <a:lnTo>
                  <a:pt x="186" y="145"/>
                </a:lnTo>
                <a:lnTo>
                  <a:pt x="185" y="147"/>
                </a:lnTo>
                <a:lnTo>
                  <a:pt x="182" y="150"/>
                </a:lnTo>
                <a:lnTo>
                  <a:pt x="180" y="152"/>
                </a:lnTo>
                <a:lnTo>
                  <a:pt x="179" y="154"/>
                </a:lnTo>
                <a:lnTo>
                  <a:pt x="177" y="159"/>
                </a:lnTo>
                <a:lnTo>
                  <a:pt x="175" y="162"/>
                </a:lnTo>
                <a:lnTo>
                  <a:pt x="174" y="165"/>
                </a:lnTo>
                <a:lnTo>
                  <a:pt x="173" y="166"/>
                </a:lnTo>
                <a:lnTo>
                  <a:pt x="172" y="166"/>
                </a:lnTo>
                <a:lnTo>
                  <a:pt x="165" y="166"/>
                </a:lnTo>
                <a:lnTo>
                  <a:pt x="164" y="167"/>
                </a:lnTo>
                <a:lnTo>
                  <a:pt x="162" y="169"/>
                </a:lnTo>
                <a:lnTo>
                  <a:pt x="161" y="170"/>
                </a:lnTo>
                <a:lnTo>
                  <a:pt x="160" y="170"/>
                </a:lnTo>
                <a:lnTo>
                  <a:pt x="159" y="170"/>
                </a:lnTo>
                <a:lnTo>
                  <a:pt x="159" y="169"/>
                </a:lnTo>
                <a:lnTo>
                  <a:pt x="155" y="164"/>
                </a:lnTo>
                <a:lnTo>
                  <a:pt x="154" y="164"/>
                </a:lnTo>
                <a:lnTo>
                  <a:pt x="153" y="164"/>
                </a:lnTo>
                <a:lnTo>
                  <a:pt x="151" y="166"/>
                </a:lnTo>
                <a:lnTo>
                  <a:pt x="150" y="169"/>
                </a:lnTo>
                <a:lnTo>
                  <a:pt x="148" y="171"/>
                </a:lnTo>
                <a:lnTo>
                  <a:pt x="144" y="176"/>
                </a:lnTo>
                <a:lnTo>
                  <a:pt x="142" y="178"/>
                </a:lnTo>
                <a:lnTo>
                  <a:pt x="142" y="181"/>
                </a:lnTo>
                <a:lnTo>
                  <a:pt x="142" y="186"/>
                </a:lnTo>
                <a:lnTo>
                  <a:pt x="142" y="187"/>
                </a:lnTo>
                <a:lnTo>
                  <a:pt x="143" y="188"/>
                </a:lnTo>
                <a:lnTo>
                  <a:pt x="145" y="190"/>
                </a:lnTo>
                <a:lnTo>
                  <a:pt x="146" y="190"/>
                </a:lnTo>
                <a:lnTo>
                  <a:pt x="149" y="191"/>
                </a:lnTo>
                <a:lnTo>
                  <a:pt x="152" y="191"/>
                </a:lnTo>
                <a:lnTo>
                  <a:pt x="152" y="191"/>
                </a:lnTo>
                <a:lnTo>
                  <a:pt x="154" y="192"/>
                </a:lnTo>
                <a:lnTo>
                  <a:pt x="154" y="193"/>
                </a:lnTo>
                <a:lnTo>
                  <a:pt x="154" y="194"/>
                </a:lnTo>
                <a:lnTo>
                  <a:pt x="153" y="201"/>
                </a:lnTo>
                <a:lnTo>
                  <a:pt x="153" y="202"/>
                </a:lnTo>
                <a:lnTo>
                  <a:pt x="154" y="203"/>
                </a:lnTo>
                <a:lnTo>
                  <a:pt x="157" y="206"/>
                </a:lnTo>
                <a:lnTo>
                  <a:pt x="159" y="206"/>
                </a:lnTo>
                <a:lnTo>
                  <a:pt x="161" y="206"/>
                </a:lnTo>
                <a:lnTo>
                  <a:pt x="162" y="206"/>
                </a:lnTo>
                <a:lnTo>
                  <a:pt x="163" y="207"/>
                </a:lnTo>
                <a:lnTo>
                  <a:pt x="163" y="211"/>
                </a:lnTo>
                <a:lnTo>
                  <a:pt x="164" y="213"/>
                </a:lnTo>
                <a:lnTo>
                  <a:pt x="165" y="215"/>
                </a:lnTo>
                <a:lnTo>
                  <a:pt x="166" y="217"/>
                </a:lnTo>
                <a:lnTo>
                  <a:pt x="169" y="220"/>
                </a:lnTo>
                <a:lnTo>
                  <a:pt x="170" y="221"/>
                </a:lnTo>
                <a:lnTo>
                  <a:pt x="170" y="222"/>
                </a:lnTo>
                <a:lnTo>
                  <a:pt x="171" y="223"/>
                </a:lnTo>
                <a:lnTo>
                  <a:pt x="172" y="224"/>
                </a:lnTo>
                <a:lnTo>
                  <a:pt x="171" y="224"/>
                </a:lnTo>
                <a:lnTo>
                  <a:pt x="171" y="225"/>
                </a:lnTo>
                <a:lnTo>
                  <a:pt x="171" y="228"/>
                </a:lnTo>
                <a:lnTo>
                  <a:pt x="171" y="230"/>
                </a:lnTo>
                <a:lnTo>
                  <a:pt x="173" y="230"/>
                </a:lnTo>
                <a:lnTo>
                  <a:pt x="173" y="231"/>
                </a:lnTo>
                <a:lnTo>
                  <a:pt x="171" y="231"/>
                </a:lnTo>
                <a:lnTo>
                  <a:pt x="170" y="232"/>
                </a:lnTo>
                <a:lnTo>
                  <a:pt x="170" y="232"/>
                </a:lnTo>
                <a:lnTo>
                  <a:pt x="169" y="233"/>
                </a:lnTo>
                <a:lnTo>
                  <a:pt x="167" y="233"/>
                </a:lnTo>
                <a:lnTo>
                  <a:pt x="166" y="233"/>
                </a:lnTo>
                <a:lnTo>
                  <a:pt x="165" y="232"/>
                </a:lnTo>
                <a:lnTo>
                  <a:pt x="165" y="232"/>
                </a:lnTo>
                <a:lnTo>
                  <a:pt x="165" y="230"/>
                </a:lnTo>
                <a:lnTo>
                  <a:pt x="165" y="230"/>
                </a:lnTo>
                <a:lnTo>
                  <a:pt x="163" y="228"/>
                </a:lnTo>
                <a:lnTo>
                  <a:pt x="162" y="230"/>
                </a:lnTo>
                <a:lnTo>
                  <a:pt x="159" y="231"/>
                </a:lnTo>
                <a:lnTo>
                  <a:pt x="157" y="233"/>
                </a:lnTo>
                <a:lnTo>
                  <a:pt x="157" y="234"/>
                </a:lnTo>
                <a:lnTo>
                  <a:pt x="156" y="234"/>
                </a:lnTo>
                <a:lnTo>
                  <a:pt x="152" y="234"/>
                </a:lnTo>
                <a:lnTo>
                  <a:pt x="150" y="232"/>
                </a:lnTo>
                <a:lnTo>
                  <a:pt x="148" y="232"/>
                </a:lnTo>
                <a:lnTo>
                  <a:pt x="146" y="232"/>
                </a:lnTo>
                <a:lnTo>
                  <a:pt x="143" y="232"/>
                </a:lnTo>
                <a:lnTo>
                  <a:pt x="142" y="232"/>
                </a:lnTo>
                <a:lnTo>
                  <a:pt x="141" y="232"/>
                </a:lnTo>
                <a:lnTo>
                  <a:pt x="140" y="232"/>
                </a:lnTo>
                <a:lnTo>
                  <a:pt x="139" y="232"/>
                </a:lnTo>
                <a:lnTo>
                  <a:pt x="139" y="232"/>
                </a:lnTo>
                <a:lnTo>
                  <a:pt x="138" y="231"/>
                </a:lnTo>
                <a:lnTo>
                  <a:pt x="138" y="231"/>
                </a:lnTo>
                <a:lnTo>
                  <a:pt x="136" y="232"/>
                </a:lnTo>
                <a:lnTo>
                  <a:pt x="138" y="237"/>
                </a:lnTo>
                <a:lnTo>
                  <a:pt x="132" y="237"/>
                </a:lnTo>
                <a:lnTo>
                  <a:pt x="131" y="237"/>
                </a:lnTo>
                <a:lnTo>
                  <a:pt x="130" y="237"/>
                </a:lnTo>
                <a:lnTo>
                  <a:pt x="129" y="238"/>
                </a:lnTo>
                <a:lnTo>
                  <a:pt x="129" y="238"/>
                </a:lnTo>
                <a:lnTo>
                  <a:pt x="129" y="241"/>
                </a:lnTo>
                <a:lnTo>
                  <a:pt x="126" y="241"/>
                </a:lnTo>
                <a:lnTo>
                  <a:pt x="125" y="242"/>
                </a:lnTo>
                <a:lnTo>
                  <a:pt x="122" y="240"/>
                </a:lnTo>
                <a:lnTo>
                  <a:pt x="119" y="240"/>
                </a:lnTo>
                <a:lnTo>
                  <a:pt x="118" y="238"/>
                </a:lnTo>
                <a:lnTo>
                  <a:pt x="116" y="237"/>
                </a:lnTo>
                <a:lnTo>
                  <a:pt x="116" y="236"/>
                </a:lnTo>
                <a:lnTo>
                  <a:pt x="114" y="234"/>
                </a:lnTo>
                <a:lnTo>
                  <a:pt x="113" y="231"/>
                </a:lnTo>
                <a:lnTo>
                  <a:pt x="111" y="226"/>
                </a:lnTo>
                <a:lnTo>
                  <a:pt x="110" y="224"/>
                </a:lnTo>
                <a:lnTo>
                  <a:pt x="109" y="224"/>
                </a:lnTo>
                <a:lnTo>
                  <a:pt x="105" y="223"/>
                </a:lnTo>
                <a:lnTo>
                  <a:pt x="103" y="222"/>
                </a:lnTo>
                <a:lnTo>
                  <a:pt x="102" y="215"/>
                </a:lnTo>
                <a:lnTo>
                  <a:pt x="101" y="214"/>
                </a:lnTo>
                <a:lnTo>
                  <a:pt x="99" y="212"/>
                </a:lnTo>
                <a:lnTo>
                  <a:pt x="96" y="211"/>
                </a:lnTo>
                <a:lnTo>
                  <a:pt x="93" y="211"/>
                </a:lnTo>
                <a:lnTo>
                  <a:pt x="88" y="212"/>
                </a:lnTo>
                <a:lnTo>
                  <a:pt x="82" y="212"/>
                </a:lnTo>
                <a:lnTo>
                  <a:pt x="78" y="214"/>
                </a:lnTo>
                <a:lnTo>
                  <a:pt x="75" y="213"/>
                </a:lnTo>
                <a:lnTo>
                  <a:pt x="71" y="212"/>
                </a:lnTo>
                <a:lnTo>
                  <a:pt x="70" y="216"/>
                </a:lnTo>
                <a:lnTo>
                  <a:pt x="68" y="214"/>
                </a:lnTo>
                <a:lnTo>
                  <a:pt x="64" y="214"/>
                </a:lnTo>
                <a:lnTo>
                  <a:pt x="62" y="212"/>
                </a:lnTo>
                <a:lnTo>
                  <a:pt x="58" y="213"/>
                </a:lnTo>
                <a:lnTo>
                  <a:pt x="54" y="212"/>
                </a:lnTo>
                <a:lnTo>
                  <a:pt x="52" y="214"/>
                </a:lnTo>
                <a:lnTo>
                  <a:pt x="49" y="215"/>
                </a:lnTo>
                <a:lnTo>
                  <a:pt x="40" y="214"/>
                </a:lnTo>
                <a:lnTo>
                  <a:pt x="37" y="214"/>
                </a:lnTo>
                <a:lnTo>
                  <a:pt x="33" y="216"/>
                </a:lnTo>
                <a:lnTo>
                  <a:pt x="31" y="215"/>
                </a:lnTo>
                <a:lnTo>
                  <a:pt x="29" y="217"/>
                </a:lnTo>
                <a:lnTo>
                  <a:pt x="27" y="217"/>
                </a:lnTo>
                <a:lnTo>
                  <a:pt x="25" y="218"/>
                </a:lnTo>
                <a:lnTo>
                  <a:pt x="24" y="216"/>
                </a:lnTo>
                <a:lnTo>
                  <a:pt x="23" y="216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85" name="Freeform 685"/>
          <p:cNvSpPr>
            <a:spLocks/>
          </p:cNvSpPr>
          <p:nvPr/>
        </p:nvSpPr>
        <p:spPr bwMode="auto">
          <a:xfrm>
            <a:off x="5838825" y="2509803"/>
            <a:ext cx="371475" cy="384175"/>
          </a:xfrm>
          <a:custGeom>
            <a:avLst/>
            <a:gdLst>
              <a:gd name="T0" fmla="*/ 38 w 234"/>
              <a:gd name="T1" fmla="*/ 188 h 242"/>
              <a:gd name="T2" fmla="*/ 35 w 234"/>
              <a:gd name="T3" fmla="*/ 169 h 242"/>
              <a:gd name="T4" fmla="*/ 0 w 234"/>
              <a:gd name="T5" fmla="*/ 132 h 242"/>
              <a:gd name="T6" fmla="*/ 29 w 234"/>
              <a:gd name="T7" fmla="*/ 137 h 242"/>
              <a:gd name="T8" fmla="*/ 52 w 234"/>
              <a:gd name="T9" fmla="*/ 136 h 242"/>
              <a:gd name="T10" fmla="*/ 84 w 234"/>
              <a:gd name="T11" fmla="*/ 129 h 242"/>
              <a:gd name="T12" fmla="*/ 85 w 234"/>
              <a:gd name="T13" fmla="*/ 107 h 242"/>
              <a:gd name="T14" fmla="*/ 101 w 234"/>
              <a:gd name="T15" fmla="*/ 104 h 242"/>
              <a:gd name="T16" fmla="*/ 104 w 234"/>
              <a:gd name="T17" fmla="*/ 95 h 242"/>
              <a:gd name="T18" fmla="*/ 114 w 234"/>
              <a:gd name="T19" fmla="*/ 97 h 242"/>
              <a:gd name="T20" fmla="*/ 120 w 234"/>
              <a:gd name="T21" fmla="*/ 83 h 242"/>
              <a:gd name="T22" fmla="*/ 122 w 234"/>
              <a:gd name="T23" fmla="*/ 72 h 242"/>
              <a:gd name="T24" fmla="*/ 128 w 234"/>
              <a:gd name="T25" fmla="*/ 60 h 242"/>
              <a:gd name="T26" fmla="*/ 135 w 234"/>
              <a:gd name="T27" fmla="*/ 55 h 242"/>
              <a:gd name="T28" fmla="*/ 138 w 234"/>
              <a:gd name="T29" fmla="*/ 45 h 242"/>
              <a:gd name="T30" fmla="*/ 143 w 234"/>
              <a:gd name="T31" fmla="*/ 32 h 242"/>
              <a:gd name="T32" fmla="*/ 134 w 234"/>
              <a:gd name="T33" fmla="*/ 18 h 242"/>
              <a:gd name="T34" fmla="*/ 142 w 234"/>
              <a:gd name="T35" fmla="*/ 11 h 242"/>
              <a:gd name="T36" fmla="*/ 150 w 234"/>
              <a:gd name="T37" fmla="*/ 5 h 242"/>
              <a:gd name="T38" fmla="*/ 173 w 234"/>
              <a:gd name="T39" fmla="*/ 3 h 242"/>
              <a:gd name="T40" fmla="*/ 184 w 234"/>
              <a:gd name="T41" fmla="*/ 2 h 242"/>
              <a:gd name="T42" fmla="*/ 196 w 234"/>
              <a:gd name="T43" fmla="*/ 4 h 242"/>
              <a:gd name="T44" fmla="*/ 205 w 234"/>
              <a:gd name="T45" fmla="*/ 15 h 242"/>
              <a:gd name="T46" fmla="*/ 212 w 234"/>
              <a:gd name="T47" fmla="*/ 21 h 242"/>
              <a:gd name="T48" fmla="*/ 226 w 234"/>
              <a:gd name="T49" fmla="*/ 28 h 242"/>
              <a:gd name="T50" fmla="*/ 226 w 234"/>
              <a:gd name="T51" fmla="*/ 41 h 242"/>
              <a:gd name="T52" fmla="*/ 214 w 234"/>
              <a:gd name="T53" fmla="*/ 43 h 242"/>
              <a:gd name="T54" fmla="*/ 205 w 234"/>
              <a:gd name="T55" fmla="*/ 44 h 242"/>
              <a:gd name="T56" fmla="*/ 184 w 234"/>
              <a:gd name="T57" fmla="*/ 41 h 242"/>
              <a:gd name="T58" fmla="*/ 183 w 234"/>
              <a:gd name="T59" fmla="*/ 50 h 242"/>
              <a:gd name="T60" fmla="*/ 187 w 234"/>
              <a:gd name="T61" fmla="*/ 54 h 242"/>
              <a:gd name="T62" fmla="*/ 191 w 234"/>
              <a:gd name="T63" fmla="*/ 65 h 242"/>
              <a:gd name="T64" fmla="*/ 197 w 234"/>
              <a:gd name="T65" fmla="*/ 77 h 242"/>
              <a:gd name="T66" fmla="*/ 210 w 234"/>
              <a:gd name="T67" fmla="*/ 84 h 242"/>
              <a:gd name="T68" fmla="*/ 210 w 234"/>
              <a:gd name="T69" fmla="*/ 91 h 242"/>
              <a:gd name="T70" fmla="*/ 205 w 234"/>
              <a:gd name="T71" fmla="*/ 102 h 242"/>
              <a:gd name="T72" fmla="*/ 210 w 234"/>
              <a:gd name="T73" fmla="*/ 107 h 242"/>
              <a:gd name="T74" fmla="*/ 201 w 234"/>
              <a:gd name="T75" fmla="*/ 117 h 242"/>
              <a:gd name="T76" fmla="*/ 194 w 234"/>
              <a:gd name="T77" fmla="*/ 129 h 242"/>
              <a:gd name="T78" fmla="*/ 180 w 234"/>
              <a:gd name="T79" fmla="*/ 152 h 242"/>
              <a:gd name="T80" fmla="*/ 164 w 234"/>
              <a:gd name="T81" fmla="*/ 167 h 242"/>
              <a:gd name="T82" fmla="*/ 153 w 234"/>
              <a:gd name="T83" fmla="*/ 164 h 242"/>
              <a:gd name="T84" fmla="*/ 142 w 234"/>
              <a:gd name="T85" fmla="*/ 187 h 242"/>
              <a:gd name="T86" fmla="*/ 154 w 234"/>
              <a:gd name="T87" fmla="*/ 193 h 242"/>
              <a:gd name="T88" fmla="*/ 162 w 234"/>
              <a:gd name="T89" fmla="*/ 206 h 242"/>
              <a:gd name="T90" fmla="*/ 170 w 234"/>
              <a:gd name="T91" fmla="*/ 222 h 242"/>
              <a:gd name="T92" fmla="*/ 173 w 234"/>
              <a:gd name="T93" fmla="*/ 231 h 242"/>
              <a:gd name="T94" fmla="*/ 165 w 234"/>
              <a:gd name="T95" fmla="*/ 232 h 242"/>
              <a:gd name="T96" fmla="*/ 156 w 234"/>
              <a:gd name="T97" fmla="*/ 234 h 242"/>
              <a:gd name="T98" fmla="*/ 140 w 234"/>
              <a:gd name="T99" fmla="*/ 232 h 242"/>
              <a:gd name="T100" fmla="*/ 131 w 234"/>
              <a:gd name="T101" fmla="*/ 237 h 242"/>
              <a:gd name="T102" fmla="*/ 119 w 234"/>
              <a:gd name="T103" fmla="*/ 240 h 242"/>
              <a:gd name="T104" fmla="*/ 109 w 234"/>
              <a:gd name="T105" fmla="*/ 224 h 242"/>
              <a:gd name="T106" fmla="*/ 88 w 234"/>
              <a:gd name="T107" fmla="*/ 212 h 242"/>
              <a:gd name="T108" fmla="*/ 62 w 234"/>
              <a:gd name="T109" fmla="*/ 212 h 242"/>
              <a:gd name="T110" fmla="*/ 31 w 234"/>
              <a:gd name="T111" fmla="*/ 215 h 2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34" h="242">
                <a:moveTo>
                  <a:pt x="23" y="216"/>
                </a:moveTo>
                <a:lnTo>
                  <a:pt x="22" y="211"/>
                </a:lnTo>
                <a:lnTo>
                  <a:pt x="23" y="207"/>
                </a:lnTo>
                <a:lnTo>
                  <a:pt x="24" y="198"/>
                </a:lnTo>
                <a:lnTo>
                  <a:pt x="27" y="195"/>
                </a:lnTo>
                <a:lnTo>
                  <a:pt x="30" y="192"/>
                </a:lnTo>
                <a:lnTo>
                  <a:pt x="33" y="191"/>
                </a:lnTo>
                <a:lnTo>
                  <a:pt x="38" y="188"/>
                </a:lnTo>
                <a:lnTo>
                  <a:pt x="41" y="188"/>
                </a:lnTo>
                <a:lnTo>
                  <a:pt x="44" y="184"/>
                </a:lnTo>
                <a:lnTo>
                  <a:pt x="45" y="183"/>
                </a:lnTo>
                <a:lnTo>
                  <a:pt x="44" y="180"/>
                </a:lnTo>
                <a:lnTo>
                  <a:pt x="42" y="178"/>
                </a:lnTo>
                <a:lnTo>
                  <a:pt x="37" y="177"/>
                </a:lnTo>
                <a:lnTo>
                  <a:pt x="37" y="173"/>
                </a:lnTo>
                <a:lnTo>
                  <a:pt x="35" y="169"/>
                </a:lnTo>
                <a:lnTo>
                  <a:pt x="33" y="161"/>
                </a:lnTo>
                <a:lnTo>
                  <a:pt x="31" y="159"/>
                </a:lnTo>
                <a:lnTo>
                  <a:pt x="23" y="156"/>
                </a:lnTo>
                <a:lnTo>
                  <a:pt x="19" y="154"/>
                </a:lnTo>
                <a:lnTo>
                  <a:pt x="14" y="151"/>
                </a:lnTo>
                <a:lnTo>
                  <a:pt x="7" y="139"/>
                </a:lnTo>
                <a:lnTo>
                  <a:pt x="2" y="135"/>
                </a:lnTo>
                <a:lnTo>
                  <a:pt x="0" y="132"/>
                </a:lnTo>
                <a:lnTo>
                  <a:pt x="0" y="131"/>
                </a:lnTo>
                <a:lnTo>
                  <a:pt x="0" y="131"/>
                </a:lnTo>
                <a:lnTo>
                  <a:pt x="18" y="135"/>
                </a:lnTo>
                <a:lnTo>
                  <a:pt x="23" y="139"/>
                </a:lnTo>
                <a:lnTo>
                  <a:pt x="25" y="139"/>
                </a:lnTo>
                <a:lnTo>
                  <a:pt x="27" y="139"/>
                </a:lnTo>
                <a:lnTo>
                  <a:pt x="28" y="137"/>
                </a:lnTo>
                <a:lnTo>
                  <a:pt x="29" y="137"/>
                </a:lnTo>
                <a:lnTo>
                  <a:pt x="31" y="137"/>
                </a:lnTo>
                <a:lnTo>
                  <a:pt x="33" y="137"/>
                </a:lnTo>
                <a:lnTo>
                  <a:pt x="37" y="137"/>
                </a:lnTo>
                <a:lnTo>
                  <a:pt x="41" y="136"/>
                </a:lnTo>
                <a:lnTo>
                  <a:pt x="45" y="136"/>
                </a:lnTo>
                <a:lnTo>
                  <a:pt x="51" y="139"/>
                </a:lnTo>
                <a:lnTo>
                  <a:pt x="51" y="137"/>
                </a:lnTo>
                <a:lnTo>
                  <a:pt x="52" y="136"/>
                </a:lnTo>
                <a:lnTo>
                  <a:pt x="52" y="136"/>
                </a:lnTo>
                <a:lnTo>
                  <a:pt x="54" y="135"/>
                </a:lnTo>
                <a:lnTo>
                  <a:pt x="58" y="135"/>
                </a:lnTo>
                <a:lnTo>
                  <a:pt x="65" y="135"/>
                </a:lnTo>
                <a:lnTo>
                  <a:pt x="70" y="134"/>
                </a:lnTo>
                <a:lnTo>
                  <a:pt x="75" y="132"/>
                </a:lnTo>
                <a:lnTo>
                  <a:pt x="82" y="131"/>
                </a:lnTo>
                <a:lnTo>
                  <a:pt x="84" y="129"/>
                </a:lnTo>
                <a:lnTo>
                  <a:pt x="83" y="127"/>
                </a:lnTo>
                <a:lnTo>
                  <a:pt x="82" y="126"/>
                </a:lnTo>
                <a:lnTo>
                  <a:pt x="82" y="125"/>
                </a:lnTo>
                <a:lnTo>
                  <a:pt x="82" y="120"/>
                </a:lnTo>
                <a:lnTo>
                  <a:pt x="81" y="116"/>
                </a:lnTo>
                <a:lnTo>
                  <a:pt x="81" y="112"/>
                </a:lnTo>
                <a:lnTo>
                  <a:pt x="82" y="110"/>
                </a:lnTo>
                <a:lnTo>
                  <a:pt x="85" y="107"/>
                </a:lnTo>
                <a:lnTo>
                  <a:pt x="86" y="104"/>
                </a:lnTo>
                <a:lnTo>
                  <a:pt x="88" y="103"/>
                </a:lnTo>
                <a:lnTo>
                  <a:pt x="89" y="104"/>
                </a:lnTo>
                <a:lnTo>
                  <a:pt x="90" y="105"/>
                </a:lnTo>
                <a:lnTo>
                  <a:pt x="92" y="105"/>
                </a:lnTo>
                <a:lnTo>
                  <a:pt x="95" y="105"/>
                </a:lnTo>
                <a:lnTo>
                  <a:pt x="99" y="104"/>
                </a:lnTo>
                <a:lnTo>
                  <a:pt x="101" y="104"/>
                </a:lnTo>
                <a:lnTo>
                  <a:pt x="101" y="103"/>
                </a:lnTo>
                <a:lnTo>
                  <a:pt x="101" y="102"/>
                </a:lnTo>
                <a:lnTo>
                  <a:pt x="99" y="102"/>
                </a:lnTo>
                <a:lnTo>
                  <a:pt x="98" y="101"/>
                </a:lnTo>
                <a:lnTo>
                  <a:pt x="99" y="100"/>
                </a:lnTo>
                <a:lnTo>
                  <a:pt x="103" y="97"/>
                </a:lnTo>
                <a:lnTo>
                  <a:pt x="103" y="96"/>
                </a:lnTo>
                <a:lnTo>
                  <a:pt x="104" y="95"/>
                </a:lnTo>
                <a:lnTo>
                  <a:pt x="106" y="95"/>
                </a:lnTo>
                <a:lnTo>
                  <a:pt x="112" y="96"/>
                </a:lnTo>
                <a:lnTo>
                  <a:pt x="111" y="96"/>
                </a:lnTo>
                <a:lnTo>
                  <a:pt x="110" y="95"/>
                </a:lnTo>
                <a:lnTo>
                  <a:pt x="111" y="95"/>
                </a:lnTo>
                <a:lnTo>
                  <a:pt x="112" y="95"/>
                </a:lnTo>
                <a:lnTo>
                  <a:pt x="114" y="96"/>
                </a:lnTo>
                <a:lnTo>
                  <a:pt x="114" y="97"/>
                </a:lnTo>
                <a:lnTo>
                  <a:pt x="115" y="99"/>
                </a:lnTo>
                <a:lnTo>
                  <a:pt x="118" y="99"/>
                </a:lnTo>
                <a:lnTo>
                  <a:pt x="118" y="99"/>
                </a:lnTo>
                <a:lnTo>
                  <a:pt x="122" y="93"/>
                </a:lnTo>
                <a:lnTo>
                  <a:pt x="122" y="92"/>
                </a:lnTo>
                <a:lnTo>
                  <a:pt x="121" y="89"/>
                </a:lnTo>
                <a:lnTo>
                  <a:pt x="120" y="84"/>
                </a:lnTo>
                <a:lnTo>
                  <a:pt x="120" y="83"/>
                </a:lnTo>
                <a:lnTo>
                  <a:pt x="120" y="82"/>
                </a:lnTo>
                <a:lnTo>
                  <a:pt x="121" y="80"/>
                </a:lnTo>
                <a:lnTo>
                  <a:pt x="121" y="80"/>
                </a:lnTo>
                <a:lnTo>
                  <a:pt x="121" y="79"/>
                </a:lnTo>
                <a:lnTo>
                  <a:pt x="121" y="77"/>
                </a:lnTo>
                <a:lnTo>
                  <a:pt x="121" y="76"/>
                </a:lnTo>
                <a:lnTo>
                  <a:pt x="122" y="75"/>
                </a:lnTo>
                <a:lnTo>
                  <a:pt x="122" y="72"/>
                </a:lnTo>
                <a:lnTo>
                  <a:pt x="124" y="71"/>
                </a:lnTo>
                <a:lnTo>
                  <a:pt x="128" y="71"/>
                </a:lnTo>
                <a:lnTo>
                  <a:pt x="130" y="69"/>
                </a:lnTo>
                <a:lnTo>
                  <a:pt x="131" y="67"/>
                </a:lnTo>
                <a:lnTo>
                  <a:pt x="132" y="66"/>
                </a:lnTo>
                <a:lnTo>
                  <a:pt x="132" y="65"/>
                </a:lnTo>
                <a:lnTo>
                  <a:pt x="130" y="64"/>
                </a:lnTo>
                <a:lnTo>
                  <a:pt x="128" y="60"/>
                </a:lnTo>
                <a:lnTo>
                  <a:pt x="126" y="60"/>
                </a:lnTo>
                <a:lnTo>
                  <a:pt x="124" y="58"/>
                </a:lnTo>
                <a:lnTo>
                  <a:pt x="124" y="56"/>
                </a:lnTo>
                <a:lnTo>
                  <a:pt x="124" y="54"/>
                </a:lnTo>
                <a:lnTo>
                  <a:pt x="125" y="54"/>
                </a:lnTo>
                <a:lnTo>
                  <a:pt x="126" y="54"/>
                </a:lnTo>
                <a:lnTo>
                  <a:pt x="132" y="55"/>
                </a:lnTo>
                <a:lnTo>
                  <a:pt x="135" y="55"/>
                </a:lnTo>
                <a:lnTo>
                  <a:pt x="138" y="55"/>
                </a:lnTo>
                <a:lnTo>
                  <a:pt x="140" y="54"/>
                </a:lnTo>
                <a:lnTo>
                  <a:pt x="141" y="51"/>
                </a:lnTo>
                <a:lnTo>
                  <a:pt x="141" y="50"/>
                </a:lnTo>
                <a:lnTo>
                  <a:pt x="141" y="49"/>
                </a:lnTo>
                <a:lnTo>
                  <a:pt x="140" y="48"/>
                </a:lnTo>
                <a:lnTo>
                  <a:pt x="139" y="48"/>
                </a:lnTo>
                <a:lnTo>
                  <a:pt x="138" y="45"/>
                </a:lnTo>
                <a:lnTo>
                  <a:pt x="139" y="44"/>
                </a:lnTo>
                <a:lnTo>
                  <a:pt x="140" y="42"/>
                </a:lnTo>
                <a:lnTo>
                  <a:pt x="141" y="40"/>
                </a:lnTo>
                <a:lnTo>
                  <a:pt x="142" y="39"/>
                </a:lnTo>
                <a:lnTo>
                  <a:pt x="144" y="36"/>
                </a:lnTo>
                <a:lnTo>
                  <a:pt x="144" y="34"/>
                </a:lnTo>
                <a:lnTo>
                  <a:pt x="144" y="33"/>
                </a:lnTo>
                <a:lnTo>
                  <a:pt x="143" y="32"/>
                </a:lnTo>
                <a:lnTo>
                  <a:pt x="143" y="31"/>
                </a:lnTo>
                <a:lnTo>
                  <a:pt x="143" y="29"/>
                </a:lnTo>
                <a:lnTo>
                  <a:pt x="143" y="29"/>
                </a:lnTo>
                <a:lnTo>
                  <a:pt x="142" y="25"/>
                </a:lnTo>
                <a:lnTo>
                  <a:pt x="140" y="22"/>
                </a:lnTo>
                <a:lnTo>
                  <a:pt x="138" y="20"/>
                </a:lnTo>
                <a:lnTo>
                  <a:pt x="134" y="19"/>
                </a:lnTo>
                <a:lnTo>
                  <a:pt x="134" y="18"/>
                </a:lnTo>
                <a:lnTo>
                  <a:pt x="134" y="16"/>
                </a:lnTo>
                <a:lnTo>
                  <a:pt x="135" y="15"/>
                </a:lnTo>
                <a:lnTo>
                  <a:pt x="139" y="12"/>
                </a:lnTo>
                <a:lnTo>
                  <a:pt x="139" y="11"/>
                </a:lnTo>
                <a:lnTo>
                  <a:pt x="139" y="10"/>
                </a:lnTo>
                <a:lnTo>
                  <a:pt x="140" y="10"/>
                </a:lnTo>
                <a:lnTo>
                  <a:pt x="141" y="11"/>
                </a:lnTo>
                <a:lnTo>
                  <a:pt x="142" y="11"/>
                </a:lnTo>
                <a:lnTo>
                  <a:pt x="142" y="10"/>
                </a:lnTo>
                <a:lnTo>
                  <a:pt x="142" y="9"/>
                </a:lnTo>
                <a:lnTo>
                  <a:pt x="144" y="9"/>
                </a:lnTo>
                <a:lnTo>
                  <a:pt x="145" y="8"/>
                </a:lnTo>
                <a:lnTo>
                  <a:pt x="145" y="6"/>
                </a:lnTo>
                <a:lnTo>
                  <a:pt x="146" y="6"/>
                </a:lnTo>
                <a:lnTo>
                  <a:pt x="148" y="5"/>
                </a:lnTo>
                <a:lnTo>
                  <a:pt x="150" y="5"/>
                </a:lnTo>
                <a:lnTo>
                  <a:pt x="152" y="4"/>
                </a:lnTo>
                <a:lnTo>
                  <a:pt x="153" y="3"/>
                </a:lnTo>
                <a:lnTo>
                  <a:pt x="155" y="2"/>
                </a:lnTo>
                <a:lnTo>
                  <a:pt x="156" y="3"/>
                </a:lnTo>
                <a:lnTo>
                  <a:pt x="166" y="2"/>
                </a:lnTo>
                <a:lnTo>
                  <a:pt x="167" y="2"/>
                </a:lnTo>
                <a:lnTo>
                  <a:pt x="170" y="2"/>
                </a:lnTo>
                <a:lnTo>
                  <a:pt x="173" y="3"/>
                </a:lnTo>
                <a:lnTo>
                  <a:pt x="175" y="3"/>
                </a:lnTo>
                <a:lnTo>
                  <a:pt x="176" y="2"/>
                </a:lnTo>
                <a:lnTo>
                  <a:pt x="177" y="2"/>
                </a:lnTo>
                <a:lnTo>
                  <a:pt x="179" y="1"/>
                </a:lnTo>
                <a:lnTo>
                  <a:pt x="181" y="2"/>
                </a:lnTo>
                <a:lnTo>
                  <a:pt x="181" y="0"/>
                </a:lnTo>
                <a:lnTo>
                  <a:pt x="181" y="1"/>
                </a:lnTo>
                <a:lnTo>
                  <a:pt x="184" y="2"/>
                </a:lnTo>
                <a:lnTo>
                  <a:pt x="187" y="1"/>
                </a:lnTo>
                <a:lnTo>
                  <a:pt x="189" y="1"/>
                </a:lnTo>
                <a:lnTo>
                  <a:pt x="191" y="2"/>
                </a:lnTo>
                <a:lnTo>
                  <a:pt x="192" y="2"/>
                </a:lnTo>
                <a:lnTo>
                  <a:pt x="193" y="2"/>
                </a:lnTo>
                <a:lnTo>
                  <a:pt x="194" y="5"/>
                </a:lnTo>
                <a:lnTo>
                  <a:pt x="194" y="6"/>
                </a:lnTo>
                <a:lnTo>
                  <a:pt x="196" y="4"/>
                </a:lnTo>
                <a:lnTo>
                  <a:pt x="197" y="4"/>
                </a:lnTo>
                <a:lnTo>
                  <a:pt x="201" y="6"/>
                </a:lnTo>
                <a:lnTo>
                  <a:pt x="203" y="9"/>
                </a:lnTo>
                <a:lnTo>
                  <a:pt x="204" y="10"/>
                </a:lnTo>
                <a:lnTo>
                  <a:pt x="204" y="11"/>
                </a:lnTo>
                <a:lnTo>
                  <a:pt x="204" y="13"/>
                </a:lnTo>
                <a:lnTo>
                  <a:pt x="205" y="14"/>
                </a:lnTo>
                <a:lnTo>
                  <a:pt x="205" y="15"/>
                </a:lnTo>
                <a:lnTo>
                  <a:pt x="205" y="16"/>
                </a:lnTo>
                <a:lnTo>
                  <a:pt x="204" y="16"/>
                </a:lnTo>
                <a:lnTo>
                  <a:pt x="204" y="18"/>
                </a:lnTo>
                <a:lnTo>
                  <a:pt x="205" y="18"/>
                </a:lnTo>
                <a:lnTo>
                  <a:pt x="207" y="19"/>
                </a:lnTo>
                <a:lnTo>
                  <a:pt x="210" y="22"/>
                </a:lnTo>
                <a:lnTo>
                  <a:pt x="211" y="22"/>
                </a:lnTo>
                <a:lnTo>
                  <a:pt x="212" y="21"/>
                </a:lnTo>
                <a:lnTo>
                  <a:pt x="213" y="21"/>
                </a:lnTo>
                <a:lnTo>
                  <a:pt x="214" y="21"/>
                </a:lnTo>
                <a:lnTo>
                  <a:pt x="215" y="20"/>
                </a:lnTo>
                <a:lnTo>
                  <a:pt x="215" y="21"/>
                </a:lnTo>
                <a:lnTo>
                  <a:pt x="216" y="23"/>
                </a:lnTo>
                <a:lnTo>
                  <a:pt x="220" y="24"/>
                </a:lnTo>
                <a:lnTo>
                  <a:pt x="224" y="26"/>
                </a:lnTo>
                <a:lnTo>
                  <a:pt x="226" y="28"/>
                </a:lnTo>
                <a:lnTo>
                  <a:pt x="229" y="28"/>
                </a:lnTo>
                <a:lnTo>
                  <a:pt x="231" y="29"/>
                </a:lnTo>
                <a:lnTo>
                  <a:pt x="234" y="29"/>
                </a:lnTo>
                <a:lnTo>
                  <a:pt x="226" y="35"/>
                </a:lnTo>
                <a:lnTo>
                  <a:pt x="225" y="38"/>
                </a:lnTo>
                <a:lnTo>
                  <a:pt x="226" y="38"/>
                </a:lnTo>
                <a:lnTo>
                  <a:pt x="226" y="39"/>
                </a:lnTo>
                <a:lnTo>
                  <a:pt x="226" y="41"/>
                </a:lnTo>
                <a:lnTo>
                  <a:pt x="225" y="42"/>
                </a:lnTo>
                <a:lnTo>
                  <a:pt x="224" y="41"/>
                </a:lnTo>
                <a:lnTo>
                  <a:pt x="223" y="40"/>
                </a:lnTo>
                <a:lnTo>
                  <a:pt x="217" y="41"/>
                </a:lnTo>
                <a:lnTo>
                  <a:pt x="217" y="41"/>
                </a:lnTo>
                <a:lnTo>
                  <a:pt x="216" y="43"/>
                </a:lnTo>
                <a:lnTo>
                  <a:pt x="215" y="43"/>
                </a:lnTo>
                <a:lnTo>
                  <a:pt x="214" y="43"/>
                </a:lnTo>
                <a:lnTo>
                  <a:pt x="212" y="42"/>
                </a:lnTo>
                <a:lnTo>
                  <a:pt x="211" y="43"/>
                </a:lnTo>
                <a:lnTo>
                  <a:pt x="211" y="44"/>
                </a:lnTo>
                <a:lnTo>
                  <a:pt x="210" y="45"/>
                </a:lnTo>
                <a:lnTo>
                  <a:pt x="209" y="45"/>
                </a:lnTo>
                <a:lnTo>
                  <a:pt x="207" y="44"/>
                </a:lnTo>
                <a:lnTo>
                  <a:pt x="206" y="45"/>
                </a:lnTo>
                <a:lnTo>
                  <a:pt x="205" y="44"/>
                </a:lnTo>
                <a:lnTo>
                  <a:pt x="202" y="44"/>
                </a:lnTo>
                <a:lnTo>
                  <a:pt x="201" y="44"/>
                </a:lnTo>
                <a:lnTo>
                  <a:pt x="199" y="44"/>
                </a:lnTo>
                <a:lnTo>
                  <a:pt x="194" y="42"/>
                </a:lnTo>
                <a:lnTo>
                  <a:pt x="191" y="41"/>
                </a:lnTo>
                <a:lnTo>
                  <a:pt x="186" y="39"/>
                </a:lnTo>
                <a:lnTo>
                  <a:pt x="185" y="40"/>
                </a:lnTo>
                <a:lnTo>
                  <a:pt x="184" y="41"/>
                </a:lnTo>
                <a:lnTo>
                  <a:pt x="182" y="41"/>
                </a:lnTo>
                <a:lnTo>
                  <a:pt x="181" y="41"/>
                </a:lnTo>
                <a:lnTo>
                  <a:pt x="181" y="41"/>
                </a:lnTo>
                <a:lnTo>
                  <a:pt x="181" y="43"/>
                </a:lnTo>
                <a:lnTo>
                  <a:pt x="180" y="48"/>
                </a:lnTo>
                <a:lnTo>
                  <a:pt x="180" y="48"/>
                </a:lnTo>
                <a:lnTo>
                  <a:pt x="182" y="48"/>
                </a:lnTo>
                <a:lnTo>
                  <a:pt x="183" y="50"/>
                </a:lnTo>
                <a:lnTo>
                  <a:pt x="183" y="51"/>
                </a:lnTo>
                <a:lnTo>
                  <a:pt x="183" y="51"/>
                </a:lnTo>
                <a:lnTo>
                  <a:pt x="182" y="52"/>
                </a:lnTo>
                <a:lnTo>
                  <a:pt x="182" y="53"/>
                </a:lnTo>
                <a:lnTo>
                  <a:pt x="183" y="53"/>
                </a:lnTo>
                <a:lnTo>
                  <a:pt x="184" y="54"/>
                </a:lnTo>
                <a:lnTo>
                  <a:pt x="187" y="53"/>
                </a:lnTo>
                <a:lnTo>
                  <a:pt x="187" y="54"/>
                </a:lnTo>
                <a:lnTo>
                  <a:pt x="189" y="55"/>
                </a:lnTo>
                <a:lnTo>
                  <a:pt x="189" y="55"/>
                </a:lnTo>
                <a:lnTo>
                  <a:pt x="187" y="56"/>
                </a:lnTo>
                <a:lnTo>
                  <a:pt x="186" y="58"/>
                </a:lnTo>
                <a:lnTo>
                  <a:pt x="186" y="59"/>
                </a:lnTo>
                <a:lnTo>
                  <a:pt x="190" y="62"/>
                </a:lnTo>
                <a:lnTo>
                  <a:pt x="191" y="64"/>
                </a:lnTo>
                <a:lnTo>
                  <a:pt x="191" y="65"/>
                </a:lnTo>
                <a:lnTo>
                  <a:pt x="187" y="67"/>
                </a:lnTo>
                <a:lnTo>
                  <a:pt x="187" y="69"/>
                </a:lnTo>
                <a:lnTo>
                  <a:pt x="190" y="70"/>
                </a:lnTo>
                <a:lnTo>
                  <a:pt x="192" y="72"/>
                </a:lnTo>
                <a:lnTo>
                  <a:pt x="194" y="74"/>
                </a:lnTo>
                <a:lnTo>
                  <a:pt x="195" y="76"/>
                </a:lnTo>
                <a:lnTo>
                  <a:pt x="197" y="76"/>
                </a:lnTo>
                <a:lnTo>
                  <a:pt x="197" y="77"/>
                </a:lnTo>
                <a:lnTo>
                  <a:pt x="200" y="76"/>
                </a:lnTo>
                <a:lnTo>
                  <a:pt x="201" y="77"/>
                </a:lnTo>
                <a:lnTo>
                  <a:pt x="201" y="79"/>
                </a:lnTo>
                <a:lnTo>
                  <a:pt x="201" y="80"/>
                </a:lnTo>
                <a:lnTo>
                  <a:pt x="203" y="82"/>
                </a:lnTo>
                <a:lnTo>
                  <a:pt x="203" y="83"/>
                </a:lnTo>
                <a:lnTo>
                  <a:pt x="209" y="83"/>
                </a:lnTo>
                <a:lnTo>
                  <a:pt x="210" y="84"/>
                </a:lnTo>
                <a:lnTo>
                  <a:pt x="211" y="84"/>
                </a:lnTo>
                <a:lnTo>
                  <a:pt x="213" y="86"/>
                </a:lnTo>
                <a:lnTo>
                  <a:pt x="213" y="87"/>
                </a:lnTo>
                <a:lnTo>
                  <a:pt x="214" y="89"/>
                </a:lnTo>
                <a:lnTo>
                  <a:pt x="213" y="90"/>
                </a:lnTo>
                <a:lnTo>
                  <a:pt x="213" y="91"/>
                </a:lnTo>
                <a:lnTo>
                  <a:pt x="211" y="91"/>
                </a:lnTo>
                <a:lnTo>
                  <a:pt x="210" y="91"/>
                </a:lnTo>
                <a:lnTo>
                  <a:pt x="209" y="91"/>
                </a:lnTo>
                <a:lnTo>
                  <a:pt x="207" y="91"/>
                </a:lnTo>
                <a:lnTo>
                  <a:pt x="206" y="92"/>
                </a:lnTo>
                <a:lnTo>
                  <a:pt x="204" y="93"/>
                </a:lnTo>
                <a:lnTo>
                  <a:pt x="203" y="95"/>
                </a:lnTo>
                <a:lnTo>
                  <a:pt x="204" y="99"/>
                </a:lnTo>
                <a:lnTo>
                  <a:pt x="205" y="100"/>
                </a:lnTo>
                <a:lnTo>
                  <a:pt x="205" y="102"/>
                </a:lnTo>
                <a:lnTo>
                  <a:pt x="206" y="102"/>
                </a:lnTo>
                <a:lnTo>
                  <a:pt x="207" y="102"/>
                </a:lnTo>
                <a:lnTo>
                  <a:pt x="206" y="103"/>
                </a:lnTo>
                <a:lnTo>
                  <a:pt x="205" y="104"/>
                </a:lnTo>
                <a:lnTo>
                  <a:pt x="205" y="106"/>
                </a:lnTo>
                <a:lnTo>
                  <a:pt x="206" y="107"/>
                </a:lnTo>
                <a:lnTo>
                  <a:pt x="206" y="107"/>
                </a:lnTo>
                <a:lnTo>
                  <a:pt x="210" y="107"/>
                </a:lnTo>
                <a:lnTo>
                  <a:pt x="210" y="110"/>
                </a:lnTo>
                <a:lnTo>
                  <a:pt x="210" y="110"/>
                </a:lnTo>
                <a:lnTo>
                  <a:pt x="209" y="110"/>
                </a:lnTo>
                <a:lnTo>
                  <a:pt x="207" y="110"/>
                </a:lnTo>
                <a:lnTo>
                  <a:pt x="206" y="110"/>
                </a:lnTo>
                <a:lnTo>
                  <a:pt x="206" y="111"/>
                </a:lnTo>
                <a:lnTo>
                  <a:pt x="203" y="113"/>
                </a:lnTo>
                <a:lnTo>
                  <a:pt x="201" y="117"/>
                </a:lnTo>
                <a:lnTo>
                  <a:pt x="200" y="117"/>
                </a:lnTo>
                <a:lnTo>
                  <a:pt x="199" y="120"/>
                </a:lnTo>
                <a:lnTo>
                  <a:pt x="197" y="121"/>
                </a:lnTo>
                <a:lnTo>
                  <a:pt x="197" y="123"/>
                </a:lnTo>
                <a:lnTo>
                  <a:pt x="199" y="125"/>
                </a:lnTo>
                <a:lnTo>
                  <a:pt x="197" y="127"/>
                </a:lnTo>
                <a:lnTo>
                  <a:pt x="196" y="129"/>
                </a:lnTo>
                <a:lnTo>
                  <a:pt x="194" y="129"/>
                </a:lnTo>
                <a:lnTo>
                  <a:pt x="192" y="131"/>
                </a:lnTo>
                <a:lnTo>
                  <a:pt x="191" y="133"/>
                </a:lnTo>
                <a:lnTo>
                  <a:pt x="191" y="136"/>
                </a:lnTo>
                <a:lnTo>
                  <a:pt x="190" y="139"/>
                </a:lnTo>
                <a:lnTo>
                  <a:pt x="186" y="145"/>
                </a:lnTo>
                <a:lnTo>
                  <a:pt x="185" y="147"/>
                </a:lnTo>
                <a:lnTo>
                  <a:pt x="182" y="150"/>
                </a:lnTo>
                <a:lnTo>
                  <a:pt x="180" y="152"/>
                </a:lnTo>
                <a:lnTo>
                  <a:pt x="179" y="154"/>
                </a:lnTo>
                <a:lnTo>
                  <a:pt x="177" y="159"/>
                </a:lnTo>
                <a:lnTo>
                  <a:pt x="175" y="162"/>
                </a:lnTo>
                <a:lnTo>
                  <a:pt x="174" y="165"/>
                </a:lnTo>
                <a:lnTo>
                  <a:pt x="173" y="166"/>
                </a:lnTo>
                <a:lnTo>
                  <a:pt x="172" y="166"/>
                </a:lnTo>
                <a:lnTo>
                  <a:pt x="165" y="166"/>
                </a:lnTo>
                <a:lnTo>
                  <a:pt x="164" y="167"/>
                </a:lnTo>
                <a:lnTo>
                  <a:pt x="162" y="169"/>
                </a:lnTo>
                <a:lnTo>
                  <a:pt x="161" y="170"/>
                </a:lnTo>
                <a:lnTo>
                  <a:pt x="160" y="170"/>
                </a:lnTo>
                <a:lnTo>
                  <a:pt x="159" y="170"/>
                </a:lnTo>
                <a:lnTo>
                  <a:pt x="159" y="169"/>
                </a:lnTo>
                <a:lnTo>
                  <a:pt x="155" y="164"/>
                </a:lnTo>
                <a:lnTo>
                  <a:pt x="154" y="164"/>
                </a:lnTo>
                <a:lnTo>
                  <a:pt x="153" y="164"/>
                </a:lnTo>
                <a:lnTo>
                  <a:pt x="151" y="166"/>
                </a:lnTo>
                <a:lnTo>
                  <a:pt x="150" y="169"/>
                </a:lnTo>
                <a:lnTo>
                  <a:pt x="148" y="171"/>
                </a:lnTo>
                <a:lnTo>
                  <a:pt x="144" y="176"/>
                </a:lnTo>
                <a:lnTo>
                  <a:pt x="142" y="178"/>
                </a:lnTo>
                <a:lnTo>
                  <a:pt x="142" y="181"/>
                </a:lnTo>
                <a:lnTo>
                  <a:pt x="142" y="186"/>
                </a:lnTo>
                <a:lnTo>
                  <a:pt x="142" y="187"/>
                </a:lnTo>
                <a:lnTo>
                  <a:pt x="143" y="188"/>
                </a:lnTo>
                <a:lnTo>
                  <a:pt x="145" y="190"/>
                </a:lnTo>
                <a:lnTo>
                  <a:pt x="146" y="190"/>
                </a:lnTo>
                <a:lnTo>
                  <a:pt x="149" y="191"/>
                </a:lnTo>
                <a:lnTo>
                  <a:pt x="152" y="191"/>
                </a:lnTo>
                <a:lnTo>
                  <a:pt x="152" y="191"/>
                </a:lnTo>
                <a:lnTo>
                  <a:pt x="154" y="192"/>
                </a:lnTo>
                <a:lnTo>
                  <a:pt x="154" y="193"/>
                </a:lnTo>
                <a:lnTo>
                  <a:pt x="154" y="194"/>
                </a:lnTo>
                <a:lnTo>
                  <a:pt x="153" y="201"/>
                </a:lnTo>
                <a:lnTo>
                  <a:pt x="153" y="202"/>
                </a:lnTo>
                <a:lnTo>
                  <a:pt x="154" y="203"/>
                </a:lnTo>
                <a:lnTo>
                  <a:pt x="157" y="206"/>
                </a:lnTo>
                <a:lnTo>
                  <a:pt x="159" y="206"/>
                </a:lnTo>
                <a:lnTo>
                  <a:pt x="161" y="206"/>
                </a:lnTo>
                <a:lnTo>
                  <a:pt x="162" y="206"/>
                </a:lnTo>
                <a:lnTo>
                  <a:pt x="163" y="207"/>
                </a:lnTo>
                <a:lnTo>
                  <a:pt x="163" y="211"/>
                </a:lnTo>
                <a:lnTo>
                  <a:pt x="164" y="213"/>
                </a:lnTo>
                <a:lnTo>
                  <a:pt x="165" y="215"/>
                </a:lnTo>
                <a:lnTo>
                  <a:pt x="166" y="217"/>
                </a:lnTo>
                <a:lnTo>
                  <a:pt x="169" y="220"/>
                </a:lnTo>
                <a:lnTo>
                  <a:pt x="170" y="221"/>
                </a:lnTo>
                <a:lnTo>
                  <a:pt x="170" y="222"/>
                </a:lnTo>
                <a:lnTo>
                  <a:pt x="171" y="223"/>
                </a:lnTo>
                <a:lnTo>
                  <a:pt x="172" y="224"/>
                </a:lnTo>
                <a:lnTo>
                  <a:pt x="171" y="224"/>
                </a:lnTo>
                <a:lnTo>
                  <a:pt x="171" y="225"/>
                </a:lnTo>
                <a:lnTo>
                  <a:pt x="171" y="228"/>
                </a:lnTo>
                <a:lnTo>
                  <a:pt x="171" y="230"/>
                </a:lnTo>
                <a:lnTo>
                  <a:pt x="173" y="230"/>
                </a:lnTo>
                <a:lnTo>
                  <a:pt x="173" y="231"/>
                </a:lnTo>
                <a:lnTo>
                  <a:pt x="171" y="231"/>
                </a:lnTo>
                <a:lnTo>
                  <a:pt x="170" y="232"/>
                </a:lnTo>
                <a:lnTo>
                  <a:pt x="170" y="232"/>
                </a:lnTo>
                <a:lnTo>
                  <a:pt x="169" y="233"/>
                </a:lnTo>
                <a:lnTo>
                  <a:pt x="167" y="233"/>
                </a:lnTo>
                <a:lnTo>
                  <a:pt x="166" y="233"/>
                </a:lnTo>
                <a:lnTo>
                  <a:pt x="165" y="232"/>
                </a:lnTo>
                <a:lnTo>
                  <a:pt x="165" y="232"/>
                </a:lnTo>
                <a:lnTo>
                  <a:pt x="165" y="230"/>
                </a:lnTo>
                <a:lnTo>
                  <a:pt x="165" y="230"/>
                </a:lnTo>
                <a:lnTo>
                  <a:pt x="163" y="228"/>
                </a:lnTo>
                <a:lnTo>
                  <a:pt x="162" y="230"/>
                </a:lnTo>
                <a:lnTo>
                  <a:pt x="159" y="231"/>
                </a:lnTo>
                <a:lnTo>
                  <a:pt x="157" y="233"/>
                </a:lnTo>
                <a:lnTo>
                  <a:pt x="157" y="234"/>
                </a:lnTo>
                <a:lnTo>
                  <a:pt x="156" y="234"/>
                </a:lnTo>
                <a:lnTo>
                  <a:pt x="152" y="234"/>
                </a:lnTo>
                <a:lnTo>
                  <a:pt x="150" y="232"/>
                </a:lnTo>
                <a:lnTo>
                  <a:pt x="148" y="232"/>
                </a:lnTo>
                <a:lnTo>
                  <a:pt x="146" y="232"/>
                </a:lnTo>
                <a:lnTo>
                  <a:pt x="143" y="232"/>
                </a:lnTo>
                <a:lnTo>
                  <a:pt x="142" y="232"/>
                </a:lnTo>
                <a:lnTo>
                  <a:pt x="141" y="232"/>
                </a:lnTo>
                <a:lnTo>
                  <a:pt x="140" y="232"/>
                </a:lnTo>
                <a:lnTo>
                  <a:pt x="139" y="232"/>
                </a:lnTo>
                <a:lnTo>
                  <a:pt x="139" y="232"/>
                </a:lnTo>
                <a:lnTo>
                  <a:pt x="138" y="231"/>
                </a:lnTo>
                <a:lnTo>
                  <a:pt x="138" y="231"/>
                </a:lnTo>
                <a:lnTo>
                  <a:pt x="136" y="232"/>
                </a:lnTo>
                <a:lnTo>
                  <a:pt x="138" y="237"/>
                </a:lnTo>
                <a:lnTo>
                  <a:pt x="132" y="237"/>
                </a:lnTo>
                <a:lnTo>
                  <a:pt x="131" y="237"/>
                </a:lnTo>
                <a:lnTo>
                  <a:pt x="130" y="237"/>
                </a:lnTo>
                <a:lnTo>
                  <a:pt x="129" y="238"/>
                </a:lnTo>
                <a:lnTo>
                  <a:pt x="129" y="238"/>
                </a:lnTo>
                <a:lnTo>
                  <a:pt x="129" y="241"/>
                </a:lnTo>
                <a:lnTo>
                  <a:pt x="126" y="241"/>
                </a:lnTo>
                <a:lnTo>
                  <a:pt x="125" y="242"/>
                </a:lnTo>
                <a:lnTo>
                  <a:pt x="122" y="240"/>
                </a:lnTo>
                <a:lnTo>
                  <a:pt x="119" y="240"/>
                </a:lnTo>
                <a:lnTo>
                  <a:pt x="118" y="238"/>
                </a:lnTo>
                <a:lnTo>
                  <a:pt x="116" y="237"/>
                </a:lnTo>
                <a:lnTo>
                  <a:pt x="116" y="236"/>
                </a:lnTo>
                <a:lnTo>
                  <a:pt x="114" y="234"/>
                </a:lnTo>
                <a:lnTo>
                  <a:pt x="113" y="231"/>
                </a:lnTo>
                <a:lnTo>
                  <a:pt x="111" y="226"/>
                </a:lnTo>
                <a:lnTo>
                  <a:pt x="110" y="224"/>
                </a:lnTo>
                <a:lnTo>
                  <a:pt x="109" y="224"/>
                </a:lnTo>
                <a:lnTo>
                  <a:pt x="105" y="223"/>
                </a:lnTo>
                <a:lnTo>
                  <a:pt x="103" y="222"/>
                </a:lnTo>
                <a:lnTo>
                  <a:pt x="102" y="215"/>
                </a:lnTo>
                <a:lnTo>
                  <a:pt x="101" y="214"/>
                </a:lnTo>
                <a:lnTo>
                  <a:pt x="99" y="212"/>
                </a:lnTo>
                <a:lnTo>
                  <a:pt x="96" y="211"/>
                </a:lnTo>
                <a:lnTo>
                  <a:pt x="93" y="211"/>
                </a:lnTo>
                <a:lnTo>
                  <a:pt x="88" y="212"/>
                </a:lnTo>
                <a:lnTo>
                  <a:pt x="82" y="212"/>
                </a:lnTo>
                <a:lnTo>
                  <a:pt x="78" y="214"/>
                </a:lnTo>
                <a:lnTo>
                  <a:pt x="75" y="213"/>
                </a:lnTo>
                <a:lnTo>
                  <a:pt x="71" y="212"/>
                </a:lnTo>
                <a:lnTo>
                  <a:pt x="70" y="216"/>
                </a:lnTo>
                <a:lnTo>
                  <a:pt x="68" y="214"/>
                </a:lnTo>
                <a:lnTo>
                  <a:pt x="64" y="214"/>
                </a:lnTo>
                <a:lnTo>
                  <a:pt x="62" y="212"/>
                </a:lnTo>
                <a:lnTo>
                  <a:pt x="58" y="213"/>
                </a:lnTo>
                <a:lnTo>
                  <a:pt x="54" y="212"/>
                </a:lnTo>
                <a:lnTo>
                  <a:pt x="52" y="214"/>
                </a:lnTo>
                <a:lnTo>
                  <a:pt x="49" y="215"/>
                </a:lnTo>
                <a:lnTo>
                  <a:pt x="40" y="214"/>
                </a:lnTo>
                <a:lnTo>
                  <a:pt x="37" y="214"/>
                </a:lnTo>
                <a:lnTo>
                  <a:pt x="33" y="216"/>
                </a:lnTo>
                <a:lnTo>
                  <a:pt x="31" y="215"/>
                </a:lnTo>
                <a:lnTo>
                  <a:pt x="29" y="217"/>
                </a:lnTo>
                <a:lnTo>
                  <a:pt x="27" y="217"/>
                </a:lnTo>
                <a:lnTo>
                  <a:pt x="25" y="218"/>
                </a:lnTo>
                <a:lnTo>
                  <a:pt x="24" y="216"/>
                </a:lnTo>
                <a:lnTo>
                  <a:pt x="23" y="216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86" name="Freeform 686"/>
          <p:cNvSpPr>
            <a:spLocks/>
          </p:cNvSpPr>
          <p:nvPr/>
        </p:nvSpPr>
        <p:spPr bwMode="auto">
          <a:xfrm>
            <a:off x="4878388" y="1439828"/>
            <a:ext cx="3030537" cy="947738"/>
          </a:xfrm>
          <a:custGeom>
            <a:avLst/>
            <a:gdLst>
              <a:gd name="T0" fmla="*/ 880 w 1909"/>
              <a:gd name="T1" fmla="*/ 451 h 597"/>
              <a:gd name="T2" fmla="*/ 1079 w 1909"/>
              <a:gd name="T3" fmla="*/ 424 h 597"/>
              <a:gd name="T4" fmla="*/ 1316 w 1909"/>
              <a:gd name="T5" fmla="*/ 400 h 597"/>
              <a:gd name="T6" fmla="*/ 1517 w 1909"/>
              <a:gd name="T7" fmla="*/ 480 h 597"/>
              <a:gd name="T8" fmla="*/ 1597 w 1909"/>
              <a:gd name="T9" fmla="*/ 570 h 597"/>
              <a:gd name="T10" fmla="*/ 1608 w 1909"/>
              <a:gd name="T11" fmla="*/ 410 h 597"/>
              <a:gd name="T12" fmla="*/ 1527 w 1909"/>
              <a:gd name="T13" fmla="*/ 373 h 597"/>
              <a:gd name="T14" fmla="*/ 1500 w 1909"/>
              <a:gd name="T15" fmla="*/ 300 h 597"/>
              <a:gd name="T16" fmla="*/ 1622 w 1909"/>
              <a:gd name="T17" fmla="*/ 285 h 597"/>
              <a:gd name="T18" fmla="*/ 1672 w 1909"/>
              <a:gd name="T19" fmla="*/ 240 h 597"/>
              <a:gd name="T20" fmla="*/ 1734 w 1909"/>
              <a:gd name="T21" fmla="*/ 243 h 597"/>
              <a:gd name="T22" fmla="*/ 1772 w 1909"/>
              <a:gd name="T23" fmla="*/ 372 h 597"/>
              <a:gd name="T24" fmla="*/ 1815 w 1909"/>
              <a:gd name="T25" fmla="*/ 333 h 597"/>
              <a:gd name="T26" fmla="*/ 1774 w 1909"/>
              <a:gd name="T27" fmla="*/ 270 h 597"/>
              <a:gd name="T28" fmla="*/ 1849 w 1909"/>
              <a:gd name="T29" fmla="*/ 258 h 597"/>
              <a:gd name="T30" fmla="*/ 1877 w 1909"/>
              <a:gd name="T31" fmla="*/ 225 h 597"/>
              <a:gd name="T32" fmla="*/ 1844 w 1909"/>
              <a:gd name="T33" fmla="*/ 193 h 597"/>
              <a:gd name="T34" fmla="*/ 1640 w 1909"/>
              <a:gd name="T35" fmla="*/ 126 h 597"/>
              <a:gd name="T36" fmla="*/ 1503 w 1909"/>
              <a:gd name="T37" fmla="*/ 106 h 597"/>
              <a:gd name="T38" fmla="*/ 1348 w 1909"/>
              <a:gd name="T39" fmla="*/ 86 h 597"/>
              <a:gd name="T40" fmla="*/ 1248 w 1909"/>
              <a:gd name="T41" fmla="*/ 87 h 597"/>
              <a:gd name="T42" fmla="*/ 1166 w 1909"/>
              <a:gd name="T43" fmla="*/ 97 h 597"/>
              <a:gd name="T44" fmla="*/ 1108 w 1909"/>
              <a:gd name="T45" fmla="*/ 70 h 597"/>
              <a:gd name="T46" fmla="*/ 1024 w 1909"/>
              <a:gd name="T47" fmla="*/ 56 h 597"/>
              <a:gd name="T48" fmla="*/ 924 w 1909"/>
              <a:gd name="T49" fmla="*/ 58 h 597"/>
              <a:gd name="T50" fmla="*/ 883 w 1909"/>
              <a:gd name="T51" fmla="*/ 56 h 597"/>
              <a:gd name="T52" fmla="*/ 840 w 1909"/>
              <a:gd name="T53" fmla="*/ 62 h 597"/>
              <a:gd name="T54" fmla="*/ 879 w 1909"/>
              <a:gd name="T55" fmla="*/ 29 h 597"/>
              <a:gd name="T56" fmla="*/ 807 w 1909"/>
              <a:gd name="T57" fmla="*/ 13 h 597"/>
              <a:gd name="T58" fmla="*/ 767 w 1909"/>
              <a:gd name="T59" fmla="*/ 7 h 597"/>
              <a:gd name="T60" fmla="*/ 715 w 1909"/>
              <a:gd name="T61" fmla="*/ 19 h 597"/>
              <a:gd name="T62" fmla="*/ 670 w 1909"/>
              <a:gd name="T63" fmla="*/ 22 h 597"/>
              <a:gd name="T64" fmla="*/ 609 w 1909"/>
              <a:gd name="T65" fmla="*/ 36 h 597"/>
              <a:gd name="T66" fmla="*/ 617 w 1909"/>
              <a:gd name="T67" fmla="*/ 53 h 597"/>
              <a:gd name="T68" fmla="*/ 588 w 1909"/>
              <a:gd name="T69" fmla="*/ 78 h 597"/>
              <a:gd name="T70" fmla="*/ 584 w 1909"/>
              <a:gd name="T71" fmla="*/ 84 h 597"/>
              <a:gd name="T72" fmla="*/ 521 w 1909"/>
              <a:gd name="T73" fmla="*/ 89 h 597"/>
              <a:gd name="T74" fmla="*/ 538 w 1909"/>
              <a:gd name="T75" fmla="*/ 126 h 597"/>
              <a:gd name="T76" fmla="*/ 545 w 1909"/>
              <a:gd name="T77" fmla="*/ 129 h 597"/>
              <a:gd name="T78" fmla="*/ 526 w 1909"/>
              <a:gd name="T79" fmla="*/ 157 h 597"/>
              <a:gd name="T80" fmla="*/ 481 w 1909"/>
              <a:gd name="T81" fmla="*/ 86 h 597"/>
              <a:gd name="T82" fmla="*/ 440 w 1909"/>
              <a:gd name="T83" fmla="*/ 111 h 597"/>
              <a:gd name="T84" fmla="*/ 375 w 1909"/>
              <a:gd name="T85" fmla="*/ 124 h 597"/>
              <a:gd name="T86" fmla="*/ 302 w 1909"/>
              <a:gd name="T87" fmla="*/ 127 h 597"/>
              <a:gd name="T88" fmla="*/ 201 w 1909"/>
              <a:gd name="T89" fmla="*/ 151 h 597"/>
              <a:gd name="T90" fmla="*/ 168 w 1909"/>
              <a:gd name="T91" fmla="*/ 171 h 597"/>
              <a:gd name="T92" fmla="*/ 118 w 1909"/>
              <a:gd name="T93" fmla="*/ 205 h 597"/>
              <a:gd name="T94" fmla="*/ 80 w 1909"/>
              <a:gd name="T95" fmla="*/ 164 h 597"/>
              <a:gd name="T96" fmla="*/ 83 w 1909"/>
              <a:gd name="T97" fmla="*/ 123 h 597"/>
              <a:gd name="T98" fmla="*/ 24 w 1909"/>
              <a:gd name="T99" fmla="*/ 118 h 597"/>
              <a:gd name="T100" fmla="*/ 53 w 1909"/>
              <a:gd name="T101" fmla="*/ 219 h 597"/>
              <a:gd name="T102" fmla="*/ 27 w 1909"/>
              <a:gd name="T103" fmla="*/ 293 h 597"/>
              <a:gd name="T104" fmla="*/ 82 w 1909"/>
              <a:gd name="T105" fmla="*/ 352 h 597"/>
              <a:gd name="T106" fmla="*/ 138 w 1909"/>
              <a:gd name="T107" fmla="*/ 407 h 597"/>
              <a:gd name="T108" fmla="*/ 225 w 1909"/>
              <a:gd name="T109" fmla="*/ 466 h 597"/>
              <a:gd name="T110" fmla="*/ 209 w 1909"/>
              <a:gd name="T111" fmla="*/ 535 h 597"/>
              <a:gd name="T112" fmla="*/ 375 w 1909"/>
              <a:gd name="T113" fmla="*/ 589 h 597"/>
              <a:gd name="T114" fmla="*/ 346 w 1909"/>
              <a:gd name="T115" fmla="*/ 480 h 597"/>
              <a:gd name="T116" fmla="*/ 373 w 1909"/>
              <a:gd name="T117" fmla="*/ 414 h 597"/>
              <a:gd name="T118" fmla="*/ 475 w 1909"/>
              <a:gd name="T119" fmla="*/ 423 h 597"/>
              <a:gd name="T120" fmla="*/ 498 w 1909"/>
              <a:gd name="T121" fmla="*/ 381 h 597"/>
              <a:gd name="T122" fmla="*/ 587 w 1909"/>
              <a:gd name="T123" fmla="*/ 349 h 597"/>
              <a:gd name="T124" fmla="*/ 659 w 1909"/>
              <a:gd name="T125" fmla="*/ 377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909" h="597">
                <a:moveTo>
                  <a:pt x="698" y="371"/>
                </a:moveTo>
                <a:lnTo>
                  <a:pt x="700" y="372"/>
                </a:lnTo>
                <a:lnTo>
                  <a:pt x="701" y="372"/>
                </a:lnTo>
                <a:lnTo>
                  <a:pt x="725" y="384"/>
                </a:lnTo>
                <a:lnTo>
                  <a:pt x="776" y="427"/>
                </a:lnTo>
                <a:lnTo>
                  <a:pt x="778" y="425"/>
                </a:lnTo>
                <a:lnTo>
                  <a:pt x="778" y="424"/>
                </a:lnTo>
                <a:lnTo>
                  <a:pt x="777" y="422"/>
                </a:lnTo>
                <a:lnTo>
                  <a:pt x="779" y="420"/>
                </a:lnTo>
                <a:lnTo>
                  <a:pt x="780" y="420"/>
                </a:lnTo>
                <a:lnTo>
                  <a:pt x="782" y="421"/>
                </a:lnTo>
                <a:lnTo>
                  <a:pt x="785" y="421"/>
                </a:lnTo>
                <a:lnTo>
                  <a:pt x="789" y="423"/>
                </a:lnTo>
                <a:lnTo>
                  <a:pt x="789" y="424"/>
                </a:lnTo>
                <a:lnTo>
                  <a:pt x="790" y="425"/>
                </a:lnTo>
                <a:lnTo>
                  <a:pt x="792" y="425"/>
                </a:lnTo>
                <a:lnTo>
                  <a:pt x="795" y="429"/>
                </a:lnTo>
                <a:lnTo>
                  <a:pt x="800" y="427"/>
                </a:lnTo>
                <a:lnTo>
                  <a:pt x="805" y="429"/>
                </a:lnTo>
                <a:lnTo>
                  <a:pt x="807" y="429"/>
                </a:lnTo>
                <a:lnTo>
                  <a:pt x="811" y="429"/>
                </a:lnTo>
                <a:lnTo>
                  <a:pt x="810" y="427"/>
                </a:lnTo>
                <a:lnTo>
                  <a:pt x="811" y="425"/>
                </a:lnTo>
                <a:lnTo>
                  <a:pt x="814" y="426"/>
                </a:lnTo>
                <a:lnTo>
                  <a:pt x="816" y="426"/>
                </a:lnTo>
                <a:lnTo>
                  <a:pt x="816" y="424"/>
                </a:lnTo>
                <a:lnTo>
                  <a:pt x="817" y="423"/>
                </a:lnTo>
                <a:lnTo>
                  <a:pt x="821" y="424"/>
                </a:lnTo>
                <a:lnTo>
                  <a:pt x="824" y="425"/>
                </a:lnTo>
                <a:lnTo>
                  <a:pt x="825" y="426"/>
                </a:lnTo>
                <a:lnTo>
                  <a:pt x="827" y="427"/>
                </a:lnTo>
                <a:lnTo>
                  <a:pt x="831" y="430"/>
                </a:lnTo>
                <a:lnTo>
                  <a:pt x="834" y="431"/>
                </a:lnTo>
                <a:lnTo>
                  <a:pt x="835" y="432"/>
                </a:lnTo>
                <a:lnTo>
                  <a:pt x="836" y="434"/>
                </a:lnTo>
                <a:lnTo>
                  <a:pt x="836" y="435"/>
                </a:lnTo>
                <a:lnTo>
                  <a:pt x="838" y="436"/>
                </a:lnTo>
                <a:lnTo>
                  <a:pt x="840" y="437"/>
                </a:lnTo>
                <a:lnTo>
                  <a:pt x="847" y="440"/>
                </a:lnTo>
                <a:lnTo>
                  <a:pt x="848" y="441"/>
                </a:lnTo>
                <a:lnTo>
                  <a:pt x="849" y="443"/>
                </a:lnTo>
                <a:lnTo>
                  <a:pt x="851" y="443"/>
                </a:lnTo>
                <a:lnTo>
                  <a:pt x="853" y="444"/>
                </a:lnTo>
                <a:lnTo>
                  <a:pt x="856" y="447"/>
                </a:lnTo>
                <a:lnTo>
                  <a:pt x="858" y="449"/>
                </a:lnTo>
                <a:lnTo>
                  <a:pt x="862" y="449"/>
                </a:lnTo>
                <a:lnTo>
                  <a:pt x="865" y="450"/>
                </a:lnTo>
                <a:lnTo>
                  <a:pt x="867" y="450"/>
                </a:lnTo>
                <a:lnTo>
                  <a:pt x="869" y="451"/>
                </a:lnTo>
                <a:lnTo>
                  <a:pt x="871" y="451"/>
                </a:lnTo>
                <a:lnTo>
                  <a:pt x="871" y="449"/>
                </a:lnTo>
                <a:lnTo>
                  <a:pt x="872" y="447"/>
                </a:lnTo>
                <a:lnTo>
                  <a:pt x="876" y="446"/>
                </a:lnTo>
                <a:lnTo>
                  <a:pt x="877" y="449"/>
                </a:lnTo>
                <a:lnTo>
                  <a:pt x="878" y="450"/>
                </a:lnTo>
                <a:lnTo>
                  <a:pt x="880" y="451"/>
                </a:lnTo>
                <a:lnTo>
                  <a:pt x="883" y="454"/>
                </a:lnTo>
                <a:lnTo>
                  <a:pt x="886" y="454"/>
                </a:lnTo>
                <a:lnTo>
                  <a:pt x="888" y="456"/>
                </a:lnTo>
                <a:lnTo>
                  <a:pt x="887" y="462"/>
                </a:lnTo>
                <a:lnTo>
                  <a:pt x="887" y="462"/>
                </a:lnTo>
                <a:lnTo>
                  <a:pt x="893" y="463"/>
                </a:lnTo>
                <a:lnTo>
                  <a:pt x="897" y="460"/>
                </a:lnTo>
                <a:lnTo>
                  <a:pt x="898" y="460"/>
                </a:lnTo>
                <a:lnTo>
                  <a:pt x="898" y="460"/>
                </a:lnTo>
                <a:lnTo>
                  <a:pt x="899" y="455"/>
                </a:lnTo>
                <a:lnTo>
                  <a:pt x="901" y="452"/>
                </a:lnTo>
                <a:lnTo>
                  <a:pt x="905" y="450"/>
                </a:lnTo>
                <a:lnTo>
                  <a:pt x="909" y="449"/>
                </a:lnTo>
                <a:lnTo>
                  <a:pt x="912" y="446"/>
                </a:lnTo>
                <a:lnTo>
                  <a:pt x="916" y="443"/>
                </a:lnTo>
                <a:lnTo>
                  <a:pt x="921" y="440"/>
                </a:lnTo>
                <a:lnTo>
                  <a:pt x="926" y="435"/>
                </a:lnTo>
                <a:lnTo>
                  <a:pt x="934" y="433"/>
                </a:lnTo>
                <a:lnTo>
                  <a:pt x="939" y="431"/>
                </a:lnTo>
                <a:lnTo>
                  <a:pt x="944" y="431"/>
                </a:lnTo>
                <a:lnTo>
                  <a:pt x="951" y="431"/>
                </a:lnTo>
                <a:lnTo>
                  <a:pt x="956" y="433"/>
                </a:lnTo>
                <a:lnTo>
                  <a:pt x="960" y="435"/>
                </a:lnTo>
                <a:lnTo>
                  <a:pt x="964" y="434"/>
                </a:lnTo>
                <a:lnTo>
                  <a:pt x="970" y="434"/>
                </a:lnTo>
                <a:lnTo>
                  <a:pt x="974" y="434"/>
                </a:lnTo>
                <a:lnTo>
                  <a:pt x="986" y="441"/>
                </a:lnTo>
                <a:lnTo>
                  <a:pt x="988" y="442"/>
                </a:lnTo>
                <a:lnTo>
                  <a:pt x="992" y="442"/>
                </a:lnTo>
                <a:lnTo>
                  <a:pt x="1003" y="441"/>
                </a:lnTo>
                <a:lnTo>
                  <a:pt x="1008" y="442"/>
                </a:lnTo>
                <a:lnTo>
                  <a:pt x="1019" y="442"/>
                </a:lnTo>
                <a:lnTo>
                  <a:pt x="1028" y="441"/>
                </a:lnTo>
                <a:lnTo>
                  <a:pt x="1030" y="440"/>
                </a:lnTo>
                <a:lnTo>
                  <a:pt x="1029" y="439"/>
                </a:lnTo>
                <a:lnTo>
                  <a:pt x="1027" y="436"/>
                </a:lnTo>
                <a:lnTo>
                  <a:pt x="1025" y="433"/>
                </a:lnTo>
                <a:lnTo>
                  <a:pt x="1025" y="430"/>
                </a:lnTo>
                <a:lnTo>
                  <a:pt x="1024" y="426"/>
                </a:lnTo>
                <a:lnTo>
                  <a:pt x="1020" y="424"/>
                </a:lnTo>
                <a:lnTo>
                  <a:pt x="1017" y="420"/>
                </a:lnTo>
                <a:lnTo>
                  <a:pt x="1015" y="416"/>
                </a:lnTo>
                <a:lnTo>
                  <a:pt x="1018" y="414"/>
                </a:lnTo>
                <a:lnTo>
                  <a:pt x="1019" y="411"/>
                </a:lnTo>
                <a:lnTo>
                  <a:pt x="1022" y="407"/>
                </a:lnTo>
                <a:lnTo>
                  <a:pt x="1023" y="404"/>
                </a:lnTo>
                <a:lnTo>
                  <a:pt x="1027" y="404"/>
                </a:lnTo>
                <a:lnTo>
                  <a:pt x="1032" y="405"/>
                </a:lnTo>
                <a:lnTo>
                  <a:pt x="1037" y="407"/>
                </a:lnTo>
                <a:lnTo>
                  <a:pt x="1048" y="410"/>
                </a:lnTo>
                <a:lnTo>
                  <a:pt x="1052" y="412"/>
                </a:lnTo>
                <a:lnTo>
                  <a:pt x="1059" y="413"/>
                </a:lnTo>
                <a:lnTo>
                  <a:pt x="1065" y="414"/>
                </a:lnTo>
                <a:lnTo>
                  <a:pt x="1070" y="415"/>
                </a:lnTo>
                <a:lnTo>
                  <a:pt x="1074" y="419"/>
                </a:lnTo>
                <a:lnTo>
                  <a:pt x="1079" y="424"/>
                </a:lnTo>
                <a:lnTo>
                  <a:pt x="1082" y="429"/>
                </a:lnTo>
                <a:lnTo>
                  <a:pt x="1083" y="429"/>
                </a:lnTo>
                <a:lnTo>
                  <a:pt x="1089" y="432"/>
                </a:lnTo>
                <a:lnTo>
                  <a:pt x="1096" y="435"/>
                </a:lnTo>
                <a:lnTo>
                  <a:pt x="1105" y="437"/>
                </a:lnTo>
                <a:lnTo>
                  <a:pt x="1112" y="436"/>
                </a:lnTo>
                <a:lnTo>
                  <a:pt x="1118" y="433"/>
                </a:lnTo>
                <a:lnTo>
                  <a:pt x="1122" y="431"/>
                </a:lnTo>
                <a:lnTo>
                  <a:pt x="1131" y="432"/>
                </a:lnTo>
                <a:lnTo>
                  <a:pt x="1145" y="435"/>
                </a:lnTo>
                <a:lnTo>
                  <a:pt x="1149" y="437"/>
                </a:lnTo>
                <a:lnTo>
                  <a:pt x="1150" y="437"/>
                </a:lnTo>
                <a:lnTo>
                  <a:pt x="1152" y="439"/>
                </a:lnTo>
                <a:lnTo>
                  <a:pt x="1159" y="442"/>
                </a:lnTo>
                <a:lnTo>
                  <a:pt x="1165" y="443"/>
                </a:lnTo>
                <a:lnTo>
                  <a:pt x="1171" y="444"/>
                </a:lnTo>
                <a:lnTo>
                  <a:pt x="1177" y="449"/>
                </a:lnTo>
                <a:lnTo>
                  <a:pt x="1185" y="452"/>
                </a:lnTo>
                <a:lnTo>
                  <a:pt x="1194" y="453"/>
                </a:lnTo>
                <a:lnTo>
                  <a:pt x="1202" y="454"/>
                </a:lnTo>
                <a:lnTo>
                  <a:pt x="1206" y="455"/>
                </a:lnTo>
                <a:lnTo>
                  <a:pt x="1212" y="454"/>
                </a:lnTo>
                <a:lnTo>
                  <a:pt x="1219" y="456"/>
                </a:lnTo>
                <a:lnTo>
                  <a:pt x="1230" y="452"/>
                </a:lnTo>
                <a:lnTo>
                  <a:pt x="1237" y="451"/>
                </a:lnTo>
                <a:lnTo>
                  <a:pt x="1244" y="450"/>
                </a:lnTo>
                <a:lnTo>
                  <a:pt x="1250" y="443"/>
                </a:lnTo>
                <a:lnTo>
                  <a:pt x="1253" y="440"/>
                </a:lnTo>
                <a:lnTo>
                  <a:pt x="1258" y="439"/>
                </a:lnTo>
                <a:lnTo>
                  <a:pt x="1266" y="441"/>
                </a:lnTo>
                <a:lnTo>
                  <a:pt x="1273" y="443"/>
                </a:lnTo>
                <a:lnTo>
                  <a:pt x="1278" y="444"/>
                </a:lnTo>
                <a:lnTo>
                  <a:pt x="1283" y="443"/>
                </a:lnTo>
                <a:lnTo>
                  <a:pt x="1285" y="442"/>
                </a:lnTo>
                <a:lnTo>
                  <a:pt x="1287" y="442"/>
                </a:lnTo>
                <a:lnTo>
                  <a:pt x="1287" y="442"/>
                </a:lnTo>
                <a:lnTo>
                  <a:pt x="1290" y="443"/>
                </a:lnTo>
                <a:lnTo>
                  <a:pt x="1295" y="445"/>
                </a:lnTo>
                <a:lnTo>
                  <a:pt x="1304" y="447"/>
                </a:lnTo>
                <a:lnTo>
                  <a:pt x="1312" y="450"/>
                </a:lnTo>
                <a:lnTo>
                  <a:pt x="1315" y="449"/>
                </a:lnTo>
                <a:lnTo>
                  <a:pt x="1317" y="446"/>
                </a:lnTo>
                <a:lnTo>
                  <a:pt x="1325" y="440"/>
                </a:lnTo>
                <a:lnTo>
                  <a:pt x="1325" y="439"/>
                </a:lnTo>
                <a:lnTo>
                  <a:pt x="1323" y="436"/>
                </a:lnTo>
                <a:lnTo>
                  <a:pt x="1322" y="434"/>
                </a:lnTo>
                <a:lnTo>
                  <a:pt x="1323" y="431"/>
                </a:lnTo>
                <a:lnTo>
                  <a:pt x="1323" y="429"/>
                </a:lnTo>
                <a:lnTo>
                  <a:pt x="1321" y="423"/>
                </a:lnTo>
                <a:lnTo>
                  <a:pt x="1318" y="419"/>
                </a:lnTo>
                <a:lnTo>
                  <a:pt x="1318" y="415"/>
                </a:lnTo>
                <a:lnTo>
                  <a:pt x="1321" y="413"/>
                </a:lnTo>
                <a:lnTo>
                  <a:pt x="1324" y="407"/>
                </a:lnTo>
                <a:lnTo>
                  <a:pt x="1323" y="406"/>
                </a:lnTo>
                <a:lnTo>
                  <a:pt x="1320" y="404"/>
                </a:lnTo>
                <a:lnTo>
                  <a:pt x="1316" y="400"/>
                </a:lnTo>
                <a:lnTo>
                  <a:pt x="1315" y="399"/>
                </a:lnTo>
                <a:lnTo>
                  <a:pt x="1312" y="399"/>
                </a:lnTo>
                <a:lnTo>
                  <a:pt x="1307" y="400"/>
                </a:lnTo>
                <a:lnTo>
                  <a:pt x="1306" y="399"/>
                </a:lnTo>
                <a:lnTo>
                  <a:pt x="1305" y="396"/>
                </a:lnTo>
                <a:lnTo>
                  <a:pt x="1308" y="392"/>
                </a:lnTo>
                <a:lnTo>
                  <a:pt x="1308" y="389"/>
                </a:lnTo>
                <a:lnTo>
                  <a:pt x="1311" y="386"/>
                </a:lnTo>
                <a:lnTo>
                  <a:pt x="1318" y="385"/>
                </a:lnTo>
                <a:lnTo>
                  <a:pt x="1326" y="383"/>
                </a:lnTo>
                <a:lnTo>
                  <a:pt x="1333" y="383"/>
                </a:lnTo>
                <a:lnTo>
                  <a:pt x="1341" y="382"/>
                </a:lnTo>
                <a:lnTo>
                  <a:pt x="1343" y="382"/>
                </a:lnTo>
                <a:lnTo>
                  <a:pt x="1349" y="383"/>
                </a:lnTo>
                <a:lnTo>
                  <a:pt x="1355" y="386"/>
                </a:lnTo>
                <a:lnTo>
                  <a:pt x="1359" y="389"/>
                </a:lnTo>
                <a:lnTo>
                  <a:pt x="1364" y="389"/>
                </a:lnTo>
                <a:lnTo>
                  <a:pt x="1368" y="389"/>
                </a:lnTo>
                <a:lnTo>
                  <a:pt x="1373" y="389"/>
                </a:lnTo>
                <a:lnTo>
                  <a:pt x="1377" y="390"/>
                </a:lnTo>
                <a:lnTo>
                  <a:pt x="1382" y="393"/>
                </a:lnTo>
                <a:lnTo>
                  <a:pt x="1387" y="396"/>
                </a:lnTo>
                <a:lnTo>
                  <a:pt x="1389" y="399"/>
                </a:lnTo>
                <a:lnTo>
                  <a:pt x="1393" y="401"/>
                </a:lnTo>
                <a:lnTo>
                  <a:pt x="1396" y="402"/>
                </a:lnTo>
                <a:lnTo>
                  <a:pt x="1397" y="403"/>
                </a:lnTo>
                <a:lnTo>
                  <a:pt x="1397" y="402"/>
                </a:lnTo>
                <a:lnTo>
                  <a:pt x="1399" y="405"/>
                </a:lnTo>
                <a:lnTo>
                  <a:pt x="1403" y="407"/>
                </a:lnTo>
                <a:lnTo>
                  <a:pt x="1406" y="412"/>
                </a:lnTo>
                <a:lnTo>
                  <a:pt x="1412" y="415"/>
                </a:lnTo>
                <a:lnTo>
                  <a:pt x="1415" y="419"/>
                </a:lnTo>
                <a:lnTo>
                  <a:pt x="1426" y="426"/>
                </a:lnTo>
                <a:lnTo>
                  <a:pt x="1434" y="435"/>
                </a:lnTo>
                <a:lnTo>
                  <a:pt x="1438" y="439"/>
                </a:lnTo>
                <a:lnTo>
                  <a:pt x="1439" y="440"/>
                </a:lnTo>
                <a:lnTo>
                  <a:pt x="1439" y="440"/>
                </a:lnTo>
                <a:lnTo>
                  <a:pt x="1443" y="444"/>
                </a:lnTo>
                <a:lnTo>
                  <a:pt x="1446" y="449"/>
                </a:lnTo>
                <a:lnTo>
                  <a:pt x="1450" y="451"/>
                </a:lnTo>
                <a:lnTo>
                  <a:pt x="1457" y="451"/>
                </a:lnTo>
                <a:lnTo>
                  <a:pt x="1462" y="450"/>
                </a:lnTo>
                <a:lnTo>
                  <a:pt x="1466" y="451"/>
                </a:lnTo>
                <a:lnTo>
                  <a:pt x="1472" y="452"/>
                </a:lnTo>
                <a:lnTo>
                  <a:pt x="1477" y="453"/>
                </a:lnTo>
                <a:lnTo>
                  <a:pt x="1489" y="460"/>
                </a:lnTo>
                <a:lnTo>
                  <a:pt x="1495" y="461"/>
                </a:lnTo>
                <a:lnTo>
                  <a:pt x="1498" y="461"/>
                </a:lnTo>
                <a:lnTo>
                  <a:pt x="1500" y="463"/>
                </a:lnTo>
                <a:lnTo>
                  <a:pt x="1501" y="464"/>
                </a:lnTo>
                <a:lnTo>
                  <a:pt x="1501" y="463"/>
                </a:lnTo>
                <a:lnTo>
                  <a:pt x="1504" y="466"/>
                </a:lnTo>
                <a:lnTo>
                  <a:pt x="1507" y="469"/>
                </a:lnTo>
                <a:lnTo>
                  <a:pt x="1509" y="472"/>
                </a:lnTo>
                <a:lnTo>
                  <a:pt x="1511" y="476"/>
                </a:lnTo>
                <a:lnTo>
                  <a:pt x="1517" y="480"/>
                </a:lnTo>
                <a:lnTo>
                  <a:pt x="1520" y="483"/>
                </a:lnTo>
                <a:lnTo>
                  <a:pt x="1525" y="482"/>
                </a:lnTo>
                <a:lnTo>
                  <a:pt x="1530" y="483"/>
                </a:lnTo>
                <a:lnTo>
                  <a:pt x="1535" y="483"/>
                </a:lnTo>
                <a:lnTo>
                  <a:pt x="1541" y="480"/>
                </a:lnTo>
                <a:lnTo>
                  <a:pt x="1546" y="475"/>
                </a:lnTo>
                <a:lnTo>
                  <a:pt x="1550" y="475"/>
                </a:lnTo>
                <a:lnTo>
                  <a:pt x="1557" y="471"/>
                </a:lnTo>
                <a:lnTo>
                  <a:pt x="1564" y="469"/>
                </a:lnTo>
                <a:lnTo>
                  <a:pt x="1564" y="470"/>
                </a:lnTo>
                <a:lnTo>
                  <a:pt x="1564" y="473"/>
                </a:lnTo>
                <a:lnTo>
                  <a:pt x="1567" y="476"/>
                </a:lnTo>
                <a:lnTo>
                  <a:pt x="1570" y="480"/>
                </a:lnTo>
                <a:lnTo>
                  <a:pt x="1572" y="484"/>
                </a:lnTo>
                <a:lnTo>
                  <a:pt x="1571" y="486"/>
                </a:lnTo>
                <a:lnTo>
                  <a:pt x="1570" y="490"/>
                </a:lnTo>
                <a:lnTo>
                  <a:pt x="1572" y="494"/>
                </a:lnTo>
                <a:lnTo>
                  <a:pt x="1574" y="502"/>
                </a:lnTo>
                <a:lnTo>
                  <a:pt x="1578" y="511"/>
                </a:lnTo>
                <a:lnTo>
                  <a:pt x="1578" y="520"/>
                </a:lnTo>
                <a:lnTo>
                  <a:pt x="1578" y="524"/>
                </a:lnTo>
                <a:lnTo>
                  <a:pt x="1579" y="528"/>
                </a:lnTo>
                <a:lnTo>
                  <a:pt x="1578" y="531"/>
                </a:lnTo>
                <a:lnTo>
                  <a:pt x="1576" y="530"/>
                </a:lnTo>
                <a:lnTo>
                  <a:pt x="1561" y="526"/>
                </a:lnTo>
                <a:lnTo>
                  <a:pt x="1558" y="528"/>
                </a:lnTo>
                <a:lnTo>
                  <a:pt x="1554" y="536"/>
                </a:lnTo>
                <a:lnTo>
                  <a:pt x="1558" y="540"/>
                </a:lnTo>
                <a:lnTo>
                  <a:pt x="1564" y="546"/>
                </a:lnTo>
                <a:lnTo>
                  <a:pt x="1572" y="560"/>
                </a:lnTo>
                <a:lnTo>
                  <a:pt x="1572" y="566"/>
                </a:lnTo>
                <a:lnTo>
                  <a:pt x="1569" y="570"/>
                </a:lnTo>
                <a:lnTo>
                  <a:pt x="1571" y="574"/>
                </a:lnTo>
                <a:lnTo>
                  <a:pt x="1572" y="576"/>
                </a:lnTo>
                <a:lnTo>
                  <a:pt x="1575" y="577"/>
                </a:lnTo>
                <a:lnTo>
                  <a:pt x="1577" y="577"/>
                </a:lnTo>
                <a:lnTo>
                  <a:pt x="1575" y="575"/>
                </a:lnTo>
                <a:lnTo>
                  <a:pt x="1574" y="574"/>
                </a:lnTo>
                <a:lnTo>
                  <a:pt x="1576" y="573"/>
                </a:lnTo>
                <a:lnTo>
                  <a:pt x="1581" y="574"/>
                </a:lnTo>
                <a:lnTo>
                  <a:pt x="1581" y="571"/>
                </a:lnTo>
                <a:lnTo>
                  <a:pt x="1581" y="570"/>
                </a:lnTo>
                <a:lnTo>
                  <a:pt x="1581" y="567"/>
                </a:lnTo>
                <a:lnTo>
                  <a:pt x="1582" y="565"/>
                </a:lnTo>
                <a:lnTo>
                  <a:pt x="1581" y="558"/>
                </a:lnTo>
                <a:lnTo>
                  <a:pt x="1582" y="561"/>
                </a:lnTo>
                <a:lnTo>
                  <a:pt x="1586" y="562"/>
                </a:lnTo>
                <a:lnTo>
                  <a:pt x="1586" y="564"/>
                </a:lnTo>
                <a:lnTo>
                  <a:pt x="1587" y="565"/>
                </a:lnTo>
                <a:lnTo>
                  <a:pt x="1589" y="563"/>
                </a:lnTo>
                <a:lnTo>
                  <a:pt x="1590" y="562"/>
                </a:lnTo>
                <a:lnTo>
                  <a:pt x="1591" y="564"/>
                </a:lnTo>
                <a:lnTo>
                  <a:pt x="1592" y="566"/>
                </a:lnTo>
                <a:lnTo>
                  <a:pt x="1594" y="568"/>
                </a:lnTo>
                <a:lnTo>
                  <a:pt x="1595" y="570"/>
                </a:lnTo>
                <a:lnTo>
                  <a:pt x="1597" y="570"/>
                </a:lnTo>
                <a:lnTo>
                  <a:pt x="1600" y="570"/>
                </a:lnTo>
                <a:lnTo>
                  <a:pt x="1604" y="571"/>
                </a:lnTo>
                <a:lnTo>
                  <a:pt x="1605" y="571"/>
                </a:lnTo>
                <a:lnTo>
                  <a:pt x="1607" y="572"/>
                </a:lnTo>
                <a:lnTo>
                  <a:pt x="1610" y="572"/>
                </a:lnTo>
                <a:lnTo>
                  <a:pt x="1615" y="571"/>
                </a:lnTo>
                <a:lnTo>
                  <a:pt x="1617" y="571"/>
                </a:lnTo>
                <a:lnTo>
                  <a:pt x="1619" y="570"/>
                </a:lnTo>
                <a:lnTo>
                  <a:pt x="1621" y="566"/>
                </a:lnTo>
                <a:lnTo>
                  <a:pt x="1628" y="560"/>
                </a:lnTo>
                <a:lnTo>
                  <a:pt x="1629" y="556"/>
                </a:lnTo>
                <a:lnTo>
                  <a:pt x="1629" y="553"/>
                </a:lnTo>
                <a:lnTo>
                  <a:pt x="1630" y="548"/>
                </a:lnTo>
                <a:lnTo>
                  <a:pt x="1629" y="546"/>
                </a:lnTo>
                <a:lnTo>
                  <a:pt x="1629" y="543"/>
                </a:lnTo>
                <a:lnTo>
                  <a:pt x="1630" y="541"/>
                </a:lnTo>
                <a:lnTo>
                  <a:pt x="1632" y="540"/>
                </a:lnTo>
                <a:lnTo>
                  <a:pt x="1632" y="534"/>
                </a:lnTo>
                <a:lnTo>
                  <a:pt x="1634" y="533"/>
                </a:lnTo>
                <a:lnTo>
                  <a:pt x="1634" y="528"/>
                </a:lnTo>
                <a:lnTo>
                  <a:pt x="1638" y="516"/>
                </a:lnTo>
                <a:lnTo>
                  <a:pt x="1637" y="513"/>
                </a:lnTo>
                <a:lnTo>
                  <a:pt x="1639" y="511"/>
                </a:lnTo>
                <a:lnTo>
                  <a:pt x="1639" y="510"/>
                </a:lnTo>
                <a:lnTo>
                  <a:pt x="1638" y="504"/>
                </a:lnTo>
                <a:lnTo>
                  <a:pt x="1636" y="495"/>
                </a:lnTo>
                <a:lnTo>
                  <a:pt x="1635" y="493"/>
                </a:lnTo>
                <a:lnTo>
                  <a:pt x="1637" y="487"/>
                </a:lnTo>
                <a:lnTo>
                  <a:pt x="1636" y="481"/>
                </a:lnTo>
                <a:lnTo>
                  <a:pt x="1638" y="476"/>
                </a:lnTo>
                <a:lnTo>
                  <a:pt x="1639" y="473"/>
                </a:lnTo>
                <a:lnTo>
                  <a:pt x="1638" y="472"/>
                </a:lnTo>
                <a:lnTo>
                  <a:pt x="1639" y="471"/>
                </a:lnTo>
                <a:lnTo>
                  <a:pt x="1640" y="470"/>
                </a:lnTo>
                <a:lnTo>
                  <a:pt x="1637" y="464"/>
                </a:lnTo>
                <a:lnTo>
                  <a:pt x="1637" y="462"/>
                </a:lnTo>
                <a:lnTo>
                  <a:pt x="1635" y="460"/>
                </a:lnTo>
                <a:lnTo>
                  <a:pt x="1634" y="456"/>
                </a:lnTo>
                <a:lnTo>
                  <a:pt x="1632" y="453"/>
                </a:lnTo>
                <a:lnTo>
                  <a:pt x="1631" y="451"/>
                </a:lnTo>
                <a:lnTo>
                  <a:pt x="1625" y="444"/>
                </a:lnTo>
                <a:lnTo>
                  <a:pt x="1625" y="441"/>
                </a:lnTo>
                <a:lnTo>
                  <a:pt x="1624" y="440"/>
                </a:lnTo>
                <a:lnTo>
                  <a:pt x="1622" y="439"/>
                </a:lnTo>
                <a:lnTo>
                  <a:pt x="1616" y="433"/>
                </a:lnTo>
                <a:lnTo>
                  <a:pt x="1612" y="430"/>
                </a:lnTo>
                <a:lnTo>
                  <a:pt x="1612" y="427"/>
                </a:lnTo>
                <a:lnTo>
                  <a:pt x="1611" y="424"/>
                </a:lnTo>
                <a:lnTo>
                  <a:pt x="1608" y="421"/>
                </a:lnTo>
                <a:lnTo>
                  <a:pt x="1609" y="420"/>
                </a:lnTo>
                <a:lnTo>
                  <a:pt x="1608" y="419"/>
                </a:lnTo>
                <a:lnTo>
                  <a:pt x="1608" y="419"/>
                </a:lnTo>
                <a:lnTo>
                  <a:pt x="1607" y="416"/>
                </a:lnTo>
                <a:lnTo>
                  <a:pt x="1607" y="413"/>
                </a:lnTo>
                <a:lnTo>
                  <a:pt x="1608" y="412"/>
                </a:lnTo>
                <a:lnTo>
                  <a:pt x="1608" y="410"/>
                </a:lnTo>
                <a:lnTo>
                  <a:pt x="1608" y="409"/>
                </a:lnTo>
                <a:lnTo>
                  <a:pt x="1606" y="406"/>
                </a:lnTo>
                <a:lnTo>
                  <a:pt x="1606" y="404"/>
                </a:lnTo>
                <a:lnTo>
                  <a:pt x="1597" y="400"/>
                </a:lnTo>
                <a:lnTo>
                  <a:pt x="1596" y="396"/>
                </a:lnTo>
                <a:lnTo>
                  <a:pt x="1594" y="394"/>
                </a:lnTo>
                <a:lnTo>
                  <a:pt x="1590" y="392"/>
                </a:lnTo>
                <a:lnTo>
                  <a:pt x="1587" y="390"/>
                </a:lnTo>
                <a:lnTo>
                  <a:pt x="1582" y="389"/>
                </a:lnTo>
                <a:lnTo>
                  <a:pt x="1579" y="389"/>
                </a:lnTo>
                <a:lnTo>
                  <a:pt x="1575" y="386"/>
                </a:lnTo>
                <a:lnTo>
                  <a:pt x="1571" y="386"/>
                </a:lnTo>
                <a:lnTo>
                  <a:pt x="1569" y="386"/>
                </a:lnTo>
                <a:lnTo>
                  <a:pt x="1569" y="385"/>
                </a:lnTo>
                <a:lnTo>
                  <a:pt x="1574" y="385"/>
                </a:lnTo>
                <a:lnTo>
                  <a:pt x="1578" y="386"/>
                </a:lnTo>
                <a:lnTo>
                  <a:pt x="1580" y="387"/>
                </a:lnTo>
                <a:lnTo>
                  <a:pt x="1582" y="387"/>
                </a:lnTo>
                <a:lnTo>
                  <a:pt x="1589" y="390"/>
                </a:lnTo>
                <a:lnTo>
                  <a:pt x="1589" y="389"/>
                </a:lnTo>
                <a:lnTo>
                  <a:pt x="1589" y="386"/>
                </a:lnTo>
                <a:lnTo>
                  <a:pt x="1587" y="384"/>
                </a:lnTo>
                <a:lnTo>
                  <a:pt x="1586" y="384"/>
                </a:lnTo>
                <a:lnTo>
                  <a:pt x="1576" y="381"/>
                </a:lnTo>
                <a:lnTo>
                  <a:pt x="1570" y="379"/>
                </a:lnTo>
                <a:lnTo>
                  <a:pt x="1567" y="376"/>
                </a:lnTo>
                <a:lnTo>
                  <a:pt x="1565" y="375"/>
                </a:lnTo>
                <a:lnTo>
                  <a:pt x="1563" y="373"/>
                </a:lnTo>
                <a:lnTo>
                  <a:pt x="1559" y="372"/>
                </a:lnTo>
                <a:lnTo>
                  <a:pt x="1556" y="371"/>
                </a:lnTo>
                <a:lnTo>
                  <a:pt x="1554" y="370"/>
                </a:lnTo>
                <a:lnTo>
                  <a:pt x="1551" y="369"/>
                </a:lnTo>
                <a:lnTo>
                  <a:pt x="1551" y="368"/>
                </a:lnTo>
                <a:lnTo>
                  <a:pt x="1550" y="368"/>
                </a:lnTo>
                <a:lnTo>
                  <a:pt x="1548" y="368"/>
                </a:lnTo>
                <a:lnTo>
                  <a:pt x="1546" y="369"/>
                </a:lnTo>
                <a:lnTo>
                  <a:pt x="1544" y="369"/>
                </a:lnTo>
                <a:lnTo>
                  <a:pt x="1537" y="368"/>
                </a:lnTo>
                <a:lnTo>
                  <a:pt x="1540" y="371"/>
                </a:lnTo>
                <a:lnTo>
                  <a:pt x="1540" y="371"/>
                </a:lnTo>
                <a:lnTo>
                  <a:pt x="1541" y="373"/>
                </a:lnTo>
                <a:lnTo>
                  <a:pt x="1544" y="376"/>
                </a:lnTo>
                <a:lnTo>
                  <a:pt x="1545" y="380"/>
                </a:lnTo>
                <a:lnTo>
                  <a:pt x="1544" y="381"/>
                </a:lnTo>
                <a:lnTo>
                  <a:pt x="1541" y="379"/>
                </a:lnTo>
                <a:lnTo>
                  <a:pt x="1541" y="375"/>
                </a:lnTo>
                <a:lnTo>
                  <a:pt x="1539" y="374"/>
                </a:lnTo>
                <a:lnTo>
                  <a:pt x="1538" y="377"/>
                </a:lnTo>
                <a:lnTo>
                  <a:pt x="1536" y="379"/>
                </a:lnTo>
                <a:lnTo>
                  <a:pt x="1531" y="380"/>
                </a:lnTo>
                <a:lnTo>
                  <a:pt x="1528" y="380"/>
                </a:lnTo>
                <a:lnTo>
                  <a:pt x="1527" y="379"/>
                </a:lnTo>
                <a:lnTo>
                  <a:pt x="1528" y="379"/>
                </a:lnTo>
                <a:lnTo>
                  <a:pt x="1529" y="376"/>
                </a:lnTo>
                <a:lnTo>
                  <a:pt x="1528" y="375"/>
                </a:lnTo>
                <a:lnTo>
                  <a:pt x="1527" y="373"/>
                </a:lnTo>
                <a:lnTo>
                  <a:pt x="1524" y="372"/>
                </a:lnTo>
                <a:lnTo>
                  <a:pt x="1520" y="371"/>
                </a:lnTo>
                <a:lnTo>
                  <a:pt x="1523" y="370"/>
                </a:lnTo>
                <a:lnTo>
                  <a:pt x="1523" y="369"/>
                </a:lnTo>
                <a:lnTo>
                  <a:pt x="1521" y="368"/>
                </a:lnTo>
                <a:lnTo>
                  <a:pt x="1518" y="368"/>
                </a:lnTo>
                <a:lnTo>
                  <a:pt x="1517" y="369"/>
                </a:lnTo>
                <a:lnTo>
                  <a:pt x="1517" y="371"/>
                </a:lnTo>
                <a:lnTo>
                  <a:pt x="1520" y="372"/>
                </a:lnTo>
                <a:lnTo>
                  <a:pt x="1521" y="373"/>
                </a:lnTo>
                <a:lnTo>
                  <a:pt x="1520" y="375"/>
                </a:lnTo>
                <a:lnTo>
                  <a:pt x="1518" y="375"/>
                </a:lnTo>
                <a:lnTo>
                  <a:pt x="1518" y="376"/>
                </a:lnTo>
                <a:lnTo>
                  <a:pt x="1517" y="376"/>
                </a:lnTo>
                <a:lnTo>
                  <a:pt x="1514" y="373"/>
                </a:lnTo>
                <a:lnTo>
                  <a:pt x="1513" y="371"/>
                </a:lnTo>
                <a:lnTo>
                  <a:pt x="1511" y="369"/>
                </a:lnTo>
                <a:lnTo>
                  <a:pt x="1510" y="366"/>
                </a:lnTo>
                <a:lnTo>
                  <a:pt x="1509" y="366"/>
                </a:lnTo>
                <a:lnTo>
                  <a:pt x="1507" y="363"/>
                </a:lnTo>
                <a:lnTo>
                  <a:pt x="1505" y="362"/>
                </a:lnTo>
                <a:lnTo>
                  <a:pt x="1503" y="362"/>
                </a:lnTo>
                <a:lnTo>
                  <a:pt x="1498" y="363"/>
                </a:lnTo>
                <a:lnTo>
                  <a:pt x="1493" y="363"/>
                </a:lnTo>
                <a:lnTo>
                  <a:pt x="1488" y="361"/>
                </a:lnTo>
                <a:lnTo>
                  <a:pt x="1483" y="360"/>
                </a:lnTo>
                <a:lnTo>
                  <a:pt x="1482" y="359"/>
                </a:lnTo>
                <a:lnTo>
                  <a:pt x="1480" y="356"/>
                </a:lnTo>
                <a:lnTo>
                  <a:pt x="1484" y="352"/>
                </a:lnTo>
                <a:lnTo>
                  <a:pt x="1485" y="352"/>
                </a:lnTo>
                <a:lnTo>
                  <a:pt x="1487" y="349"/>
                </a:lnTo>
                <a:lnTo>
                  <a:pt x="1486" y="346"/>
                </a:lnTo>
                <a:lnTo>
                  <a:pt x="1487" y="345"/>
                </a:lnTo>
                <a:lnTo>
                  <a:pt x="1488" y="345"/>
                </a:lnTo>
                <a:lnTo>
                  <a:pt x="1489" y="343"/>
                </a:lnTo>
                <a:lnTo>
                  <a:pt x="1494" y="335"/>
                </a:lnTo>
                <a:lnTo>
                  <a:pt x="1494" y="332"/>
                </a:lnTo>
                <a:lnTo>
                  <a:pt x="1495" y="332"/>
                </a:lnTo>
                <a:lnTo>
                  <a:pt x="1494" y="330"/>
                </a:lnTo>
                <a:lnTo>
                  <a:pt x="1493" y="329"/>
                </a:lnTo>
                <a:lnTo>
                  <a:pt x="1494" y="328"/>
                </a:lnTo>
                <a:lnTo>
                  <a:pt x="1494" y="325"/>
                </a:lnTo>
                <a:lnTo>
                  <a:pt x="1493" y="324"/>
                </a:lnTo>
                <a:lnTo>
                  <a:pt x="1495" y="324"/>
                </a:lnTo>
                <a:lnTo>
                  <a:pt x="1494" y="322"/>
                </a:lnTo>
                <a:lnTo>
                  <a:pt x="1496" y="320"/>
                </a:lnTo>
                <a:lnTo>
                  <a:pt x="1496" y="316"/>
                </a:lnTo>
                <a:lnTo>
                  <a:pt x="1498" y="316"/>
                </a:lnTo>
                <a:lnTo>
                  <a:pt x="1499" y="313"/>
                </a:lnTo>
                <a:lnTo>
                  <a:pt x="1498" y="311"/>
                </a:lnTo>
                <a:lnTo>
                  <a:pt x="1499" y="311"/>
                </a:lnTo>
                <a:lnTo>
                  <a:pt x="1501" y="309"/>
                </a:lnTo>
                <a:lnTo>
                  <a:pt x="1503" y="308"/>
                </a:lnTo>
                <a:lnTo>
                  <a:pt x="1501" y="305"/>
                </a:lnTo>
                <a:lnTo>
                  <a:pt x="1500" y="302"/>
                </a:lnTo>
                <a:lnTo>
                  <a:pt x="1500" y="300"/>
                </a:lnTo>
                <a:lnTo>
                  <a:pt x="1505" y="294"/>
                </a:lnTo>
                <a:lnTo>
                  <a:pt x="1505" y="292"/>
                </a:lnTo>
                <a:lnTo>
                  <a:pt x="1505" y="289"/>
                </a:lnTo>
                <a:lnTo>
                  <a:pt x="1506" y="286"/>
                </a:lnTo>
                <a:lnTo>
                  <a:pt x="1508" y="284"/>
                </a:lnTo>
                <a:lnTo>
                  <a:pt x="1513" y="282"/>
                </a:lnTo>
                <a:lnTo>
                  <a:pt x="1525" y="281"/>
                </a:lnTo>
                <a:lnTo>
                  <a:pt x="1534" y="281"/>
                </a:lnTo>
                <a:lnTo>
                  <a:pt x="1537" y="281"/>
                </a:lnTo>
                <a:lnTo>
                  <a:pt x="1539" y="281"/>
                </a:lnTo>
                <a:lnTo>
                  <a:pt x="1543" y="281"/>
                </a:lnTo>
                <a:lnTo>
                  <a:pt x="1546" y="281"/>
                </a:lnTo>
                <a:lnTo>
                  <a:pt x="1547" y="281"/>
                </a:lnTo>
                <a:lnTo>
                  <a:pt x="1549" y="283"/>
                </a:lnTo>
                <a:lnTo>
                  <a:pt x="1553" y="284"/>
                </a:lnTo>
                <a:lnTo>
                  <a:pt x="1554" y="284"/>
                </a:lnTo>
                <a:lnTo>
                  <a:pt x="1556" y="284"/>
                </a:lnTo>
                <a:lnTo>
                  <a:pt x="1556" y="283"/>
                </a:lnTo>
                <a:lnTo>
                  <a:pt x="1553" y="280"/>
                </a:lnTo>
                <a:lnTo>
                  <a:pt x="1554" y="280"/>
                </a:lnTo>
                <a:lnTo>
                  <a:pt x="1570" y="283"/>
                </a:lnTo>
                <a:lnTo>
                  <a:pt x="1575" y="283"/>
                </a:lnTo>
                <a:lnTo>
                  <a:pt x="1572" y="282"/>
                </a:lnTo>
                <a:lnTo>
                  <a:pt x="1574" y="281"/>
                </a:lnTo>
                <a:lnTo>
                  <a:pt x="1579" y="281"/>
                </a:lnTo>
                <a:lnTo>
                  <a:pt x="1581" y="282"/>
                </a:lnTo>
                <a:lnTo>
                  <a:pt x="1584" y="283"/>
                </a:lnTo>
                <a:lnTo>
                  <a:pt x="1586" y="283"/>
                </a:lnTo>
                <a:lnTo>
                  <a:pt x="1588" y="283"/>
                </a:lnTo>
                <a:lnTo>
                  <a:pt x="1587" y="282"/>
                </a:lnTo>
                <a:lnTo>
                  <a:pt x="1586" y="282"/>
                </a:lnTo>
                <a:lnTo>
                  <a:pt x="1582" y="280"/>
                </a:lnTo>
                <a:lnTo>
                  <a:pt x="1585" y="280"/>
                </a:lnTo>
                <a:lnTo>
                  <a:pt x="1587" y="280"/>
                </a:lnTo>
                <a:lnTo>
                  <a:pt x="1586" y="279"/>
                </a:lnTo>
                <a:lnTo>
                  <a:pt x="1584" y="278"/>
                </a:lnTo>
                <a:lnTo>
                  <a:pt x="1582" y="276"/>
                </a:lnTo>
                <a:lnTo>
                  <a:pt x="1585" y="275"/>
                </a:lnTo>
                <a:lnTo>
                  <a:pt x="1587" y="275"/>
                </a:lnTo>
                <a:lnTo>
                  <a:pt x="1590" y="275"/>
                </a:lnTo>
                <a:lnTo>
                  <a:pt x="1600" y="278"/>
                </a:lnTo>
                <a:lnTo>
                  <a:pt x="1602" y="278"/>
                </a:lnTo>
                <a:lnTo>
                  <a:pt x="1607" y="279"/>
                </a:lnTo>
                <a:lnTo>
                  <a:pt x="1608" y="280"/>
                </a:lnTo>
                <a:lnTo>
                  <a:pt x="1610" y="280"/>
                </a:lnTo>
                <a:lnTo>
                  <a:pt x="1610" y="278"/>
                </a:lnTo>
                <a:lnTo>
                  <a:pt x="1611" y="278"/>
                </a:lnTo>
                <a:lnTo>
                  <a:pt x="1616" y="278"/>
                </a:lnTo>
                <a:lnTo>
                  <a:pt x="1618" y="279"/>
                </a:lnTo>
                <a:lnTo>
                  <a:pt x="1622" y="281"/>
                </a:lnTo>
                <a:lnTo>
                  <a:pt x="1626" y="282"/>
                </a:lnTo>
                <a:lnTo>
                  <a:pt x="1630" y="283"/>
                </a:lnTo>
                <a:lnTo>
                  <a:pt x="1632" y="284"/>
                </a:lnTo>
                <a:lnTo>
                  <a:pt x="1631" y="285"/>
                </a:lnTo>
                <a:lnTo>
                  <a:pt x="1627" y="285"/>
                </a:lnTo>
                <a:lnTo>
                  <a:pt x="1622" y="285"/>
                </a:lnTo>
                <a:lnTo>
                  <a:pt x="1620" y="285"/>
                </a:lnTo>
                <a:lnTo>
                  <a:pt x="1621" y="286"/>
                </a:lnTo>
                <a:lnTo>
                  <a:pt x="1628" y="290"/>
                </a:lnTo>
                <a:lnTo>
                  <a:pt x="1632" y="290"/>
                </a:lnTo>
                <a:lnTo>
                  <a:pt x="1636" y="290"/>
                </a:lnTo>
                <a:lnTo>
                  <a:pt x="1638" y="290"/>
                </a:lnTo>
                <a:lnTo>
                  <a:pt x="1638" y="288"/>
                </a:lnTo>
                <a:lnTo>
                  <a:pt x="1639" y="286"/>
                </a:lnTo>
                <a:lnTo>
                  <a:pt x="1642" y="289"/>
                </a:lnTo>
                <a:lnTo>
                  <a:pt x="1646" y="289"/>
                </a:lnTo>
                <a:lnTo>
                  <a:pt x="1647" y="288"/>
                </a:lnTo>
                <a:lnTo>
                  <a:pt x="1647" y="286"/>
                </a:lnTo>
                <a:lnTo>
                  <a:pt x="1649" y="286"/>
                </a:lnTo>
                <a:lnTo>
                  <a:pt x="1648" y="285"/>
                </a:lnTo>
                <a:lnTo>
                  <a:pt x="1650" y="284"/>
                </a:lnTo>
                <a:lnTo>
                  <a:pt x="1655" y="284"/>
                </a:lnTo>
                <a:lnTo>
                  <a:pt x="1658" y="286"/>
                </a:lnTo>
                <a:lnTo>
                  <a:pt x="1660" y="286"/>
                </a:lnTo>
                <a:lnTo>
                  <a:pt x="1662" y="285"/>
                </a:lnTo>
                <a:lnTo>
                  <a:pt x="1661" y="284"/>
                </a:lnTo>
                <a:lnTo>
                  <a:pt x="1666" y="284"/>
                </a:lnTo>
                <a:lnTo>
                  <a:pt x="1668" y="285"/>
                </a:lnTo>
                <a:lnTo>
                  <a:pt x="1668" y="284"/>
                </a:lnTo>
                <a:lnTo>
                  <a:pt x="1670" y="284"/>
                </a:lnTo>
                <a:lnTo>
                  <a:pt x="1669" y="283"/>
                </a:lnTo>
                <a:lnTo>
                  <a:pt x="1667" y="282"/>
                </a:lnTo>
                <a:lnTo>
                  <a:pt x="1663" y="280"/>
                </a:lnTo>
                <a:lnTo>
                  <a:pt x="1657" y="279"/>
                </a:lnTo>
                <a:lnTo>
                  <a:pt x="1652" y="280"/>
                </a:lnTo>
                <a:lnTo>
                  <a:pt x="1651" y="278"/>
                </a:lnTo>
                <a:lnTo>
                  <a:pt x="1651" y="278"/>
                </a:lnTo>
                <a:lnTo>
                  <a:pt x="1646" y="273"/>
                </a:lnTo>
                <a:lnTo>
                  <a:pt x="1646" y="273"/>
                </a:lnTo>
                <a:lnTo>
                  <a:pt x="1648" y="273"/>
                </a:lnTo>
                <a:lnTo>
                  <a:pt x="1648" y="273"/>
                </a:lnTo>
                <a:lnTo>
                  <a:pt x="1647" y="269"/>
                </a:lnTo>
                <a:lnTo>
                  <a:pt x="1646" y="268"/>
                </a:lnTo>
                <a:lnTo>
                  <a:pt x="1645" y="265"/>
                </a:lnTo>
                <a:lnTo>
                  <a:pt x="1646" y="264"/>
                </a:lnTo>
                <a:lnTo>
                  <a:pt x="1648" y="263"/>
                </a:lnTo>
                <a:lnTo>
                  <a:pt x="1650" y="258"/>
                </a:lnTo>
                <a:lnTo>
                  <a:pt x="1649" y="257"/>
                </a:lnTo>
                <a:lnTo>
                  <a:pt x="1648" y="255"/>
                </a:lnTo>
                <a:lnTo>
                  <a:pt x="1649" y="251"/>
                </a:lnTo>
                <a:lnTo>
                  <a:pt x="1650" y="250"/>
                </a:lnTo>
                <a:lnTo>
                  <a:pt x="1647" y="247"/>
                </a:lnTo>
                <a:lnTo>
                  <a:pt x="1648" y="245"/>
                </a:lnTo>
                <a:lnTo>
                  <a:pt x="1649" y="243"/>
                </a:lnTo>
                <a:lnTo>
                  <a:pt x="1650" y="242"/>
                </a:lnTo>
                <a:lnTo>
                  <a:pt x="1651" y="241"/>
                </a:lnTo>
                <a:lnTo>
                  <a:pt x="1658" y="241"/>
                </a:lnTo>
                <a:lnTo>
                  <a:pt x="1666" y="240"/>
                </a:lnTo>
                <a:lnTo>
                  <a:pt x="1667" y="240"/>
                </a:lnTo>
                <a:lnTo>
                  <a:pt x="1667" y="239"/>
                </a:lnTo>
                <a:lnTo>
                  <a:pt x="1668" y="239"/>
                </a:lnTo>
                <a:lnTo>
                  <a:pt x="1672" y="240"/>
                </a:lnTo>
                <a:lnTo>
                  <a:pt x="1676" y="241"/>
                </a:lnTo>
                <a:lnTo>
                  <a:pt x="1678" y="243"/>
                </a:lnTo>
                <a:lnTo>
                  <a:pt x="1681" y="242"/>
                </a:lnTo>
                <a:lnTo>
                  <a:pt x="1681" y="241"/>
                </a:lnTo>
                <a:lnTo>
                  <a:pt x="1683" y="238"/>
                </a:lnTo>
                <a:lnTo>
                  <a:pt x="1689" y="244"/>
                </a:lnTo>
                <a:lnTo>
                  <a:pt x="1689" y="245"/>
                </a:lnTo>
                <a:lnTo>
                  <a:pt x="1689" y="248"/>
                </a:lnTo>
                <a:lnTo>
                  <a:pt x="1689" y="249"/>
                </a:lnTo>
                <a:lnTo>
                  <a:pt x="1692" y="251"/>
                </a:lnTo>
                <a:lnTo>
                  <a:pt x="1695" y="252"/>
                </a:lnTo>
                <a:lnTo>
                  <a:pt x="1696" y="253"/>
                </a:lnTo>
                <a:lnTo>
                  <a:pt x="1696" y="253"/>
                </a:lnTo>
                <a:lnTo>
                  <a:pt x="1696" y="254"/>
                </a:lnTo>
                <a:lnTo>
                  <a:pt x="1698" y="255"/>
                </a:lnTo>
                <a:lnTo>
                  <a:pt x="1700" y="254"/>
                </a:lnTo>
                <a:lnTo>
                  <a:pt x="1702" y="253"/>
                </a:lnTo>
                <a:lnTo>
                  <a:pt x="1703" y="258"/>
                </a:lnTo>
                <a:lnTo>
                  <a:pt x="1706" y="260"/>
                </a:lnTo>
                <a:lnTo>
                  <a:pt x="1708" y="261"/>
                </a:lnTo>
                <a:lnTo>
                  <a:pt x="1709" y="261"/>
                </a:lnTo>
                <a:lnTo>
                  <a:pt x="1710" y="259"/>
                </a:lnTo>
                <a:lnTo>
                  <a:pt x="1712" y="259"/>
                </a:lnTo>
                <a:lnTo>
                  <a:pt x="1712" y="252"/>
                </a:lnTo>
                <a:lnTo>
                  <a:pt x="1713" y="251"/>
                </a:lnTo>
                <a:lnTo>
                  <a:pt x="1713" y="249"/>
                </a:lnTo>
                <a:lnTo>
                  <a:pt x="1715" y="248"/>
                </a:lnTo>
                <a:lnTo>
                  <a:pt x="1716" y="244"/>
                </a:lnTo>
                <a:lnTo>
                  <a:pt x="1719" y="244"/>
                </a:lnTo>
                <a:lnTo>
                  <a:pt x="1719" y="243"/>
                </a:lnTo>
                <a:lnTo>
                  <a:pt x="1719" y="242"/>
                </a:lnTo>
                <a:lnTo>
                  <a:pt x="1721" y="243"/>
                </a:lnTo>
                <a:lnTo>
                  <a:pt x="1722" y="244"/>
                </a:lnTo>
                <a:lnTo>
                  <a:pt x="1725" y="245"/>
                </a:lnTo>
                <a:lnTo>
                  <a:pt x="1726" y="245"/>
                </a:lnTo>
                <a:lnTo>
                  <a:pt x="1725" y="242"/>
                </a:lnTo>
                <a:lnTo>
                  <a:pt x="1722" y="242"/>
                </a:lnTo>
                <a:lnTo>
                  <a:pt x="1719" y="241"/>
                </a:lnTo>
                <a:lnTo>
                  <a:pt x="1718" y="239"/>
                </a:lnTo>
                <a:lnTo>
                  <a:pt x="1716" y="237"/>
                </a:lnTo>
                <a:lnTo>
                  <a:pt x="1713" y="235"/>
                </a:lnTo>
                <a:lnTo>
                  <a:pt x="1713" y="233"/>
                </a:lnTo>
                <a:lnTo>
                  <a:pt x="1711" y="232"/>
                </a:lnTo>
                <a:lnTo>
                  <a:pt x="1710" y="230"/>
                </a:lnTo>
                <a:lnTo>
                  <a:pt x="1711" y="229"/>
                </a:lnTo>
                <a:lnTo>
                  <a:pt x="1719" y="227"/>
                </a:lnTo>
                <a:lnTo>
                  <a:pt x="1723" y="227"/>
                </a:lnTo>
                <a:lnTo>
                  <a:pt x="1729" y="229"/>
                </a:lnTo>
                <a:lnTo>
                  <a:pt x="1730" y="231"/>
                </a:lnTo>
                <a:lnTo>
                  <a:pt x="1727" y="230"/>
                </a:lnTo>
                <a:lnTo>
                  <a:pt x="1726" y="232"/>
                </a:lnTo>
                <a:lnTo>
                  <a:pt x="1726" y="234"/>
                </a:lnTo>
                <a:lnTo>
                  <a:pt x="1727" y="237"/>
                </a:lnTo>
                <a:lnTo>
                  <a:pt x="1728" y="238"/>
                </a:lnTo>
                <a:lnTo>
                  <a:pt x="1730" y="239"/>
                </a:lnTo>
                <a:lnTo>
                  <a:pt x="1734" y="243"/>
                </a:lnTo>
                <a:lnTo>
                  <a:pt x="1733" y="244"/>
                </a:lnTo>
                <a:lnTo>
                  <a:pt x="1734" y="245"/>
                </a:lnTo>
                <a:lnTo>
                  <a:pt x="1737" y="247"/>
                </a:lnTo>
                <a:lnTo>
                  <a:pt x="1739" y="248"/>
                </a:lnTo>
                <a:lnTo>
                  <a:pt x="1741" y="250"/>
                </a:lnTo>
                <a:lnTo>
                  <a:pt x="1740" y="251"/>
                </a:lnTo>
                <a:lnTo>
                  <a:pt x="1740" y="251"/>
                </a:lnTo>
                <a:lnTo>
                  <a:pt x="1740" y="252"/>
                </a:lnTo>
                <a:lnTo>
                  <a:pt x="1742" y="254"/>
                </a:lnTo>
                <a:lnTo>
                  <a:pt x="1746" y="255"/>
                </a:lnTo>
                <a:lnTo>
                  <a:pt x="1747" y="255"/>
                </a:lnTo>
                <a:lnTo>
                  <a:pt x="1746" y="258"/>
                </a:lnTo>
                <a:lnTo>
                  <a:pt x="1744" y="258"/>
                </a:lnTo>
                <a:lnTo>
                  <a:pt x="1741" y="258"/>
                </a:lnTo>
                <a:lnTo>
                  <a:pt x="1739" y="259"/>
                </a:lnTo>
                <a:lnTo>
                  <a:pt x="1740" y="261"/>
                </a:lnTo>
                <a:lnTo>
                  <a:pt x="1737" y="261"/>
                </a:lnTo>
                <a:lnTo>
                  <a:pt x="1732" y="263"/>
                </a:lnTo>
                <a:lnTo>
                  <a:pt x="1732" y="263"/>
                </a:lnTo>
                <a:lnTo>
                  <a:pt x="1734" y="265"/>
                </a:lnTo>
                <a:lnTo>
                  <a:pt x="1736" y="268"/>
                </a:lnTo>
                <a:lnTo>
                  <a:pt x="1736" y="269"/>
                </a:lnTo>
                <a:lnTo>
                  <a:pt x="1734" y="271"/>
                </a:lnTo>
                <a:lnTo>
                  <a:pt x="1734" y="276"/>
                </a:lnTo>
                <a:lnTo>
                  <a:pt x="1731" y="279"/>
                </a:lnTo>
                <a:lnTo>
                  <a:pt x="1733" y="281"/>
                </a:lnTo>
                <a:lnTo>
                  <a:pt x="1732" y="282"/>
                </a:lnTo>
                <a:lnTo>
                  <a:pt x="1732" y="286"/>
                </a:lnTo>
                <a:lnTo>
                  <a:pt x="1734" y="289"/>
                </a:lnTo>
                <a:lnTo>
                  <a:pt x="1734" y="293"/>
                </a:lnTo>
                <a:lnTo>
                  <a:pt x="1734" y="295"/>
                </a:lnTo>
                <a:lnTo>
                  <a:pt x="1733" y="298"/>
                </a:lnTo>
                <a:lnTo>
                  <a:pt x="1733" y="300"/>
                </a:lnTo>
                <a:lnTo>
                  <a:pt x="1733" y="303"/>
                </a:lnTo>
                <a:lnTo>
                  <a:pt x="1730" y="304"/>
                </a:lnTo>
                <a:lnTo>
                  <a:pt x="1726" y="304"/>
                </a:lnTo>
                <a:lnTo>
                  <a:pt x="1727" y="306"/>
                </a:lnTo>
                <a:lnTo>
                  <a:pt x="1726" y="308"/>
                </a:lnTo>
                <a:lnTo>
                  <a:pt x="1720" y="308"/>
                </a:lnTo>
                <a:lnTo>
                  <a:pt x="1718" y="308"/>
                </a:lnTo>
                <a:lnTo>
                  <a:pt x="1721" y="310"/>
                </a:lnTo>
                <a:lnTo>
                  <a:pt x="1726" y="312"/>
                </a:lnTo>
                <a:lnTo>
                  <a:pt x="1730" y="320"/>
                </a:lnTo>
                <a:lnTo>
                  <a:pt x="1728" y="321"/>
                </a:lnTo>
                <a:lnTo>
                  <a:pt x="1727" y="323"/>
                </a:lnTo>
                <a:lnTo>
                  <a:pt x="1725" y="324"/>
                </a:lnTo>
                <a:lnTo>
                  <a:pt x="1726" y="326"/>
                </a:lnTo>
                <a:lnTo>
                  <a:pt x="1729" y="330"/>
                </a:lnTo>
                <a:lnTo>
                  <a:pt x="1736" y="339"/>
                </a:lnTo>
                <a:lnTo>
                  <a:pt x="1743" y="348"/>
                </a:lnTo>
                <a:lnTo>
                  <a:pt x="1748" y="352"/>
                </a:lnTo>
                <a:lnTo>
                  <a:pt x="1753" y="356"/>
                </a:lnTo>
                <a:lnTo>
                  <a:pt x="1759" y="361"/>
                </a:lnTo>
                <a:lnTo>
                  <a:pt x="1762" y="364"/>
                </a:lnTo>
                <a:lnTo>
                  <a:pt x="1771" y="371"/>
                </a:lnTo>
                <a:lnTo>
                  <a:pt x="1772" y="372"/>
                </a:lnTo>
                <a:lnTo>
                  <a:pt x="1773" y="373"/>
                </a:lnTo>
                <a:lnTo>
                  <a:pt x="1781" y="380"/>
                </a:lnTo>
                <a:lnTo>
                  <a:pt x="1787" y="383"/>
                </a:lnTo>
                <a:lnTo>
                  <a:pt x="1792" y="389"/>
                </a:lnTo>
                <a:lnTo>
                  <a:pt x="1797" y="393"/>
                </a:lnTo>
                <a:lnTo>
                  <a:pt x="1802" y="397"/>
                </a:lnTo>
                <a:lnTo>
                  <a:pt x="1809" y="402"/>
                </a:lnTo>
                <a:lnTo>
                  <a:pt x="1814" y="406"/>
                </a:lnTo>
                <a:lnTo>
                  <a:pt x="1822" y="415"/>
                </a:lnTo>
                <a:lnTo>
                  <a:pt x="1827" y="419"/>
                </a:lnTo>
                <a:lnTo>
                  <a:pt x="1833" y="423"/>
                </a:lnTo>
                <a:lnTo>
                  <a:pt x="1837" y="426"/>
                </a:lnTo>
                <a:lnTo>
                  <a:pt x="1837" y="423"/>
                </a:lnTo>
                <a:lnTo>
                  <a:pt x="1839" y="421"/>
                </a:lnTo>
                <a:lnTo>
                  <a:pt x="1839" y="419"/>
                </a:lnTo>
                <a:lnTo>
                  <a:pt x="1838" y="415"/>
                </a:lnTo>
                <a:lnTo>
                  <a:pt x="1839" y="414"/>
                </a:lnTo>
                <a:lnTo>
                  <a:pt x="1840" y="409"/>
                </a:lnTo>
                <a:lnTo>
                  <a:pt x="1838" y="403"/>
                </a:lnTo>
                <a:lnTo>
                  <a:pt x="1835" y="401"/>
                </a:lnTo>
                <a:lnTo>
                  <a:pt x="1832" y="397"/>
                </a:lnTo>
                <a:lnTo>
                  <a:pt x="1831" y="396"/>
                </a:lnTo>
                <a:lnTo>
                  <a:pt x="1829" y="393"/>
                </a:lnTo>
                <a:lnTo>
                  <a:pt x="1828" y="392"/>
                </a:lnTo>
                <a:lnTo>
                  <a:pt x="1827" y="391"/>
                </a:lnTo>
                <a:lnTo>
                  <a:pt x="1829" y="391"/>
                </a:lnTo>
                <a:lnTo>
                  <a:pt x="1831" y="392"/>
                </a:lnTo>
                <a:lnTo>
                  <a:pt x="1831" y="390"/>
                </a:lnTo>
                <a:lnTo>
                  <a:pt x="1833" y="387"/>
                </a:lnTo>
                <a:lnTo>
                  <a:pt x="1838" y="385"/>
                </a:lnTo>
                <a:lnTo>
                  <a:pt x="1843" y="387"/>
                </a:lnTo>
                <a:lnTo>
                  <a:pt x="1841" y="385"/>
                </a:lnTo>
                <a:lnTo>
                  <a:pt x="1839" y="384"/>
                </a:lnTo>
                <a:lnTo>
                  <a:pt x="1835" y="382"/>
                </a:lnTo>
                <a:lnTo>
                  <a:pt x="1829" y="375"/>
                </a:lnTo>
                <a:lnTo>
                  <a:pt x="1827" y="372"/>
                </a:lnTo>
                <a:lnTo>
                  <a:pt x="1827" y="370"/>
                </a:lnTo>
                <a:lnTo>
                  <a:pt x="1828" y="365"/>
                </a:lnTo>
                <a:lnTo>
                  <a:pt x="1831" y="363"/>
                </a:lnTo>
                <a:lnTo>
                  <a:pt x="1834" y="362"/>
                </a:lnTo>
                <a:lnTo>
                  <a:pt x="1838" y="364"/>
                </a:lnTo>
                <a:lnTo>
                  <a:pt x="1840" y="364"/>
                </a:lnTo>
                <a:lnTo>
                  <a:pt x="1842" y="363"/>
                </a:lnTo>
                <a:lnTo>
                  <a:pt x="1843" y="361"/>
                </a:lnTo>
                <a:lnTo>
                  <a:pt x="1842" y="359"/>
                </a:lnTo>
                <a:lnTo>
                  <a:pt x="1832" y="354"/>
                </a:lnTo>
                <a:lnTo>
                  <a:pt x="1828" y="351"/>
                </a:lnTo>
                <a:lnTo>
                  <a:pt x="1825" y="349"/>
                </a:lnTo>
                <a:lnTo>
                  <a:pt x="1823" y="346"/>
                </a:lnTo>
                <a:lnTo>
                  <a:pt x="1821" y="343"/>
                </a:lnTo>
                <a:lnTo>
                  <a:pt x="1820" y="341"/>
                </a:lnTo>
                <a:lnTo>
                  <a:pt x="1819" y="339"/>
                </a:lnTo>
                <a:lnTo>
                  <a:pt x="1818" y="336"/>
                </a:lnTo>
                <a:lnTo>
                  <a:pt x="1820" y="335"/>
                </a:lnTo>
                <a:lnTo>
                  <a:pt x="1818" y="333"/>
                </a:lnTo>
                <a:lnTo>
                  <a:pt x="1815" y="333"/>
                </a:lnTo>
                <a:lnTo>
                  <a:pt x="1814" y="332"/>
                </a:lnTo>
                <a:lnTo>
                  <a:pt x="1818" y="331"/>
                </a:lnTo>
                <a:lnTo>
                  <a:pt x="1821" y="330"/>
                </a:lnTo>
                <a:lnTo>
                  <a:pt x="1821" y="329"/>
                </a:lnTo>
                <a:lnTo>
                  <a:pt x="1822" y="330"/>
                </a:lnTo>
                <a:lnTo>
                  <a:pt x="1823" y="332"/>
                </a:lnTo>
                <a:lnTo>
                  <a:pt x="1822" y="333"/>
                </a:lnTo>
                <a:lnTo>
                  <a:pt x="1823" y="334"/>
                </a:lnTo>
                <a:lnTo>
                  <a:pt x="1829" y="338"/>
                </a:lnTo>
                <a:lnTo>
                  <a:pt x="1832" y="339"/>
                </a:lnTo>
                <a:lnTo>
                  <a:pt x="1832" y="339"/>
                </a:lnTo>
                <a:lnTo>
                  <a:pt x="1832" y="335"/>
                </a:lnTo>
                <a:lnTo>
                  <a:pt x="1831" y="333"/>
                </a:lnTo>
                <a:lnTo>
                  <a:pt x="1823" y="328"/>
                </a:lnTo>
                <a:lnTo>
                  <a:pt x="1820" y="326"/>
                </a:lnTo>
                <a:lnTo>
                  <a:pt x="1817" y="326"/>
                </a:lnTo>
                <a:lnTo>
                  <a:pt x="1815" y="325"/>
                </a:lnTo>
                <a:lnTo>
                  <a:pt x="1811" y="322"/>
                </a:lnTo>
                <a:lnTo>
                  <a:pt x="1807" y="319"/>
                </a:lnTo>
                <a:lnTo>
                  <a:pt x="1804" y="316"/>
                </a:lnTo>
                <a:lnTo>
                  <a:pt x="1803" y="314"/>
                </a:lnTo>
                <a:lnTo>
                  <a:pt x="1804" y="313"/>
                </a:lnTo>
                <a:lnTo>
                  <a:pt x="1803" y="310"/>
                </a:lnTo>
                <a:lnTo>
                  <a:pt x="1801" y="308"/>
                </a:lnTo>
                <a:lnTo>
                  <a:pt x="1791" y="305"/>
                </a:lnTo>
                <a:lnTo>
                  <a:pt x="1789" y="305"/>
                </a:lnTo>
                <a:lnTo>
                  <a:pt x="1790" y="308"/>
                </a:lnTo>
                <a:lnTo>
                  <a:pt x="1790" y="309"/>
                </a:lnTo>
                <a:lnTo>
                  <a:pt x="1788" y="309"/>
                </a:lnTo>
                <a:lnTo>
                  <a:pt x="1786" y="308"/>
                </a:lnTo>
                <a:lnTo>
                  <a:pt x="1782" y="305"/>
                </a:lnTo>
                <a:lnTo>
                  <a:pt x="1779" y="302"/>
                </a:lnTo>
                <a:lnTo>
                  <a:pt x="1778" y="301"/>
                </a:lnTo>
                <a:lnTo>
                  <a:pt x="1776" y="298"/>
                </a:lnTo>
                <a:lnTo>
                  <a:pt x="1774" y="295"/>
                </a:lnTo>
                <a:lnTo>
                  <a:pt x="1774" y="292"/>
                </a:lnTo>
                <a:lnTo>
                  <a:pt x="1774" y="290"/>
                </a:lnTo>
                <a:lnTo>
                  <a:pt x="1773" y="288"/>
                </a:lnTo>
                <a:lnTo>
                  <a:pt x="1771" y="286"/>
                </a:lnTo>
                <a:lnTo>
                  <a:pt x="1771" y="285"/>
                </a:lnTo>
                <a:lnTo>
                  <a:pt x="1774" y="285"/>
                </a:lnTo>
                <a:lnTo>
                  <a:pt x="1772" y="284"/>
                </a:lnTo>
                <a:lnTo>
                  <a:pt x="1771" y="283"/>
                </a:lnTo>
                <a:lnTo>
                  <a:pt x="1772" y="283"/>
                </a:lnTo>
                <a:lnTo>
                  <a:pt x="1772" y="282"/>
                </a:lnTo>
                <a:lnTo>
                  <a:pt x="1769" y="280"/>
                </a:lnTo>
                <a:lnTo>
                  <a:pt x="1767" y="278"/>
                </a:lnTo>
                <a:lnTo>
                  <a:pt x="1766" y="275"/>
                </a:lnTo>
                <a:lnTo>
                  <a:pt x="1764" y="274"/>
                </a:lnTo>
                <a:lnTo>
                  <a:pt x="1764" y="273"/>
                </a:lnTo>
                <a:lnTo>
                  <a:pt x="1767" y="272"/>
                </a:lnTo>
                <a:lnTo>
                  <a:pt x="1768" y="271"/>
                </a:lnTo>
                <a:lnTo>
                  <a:pt x="1770" y="272"/>
                </a:lnTo>
                <a:lnTo>
                  <a:pt x="1773" y="273"/>
                </a:lnTo>
                <a:lnTo>
                  <a:pt x="1772" y="271"/>
                </a:lnTo>
                <a:lnTo>
                  <a:pt x="1774" y="270"/>
                </a:lnTo>
                <a:lnTo>
                  <a:pt x="1778" y="271"/>
                </a:lnTo>
                <a:lnTo>
                  <a:pt x="1781" y="273"/>
                </a:lnTo>
                <a:lnTo>
                  <a:pt x="1784" y="274"/>
                </a:lnTo>
                <a:lnTo>
                  <a:pt x="1782" y="271"/>
                </a:lnTo>
                <a:lnTo>
                  <a:pt x="1780" y="270"/>
                </a:lnTo>
                <a:lnTo>
                  <a:pt x="1780" y="268"/>
                </a:lnTo>
                <a:lnTo>
                  <a:pt x="1781" y="267"/>
                </a:lnTo>
                <a:lnTo>
                  <a:pt x="1784" y="265"/>
                </a:lnTo>
                <a:lnTo>
                  <a:pt x="1784" y="265"/>
                </a:lnTo>
                <a:lnTo>
                  <a:pt x="1784" y="263"/>
                </a:lnTo>
                <a:lnTo>
                  <a:pt x="1784" y="262"/>
                </a:lnTo>
                <a:lnTo>
                  <a:pt x="1787" y="262"/>
                </a:lnTo>
                <a:lnTo>
                  <a:pt x="1789" y="263"/>
                </a:lnTo>
                <a:lnTo>
                  <a:pt x="1789" y="264"/>
                </a:lnTo>
                <a:lnTo>
                  <a:pt x="1793" y="268"/>
                </a:lnTo>
                <a:lnTo>
                  <a:pt x="1794" y="270"/>
                </a:lnTo>
                <a:lnTo>
                  <a:pt x="1797" y="271"/>
                </a:lnTo>
                <a:lnTo>
                  <a:pt x="1797" y="272"/>
                </a:lnTo>
                <a:lnTo>
                  <a:pt x="1798" y="273"/>
                </a:lnTo>
                <a:lnTo>
                  <a:pt x="1799" y="273"/>
                </a:lnTo>
                <a:lnTo>
                  <a:pt x="1799" y="274"/>
                </a:lnTo>
                <a:lnTo>
                  <a:pt x="1799" y="271"/>
                </a:lnTo>
                <a:lnTo>
                  <a:pt x="1800" y="267"/>
                </a:lnTo>
                <a:lnTo>
                  <a:pt x="1800" y="265"/>
                </a:lnTo>
                <a:lnTo>
                  <a:pt x="1798" y="264"/>
                </a:lnTo>
                <a:lnTo>
                  <a:pt x="1798" y="264"/>
                </a:lnTo>
                <a:lnTo>
                  <a:pt x="1801" y="265"/>
                </a:lnTo>
                <a:lnTo>
                  <a:pt x="1801" y="264"/>
                </a:lnTo>
                <a:lnTo>
                  <a:pt x="1803" y="263"/>
                </a:lnTo>
                <a:lnTo>
                  <a:pt x="1806" y="262"/>
                </a:lnTo>
                <a:lnTo>
                  <a:pt x="1808" y="261"/>
                </a:lnTo>
                <a:lnTo>
                  <a:pt x="1808" y="260"/>
                </a:lnTo>
                <a:lnTo>
                  <a:pt x="1810" y="261"/>
                </a:lnTo>
                <a:lnTo>
                  <a:pt x="1811" y="261"/>
                </a:lnTo>
                <a:lnTo>
                  <a:pt x="1819" y="261"/>
                </a:lnTo>
                <a:lnTo>
                  <a:pt x="1822" y="261"/>
                </a:lnTo>
                <a:lnTo>
                  <a:pt x="1827" y="262"/>
                </a:lnTo>
                <a:lnTo>
                  <a:pt x="1831" y="264"/>
                </a:lnTo>
                <a:lnTo>
                  <a:pt x="1834" y="265"/>
                </a:lnTo>
                <a:lnTo>
                  <a:pt x="1845" y="270"/>
                </a:lnTo>
                <a:lnTo>
                  <a:pt x="1847" y="271"/>
                </a:lnTo>
                <a:lnTo>
                  <a:pt x="1850" y="271"/>
                </a:lnTo>
                <a:lnTo>
                  <a:pt x="1850" y="271"/>
                </a:lnTo>
                <a:lnTo>
                  <a:pt x="1847" y="269"/>
                </a:lnTo>
                <a:lnTo>
                  <a:pt x="1844" y="264"/>
                </a:lnTo>
                <a:lnTo>
                  <a:pt x="1843" y="264"/>
                </a:lnTo>
                <a:lnTo>
                  <a:pt x="1842" y="263"/>
                </a:lnTo>
                <a:lnTo>
                  <a:pt x="1843" y="263"/>
                </a:lnTo>
                <a:lnTo>
                  <a:pt x="1844" y="262"/>
                </a:lnTo>
                <a:lnTo>
                  <a:pt x="1847" y="261"/>
                </a:lnTo>
                <a:lnTo>
                  <a:pt x="1845" y="260"/>
                </a:lnTo>
                <a:lnTo>
                  <a:pt x="1848" y="261"/>
                </a:lnTo>
                <a:lnTo>
                  <a:pt x="1849" y="261"/>
                </a:lnTo>
                <a:lnTo>
                  <a:pt x="1849" y="259"/>
                </a:lnTo>
                <a:lnTo>
                  <a:pt x="1850" y="258"/>
                </a:lnTo>
                <a:lnTo>
                  <a:pt x="1849" y="258"/>
                </a:lnTo>
                <a:lnTo>
                  <a:pt x="1849" y="257"/>
                </a:lnTo>
                <a:lnTo>
                  <a:pt x="1851" y="257"/>
                </a:lnTo>
                <a:lnTo>
                  <a:pt x="1851" y="255"/>
                </a:lnTo>
                <a:lnTo>
                  <a:pt x="1852" y="255"/>
                </a:lnTo>
                <a:lnTo>
                  <a:pt x="1852" y="254"/>
                </a:lnTo>
                <a:lnTo>
                  <a:pt x="1851" y="254"/>
                </a:lnTo>
                <a:lnTo>
                  <a:pt x="1849" y="253"/>
                </a:lnTo>
                <a:lnTo>
                  <a:pt x="1848" y="252"/>
                </a:lnTo>
                <a:lnTo>
                  <a:pt x="1851" y="253"/>
                </a:lnTo>
                <a:lnTo>
                  <a:pt x="1853" y="254"/>
                </a:lnTo>
                <a:lnTo>
                  <a:pt x="1853" y="253"/>
                </a:lnTo>
                <a:lnTo>
                  <a:pt x="1851" y="252"/>
                </a:lnTo>
                <a:lnTo>
                  <a:pt x="1850" y="251"/>
                </a:lnTo>
                <a:lnTo>
                  <a:pt x="1852" y="251"/>
                </a:lnTo>
                <a:lnTo>
                  <a:pt x="1853" y="250"/>
                </a:lnTo>
                <a:lnTo>
                  <a:pt x="1854" y="250"/>
                </a:lnTo>
                <a:lnTo>
                  <a:pt x="1853" y="249"/>
                </a:lnTo>
                <a:lnTo>
                  <a:pt x="1851" y="248"/>
                </a:lnTo>
                <a:lnTo>
                  <a:pt x="1851" y="247"/>
                </a:lnTo>
                <a:lnTo>
                  <a:pt x="1853" y="248"/>
                </a:lnTo>
                <a:lnTo>
                  <a:pt x="1854" y="248"/>
                </a:lnTo>
                <a:lnTo>
                  <a:pt x="1855" y="248"/>
                </a:lnTo>
                <a:lnTo>
                  <a:pt x="1855" y="247"/>
                </a:lnTo>
                <a:lnTo>
                  <a:pt x="1854" y="245"/>
                </a:lnTo>
                <a:lnTo>
                  <a:pt x="1855" y="245"/>
                </a:lnTo>
                <a:lnTo>
                  <a:pt x="1854" y="244"/>
                </a:lnTo>
                <a:lnTo>
                  <a:pt x="1853" y="243"/>
                </a:lnTo>
                <a:lnTo>
                  <a:pt x="1852" y="242"/>
                </a:lnTo>
                <a:lnTo>
                  <a:pt x="1853" y="242"/>
                </a:lnTo>
                <a:lnTo>
                  <a:pt x="1857" y="243"/>
                </a:lnTo>
                <a:lnTo>
                  <a:pt x="1858" y="243"/>
                </a:lnTo>
                <a:lnTo>
                  <a:pt x="1859" y="243"/>
                </a:lnTo>
                <a:lnTo>
                  <a:pt x="1859" y="241"/>
                </a:lnTo>
                <a:lnTo>
                  <a:pt x="1864" y="240"/>
                </a:lnTo>
                <a:lnTo>
                  <a:pt x="1864" y="239"/>
                </a:lnTo>
                <a:lnTo>
                  <a:pt x="1867" y="238"/>
                </a:lnTo>
                <a:lnTo>
                  <a:pt x="1865" y="237"/>
                </a:lnTo>
                <a:lnTo>
                  <a:pt x="1864" y="237"/>
                </a:lnTo>
                <a:lnTo>
                  <a:pt x="1863" y="235"/>
                </a:lnTo>
                <a:lnTo>
                  <a:pt x="1865" y="234"/>
                </a:lnTo>
                <a:lnTo>
                  <a:pt x="1865" y="235"/>
                </a:lnTo>
                <a:lnTo>
                  <a:pt x="1867" y="237"/>
                </a:lnTo>
                <a:lnTo>
                  <a:pt x="1867" y="237"/>
                </a:lnTo>
                <a:lnTo>
                  <a:pt x="1870" y="234"/>
                </a:lnTo>
                <a:lnTo>
                  <a:pt x="1872" y="234"/>
                </a:lnTo>
                <a:lnTo>
                  <a:pt x="1873" y="233"/>
                </a:lnTo>
                <a:lnTo>
                  <a:pt x="1877" y="230"/>
                </a:lnTo>
                <a:lnTo>
                  <a:pt x="1881" y="229"/>
                </a:lnTo>
                <a:lnTo>
                  <a:pt x="1881" y="228"/>
                </a:lnTo>
                <a:lnTo>
                  <a:pt x="1880" y="228"/>
                </a:lnTo>
                <a:lnTo>
                  <a:pt x="1879" y="228"/>
                </a:lnTo>
                <a:lnTo>
                  <a:pt x="1873" y="225"/>
                </a:lnTo>
                <a:lnTo>
                  <a:pt x="1871" y="224"/>
                </a:lnTo>
                <a:lnTo>
                  <a:pt x="1871" y="223"/>
                </a:lnTo>
                <a:lnTo>
                  <a:pt x="1873" y="224"/>
                </a:lnTo>
                <a:lnTo>
                  <a:pt x="1877" y="225"/>
                </a:lnTo>
                <a:lnTo>
                  <a:pt x="1880" y="227"/>
                </a:lnTo>
                <a:lnTo>
                  <a:pt x="1881" y="227"/>
                </a:lnTo>
                <a:lnTo>
                  <a:pt x="1882" y="228"/>
                </a:lnTo>
                <a:lnTo>
                  <a:pt x="1883" y="228"/>
                </a:lnTo>
                <a:lnTo>
                  <a:pt x="1885" y="228"/>
                </a:lnTo>
                <a:lnTo>
                  <a:pt x="1884" y="228"/>
                </a:lnTo>
                <a:lnTo>
                  <a:pt x="1882" y="227"/>
                </a:lnTo>
                <a:lnTo>
                  <a:pt x="1883" y="227"/>
                </a:lnTo>
                <a:lnTo>
                  <a:pt x="1885" y="228"/>
                </a:lnTo>
                <a:lnTo>
                  <a:pt x="1889" y="229"/>
                </a:lnTo>
                <a:lnTo>
                  <a:pt x="1891" y="229"/>
                </a:lnTo>
                <a:lnTo>
                  <a:pt x="1894" y="229"/>
                </a:lnTo>
                <a:lnTo>
                  <a:pt x="1899" y="230"/>
                </a:lnTo>
                <a:lnTo>
                  <a:pt x="1903" y="232"/>
                </a:lnTo>
                <a:lnTo>
                  <a:pt x="1908" y="232"/>
                </a:lnTo>
                <a:lnTo>
                  <a:pt x="1909" y="232"/>
                </a:lnTo>
                <a:lnTo>
                  <a:pt x="1906" y="230"/>
                </a:lnTo>
                <a:lnTo>
                  <a:pt x="1909" y="230"/>
                </a:lnTo>
                <a:lnTo>
                  <a:pt x="1908" y="228"/>
                </a:lnTo>
                <a:lnTo>
                  <a:pt x="1905" y="225"/>
                </a:lnTo>
                <a:lnTo>
                  <a:pt x="1903" y="224"/>
                </a:lnTo>
                <a:lnTo>
                  <a:pt x="1899" y="223"/>
                </a:lnTo>
                <a:lnTo>
                  <a:pt x="1895" y="222"/>
                </a:lnTo>
                <a:lnTo>
                  <a:pt x="1894" y="221"/>
                </a:lnTo>
                <a:lnTo>
                  <a:pt x="1892" y="221"/>
                </a:lnTo>
                <a:lnTo>
                  <a:pt x="1893" y="221"/>
                </a:lnTo>
                <a:lnTo>
                  <a:pt x="1894" y="220"/>
                </a:lnTo>
                <a:lnTo>
                  <a:pt x="1896" y="221"/>
                </a:lnTo>
                <a:lnTo>
                  <a:pt x="1898" y="220"/>
                </a:lnTo>
                <a:lnTo>
                  <a:pt x="1892" y="218"/>
                </a:lnTo>
                <a:lnTo>
                  <a:pt x="1891" y="218"/>
                </a:lnTo>
                <a:lnTo>
                  <a:pt x="1887" y="217"/>
                </a:lnTo>
                <a:lnTo>
                  <a:pt x="1882" y="214"/>
                </a:lnTo>
                <a:lnTo>
                  <a:pt x="1878" y="211"/>
                </a:lnTo>
                <a:lnTo>
                  <a:pt x="1875" y="211"/>
                </a:lnTo>
                <a:lnTo>
                  <a:pt x="1868" y="205"/>
                </a:lnTo>
                <a:lnTo>
                  <a:pt x="1867" y="207"/>
                </a:lnTo>
                <a:lnTo>
                  <a:pt x="1862" y="204"/>
                </a:lnTo>
                <a:lnTo>
                  <a:pt x="1861" y="204"/>
                </a:lnTo>
                <a:lnTo>
                  <a:pt x="1862" y="203"/>
                </a:lnTo>
                <a:lnTo>
                  <a:pt x="1863" y="204"/>
                </a:lnTo>
                <a:lnTo>
                  <a:pt x="1860" y="202"/>
                </a:lnTo>
                <a:lnTo>
                  <a:pt x="1854" y="199"/>
                </a:lnTo>
                <a:lnTo>
                  <a:pt x="1855" y="201"/>
                </a:lnTo>
                <a:lnTo>
                  <a:pt x="1854" y="201"/>
                </a:lnTo>
                <a:lnTo>
                  <a:pt x="1851" y="201"/>
                </a:lnTo>
                <a:lnTo>
                  <a:pt x="1848" y="200"/>
                </a:lnTo>
                <a:lnTo>
                  <a:pt x="1844" y="199"/>
                </a:lnTo>
                <a:lnTo>
                  <a:pt x="1841" y="198"/>
                </a:lnTo>
                <a:lnTo>
                  <a:pt x="1839" y="195"/>
                </a:lnTo>
                <a:lnTo>
                  <a:pt x="1837" y="194"/>
                </a:lnTo>
                <a:lnTo>
                  <a:pt x="1835" y="193"/>
                </a:lnTo>
                <a:lnTo>
                  <a:pt x="1835" y="192"/>
                </a:lnTo>
                <a:lnTo>
                  <a:pt x="1839" y="193"/>
                </a:lnTo>
                <a:lnTo>
                  <a:pt x="1844" y="194"/>
                </a:lnTo>
                <a:lnTo>
                  <a:pt x="1844" y="193"/>
                </a:lnTo>
                <a:lnTo>
                  <a:pt x="1845" y="193"/>
                </a:lnTo>
                <a:lnTo>
                  <a:pt x="1848" y="194"/>
                </a:lnTo>
                <a:lnTo>
                  <a:pt x="1851" y="194"/>
                </a:lnTo>
                <a:lnTo>
                  <a:pt x="1851" y="194"/>
                </a:lnTo>
                <a:lnTo>
                  <a:pt x="1853" y="195"/>
                </a:lnTo>
                <a:lnTo>
                  <a:pt x="1853" y="194"/>
                </a:lnTo>
                <a:lnTo>
                  <a:pt x="1853" y="193"/>
                </a:lnTo>
                <a:lnTo>
                  <a:pt x="1855" y="192"/>
                </a:lnTo>
                <a:lnTo>
                  <a:pt x="1858" y="192"/>
                </a:lnTo>
                <a:lnTo>
                  <a:pt x="1858" y="189"/>
                </a:lnTo>
                <a:lnTo>
                  <a:pt x="1859" y="188"/>
                </a:lnTo>
                <a:lnTo>
                  <a:pt x="1837" y="173"/>
                </a:lnTo>
                <a:lnTo>
                  <a:pt x="1790" y="142"/>
                </a:lnTo>
                <a:lnTo>
                  <a:pt x="1768" y="128"/>
                </a:lnTo>
                <a:lnTo>
                  <a:pt x="1750" y="122"/>
                </a:lnTo>
                <a:lnTo>
                  <a:pt x="1743" y="121"/>
                </a:lnTo>
                <a:lnTo>
                  <a:pt x="1740" y="121"/>
                </a:lnTo>
                <a:lnTo>
                  <a:pt x="1737" y="120"/>
                </a:lnTo>
                <a:lnTo>
                  <a:pt x="1737" y="120"/>
                </a:lnTo>
                <a:lnTo>
                  <a:pt x="1726" y="118"/>
                </a:lnTo>
                <a:lnTo>
                  <a:pt x="1720" y="117"/>
                </a:lnTo>
                <a:lnTo>
                  <a:pt x="1719" y="117"/>
                </a:lnTo>
                <a:lnTo>
                  <a:pt x="1713" y="116"/>
                </a:lnTo>
                <a:lnTo>
                  <a:pt x="1710" y="116"/>
                </a:lnTo>
                <a:lnTo>
                  <a:pt x="1700" y="113"/>
                </a:lnTo>
                <a:lnTo>
                  <a:pt x="1697" y="113"/>
                </a:lnTo>
                <a:lnTo>
                  <a:pt x="1686" y="113"/>
                </a:lnTo>
                <a:lnTo>
                  <a:pt x="1686" y="113"/>
                </a:lnTo>
                <a:lnTo>
                  <a:pt x="1683" y="113"/>
                </a:lnTo>
                <a:lnTo>
                  <a:pt x="1680" y="113"/>
                </a:lnTo>
                <a:lnTo>
                  <a:pt x="1677" y="112"/>
                </a:lnTo>
                <a:lnTo>
                  <a:pt x="1673" y="113"/>
                </a:lnTo>
                <a:lnTo>
                  <a:pt x="1669" y="112"/>
                </a:lnTo>
                <a:lnTo>
                  <a:pt x="1667" y="113"/>
                </a:lnTo>
                <a:lnTo>
                  <a:pt x="1663" y="113"/>
                </a:lnTo>
                <a:lnTo>
                  <a:pt x="1656" y="111"/>
                </a:lnTo>
                <a:lnTo>
                  <a:pt x="1655" y="112"/>
                </a:lnTo>
                <a:lnTo>
                  <a:pt x="1638" y="110"/>
                </a:lnTo>
                <a:lnTo>
                  <a:pt x="1632" y="110"/>
                </a:lnTo>
                <a:lnTo>
                  <a:pt x="1631" y="111"/>
                </a:lnTo>
                <a:lnTo>
                  <a:pt x="1632" y="112"/>
                </a:lnTo>
                <a:lnTo>
                  <a:pt x="1635" y="113"/>
                </a:lnTo>
                <a:lnTo>
                  <a:pt x="1638" y="116"/>
                </a:lnTo>
                <a:lnTo>
                  <a:pt x="1635" y="116"/>
                </a:lnTo>
                <a:lnTo>
                  <a:pt x="1636" y="117"/>
                </a:lnTo>
                <a:lnTo>
                  <a:pt x="1644" y="118"/>
                </a:lnTo>
                <a:lnTo>
                  <a:pt x="1650" y="121"/>
                </a:lnTo>
                <a:lnTo>
                  <a:pt x="1652" y="122"/>
                </a:lnTo>
                <a:lnTo>
                  <a:pt x="1655" y="122"/>
                </a:lnTo>
                <a:lnTo>
                  <a:pt x="1659" y="124"/>
                </a:lnTo>
                <a:lnTo>
                  <a:pt x="1658" y="129"/>
                </a:lnTo>
                <a:lnTo>
                  <a:pt x="1656" y="130"/>
                </a:lnTo>
                <a:lnTo>
                  <a:pt x="1650" y="130"/>
                </a:lnTo>
                <a:lnTo>
                  <a:pt x="1648" y="129"/>
                </a:lnTo>
                <a:lnTo>
                  <a:pt x="1644" y="127"/>
                </a:lnTo>
                <a:lnTo>
                  <a:pt x="1640" y="126"/>
                </a:lnTo>
                <a:lnTo>
                  <a:pt x="1636" y="124"/>
                </a:lnTo>
                <a:lnTo>
                  <a:pt x="1635" y="124"/>
                </a:lnTo>
                <a:lnTo>
                  <a:pt x="1631" y="123"/>
                </a:lnTo>
                <a:lnTo>
                  <a:pt x="1626" y="123"/>
                </a:lnTo>
                <a:lnTo>
                  <a:pt x="1624" y="123"/>
                </a:lnTo>
                <a:lnTo>
                  <a:pt x="1622" y="122"/>
                </a:lnTo>
                <a:lnTo>
                  <a:pt x="1621" y="121"/>
                </a:lnTo>
                <a:lnTo>
                  <a:pt x="1617" y="119"/>
                </a:lnTo>
                <a:lnTo>
                  <a:pt x="1615" y="118"/>
                </a:lnTo>
                <a:lnTo>
                  <a:pt x="1610" y="117"/>
                </a:lnTo>
                <a:lnTo>
                  <a:pt x="1609" y="116"/>
                </a:lnTo>
                <a:lnTo>
                  <a:pt x="1610" y="116"/>
                </a:lnTo>
                <a:lnTo>
                  <a:pt x="1609" y="116"/>
                </a:lnTo>
                <a:lnTo>
                  <a:pt x="1606" y="114"/>
                </a:lnTo>
                <a:lnTo>
                  <a:pt x="1605" y="114"/>
                </a:lnTo>
                <a:lnTo>
                  <a:pt x="1604" y="116"/>
                </a:lnTo>
                <a:lnTo>
                  <a:pt x="1602" y="119"/>
                </a:lnTo>
                <a:lnTo>
                  <a:pt x="1601" y="119"/>
                </a:lnTo>
                <a:lnTo>
                  <a:pt x="1599" y="119"/>
                </a:lnTo>
                <a:lnTo>
                  <a:pt x="1595" y="119"/>
                </a:lnTo>
                <a:lnTo>
                  <a:pt x="1588" y="118"/>
                </a:lnTo>
                <a:lnTo>
                  <a:pt x="1581" y="117"/>
                </a:lnTo>
                <a:lnTo>
                  <a:pt x="1579" y="118"/>
                </a:lnTo>
                <a:lnTo>
                  <a:pt x="1579" y="118"/>
                </a:lnTo>
                <a:lnTo>
                  <a:pt x="1578" y="118"/>
                </a:lnTo>
                <a:lnTo>
                  <a:pt x="1574" y="118"/>
                </a:lnTo>
                <a:lnTo>
                  <a:pt x="1569" y="117"/>
                </a:lnTo>
                <a:lnTo>
                  <a:pt x="1563" y="114"/>
                </a:lnTo>
                <a:lnTo>
                  <a:pt x="1560" y="116"/>
                </a:lnTo>
                <a:lnTo>
                  <a:pt x="1553" y="116"/>
                </a:lnTo>
                <a:lnTo>
                  <a:pt x="1550" y="116"/>
                </a:lnTo>
                <a:lnTo>
                  <a:pt x="1547" y="116"/>
                </a:lnTo>
                <a:lnTo>
                  <a:pt x="1545" y="116"/>
                </a:lnTo>
                <a:lnTo>
                  <a:pt x="1545" y="116"/>
                </a:lnTo>
                <a:lnTo>
                  <a:pt x="1545" y="117"/>
                </a:lnTo>
                <a:lnTo>
                  <a:pt x="1544" y="117"/>
                </a:lnTo>
                <a:lnTo>
                  <a:pt x="1545" y="118"/>
                </a:lnTo>
                <a:lnTo>
                  <a:pt x="1541" y="118"/>
                </a:lnTo>
                <a:lnTo>
                  <a:pt x="1541" y="120"/>
                </a:lnTo>
                <a:lnTo>
                  <a:pt x="1541" y="121"/>
                </a:lnTo>
                <a:lnTo>
                  <a:pt x="1539" y="120"/>
                </a:lnTo>
                <a:lnTo>
                  <a:pt x="1537" y="119"/>
                </a:lnTo>
                <a:lnTo>
                  <a:pt x="1535" y="118"/>
                </a:lnTo>
                <a:lnTo>
                  <a:pt x="1534" y="118"/>
                </a:lnTo>
                <a:lnTo>
                  <a:pt x="1533" y="118"/>
                </a:lnTo>
                <a:lnTo>
                  <a:pt x="1529" y="117"/>
                </a:lnTo>
                <a:lnTo>
                  <a:pt x="1526" y="116"/>
                </a:lnTo>
                <a:lnTo>
                  <a:pt x="1523" y="116"/>
                </a:lnTo>
                <a:lnTo>
                  <a:pt x="1520" y="116"/>
                </a:lnTo>
                <a:lnTo>
                  <a:pt x="1518" y="116"/>
                </a:lnTo>
                <a:lnTo>
                  <a:pt x="1516" y="114"/>
                </a:lnTo>
                <a:lnTo>
                  <a:pt x="1511" y="114"/>
                </a:lnTo>
                <a:lnTo>
                  <a:pt x="1510" y="113"/>
                </a:lnTo>
                <a:lnTo>
                  <a:pt x="1506" y="108"/>
                </a:lnTo>
                <a:lnTo>
                  <a:pt x="1505" y="107"/>
                </a:lnTo>
                <a:lnTo>
                  <a:pt x="1503" y="106"/>
                </a:lnTo>
                <a:lnTo>
                  <a:pt x="1501" y="104"/>
                </a:lnTo>
                <a:lnTo>
                  <a:pt x="1497" y="103"/>
                </a:lnTo>
                <a:lnTo>
                  <a:pt x="1496" y="102"/>
                </a:lnTo>
                <a:lnTo>
                  <a:pt x="1493" y="101"/>
                </a:lnTo>
                <a:lnTo>
                  <a:pt x="1489" y="100"/>
                </a:lnTo>
                <a:lnTo>
                  <a:pt x="1487" y="100"/>
                </a:lnTo>
                <a:lnTo>
                  <a:pt x="1483" y="98"/>
                </a:lnTo>
                <a:lnTo>
                  <a:pt x="1480" y="98"/>
                </a:lnTo>
                <a:lnTo>
                  <a:pt x="1477" y="97"/>
                </a:lnTo>
                <a:lnTo>
                  <a:pt x="1474" y="97"/>
                </a:lnTo>
                <a:lnTo>
                  <a:pt x="1465" y="96"/>
                </a:lnTo>
                <a:lnTo>
                  <a:pt x="1462" y="96"/>
                </a:lnTo>
                <a:lnTo>
                  <a:pt x="1456" y="96"/>
                </a:lnTo>
                <a:lnTo>
                  <a:pt x="1452" y="96"/>
                </a:lnTo>
                <a:lnTo>
                  <a:pt x="1446" y="96"/>
                </a:lnTo>
                <a:lnTo>
                  <a:pt x="1444" y="96"/>
                </a:lnTo>
                <a:lnTo>
                  <a:pt x="1444" y="97"/>
                </a:lnTo>
                <a:lnTo>
                  <a:pt x="1438" y="97"/>
                </a:lnTo>
                <a:lnTo>
                  <a:pt x="1438" y="97"/>
                </a:lnTo>
                <a:lnTo>
                  <a:pt x="1436" y="97"/>
                </a:lnTo>
                <a:lnTo>
                  <a:pt x="1429" y="97"/>
                </a:lnTo>
                <a:lnTo>
                  <a:pt x="1428" y="97"/>
                </a:lnTo>
                <a:lnTo>
                  <a:pt x="1427" y="97"/>
                </a:lnTo>
                <a:lnTo>
                  <a:pt x="1425" y="98"/>
                </a:lnTo>
                <a:lnTo>
                  <a:pt x="1423" y="97"/>
                </a:lnTo>
                <a:lnTo>
                  <a:pt x="1418" y="97"/>
                </a:lnTo>
                <a:lnTo>
                  <a:pt x="1417" y="98"/>
                </a:lnTo>
                <a:lnTo>
                  <a:pt x="1415" y="98"/>
                </a:lnTo>
                <a:lnTo>
                  <a:pt x="1412" y="99"/>
                </a:lnTo>
                <a:lnTo>
                  <a:pt x="1409" y="98"/>
                </a:lnTo>
                <a:lnTo>
                  <a:pt x="1408" y="99"/>
                </a:lnTo>
                <a:lnTo>
                  <a:pt x="1406" y="98"/>
                </a:lnTo>
                <a:lnTo>
                  <a:pt x="1401" y="97"/>
                </a:lnTo>
                <a:lnTo>
                  <a:pt x="1397" y="97"/>
                </a:lnTo>
                <a:lnTo>
                  <a:pt x="1396" y="97"/>
                </a:lnTo>
                <a:lnTo>
                  <a:pt x="1399" y="96"/>
                </a:lnTo>
                <a:lnTo>
                  <a:pt x="1399" y="94"/>
                </a:lnTo>
                <a:lnTo>
                  <a:pt x="1398" y="93"/>
                </a:lnTo>
                <a:lnTo>
                  <a:pt x="1387" y="91"/>
                </a:lnTo>
                <a:lnTo>
                  <a:pt x="1385" y="90"/>
                </a:lnTo>
                <a:lnTo>
                  <a:pt x="1384" y="89"/>
                </a:lnTo>
                <a:lnTo>
                  <a:pt x="1379" y="90"/>
                </a:lnTo>
                <a:lnTo>
                  <a:pt x="1377" y="90"/>
                </a:lnTo>
                <a:lnTo>
                  <a:pt x="1375" y="90"/>
                </a:lnTo>
                <a:lnTo>
                  <a:pt x="1373" y="89"/>
                </a:lnTo>
                <a:lnTo>
                  <a:pt x="1372" y="89"/>
                </a:lnTo>
                <a:lnTo>
                  <a:pt x="1367" y="88"/>
                </a:lnTo>
                <a:lnTo>
                  <a:pt x="1364" y="87"/>
                </a:lnTo>
                <a:lnTo>
                  <a:pt x="1363" y="87"/>
                </a:lnTo>
                <a:lnTo>
                  <a:pt x="1357" y="86"/>
                </a:lnTo>
                <a:lnTo>
                  <a:pt x="1357" y="87"/>
                </a:lnTo>
                <a:lnTo>
                  <a:pt x="1355" y="87"/>
                </a:lnTo>
                <a:lnTo>
                  <a:pt x="1354" y="86"/>
                </a:lnTo>
                <a:lnTo>
                  <a:pt x="1349" y="86"/>
                </a:lnTo>
                <a:lnTo>
                  <a:pt x="1349" y="86"/>
                </a:lnTo>
                <a:lnTo>
                  <a:pt x="1348" y="86"/>
                </a:lnTo>
                <a:lnTo>
                  <a:pt x="1348" y="82"/>
                </a:lnTo>
                <a:lnTo>
                  <a:pt x="1349" y="82"/>
                </a:lnTo>
                <a:lnTo>
                  <a:pt x="1353" y="83"/>
                </a:lnTo>
                <a:lnTo>
                  <a:pt x="1355" y="84"/>
                </a:lnTo>
                <a:lnTo>
                  <a:pt x="1357" y="83"/>
                </a:lnTo>
                <a:lnTo>
                  <a:pt x="1356" y="82"/>
                </a:lnTo>
                <a:lnTo>
                  <a:pt x="1355" y="81"/>
                </a:lnTo>
                <a:lnTo>
                  <a:pt x="1347" y="79"/>
                </a:lnTo>
                <a:lnTo>
                  <a:pt x="1342" y="78"/>
                </a:lnTo>
                <a:lnTo>
                  <a:pt x="1339" y="77"/>
                </a:lnTo>
                <a:lnTo>
                  <a:pt x="1335" y="77"/>
                </a:lnTo>
                <a:lnTo>
                  <a:pt x="1334" y="77"/>
                </a:lnTo>
                <a:lnTo>
                  <a:pt x="1328" y="76"/>
                </a:lnTo>
                <a:lnTo>
                  <a:pt x="1325" y="76"/>
                </a:lnTo>
                <a:lnTo>
                  <a:pt x="1325" y="76"/>
                </a:lnTo>
                <a:lnTo>
                  <a:pt x="1324" y="76"/>
                </a:lnTo>
                <a:lnTo>
                  <a:pt x="1322" y="76"/>
                </a:lnTo>
                <a:lnTo>
                  <a:pt x="1316" y="76"/>
                </a:lnTo>
                <a:lnTo>
                  <a:pt x="1314" y="76"/>
                </a:lnTo>
                <a:lnTo>
                  <a:pt x="1308" y="76"/>
                </a:lnTo>
                <a:lnTo>
                  <a:pt x="1305" y="74"/>
                </a:lnTo>
                <a:lnTo>
                  <a:pt x="1302" y="74"/>
                </a:lnTo>
                <a:lnTo>
                  <a:pt x="1294" y="73"/>
                </a:lnTo>
                <a:lnTo>
                  <a:pt x="1293" y="73"/>
                </a:lnTo>
                <a:lnTo>
                  <a:pt x="1285" y="72"/>
                </a:lnTo>
                <a:lnTo>
                  <a:pt x="1278" y="71"/>
                </a:lnTo>
                <a:lnTo>
                  <a:pt x="1270" y="71"/>
                </a:lnTo>
                <a:lnTo>
                  <a:pt x="1266" y="71"/>
                </a:lnTo>
                <a:lnTo>
                  <a:pt x="1257" y="71"/>
                </a:lnTo>
                <a:lnTo>
                  <a:pt x="1245" y="70"/>
                </a:lnTo>
                <a:lnTo>
                  <a:pt x="1243" y="70"/>
                </a:lnTo>
                <a:lnTo>
                  <a:pt x="1241" y="69"/>
                </a:lnTo>
                <a:lnTo>
                  <a:pt x="1239" y="69"/>
                </a:lnTo>
                <a:lnTo>
                  <a:pt x="1236" y="69"/>
                </a:lnTo>
                <a:lnTo>
                  <a:pt x="1235" y="69"/>
                </a:lnTo>
                <a:lnTo>
                  <a:pt x="1234" y="70"/>
                </a:lnTo>
                <a:lnTo>
                  <a:pt x="1235" y="70"/>
                </a:lnTo>
                <a:lnTo>
                  <a:pt x="1237" y="71"/>
                </a:lnTo>
                <a:lnTo>
                  <a:pt x="1239" y="71"/>
                </a:lnTo>
                <a:lnTo>
                  <a:pt x="1242" y="72"/>
                </a:lnTo>
                <a:lnTo>
                  <a:pt x="1241" y="72"/>
                </a:lnTo>
                <a:lnTo>
                  <a:pt x="1240" y="73"/>
                </a:lnTo>
                <a:lnTo>
                  <a:pt x="1240" y="74"/>
                </a:lnTo>
                <a:lnTo>
                  <a:pt x="1242" y="77"/>
                </a:lnTo>
                <a:lnTo>
                  <a:pt x="1242" y="78"/>
                </a:lnTo>
                <a:lnTo>
                  <a:pt x="1241" y="78"/>
                </a:lnTo>
                <a:lnTo>
                  <a:pt x="1239" y="79"/>
                </a:lnTo>
                <a:lnTo>
                  <a:pt x="1237" y="80"/>
                </a:lnTo>
                <a:lnTo>
                  <a:pt x="1237" y="81"/>
                </a:lnTo>
                <a:lnTo>
                  <a:pt x="1239" y="81"/>
                </a:lnTo>
                <a:lnTo>
                  <a:pt x="1241" y="82"/>
                </a:lnTo>
                <a:lnTo>
                  <a:pt x="1242" y="83"/>
                </a:lnTo>
                <a:lnTo>
                  <a:pt x="1241" y="83"/>
                </a:lnTo>
                <a:lnTo>
                  <a:pt x="1243" y="84"/>
                </a:lnTo>
                <a:lnTo>
                  <a:pt x="1245" y="86"/>
                </a:lnTo>
                <a:lnTo>
                  <a:pt x="1248" y="87"/>
                </a:lnTo>
                <a:lnTo>
                  <a:pt x="1250" y="88"/>
                </a:lnTo>
                <a:lnTo>
                  <a:pt x="1252" y="89"/>
                </a:lnTo>
                <a:lnTo>
                  <a:pt x="1252" y="89"/>
                </a:lnTo>
                <a:lnTo>
                  <a:pt x="1250" y="89"/>
                </a:lnTo>
                <a:lnTo>
                  <a:pt x="1244" y="88"/>
                </a:lnTo>
                <a:lnTo>
                  <a:pt x="1245" y="90"/>
                </a:lnTo>
                <a:lnTo>
                  <a:pt x="1242" y="89"/>
                </a:lnTo>
                <a:lnTo>
                  <a:pt x="1242" y="90"/>
                </a:lnTo>
                <a:lnTo>
                  <a:pt x="1241" y="90"/>
                </a:lnTo>
                <a:lnTo>
                  <a:pt x="1239" y="91"/>
                </a:lnTo>
                <a:lnTo>
                  <a:pt x="1239" y="91"/>
                </a:lnTo>
                <a:lnTo>
                  <a:pt x="1237" y="92"/>
                </a:lnTo>
                <a:lnTo>
                  <a:pt x="1237" y="93"/>
                </a:lnTo>
                <a:lnTo>
                  <a:pt x="1235" y="93"/>
                </a:lnTo>
                <a:lnTo>
                  <a:pt x="1235" y="93"/>
                </a:lnTo>
                <a:lnTo>
                  <a:pt x="1233" y="93"/>
                </a:lnTo>
                <a:lnTo>
                  <a:pt x="1231" y="93"/>
                </a:lnTo>
                <a:lnTo>
                  <a:pt x="1230" y="92"/>
                </a:lnTo>
                <a:lnTo>
                  <a:pt x="1229" y="91"/>
                </a:lnTo>
                <a:lnTo>
                  <a:pt x="1226" y="91"/>
                </a:lnTo>
                <a:lnTo>
                  <a:pt x="1224" y="90"/>
                </a:lnTo>
                <a:lnTo>
                  <a:pt x="1222" y="90"/>
                </a:lnTo>
                <a:lnTo>
                  <a:pt x="1220" y="90"/>
                </a:lnTo>
                <a:lnTo>
                  <a:pt x="1212" y="88"/>
                </a:lnTo>
                <a:lnTo>
                  <a:pt x="1210" y="88"/>
                </a:lnTo>
                <a:lnTo>
                  <a:pt x="1205" y="88"/>
                </a:lnTo>
                <a:lnTo>
                  <a:pt x="1203" y="87"/>
                </a:lnTo>
                <a:lnTo>
                  <a:pt x="1202" y="87"/>
                </a:lnTo>
                <a:lnTo>
                  <a:pt x="1199" y="87"/>
                </a:lnTo>
                <a:lnTo>
                  <a:pt x="1192" y="87"/>
                </a:lnTo>
                <a:lnTo>
                  <a:pt x="1192" y="88"/>
                </a:lnTo>
                <a:lnTo>
                  <a:pt x="1193" y="89"/>
                </a:lnTo>
                <a:lnTo>
                  <a:pt x="1195" y="90"/>
                </a:lnTo>
                <a:lnTo>
                  <a:pt x="1195" y="91"/>
                </a:lnTo>
                <a:lnTo>
                  <a:pt x="1192" y="90"/>
                </a:lnTo>
                <a:lnTo>
                  <a:pt x="1191" y="90"/>
                </a:lnTo>
                <a:lnTo>
                  <a:pt x="1185" y="90"/>
                </a:lnTo>
                <a:lnTo>
                  <a:pt x="1183" y="90"/>
                </a:lnTo>
                <a:lnTo>
                  <a:pt x="1181" y="90"/>
                </a:lnTo>
                <a:lnTo>
                  <a:pt x="1176" y="88"/>
                </a:lnTo>
                <a:lnTo>
                  <a:pt x="1173" y="88"/>
                </a:lnTo>
                <a:lnTo>
                  <a:pt x="1169" y="86"/>
                </a:lnTo>
                <a:lnTo>
                  <a:pt x="1166" y="84"/>
                </a:lnTo>
                <a:lnTo>
                  <a:pt x="1162" y="83"/>
                </a:lnTo>
                <a:lnTo>
                  <a:pt x="1161" y="82"/>
                </a:lnTo>
                <a:lnTo>
                  <a:pt x="1160" y="81"/>
                </a:lnTo>
                <a:lnTo>
                  <a:pt x="1159" y="82"/>
                </a:lnTo>
                <a:lnTo>
                  <a:pt x="1159" y="82"/>
                </a:lnTo>
                <a:lnTo>
                  <a:pt x="1161" y="87"/>
                </a:lnTo>
                <a:lnTo>
                  <a:pt x="1161" y="88"/>
                </a:lnTo>
                <a:lnTo>
                  <a:pt x="1162" y="89"/>
                </a:lnTo>
                <a:lnTo>
                  <a:pt x="1163" y="90"/>
                </a:lnTo>
                <a:lnTo>
                  <a:pt x="1166" y="93"/>
                </a:lnTo>
                <a:lnTo>
                  <a:pt x="1166" y="93"/>
                </a:lnTo>
                <a:lnTo>
                  <a:pt x="1166" y="96"/>
                </a:lnTo>
                <a:lnTo>
                  <a:pt x="1166" y="97"/>
                </a:lnTo>
                <a:lnTo>
                  <a:pt x="1167" y="98"/>
                </a:lnTo>
                <a:lnTo>
                  <a:pt x="1167" y="99"/>
                </a:lnTo>
                <a:lnTo>
                  <a:pt x="1167" y="100"/>
                </a:lnTo>
                <a:lnTo>
                  <a:pt x="1164" y="100"/>
                </a:lnTo>
                <a:lnTo>
                  <a:pt x="1159" y="97"/>
                </a:lnTo>
                <a:lnTo>
                  <a:pt x="1158" y="97"/>
                </a:lnTo>
                <a:lnTo>
                  <a:pt x="1159" y="98"/>
                </a:lnTo>
                <a:lnTo>
                  <a:pt x="1158" y="98"/>
                </a:lnTo>
                <a:lnTo>
                  <a:pt x="1155" y="98"/>
                </a:lnTo>
                <a:lnTo>
                  <a:pt x="1154" y="98"/>
                </a:lnTo>
                <a:lnTo>
                  <a:pt x="1152" y="97"/>
                </a:lnTo>
                <a:lnTo>
                  <a:pt x="1150" y="97"/>
                </a:lnTo>
                <a:lnTo>
                  <a:pt x="1150" y="96"/>
                </a:lnTo>
                <a:lnTo>
                  <a:pt x="1146" y="94"/>
                </a:lnTo>
                <a:lnTo>
                  <a:pt x="1145" y="96"/>
                </a:lnTo>
                <a:lnTo>
                  <a:pt x="1144" y="94"/>
                </a:lnTo>
                <a:lnTo>
                  <a:pt x="1143" y="94"/>
                </a:lnTo>
                <a:lnTo>
                  <a:pt x="1141" y="93"/>
                </a:lnTo>
                <a:lnTo>
                  <a:pt x="1139" y="92"/>
                </a:lnTo>
                <a:lnTo>
                  <a:pt x="1138" y="92"/>
                </a:lnTo>
                <a:lnTo>
                  <a:pt x="1136" y="92"/>
                </a:lnTo>
                <a:lnTo>
                  <a:pt x="1136" y="91"/>
                </a:lnTo>
                <a:lnTo>
                  <a:pt x="1133" y="90"/>
                </a:lnTo>
                <a:lnTo>
                  <a:pt x="1131" y="89"/>
                </a:lnTo>
                <a:lnTo>
                  <a:pt x="1130" y="89"/>
                </a:lnTo>
                <a:lnTo>
                  <a:pt x="1129" y="88"/>
                </a:lnTo>
                <a:lnTo>
                  <a:pt x="1128" y="87"/>
                </a:lnTo>
                <a:lnTo>
                  <a:pt x="1125" y="86"/>
                </a:lnTo>
                <a:lnTo>
                  <a:pt x="1125" y="87"/>
                </a:lnTo>
                <a:lnTo>
                  <a:pt x="1124" y="87"/>
                </a:lnTo>
                <a:lnTo>
                  <a:pt x="1122" y="87"/>
                </a:lnTo>
                <a:lnTo>
                  <a:pt x="1122" y="86"/>
                </a:lnTo>
                <a:lnTo>
                  <a:pt x="1120" y="84"/>
                </a:lnTo>
                <a:lnTo>
                  <a:pt x="1119" y="84"/>
                </a:lnTo>
                <a:lnTo>
                  <a:pt x="1118" y="84"/>
                </a:lnTo>
                <a:lnTo>
                  <a:pt x="1116" y="82"/>
                </a:lnTo>
                <a:lnTo>
                  <a:pt x="1116" y="80"/>
                </a:lnTo>
                <a:lnTo>
                  <a:pt x="1119" y="80"/>
                </a:lnTo>
                <a:lnTo>
                  <a:pt x="1120" y="80"/>
                </a:lnTo>
                <a:lnTo>
                  <a:pt x="1119" y="80"/>
                </a:lnTo>
                <a:lnTo>
                  <a:pt x="1118" y="80"/>
                </a:lnTo>
                <a:lnTo>
                  <a:pt x="1120" y="79"/>
                </a:lnTo>
                <a:lnTo>
                  <a:pt x="1120" y="79"/>
                </a:lnTo>
                <a:lnTo>
                  <a:pt x="1119" y="79"/>
                </a:lnTo>
                <a:lnTo>
                  <a:pt x="1119" y="79"/>
                </a:lnTo>
                <a:lnTo>
                  <a:pt x="1119" y="78"/>
                </a:lnTo>
                <a:lnTo>
                  <a:pt x="1119" y="78"/>
                </a:lnTo>
                <a:lnTo>
                  <a:pt x="1118" y="77"/>
                </a:lnTo>
                <a:lnTo>
                  <a:pt x="1118" y="76"/>
                </a:lnTo>
                <a:lnTo>
                  <a:pt x="1111" y="74"/>
                </a:lnTo>
                <a:lnTo>
                  <a:pt x="1111" y="73"/>
                </a:lnTo>
                <a:lnTo>
                  <a:pt x="1111" y="73"/>
                </a:lnTo>
                <a:lnTo>
                  <a:pt x="1109" y="72"/>
                </a:lnTo>
                <a:lnTo>
                  <a:pt x="1108" y="71"/>
                </a:lnTo>
                <a:lnTo>
                  <a:pt x="1109" y="71"/>
                </a:lnTo>
                <a:lnTo>
                  <a:pt x="1108" y="70"/>
                </a:lnTo>
                <a:lnTo>
                  <a:pt x="1108" y="70"/>
                </a:lnTo>
                <a:lnTo>
                  <a:pt x="1106" y="70"/>
                </a:lnTo>
                <a:lnTo>
                  <a:pt x="1105" y="69"/>
                </a:lnTo>
                <a:lnTo>
                  <a:pt x="1105" y="69"/>
                </a:lnTo>
                <a:lnTo>
                  <a:pt x="1104" y="68"/>
                </a:lnTo>
                <a:lnTo>
                  <a:pt x="1105" y="68"/>
                </a:lnTo>
                <a:lnTo>
                  <a:pt x="1105" y="68"/>
                </a:lnTo>
                <a:lnTo>
                  <a:pt x="1104" y="67"/>
                </a:lnTo>
                <a:lnTo>
                  <a:pt x="1104" y="67"/>
                </a:lnTo>
                <a:lnTo>
                  <a:pt x="1103" y="67"/>
                </a:lnTo>
                <a:lnTo>
                  <a:pt x="1103" y="66"/>
                </a:lnTo>
                <a:lnTo>
                  <a:pt x="1099" y="66"/>
                </a:lnTo>
                <a:lnTo>
                  <a:pt x="1096" y="64"/>
                </a:lnTo>
                <a:lnTo>
                  <a:pt x="1094" y="63"/>
                </a:lnTo>
                <a:lnTo>
                  <a:pt x="1093" y="63"/>
                </a:lnTo>
                <a:lnTo>
                  <a:pt x="1088" y="62"/>
                </a:lnTo>
                <a:lnTo>
                  <a:pt x="1086" y="61"/>
                </a:lnTo>
                <a:lnTo>
                  <a:pt x="1085" y="61"/>
                </a:lnTo>
                <a:lnTo>
                  <a:pt x="1083" y="61"/>
                </a:lnTo>
                <a:lnTo>
                  <a:pt x="1082" y="60"/>
                </a:lnTo>
                <a:lnTo>
                  <a:pt x="1082" y="60"/>
                </a:lnTo>
                <a:lnTo>
                  <a:pt x="1080" y="60"/>
                </a:lnTo>
                <a:lnTo>
                  <a:pt x="1075" y="59"/>
                </a:lnTo>
                <a:lnTo>
                  <a:pt x="1074" y="59"/>
                </a:lnTo>
                <a:lnTo>
                  <a:pt x="1071" y="59"/>
                </a:lnTo>
                <a:lnTo>
                  <a:pt x="1067" y="59"/>
                </a:lnTo>
                <a:lnTo>
                  <a:pt x="1067" y="59"/>
                </a:lnTo>
                <a:lnTo>
                  <a:pt x="1067" y="60"/>
                </a:lnTo>
                <a:lnTo>
                  <a:pt x="1065" y="60"/>
                </a:lnTo>
                <a:lnTo>
                  <a:pt x="1064" y="60"/>
                </a:lnTo>
                <a:lnTo>
                  <a:pt x="1063" y="60"/>
                </a:lnTo>
                <a:lnTo>
                  <a:pt x="1062" y="60"/>
                </a:lnTo>
                <a:lnTo>
                  <a:pt x="1057" y="58"/>
                </a:lnTo>
                <a:lnTo>
                  <a:pt x="1057" y="59"/>
                </a:lnTo>
                <a:lnTo>
                  <a:pt x="1053" y="58"/>
                </a:lnTo>
                <a:lnTo>
                  <a:pt x="1052" y="58"/>
                </a:lnTo>
                <a:lnTo>
                  <a:pt x="1050" y="58"/>
                </a:lnTo>
                <a:lnTo>
                  <a:pt x="1050" y="58"/>
                </a:lnTo>
                <a:lnTo>
                  <a:pt x="1048" y="58"/>
                </a:lnTo>
                <a:lnTo>
                  <a:pt x="1048" y="58"/>
                </a:lnTo>
                <a:lnTo>
                  <a:pt x="1045" y="58"/>
                </a:lnTo>
                <a:lnTo>
                  <a:pt x="1044" y="57"/>
                </a:lnTo>
                <a:lnTo>
                  <a:pt x="1043" y="57"/>
                </a:lnTo>
                <a:lnTo>
                  <a:pt x="1042" y="56"/>
                </a:lnTo>
                <a:lnTo>
                  <a:pt x="1042" y="57"/>
                </a:lnTo>
                <a:lnTo>
                  <a:pt x="1038" y="56"/>
                </a:lnTo>
                <a:lnTo>
                  <a:pt x="1037" y="56"/>
                </a:lnTo>
                <a:lnTo>
                  <a:pt x="1034" y="56"/>
                </a:lnTo>
                <a:lnTo>
                  <a:pt x="1031" y="55"/>
                </a:lnTo>
                <a:lnTo>
                  <a:pt x="1028" y="55"/>
                </a:lnTo>
                <a:lnTo>
                  <a:pt x="1025" y="55"/>
                </a:lnTo>
                <a:lnTo>
                  <a:pt x="1027" y="55"/>
                </a:lnTo>
                <a:lnTo>
                  <a:pt x="1027" y="56"/>
                </a:lnTo>
                <a:lnTo>
                  <a:pt x="1028" y="56"/>
                </a:lnTo>
                <a:lnTo>
                  <a:pt x="1028" y="57"/>
                </a:lnTo>
                <a:lnTo>
                  <a:pt x="1024" y="56"/>
                </a:lnTo>
                <a:lnTo>
                  <a:pt x="1021" y="55"/>
                </a:lnTo>
                <a:lnTo>
                  <a:pt x="1021" y="56"/>
                </a:lnTo>
                <a:lnTo>
                  <a:pt x="1023" y="57"/>
                </a:lnTo>
                <a:lnTo>
                  <a:pt x="1025" y="60"/>
                </a:lnTo>
                <a:lnTo>
                  <a:pt x="1027" y="60"/>
                </a:lnTo>
                <a:lnTo>
                  <a:pt x="1027" y="60"/>
                </a:lnTo>
                <a:lnTo>
                  <a:pt x="1027" y="61"/>
                </a:lnTo>
                <a:lnTo>
                  <a:pt x="1029" y="62"/>
                </a:lnTo>
                <a:lnTo>
                  <a:pt x="1034" y="64"/>
                </a:lnTo>
                <a:lnTo>
                  <a:pt x="1034" y="66"/>
                </a:lnTo>
                <a:lnTo>
                  <a:pt x="1033" y="66"/>
                </a:lnTo>
                <a:lnTo>
                  <a:pt x="1029" y="66"/>
                </a:lnTo>
                <a:lnTo>
                  <a:pt x="1027" y="67"/>
                </a:lnTo>
                <a:lnTo>
                  <a:pt x="1025" y="67"/>
                </a:lnTo>
                <a:lnTo>
                  <a:pt x="1025" y="67"/>
                </a:lnTo>
                <a:lnTo>
                  <a:pt x="1023" y="67"/>
                </a:lnTo>
                <a:lnTo>
                  <a:pt x="1021" y="67"/>
                </a:lnTo>
                <a:lnTo>
                  <a:pt x="1018" y="67"/>
                </a:lnTo>
                <a:lnTo>
                  <a:pt x="1017" y="67"/>
                </a:lnTo>
                <a:lnTo>
                  <a:pt x="1012" y="67"/>
                </a:lnTo>
                <a:lnTo>
                  <a:pt x="1011" y="68"/>
                </a:lnTo>
                <a:lnTo>
                  <a:pt x="1007" y="67"/>
                </a:lnTo>
                <a:lnTo>
                  <a:pt x="1000" y="66"/>
                </a:lnTo>
                <a:lnTo>
                  <a:pt x="998" y="66"/>
                </a:lnTo>
                <a:lnTo>
                  <a:pt x="999" y="67"/>
                </a:lnTo>
                <a:lnTo>
                  <a:pt x="999" y="67"/>
                </a:lnTo>
                <a:lnTo>
                  <a:pt x="991" y="66"/>
                </a:lnTo>
                <a:lnTo>
                  <a:pt x="987" y="64"/>
                </a:lnTo>
                <a:lnTo>
                  <a:pt x="979" y="63"/>
                </a:lnTo>
                <a:lnTo>
                  <a:pt x="978" y="63"/>
                </a:lnTo>
                <a:lnTo>
                  <a:pt x="977" y="62"/>
                </a:lnTo>
                <a:lnTo>
                  <a:pt x="977" y="62"/>
                </a:lnTo>
                <a:lnTo>
                  <a:pt x="976" y="62"/>
                </a:lnTo>
                <a:lnTo>
                  <a:pt x="974" y="61"/>
                </a:lnTo>
                <a:lnTo>
                  <a:pt x="974" y="60"/>
                </a:lnTo>
                <a:lnTo>
                  <a:pt x="974" y="60"/>
                </a:lnTo>
                <a:lnTo>
                  <a:pt x="978" y="60"/>
                </a:lnTo>
                <a:lnTo>
                  <a:pt x="977" y="60"/>
                </a:lnTo>
                <a:lnTo>
                  <a:pt x="978" y="60"/>
                </a:lnTo>
                <a:lnTo>
                  <a:pt x="977" y="59"/>
                </a:lnTo>
                <a:lnTo>
                  <a:pt x="974" y="59"/>
                </a:lnTo>
                <a:lnTo>
                  <a:pt x="970" y="59"/>
                </a:lnTo>
                <a:lnTo>
                  <a:pt x="967" y="58"/>
                </a:lnTo>
                <a:lnTo>
                  <a:pt x="963" y="59"/>
                </a:lnTo>
                <a:lnTo>
                  <a:pt x="958" y="58"/>
                </a:lnTo>
                <a:lnTo>
                  <a:pt x="954" y="58"/>
                </a:lnTo>
                <a:lnTo>
                  <a:pt x="953" y="58"/>
                </a:lnTo>
                <a:lnTo>
                  <a:pt x="950" y="57"/>
                </a:lnTo>
                <a:lnTo>
                  <a:pt x="948" y="57"/>
                </a:lnTo>
                <a:lnTo>
                  <a:pt x="943" y="57"/>
                </a:lnTo>
                <a:lnTo>
                  <a:pt x="939" y="57"/>
                </a:lnTo>
                <a:lnTo>
                  <a:pt x="936" y="57"/>
                </a:lnTo>
                <a:lnTo>
                  <a:pt x="936" y="58"/>
                </a:lnTo>
                <a:lnTo>
                  <a:pt x="932" y="58"/>
                </a:lnTo>
                <a:lnTo>
                  <a:pt x="929" y="58"/>
                </a:lnTo>
                <a:lnTo>
                  <a:pt x="924" y="58"/>
                </a:lnTo>
                <a:lnTo>
                  <a:pt x="919" y="59"/>
                </a:lnTo>
                <a:lnTo>
                  <a:pt x="923" y="61"/>
                </a:lnTo>
                <a:lnTo>
                  <a:pt x="926" y="62"/>
                </a:lnTo>
                <a:lnTo>
                  <a:pt x="924" y="62"/>
                </a:lnTo>
                <a:lnTo>
                  <a:pt x="922" y="63"/>
                </a:lnTo>
                <a:lnTo>
                  <a:pt x="918" y="63"/>
                </a:lnTo>
                <a:lnTo>
                  <a:pt x="918" y="62"/>
                </a:lnTo>
                <a:lnTo>
                  <a:pt x="921" y="62"/>
                </a:lnTo>
                <a:lnTo>
                  <a:pt x="921" y="62"/>
                </a:lnTo>
                <a:lnTo>
                  <a:pt x="918" y="61"/>
                </a:lnTo>
                <a:lnTo>
                  <a:pt x="918" y="61"/>
                </a:lnTo>
                <a:lnTo>
                  <a:pt x="916" y="60"/>
                </a:lnTo>
                <a:lnTo>
                  <a:pt x="916" y="58"/>
                </a:lnTo>
                <a:lnTo>
                  <a:pt x="915" y="57"/>
                </a:lnTo>
                <a:lnTo>
                  <a:pt x="912" y="57"/>
                </a:lnTo>
                <a:lnTo>
                  <a:pt x="910" y="56"/>
                </a:lnTo>
                <a:lnTo>
                  <a:pt x="909" y="55"/>
                </a:lnTo>
                <a:lnTo>
                  <a:pt x="906" y="53"/>
                </a:lnTo>
                <a:lnTo>
                  <a:pt x="901" y="51"/>
                </a:lnTo>
                <a:lnTo>
                  <a:pt x="905" y="53"/>
                </a:lnTo>
                <a:lnTo>
                  <a:pt x="906" y="55"/>
                </a:lnTo>
                <a:lnTo>
                  <a:pt x="906" y="56"/>
                </a:lnTo>
                <a:lnTo>
                  <a:pt x="903" y="57"/>
                </a:lnTo>
                <a:lnTo>
                  <a:pt x="897" y="57"/>
                </a:lnTo>
                <a:lnTo>
                  <a:pt x="895" y="57"/>
                </a:lnTo>
                <a:lnTo>
                  <a:pt x="893" y="56"/>
                </a:lnTo>
                <a:lnTo>
                  <a:pt x="889" y="55"/>
                </a:lnTo>
                <a:lnTo>
                  <a:pt x="887" y="53"/>
                </a:lnTo>
                <a:lnTo>
                  <a:pt x="886" y="53"/>
                </a:lnTo>
                <a:lnTo>
                  <a:pt x="886" y="52"/>
                </a:lnTo>
                <a:lnTo>
                  <a:pt x="887" y="52"/>
                </a:lnTo>
                <a:lnTo>
                  <a:pt x="887" y="51"/>
                </a:lnTo>
                <a:lnTo>
                  <a:pt x="887" y="51"/>
                </a:lnTo>
                <a:lnTo>
                  <a:pt x="882" y="52"/>
                </a:lnTo>
                <a:lnTo>
                  <a:pt x="881" y="52"/>
                </a:lnTo>
                <a:lnTo>
                  <a:pt x="882" y="53"/>
                </a:lnTo>
                <a:lnTo>
                  <a:pt x="881" y="53"/>
                </a:lnTo>
                <a:lnTo>
                  <a:pt x="880" y="52"/>
                </a:lnTo>
                <a:lnTo>
                  <a:pt x="877" y="52"/>
                </a:lnTo>
                <a:lnTo>
                  <a:pt x="875" y="51"/>
                </a:lnTo>
                <a:lnTo>
                  <a:pt x="871" y="52"/>
                </a:lnTo>
                <a:lnTo>
                  <a:pt x="869" y="52"/>
                </a:lnTo>
                <a:lnTo>
                  <a:pt x="870" y="53"/>
                </a:lnTo>
                <a:lnTo>
                  <a:pt x="868" y="55"/>
                </a:lnTo>
                <a:lnTo>
                  <a:pt x="869" y="56"/>
                </a:lnTo>
                <a:lnTo>
                  <a:pt x="871" y="57"/>
                </a:lnTo>
                <a:lnTo>
                  <a:pt x="873" y="58"/>
                </a:lnTo>
                <a:lnTo>
                  <a:pt x="875" y="57"/>
                </a:lnTo>
                <a:lnTo>
                  <a:pt x="873" y="57"/>
                </a:lnTo>
                <a:lnTo>
                  <a:pt x="873" y="57"/>
                </a:lnTo>
                <a:lnTo>
                  <a:pt x="875" y="57"/>
                </a:lnTo>
                <a:lnTo>
                  <a:pt x="879" y="57"/>
                </a:lnTo>
                <a:lnTo>
                  <a:pt x="879" y="56"/>
                </a:lnTo>
                <a:lnTo>
                  <a:pt x="881" y="56"/>
                </a:lnTo>
                <a:lnTo>
                  <a:pt x="881" y="56"/>
                </a:lnTo>
                <a:lnTo>
                  <a:pt x="883" y="56"/>
                </a:lnTo>
                <a:lnTo>
                  <a:pt x="886" y="57"/>
                </a:lnTo>
                <a:lnTo>
                  <a:pt x="881" y="58"/>
                </a:lnTo>
                <a:lnTo>
                  <a:pt x="881" y="59"/>
                </a:lnTo>
                <a:lnTo>
                  <a:pt x="880" y="59"/>
                </a:lnTo>
                <a:lnTo>
                  <a:pt x="877" y="60"/>
                </a:lnTo>
                <a:lnTo>
                  <a:pt x="875" y="60"/>
                </a:lnTo>
                <a:lnTo>
                  <a:pt x="869" y="59"/>
                </a:lnTo>
                <a:lnTo>
                  <a:pt x="873" y="60"/>
                </a:lnTo>
                <a:lnTo>
                  <a:pt x="872" y="60"/>
                </a:lnTo>
                <a:lnTo>
                  <a:pt x="871" y="60"/>
                </a:lnTo>
                <a:lnTo>
                  <a:pt x="872" y="61"/>
                </a:lnTo>
                <a:lnTo>
                  <a:pt x="872" y="61"/>
                </a:lnTo>
                <a:lnTo>
                  <a:pt x="866" y="62"/>
                </a:lnTo>
                <a:lnTo>
                  <a:pt x="863" y="62"/>
                </a:lnTo>
                <a:lnTo>
                  <a:pt x="863" y="62"/>
                </a:lnTo>
                <a:lnTo>
                  <a:pt x="865" y="63"/>
                </a:lnTo>
                <a:lnTo>
                  <a:pt x="861" y="63"/>
                </a:lnTo>
                <a:lnTo>
                  <a:pt x="859" y="64"/>
                </a:lnTo>
                <a:lnTo>
                  <a:pt x="858" y="64"/>
                </a:lnTo>
                <a:lnTo>
                  <a:pt x="851" y="63"/>
                </a:lnTo>
                <a:lnTo>
                  <a:pt x="850" y="64"/>
                </a:lnTo>
                <a:lnTo>
                  <a:pt x="845" y="63"/>
                </a:lnTo>
                <a:lnTo>
                  <a:pt x="842" y="64"/>
                </a:lnTo>
                <a:lnTo>
                  <a:pt x="845" y="66"/>
                </a:lnTo>
                <a:lnTo>
                  <a:pt x="847" y="67"/>
                </a:lnTo>
                <a:lnTo>
                  <a:pt x="856" y="68"/>
                </a:lnTo>
                <a:lnTo>
                  <a:pt x="855" y="69"/>
                </a:lnTo>
                <a:lnTo>
                  <a:pt x="852" y="68"/>
                </a:lnTo>
                <a:lnTo>
                  <a:pt x="847" y="68"/>
                </a:lnTo>
                <a:lnTo>
                  <a:pt x="845" y="67"/>
                </a:lnTo>
                <a:lnTo>
                  <a:pt x="843" y="68"/>
                </a:lnTo>
                <a:lnTo>
                  <a:pt x="842" y="68"/>
                </a:lnTo>
                <a:lnTo>
                  <a:pt x="842" y="69"/>
                </a:lnTo>
                <a:lnTo>
                  <a:pt x="841" y="70"/>
                </a:lnTo>
                <a:lnTo>
                  <a:pt x="839" y="70"/>
                </a:lnTo>
                <a:lnTo>
                  <a:pt x="837" y="71"/>
                </a:lnTo>
                <a:lnTo>
                  <a:pt x="836" y="71"/>
                </a:lnTo>
                <a:lnTo>
                  <a:pt x="834" y="73"/>
                </a:lnTo>
                <a:lnTo>
                  <a:pt x="835" y="72"/>
                </a:lnTo>
                <a:lnTo>
                  <a:pt x="834" y="72"/>
                </a:lnTo>
                <a:lnTo>
                  <a:pt x="831" y="72"/>
                </a:lnTo>
                <a:lnTo>
                  <a:pt x="831" y="73"/>
                </a:lnTo>
                <a:lnTo>
                  <a:pt x="829" y="73"/>
                </a:lnTo>
                <a:lnTo>
                  <a:pt x="829" y="72"/>
                </a:lnTo>
                <a:lnTo>
                  <a:pt x="831" y="71"/>
                </a:lnTo>
                <a:lnTo>
                  <a:pt x="834" y="70"/>
                </a:lnTo>
                <a:lnTo>
                  <a:pt x="834" y="70"/>
                </a:lnTo>
                <a:lnTo>
                  <a:pt x="835" y="69"/>
                </a:lnTo>
                <a:lnTo>
                  <a:pt x="838" y="69"/>
                </a:lnTo>
                <a:lnTo>
                  <a:pt x="839" y="69"/>
                </a:lnTo>
                <a:lnTo>
                  <a:pt x="840" y="68"/>
                </a:lnTo>
                <a:lnTo>
                  <a:pt x="840" y="64"/>
                </a:lnTo>
                <a:lnTo>
                  <a:pt x="841" y="64"/>
                </a:lnTo>
                <a:lnTo>
                  <a:pt x="840" y="64"/>
                </a:lnTo>
                <a:lnTo>
                  <a:pt x="840" y="63"/>
                </a:lnTo>
                <a:lnTo>
                  <a:pt x="840" y="62"/>
                </a:lnTo>
                <a:lnTo>
                  <a:pt x="842" y="62"/>
                </a:lnTo>
                <a:lnTo>
                  <a:pt x="847" y="61"/>
                </a:lnTo>
                <a:lnTo>
                  <a:pt x="846" y="60"/>
                </a:lnTo>
                <a:lnTo>
                  <a:pt x="847" y="59"/>
                </a:lnTo>
                <a:lnTo>
                  <a:pt x="846" y="58"/>
                </a:lnTo>
                <a:lnTo>
                  <a:pt x="853" y="58"/>
                </a:lnTo>
                <a:lnTo>
                  <a:pt x="856" y="57"/>
                </a:lnTo>
                <a:lnTo>
                  <a:pt x="858" y="58"/>
                </a:lnTo>
                <a:lnTo>
                  <a:pt x="858" y="55"/>
                </a:lnTo>
                <a:lnTo>
                  <a:pt x="859" y="55"/>
                </a:lnTo>
                <a:lnTo>
                  <a:pt x="858" y="53"/>
                </a:lnTo>
                <a:lnTo>
                  <a:pt x="861" y="51"/>
                </a:lnTo>
                <a:lnTo>
                  <a:pt x="865" y="50"/>
                </a:lnTo>
                <a:lnTo>
                  <a:pt x="866" y="49"/>
                </a:lnTo>
                <a:lnTo>
                  <a:pt x="866" y="49"/>
                </a:lnTo>
                <a:lnTo>
                  <a:pt x="866" y="47"/>
                </a:lnTo>
                <a:lnTo>
                  <a:pt x="868" y="46"/>
                </a:lnTo>
                <a:lnTo>
                  <a:pt x="868" y="46"/>
                </a:lnTo>
                <a:lnTo>
                  <a:pt x="868" y="45"/>
                </a:lnTo>
                <a:lnTo>
                  <a:pt x="869" y="45"/>
                </a:lnTo>
                <a:lnTo>
                  <a:pt x="870" y="45"/>
                </a:lnTo>
                <a:lnTo>
                  <a:pt x="869" y="45"/>
                </a:lnTo>
                <a:lnTo>
                  <a:pt x="870" y="43"/>
                </a:lnTo>
                <a:lnTo>
                  <a:pt x="871" y="45"/>
                </a:lnTo>
                <a:lnTo>
                  <a:pt x="873" y="43"/>
                </a:lnTo>
                <a:lnTo>
                  <a:pt x="872" y="42"/>
                </a:lnTo>
                <a:lnTo>
                  <a:pt x="873" y="43"/>
                </a:lnTo>
                <a:lnTo>
                  <a:pt x="876" y="42"/>
                </a:lnTo>
                <a:lnTo>
                  <a:pt x="880" y="42"/>
                </a:lnTo>
                <a:lnTo>
                  <a:pt x="879" y="42"/>
                </a:lnTo>
                <a:lnTo>
                  <a:pt x="880" y="41"/>
                </a:lnTo>
                <a:lnTo>
                  <a:pt x="878" y="41"/>
                </a:lnTo>
                <a:lnTo>
                  <a:pt x="883" y="40"/>
                </a:lnTo>
                <a:lnTo>
                  <a:pt x="880" y="40"/>
                </a:lnTo>
                <a:lnTo>
                  <a:pt x="880" y="39"/>
                </a:lnTo>
                <a:lnTo>
                  <a:pt x="883" y="39"/>
                </a:lnTo>
                <a:lnTo>
                  <a:pt x="883" y="39"/>
                </a:lnTo>
                <a:lnTo>
                  <a:pt x="885" y="39"/>
                </a:lnTo>
                <a:lnTo>
                  <a:pt x="886" y="39"/>
                </a:lnTo>
                <a:lnTo>
                  <a:pt x="887" y="38"/>
                </a:lnTo>
                <a:lnTo>
                  <a:pt x="885" y="38"/>
                </a:lnTo>
                <a:lnTo>
                  <a:pt x="886" y="37"/>
                </a:lnTo>
                <a:lnTo>
                  <a:pt x="888" y="37"/>
                </a:lnTo>
                <a:lnTo>
                  <a:pt x="888" y="37"/>
                </a:lnTo>
                <a:lnTo>
                  <a:pt x="888" y="36"/>
                </a:lnTo>
                <a:lnTo>
                  <a:pt x="888" y="36"/>
                </a:lnTo>
                <a:lnTo>
                  <a:pt x="889" y="35"/>
                </a:lnTo>
                <a:lnTo>
                  <a:pt x="889" y="33"/>
                </a:lnTo>
                <a:lnTo>
                  <a:pt x="889" y="33"/>
                </a:lnTo>
                <a:lnTo>
                  <a:pt x="888" y="32"/>
                </a:lnTo>
                <a:lnTo>
                  <a:pt x="887" y="32"/>
                </a:lnTo>
                <a:lnTo>
                  <a:pt x="886" y="31"/>
                </a:lnTo>
                <a:lnTo>
                  <a:pt x="887" y="31"/>
                </a:lnTo>
                <a:lnTo>
                  <a:pt x="886" y="30"/>
                </a:lnTo>
                <a:lnTo>
                  <a:pt x="882" y="30"/>
                </a:lnTo>
                <a:lnTo>
                  <a:pt x="879" y="29"/>
                </a:lnTo>
                <a:lnTo>
                  <a:pt x="878" y="29"/>
                </a:lnTo>
                <a:lnTo>
                  <a:pt x="876" y="29"/>
                </a:lnTo>
                <a:lnTo>
                  <a:pt x="876" y="29"/>
                </a:lnTo>
                <a:lnTo>
                  <a:pt x="876" y="30"/>
                </a:lnTo>
                <a:lnTo>
                  <a:pt x="875" y="29"/>
                </a:lnTo>
                <a:lnTo>
                  <a:pt x="873" y="29"/>
                </a:lnTo>
                <a:lnTo>
                  <a:pt x="871" y="28"/>
                </a:lnTo>
                <a:lnTo>
                  <a:pt x="872" y="28"/>
                </a:lnTo>
                <a:lnTo>
                  <a:pt x="869" y="27"/>
                </a:lnTo>
                <a:lnTo>
                  <a:pt x="867" y="27"/>
                </a:lnTo>
                <a:lnTo>
                  <a:pt x="867" y="26"/>
                </a:lnTo>
                <a:lnTo>
                  <a:pt x="868" y="26"/>
                </a:lnTo>
                <a:lnTo>
                  <a:pt x="873" y="27"/>
                </a:lnTo>
                <a:lnTo>
                  <a:pt x="881" y="29"/>
                </a:lnTo>
                <a:lnTo>
                  <a:pt x="881" y="30"/>
                </a:lnTo>
                <a:lnTo>
                  <a:pt x="882" y="29"/>
                </a:lnTo>
                <a:lnTo>
                  <a:pt x="882" y="29"/>
                </a:lnTo>
                <a:lnTo>
                  <a:pt x="881" y="27"/>
                </a:lnTo>
                <a:lnTo>
                  <a:pt x="880" y="26"/>
                </a:lnTo>
                <a:lnTo>
                  <a:pt x="879" y="25"/>
                </a:lnTo>
                <a:lnTo>
                  <a:pt x="878" y="25"/>
                </a:lnTo>
                <a:lnTo>
                  <a:pt x="876" y="25"/>
                </a:lnTo>
                <a:lnTo>
                  <a:pt x="872" y="23"/>
                </a:lnTo>
                <a:lnTo>
                  <a:pt x="872" y="22"/>
                </a:lnTo>
                <a:lnTo>
                  <a:pt x="867" y="20"/>
                </a:lnTo>
                <a:lnTo>
                  <a:pt x="865" y="21"/>
                </a:lnTo>
                <a:lnTo>
                  <a:pt x="867" y="21"/>
                </a:lnTo>
                <a:lnTo>
                  <a:pt x="866" y="22"/>
                </a:lnTo>
                <a:lnTo>
                  <a:pt x="867" y="22"/>
                </a:lnTo>
                <a:lnTo>
                  <a:pt x="866" y="22"/>
                </a:lnTo>
                <a:lnTo>
                  <a:pt x="862" y="21"/>
                </a:lnTo>
                <a:lnTo>
                  <a:pt x="860" y="21"/>
                </a:lnTo>
                <a:lnTo>
                  <a:pt x="861" y="20"/>
                </a:lnTo>
                <a:lnTo>
                  <a:pt x="860" y="20"/>
                </a:lnTo>
                <a:lnTo>
                  <a:pt x="860" y="19"/>
                </a:lnTo>
                <a:lnTo>
                  <a:pt x="853" y="18"/>
                </a:lnTo>
                <a:lnTo>
                  <a:pt x="852" y="18"/>
                </a:lnTo>
                <a:lnTo>
                  <a:pt x="851" y="18"/>
                </a:lnTo>
                <a:lnTo>
                  <a:pt x="846" y="16"/>
                </a:lnTo>
                <a:lnTo>
                  <a:pt x="841" y="16"/>
                </a:lnTo>
                <a:lnTo>
                  <a:pt x="841" y="15"/>
                </a:lnTo>
                <a:lnTo>
                  <a:pt x="840" y="15"/>
                </a:lnTo>
                <a:lnTo>
                  <a:pt x="838" y="15"/>
                </a:lnTo>
                <a:lnTo>
                  <a:pt x="838" y="15"/>
                </a:lnTo>
                <a:lnTo>
                  <a:pt x="837" y="15"/>
                </a:lnTo>
                <a:lnTo>
                  <a:pt x="836" y="13"/>
                </a:lnTo>
                <a:lnTo>
                  <a:pt x="832" y="13"/>
                </a:lnTo>
                <a:lnTo>
                  <a:pt x="827" y="13"/>
                </a:lnTo>
                <a:lnTo>
                  <a:pt x="825" y="15"/>
                </a:lnTo>
                <a:lnTo>
                  <a:pt x="824" y="15"/>
                </a:lnTo>
                <a:lnTo>
                  <a:pt x="822" y="15"/>
                </a:lnTo>
                <a:lnTo>
                  <a:pt x="817" y="13"/>
                </a:lnTo>
                <a:lnTo>
                  <a:pt x="815" y="15"/>
                </a:lnTo>
                <a:lnTo>
                  <a:pt x="814" y="13"/>
                </a:lnTo>
                <a:lnTo>
                  <a:pt x="809" y="15"/>
                </a:lnTo>
                <a:lnTo>
                  <a:pt x="807" y="13"/>
                </a:lnTo>
                <a:lnTo>
                  <a:pt x="806" y="15"/>
                </a:lnTo>
                <a:lnTo>
                  <a:pt x="806" y="13"/>
                </a:lnTo>
                <a:lnTo>
                  <a:pt x="806" y="13"/>
                </a:lnTo>
                <a:lnTo>
                  <a:pt x="806" y="13"/>
                </a:lnTo>
                <a:lnTo>
                  <a:pt x="805" y="13"/>
                </a:lnTo>
                <a:lnTo>
                  <a:pt x="805" y="13"/>
                </a:lnTo>
                <a:lnTo>
                  <a:pt x="802" y="13"/>
                </a:lnTo>
                <a:lnTo>
                  <a:pt x="802" y="15"/>
                </a:lnTo>
                <a:lnTo>
                  <a:pt x="802" y="15"/>
                </a:lnTo>
                <a:lnTo>
                  <a:pt x="805" y="15"/>
                </a:lnTo>
                <a:lnTo>
                  <a:pt x="804" y="16"/>
                </a:lnTo>
                <a:lnTo>
                  <a:pt x="802" y="16"/>
                </a:lnTo>
                <a:lnTo>
                  <a:pt x="804" y="16"/>
                </a:lnTo>
                <a:lnTo>
                  <a:pt x="804" y="17"/>
                </a:lnTo>
                <a:lnTo>
                  <a:pt x="801" y="17"/>
                </a:lnTo>
                <a:lnTo>
                  <a:pt x="800" y="17"/>
                </a:lnTo>
                <a:lnTo>
                  <a:pt x="801" y="18"/>
                </a:lnTo>
                <a:lnTo>
                  <a:pt x="797" y="18"/>
                </a:lnTo>
                <a:lnTo>
                  <a:pt x="795" y="18"/>
                </a:lnTo>
                <a:lnTo>
                  <a:pt x="792" y="18"/>
                </a:lnTo>
                <a:lnTo>
                  <a:pt x="788" y="18"/>
                </a:lnTo>
                <a:lnTo>
                  <a:pt x="788" y="17"/>
                </a:lnTo>
                <a:lnTo>
                  <a:pt x="787" y="17"/>
                </a:lnTo>
                <a:lnTo>
                  <a:pt x="790" y="17"/>
                </a:lnTo>
                <a:lnTo>
                  <a:pt x="791" y="17"/>
                </a:lnTo>
                <a:lnTo>
                  <a:pt x="790" y="15"/>
                </a:lnTo>
                <a:lnTo>
                  <a:pt x="791" y="15"/>
                </a:lnTo>
                <a:lnTo>
                  <a:pt x="791" y="13"/>
                </a:lnTo>
                <a:lnTo>
                  <a:pt x="794" y="13"/>
                </a:lnTo>
                <a:lnTo>
                  <a:pt x="794" y="12"/>
                </a:lnTo>
                <a:lnTo>
                  <a:pt x="792" y="12"/>
                </a:lnTo>
                <a:lnTo>
                  <a:pt x="791" y="11"/>
                </a:lnTo>
                <a:lnTo>
                  <a:pt x="791" y="11"/>
                </a:lnTo>
                <a:lnTo>
                  <a:pt x="794" y="11"/>
                </a:lnTo>
                <a:lnTo>
                  <a:pt x="792" y="11"/>
                </a:lnTo>
                <a:lnTo>
                  <a:pt x="791" y="11"/>
                </a:lnTo>
                <a:lnTo>
                  <a:pt x="791" y="10"/>
                </a:lnTo>
                <a:lnTo>
                  <a:pt x="790" y="10"/>
                </a:lnTo>
                <a:lnTo>
                  <a:pt x="785" y="10"/>
                </a:lnTo>
                <a:lnTo>
                  <a:pt x="785" y="10"/>
                </a:lnTo>
                <a:lnTo>
                  <a:pt x="782" y="9"/>
                </a:lnTo>
                <a:lnTo>
                  <a:pt x="781" y="9"/>
                </a:lnTo>
                <a:lnTo>
                  <a:pt x="779" y="9"/>
                </a:lnTo>
                <a:lnTo>
                  <a:pt x="778" y="10"/>
                </a:lnTo>
                <a:lnTo>
                  <a:pt x="776" y="9"/>
                </a:lnTo>
                <a:lnTo>
                  <a:pt x="774" y="10"/>
                </a:lnTo>
                <a:lnTo>
                  <a:pt x="774" y="9"/>
                </a:lnTo>
                <a:lnTo>
                  <a:pt x="772" y="8"/>
                </a:lnTo>
                <a:lnTo>
                  <a:pt x="772" y="9"/>
                </a:lnTo>
                <a:lnTo>
                  <a:pt x="769" y="9"/>
                </a:lnTo>
                <a:lnTo>
                  <a:pt x="760" y="11"/>
                </a:lnTo>
                <a:lnTo>
                  <a:pt x="761" y="9"/>
                </a:lnTo>
                <a:lnTo>
                  <a:pt x="762" y="9"/>
                </a:lnTo>
                <a:lnTo>
                  <a:pt x="764" y="7"/>
                </a:lnTo>
                <a:lnTo>
                  <a:pt x="766" y="7"/>
                </a:lnTo>
                <a:lnTo>
                  <a:pt x="767" y="7"/>
                </a:lnTo>
                <a:lnTo>
                  <a:pt x="768" y="6"/>
                </a:lnTo>
                <a:lnTo>
                  <a:pt x="767" y="6"/>
                </a:lnTo>
                <a:lnTo>
                  <a:pt x="770" y="6"/>
                </a:lnTo>
                <a:lnTo>
                  <a:pt x="772" y="6"/>
                </a:lnTo>
                <a:lnTo>
                  <a:pt x="769" y="5"/>
                </a:lnTo>
                <a:lnTo>
                  <a:pt x="765" y="2"/>
                </a:lnTo>
                <a:lnTo>
                  <a:pt x="762" y="2"/>
                </a:lnTo>
                <a:lnTo>
                  <a:pt x="762" y="3"/>
                </a:lnTo>
                <a:lnTo>
                  <a:pt x="759" y="2"/>
                </a:lnTo>
                <a:lnTo>
                  <a:pt x="755" y="2"/>
                </a:lnTo>
                <a:lnTo>
                  <a:pt x="750" y="1"/>
                </a:lnTo>
                <a:lnTo>
                  <a:pt x="749" y="1"/>
                </a:lnTo>
                <a:lnTo>
                  <a:pt x="748" y="1"/>
                </a:lnTo>
                <a:lnTo>
                  <a:pt x="748" y="1"/>
                </a:lnTo>
                <a:lnTo>
                  <a:pt x="747" y="1"/>
                </a:lnTo>
                <a:lnTo>
                  <a:pt x="746" y="0"/>
                </a:lnTo>
                <a:lnTo>
                  <a:pt x="744" y="0"/>
                </a:lnTo>
                <a:lnTo>
                  <a:pt x="741" y="1"/>
                </a:lnTo>
                <a:lnTo>
                  <a:pt x="741" y="1"/>
                </a:lnTo>
                <a:lnTo>
                  <a:pt x="740" y="2"/>
                </a:lnTo>
                <a:lnTo>
                  <a:pt x="736" y="1"/>
                </a:lnTo>
                <a:lnTo>
                  <a:pt x="736" y="2"/>
                </a:lnTo>
                <a:lnTo>
                  <a:pt x="734" y="3"/>
                </a:lnTo>
                <a:lnTo>
                  <a:pt x="731" y="6"/>
                </a:lnTo>
                <a:lnTo>
                  <a:pt x="731" y="6"/>
                </a:lnTo>
                <a:lnTo>
                  <a:pt x="728" y="7"/>
                </a:lnTo>
                <a:lnTo>
                  <a:pt x="729" y="7"/>
                </a:lnTo>
                <a:lnTo>
                  <a:pt x="727" y="9"/>
                </a:lnTo>
                <a:lnTo>
                  <a:pt x="727" y="9"/>
                </a:lnTo>
                <a:lnTo>
                  <a:pt x="727" y="10"/>
                </a:lnTo>
                <a:lnTo>
                  <a:pt x="727" y="10"/>
                </a:lnTo>
                <a:lnTo>
                  <a:pt x="727" y="11"/>
                </a:lnTo>
                <a:lnTo>
                  <a:pt x="726" y="11"/>
                </a:lnTo>
                <a:lnTo>
                  <a:pt x="727" y="11"/>
                </a:lnTo>
                <a:lnTo>
                  <a:pt x="726" y="12"/>
                </a:lnTo>
                <a:lnTo>
                  <a:pt x="727" y="12"/>
                </a:lnTo>
                <a:lnTo>
                  <a:pt x="727" y="13"/>
                </a:lnTo>
                <a:lnTo>
                  <a:pt x="728" y="13"/>
                </a:lnTo>
                <a:lnTo>
                  <a:pt x="731" y="13"/>
                </a:lnTo>
                <a:lnTo>
                  <a:pt x="733" y="15"/>
                </a:lnTo>
                <a:lnTo>
                  <a:pt x="735" y="15"/>
                </a:lnTo>
                <a:lnTo>
                  <a:pt x="735" y="16"/>
                </a:lnTo>
                <a:lnTo>
                  <a:pt x="733" y="15"/>
                </a:lnTo>
                <a:lnTo>
                  <a:pt x="731" y="15"/>
                </a:lnTo>
                <a:lnTo>
                  <a:pt x="733" y="16"/>
                </a:lnTo>
                <a:lnTo>
                  <a:pt x="734" y="16"/>
                </a:lnTo>
                <a:lnTo>
                  <a:pt x="734" y="17"/>
                </a:lnTo>
                <a:lnTo>
                  <a:pt x="729" y="17"/>
                </a:lnTo>
                <a:lnTo>
                  <a:pt x="727" y="18"/>
                </a:lnTo>
                <a:lnTo>
                  <a:pt x="723" y="18"/>
                </a:lnTo>
                <a:lnTo>
                  <a:pt x="720" y="18"/>
                </a:lnTo>
                <a:lnTo>
                  <a:pt x="710" y="17"/>
                </a:lnTo>
                <a:lnTo>
                  <a:pt x="711" y="18"/>
                </a:lnTo>
                <a:lnTo>
                  <a:pt x="711" y="18"/>
                </a:lnTo>
                <a:lnTo>
                  <a:pt x="714" y="18"/>
                </a:lnTo>
                <a:lnTo>
                  <a:pt x="715" y="19"/>
                </a:lnTo>
                <a:lnTo>
                  <a:pt x="717" y="19"/>
                </a:lnTo>
                <a:lnTo>
                  <a:pt x="719" y="20"/>
                </a:lnTo>
                <a:lnTo>
                  <a:pt x="719" y="20"/>
                </a:lnTo>
                <a:lnTo>
                  <a:pt x="723" y="20"/>
                </a:lnTo>
                <a:lnTo>
                  <a:pt x="725" y="20"/>
                </a:lnTo>
                <a:lnTo>
                  <a:pt x="726" y="21"/>
                </a:lnTo>
                <a:lnTo>
                  <a:pt x="726" y="21"/>
                </a:lnTo>
                <a:lnTo>
                  <a:pt x="727" y="22"/>
                </a:lnTo>
                <a:lnTo>
                  <a:pt x="727" y="23"/>
                </a:lnTo>
                <a:lnTo>
                  <a:pt x="724" y="23"/>
                </a:lnTo>
                <a:lnTo>
                  <a:pt x="724" y="22"/>
                </a:lnTo>
                <a:lnTo>
                  <a:pt x="723" y="22"/>
                </a:lnTo>
                <a:lnTo>
                  <a:pt x="718" y="22"/>
                </a:lnTo>
                <a:lnTo>
                  <a:pt x="718" y="21"/>
                </a:lnTo>
                <a:lnTo>
                  <a:pt x="718" y="21"/>
                </a:lnTo>
                <a:lnTo>
                  <a:pt x="717" y="20"/>
                </a:lnTo>
                <a:lnTo>
                  <a:pt x="714" y="21"/>
                </a:lnTo>
                <a:lnTo>
                  <a:pt x="713" y="20"/>
                </a:lnTo>
                <a:lnTo>
                  <a:pt x="711" y="20"/>
                </a:lnTo>
                <a:lnTo>
                  <a:pt x="707" y="21"/>
                </a:lnTo>
                <a:lnTo>
                  <a:pt x="708" y="22"/>
                </a:lnTo>
                <a:lnTo>
                  <a:pt x="708" y="22"/>
                </a:lnTo>
                <a:lnTo>
                  <a:pt x="707" y="22"/>
                </a:lnTo>
                <a:lnTo>
                  <a:pt x="707" y="22"/>
                </a:lnTo>
                <a:lnTo>
                  <a:pt x="705" y="22"/>
                </a:lnTo>
                <a:lnTo>
                  <a:pt x="704" y="23"/>
                </a:lnTo>
                <a:lnTo>
                  <a:pt x="706" y="23"/>
                </a:lnTo>
                <a:lnTo>
                  <a:pt x="707" y="23"/>
                </a:lnTo>
                <a:lnTo>
                  <a:pt x="707" y="25"/>
                </a:lnTo>
                <a:lnTo>
                  <a:pt x="707" y="25"/>
                </a:lnTo>
                <a:lnTo>
                  <a:pt x="704" y="23"/>
                </a:lnTo>
                <a:lnTo>
                  <a:pt x="701" y="25"/>
                </a:lnTo>
                <a:lnTo>
                  <a:pt x="700" y="23"/>
                </a:lnTo>
                <a:lnTo>
                  <a:pt x="700" y="23"/>
                </a:lnTo>
                <a:lnTo>
                  <a:pt x="699" y="23"/>
                </a:lnTo>
                <a:lnTo>
                  <a:pt x="698" y="25"/>
                </a:lnTo>
                <a:lnTo>
                  <a:pt x="697" y="25"/>
                </a:lnTo>
                <a:lnTo>
                  <a:pt x="695" y="26"/>
                </a:lnTo>
                <a:lnTo>
                  <a:pt x="695" y="26"/>
                </a:lnTo>
                <a:lnTo>
                  <a:pt x="695" y="25"/>
                </a:lnTo>
                <a:lnTo>
                  <a:pt x="695" y="25"/>
                </a:lnTo>
                <a:lnTo>
                  <a:pt x="693" y="25"/>
                </a:lnTo>
                <a:lnTo>
                  <a:pt x="693" y="23"/>
                </a:lnTo>
                <a:lnTo>
                  <a:pt x="691" y="25"/>
                </a:lnTo>
                <a:lnTo>
                  <a:pt x="688" y="25"/>
                </a:lnTo>
                <a:lnTo>
                  <a:pt x="688" y="26"/>
                </a:lnTo>
                <a:lnTo>
                  <a:pt x="687" y="26"/>
                </a:lnTo>
                <a:lnTo>
                  <a:pt x="686" y="26"/>
                </a:lnTo>
                <a:lnTo>
                  <a:pt x="688" y="23"/>
                </a:lnTo>
                <a:lnTo>
                  <a:pt x="687" y="22"/>
                </a:lnTo>
                <a:lnTo>
                  <a:pt x="684" y="22"/>
                </a:lnTo>
                <a:lnTo>
                  <a:pt x="678" y="22"/>
                </a:lnTo>
                <a:lnTo>
                  <a:pt x="677" y="22"/>
                </a:lnTo>
                <a:lnTo>
                  <a:pt x="677" y="22"/>
                </a:lnTo>
                <a:lnTo>
                  <a:pt x="670" y="22"/>
                </a:lnTo>
                <a:lnTo>
                  <a:pt x="670" y="22"/>
                </a:lnTo>
                <a:lnTo>
                  <a:pt x="669" y="23"/>
                </a:lnTo>
                <a:lnTo>
                  <a:pt x="667" y="22"/>
                </a:lnTo>
                <a:lnTo>
                  <a:pt x="662" y="22"/>
                </a:lnTo>
                <a:lnTo>
                  <a:pt x="662" y="22"/>
                </a:lnTo>
                <a:lnTo>
                  <a:pt x="664" y="23"/>
                </a:lnTo>
                <a:lnTo>
                  <a:pt x="664" y="23"/>
                </a:lnTo>
                <a:lnTo>
                  <a:pt x="659" y="23"/>
                </a:lnTo>
                <a:lnTo>
                  <a:pt x="658" y="23"/>
                </a:lnTo>
                <a:lnTo>
                  <a:pt x="658" y="22"/>
                </a:lnTo>
                <a:lnTo>
                  <a:pt x="657" y="23"/>
                </a:lnTo>
                <a:lnTo>
                  <a:pt x="656" y="23"/>
                </a:lnTo>
                <a:lnTo>
                  <a:pt x="654" y="23"/>
                </a:lnTo>
                <a:lnTo>
                  <a:pt x="654" y="23"/>
                </a:lnTo>
                <a:lnTo>
                  <a:pt x="655" y="25"/>
                </a:lnTo>
                <a:lnTo>
                  <a:pt x="656" y="25"/>
                </a:lnTo>
                <a:lnTo>
                  <a:pt x="658" y="25"/>
                </a:lnTo>
                <a:lnTo>
                  <a:pt x="659" y="25"/>
                </a:lnTo>
                <a:lnTo>
                  <a:pt x="662" y="25"/>
                </a:lnTo>
                <a:lnTo>
                  <a:pt x="662" y="25"/>
                </a:lnTo>
                <a:lnTo>
                  <a:pt x="660" y="25"/>
                </a:lnTo>
                <a:lnTo>
                  <a:pt x="662" y="25"/>
                </a:lnTo>
                <a:lnTo>
                  <a:pt x="663" y="25"/>
                </a:lnTo>
                <a:lnTo>
                  <a:pt x="663" y="25"/>
                </a:lnTo>
                <a:lnTo>
                  <a:pt x="663" y="26"/>
                </a:lnTo>
                <a:lnTo>
                  <a:pt x="652" y="28"/>
                </a:lnTo>
                <a:lnTo>
                  <a:pt x="646" y="28"/>
                </a:lnTo>
                <a:lnTo>
                  <a:pt x="645" y="28"/>
                </a:lnTo>
                <a:lnTo>
                  <a:pt x="645" y="28"/>
                </a:lnTo>
                <a:lnTo>
                  <a:pt x="646" y="29"/>
                </a:lnTo>
                <a:lnTo>
                  <a:pt x="646" y="29"/>
                </a:lnTo>
                <a:lnTo>
                  <a:pt x="643" y="28"/>
                </a:lnTo>
                <a:lnTo>
                  <a:pt x="642" y="29"/>
                </a:lnTo>
                <a:lnTo>
                  <a:pt x="638" y="29"/>
                </a:lnTo>
                <a:lnTo>
                  <a:pt x="635" y="29"/>
                </a:lnTo>
                <a:lnTo>
                  <a:pt x="632" y="29"/>
                </a:lnTo>
                <a:lnTo>
                  <a:pt x="629" y="30"/>
                </a:lnTo>
                <a:lnTo>
                  <a:pt x="633" y="31"/>
                </a:lnTo>
                <a:lnTo>
                  <a:pt x="629" y="31"/>
                </a:lnTo>
                <a:lnTo>
                  <a:pt x="627" y="32"/>
                </a:lnTo>
                <a:lnTo>
                  <a:pt x="623" y="31"/>
                </a:lnTo>
                <a:lnTo>
                  <a:pt x="623" y="31"/>
                </a:lnTo>
                <a:lnTo>
                  <a:pt x="620" y="31"/>
                </a:lnTo>
                <a:lnTo>
                  <a:pt x="620" y="32"/>
                </a:lnTo>
                <a:lnTo>
                  <a:pt x="622" y="32"/>
                </a:lnTo>
                <a:lnTo>
                  <a:pt x="622" y="32"/>
                </a:lnTo>
                <a:lnTo>
                  <a:pt x="619" y="32"/>
                </a:lnTo>
                <a:lnTo>
                  <a:pt x="619" y="33"/>
                </a:lnTo>
                <a:lnTo>
                  <a:pt x="617" y="33"/>
                </a:lnTo>
                <a:lnTo>
                  <a:pt x="617" y="35"/>
                </a:lnTo>
                <a:lnTo>
                  <a:pt x="615" y="36"/>
                </a:lnTo>
                <a:lnTo>
                  <a:pt x="615" y="36"/>
                </a:lnTo>
                <a:lnTo>
                  <a:pt x="616" y="36"/>
                </a:lnTo>
                <a:lnTo>
                  <a:pt x="615" y="36"/>
                </a:lnTo>
                <a:lnTo>
                  <a:pt x="613" y="37"/>
                </a:lnTo>
                <a:lnTo>
                  <a:pt x="612" y="36"/>
                </a:lnTo>
                <a:lnTo>
                  <a:pt x="609" y="36"/>
                </a:lnTo>
                <a:lnTo>
                  <a:pt x="605" y="36"/>
                </a:lnTo>
                <a:lnTo>
                  <a:pt x="604" y="36"/>
                </a:lnTo>
                <a:lnTo>
                  <a:pt x="603" y="37"/>
                </a:lnTo>
                <a:lnTo>
                  <a:pt x="605" y="37"/>
                </a:lnTo>
                <a:lnTo>
                  <a:pt x="608" y="37"/>
                </a:lnTo>
                <a:lnTo>
                  <a:pt x="613" y="38"/>
                </a:lnTo>
                <a:lnTo>
                  <a:pt x="613" y="38"/>
                </a:lnTo>
                <a:lnTo>
                  <a:pt x="612" y="38"/>
                </a:lnTo>
                <a:lnTo>
                  <a:pt x="609" y="38"/>
                </a:lnTo>
                <a:lnTo>
                  <a:pt x="609" y="38"/>
                </a:lnTo>
                <a:lnTo>
                  <a:pt x="608" y="38"/>
                </a:lnTo>
                <a:lnTo>
                  <a:pt x="608" y="39"/>
                </a:lnTo>
                <a:lnTo>
                  <a:pt x="608" y="40"/>
                </a:lnTo>
                <a:lnTo>
                  <a:pt x="608" y="40"/>
                </a:lnTo>
                <a:lnTo>
                  <a:pt x="607" y="41"/>
                </a:lnTo>
                <a:lnTo>
                  <a:pt x="606" y="41"/>
                </a:lnTo>
                <a:lnTo>
                  <a:pt x="606" y="42"/>
                </a:lnTo>
                <a:lnTo>
                  <a:pt x="608" y="42"/>
                </a:lnTo>
                <a:lnTo>
                  <a:pt x="607" y="43"/>
                </a:lnTo>
                <a:lnTo>
                  <a:pt x="604" y="42"/>
                </a:lnTo>
                <a:lnTo>
                  <a:pt x="602" y="41"/>
                </a:lnTo>
                <a:lnTo>
                  <a:pt x="600" y="40"/>
                </a:lnTo>
                <a:lnTo>
                  <a:pt x="596" y="40"/>
                </a:lnTo>
                <a:lnTo>
                  <a:pt x="596" y="40"/>
                </a:lnTo>
                <a:lnTo>
                  <a:pt x="598" y="41"/>
                </a:lnTo>
                <a:lnTo>
                  <a:pt x="596" y="41"/>
                </a:lnTo>
                <a:lnTo>
                  <a:pt x="597" y="42"/>
                </a:lnTo>
                <a:lnTo>
                  <a:pt x="596" y="42"/>
                </a:lnTo>
                <a:lnTo>
                  <a:pt x="597" y="42"/>
                </a:lnTo>
                <a:lnTo>
                  <a:pt x="603" y="43"/>
                </a:lnTo>
                <a:lnTo>
                  <a:pt x="605" y="43"/>
                </a:lnTo>
                <a:lnTo>
                  <a:pt x="607" y="45"/>
                </a:lnTo>
                <a:lnTo>
                  <a:pt x="607" y="45"/>
                </a:lnTo>
                <a:lnTo>
                  <a:pt x="607" y="45"/>
                </a:lnTo>
                <a:lnTo>
                  <a:pt x="608" y="45"/>
                </a:lnTo>
                <a:lnTo>
                  <a:pt x="608" y="46"/>
                </a:lnTo>
                <a:lnTo>
                  <a:pt x="606" y="46"/>
                </a:lnTo>
                <a:lnTo>
                  <a:pt x="605" y="46"/>
                </a:lnTo>
                <a:lnTo>
                  <a:pt x="603" y="46"/>
                </a:lnTo>
                <a:lnTo>
                  <a:pt x="604" y="47"/>
                </a:lnTo>
                <a:lnTo>
                  <a:pt x="602" y="47"/>
                </a:lnTo>
                <a:lnTo>
                  <a:pt x="602" y="47"/>
                </a:lnTo>
                <a:lnTo>
                  <a:pt x="603" y="48"/>
                </a:lnTo>
                <a:lnTo>
                  <a:pt x="604" y="48"/>
                </a:lnTo>
                <a:lnTo>
                  <a:pt x="613" y="49"/>
                </a:lnTo>
                <a:lnTo>
                  <a:pt x="615" y="50"/>
                </a:lnTo>
                <a:lnTo>
                  <a:pt x="616" y="51"/>
                </a:lnTo>
                <a:lnTo>
                  <a:pt x="617" y="51"/>
                </a:lnTo>
                <a:lnTo>
                  <a:pt x="617" y="51"/>
                </a:lnTo>
                <a:lnTo>
                  <a:pt x="614" y="51"/>
                </a:lnTo>
                <a:lnTo>
                  <a:pt x="615" y="51"/>
                </a:lnTo>
                <a:lnTo>
                  <a:pt x="615" y="52"/>
                </a:lnTo>
                <a:lnTo>
                  <a:pt x="615" y="52"/>
                </a:lnTo>
                <a:lnTo>
                  <a:pt x="615" y="52"/>
                </a:lnTo>
                <a:lnTo>
                  <a:pt x="617" y="53"/>
                </a:lnTo>
                <a:lnTo>
                  <a:pt x="617" y="53"/>
                </a:lnTo>
                <a:lnTo>
                  <a:pt x="615" y="53"/>
                </a:lnTo>
                <a:lnTo>
                  <a:pt x="610" y="53"/>
                </a:lnTo>
                <a:lnTo>
                  <a:pt x="609" y="55"/>
                </a:lnTo>
                <a:lnTo>
                  <a:pt x="606" y="55"/>
                </a:lnTo>
                <a:lnTo>
                  <a:pt x="605" y="55"/>
                </a:lnTo>
                <a:lnTo>
                  <a:pt x="605" y="56"/>
                </a:lnTo>
                <a:lnTo>
                  <a:pt x="604" y="56"/>
                </a:lnTo>
                <a:lnTo>
                  <a:pt x="599" y="56"/>
                </a:lnTo>
                <a:lnTo>
                  <a:pt x="598" y="56"/>
                </a:lnTo>
                <a:lnTo>
                  <a:pt x="598" y="56"/>
                </a:lnTo>
                <a:lnTo>
                  <a:pt x="596" y="56"/>
                </a:lnTo>
                <a:lnTo>
                  <a:pt x="591" y="56"/>
                </a:lnTo>
                <a:lnTo>
                  <a:pt x="587" y="57"/>
                </a:lnTo>
                <a:lnTo>
                  <a:pt x="578" y="57"/>
                </a:lnTo>
                <a:lnTo>
                  <a:pt x="576" y="57"/>
                </a:lnTo>
                <a:lnTo>
                  <a:pt x="572" y="57"/>
                </a:lnTo>
                <a:lnTo>
                  <a:pt x="568" y="57"/>
                </a:lnTo>
                <a:lnTo>
                  <a:pt x="562" y="58"/>
                </a:lnTo>
                <a:lnTo>
                  <a:pt x="562" y="58"/>
                </a:lnTo>
                <a:lnTo>
                  <a:pt x="562" y="58"/>
                </a:lnTo>
                <a:lnTo>
                  <a:pt x="558" y="58"/>
                </a:lnTo>
                <a:lnTo>
                  <a:pt x="557" y="58"/>
                </a:lnTo>
                <a:lnTo>
                  <a:pt x="557" y="58"/>
                </a:lnTo>
                <a:lnTo>
                  <a:pt x="554" y="59"/>
                </a:lnTo>
                <a:lnTo>
                  <a:pt x="555" y="59"/>
                </a:lnTo>
                <a:lnTo>
                  <a:pt x="556" y="60"/>
                </a:lnTo>
                <a:lnTo>
                  <a:pt x="557" y="60"/>
                </a:lnTo>
                <a:lnTo>
                  <a:pt x="557" y="60"/>
                </a:lnTo>
                <a:lnTo>
                  <a:pt x="558" y="60"/>
                </a:lnTo>
                <a:lnTo>
                  <a:pt x="558" y="60"/>
                </a:lnTo>
                <a:lnTo>
                  <a:pt x="556" y="61"/>
                </a:lnTo>
                <a:lnTo>
                  <a:pt x="556" y="61"/>
                </a:lnTo>
                <a:lnTo>
                  <a:pt x="555" y="61"/>
                </a:lnTo>
                <a:lnTo>
                  <a:pt x="555" y="61"/>
                </a:lnTo>
                <a:lnTo>
                  <a:pt x="556" y="62"/>
                </a:lnTo>
                <a:lnTo>
                  <a:pt x="558" y="62"/>
                </a:lnTo>
                <a:lnTo>
                  <a:pt x="558" y="63"/>
                </a:lnTo>
                <a:lnTo>
                  <a:pt x="556" y="63"/>
                </a:lnTo>
                <a:lnTo>
                  <a:pt x="561" y="64"/>
                </a:lnTo>
                <a:lnTo>
                  <a:pt x="561" y="66"/>
                </a:lnTo>
                <a:lnTo>
                  <a:pt x="563" y="66"/>
                </a:lnTo>
                <a:lnTo>
                  <a:pt x="563" y="66"/>
                </a:lnTo>
                <a:lnTo>
                  <a:pt x="565" y="68"/>
                </a:lnTo>
                <a:lnTo>
                  <a:pt x="567" y="68"/>
                </a:lnTo>
                <a:lnTo>
                  <a:pt x="566" y="68"/>
                </a:lnTo>
                <a:lnTo>
                  <a:pt x="567" y="69"/>
                </a:lnTo>
                <a:lnTo>
                  <a:pt x="566" y="69"/>
                </a:lnTo>
                <a:lnTo>
                  <a:pt x="567" y="71"/>
                </a:lnTo>
                <a:lnTo>
                  <a:pt x="568" y="72"/>
                </a:lnTo>
                <a:lnTo>
                  <a:pt x="569" y="72"/>
                </a:lnTo>
                <a:lnTo>
                  <a:pt x="571" y="73"/>
                </a:lnTo>
                <a:lnTo>
                  <a:pt x="572" y="74"/>
                </a:lnTo>
                <a:lnTo>
                  <a:pt x="576" y="76"/>
                </a:lnTo>
                <a:lnTo>
                  <a:pt x="579" y="77"/>
                </a:lnTo>
                <a:lnTo>
                  <a:pt x="584" y="77"/>
                </a:lnTo>
                <a:lnTo>
                  <a:pt x="588" y="78"/>
                </a:lnTo>
                <a:lnTo>
                  <a:pt x="589" y="78"/>
                </a:lnTo>
                <a:lnTo>
                  <a:pt x="592" y="79"/>
                </a:lnTo>
                <a:lnTo>
                  <a:pt x="592" y="80"/>
                </a:lnTo>
                <a:lnTo>
                  <a:pt x="592" y="80"/>
                </a:lnTo>
                <a:lnTo>
                  <a:pt x="594" y="80"/>
                </a:lnTo>
                <a:lnTo>
                  <a:pt x="595" y="81"/>
                </a:lnTo>
                <a:lnTo>
                  <a:pt x="598" y="82"/>
                </a:lnTo>
                <a:lnTo>
                  <a:pt x="600" y="83"/>
                </a:lnTo>
                <a:lnTo>
                  <a:pt x="605" y="83"/>
                </a:lnTo>
                <a:lnTo>
                  <a:pt x="607" y="84"/>
                </a:lnTo>
                <a:lnTo>
                  <a:pt x="607" y="83"/>
                </a:lnTo>
                <a:lnTo>
                  <a:pt x="609" y="84"/>
                </a:lnTo>
                <a:lnTo>
                  <a:pt x="612" y="87"/>
                </a:lnTo>
                <a:lnTo>
                  <a:pt x="613" y="87"/>
                </a:lnTo>
                <a:lnTo>
                  <a:pt x="613" y="89"/>
                </a:lnTo>
                <a:lnTo>
                  <a:pt x="612" y="90"/>
                </a:lnTo>
                <a:lnTo>
                  <a:pt x="613" y="91"/>
                </a:lnTo>
                <a:lnTo>
                  <a:pt x="612" y="92"/>
                </a:lnTo>
                <a:lnTo>
                  <a:pt x="614" y="93"/>
                </a:lnTo>
                <a:lnTo>
                  <a:pt x="615" y="94"/>
                </a:lnTo>
                <a:lnTo>
                  <a:pt x="619" y="97"/>
                </a:lnTo>
                <a:lnTo>
                  <a:pt x="623" y="100"/>
                </a:lnTo>
                <a:lnTo>
                  <a:pt x="625" y="101"/>
                </a:lnTo>
                <a:lnTo>
                  <a:pt x="626" y="102"/>
                </a:lnTo>
                <a:lnTo>
                  <a:pt x="627" y="104"/>
                </a:lnTo>
                <a:lnTo>
                  <a:pt x="627" y="106"/>
                </a:lnTo>
                <a:lnTo>
                  <a:pt x="626" y="107"/>
                </a:lnTo>
                <a:lnTo>
                  <a:pt x="624" y="107"/>
                </a:lnTo>
                <a:lnTo>
                  <a:pt x="623" y="107"/>
                </a:lnTo>
                <a:lnTo>
                  <a:pt x="623" y="108"/>
                </a:lnTo>
                <a:lnTo>
                  <a:pt x="626" y="109"/>
                </a:lnTo>
                <a:lnTo>
                  <a:pt x="626" y="110"/>
                </a:lnTo>
                <a:lnTo>
                  <a:pt x="619" y="109"/>
                </a:lnTo>
                <a:lnTo>
                  <a:pt x="616" y="109"/>
                </a:lnTo>
                <a:lnTo>
                  <a:pt x="613" y="108"/>
                </a:lnTo>
                <a:lnTo>
                  <a:pt x="612" y="107"/>
                </a:lnTo>
                <a:lnTo>
                  <a:pt x="608" y="102"/>
                </a:lnTo>
                <a:lnTo>
                  <a:pt x="608" y="100"/>
                </a:lnTo>
                <a:lnTo>
                  <a:pt x="607" y="100"/>
                </a:lnTo>
                <a:lnTo>
                  <a:pt x="605" y="97"/>
                </a:lnTo>
                <a:lnTo>
                  <a:pt x="604" y="96"/>
                </a:lnTo>
                <a:lnTo>
                  <a:pt x="603" y="94"/>
                </a:lnTo>
                <a:lnTo>
                  <a:pt x="602" y="93"/>
                </a:lnTo>
                <a:lnTo>
                  <a:pt x="603" y="92"/>
                </a:lnTo>
                <a:lnTo>
                  <a:pt x="607" y="90"/>
                </a:lnTo>
                <a:lnTo>
                  <a:pt x="607" y="90"/>
                </a:lnTo>
                <a:lnTo>
                  <a:pt x="607" y="89"/>
                </a:lnTo>
                <a:lnTo>
                  <a:pt x="606" y="88"/>
                </a:lnTo>
                <a:lnTo>
                  <a:pt x="608" y="88"/>
                </a:lnTo>
                <a:lnTo>
                  <a:pt x="607" y="86"/>
                </a:lnTo>
                <a:lnTo>
                  <a:pt x="602" y="84"/>
                </a:lnTo>
                <a:lnTo>
                  <a:pt x="596" y="86"/>
                </a:lnTo>
                <a:lnTo>
                  <a:pt x="591" y="86"/>
                </a:lnTo>
                <a:lnTo>
                  <a:pt x="587" y="86"/>
                </a:lnTo>
                <a:lnTo>
                  <a:pt x="584" y="84"/>
                </a:lnTo>
                <a:lnTo>
                  <a:pt x="584" y="84"/>
                </a:lnTo>
                <a:lnTo>
                  <a:pt x="581" y="83"/>
                </a:lnTo>
                <a:lnTo>
                  <a:pt x="577" y="82"/>
                </a:lnTo>
                <a:lnTo>
                  <a:pt x="576" y="81"/>
                </a:lnTo>
                <a:lnTo>
                  <a:pt x="575" y="80"/>
                </a:lnTo>
                <a:lnTo>
                  <a:pt x="569" y="80"/>
                </a:lnTo>
                <a:lnTo>
                  <a:pt x="564" y="78"/>
                </a:lnTo>
                <a:lnTo>
                  <a:pt x="561" y="77"/>
                </a:lnTo>
                <a:lnTo>
                  <a:pt x="555" y="76"/>
                </a:lnTo>
                <a:lnTo>
                  <a:pt x="544" y="76"/>
                </a:lnTo>
                <a:lnTo>
                  <a:pt x="541" y="77"/>
                </a:lnTo>
                <a:lnTo>
                  <a:pt x="539" y="78"/>
                </a:lnTo>
                <a:lnTo>
                  <a:pt x="535" y="79"/>
                </a:lnTo>
                <a:lnTo>
                  <a:pt x="536" y="80"/>
                </a:lnTo>
                <a:lnTo>
                  <a:pt x="542" y="80"/>
                </a:lnTo>
                <a:lnTo>
                  <a:pt x="545" y="81"/>
                </a:lnTo>
                <a:lnTo>
                  <a:pt x="545" y="82"/>
                </a:lnTo>
                <a:lnTo>
                  <a:pt x="544" y="83"/>
                </a:lnTo>
                <a:lnTo>
                  <a:pt x="541" y="84"/>
                </a:lnTo>
                <a:lnTo>
                  <a:pt x="538" y="86"/>
                </a:lnTo>
                <a:lnTo>
                  <a:pt x="534" y="86"/>
                </a:lnTo>
                <a:lnTo>
                  <a:pt x="533" y="84"/>
                </a:lnTo>
                <a:lnTo>
                  <a:pt x="528" y="83"/>
                </a:lnTo>
                <a:lnTo>
                  <a:pt x="526" y="81"/>
                </a:lnTo>
                <a:lnTo>
                  <a:pt x="524" y="82"/>
                </a:lnTo>
                <a:lnTo>
                  <a:pt x="523" y="83"/>
                </a:lnTo>
                <a:lnTo>
                  <a:pt x="524" y="83"/>
                </a:lnTo>
                <a:lnTo>
                  <a:pt x="526" y="86"/>
                </a:lnTo>
                <a:lnTo>
                  <a:pt x="528" y="87"/>
                </a:lnTo>
                <a:lnTo>
                  <a:pt x="529" y="88"/>
                </a:lnTo>
                <a:lnTo>
                  <a:pt x="532" y="88"/>
                </a:lnTo>
                <a:lnTo>
                  <a:pt x="537" y="89"/>
                </a:lnTo>
                <a:lnTo>
                  <a:pt x="541" y="90"/>
                </a:lnTo>
                <a:lnTo>
                  <a:pt x="543" y="91"/>
                </a:lnTo>
                <a:lnTo>
                  <a:pt x="545" y="91"/>
                </a:lnTo>
                <a:lnTo>
                  <a:pt x="546" y="91"/>
                </a:lnTo>
                <a:lnTo>
                  <a:pt x="548" y="91"/>
                </a:lnTo>
                <a:lnTo>
                  <a:pt x="549" y="90"/>
                </a:lnTo>
                <a:lnTo>
                  <a:pt x="551" y="91"/>
                </a:lnTo>
                <a:lnTo>
                  <a:pt x="552" y="92"/>
                </a:lnTo>
                <a:lnTo>
                  <a:pt x="554" y="92"/>
                </a:lnTo>
                <a:lnTo>
                  <a:pt x="556" y="94"/>
                </a:lnTo>
                <a:lnTo>
                  <a:pt x="559" y="96"/>
                </a:lnTo>
                <a:lnTo>
                  <a:pt x="561" y="97"/>
                </a:lnTo>
                <a:lnTo>
                  <a:pt x="557" y="97"/>
                </a:lnTo>
                <a:lnTo>
                  <a:pt x="554" y="96"/>
                </a:lnTo>
                <a:lnTo>
                  <a:pt x="553" y="96"/>
                </a:lnTo>
                <a:lnTo>
                  <a:pt x="551" y="94"/>
                </a:lnTo>
                <a:lnTo>
                  <a:pt x="548" y="93"/>
                </a:lnTo>
                <a:lnTo>
                  <a:pt x="541" y="93"/>
                </a:lnTo>
                <a:lnTo>
                  <a:pt x="538" y="93"/>
                </a:lnTo>
                <a:lnTo>
                  <a:pt x="531" y="92"/>
                </a:lnTo>
                <a:lnTo>
                  <a:pt x="524" y="91"/>
                </a:lnTo>
                <a:lnTo>
                  <a:pt x="521" y="91"/>
                </a:lnTo>
                <a:lnTo>
                  <a:pt x="518" y="90"/>
                </a:lnTo>
                <a:lnTo>
                  <a:pt x="518" y="89"/>
                </a:lnTo>
                <a:lnTo>
                  <a:pt x="521" y="89"/>
                </a:lnTo>
                <a:lnTo>
                  <a:pt x="521" y="89"/>
                </a:lnTo>
                <a:lnTo>
                  <a:pt x="519" y="87"/>
                </a:lnTo>
                <a:lnTo>
                  <a:pt x="516" y="84"/>
                </a:lnTo>
                <a:lnTo>
                  <a:pt x="515" y="84"/>
                </a:lnTo>
                <a:lnTo>
                  <a:pt x="515" y="82"/>
                </a:lnTo>
                <a:lnTo>
                  <a:pt x="512" y="81"/>
                </a:lnTo>
                <a:lnTo>
                  <a:pt x="514" y="80"/>
                </a:lnTo>
                <a:lnTo>
                  <a:pt x="514" y="77"/>
                </a:lnTo>
                <a:lnTo>
                  <a:pt x="511" y="76"/>
                </a:lnTo>
                <a:lnTo>
                  <a:pt x="510" y="73"/>
                </a:lnTo>
                <a:lnTo>
                  <a:pt x="511" y="73"/>
                </a:lnTo>
                <a:lnTo>
                  <a:pt x="508" y="72"/>
                </a:lnTo>
                <a:lnTo>
                  <a:pt x="507" y="71"/>
                </a:lnTo>
                <a:lnTo>
                  <a:pt x="506" y="71"/>
                </a:lnTo>
                <a:lnTo>
                  <a:pt x="503" y="69"/>
                </a:lnTo>
                <a:lnTo>
                  <a:pt x="501" y="69"/>
                </a:lnTo>
                <a:lnTo>
                  <a:pt x="498" y="69"/>
                </a:lnTo>
                <a:lnTo>
                  <a:pt x="500" y="70"/>
                </a:lnTo>
                <a:lnTo>
                  <a:pt x="502" y="71"/>
                </a:lnTo>
                <a:lnTo>
                  <a:pt x="504" y="73"/>
                </a:lnTo>
                <a:lnTo>
                  <a:pt x="507" y="77"/>
                </a:lnTo>
                <a:lnTo>
                  <a:pt x="506" y="78"/>
                </a:lnTo>
                <a:lnTo>
                  <a:pt x="502" y="81"/>
                </a:lnTo>
                <a:lnTo>
                  <a:pt x="497" y="81"/>
                </a:lnTo>
                <a:lnTo>
                  <a:pt x="493" y="83"/>
                </a:lnTo>
                <a:lnTo>
                  <a:pt x="494" y="84"/>
                </a:lnTo>
                <a:lnTo>
                  <a:pt x="494" y="86"/>
                </a:lnTo>
                <a:lnTo>
                  <a:pt x="494" y="87"/>
                </a:lnTo>
                <a:lnTo>
                  <a:pt x="492" y="88"/>
                </a:lnTo>
                <a:lnTo>
                  <a:pt x="493" y="89"/>
                </a:lnTo>
                <a:lnTo>
                  <a:pt x="498" y="90"/>
                </a:lnTo>
                <a:lnTo>
                  <a:pt x="503" y="92"/>
                </a:lnTo>
                <a:lnTo>
                  <a:pt x="506" y="94"/>
                </a:lnTo>
                <a:lnTo>
                  <a:pt x="508" y="97"/>
                </a:lnTo>
                <a:lnTo>
                  <a:pt x="513" y="99"/>
                </a:lnTo>
                <a:lnTo>
                  <a:pt x="516" y="101"/>
                </a:lnTo>
                <a:lnTo>
                  <a:pt x="517" y="102"/>
                </a:lnTo>
                <a:lnTo>
                  <a:pt x="517" y="103"/>
                </a:lnTo>
                <a:lnTo>
                  <a:pt x="517" y="106"/>
                </a:lnTo>
                <a:lnTo>
                  <a:pt x="517" y="107"/>
                </a:lnTo>
                <a:lnTo>
                  <a:pt x="515" y="108"/>
                </a:lnTo>
                <a:lnTo>
                  <a:pt x="515" y="109"/>
                </a:lnTo>
                <a:lnTo>
                  <a:pt x="517" y="111"/>
                </a:lnTo>
                <a:lnTo>
                  <a:pt x="516" y="112"/>
                </a:lnTo>
                <a:lnTo>
                  <a:pt x="516" y="113"/>
                </a:lnTo>
                <a:lnTo>
                  <a:pt x="517" y="114"/>
                </a:lnTo>
                <a:lnTo>
                  <a:pt x="522" y="118"/>
                </a:lnTo>
                <a:lnTo>
                  <a:pt x="524" y="119"/>
                </a:lnTo>
                <a:lnTo>
                  <a:pt x="525" y="121"/>
                </a:lnTo>
                <a:lnTo>
                  <a:pt x="524" y="122"/>
                </a:lnTo>
                <a:lnTo>
                  <a:pt x="525" y="123"/>
                </a:lnTo>
                <a:lnTo>
                  <a:pt x="527" y="124"/>
                </a:lnTo>
                <a:lnTo>
                  <a:pt x="531" y="126"/>
                </a:lnTo>
                <a:lnTo>
                  <a:pt x="533" y="124"/>
                </a:lnTo>
                <a:lnTo>
                  <a:pt x="536" y="124"/>
                </a:lnTo>
                <a:lnTo>
                  <a:pt x="538" y="126"/>
                </a:lnTo>
                <a:lnTo>
                  <a:pt x="543" y="126"/>
                </a:lnTo>
                <a:lnTo>
                  <a:pt x="543" y="124"/>
                </a:lnTo>
                <a:lnTo>
                  <a:pt x="546" y="123"/>
                </a:lnTo>
                <a:lnTo>
                  <a:pt x="552" y="123"/>
                </a:lnTo>
                <a:lnTo>
                  <a:pt x="559" y="124"/>
                </a:lnTo>
                <a:lnTo>
                  <a:pt x="563" y="126"/>
                </a:lnTo>
                <a:lnTo>
                  <a:pt x="569" y="128"/>
                </a:lnTo>
                <a:lnTo>
                  <a:pt x="574" y="129"/>
                </a:lnTo>
                <a:lnTo>
                  <a:pt x="575" y="130"/>
                </a:lnTo>
                <a:lnTo>
                  <a:pt x="576" y="131"/>
                </a:lnTo>
                <a:lnTo>
                  <a:pt x="577" y="132"/>
                </a:lnTo>
                <a:lnTo>
                  <a:pt x="584" y="137"/>
                </a:lnTo>
                <a:lnTo>
                  <a:pt x="585" y="137"/>
                </a:lnTo>
                <a:lnTo>
                  <a:pt x="586" y="138"/>
                </a:lnTo>
                <a:lnTo>
                  <a:pt x="585" y="139"/>
                </a:lnTo>
                <a:lnTo>
                  <a:pt x="582" y="139"/>
                </a:lnTo>
                <a:lnTo>
                  <a:pt x="581" y="140"/>
                </a:lnTo>
                <a:lnTo>
                  <a:pt x="581" y="141"/>
                </a:lnTo>
                <a:lnTo>
                  <a:pt x="582" y="143"/>
                </a:lnTo>
                <a:lnTo>
                  <a:pt x="584" y="146"/>
                </a:lnTo>
                <a:lnTo>
                  <a:pt x="585" y="147"/>
                </a:lnTo>
                <a:lnTo>
                  <a:pt x="587" y="147"/>
                </a:lnTo>
                <a:lnTo>
                  <a:pt x="593" y="147"/>
                </a:lnTo>
                <a:lnTo>
                  <a:pt x="596" y="147"/>
                </a:lnTo>
                <a:lnTo>
                  <a:pt x="602" y="149"/>
                </a:lnTo>
                <a:lnTo>
                  <a:pt x="602" y="149"/>
                </a:lnTo>
                <a:lnTo>
                  <a:pt x="596" y="149"/>
                </a:lnTo>
                <a:lnTo>
                  <a:pt x="593" y="149"/>
                </a:lnTo>
                <a:lnTo>
                  <a:pt x="588" y="149"/>
                </a:lnTo>
                <a:lnTo>
                  <a:pt x="587" y="148"/>
                </a:lnTo>
                <a:lnTo>
                  <a:pt x="585" y="148"/>
                </a:lnTo>
                <a:lnTo>
                  <a:pt x="579" y="147"/>
                </a:lnTo>
                <a:lnTo>
                  <a:pt x="578" y="144"/>
                </a:lnTo>
                <a:lnTo>
                  <a:pt x="579" y="144"/>
                </a:lnTo>
                <a:lnTo>
                  <a:pt x="579" y="143"/>
                </a:lnTo>
                <a:lnTo>
                  <a:pt x="578" y="142"/>
                </a:lnTo>
                <a:lnTo>
                  <a:pt x="577" y="141"/>
                </a:lnTo>
                <a:lnTo>
                  <a:pt x="578" y="139"/>
                </a:lnTo>
                <a:lnTo>
                  <a:pt x="577" y="139"/>
                </a:lnTo>
                <a:lnTo>
                  <a:pt x="575" y="139"/>
                </a:lnTo>
                <a:lnTo>
                  <a:pt x="575" y="138"/>
                </a:lnTo>
                <a:lnTo>
                  <a:pt x="575" y="137"/>
                </a:lnTo>
                <a:lnTo>
                  <a:pt x="575" y="136"/>
                </a:lnTo>
                <a:lnTo>
                  <a:pt x="574" y="136"/>
                </a:lnTo>
                <a:lnTo>
                  <a:pt x="574" y="134"/>
                </a:lnTo>
                <a:lnTo>
                  <a:pt x="573" y="133"/>
                </a:lnTo>
                <a:lnTo>
                  <a:pt x="571" y="133"/>
                </a:lnTo>
                <a:lnTo>
                  <a:pt x="568" y="132"/>
                </a:lnTo>
                <a:lnTo>
                  <a:pt x="567" y="131"/>
                </a:lnTo>
                <a:lnTo>
                  <a:pt x="565" y="131"/>
                </a:lnTo>
                <a:lnTo>
                  <a:pt x="563" y="130"/>
                </a:lnTo>
                <a:lnTo>
                  <a:pt x="563" y="129"/>
                </a:lnTo>
                <a:lnTo>
                  <a:pt x="561" y="127"/>
                </a:lnTo>
                <a:lnTo>
                  <a:pt x="555" y="127"/>
                </a:lnTo>
                <a:lnTo>
                  <a:pt x="552" y="128"/>
                </a:lnTo>
                <a:lnTo>
                  <a:pt x="545" y="129"/>
                </a:lnTo>
                <a:lnTo>
                  <a:pt x="543" y="130"/>
                </a:lnTo>
                <a:lnTo>
                  <a:pt x="538" y="130"/>
                </a:lnTo>
                <a:lnTo>
                  <a:pt x="537" y="131"/>
                </a:lnTo>
                <a:lnTo>
                  <a:pt x="538" y="132"/>
                </a:lnTo>
                <a:lnTo>
                  <a:pt x="539" y="133"/>
                </a:lnTo>
                <a:lnTo>
                  <a:pt x="539" y="134"/>
                </a:lnTo>
                <a:lnTo>
                  <a:pt x="538" y="136"/>
                </a:lnTo>
                <a:lnTo>
                  <a:pt x="539" y="137"/>
                </a:lnTo>
                <a:lnTo>
                  <a:pt x="542" y="137"/>
                </a:lnTo>
                <a:lnTo>
                  <a:pt x="543" y="138"/>
                </a:lnTo>
                <a:lnTo>
                  <a:pt x="545" y="139"/>
                </a:lnTo>
                <a:lnTo>
                  <a:pt x="545" y="140"/>
                </a:lnTo>
                <a:lnTo>
                  <a:pt x="547" y="141"/>
                </a:lnTo>
                <a:lnTo>
                  <a:pt x="548" y="142"/>
                </a:lnTo>
                <a:lnTo>
                  <a:pt x="549" y="144"/>
                </a:lnTo>
                <a:lnTo>
                  <a:pt x="551" y="147"/>
                </a:lnTo>
                <a:lnTo>
                  <a:pt x="548" y="148"/>
                </a:lnTo>
                <a:lnTo>
                  <a:pt x="545" y="152"/>
                </a:lnTo>
                <a:lnTo>
                  <a:pt x="545" y="152"/>
                </a:lnTo>
                <a:lnTo>
                  <a:pt x="545" y="154"/>
                </a:lnTo>
                <a:lnTo>
                  <a:pt x="546" y="157"/>
                </a:lnTo>
                <a:lnTo>
                  <a:pt x="544" y="159"/>
                </a:lnTo>
                <a:lnTo>
                  <a:pt x="543" y="160"/>
                </a:lnTo>
                <a:lnTo>
                  <a:pt x="541" y="161"/>
                </a:lnTo>
                <a:lnTo>
                  <a:pt x="539" y="162"/>
                </a:lnTo>
                <a:lnTo>
                  <a:pt x="534" y="164"/>
                </a:lnTo>
                <a:lnTo>
                  <a:pt x="533" y="164"/>
                </a:lnTo>
                <a:lnTo>
                  <a:pt x="536" y="167"/>
                </a:lnTo>
                <a:lnTo>
                  <a:pt x="536" y="169"/>
                </a:lnTo>
                <a:lnTo>
                  <a:pt x="533" y="170"/>
                </a:lnTo>
                <a:lnTo>
                  <a:pt x="524" y="168"/>
                </a:lnTo>
                <a:lnTo>
                  <a:pt x="519" y="167"/>
                </a:lnTo>
                <a:lnTo>
                  <a:pt x="516" y="168"/>
                </a:lnTo>
                <a:lnTo>
                  <a:pt x="514" y="168"/>
                </a:lnTo>
                <a:lnTo>
                  <a:pt x="508" y="168"/>
                </a:lnTo>
                <a:lnTo>
                  <a:pt x="507" y="167"/>
                </a:lnTo>
                <a:lnTo>
                  <a:pt x="506" y="166"/>
                </a:lnTo>
                <a:lnTo>
                  <a:pt x="507" y="166"/>
                </a:lnTo>
                <a:lnTo>
                  <a:pt x="505" y="162"/>
                </a:lnTo>
                <a:lnTo>
                  <a:pt x="502" y="162"/>
                </a:lnTo>
                <a:lnTo>
                  <a:pt x="501" y="161"/>
                </a:lnTo>
                <a:lnTo>
                  <a:pt x="501" y="161"/>
                </a:lnTo>
                <a:lnTo>
                  <a:pt x="503" y="160"/>
                </a:lnTo>
                <a:lnTo>
                  <a:pt x="506" y="161"/>
                </a:lnTo>
                <a:lnTo>
                  <a:pt x="507" y="162"/>
                </a:lnTo>
                <a:lnTo>
                  <a:pt x="510" y="162"/>
                </a:lnTo>
                <a:lnTo>
                  <a:pt x="511" y="161"/>
                </a:lnTo>
                <a:lnTo>
                  <a:pt x="513" y="161"/>
                </a:lnTo>
                <a:lnTo>
                  <a:pt x="514" y="159"/>
                </a:lnTo>
                <a:lnTo>
                  <a:pt x="516" y="160"/>
                </a:lnTo>
                <a:lnTo>
                  <a:pt x="518" y="159"/>
                </a:lnTo>
                <a:lnTo>
                  <a:pt x="518" y="159"/>
                </a:lnTo>
                <a:lnTo>
                  <a:pt x="519" y="158"/>
                </a:lnTo>
                <a:lnTo>
                  <a:pt x="522" y="158"/>
                </a:lnTo>
                <a:lnTo>
                  <a:pt x="525" y="158"/>
                </a:lnTo>
                <a:lnTo>
                  <a:pt x="526" y="157"/>
                </a:lnTo>
                <a:lnTo>
                  <a:pt x="524" y="156"/>
                </a:lnTo>
                <a:lnTo>
                  <a:pt x="519" y="156"/>
                </a:lnTo>
                <a:lnTo>
                  <a:pt x="518" y="157"/>
                </a:lnTo>
                <a:lnTo>
                  <a:pt x="517" y="156"/>
                </a:lnTo>
                <a:lnTo>
                  <a:pt x="516" y="154"/>
                </a:lnTo>
                <a:lnTo>
                  <a:pt x="521" y="156"/>
                </a:lnTo>
                <a:lnTo>
                  <a:pt x="525" y="156"/>
                </a:lnTo>
                <a:lnTo>
                  <a:pt x="526" y="154"/>
                </a:lnTo>
                <a:lnTo>
                  <a:pt x="525" y="153"/>
                </a:lnTo>
                <a:lnTo>
                  <a:pt x="527" y="153"/>
                </a:lnTo>
                <a:lnTo>
                  <a:pt x="527" y="152"/>
                </a:lnTo>
                <a:lnTo>
                  <a:pt x="527" y="151"/>
                </a:lnTo>
                <a:lnTo>
                  <a:pt x="527" y="149"/>
                </a:lnTo>
                <a:lnTo>
                  <a:pt x="527" y="149"/>
                </a:lnTo>
                <a:lnTo>
                  <a:pt x="531" y="148"/>
                </a:lnTo>
                <a:lnTo>
                  <a:pt x="532" y="147"/>
                </a:lnTo>
                <a:lnTo>
                  <a:pt x="531" y="146"/>
                </a:lnTo>
                <a:lnTo>
                  <a:pt x="531" y="144"/>
                </a:lnTo>
                <a:lnTo>
                  <a:pt x="528" y="141"/>
                </a:lnTo>
                <a:lnTo>
                  <a:pt x="527" y="140"/>
                </a:lnTo>
                <a:lnTo>
                  <a:pt x="527" y="138"/>
                </a:lnTo>
                <a:lnTo>
                  <a:pt x="528" y="136"/>
                </a:lnTo>
                <a:lnTo>
                  <a:pt x="526" y="132"/>
                </a:lnTo>
                <a:lnTo>
                  <a:pt x="518" y="130"/>
                </a:lnTo>
                <a:lnTo>
                  <a:pt x="512" y="126"/>
                </a:lnTo>
                <a:lnTo>
                  <a:pt x="511" y="124"/>
                </a:lnTo>
                <a:lnTo>
                  <a:pt x="511" y="123"/>
                </a:lnTo>
                <a:lnTo>
                  <a:pt x="510" y="121"/>
                </a:lnTo>
                <a:lnTo>
                  <a:pt x="508" y="120"/>
                </a:lnTo>
                <a:lnTo>
                  <a:pt x="510" y="119"/>
                </a:lnTo>
                <a:lnTo>
                  <a:pt x="506" y="117"/>
                </a:lnTo>
                <a:lnTo>
                  <a:pt x="507" y="116"/>
                </a:lnTo>
                <a:lnTo>
                  <a:pt x="506" y="113"/>
                </a:lnTo>
                <a:lnTo>
                  <a:pt x="504" y="112"/>
                </a:lnTo>
                <a:lnTo>
                  <a:pt x="504" y="112"/>
                </a:lnTo>
                <a:lnTo>
                  <a:pt x="503" y="112"/>
                </a:lnTo>
                <a:lnTo>
                  <a:pt x="503" y="111"/>
                </a:lnTo>
                <a:lnTo>
                  <a:pt x="502" y="109"/>
                </a:lnTo>
                <a:lnTo>
                  <a:pt x="502" y="109"/>
                </a:lnTo>
                <a:lnTo>
                  <a:pt x="500" y="108"/>
                </a:lnTo>
                <a:lnTo>
                  <a:pt x="498" y="107"/>
                </a:lnTo>
                <a:lnTo>
                  <a:pt x="498" y="106"/>
                </a:lnTo>
                <a:lnTo>
                  <a:pt x="501" y="104"/>
                </a:lnTo>
                <a:lnTo>
                  <a:pt x="501" y="104"/>
                </a:lnTo>
                <a:lnTo>
                  <a:pt x="498" y="101"/>
                </a:lnTo>
                <a:lnTo>
                  <a:pt x="498" y="100"/>
                </a:lnTo>
                <a:lnTo>
                  <a:pt x="496" y="98"/>
                </a:lnTo>
                <a:lnTo>
                  <a:pt x="492" y="96"/>
                </a:lnTo>
                <a:lnTo>
                  <a:pt x="491" y="93"/>
                </a:lnTo>
                <a:lnTo>
                  <a:pt x="485" y="91"/>
                </a:lnTo>
                <a:lnTo>
                  <a:pt x="483" y="90"/>
                </a:lnTo>
                <a:lnTo>
                  <a:pt x="478" y="89"/>
                </a:lnTo>
                <a:lnTo>
                  <a:pt x="478" y="87"/>
                </a:lnTo>
                <a:lnTo>
                  <a:pt x="478" y="87"/>
                </a:lnTo>
                <a:lnTo>
                  <a:pt x="481" y="87"/>
                </a:lnTo>
                <a:lnTo>
                  <a:pt x="481" y="86"/>
                </a:lnTo>
                <a:lnTo>
                  <a:pt x="482" y="84"/>
                </a:lnTo>
                <a:lnTo>
                  <a:pt x="481" y="83"/>
                </a:lnTo>
                <a:lnTo>
                  <a:pt x="481" y="83"/>
                </a:lnTo>
                <a:lnTo>
                  <a:pt x="481" y="81"/>
                </a:lnTo>
                <a:lnTo>
                  <a:pt x="481" y="79"/>
                </a:lnTo>
                <a:lnTo>
                  <a:pt x="481" y="78"/>
                </a:lnTo>
                <a:lnTo>
                  <a:pt x="481" y="76"/>
                </a:lnTo>
                <a:lnTo>
                  <a:pt x="478" y="74"/>
                </a:lnTo>
                <a:lnTo>
                  <a:pt x="477" y="73"/>
                </a:lnTo>
                <a:lnTo>
                  <a:pt x="476" y="71"/>
                </a:lnTo>
                <a:lnTo>
                  <a:pt x="475" y="71"/>
                </a:lnTo>
                <a:lnTo>
                  <a:pt x="475" y="70"/>
                </a:lnTo>
                <a:lnTo>
                  <a:pt x="475" y="70"/>
                </a:lnTo>
                <a:lnTo>
                  <a:pt x="465" y="69"/>
                </a:lnTo>
                <a:lnTo>
                  <a:pt x="462" y="68"/>
                </a:lnTo>
                <a:lnTo>
                  <a:pt x="454" y="68"/>
                </a:lnTo>
                <a:lnTo>
                  <a:pt x="450" y="68"/>
                </a:lnTo>
                <a:lnTo>
                  <a:pt x="444" y="68"/>
                </a:lnTo>
                <a:lnTo>
                  <a:pt x="442" y="68"/>
                </a:lnTo>
                <a:lnTo>
                  <a:pt x="443" y="67"/>
                </a:lnTo>
                <a:lnTo>
                  <a:pt x="437" y="68"/>
                </a:lnTo>
                <a:lnTo>
                  <a:pt x="436" y="68"/>
                </a:lnTo>
                <a:lnTo>
                  <a:pt x="437" y="69"/>
                </a:lnTo>
                <a:lnTo>
                  <a:pt x="436" y="70"/>
                </a:lnTo>
                <a:lnTo>
                  <a:pt x="436" y="71"/>
                </a:lnTo>
                <a:lnTo>
                  <a:pt x="435" y="72"/>
                </a:lnTo>
                <a:lnTo>
                  <a:pt x="436" y="76"/>
                </a:lnTo>
                <a:lnTo>
                  <a:pt x="436" y="78"/>
                </a:lnTo>
                <a:lnTo>
                  <a:pt x="436" y="78"/>
                </a:lnTo>
                <a:lnTo>
                  <a:pt x="437" y="82"/>
                </a:lnTo>
                <a:lnTo>
                  <a:pt x="437" y="84"/>
                </a:lnTo>
                <a:lnTo>
                  <a:pt x="435" y="87"/>
                </a:lnTo>
                <a:lnTo>
                  <a:pt x="433" y="89"/>
                </a:lnTo>
                <a:lnTo>
                  <a:pt x="430" y="91"/>
                </a:lnTo>
                <a:lnTo>
                  <a:pt x="425" y="92"/>
                </a:lnTo>
                <a:lnTo>
                  <a:pt x="425" y="94"/>
                </a:lnTo>
                <a:lnTo>
                  <a:pt x="425" y="96"/>
                </a:lnTo>
                <a:lnTo>
                  <a:pt x="426" y="96"/>
                </a:lnTo>
                <a:lnTo>
                  <a:pt x="427" y="93"/>
                </a:lnTo>
                <a:lnTo>
                  <a:pt x="429" y="94"/>
                </a:lnTo>
                <a:lnTo>
                  <a:pt x="430" y="96"/>
                </a:lnTo>
                <a:lnTo>
                  <a:pt x="430" y="96"/>
                </a:lnTo>
                <a:lnTo>
                  <a:pt x="426" y="98"/>
                </a:lnTo>
                <a:lnTo>
                  <a:pt x="426" y="99"/>
                </a:lnTo>
                <a:lnTo>
                  <a:pt x="429" y="100"/>
                </a:lnTo>
                <a:lnTo>
                  <a:pt x="431" y="100"/>
                </a:lnTo>
                <a:lnTo>
                  <a:pt x="432" y="99"/>
                </a:lnTo>
                <a:lnTo>
                  <a:pt x="435" y="99"/>
                </a:lnTo>
                <a:lnTo>
                  <a:pt x="437" y="100"/>
                </a:lnTo>
                <a:lnTo>
                  <a:pt x="436" y="101"/>
                </a:lnTo>
                <a:lnTo>
                  <a:pt x="440" y="106"/>
                </a:lnTo>
                <a:lnTo>
                  <a:pt x="438" y="107"/>
                </a:lnTo>
                <a:lnTo>
                  <a:pt x="440" y="109"/>
                </a:lnTo>
                <a:lnTo>
                  <a:pt x="442" y="110"/>
                </a:lnTo>
                <a:lnTo>
                  <a:pt x="442" y="111"/>
                </a:lnTo>
                <a:lnTo>
                  <a:pt x="440" y="111"/>
                </a:lnTo>
                <a:lnTo>
                  <a:pt x="437" y="110"/>
                </a:lnTo>
                <a:lnTo>
                  <a:pt x="438" y="112"/>
                </a:lnTo>
                <a:lnTo>
                  <a:pt x="441" y="117"/>
                </a:lnTo>
                <a:lnTo>
                  <a:pt x="443" y="118"/>
                </a:lnTo>
                <a:lnTo>
                  <a:pt x="442" y="117"/>
                </a:lnTo>
                <a:lnTo>
                  <a:pt x="445" y="117"/>
                </a:lnTo>
                <a:lnTo>
                  <a:pt x="451" y="118"/>
                </a:lnTo>
                <a:lnTo>
                  <a:pt x="454" y="119"/>
                </a:lnTo>
                <a:lnTo>
                  <a:pt x="455" y="119"/>
                </a:lnTo>
                <a:lnTo>
                  <a:pt x="456" y="119"/>
                </a:lnTo>
                <a:lnTo>
                  <a:pt x="457" y="121"/>
                </a:lnTo>
                <a:lnTo>
                  <a:pt x="461" y="123"/>
                </a:lnTo>
                <a:lnTo>
                  <a:pt x="463" y="124"/>
                </a:lnTo>
                <a:lnTo>
                  <a:pt x="465" y="127"/>
                </a:lnTo>
                <a:lnTo>
                  <a:pt x="470" y="128"/>
                </a:lnTo>
                <a:lnTo>
                  <a:pt x="472" y="128"/>
                </a:lnTo>
                <a:lnTo>
                  <a:pt x="473" y="128"/>
                </a:lnTo>
                <a:lnTo>
                  <a:pt x="474" y="129"/>
                </a:lnTo>
                <a:lnTo>
                  <a:pt x="473" y="130"/>
                </a:lnTo>
                <a:lnTo>
                  <a:pt x="473" y="133"/>
                </a:lnTo>
                <a:lnTo>
                  <a:pt x="472" y="136"/>
                </a:lnTo>
                <a:lnTo>
                  <a:pt x="473" y="138"/>
                </a:lnTo>
                <a:lnTo>
                  <a:pt x="470" y="139"/>
                </a:lnTo>
                <a:lnTo>
                  <a:pt x="468" y="138"/>
                </a:lnTo>
                <a:lnTo>
                  <a:pt x="467" y="137"/>
                </a:lnTo>
                <a:lnTo>
                  <a:pt x="465" y="134"/>
                </a:lnTo>
                <a:lnTo>
                  <a:pt x="461" y="133"/>
                </a:lnTo>
                <a:lnTo>
                  <a:pt x="451" y="129"/>
                </a:lnTo>
                <a:lnTo>
                  <a:pt x="447" y="129"/>
                </a:lnTo>
                <a:lnTo>
                  <a:pt x="444" y="128"/>
                </a:lnTo>
                <a:lnTo>
                  <a:pt x="437" y="126"/>
                </a:lnTo>
                <a:lnTo>
                  <a:pt x="431" y="126"/>
                </a:lnTo>
                <a:lnTo>
                  <a:pt x="431" y="124"/>
                </a:lnTo>
                <a:lnTo>
                  <a:pt x="433" y="124"/>
                </a:lnTo>
                <a:lnTo>
                  <a:pt x="432" y="123"/>
                </a:lnTo>
                <a:lnTo>
                  <a:pt x="427" y="123"/>
                </a:lnTo>
                <a:lnTo>
                  <a:pt x="422" y="122"/>
                </a:lnTo>
                <a:lnTo>
                  <a:pt x="419" y="121"/>
                </a:lnTo>
                <a:lnTo>
                  <a:pt x="410" y="118"/>
                </a:lnTo>
                <a:lnTo>
                  <a:pt x="406" y="118"/>
                </a:lnTo>
                <a:lnTo>
                  <a:pt x="399" y="117"/>
                </a:lnTo>
                <a:lnTo>
                  <a:pt x="397" y="117"/>
                </a:lnTo>
                <a:lnTo>
                  <a:pt x="392" y="116"/>
                </a:lnTo>
                <a:lnTo>
                  <a:pt x="390" y="116"/>
                </a:lnTo>
                <a:lnTo>
                  <a:pt x="379" y="114"/>
                </a:lnTo>
                <a:lnTo>
                  <a:pt x="376" y="114"/>
                </a:lnTo>
                <a:lnTo>
                  <a:pt x="373" y="113"/>
                </a:lnTo>
                <a:lnTo>
                  <a:pt x="370" y="113"/>
                </a:lnTo>
                <a:lnTo>
                  <a:pt x="369" y="113"/>
                </a:lnTo>
                <a:lnTo>
                  <a:pt x="370" y="114"/>
                </a:lnTo>
                <a:lnTo>
                  <a:pt x="369" y="116"/>
                </a:lnTo>
                <a:lnTo>
                  <a:pt x="365" y="117"/>
                </a:lnTo>
                <a:lnTo>
                  <a:pt x="366" y="118"/>
                </a:lnTo>
                <a:lnTo>
                  <a:pt x="369" y="120"/>
                </a:lnTo>
                <a:lnTo>
                  <a:pt x="372" y="121"/>
                </a:lnTo>
                <a:lnTo>
                  <a:pt x="375" y="124"/>
                </a:lnTo>
                <a:lnTo>
                  <a:pt x="375" y="124"/>
                </a:lnTo>
                <a:lnTo>
                  <a:pt x="376" y="124"/>
                </a:lnTo>
                <a:lnTo>
                  <a:pt x="377" y="128"/>
                </a:lnTo>
                <a:lnTo>
                  <a:pt x="376" y="129"/>
                </a:lnTo>
                <a:lnTo>
                  <a:pt x="374" y="131"/>
                </a:lnTo>
                <a:lnTo>
                  <a:pt x="367" y="131"/>
                </a:lnTo>
                <a:lnTo>
                  <a:pt x="369" y="132"/>
                </a:lnTo>
                <a:lnTo>
                  <a:pt x="370" y="133"/>
                </a:lnTo>
                <a:lnTo>
                  <a:pt x="371" y="134"/>
                </a:lnTo>
                <a:lnTo>
                  <a:pt x="369" y="136"/>
                </a:lnTo>
                <a:lnTo>
                  <a:pt x="366" y="137"/>
                </a:lnTo>
                <a:lnTo>
                  <a:pt x="363" y="136"/>
                </a:lnTo>
                <a:lnTo>
                  <a:pt x="361" y="134"/>
                </a:lnTo>
                <a:lnTo>
                  <a:pt x="360" y="133"/>
                </a:lnTo>
                <a:lnTo>
                  <a:pt x="360" y="132"/>
                </a:lnTo>
                <a:lnTo>
                  <a:pt x="361" y="131"/>
                </a:lnTo>
                <a:lnTo>
                  <a:pt x="362" y="130"/>
                </a:lnTo>
                <a:lnTo>
                  <a:pt x="355" y="128"/>
                </a:lnTo>
                <a:lnTo>
                  <a:pt x="355" y="127"/>
                </a:lnTo>
                <a:lnTo>
                  <a:pt x="353" y="127"/>
                </a:lnTo>
                <a:lnTo>
                  <a:pt x="346" y="128"/>
                </a:lnTo>
                <a:lnTo>
                  <a:pt x="344" y="130"/>
                </a:lnTo>
                <a:lnTo>
                  <a:pt x="342" y="130"/>
                </a:lnTo>
                <a:lnTo>
                  <a:pt x="339" y="133"/>
                </a:lnTo>
                <a:lnTo>
                  <a:pt x="336" y="133"/>
                </a:lnTo>
                <a:lnTo>
                  <a:pt x="334" y="132"/>
                </a:lnTo>
                <a:lnTo>
                  <a:pt x="331" y="132"/>
                </a:lnTo>
                <a:lnTo>
                  <a:pt x="328" y="133"/>
                </a:lnTo>
                <a:lnTo>
                  <a:pt x="323" y="132"/>
                </a:lnTo>
                <a:lnTo>
                  <a:pt x="319" y="133"/>
                </a:lnTo>
                <a:lnTo>
                  <a:pt x="316" y="133"/>
                </a:lnTo>
                <a:lnTo>
                  <a:pt x="313" y="136"/>
                </a:lnTo>
                <a:lnTo>
                  <a:pt x="312" y="137"/>
                </a:lnTo>
                <a:lnTo>
                  <a:pt x="313" y="139"/>
                </a:lnTo>
                <a:lnTo>
                  <a:pt x="313" y="139"/>
                </a:lnTo>
                <a:lnTo>
                  <a:pt x="311" y="139"/>
                </a:lnTo>
                <a:lnTo>
                  <a:pt x="309" y="139"/>
                </a:lnTo>
                <a:lnTo>
                  <a:pt x="306" y="138"/>
                </a:lnTo>
                <a:lnTo>
                  <a:pt x="305" y="138"/>
                </a:lnTo>
                <a:lnTo>
                  <a:pt x="304" y="139"/>
                </a:lnTo>
                <a:lnTo>
                  <a:pt x="301" y="137"/>
                </a:lnTo>
                <a:lnTo>
                  <a:pt x="300" y="134"/>
                </a:lnTo>
                <a:lnTo>
                  <a:pt x="299" y="133"/>
                </a:lnTo>
                <a:lnTo>
                  <a:pt x="299" y="132"/>
                </a:lnTo>
                <a:lnTo>
                  <a:pt x="299" y="131"/>
                </a:lnTo>
                <a:lnTo>
                  <a:pt x="299" y="130"/>
                </a:lnTo>
                <a:lnTo>
                  <a:pt x="296" y="129"/>
                </a:lnTo>
                <a:lnTo>
                  <a:pt x="295" y="128"/>
                </a:lnTo>
                <a:lnTo>
                  <a:pt x="295" y="129"/>
                </a:lnTo>
                <a:lnTo>
                  <a:pt x="295" y="129"/>
                </a:lnTo>
                <a:lnTo>
                  <a:pt x="294" y="128"/>
                </a:lnTo>
                <a:lnTo>
                  <a:pt x="296" y="128"/>
                </a:lnTo>
                <a:lnTo>
                  <a:pt x="301" y="128"/>
                </a:lnTo>
                <a:lnTo>
                  <a:pt x="303" y="127"/>
                </a:lnTo>
                <a:lnTo>
                  <a:pt x="304" y="127"/>
                </a:lnTo>
                <a:lnTo>
                  <a:pt x="302" y="127"/>
                </a:lnTo>
                <a:lnTo>
                  <a:pt x="299" y="127"/>
                </a:lnTo>
                <a:lnTo>
                  <a:pt x="298" y="127"/>
                </a:lnTo>
                <a:lnTo>
                  <a:pt x="294" y="127"/>
                </a:lnTo>
                <a:lnTo>
                  <a:pt x="290" y="128"/>
                </a:lnTo>
                <a:lnTo>
                  <a:pt x="291" y="129"/>
                </a:lnTo>
                <a:lnTo>
                  <a:pt x="290" y="129"/>
                </a:lnTo>
                <a:lnTo>
                  <a:pt x="289" y="130"/>
                </a:lnTo>
                <a:lnTo>
                  <a:pt x="290" y="131"/>
                </a:lnTo>
                <a:lnTo>
                  <a:pt x="291" y="132"/>
                </a:lnTo>
                <a:lnTo>
                  <a:pt x="289" y="132"/>
                </a:lnTo>
                <a:lnTo>
                  <a:pt x="286" y="132"/>
                </a:lnTo>
                <a:lnTo>
                  <a:pt x="285" y="131"/>
                </a:lnTo>
                <a:lnTo>
                  <a:pt x="286" y="130"/>
                </a:lnTo>
                <a:lnTo>
                  <a:pt x="284" y="130"/>
                </a:lnTo>
                <a:lnTo>
                  <a:pt x="281" y="133"/>
                </a:lnTo>
                <a:lnTo>
                  <a:pt x="283" y="132"/>
                </a:lnTo>
                <a:lnTo>
                  <a:pt x="283" y="133"/>
                </a:lnTo>
                <a:lnTo>
                  <a:pt x="284" y="134"/>
                </a:lnTo>
                <a:lnTo>
                  <a:pt x="284" y="136"/>
                </a:lnTo>
                <a:lnTo>
                  <a:pt x="283" y="137"/>
                </a:lnTo>
                <a:lnTo>
                  <a:pt x="282" y="137"/>
                </a:lnTo>
                <a:lnTo>
                  <a:pt x="280" y="136"/>
                </a:lnTo>
                <a:lnTo>
                  <a:pt x="278" y="133"/>
                </a:lnTo>
                <a:lnTo>
                  <a:pt x="272" y="134"/>
                </a:lnTo>
                <a:lnTo>
                  <a:pt x="273" y="136"/>
                </a:lnTo>
                <a:lnTo>
                  <a:pt x="267" y="137"/>
                </a:lnTo>
                <a:lnTo>
                  <a:pt x="265" y="137"/>
                </a:lnTo>
                <a:lnTo>
                  <a:pt x="264" y="137"/>
                </a:lnTo>
                <a:lnTo>
                  <a:pt x="259" y="140"/>
                </a:lnTo>
                <a:lnTo>
                  <a:pt x="245" y="144"/>
                </a:lnTo>
                <a:lnTo>
                  <a:pt x="243" y="144"/>
                </a:lnTo>
                <a:lnTo>
                  <a:pt x="244" y="147"/>
                </a:lnTo>
                <a:lnTo>
                  <a:pt x="245" y="147"/>
                </a:lnTo>
                <a:lnTo>
                  <a:pt x="243" y="148"/>
                </a:lnTo>
                <a:lnTo>
                  <a:pt x="239" y="148"/>
                </a:lnTo>
                <a:lnTo>
                  <a:pt x="238" y="149"/>
                </a:lnTo>
                <a:lnTo>
                  <a:pt x="235" y="148"/>
                </a:lnTo>
                <a:lnTo>
                  <a:pt x="235" y="150"/>
                </a:lnTo>
                <a:lnTo>
                  <a:pt x="234" y="153"/>
                </a:lnTo>
                <a:lnTo>
                  <a:pt x="234" y="154"/>
                </a:lnTo>
                <a:lnTo>
                  <a:pt x="237" y="158"/>
                </a:lnTo>
                <a:lnTo>
                  <a:pt x="235" y="159"/>
                </a:lnTo>
                <a:lnTo>
                  <a:pt x="232" y="160"/>
                </a:lnTo>
                <a:lnTo>
                  <a:pt x="230" y="160"/>
                </a:lnTo>
                <a:lnTo>
                  <a:pt x="225" y="160"/>
                </a:lnTo>
                <a:lnTo>
                  <a:pt x="225" y="163"/>
                </a:lnTo>
                <a:lnTo>
                  <a:pt x="223" y="161"/>
                </a:lnTo>
                <a:lnTo>
                  <a:pt x="222" y="160"/>
                </a:lnTo>
                <a:lnTo>
                  <a:pt x="220" y="160"/>
                </a:lnTo>
                <a:lnTo>
                  <a:pt x="218" y="160"/>
                </a:lnTo>
                <a:lnTo>
                  <a:pt x="215" y="160"/>
                </a:lnTo>
                <a:lnTo>
                  <a:pt x="212" y="158"/>
                </a:lnTo>
                <a:lnTo>
                  <a:pt x="211" y="156"/>
                </a:lnTo>
                <a:lnTo>
                  <a:pt x="205" y="153"/>
                </a:lnTo>
                <a:lnTo>
                  <a:pt x="202" y="152"/>
                </a:lnTo>
                <a:lnTo>
                  <a:pt x="201" y="151"/>
                </a:lnTo>
                <a:lnTo>
                  <a:pt x="200" y="149"/>
                </a:lnTo>
                <a:lnTo>
                  <a:pt x="202" y="149"/>
                </a:lnTo>
                <a:lnTo>
                  <a:pt x="203" y="148"/>
                </a:lnTo>
                <a:lnTo>
                  <a:pt x="204" y="147"/>
                </a:lnTo>
                <a:lnTo>
                  <a:pt x="207" y="146"/>
                </a:lnTo>
                <a:lnTo>
                  <a:pt x="219" y="144"/>
                </a:lnTo>
                <a:lnTo>
                  <a:pt x="215" y="143"/>
                </a:lnTo>
                <a:lnTo>
                  <a:pt x="214" y="141"/>
                </a:lnTo>
                <a:lnTo>
                  <a:pt x="213" y="139"/>
                </a:lnTo>
                <a:lnTo>
                  <a:pt x="211" y="140"/>
                </a:lnTo>
                <a:lnTo>
                  <a:pt x="209" y="138"/>
                </a:lnTo>
                <a:lnTo>
                  <a:pt x="207" y="137"/>
                </a:lnTo>
                <a:lnTo>
                  <a:pt x="207" y="136"/>
                </a:lnTo>
                <a:lnTo>
                  <a:pt x="203" y="134"/>
                </a:lnTo>
                <a:lnTo>
                  <a:pt x="198" y="133"/>
                </a:lnTo>
                <a:lnTo>
                  <a:pt x="192" y="133"/>
                </a:lnTo>
                <a:lnTo>
                  <a:pt x="188" y="133"/>
                </a:lnTo>
                <a:lnTo>
                  <a:pt x="186" y="133"/>
                </a:lnTo>
                <a:lnTo>
                  <a:pt x="183" y="133"/>
                </a:lnTo>
                <a:lnTo>
                  <a:pt x="173" y="131"/>
                </a:lnTo>
                <a:lnTo>
                  <a:pt x="174" y="132"/>
                </a:lnTo>
                <a:lnTo>
                  <a:pt x="186" y="137"/>
                </a:lnTo>
                <a:lnTo>
                  <a:pt x="187" y="140"/>
                </a:lnTo>
                <a:lnTo>
                  <a:pt x="188" y="142"/>
                </a:lnTo>
                <a:lnTo>
                  <a:pt x="188" y="144"/>
                </a:lnTo>
                <a:lnTo>
                  <a:pt x="189" y="146"/>
                </a:lnTo>
                <a:lnTo>
                  <a:pt x="188" y="151"/>
                </a:lnTo>
                <a:lnTo>
                  <a:pt x="188" y="152"/>
                </a:lnTo>
                <a:lnTo>
                  <a:pt x="189" y="154"/>
                </a:lnTo>
                <a:lnTo>
                  <a:pt x="190" y="154"/>
                </a:lnTo>
                <a:lnTo>
                  <a:pt x="193" y="154"/>
                </a:lnTo>
                <a:lnTo>
                  <a:pt x="195" y="156"/>
                </a:lnTo>
                <a:lnTo>
                  <a:pt x="198" y="158"/>
                </a:lnTo>
                <a:lnTo>
                  <a:pt x="199" y="159"/>
                </a:lnTo>
                <a:lnTo>
                  <a:pt x="198" y="161"/>
                </a:lnTo>
                <a:lnTo>
                  <a:pt x="199" y="162"/>
                </a:lnTo>
                <a:lnTo>
                  <a:pt x="199" y="164"/>
                </a:lnTo>
                <a:lnTo>
                  <a:pt x="198" y="166"/>
                </a:lnTo>
                <a:lnTo>
                  <a:pt x="198" y="169"/>
                </a:lnTo>
                <a:lnTo>
                  <a:pt x="199" y="171"/>
                </a:lnTo>
                <a:lnTo>
                  <a:pt x="200" y="175"/>
                </a:lnTo>
                <a:lnTo>
                  <a:pt x="198" y="173"/>
                </a:lnTo>
                <a:lnTo>
                  <a:pt x="197" y="172"/>
                </a:lnTo>
                <a:lnTo>
                  <a:pt x="194" y="171"/>
                </a:lnTo>
                <a:lnTo>
                  <a:pt x="192" y="171"/>
                </a:lnTo>
                <a:lnTo>
                  <a:pt x="190" y="172"/>
                </a:lnTo>
                <a:lnTo>
                  <a:pt x="191" y="170"/>
                </a:lnTo>
                <a:lnTo>
                  <a:pt x="191" y="169"/>
                </a:lnTo>
                <a:lnTo>
                  <a:pt x="187" y="168"/>
                </a:lnTo>
                <a:lnTo>
                  <a:pt x="184" y="167"/>
                </a:lnTo>
                <a:lnTo>
                  <a:pt x="179" y="167"/>
                </a:lnTo>
                <a:lnTo>
                  <a:pt x="174" y="164"/>
                </a:lnTo>
                <a:lnTo>
                  <a:pt x="172" y="166"/>
                </a:lnTo>
                <a:lnTo>
                  <a:pt x="172" y="167"/>
                </a:lnTo>
                <a:lnTo>
                  <a:pt x="170" y="169"/>
                </a:lnTo>
                <a:lnTo>
                  <a:pt x="168" y="171"/>
                </a:lnTo>
                <a:lnTo>
                  <a:pt x="167" y="172"/>
                </a:lnTo>
                <a:lnTo>
                  <a:pt x="161" y="173"/>
                </a:lnTo>
                <a:lnTo>
                  <a:pt x="159" y="173"/>
                </a:lnTo>
                <a:lnTo>
                  <a:pt x="157" y="174"/>
                </a:lnTo>
                <a:lnTo>
                  <a:pt x="156" y="177"/>
                </a:lnTo>
                <a:lnTo>
                  <a:pt x="154" y="178"/>
                </a:lnTo>
                <a:lnTo>
                  <a:pt x="152" y="179"/>
                </a:lnTo>
                <a:lnTo>
                  <a:pt x="149" y="179"/>
                </a:lnTo>
                <a:lnTo>
                  <a:pt x="150" y="181"/>
                </a:lnTo>
                <a:lnTo>
                  <a:pt x="151" y="183"/>
                </a:lnTo>
                <a:lnTo>
                  <a:pt x="154" y="187"/>
                </a:lnTo>
                <a:lnTo>
                  <a:pt x="158" y="189"/>
                </a:lnTo>
                <a:lnTo>
                  <a:pt x="160" y="190"/>
                </a:lnTo>
                <a:lnTo>
                  <a:pt x="164" y="194"/>
                </a:lnTo>
                <a:lnTo>
                  <a:pt x="166" y="195"/>
                </a:lnTo>
                <a:lnTo>
                  <a:pt x="168" y="197"/>
                </a:lnTo>
                <a:lnTo>
                  <a:pt x="168" y="198"/>
                </a:lnTo>
                <a:lnTo>
                  <a:pt x="163" y="197"/>
                </a:lnTo>
                <a:lnTo>
                  <a:pt x="162" y="197"/>
                </a:lnTo>
                <a:lnTo>
                  <a:pt x="156" y="195"/>
                </a:lnTo>
                <a:lnTo>
                  <a:pt x="156" y="195"/>
                </a:lnTo>
                <a:lnTo>
                  <a:pt x="156" y="197"/>
                </a:lnTo>
                <a:lnTo>
                  <a:pt x="152" y="195"/>
                </a:lnTo>
                <a:lnTo>
                  <a:pt x="148" y="194"/>
                </a:lnTo>
                <a:lnTo>
                  <a:pt x="143" y="193"/>
                </a:lnTo>
                <a:lnTo>
                  <a:pt x="140" y="193"/>
                </a:lnTo>
                <a:lnTo>
                  <a:pt x="138" y="192"/>
                </a:lnTo>
                <a:lnTo>
                  <a:pt x="134" y="194"/>
                </a:lnTo>
                <a:lnTo>
                  <a:pt x="133" y="195"/>
                </a:lnTo>
                <a:lnTo>
                  <a:pt x="132" y="193"/>
                </a:lnTo>
                <a:lnTo>
                  <a:pt x="136" y="192"/>
                </a:lnTo>
                <a:lnTo>
                  <a:pt x="132" y="191"/>
                </a:lnTo>
                <a:lnTo>
                  <a:pt x="129" y="191"/>
                </a:lnTo>
                <a:lnTo>
                  <a:pt x="127" y="189"/>
                </a:lnTo>
                <a:lnTo>
                  <a:pt x="123" y="188"/>
                </a:lnTo>
                <a:lnTo>
                  <a:pt x="119" y="187"/>
                </a:lnTo>
                <a:lnTo>
                  <a:pt x="116" y="187"/>
                </a:lnTo>
                <a:lnTo>
                  <a:pt x="116" y="189"/>
                </a:lnTo>
                <a:lnTo>
                  <a:pt x="114" y="190"/>
                </a:lnTo>
                <a:lnTo>
                  <a:pt x="112" y="191"/>
                </a:lnTo>
                <a:lnTo>
                  <a:pt x="113" y="192"/>
                </a:lnTo>
                <a:lnTo>
                  <a:pt x="116" y="194"/>
                </a:lnTo>
                <a:lnTo>
                  <a:pt x="118" y="194"/>
                </a:lnTo>
                <a:lnTo>
                  <a:pt x="121" y="198"/>
                </a:lnTo>
                <a:lnTo>
                  <a:pt x="124" y="200"/>
                </a:lnTo>
                <a:lnTo>
                  <a:pt x="131" y="198"/>
                </a:lnTo>
                <a:lnTo>
                  <a:pt x="133" y="200"/>
                </a:lnTo>
                <a:lnTo>
                  <a:pt x="137" y="205"/>
                </a:lnTo>
                <a:lnTo>
                  <a:pt x="138" y="207"/>
                </a:lnTo>
                <a:lnTo>
                  <a:pt x="134" y="205"/>
                </a:lnTo>
                <a:lnTo>
                  <a:pt x="131" y="208"/>
                </a:lnTo>
                <a:lnTo>
                  <a:pt x="130" y="209"/>
                </a:lnTo>
                <a:lnTo>
                  <a:pt x="131" y="209"/>
                </a:lnTo>
                <a:lnTo>
                  <a:pt x="128" y="208"/>
                </a:lnTo>
                <a:lnTo>
                  <a:pt x="124" y="208"/>
                </a:lnTo>
                <a:lnTo>
                  <a:pt x="118" y="205"/>
                </a:lnTo>
                <a:lnTo>
                  <a:pt x="113" y="204"/>
                </a:lnTo>
                <a:lnTo>
                  <a:pt x="112" y="203"/>
                </a:lnTo>
                <a:lnTo>
                  <a:pt x="110" y="202"/>
                </a:lnTo>
                <a:lnTo>
                  <a:pt x="108" y="201"/>
                </a:lnTo>
                <a:lnTo>
                  <a:pt x="107" y="200"/>
                </a:lnTo>
                <a:lnTo>
                  <a:pt x="103" y="200"/>
                </a:lnTo>
                <a:lnTo>
                  <a:pt x="103" y="200"/>
                </a:lnTo>
                <a:lnTo>
                  <a:pt x="100" y="200"/>
                </a:lnTo>
                <a:lnTo>
                  <a:pt x="96" y="199"/>
                </a:lnTo>
                <a:lnTo>
                  <a:pt x="95" y="197"/>
                </a:lnTo>
                <a:lnTo>
                  <a:pt x="91" y="198"/>
                </a:lnTo>
                <a:lnTo>
                  <a:pt x="92" y="197"/>
                </a:lnTo>
                <a:lnTo>
                  <a:pt x="93" y="195"/>
                </a:lnTo>
                <a:lnTo>
                  <a:pt x="92" y="193"/>
                </a:lnTo>
                <a:lnTo>
                  <a:pt x="92" y="191"/>
                </a:lnTo>
                <a:lnTo>
                  <a:pt x="90" y="190"/>
                </a:lnTo>
                <a:lnTo>
                  <a:pt x="89" y="188"/>
                </a:lnTo>
                <a:lnTo>
                  <a:pt x="85" y="183"/>
                </a:lnTo>
                <a:lnTo>
                  <a:pt x="85" y="182"/>
                </a:lnTo>
                <a:lnTo>
                  <a:pt x="88" y="182"/>
                </a:lnTo>
                <a:lnTo>
                  <a:pt x="88" y="180"/>
                </a:lnTo>
                <a:lnTo>
                  <a:pt x="88" y="177"/>
                </a:lnTo>
                <a:lnTo>
                  <a:pt x="87" y="175"/>
                </a:lnTo>
                <a:lnTo>
                  <a:pt x="85" y="174"/>
                </a:lnTo>
                <a:lnTo>
                  <a:pt x="82" y="172"/>
                </a:lnTo>
                <a:lnTo>
                  <a:pt x="81" y="171"/>
                </a:lnTo>
                <a:lnTo>
                  <a:pt x="78" y="171"/>
                </a:lnTo>
                <a:lnTo>
                  <a:pt x="77" y="169"/>
                </a:lnTo>
                <a:lnTo>
                  <a:pt x="73" y="169"/>
                </a:lnTo>
                <a:lnTo>
                  <a:pt x="70" y="169"/>
                </a:lnTo>
                <a:lnTo>
                  <a:pt x="70" y="168"/>
                </a:lnTo>
                <a:lnTo>
                  <a:pt x="70" y="167"/>
                </a:lnTo>
                <a:lnTo>
                  <a:pt x="69" y="167"/>
                </a:lnTo>
                <a:lnTo>
                  <a:pt x="66" y="166"/>
                </a:lnTo>
                <a:lnTo>
                  <a:pt x="57" y="162"/>
                </a:lnTo>
                <a:lnTo>
                  <a:pt x="59" y="162"/>
                </a:lnTo>
                <a:lnTo>
                  <a:pt x="55" y="160"/>
                </a:lnTo>
                <a:lnTo>
                  <a:pt x="53" y="158"/>
                </a:lnTo>
                <a:lnTo>
                  <a:pt x="51" y="157"/>
                </a:lnTo>
                <a:lnTo>
                  <a:pt x="48" y="157"/>
                </a:lnTo>
                <a:lnTo>
                  <a:pt x="49" y="156"/>
                </a:lnTo>
                <a:lnTo>
                  <a:pt x="53" y="156"/>
                </a:lnTo>
                <a:lnTo>
                  <a:pt x="58" y="157"/>
                </a:lnTo>
                <a:lnTo>
                  <a:pt x="59" y="158"/>
                </a:lnTo>
                <a:lnTo>
                  <a:pt x="61" y="159"/>
                </a:lnTo>
                <a:lnTo>
                  <a:pt x="68" y="161"/>
                </a:lnTo>
                <a:lnTo>
                  <a:pt x="69" y="161"/>
                </a:lnTo>
                <a:lnTo>
                  <a:pt x="69" y="160"/>
                </a:lnTo>
                <a:lnTo>
                  <a:pt x="71" y="162"/>
                </a:lnTo>
                <a:lnTo>
                  <a:pt x="73" y="162"/>
                </a:lnTo>
                <a:lnTo>
                  <a:pt x="75" y="162"/>
                </a:lnTo>
                <a:lnTo>
                  <a:pt x="76" y="162"/>
                </a:lnTo>
                <a:lnTo>
                  <a:pt x="77" y="161"/>
                </a:lnTo>
                <a:lnTo>
                  <a:pt x="78" y="162"/>
                </a:lnTo>
                <a:lnTo>
                  <a:pt x="79" y="163"/>
                </a:lnTo>
                <a:lnTo>
                  <a:pt x="80" y="164"/>
                </a:lnTo>
                <a:lnTo>
                  <a:pt x="83" y="163"/>
                </a:lnTo>
                <a:lnTo>
                  <a:pt x="88" y="164"/>
                </a:lnTo>
                <a:lnTo>
                  <a:pt x="89" y="166"/>
                </a:lnTo>
                <a:lnTo>
                  <a:pt x="92" y="166"/>
                </a:lnTo>
                <a:lnTo>
                  <a:pt x="93" y="167"/>
                </a:lnTo>
                <a:lnTo>
                  <a:pt x="101" y="168"/>
                </a:lnTo>
                <a:lnTo>
                  <a:pt x="105" y="169"/>
                </a:lnTo>
                <a:lnTo>
                  <a:pt x="111" y="169"/>
                </a:lnTo>
                <a:lnTo>
                  <a:pt x="117" y="170"/>
                </a:lnTo>
                <a:lnTo>
                  <a:pt x="119" y="171"/>
                </a:lnTo>
                <a:lnTo>
                  <a:pt x="123" y="171"/>
                </a:lnTo>
                <a:lnTo>
                  <a:pt x="134" y="172"/>
                </a:lnTo>
                <a:lnTo>
                  <a:pt x="137" y="171"/>
                </a:lnTo>
                <a:lnTo>
                  <a:pt x="140" y="171"/>
                </a:lnTo>
                <a:lnTo>
                  <a:pt x="149" y="169"/>
                </a:lnTo>
                <a:lnTo>
                  <a:pt x="150" y="168"/>
                </a:lnTo>
                <a:lnTo>
                  <a:pt x="152" y="167"/>
                </a:lnTo>
                <a:lnTo>
                  <a:pt x="156" y="164"/>
                </a:lnTo>
                <a:lnTo>
                  <a:pt x="159" y="160"/>
                </a:lnTo>
                <a:lnTo>
                  <a:pt x="160" y="158"/>
                </a:lnTo>
                <a:lnTo>
                  <a:pt x="159" y="156"/>
                </a:lnTo>
                <a:lnTo>
                  <a:pt x="157" y="154"/>
                </a:lnTo>
                <a:lnTo>
                  <a:pt x="157" y="154"/>
                </a:lnTo>
                <a:lnTo>
                  <a:pt x="156" y="151"/>
                </a:lnTo>
                <a:lnTo>
                  <a:pt x="153" y="150"/>
                </a:lnTo>
                <a:lnTo>
                  <a:pt x="152" y="148"/>
                </a:lnTo>
                <a:lnTo>
                  <a:pt x="150" y="146"/>
                </a:lnTo>
                <a:lnTo>
                  <a:pt x="147" y="146"/>
                </a:lnTo>
                <a:lnTo>
                  <a:pt x="146" y="146"/>
                </a:lnTo>
                <a:lnTo>
                  <a:pt x="144" y="144"/>
                </a:lnTo>
                <a:lnTo>
                  <a:pt x="143" y="144"/>
                </a:lnTo>
                <a:lnTo>
                  <a:pt x="142" y="143"/>
                </a:lnTo>
                <a:lnTo>
                  <a:pt x="139" y="142"/>
                </a:lnTo>
                <a:lnTo>
                  <a:pt x="138" y="141"/>
                </a:lnTo>
                <a:lnTo>
                  <a:pt x="137" y="140"/>
                </a:lnTo>
                <a:lnTo>
                  <a:pt x="136" y="140"/>
                </a:lnTo>
                <a:lnTo>
                  <a:pt x="137" y="141"/>
                </a:lnTo>
                <a:lnTo>
                  <a:pt x="134" y="141"/>
                </a:lnTo>
                <a:lnTo>
                  <a:pt x="130" y="140"/>
                </a:lnTo>
                <a:lnTo>
                  <a:pt x="128" y="139"/>
                </a:lnTo>
                <a:lnTo>
                  <a:pt x="127" y="140"/>
                </a:lnTo>
                <a:lnTo>
                  <a:pt x="127" y="139"/>
                </a:lnTo>
                <a:lnTo>
                  <a:pt x="124" y="138"/>
                </a:lnTo>
                <a:lnTo>
                  <a:pt x="122" y="137"/>
                </a:lnTo>
                <a:lnTo>
                  <a:pt x="124" y="138"/>
                </a:lnTo>
                <a:lnTo>
                  <a:pt x="119" y="138"/>
                </a:lnTo>
                <a:lnTo>
                  <a:pt x="117" y="137"/>
                </a:lnTo>
                <a:lnTo>
                  <a:pt x="117" y="136"/>
                </a:lnTo>
                <a:lnTo>
                  <a:pt x="114" y="134"/>
                </a:lnTo>
                <a:lnTo>
                  <a:pt x="107" y="131"/>
                </a:lnTo>
                <a:lnTo>
                  <a:pt x="103" y="130"/>
                </a:lnTo>
                <a:lnTo>
                  <a:pt x="101" y="129"/>
                </a:lnTo>
                <a:lnTo>
                  <a:pt x="96" y="127"/>
                </a:lnTo>
                <a:lnTo>
                  <a:pt x="93" y="126"/>
                </a:lnTo>
                <a:lnTo>
                  <a:pt x="86" y="124"/>
                </a:lnTo>
                <a:lnTo>
                  <a:pt x="83" y="123"/>
                </a:lnTo>
                <a:lnTo>
                  <a:pt x="77" y="123"/>
                </a:lnTo>
                <a:lnTo>
                  <a:pt x="77" y="123"/>
                </a:lnTo>
                <a:lnTo>
                  <a:pt x="77" y="124"/>
                </a:lnTo>
                <a:lnTo>
                  <a:pt x="76" y="124"/>
                </a:lnTo>
                <a:lnTo>
                  <a:pt x="71" y="123"/>
                </a:lnTo>
                <a:lnTo>
                  <a:pt x="63" y="122"/>
                </a:lnTo>
                <a:lnTo>
                  <a:pt x="60" y="121"/>
                </a:lnTo>
                <a:lnTo>
                  <a:pt x="60" y="122"/>
                </a:lnTo>
                <a:lnTo>
                  <a:pt x="57" y="122"/>
                </a:lnTo>
                <a:lnTo>
                  <a:pt x="55" y="123"/>
                </a:lnTo>
                <a:lnTo>
                  <a:pt x="53" y="122"/>
                </a:lnTo>
                <a:lnTo>
                  <a:pt x="52" y="122"/>
                </a:lnTo>
                <a:lnTo>
                  <a:pt x="53" y="120"/>
                </a:lnTo>
                <a:lnTo>
                  <a:pt x="52" y="120"/>
                </a:lnTo>
                <a:lnTo>
                  <a:pt x="49" y="122"/>
                </a:lnTo>
                <a:lnTo>
                  <a:pt x="49" y="120"/>
                </a:lnTo>
                <a:lnTo>
                  <a:pt x="47" y="120"/>
                </a:lnTo>
                <a:lnTo>
                  <a:pt x="47" y="119"/>
                </a:lnTo>
                <a:lnTo>
                  <a:pt x="47" y="119"/>
                </a:lnTo>
                <a:lnTo>
                  <a:pt x="45" y="119"/>
                </a:lnTo>
                <a:lnTo>
                  <a:pt x="42" y="120"/>
                </a:lnTo>
                <a:lnTo>
                  <a:pt x="42" y="119"/>
                </a:lnTo>
                <a:lnTo>
                  <a:pt x="42" y="119"/>
                </a:lnTo>
                <a:lnTo>
                  <a:pt x="41" y="118"/>
                </a:lnTo>
                <a:lnTo>
                  <a:pt x="38" y="118"/>
                </a:lnTo>
                <a:lnTo>
                  <a:pt x="38" y="116"/>
                </a:lnTo>
                <a:lnTo>
                  <a:pt x="39" y="117"/>
                </a:lnTo>
                <a:lnTo>
                  <a:pt x="41" y="117"/>
                </a:lnTo>
                <a:lnTo>
                  <a:pt x="42" y="117"/>
                </a:lnTo>
                <a:lnTo>
                  <a:pt x="43" y="118"/>
                </a:lnTo>
                <a:lnTo>
                  <a:pt x="46" y="118"/>
                </a:lnTo>
                <a:lnTo>
                  <a:pt x="48" y="118"/>
                </a:lnTo>
                <a:lnTo>
                  <a:pt x="49" y="116"/>
                </a:lnTo>
                <a:lnTo>
                  <a:pt x="49" y="116"/>
                </a:lnTo>
                <a:lnTo>
                  <a:pt x="45" y="114"/>
                </a:lnTo>
                <a:lnTo>
                  <a:pt x="43" y="114"/>
                </a:lnTo>
                <a:lnTo>
                  <a:pt x="41" y="114"/>
                </a:lnTo>
                <a:lnTo>
                  <a:pt x="41" y="113"/>
                </a:lnTo>
                <a:lnTo>
                  <a:pt x="38" y="112"/>
                </a:lnTo>
                <a:lnTo>
                  <a:pt x="35" y="112"/>
                </a:lnTo>
                <a:lnTo>
                  <a:pt x="36" y="113"/>
                </a:lnTo>
                <a:lnTo>
                  <a:pt x="36" y="114"/>
                </a:lnTo>
                <a:lnTo>
                  <a:pt x="35" y="114"/>
                </a:lnTo>
                <a:lnTo>
                  <a:pt x="33" y="114"/>
                </a:lnTo>
                <a:lnTo>
                  <a:pt x="33" y="114"/>
                </a:lnTo>
                <a:lnTo>
                  <a:pt x="33" y="116"/>
                </a:lnTo>
                <a:lnTo>
                  <a:pt x="33" y="117"/>
                </a:lnTo>
                <a:lnTo>
                  <a:pt x="31" y="117"/>
                </a:lnTo>
                <a:lnTo>
                  <a:pt x="28" y="116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5" y="116"/>
                </a:lnTo>
                <a:lnTo>
                  <a:pt x="25" y="116"/>
                </a:lnTo>
                <a:lnTo>
                  <a:pt x="24" y="118"/>
                </a:lnTo>
                <a:lnTo>
                  <a:pt x="24" y="118"/>
                </a:lnTo>
                <a:lnTo>
                  <a:pt x="21" y="118"/>
                </a:lnTo>
                <a:lnTo>
                  <a:pt x="16" y="117"/>
                </a:lnTo>
                <a:lnTo>
                  <a:pt x="16" y="120"/>
                </a:lnTo>
                <a:lnTo>
                  <a:pt x="15" y="120"/>
                </a:lnTo>
                <a:lnTo>
                  <a:pt x="8" y="122"/>
                </a:lnTo>
                <a:lnTo>
                  <a:pt x="8" y="123"/>
                </a:lnTo>
                <a:lnTo>
                  <a:pt x="8" y="124"/>
                </a:lnTo>
                <a:lnTo>
                  <a:pt x="8" y="124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0" y="128"/>
                </a:lnTo>
                <a:lnTo>
                  <a:pt x="1" y="129"/>
                </a:lnTo>
                <a:lnTo>
                  <a:pt x="2" y="129"/>
                </a:lnTo>
                <a:lnTo>
                  <a:pt x="0" y="132"/>
                </a:lnTo>
                <a:lnTo>
                  <a:pt x="0" y="133"/>
                </a:lnTo>
                <a:lnTo>
                  <a:pt x="1" y="136"/>
                </a:lnTo>
                <a:lnTo>
                  <a:pt x="4" y="138"/>
                </a:lnTo>
                <a:lnTo>
                  <a:pt x="5" y="139"/>
                </a:lnTo>
                <a:lnTo>
                  <a:pt x="7" y="139"/>
                </a:lnTo>
                <a:lnTo>
                  <a:pt x="10" y="139"/>
                </a:lnTo>
                <a:lnTo>
                  <a:pt x="14" y="140"/>
                </a:lnTo>
                <a:lnTo>
                  <a:pt x="18" y="144"/>
                </a:lnTo>
                <a:lnTo>
                  <a:pt x="21" y="146"/>
                </a:lnTo>
                <a:lnTo>
                  <a:pt x="22" y="148"/>
                </a:lnTo>
                <a:lnTo>
                  <a:pt x="19" y="152"/>
                </a:lnTo>
                <a:lnTo>
                  <a:pt x="17" y="157"/>
                </a:lnTo>
                <a:lnTo>
                  <a:pt x="16" y="159"/>
                </a:lnTo>
                <a:lnTo>
                  <a:pt x="16" y="161"/>
                </a:lnTo>
                <a:lnTo>
                  <a:pt x="19" y="163"/>
                </a:lnTo>
                <a:lnTo>
                  <a:pt x="21" y="164"/>
                </a:lnTo>
                <a:lnTo>
                  <a:pt x="22" y="167"/>
                </a:lnTo>
                <a:lnTo>
                  <a:pt x="26" y="170"/>
                </a:lnTo>
                <a:lnTo>
                  <a:pt x="29" y="174"/>
                </a:lnTo>
                <a:lnTo>
                  <a:pt x="30" y="177"/>
                </a:lnTo>
                <a:lnTo>
                  <a:pt x="31" y="178"/>
                </a:lnTo>
                <a:lnTo>
                  <a:pt x="29" y="180"/>
                </a:lnTo>
                <a:lnTo>
                  <a:pt x="29" y="182"/>
                </a:lnTo>
                <a:lnTo>
                  <a:pt x="28" y="184"/>
                </a:lnTo>
                <a:lnTo>
                  <a:pt x="29" y="185"/>
                </a:lnTo>
                <a:lnTo>
                  <a:pt x="30" y="188"/>
                </a:lnTo>
                <a:lnTo>
                  <a:pt x="29" y="189"/>
                </a:lnTo>
                <a:lnTo>
                  <a:pt x="30" y="191"/>
                </a:lnTo>
                <a:lnTo>
                  <a:pt x="33" y="192"/>
                </a:lnTo>
                <a:lnTo>
                  <a:pt x="36" y="194"/>
                </a:lnTo>
                <a:lnTo>
                  <a:pt x="36" y="197"/>
                </a:lnTo>
                <a:lnTo>
                  <a:pt x="38" y="199"/>
                </a:lnTo>
                <a:lnTo>
                  <a:pt x="42" y="201"/>
                </a:lnTo>
                <a:lnTo>
                  <a:pt x="43" y="203"/>
                </a:lnTo>
                <a:lnTo>
                  <a:pt x="42" y="205"/>
                </a:lnTo>
                <a:lnTo>
                  <a:pt x="40" y="208"/>
                </a:lnTo>
                <a:lnTo>
                  <a:pt x="40" y="210"/>
                </a:lnTo>
                <a:lnTo>
                  <a:pt x="42" y="212"/>
                </a:lnTo>
                <a:lnTo>
                  <a:pt x="45" y="213"/>
                </a:lnTo>
                <a:lnTo>
                  <a:pt x="51" y="217"/>
                </a:lnTo>
                <a:lnTo>
                  <a:pt x="53" y="219"/>
                </a:lnTo>
                <a:lnTo>
                  <a:pt x="56" y="221"/>
                </a:lnTo>
                <a:lnTo>
                  <a:pt x="57" y="221"/>
                </a:lnTo>
                <a:lnTo>
                  <a:pt x="58" y="225"/>
                </a:lnTo>
                <a:lnTo>
                  <a:pt x="56" y="231"/>
                </a:lnTo>
                <a:lnTo>
                  <a:pt x="53" y="233"/>
                </a:lnTo>
                <a:lnTo>
                  <a:pt x="43" y="243"/>
                </a:lnTo>
                <a:lnTo>
                  <a:pt x="36" y="250"/>
                </a:lnTo>
                <a:lnTo>
                  <a:pt x="26" y="257"/>
                </a:lnTo>
                <a:lnTo>
                  <a:pt x="18" y="261"/>
                </a:lnTo>
                <a:lnTo>
                  <a:pt x="18" y="261"/>
                </a:lnTo>
                <a:lnTo>
                  <a:pt x="25" y="261"/>
                </a:lnTo>
                <a:lnTo>
                  <a:pt x="27" y="260"/>
                </a:lnTo>
                <a:lnTo>
                  <a:pt x="30" y="258"/>
                </a:lnTo>
                <a:lnTo>
                  <a:pt x="31" y="259"/>
                </a:lnTo>
                <a:lnTo>
                  <a:pt x="30" y="260"/>
                </a:lnTo>
                <a:lnTo>
                  <a:pt x="31" y="262"/>
                </a:lnTo>
                <a:lnTo>
                  <a:pt x="30" y="261"/>
                </a:lnTo>
                <a:lnTo>
                  <a:pt x="29" y="261"/>
                </a:lnTo>
                <a:lnTo>
                  <a:pt x="29" y="263"/>
                </a:lnTo>
                <a:lnTo>
                  <a:pt x="30" y="264"/>
                </a:lnTo>
                <a:lnTo>
                  <a:pt x="32" y="264"/>
                </a:lnTo>
                <a:lnTo>
                  <a:pt x="33" y="265"/>
                </a:lnTo>
                <a:lnTo>
                  <a:pt x="38" y="268"/>
                </a:lnTo>
                <a:lnTo>
                  <a:pt x="40" y="268"/>
                </a:lnTo>
                <a:lnTo>
                  <a:pt x="45" y="267"/>
                </a:lnTo>
                <a:lnTo>
                  <a:pt x="47" y="268"/>
                </a:lnTo>
                <a:lnTo>
                  <a:pt x="50" y="269"/>
                </a:lnTo>
                <a:lnTo>
                  <a:pt x="50" y="270"/>
                </a:lnTo>
                <a:lnTo>
                  <a:pt x="51" y="270"/>
                </a:lnTo>
                <a:lnTo>
                  <a:pt x="53" y="271"/>
                </a:lnTo>
                <a:lnTo>
                  <a:pt x="53" y="271"/>
                </a:lnTo>
                <a:lnTo>
                  <a:pt x="52" y="272"/>
                </a:lnTo>
                <a:lnTo>
                  <a:pt x="50" y="272"/>
                </a:lnTo>
                <a:lnTo>
                  <a:pt x="43" y="271"/>
                </a:lnTo>
                <a:lnTo>
                  <a:pt x="39" y="271"/>
                </a:lnTo>
                <a:lnTo>
                  <a:pt x="38" y="271"/>
                </a:lnTo>
                <a:lnTo>
                  <a:pt x="38" y="272"/>
                </a:lnTo>
                <a:lnTo>
                  <a:pt x="35" y="274"/>
                </a:lnTo>
                <a:lnTo>
                  <a:pt x="32" y="273"/>
                </a:lnTo>
                <a:lnTo>
                  <a:pt x="31" y="273"/>
                </a:lnTo>
                <a:lnTo>
                  <a:pt x="31" y="275"/>
                </a:lnTo>
                <a:lnTo>
                  <a:pt x="29" y="275"/>
                </a:lnTo>
                <a:lnTo>
                  <a:pt x="28" y="274"/>
                </a:lnTo>
                <a:lnTo>
                  <a:pt x="26" y="274"/>
                </a:lnTo>
                <a:lnTo>
                  <a:pt x="26" y="275"/>
                </a:lnTo>
                <a:lnTo>
                  <a:pt x="27" y="278"/>
                </a:lnTo>
                <a:lnTo>
                  <a:pt x="28" y="278"/>
                </a:lnTo>
                <a:lnTo>
                  <a:pt x="30" y="279"/>
                </a:lnTo>
                <a:lnTo>
                  <a:pt x="30" y="280"/>
                </a:lnTo>
                <a:lnTo>
                  <a:pt x="30" y="281"/>
                </a:lnTo>
                <a:lnTo>
                  <a:pt x="28" y="283"/>
                </a:lnTo>
                <a:lnTo>
                  <a:pt x="27" y="285"/>
                </a:lnTo>
                <a:lnTo>
                  <a:pt x="26" y="288"/>
                </a:lnTo>
                <a:lnTo>
                  <a:pt x="27" y="290"/>
                </a:lnTo>
                <a:lnTo>
                  <a:pt x="27" y="293"/>
                </a:lnTo>
                <a:lnTo>
                  <a:pt x="27" y="293"/>
                </a:lnTo>
                <a:lnTo>
                  <a:pt x="28" y="294"/>
                </a:lnTo>
                <a:lnTo>
                  <a:pt x="28" y="295"/>
                </a:lnTo>
                <a:lnTo>
                  <a:pt x="28" y="296"/>
                </a:lnTo>
                <a:lnTo>
                  <a:pt x="26" y="298"/>
                </a:lnTo>
                <a:lnTo>
                  <a:pt x="25" y="299"/>
                </a:lnTo>
                <a:lnTo>
                  <a:pt x="25" y="300"/>
                </a:lnTo>
                <a:lnTo>
                  <a:pt x="26" y="301"/>
                </a:lnTo>
                <a:lnTo>
                  <a:pt x="28" y="301"/>
                </a:lnTo>
                <a:lnTo>
                  <a:pt x="31" y="301"/>
                </a:lnTo>
                <a:lnTo>
                  <a:pt x="33" y="304"/>
                </a:lnTo>
                <a:lnTo>
                  <a:pt x="33" y="306"/>
                </a:lnTo>
                <a:lnTo>
                  <a:pt x="31" y="306"/>
                </a:lnTo>
                <a:lnTo>
                  <a:pt x="29" y="304"/>
                </a:lnTo>
                <a:lnTo>
                  <a:pt x="27" y="303"/>
                </a:lnTo>
                <a:lnTo>
                  <a:pt x="28" y="305"/>
                </a:lnTo>
                <a:lnTo>
                  <a:pt x="27" y="306"/>
                </a:lnTo>
                <a:lnTo>
                  <a:pt x="26" y="310"/>
                </a:lnTo>
                <a:lnTo>
                  <a:pt x="27" y="311"/>
                </a:lnTo>
                <a:lnTo>
                  <a:pt x="28" y="312"/>
                </a:lnTo>
                <a:lnTo>
                  <a:pt x="29" y="313"/>
                </a:lnTo>
                <a:lnTo>
                  <a:pt x="30" y="313"/>
                </a:lnTo>
                <a:lnTo>
                  <a:pt x="32" y="314"/>
                </a:lnTo>
                <a:lnTo>
                  <a:pt x="32" y="316"/>
                </a:lnTo>
                <a:lnTo>
                  <a:pt x="32" y="320"/>
                </a:lnTo>
                <a:lnTo>
                  <a:pt x="31" y="321"/>
                </a:lnTo>
                <a:lnTo>
                  <a:pt x="33" y="322"/>
                </a:lnTo>
                <a:lnTo>
                  <a:pt x="36" y="323"/>
                </a:lnTo>
                <a:lnTo>
                  <a:pt x="36" y="324"/>
                </a:lnTo>
                <a:lnTo>
                  <a:pt x="39" y="328"/>
                </a:lnTo>
                <a:lnTo>
                  <a:pt x="40" y="329"/>
                </a:lnTo>
                <a:lnTo>
                  <a:pt x="41" y="330"/>
                </a:lnTo>
                <a:lnTo>
                  <a:pt x="42" y="333"/>
                </a:lnTo>
                <a:lnTo>
                  <a:pt x="42" y="334"/>
                </a:lnTo>
                <a:lnTo>
                  <a:pt x="42" y="335"/>
                </a:lnTo>
                <a:lnTo>
                  <a:pt x="47" y="335"/>
                </a:lnTo>
                <a:lnTo>
                  <a:pt x="48" y="335"/>
                </a:lnTo>
                <a:lnTo>
                  <a:pt x="50" y="338"/>
                </a:lnTo>
                <a:lnTo>
                  <a:pt x="53" y="336"/>
                </a:lnTo>
                <a:lnTo>
                  <a:pt x="56" y="336"/>
                </a:lnTo>
                <a:lnTo>
                  <a:pt x="59" y="339"/>
                </a:lnTo>
                <a:lnTo>
                  <a:pt x="59" y="342"/>
                </a:lnTo>
                <a:lnTo>
                  <a:pt x="62" y="341"/>
                </a:lnTo>
                <a:lnTo>
                  <a:pt x="63" y="341"/>
                </a:lnTo>
                <a:lnTo>
                  <a:pt x="66" y="340"/>
                </a:lnTo>
                <a:lnTo>
                  <a:pt x="69" y="340"/>
                </a:lnTo>
                <a:lnTo>
                  <a:pt x="71" y="340"/>
                </a:lnTo>
                <a:lnTo>
                  <a:pt x="72" y="340"/>
                </a:lnTo>
                <a:lnTo>
                  <a:pt x="75" y="341"/>
                </a:lnTo>
                <a:lnTo>
                  <a:pt x="77" y="343"/>
                </a:lnTo>
                <a:lnTo>
                  <a:pt x="79" y="344"/>
                </a:lnTo>
                <a:lnTo>
                  <a:pt x="80" y="345"/>
                </a:lnTo>
                <a:lnTo>
                  <a:pt x="79" y="348"/>
                </a:lnTo>
                <a:lnTo>
                  <a:pt x="80" y="349"/>
                </a:lnTo>
                <a:lnTo>
                  <a:pt x="81" y="350"/>
                </a:lnTo>
                <a:lnTo>
                  <a:pt x="82" y="351"/>
                </a:lnTo>
                <a:lnTo>
                  <a:pt x="82" y="352"/>
                </a:lnTo>
                <a:lnTo>
                  <a:pt x="82" y="354"/>
                </a:lnTo>
                <a:lnTo>
                  <a:pt x="80" y="355"/>
                </a:lnTo>
                <a:lnTo>
                  <a:pt x="80" y="356"/>
                </a:lnTo>
                <a:lnTo>
                  <a:pt x="81" y="358"/>
                </a:lnTo>
                <a:lnTo>
                  <a:pt x="85" y="360"/>
                </a:lnTo>
                <a:lnTo>
                  <a:pt x="86" y="363"/>
                </a:lnTo>
                <a:lnTo>
                  <a:pt x="90" y="366"/>
                </a:lnTo>
                <a:lnTo>
                  <a:pt x="91" y="368"/>
                </a:lnTo>
                <a:lnTo>
                  <a:pt x="95" y="370"/>
                </a:lnTo>
                <a:lnTo>
                  <a:pt x="97" y="371"/>
                </a:lnTo>
                <a:lnTo>
                  <a:pt x="97" y="372"/>
                </a:lnTo>
                <a:lnTo>
                  <a:pt x="97" y="373"/>
                </a:lnTo>
                <a:lnTo>
                  <a:pt x="98" y="375"/>
                </a:lnTo>
                <a:lnTo>
                  <a:pt x="103" y="374"/>
                </a:lnTo>
                <a:lnTo>
                  <a:pt x="106" y="375"/>
                </a:lnTo>
                <a:lnTo>
                  <a:pt x="108" y="375"/>
                </a:lnTo>
                <a:lnTo>
                  <a:pt x="107" y="377"/>
                </a:lnTo>
                <a:lnTo>
                  <a:pt x="109" y="379"/>
                </a:lnTo>
                <a:lnTo>
                  <a:pt x="111" y="379"/>
                </a:lnTo>
                <a:lnTo>
                  <a:pt x="112" y="381"/>
                </a:lnTo>
                <a:lnTo>
                  <a:pt x="110" y="382"/>
                </a:lnTo>
                <a:lnTo>
                  <a:pt x="109" y="383"/>
                </a:lnTo>
                <a:lnTo>
                  <a:pt x="107" y="385"/>
                </a:lnTo>
                <a:lnTo>
                  <a:pt x="106" y="386"/>
                </a:lnTo>
                <a:lnTo>
                  <a:pt x="101" y="385"/>
                </a:lnTo>
                <a:lnTo>
                  <a:pt x="98" y="383"/>
                </a:lnTo>
                <a:lnTo>
                  <a:pt x="96" y="383"/>
                </a:lnTo>
                <a:lnTo>
                  <a:pt x="93" y="384"/>
                </a:lnTo>
                <a:lnTo>
                  <a:pt x="95" y="385"/>
                </a:lnTo>
                <a:lnTo>
                  <a:pt x="92" y="386"/>
                </a:lnTo>
                <a:lnTo>
                  <a:pt x="92" y="387"/>
                </a:lnTo>
                <a:lnTo>
                  <a:pt x="96" y="390"/>
                </a:lnTo>
                <a:lnTo>
                  <a:pt x="97" y="391"/>
                </a:lnTo>
                <a:lnTo>
                  <a:pt x="97" y="393"/>
                </a:lnTo>
                <a:lnTo>
                  <a:pt x="98" y="394"/>
                </a:lnTo>
                <a:lnTo>
                  <a:pt x="98" y="395"/>
                </a:lnTo>
                <a:lnTo>
                  <a:pt x="100" y="396"/>
                </a:lnTo>
                <a:lnTo>
                  <a:pt x="101" y="397"/>
                </a:lnTo>
                <a:lnTo>
                  <a:pt x="101" y="400"/>
                </a:lnTo>
                <a:lnTo>
                  <a:pt x="103" y="403"/>
                </a:lnTo>
                <a:lnTo>
                  <a:pt x="103" y="403"/>
                </a:lnTo>
                <a:lnTo>
                  <a:pt x="105" y="404"/>
                </a:lnTo>
                <a:lnTo>
                  <a:pt x="107" y="405"/>
                </a:lnTo>
                <a:lnTo>
                  <a:pt x="108" y="404"/>
                </a:lnTo>
                <a:lnTo>
                  <a:pt x="109" y="403"/>
                </a:lnTo>
                <a:lnTo>
                  <a:pt x="110" y="402"/>
                </a:lnTo>
                <a:lnTo>
                  <a:pt x="111" y="401"/>
                </a:lnTo>
                <a:lnTo>
                  <a:pt x="116" y="401"/>
                </a:lnTo>
                <a:lnTo>
                  <a:pt x="118" y="401"/>
                </a:lnTo>
                <a:lnTo>
                  <a:pt x="121" y="400"/>
                </a:lnTo>
                <a:lnTo>
                  <a:pt x="126" y="401"/>
                </a:lnTo>
                <a:lnTo>
                  <a:pt x="129" y="400"/>
                </a:lnTo>
                <a:lnTo>
                  <a:pt x="132" y="402"/>
                </a:lnTo>
                <a:lnTo>
                  <a:pt x="134" y="403"/>
                </a:lnTo>
                <a:lnTo>
                  <a:pt x="134" y="405"/>
                </a:lnTo>
                <a:lnTo>
                  <a:pt x="138" y="407"/>
                </a:lnTo>
                <a:lnTo>
                  <a:pt x="139" y="409"/>
                </a:lnTo>
                <a:lnTo>
                  <a:pt x="140" y="410"/>
                </a:lnTo>
                <a:lnTo>
                  <a:pt x="138" y="411"/>
                </a:lnTo>
                <a:lnTo>
                  <a:pt x="136" y="411"/>
                </a:lnTo>
                <a:lnTo>
                  <a:pt x="137" y="413"/>
                </a:lnTo>
                <a:lnTo>
                  <a:pt x="138" y="414"/>
                </a:lnTo>
                <a:lnTo>
                  <a:pt x="139" y="417"/>
                </a:lnTo>
                <a:lnTo>
                  <a:pt x="141" y="419"/>
                </a:lnTo>
                <a:lnTo>
                  <a:pt x="143" y="419"/>
                </a:lnTo>
                <a:lnTo>
                  <a:pt x="148" y="420"/>
                </a:lnTo>
                <a:lnTo>
                  <a:pt x="149" y="419"/>
                </a:lnTo>
                <a:lnTo>
                  <a:pt x="151" y="420"/>
                </a:lnTo>
                <a:lnTo>
                  <a:pt x="152" y="421"/>
                </a:lnTo>
                <a:lnTo>
                  <a:pt x="156" y="423"/>
                </a:lnTo>
                <a:lnTo>
                  <a:pt x="159" y="429"/>
                </a:lnTo>
                <a:lnTo>
                  <a:pt x="158" y="430"/>
                </a:lnTo>
                <a:lnTo>
                  <a:pt x="159" y="432"/>
                </a:lnTo>
                <a:lnTo>
                  <a:pt x="161" y="433"/>
                </a:lnTo>
                <a:lnTo>
                  <a:pt x="163" y="434"/>
                </a:lnTo>
                <a:lnTo>
                  <a:pt x="164" y="433"/>
                </a:lnTo>
                <a:lnTo>
                  <a:pt x="167" y="433"/>
                </a:lnTo>
                <a:lnTo>
                  <a:pt x="169" y="433"/>
                </a:lnTo>
                <a:lnTo>
                  <a:pt x="172" y="435"/>
                </a:lnTo>
                <a:lnTo>
                  <a:pt x="174" y="435"/>
                </a:lnTo>
                <a:lnTo>
                  <a:pt x="176" y="435"/>
                </a:lnTo>
                <a:lnTo>
                  <a:pt x="182" y="434"/>
                </a:lnTo>
                <a:lnTo>
                  <a:pt x="186" y="432"/>
                </a:lnTo>
                <a:lnTo>
                  <a:pt x="188" y="433"/>
                </a:lnTo>
                <a:lnTo>
                  <a:pt x="189" y="434"/>
                </a:lnTo>
                <a:lnTo>
                  <a:pt x="192" y="439"/>
                </a:lnTo>
                <a:lnTo>
                  <a:pt x="195" y="441"/>
                </a:lnTo>
                <a:lnTo>
                  <a:pt x="198" y="441"/>
                </a:lnTo>
                <a:lnTo>
                  <a:pt x="199" y="440"/>
                </a:lnTo>
                <a:lnTo>
                  <a:pt x="200" y="440"/>
                </a:lnTo>
                <a:lnTo>
                  <a:pt x="202" y="441"/>
                </a:lnTo>
                <a:lnTo>
                  <a:pt x="204" y="441"/>
                </a:lnTo>
                <a:lnTo>
                  <a:pt x="207" y="442"/>
                </a:lnTo>
                <a:lnTo>
                  <a:pt x="208" y="443"/>
                </a:lnTo>
                <a:lnTo>
                  <a:pt x="212" y="443"/>
                </a:lnTo>
                <a:lnTo>
                  <a:pt x="215" y="445"/>
                </a:lnTo>
                <a:lnTo>
                  <a:pt x="218" y="445"/>
                </a:lnTo>
                <a:lnTo>
                  <a:pt x="221" y="447"/>
                </a:lnTo>
                <a:lnTo>
                  <a:pt x="223" y="447"/>
                </a:lnTo>
                <a:lnTo>
                  <a:pt x="225" y="447"/>
                </a:lnTo>
                <a:lnTo>
                  <a:pt x="228" y="449"/>
                </a:lnTo>
                <a:lnTo>
                  <a:pt x="225" y="450"/>
                </a:lnTo>
                <a:lnTo>
                  <a:pt x="229" y="454"/>
                </a:lnTo>
                <a:lnTo>
                  <a:pt x="228" y="457"/>
                </a:lnTo>
                <a:lnTo>
                  <a:pt x="223" y="457"/>
                </a:lnTo>
                <a:lnTo>
                  <a:pt x="225" y="460"/>
                </a:lnTo>
                <a:lnTo>
                  <a:pt x="228" y="460"/>
                </a:lnTo>
                <a:lnTo>
                  <a:pt x="229" y="461"/>
                </a:lnTo>
                <a:lnTo>
                  <a:pt x="224" y="462"/>
                </a:lnTo>
                <a:lnTo>
                  <a:pt x="224" y="463"/>
                </a:lnTo>
                <a:lnTo>
                  <a:pt x="224" y="465"/>
                </a:lnTo>
                <a:lnTo>
                  <a:pt x="225" y="466"/>
                </a:lnTo>
                <a:lnTo>
                  <a:pt x="227" y="469"/>
                </a:lnTo>
                <a:lnTo>
                  <a:pt x="227" y="470"/>
                </a:lnTo>
                <a:lnTo>
                  <a:pt x="229" y="471"/>
                </a:lnTo>
                <a:lnTo>
                  <a:pt x="229" y="474"/>
                </a:lnTo>
                <a:lnTo>
                  <a:pt x="228" y="480"/>
                </a:lnTo>
                <a:lnTo>
                  <a:pt x="227" y="480"/>
                </a:lnTo>
                <a:lnTo>
                  <a:pt x="222" y="480"/>
                </a:lnTo>
                <a:lnTo>
                  <a:pt x="220" y="480"/>
                </a:lnTo>
                <a:lnTo>
                  <a:pt x="217" y="477"/>
                </a:lnTo>
                <a:lnTo>
                  <a:pt x="214" y="479"/>
                </a:lnTo>
                <a:lnTo>
                  <a:pt x="213" y="482"/>
                </a:lnTo>
                <a:lnTo>
                  <a:pt x="209" y="483"/>
                </a:lnTo>
                <a:lnTo>
                  <a:pt x="208" y="486"/>
                </a:lnTo>
                <a:lnTo>
                  <a:pt x="209" y="488"/>
                </a:lnTo>
                <a:lnTo>
                  <a:pt x="210" y="492"/>
                </a:lnTo>
                <a:lnTo>
                  <a:pt x="213" y="491"/>
                </a:lnTo>
                <a:lnTo>
                  <a:pt x="215" y="491"/>
                </a:lnTo>
                <a:lnTo>
                  <a:pt x="217" y="490"/>
                </a:lnTo>
                <a:lnTo>
                  <a:pt x="220" y="490"/>
                </a:lnTo>
                <a:lnTo>
                  <a:pt x="222" y="490"/>
                </a:lnTo>
                <a:lnTo>
                  <a:pt x="222" y="491"/>
                </a:lnTo>
                <a:lnTo>
                  <a:pt x="224" y="492"/>
                </a:lnTo>
                <a:lnTo>
                  <a:pt x="225" y="492"/>
                </a:lnTo>
                <a:lnTo>
                  <a:pt x="225" y="493"/>
                </a:lnTo>
                <a:lnTo>
                  <a:pt x="223" y="493"/>
                </a:lnTo>
                <a:lnTo>
                  <a:pt x="220" y="494"/>
                </a:lnTo>
                <a:lnTo>
                  <a:pt x="217" y="496"/>
                </a:lnTo>
                <a:lnTo>
                  <a:pt x="213" y="497"/>
                </a:lnTo>
                <a:lnTo>
                  <a:pt x="213" y="498"/>
                </a:lnTo>
                <a:lnTo>
                  <a:pt x="215" y="500"/>
                </a:lnTo>
                <a:lnTo>
                  <a:pt x="214" y="500"/>
                </a:lnTo>
                <a:lnTo>
                  <a:pt x="211" y="500"/>
                </a:lnTo>
                <a:lnTo>
                  <a:pt x="204" y="500"/>
                </a:lnTo>
                <a:lnTo>
                  <a:pt x="204" y="502"/>
                </a:lnTo>
                <a:lnTo>
                  <a:pt x="208" y="504"/>
                </a:lnTo>
                <a:lnTo>
                  <a:pt x="211" y="505"/>
                </a:lnTo>
                <a:lnTo>
                  <a:pt x="213" y="508"/>
                </a:lnTo>
                <a:lnTo>
                  <a:pt x="217" y="511"/>
                </a:lnTo>
                <a:lnTo>
                  <a:pt x="215" y="511"/>
                </a:lnTo>
                <a:lnTo>
                  <a:pt x="212" y="510"/>
                </a:lnTo>
                <a:lnTo>
                  <a:pt x="211" y="512"/>
                </a:lnTo>
                <a:lnTo>
                  <a:pt x="210" y="512"/>
                </a:lnTo>
                <a:lnTo>
                  <a:pt x="208" y="516"/>
                </a:lnTo>
                <a:lnTo>
                  <a:pt x="205" y="518"/>
                </a:lnTo>
                <a:lnTo>
                  <a:pt x="203" y="523"/>
                </a:lnTo>
                <a:lnTo>
                  <a:pt x="200" y="523"/>
                </a:lnTo>
                <a:lnTo>
                  <a:pt x="195" y="523"/>
                </a:lnTo>
                <a:lnTo>
                  <a:pt x="195" y="524"/>
                </a:lnTo>
                <a:lnTo>
                  <a:pt x="195" y="525"/>
                </a:lnTo>
                <a:lnTo>
                  <a:pt x="193" y="526"/>
                </a:lnTo>
                <a:lnTo>
                  <a:pt x="197" y="527"/>
                </a:lnTo>
                <a:lnTo>
                  <a:pt x="200" y="530"/>
                </a:lnTo>
                <a:lnTo>
                  <a:pt x="202" y="533"/>
                </a:lnTo>
                <a:lnTo>
                  <a:pt x="205" y="535"/>
                </a:lnTo>
                <a:lnTo>
                  <a:pt x="208" y="536"/>
                </a:lnTo>
                <a:lnTo>
                  <a:pt x="209" y="535"/>
                </a:lnTo>
                <a:lnTo>
                  <a:pt x="211" y="536"/>
                </a:lnTo>
                <a:lnTo>
                  <a:pt x="215" y="540"/>
                </a:lnTo>
                <a:lnTo>
                  <a:pt x="228" y="544"/>
                </a:lnTo>
                <a:lnTo>
                  <a:pt x="234" y="548"/>
                </a:lnTo>
                <a:lnTo>
                  <a:pt x="238" y="552"/>
                </a:lnTo>
                <a:lnTo>
                  <a:pt x="239" y="553"/>
                </a:lnTo>
                <a:lnTo>
                  <a:pt x="241" y="554"/>
                </a:lnTo>
                <a:lnTo>
                  <a:pt x="245" y="556"/>
                </a:lnTo>
                <a:lnTo>
                  <a:pt x="249" y="555"/>
                </a:lnTo>
                <a:lnTo>
                  <a:pt x="251" y="555"/>
                </a:lnTo>
                <a:lnTo>
                  <a:pt x="253" y="556"/>
                </a:lnTo>
                <a:lnTo>
                  <a:pt x="255" y="555"/>
                </a:lnTo>
                <a:lnTo>
                  <a:pt x="260" y="557"/>
                </a:lnTo>
                <a:lnTo>
                  <a:pt x="262" y="558"/>
                </a:lnTo>
                <a:lnTo>
                  <a:pt x="267" y="558"/>
                </a:lnTo>
                <a:lnTo>
                  <a:pt x="272" y="561"/>
                </a:lnTo>
                <a:lnTo>
                  <a:pt x="274" y="562"/>
                </a:lnTo>
                <a:lnTo>
                  <a:pt x="281" y="561"/>
                </a:lnTo>
                <a:lnTo>
                  <a:pt x="285" y="562"/>
                </a:lnTo>
                <a:lnTo>
                  <a:pt x="290" y="562"/>
                </a:lnTo>
                <a:lnTo>
                  <a:pt x="292" y="563"/>
                </a:lnTo>
                <a:lnTo>
                  <a:pt x="293" y="564"/>
                </a:lnTo>
                <a:lnTo>
                  <a:pt x="304" y="570"/>
                </a:lnTo>
                <a:lnTo>
                  <a:pt x="305" y="572"/>
                </a:lnTo>
                <a:lnTo>
                  <a:pt x="308" y="573"/>
                </a:lnTo>
                <a:lnTo>
                  <a:pt x="310" y="572"/>
                </a:lnTo>
                <a:lnTo>
                  <a:pt x="311" y="571"/>
                </a:lnTo>
                <a:lnTo>
                  <a:pt x="314" y="570"/>
                </a:lnTo>
                <a:lnTo>
                  <a:pt x="316" y="570"/>
                </a:lnTo>
                <a:lnTo>
                  <a:pt x="319" y="571"/>
                </a:lnTo>
                <a:lnTo>
                  <a:pt x="321" y="571"/>
                </a:lnTo>
                <a:lnTo>
                  <a:pt x="325" y="571"/>
                </a:lnTo>
                <a:lnTo>
                  <a:pt x="326" y="573"/>
                </a:lnTo>
                <a:lnTo>
                  <a:pt x="329" y="573"/>
                </a:lnTo>
                <a:lnTo>
                  <a:pt x="331" y="573"/>
                </a:lnTo>
                <a:lnTo>
                  <a:pt x="333" y="574"/>
                </a:lnTo>
                <a:lnTo>
                  <a:pt x="334" y="576"/>
                </a:lnTo>
                <a:lnTo>
                  <a:pt x="334" y="580"/>
                </a:lnTo>
                <a:lnTo>
                  <a:pt x="338" y="582"/>
                </a:lnTo>
                <a:lnTo>
                  <a:pt x="342" y="583"/>
                </a:lnTo>
                <a:lnTo>
                  <a:pt x="344" y="584"/>
                </a:lnTo>
                <a:lnTo>
                  <a:pt x="345" y="585"/>
                </a:lnTo>
                <a:lnTo>
                  <a:pt x="349" y="586"/>
                </a:lnTo>
                <a:lnTo>
                  <a:pt x="350" y="586"/>
                </a:lnTo>
                <a:lnTo>
                  <a:pt x="354" y="589"/>
                </a:lnTo>
                <a:lnTo>
                  <a:pt x="355" y="591"/>
                </a:lnTo>
                <a:lnTo>
                  <a:pt x="357" y="591"/>
                </a:lnTo>
                <a:lnTo>
                  <a:pt x="360" y="595"/>
                </a:lnTo>
                <a:lnTo>
                  <a:pt x="361" y="596"/>
                </a:lnTo>
                <a:lnTo>
                  <a:pt x="363" y="596"/>
                </a:lnTo>
                <a:lnTo>
                  <a:pt x="367" y="597"/>
                </a:lnTo>
                <a:lnTo>
                  <a:pt x="370" y="597"/>
                </a:lnTo>
                <a:lnTo>
                  <a:pt x="371" y="596"/>
                </a:lnTo>
                <a:lnTo>
                  <a:pt x="372" y="592"/>
                </a:lnTo>
                <a:lnTo>
                  <a:pt x="373" y="591"/>
                </a:lnTo>
                <a:lnTo>
                  <a:pt x="375" y="589"/>
                </a:lnTo>
                <a:lnTo>
                  <a:pt x="375" y="588"/>
                </a:lnTo>
                <a:lnTo>
                  <a:pt x="376" y="586"/>
                </a:lnTo>
                <a:lnTo>
                  <a:pt x="373" y="584"/>
                </a:lnTo>
                <a:lnTo>
                  <a:pt x="369" y="577"/>
                </a:lnTo>
                <a:lnTo>
                  <a:pt x="362" y="570"/>
                </a:lnTo>
                <a:lnTo>
                  <a:pt x="359" y="567"/>
                </a:lnTo>
                <a:lnTo>
                  <a:pt x="357" y="564"/>
                </a:lnTo>
                <a:lnTo>
                  <a:pt x="356" y="558"/>
                </a:lnTo>
                <a:lnTo>
                  <a:pt x="356" y="553"/>
                </a:lnTo>
                <a:lnTo>
                  <a:pt x="355" y="550"/>
                </a:lnTo>
                <a:lnTo>
                  <a:pt x="354" y="554"/>
                </a:lnTo>
                <a:lnTo>
                  <a:pt x="353" y="553"/>
                </a:lnTo>
                <a:lnTo>
                  <a:pt x="352" y="548"/>
                </a:lnTo>
                <a:lnTo>
                  <a:pt x="349" y="545"/>
                </a:lnTo>
                <a:lnTo>
                  <a:pt x="344" y="541"/>
                </a:lnTo>
                <a:lnTo>
                  <a:pt x="341" y="541"/>
                </a:lnTo>
                <a:lnTo>
                  <a:pt x="340" y="537"/>
                </a:lnTo>
                <a:lnTo>
                  <a:pt x="341" y="534"/>
                </a:lnTo>
                <a:lnTo>
                  <a:pt x="341" y="532"/>
                </a:lnTo>
                <a:lnTo>
                  <a:pt x="342" y="530"/>
                </a:lnTo>
                <a:lnTo>
                  <a:pt x="343" y="530"/>
                </a:lnTo>
                <a:lnTo>
                  <a:pt x="343" y="528"/>
                </a:lnTo>
                <a:lnTo>
                  <a:pt x="343" y="526"/>
                </a:lnTo>
                <a:lnTo>
                  <a:pt x="345" y="524"/>
                </a:lnTo>
                <a:lnTo>
                  <a:pt x="345" y="516"/>
                </a:lnTo>
                <a:lnTo>
                  <a:pt x="348" y="517"/>
                </a:lnTo>
                <a:lnTo>
                  <a:pt x="348" y="512"/>
                </a:lnTo>
                <a:lnTo>
                  <a:pt x="346" y="510"/>
                </a:lnTo>
                <a:lnTo>
                  <a:pt x="343" y="506"/>
                </a:lnTo>
                <a:lnTo>
                  <a:pt x="346" y="507"/>
                </a:lnTo>
                <a:lnTo>
                  <a:pt x="350" y="507"/>
                </a:lnTo>
                <a:lnTo>
                  <a:pt x="350" y="508"/>
                </a:lnTo>
                <a:lnTo>
                  <a:pt x="352" y="512"/>
                </a:lnTo>
                <a:lnTo>
                  <a:pt x="354" y="514"/>
                </a:lnTo>
                <a:lnTo>
                  <a:pt x="355" y="514"/>
                </a:lnTo>
                <a:lnTo>
                  <a:pt x="357" y="514"/>
                </a:lnTo>
                <a:lnTo>
                  <a:pt x="359" y="514"/>
                </a:lnTo>
                <a:lnTo>
                  <a:pt x="360" y="507"/>
                </a:lnTo>
                <a:lnTo>
                  <a:pt x="361" y="506"/>
                </a:lnTo>
                <a:lnTo>
                  <a:pt x="360" y="506"/>
                </a:lnTo>
                <a:lnTo>
                  <a:pt x="357" y="505"/>
                </a:lnTo>
                <a:lnTo>
                  <a:pt x="356" y="504"/>
                </a:lnTo>
                <a:lnTo>
                  <a:pt x="354" y="504"/>
                </a:lnTo>
                <a:lnTo>
                  <a:pt x="352" y="503"/>
                </a:lnTo>
                <a:lnTo>
                  <a:pt x="351" y="502"/>
                </a:lnTo>
                <a:lnTo>
                  <a:pt x="352" y="501"/>
                </a:lnTo>
                <a:lnTo>
                  <a:pt x="352" y="498"/>
                </a:lnTo>
                <a:lnTo>
                  <a:pt x="354" y="498"/>
                </a:lnTo>
                <a:lnTo>
                  <a:pt x="356" y="500"/>
                </a:lnTo>
                <a:lnTo>
                  <a:pt x="360" y="498"/>
                </a:lnTo>
                <a:lnTo>
                  <a:pt x="354" y="486"/>
                </a:lnTo>
                <a:lnTo>
                  <a:pt x="352" y="486"/>
                </a:lnTo>
                <a:lnTo>
                  <a:pt x="351" y="484"/>
                </a:lnTo>
                <a:lnTo>
                  <a:pt x="350" y="483"/>
                </a:lnTo>
                <a:lnTo>
                  <a:pt x="348" y="481"/>
                </a:lnTo>
                <a:lnTo>
                  <a:pt x="346" y="480"/>
                </a:lnTo>
                <a:lnTo>
                  <a:pt x="344" y="480"/>
                </a:lnTo>
                <a:lnTo>
                  <a:pt x="340" y="481"/>
                </a:lnTo>
                <a:lnTo>
                  <a:pt x="336" y="480"/>
                </a:lnTo>
                <a:lnTo>
                  <a:pt x="336" y="482"/>
                </a:lnTo>
                <a:lnTo>
                  <a:pt x="333" y="479"/>
                </a:lnTo>
                <a:lnTo>
                  <a:pt x="332" y="477"/>
                </a:lnTo>
                <a:lnTo>
                  <a:pt x="331" y="475"/>
                </a:lnTo>
                <a:lnTo>
                  <a:pt x="331" y="474"/>
                </a:lnTo>
                <a:lnTo>
                  <a:pt x="330" y="473"/>
                </a:lnTo>
                <a:lnTo>
                  <a:pt x="330" y="471"/>
                </a:lnTo>
                <a:lnTo>
                  <a:pt x="321" y="469"/>
                </a:lnTo>
                <a:lnTo>
                  <a:pt x="322" y="460"/>
                </a:lnTo>
                <a:lnTo>
                  <a:pt x="325" y="457"/>
                </a:lnTo>
                <a:lnTo>
                  <a:pt x="325" y="456"/>
                </a:lnTo>
                <a:lnTo>
                  <a:pt x="324" y="455"/>
                </a:lnTo>
                <a:lnTo>
                  <a:pt x="321" y="453"/>
                </a:lnTo>
                <a:lnTo>
                  <a:pt x="321" y="443"/>
                </a:lnTo>
                <a:lnTo>
                  <a:pt x="324" y="441"/>
                </a:lnTo>
                <a:lnTo>
                  <a:pt x="325" y="440"/>
                </a:lnTo>
                <a:lnTo>
                  <a:pt x="324" y="439"/>
                </a:lnTo>
                <a:lnTo>
                  <a:pt x="324" y="436"/>
                </a:lnTo>
                <a:lnTo>
                  <a:pt x="324" y="435"/>
                </a:lnTo>
                <a:lnTo>
                  <a:pt x="324" y="433"/>
                </a:lnTo>
                <a:lnTo>
                  <a:pt x="325" y="432"/>
                </a:lnTo>
                <a:lnTo>
                  <a:pt x="328" y="433"/>
                </a:lnTo>
                <a:lnTo>
                  <a:pt x="329" y="435"/>
                </a:lnTo>
                <a:lnTo>
                  <a:pt x="332" y="436"/>
                </a:lnTo>
                <a:lnTo>
                  <a:pt x="339" y="444"/>
                </a:lnTo>
                <a:lnTo>
                  <a:pt x="341" y="445"/>
                </a:lnTo>
                <a:lnTo>
                  <a:pt x="346" y="441"/>
                </a:lnTo>
                <a:lnTo>
                  <a:pt x="345" y="440"/>
                </a:lnTo>
                <a:lnTo>
                  <a:pt x="344" y="437"/>
                </a:lnTo>
                <a:lnTo>
                  <a:pt x="342" y="433"/>
                </a:lnTo>
                <a:lnTo>
                  <a:pt x="340" y="430"/>
                </a:lnTo>
                <a:lnTo>
                  <a:pt x="342" y="431"/>
                </a:lnTo>
                <a:lnTo>
                  <a:pt x="343" y="430"/>
                </a:lnTo>
                <a:lnTo>
                  <a:pt x="348" y="426"/>
                </a:lnTo>
                <a:lnTo>
                  <a:pt x="350" y="426"/>
                </a:lnTo>
                <a:lnTo>
                  <a:pt x="350" y="425"/>
                </a:lnTo>
                <a:lnTo>
                  <a:pt x="350" y="423"/>
                </a:lnTo>
                <a:lnTo>
                  <a:pt x="349" y="422"/>
                </a:lnTo>
                <a:lnTo>
                  <a:pt x="351" y="421"/>
                </a:lnTo>
                <a:lnTo>
                  <a:pt x="353" y="422"/>
                </a:lnTo>
                <a:lnTo>
                  <a:pt x="354" y="421"/>
                </a:lnTo>
                <a:lnTo>
                  <a:pt x="355" y="420"/>
                </a:lnTo>
                <a:lnTo>
                  <a:pt x="357" y="419"/>
                </a:lnTo>
                <a:lnTo>
                  <a:pt x="359" y="419"/>
                </a:lnTo>
                <a:lnTo>
                  <a:pt x="360" y="417"/>
                </a:lnTo>
                <a:lnTo>
                  <a:pt x="361" y="416"/>
                </a:lnTo>
                <a:lnTo>
                  <a:pt x="362" y="415"/>
                </a:lnTo>
                <a:lnTo>
                  <a:pt x="362" y="413"/>
                </a:lnTo>
                <a:lnTo>
                  <a:pt x="363" y="412"/>
                </a:lnTo>
                <a:lnTo>
                  <a:pt x="367" y="412"/>
                </a:lnTo>
                <a:lnTo>
                  <a:pt x="371" y="412"/>
                </a:lnTo>
                <a:lnTo>
                  <a:pt x="372" y="413"/>
                </a:lnTo>
                <a:lnTo>
                  <a:pt x="373" y="414"/>
                </a:lnTo>
                <a:lnTo>
                  <a:pt x="377" y="414"/>
                </a:lnTo>
                <a:lnTo>
                  <a:pt x="379" y="415"/>
                </a:lnTo>
                <a:lnTo>
                  <a:pt x="380" y="414"/>
                </a:lnTo>
                <a:lnTo>
                  <a:pt x="380" y="412"/>
                </a:lnTo>
                <a:lnTo>
                  <a:pt x="381" y="411"/>
                </a:lnTo>
                <a:lnTo>
                  <a:pt x="382" y="411"/>
                </a:lnTo>
                <a:lnTo>
                  <a:pt x="384" y="410"/>
                </a:lnTo>
                <a:lnTo>
                  <a:pt x="386" y="411"/>
                </a:lnTo>
                <a:lnTo>
                  <a:pt x="389" y="413"/>
                </a:lnTo>
                <a:lnTo>
                  <a:pt x="390" y="414"/>
                </a:lnTo>
                <a:lnTo>
                  <a:pt x="392" y="414"/>
                </a:lnTo>
                <a:lnTo>
                  <a:pt x="394" y="414"/>
                </a:lnTo>
                <a:lnTo>
                  <a:pt x="396" y="414"/>
                </a:lnTo>
                <a:lnTo>
                  <a:pt x="400" y="414"/>
                </a:lnTo>
                <a:lnTo>
                  <a:pt x="402" y="414"/>
                </a:lnTo>
                <a:lnTo>
                  <a:pt x="404" y="415"/>
                </a:lnTo>
                <a:lnTo>
                  <a:pt x="405" y="416"/>
                </a:lnTo>
                <a:lnTo>
                  <a:pt x="407" y="419"/>
                </a:lnTo>
                <a:lnTo>
                  <a:pt x="414" y="422"/>
                </a:lnTo>
                <a:lnTo>
                  <a:pt x="415" y="423"/>
                </a:lnTo>
                <a:lnTo>
                  <a:pt x="416" y="424"/>
                </a:lnTo>
                <a:lnTo>
                  <a:pt x="421" y="426"/>
                </a:lnTo>
                <a:lnTo>
                  <a:pt x="421" y="429"/>
                </a:lnTo>
                <a:lnTo>
                  <a:pt x="421" y="430"/>
                </a:lnTo>
                <a:lnTo>
                  <a:pt x="423" y="431"/>
                </a:lnTo>
                <a:lnTo>
                  <a:pt x="425" y="431"/>
                </a:lnTo>
                <a:lnTo>
                  <a:pt x="424" y="429"/>
                </a:lnTo>
                <a:lnTo>
                  <a:pt x="423" y="427"/>
                </a:lnTo>
                <a:lnTo>
                  <a:pt x="423" y="426"/>
                </a:lnTo>
                <a:lnTo>
                  <a:pt x="422" y="424"/>
                </a:lnTo>
                <a:lnTo>
                  <a:pt x="422" y="423"/>
                </a:lnTo>
                <a:lnTo>
                  <a:pt x="424" y="423"/>
                </a:lnTo>
                <a:lnTo>
                  <a:pt x="425" y="424"/>
                </a:lnTo>
                <a:lnTo>
                  <a:pt x="427" y="425"/>
                </a:lnTo>
                <a:lnTo>
                  <a:pt x="429" y="427"/>
                </a:lnTo>
                <a:lnTo>
                  <a:pt x="431" y="429"/>
                </a:lnTo>
                <a:lnTo>
                  <a:pt x="435" y="430"/>
                </a:lnTo>
                <a:lnTo>
                  <a:pt x="438" y="431"/>
                </a:lnTo>
                <a:lnTo>
                  <a:pt x="441" y="431"/>
                </a:lnTo>
                <a:lnTo>
                  <a:pt x="445" y="427"/>
                </a:lnTo>
                <a:lnTo>
                  <a:pt x="444" y="426"/>
                </a:lnTo>
                <a:lnTo>
                  <a:pt x="446" y="425"/>
                </a:lnTo>
                <a:lnTo>
                  <a:pt x="447" y="424"/>
                </a:lnTo>
                <a:lnTo>
                  <a:pt x="448" y="424"/>
                </a:lnTo>
                <a:lnTo>
                  <a:pt x="451" y="424"/>
                </a:lnTo>
                <a:lnTo>
                  <a:pt x="451" y="423"/>
                </a:lnTo>
                <a:lnTo>
                  <a:pt x="453" y="423"/>
                </a:lnTo>
                <a:lnTo>
                  <a:pt x="455" y="423"/>
                </a:lnTo>
                <a:lnTo>
                  <a:pt x="456" y="422"/>
                </a:lnTo>
                <a:lnTo>
                  <a:pt x="458" y="423"/>
                </a:lnTo>
                <a:lnTo>
                  <a:pt x="462" y="425"/>
                </a:lnTo>
                <a:lnTo>
                  <a:pt x="465" y="424"/>
                </a:lnTo>
                <a:lnTo>
                  <a:pt x="465" y="422"/>
                </a:lnTo>
                <a:lnTo>
                  <a:pt x="470" y="422"/>
                </a:lnTo>
                <a:lnTo>
                  <a:pt x="471" y="422"/>
                </a:lnTo>
                <a:lnTo>
                  <a:pt x="475" y="423"/>
                </a:lnTo>
                <a:lnTo>
                  <a:pt x="476" y="424"/>
                </a:lnTo>
                <a:lnTo>
                  <a:pt x="478" y="427"/>
                </a:lnTo>
                <a:lnTo>
                  <a:pt x="480" y="429"/>
                </a:lnTo>
                <a:lnTo>
                  <a:pt x="482" y="430"/>
                </a:lnTo>
                <a:lnTo>
                  <a:pt x="485" y="430"/>
                </a:lnTo>
                <a:lnTo>
                  <a:pt x="490" y="430"/>
                </a:lnTo>
                <a:lnTo>
                  <a:pt x="490" y="430"/>
                </a:lnTo>
                <a:lnTo>
                  <a:pt x="491" y="432"/>
                </a:lnTo>
                <a:lnTo>
                  <a:pt x="495" y="432"/>
                </a:lnTo>
                <a:lnTo>
                  <a:pt x="496" y="431"/>
                </a:lnTo>
                <a:lnTo>
                  <a:pt x="497" y="427"/>
                </a:lnTo>
                <a:lnTo>
                  <a:pt x="498" y="426"/>
                </a:lnTo>
                <a:lnTo>
                  <a:pt x="500" y="427"/>
                </a:lnTo>
                <a:lnTo>
                  <a:pt x="504" y="430"/>
                </a:lnTo>
                <a:lnTo>
                  <a:pt x="507" y="430"/>
                </a:lnTo>
                <a:lnTo>
                  <a:pt x="512" y="430"/>
                </a:lnTo>
                <a:lnTo>
                  <a:pt x="513" y="429"/>
                </a:lnTo>
                <a:lnTo>
                  <a:pt x="516" y="427"/>
                </a:lnTo>
                <a:lnTo>
                  <a:pt x="516" y="420"/>
                </a:lnTo>
                <a:lnTo>
                  <a:pt x="517" y="419"/>
                </a:lnTo>
                <a:lnTo>
                  <a:pt x="515" y="416"/>
                </a:lnTo>
                <a:lnTo>
                  <a:pt x="514" y="416"/>
                </a:lnTo>
                <a:lnTo>
                  <a:pt x="511" y="416"/>
                </a:lnTo>
                <a:lnTo>
                  <a:pt x="507" y="415"/>
                </a:lnTo>
                <a:lnTo>
                  <a:pt x="505" y="414"/>
                </a:lnTo>
                <a:lnTo>
                  <a:pt x="504" y="413"/>
                </a:lnTo>
                <a:lnTo>
                  <a:pt x="500" y="413"/>
                </a:lnTo>
                <a:lnTo>
                  <a:pt x="497" y="412"/>
                </a:lnTo>
                <a:lnTo>
                  <a:pt x="496" y="410"/>
                </a:lnTo>
                <a:lnTo>
                  <a:pt x="495" y="409"/>
                </a:lnTo>
                <a:lnTo>
                  <a:pt x="491" y="409"/>
                </a:lnTo>
                <a:lnTo>
                  <a:pt x="491" y="406"/>
                </a:lnTo>
                <a:lnTo>
                  <a:pt x="492" y="406"/>
                </a:lnTo>
                <a:lnTo>
                  <a:pt x="494" y="404"/>
                </a:lnTo>
                <a:lnTo>
                  <a:pt x="498" y="403"/>
                </a:lnTo>
                <a:lnTo>
                  <a:pt x="501" y="402"/>
                </a:lnTo>
                <a:lnTo>
                  <a:pt x="502" y="400"/>
                </a:lnTo>
                <a:lnTo>
                  <a:pt x="501" y="399"/>
                </a:lnTo>
                <a:lnTo>
                  <a:pt x="494" y="393"/>
                </a:lnTo>
                <a:lnTo>
                  <a:pt x="496" y="393"/>
                </a:lnTo>
                <a:lnTo>
                  <a:pt x="497" y="392"/>
                </a:lnTo>
                <a:lnTo>
                  <a:pt x="497" y="390"/>
                </a:lnTo>
                <a:lnTo>
                  <a:pt x="498" y="389"/>
                </a:lnTo>
                <a:lnTo>
                  <a:pt x="501" y="389"/>
                </a:lnTo>
                <a:lnTo>
                  <a:pt x="503" y="390"/>
                </a:lnTo>
                <a:lnTo>
                  <a:pt x="504" y="389"/>
                </a:lnTo>
                <a:lnTo>
                  <a:pt x="506" y="390"/>
                </a:lnTo>
                <a:lnTo>
                  <a:pt x="511" y="390"/>
                </a:lnTo>
                <a:lnTo>
                  <a:pt x="512" y="389"/>
                </a:lnTo>
                <a:lnTo>
                  <a:pt x="513" y="387"/>
                </a:lnTo>
                <a:lnTo>
                  <a:pt x="511" y="386"/>
                </a:lnTo>
                <a:lnTo>
                  <a:pt x="507" y="384"/>
                </a:lnTo>
                <a:lnTo>
                  <a:pt x="498" y="383"/>
                </a:lnTo>
                <a:lnTo>
                  <a:pt x="497" y="382"/>
                </a:lnTo>
                <a:lnTo>
                  <a:pt x="496" y="381"/>
                </a:lnTo>
                <a:lnTo>
                  <a:pt x="498" y="381"/>
                </a:lnTo>
                <a:lnTo>
                  <a:pt x="501" y="380"/>
                </a:lnTo>
                <a:lnTo>
                  <a:pt x="501" y="379"/>
                </a:lnTo>
                <a:lnTo>
                  <a:pt x="498" y="377"/>
                </a:lnTo>
                <a:lnTo>
                  <a:pt x="497" y="379"/>
                </a:lnTo>
                <a:lnTo>
                  <a:pt x="494" y="379"/>
                </a:lnTo>
                <a:lnTo>
                  <a:pt x="493" y="377"/>
                </a:lnTo>
                <a:lnTo>
                  <a:pt x="493" y="375"/>
                </a:lnTo>
                <a:lnTo>
                  <a:pt x="494" y="374"/>
                </a:lnTo>
                <a:lnTo>
                  <a:pt x="491" y="372"/>
                </a:lnTo>
                <a:lnTo>
                  <a:pt x="494" y="372"/>
                </a:lnTo>
                <a:lnTo>
                  <a:pt x="495" y="371"/>
                </a:lnTo>
                <a:lnTo>
                  <a:pt x="497" y="371"/>
                </a:lnTo>
                <a:lnTo>
                  <a:pt x="498" y="372"/>
                </a:lnTo>
                <a:lnTo>
                  <a:pt x="501" y="372"/>
                </a:lnTo>
                <a:lnTo>
                  <a:pt x="503" y="372"/>
                </a:lnTo>
                <a:lnTo>
                  <a:pt x="504" y="372"/>
                </a:lnTo>
                <a:lnTo>
                  <a:pt x="511" y="372"/>
                </a:lnTo>
                <a:lnTo>
                  <a:pt x="512" y="373"/>
                </a:lnTo>
                <a:lnTo>
                  <a:pt x="514" y="371"/>
                </a:lnTo>
                <a:lnTo>
                  <a:pt x="515" y="370"/>
                </a:lnTo>
                <a:lnTo>
                  <a:pt x="519" y="371"/>
                </a:lnTo>
                <a:lnTo>
                  <a:pt x="521" y="370"/>
                </a:lnTo>
                <a:lnTo>
                  <a:pt x="522" y="369"/>
                </a:lnTo>
                <a:lnTo>
                  <a:pt x="524" y="368"/>
                </a:lnTo>
                <a:lnTo>
                  <a:pt x="526" y="368"/>
                </a:lnTo>
                <a:lnTo>
                  <a:pt x="528" y="369"/>
                </a:lnTo>
                <a:lnTo>
                  <a:pt x="531" y="369"/>
                </a:lnTo>
                <a:lnTo>
                  <a:pt x="531" y="368"/>
                </a:lnTo>
                <a:lnTo>
                  <a:pt x="534" y="366"/>
                </a:lnTo>
                <a:lnTo>
                  <a:pt x="535" y="365"/>
                </a:lnTo>
                <a:lnTo>
                  <a:pt x="537" y="365"/>
                </a:lnTo>
                <a:lnTo>
                  <a:pt x="539" y="365"/>
                </a:lnTo>
                <a:lnTo>
                  <a:pt x="541" y="365"/>
                </a:lnTo>
                <a:lnTo>
                  <a:pt x="543" y="365"/>
                </a:lnTo>
                <a:lnTo>
                  <a:pt x="544" y="364"/>
                </a:lnTo>
                <a:lnTo>
                  <a:pt x="543" y="363"/>
                </a:lnTo>
                <a:lnTo>
                  <a:pt x="544" y="361"/>
                </a:lnTo>
                <a:lnTo>
                  <a:pt x="545" y="361"/>
                </a:lnTo>
                <a:lnTo>
                  <a:pt x="547" y="360"/>
                </a:lnTo>
                <a:lnTo>
                  <a:pt x="548" y="361"/>
                </a:lnTo>
                <a:lnTo>
                  <a:pt x="553" y="360"/>
                </a:lnTo>
                <a:lnTo>
                  <a:pt x="553" y="360"/>
                </a:lnTo>
                <a:lnTo>
                  <a:pt x="562" y="359"/>
                </a:lnTo>
                <a:lnTo>
                  <a:pt x="568" y="358"/>
                </a:lnTo>
                <a:lnTo>
                  <a:pt x="575" y="356"/>
                </a:lnTo>
                <a:lnTo>
                  <a:pt x="576" y="355"/>
                </a:lnTo>
                <a:lnTo>
                  <a:pt x="578" y="355"/>
                </a:lnTo>
                <a:lnTo>
                  <a:pt x="579" y="354"/>
                </a:lnTo>
                <a:lnTo>
                  <a:pt x="581" y="353"/>
                </a:lnTo>
                <a:lnTo>
                  <a:pt x="579" y="352"/>
                </a:lnTo>
                <a:lnTo>
                  <a:pt x="579" y="351"/>
                </a:lnTo>
                <a:lnTo>
                  <a:pt x="582" y="351"/>
                </a:lnTo>
                <a:lnTo>
                  <a:pt x="583" y="351"/>
                </a:lnTo>
                <a:lnTo>
                  <a:pt x="584" y="350"/>
                </a:lnTo>
                <a:lnTo>
                  <a:pt x="585" y="349"/>
                </a:lnTo>
                <a:lnTo>
                  <a:pt x="587" y="349"/>
                </a:lnTo>
                <a:lnTo>
                  <a:pt x="587" y="348"/>
                </a:lnTo>
                <a:lnTo>
                  <a:pt x="589" y="348"/>
                </a:lnTo>
                <a:lnTo>
                  <a:pt x="592" y="349"/>
                </a:lnTo>
                <a:lnTo>
                  <a:pt x="593" y="348"/>
                </a:lnTo>
                <a:lnTo>
                  <a:pt x="595" y="349"/>
                </a:lnTo>
                <a:lnTo>
                  <a:pt x="597" y="349"/>
                </a:lnTo>
                <a:lnTo>
                  <a:pt x="599" y="349"/>
                </a:lnTo>
                <a:lnTo>
                  <a:pt x="600" y="350"/>
                </a:lnTo>
                <a:lnTo>
                  <a:pt x="605" y="352"/>
                </a:lnTo>
                <a:lnTo>
                  <a:pt x="606" y="351"/>
                </a:lnTo>
                <a:lnTo>
                  <a:pt x="607" y="350"/>
                </a:lnTo>
                <a:lnTo>
                  <a:pt x="610" y="350"/>
                </a:lnTo>
                <a:lnTo>
                  <a:pt x="613" y="350"/>
                </a:lnTo>
                <a:lnTo>
                  <a:pt x="615" y="351"/>
                </a:lnTo>
                <a:lnTo>
                  <a:pt x="616" y="352"/>
                </a:lnTo>
                <a:lnTo>
                  <a:pt x="618" y="355"/>
                </a:lnTo>
                <a:lnTo>
                  <a:pt x="618" y="356"/>
                </a:lnTo>
                <a:lnTo>
                  <a:pt x="619" y="358"/>
                </a:lnTo>
                <a:lnTo>
                  <a:pt x="624" y="360"/>
                </a:lnTo>
                <a:lnTo>
                  <a:pt x="624" y="361"/>
                </a:lnTo>
                <a:lnTo>
                  <a:pt x="625" y="364"/>
                </a:lnTo>
                <a:lnTo>
                  <a:pt x="625" y="365"/>
                </a:lnTo>
                <a:lnTo>
                  <a:pt x="624" y="366"/>
                </a:lnTo>
                <a:lnTo>
                  <a:pt x="625" y="368"/>
                </a:lnTo>
                <a:lnTo>
                  <a:pt x="626" y="370"/>
                </a:lnTo>
                <a:lnTo>
                  <a:pt x="630" y="369"/>
                </a:lnTo>
                <a:lnTo>
                  <a:pt x="633" y="370"/>
                </a:lnTo>
                <a:lnTo>
                  <a:pt x="634" y="370"/>
                </a:lnTo>
                <a:lnTo>
                  <a:pt x="634" y="368"/>
                </a:lnTo>
                <a:lnTo>
                  <a:pt x="636" y="368"/>
                </a:lnTo>
                <a:lnTo>
                  <a:pt x="638" y="369"/>
                </a:lnTo>
                <a:lnTo>
                  <a:pt x="638" y="366"/>
                </a:lnTo>
                <a:lnTo>
                  <a:pt x="637" y="365"/>
                </a:lnTo>
                <a:lnTo>
                  <a:pt x="639" y="365"/>
                </a:lnTo>
                <a:lnTo>
                  <a:pt x="640" y="366"/>
                </a:lnTo>
                <a:lnTo>
                  <a:pt x="642" y="369"/>
                </a:lnTo>
                <a:lnTo>
                  <a:pt x="644" y="370"/>
                </a:lnTo>
                <a:lnTo>
                  <a:pt x="644" y="371"/>
                </a:lnTo>
                <a:lnTo>
                  <a:pt x="644" y="372"/>
                </a:lnTo>
                <a:lnTo>
                  <a:pt x="648" y="373"/>
                </a:lnTo>
                <a:lnTo>
                  <a:pt x="647" y="371"/>
                </a:lnTo>
                <a:lnTo>
                  <a:pt x="645" y="370"/>
                </a:lnTo>
                <a:lnTo>
                  <a:pt x="647" y="370"/>
                </a:lnTo>
                <a:lnTo>
                  <a:pt x="650" y="370"/>
                </a:lnTo>
                <a:lnTo>
                  <a:pt x="653" y="371"/>
                </a:lnTo>
                <a:lnTo>
                  <a:pt x="655" y="372"/>
                </a:lnTo>
                <a:lnTo>
                  <a:pt x="657" y="373"/>
                </a:lnTo>
                <a:lnTo>
                  <a:pt x="659" y="373"/>
                </a:lnTo>
                <a:lnTo>
                  <a:pt x="659" y="371"/>
                </a:lnTo>
                <a:lnTo>
                  <a:pt x="662" y="371"/>
                </a:lnTo>
                <a:lnTo>
                  <a:pt x="663" y="372"/>
                </a:lnTo>
                <a:lnTo>
                  <a:pt x="663" y="374"/>
                </a:lnTo>
                <a:lnTo>
                  <a:pt x="662" y="374"/>
                </a:lnTo>
                <a:lnTo>
                  <a:pt x="660" y="375"/>
                </a:lnTo>
                <a:lnTo>
                  <a:pt x="659" y="376"/>
                </a:lnTo>
                <a:lnTo>
                  <a:pt x="659" y="377"/>
                </a:lnTo>
                <a:lnTo>
                  <a:pt x="660" y="380"/>
                </a:lnTo>
                <a:lnTo>
                  <a:pt x="662" y="381"/>
                </a:lnTo>
                <a:lnTo>
                  <a:pt x="664" y="381"/>
                </a:lnTo>
                <a:lnTo>
                  <a:pt x="665" y="380"/>
                </a:lnTo>
                <a:lnTo>
                  <a:pt x="668" y="379"/>
                </a:lnTo>
                <a:lnTo>
                  <a:pt x="670" y="379"/>
                </a:lnTo>
                <a:lnTo>
                  <a:pt x="672" y="379"/>
                </a:lnTo>
                <a:lnTo>
                  <a:pt x="674" y="380"/>
                </a:lnTo>
                <a:lnTo>
                  <a:pt x="676" y="380"/>
                </a:lnTo>
                <a:lnTo>
                  <a:pt x="675" y="379"/>
                </a:lnTo>
                <a:lnTo>
                  <a:pt x="675" y="377"/>
                </a:lnTo>
                <a:lnTo>
                  <a:pt x="677" y="376"/>
                </a:lnTo>
                <a:lnTo>
                  <a:pt x="678" y="374"/>
                </a:lnTo>
                <a:lnTo>
                  <a:pt x="683" y="374"/>
                </a:lnTo>
                <a:lnTo>
                  <a:pt x="685" y="372"/>
                </a:lnTo>
                <a:lnTo>
                  <a:pt x="685" y="370"/>
                </a:lnTo>
                <a:lnTo>
                  <a:pt x="686" y="369"/>
                </a:lnTo>
                <a:lnTo>
                  <a:pt x="688" y="369"/>
                </a:lnTo>
                <a:lnTo>
                  <a:pt x="691" y="369"/>
                </a:lnTo>
                <a:lnTo>
                  <a:pt x="693" y="368"/>
                </a:lnTo>
                <a:lnTo>
                  <a:pt x="694" y="366"/>
                </a:lnTo>
                <a:lnTo>
                  <a:pt x="697" y="366"/>
                </a:lnTo>
                <a:lnTo>
                  <a:pt x="699" y="364"/>
                </a:lnTo>
                <a:lnTo>
                  <a:pt x="701" y="365"/>
                </a:lnTo>
                <a:lnTo>
                  <a:pt x="703" y="368"/>
                </a:lnTo>
                <a:lnTo>
                  <a:pt x="701" y="369"/>
                </a:lnTo>
                <a:lnTo>
                  <a:pt x="700" y="369"/>
                </a:lnTo>
                <a:lnTo>
                  <a:pt x="698" y="369"/>
                </a:lnTo>
                <a:lnTo>
                  <a:pt x="698" y="37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87" name="Freeform 687"/>
          <p:cNvSpPr>
            <a:spLocks/>
          </p:cNvSpPr>
          <p:nvPr/>
        </p:nvSpPr>
        <p:spPr bwMode="auto">
          <a:xfrm>
            <a:off x="4878388" y="1439828"/>
            <a:ext cx="3030537" cy="947738"/>
          </a:xfrm>
          <a:custGeom>
            <a:avLst/>
            <a:gdLst>
              <a:gd name="T0" fmla="*/ 880 w 1909"/>
              <a:gd name="T1" fmla="*/ 451 h 597"/>
              <a:gd name="T2" fmla="*/ 1079 w 1909"/>
              <a:gd name="T3" fmla="*/ 424 h 597"/>
              <a:gd name="T4" fmla="*/ 1316 w 1909"/>
              <a:gd name="T5" fmla="*/ 400 h 597"/>
              <a:gd name="T6" fmla="*/ 1517 w 1909"/>
              <a:gd name="T7" fmla="*/ 480 h 597"/>
              <a:gd name="T8" fmla="*/ 1597 w 1909"/>
              <a:gd name="T9" fmla="*/ 570 h 597"/>
              <a:gd name="T10" fmla="*/ 1608 w 1909"/>
              <a:gd name="T11" fmla="*/ 410 h 597"/>
              <a:gd name="T12" fmla="*/ 1527 w 1909"/>
              <a:gd name="T13" fmla="*/ 373 h 597"/>
              <a:gd name="T14" fmla="*/ 1500 w 1909"/>
              <a:gd name="T15" fmla="*/ 300 h 597"/>
              <a:gd name="T16" fmla="*/ 1622 w 1909"/>
              <a:gd name="T17" fmla="*/ 285 h 597"/>
              <a:gd name="T18" fmla="*/ 1672 w 1909"/>
              <a:gd name="T19" fmla="*/ 240 h 597"/>
              <a:gd name="T20" fmla="*/ 1734 w 1909"/>
              <a:gd name="T21" fmla="*/ 243 h 597"/>
              <a:gd name="T22" fmla="*/ 1772 w 1909"/>
              <a:gd name="T23" fmla="*/ 372 h 597"/>
              <a:gd name="T24" fmla="*/ 1815 w 1909"/>
              <a:gd name="T25" fmla="*/ 333 h 597"/>
              <a:gd name="T26" fmla="*/ 1774 w 1909"/>
              <a:gd name="T27" fmla="*/ 270 h 597"/>
              <a:gd name="T28" fmla="*/ 1849 w 1909"/>
              <a:gd name="T29" fmla="*/ 258 h 597"/>
              <a:gd name="T30" fmla="*/ 1877 w 1909"/>
              <a:gd name="T31" fmla="*/ 225 h 597"/>
              <a:gd name="T32" fmla="*/ 1844 w 1909"/>
              <a:gd name="T33" fmla="*/ 193 h 597"/>
              <a:gd name="T34" fmla="*/ 1640 w 1909"/>
              <a:gd name="T35" fmla="*/ 126 h 597"/>
              <a:gd name="T36" fmla="*/ 1503 w 1909"/>
              <a:gd name="T37" fmla="*/ 106 h 597"/>
              <a:gd name="T38" fmla="*/ 1348 w 1909"/>
              <a:gd name="T39" fmla="*/ 86 h 597"/>
              <a:gd name="T40" fmla="*/ 1248 w 1909"/>
              <a:gd name="T41" fmla="*/ 87 h 597"/>
              <a:gd name="T42" fmla="*/ 1166 w 1909"/>
              <a:gd name="T43" fmla="*/ 97 h 597"/>
              <a:gd name="T44" fmla="*/ 1108 w 1909"/>
              <a:gd name="T45" fmla="*/ 70 h 597"/>
              <a:gd name="T46" fmla="*/ 1024 w 1909"/>
              <a:gd name="T47" fmla="*/ 56 h 597"/>
              <a:gd name="T48" fmla="*/ 924 w 1909"/>
              <a:gd name="T49" fmla="*/ 58 h 597"/>
              <a:gd name="T50" fmla="*/ 883 w 1909"/>
              <a:gd name="T51" fmla="*/ 56 h 597"/>
              <a:gd name="T52" fmla="*/ 840 w 1909"/>
              <a:gd name="T53" fmla="*/ 62 h 597"/>
              <a:gd name="T54" fmla="*/ 879 w 1909"/>
              <a:gd name="T55" fmla="*/ 29 h 597"/>
              <a:gd name="T56" fmla="*/ 807 w 1909"/>
              <a:gd name="T57" fmla="*/ 13 h 597"/>
              <a:gd name="T58" fmla="*/ 767 w 1909"/>
              <a:gd name="T59" fmla="*/ 7 h 597"/>
              <a:gd name="T60" fmla="*/ 715 w 1909"/>
              <a:gd name="T61" fmla="*/ 19 h 597"/>
              <a:gd name="T62" fmla="*/ 670 w 1909"/>
              <a:gd name="T63" fmla="*/ 22 h 597"/>
              <a:gd name="T64" fmla="*/ 609 w 1909"/>
              <a:gd name="T65" fmla="*/ 36 h 597"/>
              <a:gd name="T66" fmla="*/ 617 w 1909"/>
              <a:gd name="T67" fmla="*/ 53 h 597"/>
              <a:gd name="T68" fmla="*/ 588 w 1909"/>
              <a:gd name="T69" fmla="*/ 78 h 597"/>
              <a:gd name="T70" fmla="*/ 584 w 1909"/>
              <a:gd name="T71" fmla="*/ 84 h 597"/>
              <a:gd name="T72" fmla="*/ 521 w 1909"/>
              <a:gd name="T73" fmla="*/ 89 h 597"/>
              <a:gd name="T74" fmla="*/ 538 w 1909"/>
              <a:gd name="T75" fmla="*/ 126 h 597"/>
              <a:gd name="T76" fmla="*/ 545 w 1909"/>
              <a:gd name="T77" fmla="*/ 129 h 597"/>
              <a:gd name="T78" fmla="*/ 526 w 1909"/>
              <a:gd name="T79" fmla="*/ 157 h 597"/>
              <a:gd name="T80" fmla="*/ 481 w 1909"/>
              <a:gd name="T81" fmla="*/ 86 h 597"/>
              <a:gd name="T82" fmla="*/ 440 w 1909"/>
              <a:gd name="T83" fmla="*/ 111 h 597"/>
              <a:gd name="T84" fmla="*/ 375 w 1909"/>
              <a:gd name="T85" fmla="*/ 124 h 597"/>
              <a:gd name="T86" fmla="*/ 302 w 1909"/>
              <a:gd name="T87" fmla="*/ 127 h 597"/>
              <a:gd name="T88" fmla="*/ 201 w 1909"/>
              <a:gd name="T89" fmla="*/ 151 h 597"/>
              <a:gd name="T90" fmla="*/ 168 w 1909"/>
              <a:gd name="T91" fmla="*/ 171 h 597"/>
              <a:gd name="T92" fmla="*/ 118 w 1909"/>
              <a:gd name="T93" fmla="*/ 205 h 597"/>
              <a:gd name="T94" fmla="*/ 80 w 1909"/>
              <a:gd name="T95" fmla="*/ 164 h 597"/>
              <a:gd name="T96" fmla="*/ 83 w 1909"/>
              <a:gd name="T97" fmla="*/ 123 h 597"/>
              <a:gd name="T98" fmla="*/ 24 w 1909"/>
              <a:gd name="T99" fmla="*/ 118 h 597"/>
              <a:gd name="T100" fmla="*/ 53 w 1909"/>
              <a:gd name="T101" fmla="*/ 219 h 597"/>
              <a:gd name="T102" fmla="*/ 27 w 1909"/>
              <a:gd name="T103" fmla="*/ 293 h 597"/>
              <a:gd name="T104" fmla="*/ 82 w 1909"/>
              <a:gd name="T105" fmla="*/ 352 h 597"/>
              <a:gd name="T106" fmla="*/ 138 w 1909"/>
              <a:gd name="T107" fmla="*/ 407 h 597"/>
              <a:gd name="T108" fmla="*/ 225 w 1909"/>
              <a:gd name="T109" fmla="*/ 466 h 597"/>
              <a:gd name="T110" fmla="*/ 209 w 1909"/>
              <a:gd name="T111" fmla="*/ 535 h 597"/>
              <a:gd name="T112" fmla="*/ 375 w 1909"/>
              <a:gd name="T113" fmla="*/ 589 h 597"/>
              <a:gd name="T114" fmla="*/ 346 w 1909"/>
              <a:gd name="T115" fmla="*/ 480 h 597"/>
              <a:gd name="T116" fmla="*/ 373 w 1909"/>
              <a:gd name="T117" fmla="*/ 414 h 597"/>
              <a:gd name="T118" fmla="*/ 475 w 1909"/>
              <a:gd name="T119" fmla="*/ 423 h 597"/>
              <a:gd name="T120" fmla="*/ 498 w 1909"/>
              <a:gd name="T121" fmla="*/ 381 h 597"/>
              <a:gd name="T122" fmla="*/ 587 w 1909"/>
              <a:gd name="T123" fmla="*/ 349 h 597"/>
              <a:gd name="T124" fmla="*/ 659 w 1909"/>
              <a:gd name="T125" fmla="*/ 377 h 5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909" h="597">
                <a:moveTo>
                  <a:pt x="698" y="371"/>
                </a:moveTo>
                <a:lnTo>
                  <a:pt x="700" y="372"/>
                </a:lnTo>
                <a:lnTo>
                  <a:pt x="701" y="372"/>
                </a:lnTo>
                <a:lnTo>
                  <a:pt x="725" y="384"/>
                </a:lnTo>
                <a:lnTo>
                  <a:pt x="776" y="427"/>
                </a:lnTo>
                <a:lnTo>
                  <a:pt x="778" y="425"/>
                </a:lnTo>
                <a:lnTo>
                  <a:pt x="778" y="424"/>
                </a:lnTo>
                <a:lnTo>
                  <a:pt x="777" y="422"/>
                </a:lnTo>
                <a:lnTo>
                  <a:pt x="779" y="420"/>
                </a:lnTo>
                <a:lnTo>
                  <a:pt x="780" y="420"/>
                </a:lnTo>
                <a:lnTo>
                  <a:pt x="782" y="421"/>
                </a:lnTo>
                <a:lnTo>
                  <a:pt x="785" y="421"/>
                </a:lnTo>
                <a:lnTo>
                  <a:pt x="789" y="423"/>
                </a:lnTo>
                <a:lnTo>
                  <a:pt x="789" y="424"/>
                </a:lnTo>
                <a:lnTo>
                  <a:pt x="790" y="425"/>
                </a:lnTo>
                <a:lnTo>
                  <a:pt x="792" y="425"/>
                </a:lnTo>
                <a:lnTo>
                  <a:pt x="795" y="429"/>
                </a:lnTo>
                <a:lnTo>
                  <a:pt x="800" y="427"/>
                </a:lnTo>
                <a:lnTo>
                  <a:pt x="805" y="429"/>
                </a:lnTo>
                <a:lnTo>
                  <a:pt x="807" y="429"/>
                </a:lnTo>
                <a:lnTo>
                  <a:pt x="811" y="429"/>
                </a:lnTo>
                <a:lnTo>
                  <a:pt x="810" y="427"/>
                </a:lnTo>
                <a:lnTo>
                  <a:pt x="811" y="425"/>
                </a:lnTo>
                <a:lnTo>
                  <a:pt x="814" y="426"/>
                </a:lnTo>
                <a:lnTo>
                  <a:pt x="816" y="426"/>
                </a:lnTo>
                <a:lnTo>
                  <a:pt x="816" y="424"/>
                </a:lnTo>
                <a:lnTo>
                  <a:pt x="817" y="423"/>
                </a:lnTo>
                <a:lnTo>
                  <a:pt x="821" y="424"/>
                </a:lnTo>
                <a:lnTo>
                  <a:pt x="824" y="425"/>
                </a:lnTo>
                <a:lnTo>
                  <a:pt x="825" y="426"/>
                </a:lnTo>
                <a:lnTo>
                  <a:pt x="827" y="427"/>
                </a:lnTo>
                <a:lnTo>
                  <a:pt x="831" y="430"/>
                </a:lnTo>
                <a:lnTo>
                  <a:pt x="834" y="431"/>
                </a:lnTo>
                <a:lnTo>
                  <a:pt x="835" y="432"/>
                </a:lnTo>
                <a:lnTo>
                  <a:pt x="836" y="434"/>
                </a:lnTo>
                <a:lnTo>
                  <a:pt x="836" y="435"/>
                </a:lnTo>
                <a:lnTo>
                  <a:pt x="838" y="436"/>
                </a:lnTo>
                <a:lnTo>
                  <a:pt x="840" y="437"/>
                </a:lnTo>
                <a:lnTo>
                  <a:pt x="847" y="440"/>
                </a:lnTo>
                <a:lnTo>
                  <a:pt x="848" y="441"/>
                </a:lnTo>
                <a:lnTo>
                  <a:pt x="849" y="443"/>
                </a:lnTo>
                <a:lnTo>
                  <a:pt x="851" y="443"/>
                </a:lnTo>
                <a:lnTo>
                  <a:pt x="853" y="444"/>
                </a:lnTo>
                <a:lnTo>
                  <a:pt x="856" y="447"/>
                </a:lnTo>
                <a:lnTo>
                  <a:pt x="858" y="449"/>
                </a:lnTo>
                <a:lnTo>
                  <a:pt x="862" y="449"/>
                </a:lnTo>
                <a:lnTo>
                  <a:pt x="865" y="450"/>
                </a:lnTo>
                <a:lnTo>
                  <a:pt x="867" y="450"/>
                </a:lnTo>
                <a:lnTo>
                  <a:pt x="869" y="451"/>
                </a:lnTo>
                <a:lnTo>
                  <a:pt x="871" y="451"/>
                </a:lnTo>
                <a:lnTo>
                  <a:pt x="871" y="449"/>
                </a:lnTo>
                <a:lnTo>
                  <a:pt x="872" y="447"/>
                </a:lnTo>
                <a:lnTo>
                  <a:pt x="876" y="446"/>
                </a:lnTo>
                <a:lnTo>
                  <a:pt x="877" y="449"/>
                </a:lnTo>
                <a:lnTo>
                  <a:pt x="878" y="450"/>
                </a:lnTo>
                <a:lnTo>
                  <a:pt x="880" y="451"/>
                </a:lnTo>
                <a:lnTo>
                  <a:pt x="883" y="454"/>
                </a:lnTo>
                <a:lnTo>
                  <a:pt x="886" y="454"/>
                </a:lnTo>
                <a:lnTo>
                  <a:pt x="888" y="456"/>
                </a:lnTo>
                <a:lnTo>
                  <a:pt x="887" y="462"/>
                </a:lnTo>
                <a:lnTo>
                  <a:pt x="887" y="462"/>
                </a:lnTo>
                <a:lnTo>
                  <a:pt x="893" y="463"/>
                </a:lnTo>
                <a:lnTo>
                  <a:pt x="897" y="460"/>
                </a:lnTo>
                <a:lnTo>
                  <a:pt x="898" y="460"/>
                </a:lnTo>
                <a:lnTo>
                  <a:pt x="898" y="460"/>
                </a:lnTo>
                <a:lnTo>
                  <a:pt x="899" y="455"/>
                </a:lnTo>
                <a:lnTo>
                  <a:pt x="901" y="452"/>
                </a:lnTo>
                <a:lnTo>
                  <a:pt x="905" y="450"/>
                </a:lnTo>
                <a:lnTo>
                  <a:pt x="909" y="449"/>
                </a:lnTo>
                <a:lnTo>
                  <a:pt x="912" y="446"/>
                </a:lnTo>
                <a:lnTo>
                  <a:pt x="916" y="443"/>
                </a:lnTo>
                <a:lnTo>
                  <a:pt x="921" y="440"/>
                </a:lnTo>
                <a:lnTo>
                  <a:pt x="926" y="435"/>
                </a:lnTo>
                <a:lnTo>
                  <a:pt x="934" y="433"/>
                </a:lnTo>
                <a:lnTo>
                  <a:pt x="939" y="431"/>
                </a:lnTo>
                <a:lnTo>
                  <a:pt x="944" y="431"/>
                </a:lnTo>
                <a:lnTo>
                  <a:pt x="951" y="431"/>
                </a:lnTo>
                <a:lnTo>
                  <a:pt x="956" y="433"/>
                </a:lnTo>
                <a:lnTo>
                  <a:pt x="960" y="435"/>
                </a:lnTo>
                <a:lnTo>
                  <a:pt x="964" y="434"/>
                </a:lnTo>
                <a:lnTo>
                  <a:pt x="970" y="434"/>
                </a:lnTo>
                <a:lnTo>
                  <a:pt x="974" y="434"/>
                </a:lnTo>
                <a:lnTo>
                  <a:pt x="986" y="441"/>
                </a:lnTo>
                <a:lnTo>
                  <a:pt x="988" y="442"/>
                </a:lnTo>
                <a:lnTo>
                  <a:pt x="992" y="442"/>
                </a:lnTo>
                <a:lnTo>
                  <a:pt x="1003" y="441"/>
                </a:lnTo>
                <a:lnTo>
                  <a:pt x="1008" y="442"/>
                </a:lnTo>
                <a:lnTo>
                  <a:pt x="1019" y="442"/>
                </a:lnTo>
                <a:lnTo>
                  <a:pt x="1028" y="441"/>
                </a:lnTo>
                <a:lnTo>
                  <a:pt x="1030" y="440"/>
                </a:lnTo>
                <a:lnTo>
                  <a:pt x="1029" y="439"/>
                </a:lnTo>
                <a:lnTo>
                  <a:pt x="1027" y="436"/>
                </a:lnTo>
                <a:lnTo>
                  <a:pt x="1025" y="433"/>
                </a:lnTo>
                <a:lnTo>
                  <a:pt x="1025" y="430"/>
                </a:lnTo>
                <a:lnTo>
                  <a:pt x="1024" y="426"/>
                </a:lnTo>
                <a:lnTo>
                  <a:pt x="1020" y="424"/>
                </a:lnTo>
                <a:lnTo>
                  <a:pt x="1017" y="420"/>
                </a:lnTo>
                <a:lnTo>
                  <a:pt x="1015" y="416"/>
                </a:lnTo>
                <a:lnTo>
                  <a:pt x="1018" y="414"/>
                </a:lnTo>
                <a:lnTo>
                  <a:pt x="1019" y="411"/>
                </a:lnTo>
                <a:lnTo>
                  <a:pt x="1022" y="407"/>
                </a:lnTo>
                <a:lnTo>
                  <a:pt x="1023" y="404"/>
                </a:lnTo>
                <a:lnTo>
                  <a:pt x="1027" y="404"/>
                </a:lnTo>
                <a:lnTo>
                  <a:pt x="1032" y="405"/>
                </a:lnTo>
                <a:lnTo>
                  <a:pt x="1037" y="407"/>
                </a:lnTo>
                <a:lnTo>
                  <a:pt x="1048" y="410"/>
                </a:lnTo>
                <a:lnTo>
                  <a:pt x="1052" y="412"/>
                </a:lnTo>
                <a:lnTo>
                  <a:pt x="1059" y="413"/>
                </a:lnTo>
                <a:lnTo>
                  <a:pt x="1065" y="414"/>
                </a:lnTo>
                <a:lnTo>
                  <a:pt x="1070" y="415"/>
                </a:lnTo>
                <a:lnTo>
                  <a:pt x="1074" y="419"/>
                </a:lnTo>
                <a:lnTo>
                  <a:pt x="1079" y="424"/>
                </a:lnTo>
                <a:lnTo>
                  <a:pt x="1082" y="429"/>
                </a:lnTo>
                <a:lnTo>
                  <a:pt x="1083" y="429"/>
                </a:lnTo>
                <a:lnTo>
                  <a:pt x="1089" y="432"/>
                </a:lnTo>
                <a:lnTo>
                  <a:pt x="1096" y="435"/>
                </a:lnTo>
                <a:lnTo>
                  <a:pt x="1105" y="437"/>
                </a:lnTo>
                <a:lnTo>
                  <a:pt x="1112" y="436"/>
                </a:lnTo>
                <a:lnTo>
                  <a:pt x="1118" y="433"/>
                </a:lnTo>
                <a:lnTo>
                  <a:pt x="1122" y="431"/>
                </a:lnTo>
                <a:lnTo>
                  <a:pt x="1131" y="432"/>
                </a:lnTo>
                <a:lnTo>
                  <a:pt x="1145" y="435"/>
                </a:lnTo>
                <a:lnTo>
                  <a:pt x="1149" y="437"/>
                </a:lnTo>
                <a:lnTo>
                  <a:pt x="1150" y="437"/>
                </a:lnTo>
                <a:lnTo>
                  <a:pt x="1152" y="439"/>
                </a:lnTo>
                <a:lnTo>
                  <a:pt x="1159" y="442"/>
                </a:lnTo>
                <a:lnTo>
                  <a:pt x="1165" y="443"/>
                </a:lnTo>
                <a:lnTo>
                  <a:pt x="1171" y="444"/>
                </a:lnTo>
                <a:lnTo>
                  <a:pt x="1177" y="449"/>
                </a:lnTo>
                <a:lnTo>
                  <a:pt x="1185" y="452"/>
                </a:lnTo>
                <a:lnTo>
                  <a:pt x="1194" y="453"/>
                </a:lnTo>
                <a:lnTo>
                  <a:pt x="1202" y="454"/>
                </a:lnTo>
                <a:lnTo>
                  <a:pt x="1206" y="455"/>
                </a:lnTo>
                <a:lnTo>
                  <a:pt x="1212" y="454"/>
                </a:lnTo>
                <a:lnTo>
                  <a:pt x="1219" y="456"/>
                </a:lnTo>
                <a:lnTo>
                  <a:pt x="1230" y="452"/>
                </a:lnTo>
                <a:lnTo>
                  <a:pt x="1237" y="451"/>
                </a:lnTo>
                <a:lnTo>
                  <a:pt x="1244" y="450"/>
                </a:lnTo>
                <a:lnTo>
                  <a:pt x="1250" y="443"/>
                </a:lnTo>
                <a:lnTo>
                  <a:pt x="1253" y="440"/>
                </a:lnTo>
                <a:lnTo>
                  <a:pt x="1258" y="439"/>
                </a:lnTo>
                <a:lnTo>
                  <a:pt x="1266" y="441"/>
                </a:lnTo>
                <a:lnTo>
                  <a:pt x="1273" y="443"/>
                </a:lnTo>
                <a:lnTo>
                  <a:pt x="1278" y="444"/>
                </a:lnTo>
                <a:lnTo>
                  <a:pt x="1283" y="443"/>
                </a:lnTo>
                <a:lnTo>
                  <a:pt x="1285" y="442"/>
                </a:lnTo>
                <a:lnTo>
                  <a:pt x="1287" y="442"/>
                </a:lnTo>
                <a:lnTo>
                  <a:pt x="1287" y="442"/>
                </a:lnTo>
                <a:lnTo>
                  <a:pt x="1290" y="443"/>
                </a:lnTo>
                <a:lnTo>
                  <a:pt x="1295" y="445"/>
                </a:lnTo>
                <a:lnTo>
                  <a:pt x="1304" y="447"/>
                </a:lnTo>
                <a:lnTo>
                  <a:pt x="1312" y="450"/>
                </a:lnTo>
                <a:lnTo>
                  <a:pt x="1315" y="449"/>
                </a:lnTo>
                <a:lnTo>
                  <a:pt x="1317" y="446"/>
                </a:lnTo>
                <a:lnTo>
                  <a:pt x="1325" y="440"/>
                </a:lnTo>
                <a:lnTo>
                  <a:pt x="1325" y="439"/>
                </a:lnTo>
                <a:lnTo>
                  <a:pt x="1323" y="436"/>
                </a:lnTo>
                <a:lnTo>
                  <a:pt x="1322" y="434"/>
                </a:lnTo>
                <a:lnTo>
                  <a:pt x="1323" y="431"/>
                </a:lnTo>
                <a:lnTo>
                  <a:pt x="1323" y="429"/>
                </a:lnTo>
                <a:lnTo>
                  <a:pt x="1321" y="423"/>
                </a:lnTo>
                <a:lnTo>
                  <a:pt x="1318" y="419"/>
                </a:lnTo>
                <a:lnTo>
                  <a:pt x="1318" y="415"/>
                </a:lnTo>
                <a:lnTo>
                  <a:pt x="1321" y="413"/>
                </a:lnTo>
                <a:lnTo>
                  <a:pt x="1324" y="407"/>
                </a:lnTo>
                <a:lnTo>
                  <a:pt x="1323" y="406"/>
                </a:lnTo>
                <a:lnTo>
                  <a:pt x="1320" y="404"/>
                </a:lnTo>
                <a:lnTo>
                  <a:pt x="1316" y="400"/>
                </a:lnTo>
                <a:lnTo>
                  <a:pt x="1315" y="399"/>
                </a:lnTo>
                <a:lnTo>
                  <a:pt x="1312" y="399"/>
                </a:lnTo>
                <a:lnTo>
                  <a:pt x="1307" y="400"/>
                </a:lnTo>
                <a:lnTo>
                  <a:pt x="1306" y="399"/>
                </a:lnTo>
                <a:lnTo>
                  <a:pt x="1305" y="396"/>
                </a:lnTo>
                <a:lnTo>
                  <a:pt x="1308" y="392"/>
                </a:lnTo>
                <a:lnTo>
                  <a:pt x="1308" y="389"/>
                </a:lnTo>
                <a:lnTo>
                  <a:pt x="1311" y="386"/>
                </a:lnTo>
                <a:lnTo>
                  <a:pt x="1318" y="385"/>
                </a:lnTo>
                <a:lnTo>
                  <a:pt x="1326" y="383"/>
                </a:lnTo>
                <a:lnTo>
                  <a:pt x="1333" y="383"/>
                </a:lnTo>
                <a:lnTo>
                  <a:pt x="1341" y="382"/>
                </a:lnTo>
                <a:lnTo>
                  <a:pt x="1343" y="382"/>
                </a:lnTo>
                <a:lnTo>
                  <a:pt x="1349" y="383"/>
                </a:lnTo>
                <a:lnTo>
                  <a:pt x="1355" y="386"/>
                </a:lnTo>
                <a:lnTo>
                  <a:pt x="1359" y="389"/>
                </a:lnTo>
                <a:lnTo>
                  <a:pt x="1364" y="389"/>
                </a:lnTo>
                <a:lnTo>
                  <a:pt x="1368" y="389"/>
                </a:lnTo>
                <a:lnTo>
                  <a:pt x="1373" y="389"/>
                </a:lnTo>
                <a:lnTo>
                  <a:pt x="1377" y="390"/>
                </a:lnTo>
                <a:lnTo>
                  <a:pt x="1382" y="393"/>
                </a:lnTo>
                <a:lnTo>
                  <a:pt x="1387" y="396"/>
                </a:lnTo>
                <a:lnTo>
                  <a:pt x="1389" y="399"/>
                </a:lnTo>
                <a:lnTo>
                  <a:pt x="1393" y="401"/>
                </a:lnTo>
                <a:lnTo>
                  <a:pt x="1396" y="402"/>
                </a:lnTo>
                <a:lnTo>
                  <a:pt x="1397" y="403"/>
                </a:lnTo>
                <a:lnTo>
                  <a:pt x="1397" y="402"/>
                </a:lnTo>
                <a:lnTo>
                  <a:pt x="1399" y="405"/>
                </a:lnTo>
                <a:lnTo>
                  <a:pt x="1403" y="407"/>
                </a:lnTo>
                <a:lnTo>
                  <a:pt x="1406" y="412"/>
                </a:lnTo>
                <a:lnTo>
                  <a:pt x="1412" y="415"/>
                </a:lnTo>
                <a:lnTo>
                  <a:pt x="1415" y="419"/>
                </a:lnTo>
                <a:lnTo>
                  <a:pt x="1426" y="426"/>
                </a:lnTo>
                <a:lnTo>
                  <a:pt x="1434" y="435"/>
                </a:lnTo>
                <a:lnTo>
                  <a:pt x="1438" y="439"/>
                </a:lnTo>
                <a:lnTo>
                  <a:pt x="1439" y="440"/>
                </a:lnTo>
                <a:lnTo>
                  <a:pt x="1439" y="440"/>
                </a:lnTo>
                <a:lnTo>
                  <a:pt x="1443" y="444"/>
                </a:lnTo>
                <a:lnTo>
                  <a:pt x="1446" y="449"/>
                </a:lnTo>
                <a:lnTo>
                  <a:pt x="1450" y="451"/>
                </a:lnTo>
                <a:lnTo>
                  <a:pt x="1457" y="451"/>
                </a:lnTo>
                <a:lnTo>
                  <a:pt x="1462" y="450"/>
                </a:lnTo>
                <a:lnTo>
                  <a:pt x="1466" y="451"/>
                </a:lnTo>
                <a:lnTo>
                  <a:pt x="1472" y="452"/>
                </a:lnTo>
                <a:lnTo>
                  <a:pt x="1477" y="453"/>
                </a:lnTo>
                <a:lnTo>
                  <a:pt x="1489" y="460"/>
                </a:lnTo>
                <a:lnTo>
                  <a:pt x="1495" y="461"/>
                </a:lnTo>
                <a:lnTo>
                  <a:pt x="1498" y="461"/>
                </a:lnTo>
                <a:lnTo>
                  <a:pt x="1500" y="463"/>
                </a:lnTo>
                <a:lnTo>
                  <a:pt x="1501" y="464"/>
                </a:lnTo>
                <a:lnTo>
                  <a:pt x="1501" y="463"/>
                </a:lnTo>
                <a:lnTo>
                  <a:pt x="1504" y="466"/>
                </a:lnTo>
                <a:lnTo>
                  <a:pt x="1507" y="469"/>
                </a:lnTo>
                <a:lnTo>
                  <a:pt x="1509" y="472"/>
                </a:lnTo>
                <a:lnTo>
                  <a:pt x="1511" y="476"/>
                </a:lnTo>
                <a:lnTo>
                  <a:pt x="1517" y="480"/>
                </a:lnTo>
                <a:lnTo>
                  <a:pt x="1520" y="483"/>
                </a:lnTo>
                <a:lnTo>
                  <a:pt x="1525" y="482"/>
                </a:lnTo>
                <a:lnTo>
                  <a:pt x="1530" y="483"/>
                </a:lnTo>
                <a:lnTo>
                  <a:pt x="1535" y="483"/>
                </a:lnTo>
                <a:lnTo>
                  <a:pt x="1541" y="480"/>
                </a:lnTo>
                <a:lnTo>
                  <a:pt x="1546" y="475"/>
                </a:lnTo>
                <a:lnTo>
                  <a:pt x="1550" y="475"/>
                </a:lnTo>
                <a:lnTo>
                  <a:pt x="1557" y="471"/>
                </a:lnTo>
                <a:lnTo>
                  <a:pt x="1564" y="469"/>
                </a:lnTo>
                <a:lnTo>
                  <a:pt x="1564" y="470"/>
                </a:lnTo>
                <a:lnTo>
                  <a:pt x="1564" y="473"/>
                </a:lnTo>
                <a:lnTo>
                  <a:pt x="1567" y="476"/>
                </a:lnTo>
                <a:lnTo>
                  <a:pt x="1570" y="480"/>
                </a:lnTo>
                <a:lnTo>
                  <a:pt x="1572" y="484"/>
                </a:lnTo>
                <a:lnTo>
                  <a:pt x="1571" y="486"/>
                </a:lnTo>
                <a:lnTo>
                  <a:pt x="1570" y="490"/>
                </a:lnTo>
                <a:lnTo>
                  <a:pt x="1572" y="494"/>
                </a:lnTo>
                <a:lnTo>
                  <a:pt x="1574" y="502"/>
                </a:lnTo>
                <a:lnTo>
                  <a:pt x="1578" y="511"/>
                </a:lnTo>
                <a:lnTo>
                  <a:pt x="1578" y="520"/>
                </a:lnTo>
                <a:lnTo>
                  <a:pt x="1578" y="524"/>
                </a:lnTo>
                <a:lnTo>
                  <a:pt x="1579" y="528"/>
                </a:lnTo>
                <a:lnTo>
                  <a:pt x="1578" y="531"/>
                </a:lnTo>
                <a:lnTo>
                  <a:pt x="1576" y="530"/>
                </a:lnTo>
                <a:lnTo>
                  <a:pt x="1561" y="526"/>
                </a:lnTo>
                <a:lnTo>
                  <a:pt x="1558" y="528"/>
                </a:lnTo>
                <a:lnTo>
                  <a:pt x="1554" y="536"/>
                </a:lnTo>
                <a:lnTo>
                  <a:pt x="1558" y="540"/>
                </a:lnTo>
                <a:lnTo>
                  <a:pt x="1564" y="546"/>
                </a:lnTo>
                <a:lnTo>
                  <a:pt x="1572" y="560"/>
                </a:lnTo>
                <a:lnTo>
                  <a:pt x="1572" y="566"/>
                </a:lnTo>
                <a:lnTo>
                  <a:pt x="1569" y="570"/>
                </a:lnTo>
                <a:lnTo>
                  <a:pt x="1571" y="574"/>
                </a:lnTo>
                <a:lnTo>
                  <a:pt x="1572" y="576"/>
                </a:lnTo>
                <a:lnTo>
                  <a:pt x="1575" y="577"/>
                </a:lnTo>
                <a:lnTo>
                  <a:pt x="1577" y="577"/>
                </a:lnTo>
                <a:lnTo>
                  <a:pt x="1575" y="575"/>
                </a:lnTo>
                <a:lnTo>
                  <a:pt x="1574" y="574"/>
                </a:lnTo>
                <a:lnTo>
                  <a:pt x="1576" y="573"/>
                </a:lnTo>
                <a:lnTo>
                  <a:pt x="1581" y="574"/>
                </a:lnTo>
                <a:lnTo>
                  <a:pt x="1581" y="571"/>
                </a:lnTo>
                <a:lnTo>
                  <a:pt x="1581" y="570"/>
                </a:lnTo>
                <a:lnTo>
                  <a:pt x="1581" y="567"/>
                </a:lnTo>
                <a:lnTo>
                  <a:pt x="1582" y="565"/>
                </a:lnTo>
                <a:lnTo>
                  <a:pt x="1581" y="558"/>
                </a:lnTo>
                <a:lnTo>
                  <a:pt x="1582" y="561"/>
                </a:lnTo>
                <a:lnTo>
                  <a:pt x="1586" y="562"/>
                </a:lnTo>
                <a:lnTo>
                  <a:pt x="1586" y="564"/>
                </a:lnTo>
                <a:lnTo>
                  <a:pt x="1587" y="565"/>
                </a:lnTo>
                <a:lnTo>
                  <a:pt x="1589" y="563"/>
                </a:lnTo>
                <a:lnTo>
                  <a:pt x="1590" y="562"/>
                </a:lnTo>
                <a:lnTo>
                  <a:pt x="1591" y="564"/>
                </a:lnTo>
                <a:lnTo>
                  <a:pt x="1592" y="566"/>
                </a:lnTo>
                <a:lnTo>
                  <a:pt x="1594" y="568"/>
                </a:lnTo>
                <a:lnTo>
                  <a:pt x="1595" y="570"/>
                </a:lnTo>
                <a:lnTo>
                  <a:pt x="1597" y="570"/>
                </a:lnTo>
                <a:lnTo>
                  <a:pt x="1600" y="570"/>
                </a:lnTo>
                <a:lnTo>
                  <a:pt x="1604" y="571"/>
                </a:lnTo>
                <a:lnTo>
                  <a:pt x="1605" y="571"/>
                </a:lnTo>
                <a:lnTo>
                  <a:pt x="1607" y="572"/>
                </a:lnTo>
                <a:lnTo>
                  <a:pt x="1610" y="572"/>
                </a:lnTo>
                <a:lnTo>
                  <a:pt x="1615" y="571"/>
                </a:lnTo>
                <a:lnTo>
                  <a:pt x="1617" y="571"/>
                </a:lnTo>
                <a:lnTo>
                  <a:pt x="1619" y="570"/>
                </a:lnTo>
                <a:lnTo>
                  <a:pt x="1621" y="566"/>
                </a:lnTo>
                <a:lnTo>
                  <a:pt x="1628" y="560"/>
                </a:lnTo>
                <a:lnTo>
                  <a:pt x="1629" y="556"/>
                </a:lnTo>
                <a:lnTo>
                  <a:pt x="1629" y="553"/>
                </a:lnTo>
                <a:lnTo>
                  <a:pt x="1630" y="548"/>
                </a:lnTo>
                <a:lnTo>
                  <a:pt x="1629" y="546"/>
                </a:lnTo>
                <a:lnTo>
                  <a:pt x="1629" y="543"/>
                </a:lnTo>
                <a:lnTo>
                  <a:pt x="1630" y="541"/>
                </a:lnTo>
                <a:lnTo>
                  <a:pt x="1632" y="540"/>
                </a:lnTo>
                <a:lnTo>
                  <a:pt x="1632" y="534"/>
                </a:lnTo>
                <a:lnTo>
                  <a:pt x="1634" y="533"/>
                </a:lnTo>
                <a:lnTo>
                  <a:pt x="1634" y="528"/>
                </a:lnTo>
                <a:lnTo>
                  <a:pt x="1638" y="516"/>
                </a:lnTo>
                <a:lnTo>
                  <a:pt x="1637" y="513"/>
                </a:lnTo>
                <a:lnTo>
                  <a:pt x="1639" y="511"/>
                </a:lnTo>
                <a:lnTo>
                  <a:pt x="1639" y="510"/>
                </a:lnTo>
                <a:lnTo>
                  <a:pt x="1638" y="504"/>
                </a:lnTo>
                <a:lnTo>
                  <a:pt x="1636" y="495"/>
                </a:lnTo>
                <a:lnTo>
                  <a:pt x="1635" y="493"/>
                </a:lnTo>
                <a:lnTo>
                  <a:pt x="1637" y="487"/>
                </a:lnTo>
                <a:lnTo>
                  <a:pt x="1636" y="481"/>
                </a:lnTo>
                <a:lnTo>
                  <a:pt x="1638" y="476"/>
                </a:lnTo>
                <a:lnTo>
                  <a:pt x="1639" y="473"/>
                </a:lnTo>
                <a:lnTo>
                  <a:pt x="1638" y="472"/>
                </a:lnTo>
                <a:lnTo>
                  <a:pt x="1639" y="471"/>
                </a:lnTo>
                <a:lnTo>
                  <a:pt x="1640" y="470"/>
                </a:lnTo>
                <a:lnTo>
                  <a:pt x="1637" y="464"/>
                </a:lnTo>
                <a:lnTo>
                  <a:pt x="1637" y="462"/>
                </a:lnTo>
                <a:lnTo>
                  <a:pt x="1635" y="460"/>
                </a:lnTo>
                <a:lnTo>
                  <a:pt x="1634" y="456"/>
                </a:lnTo>
                <a:lnTo>
                  <a:pt x="1632" y="453"/>
                </a:lnTo>
                <a:lnTo>
                  <a:pt x="1631" y="451"/>
                </a:lnTo>
                <a:lnTo>
                  <a:pt x="1625" y="444"/>
                </a:lnTo>
                <a:lnTo>
                  <a:pt x="1625" y="441"/>
                </a:lnTo>
                <a:lnTo>
                  <a:pt x="1624" y="440"/>
                </a:lnTo>
                <a:lnTo>
                  <a:pt x="1622" y="439"/>
                </a:lnTo>
                <a:lnTo>
                  <a:pt x="1616" y="433"/>
                </a:lnTo>
                <a:lnTo>
                  <a:pt x="1612" y="430"/>
                </a:lnTo>
                <a:lnTo>
                  <a:pt x="1612" y="427"/>
                </a:lnTo>
                <a:lnTo>
                  <a:pt x="1611" y="424"/>
                </a:lnTo>
                <a:lnTo>
                  <a:pt x="1608" y="421"/>
                </a:lnTo>
                <a:lnTo>
                  <a:pt x="1609" y="420"/>
                </a:lnTo>
                <a:lnTo>
                  <a:pt x="1608" y="419"/>
                </a:lnTo>
                <a:lnTo>
                  <a:pt x="1608" y="419"/>
                </a:lnTo>
                <a:lnTo>
                  <a:pt x="1607" y="416"/>
                </a:lnTo>
                <a:lnTo>
                  <a:pt x="1607" y="413"/>
                </a:lnTo>
                <a:lnTo>
                  <a:pt x="1608" y="412"/>
                </a:lnTo>
                <a:lnTo>
                  <a:pt x="1608" y="410"/>
                </a:lnTo>
                <a:lnTo>
                  <a:pt x="1608" y="409"/>
                </a:lnTo>
                <a:lnTo>
                  <a:pt x="1606" y="406"/>
                </a:lnTo>
                <a:lnTo>
                  <a:pt x="1606" y="404"/>
                </a:lnTo>
                <a:lnTo>
                  <a:pt x="1597" y="400"/>
                </a:lnTo>
                <a:lnTo>
                  <a:pt x="1596" y="396"/>
                </a:lnTo>
                <a:lnTo>
                  <a:pt x="1594" y="394"/>
                </a:lnTo>
                <a:lnTo>
                  <a:pt x="1590" y="392"/>
                </a:lnTo>
                <a:lnTo>
                  <a:pt x="1587" y="390"/>
                </a:lnTo>
                <a:lnTo>
                  <a:pt x="1582" y="389"/>
                </a:lnTo>
                <a:lnTo>
                  <a:pt x="1579" y="389"/>
                </a:lnTo>
                <a:lnTo>
                  <a:pt x="1575" y="386"/>
                </a:lnTo>
                <a:lnTo>
                  <a:pt x="1571" y="386"/>
                </a:lnTo>
                <a:lnTo>
                  <a:pt x="1569" y="386"/>
                </a:lnTo>
                <a:lnTo>
                  <a:pt x="1569" y="385"/>
                </a:lnTo>
                <a:lnTo>
                  <a:pt x="1574" y="385"/>
                </a:lnTo>
                <a:lnTo>
                  <a:pt x="1578" y="386"/>
                </a:lnTo>
                <a:lnTo>
                  <a:pt x="1580" y="387"/>
                </a:lnTo>
                <a:lnTo>
                  <a:pt x="1582" y="387"/>
                </a:lnTo>
                <a:lnTo>
                  <a:pt x="1589" y="390"/>
                </a:lnTo>
                <a:lnTo>
                  <a:pt x="1589" y="389"/>
                </a:lnTo>
                <a:lnTo>
                  <a:pt x="1589" y="386"/>
                </a:lnTo>
                <a:lnTo>
                  <a:pt x="1587" y="384"/>
                </a:lnTo>
                <a:lnTo>
                  <a:pt x="1586" y="384"/>
                </a:lnTo>
                <a:lnTo>
                  <a:pt x="1576" y="381"/>
                </a:lnTo>
                <a:lnTo>
                  <a:pt x="1570" y="379"/>
                </a:lnTo>
                <a:lnTo>
                  <a:pt x="1567" y="376"/>
                </a:lnTo>
                <a:lnTo>
                  <a:pt x="1565" y="375"/>
                </a:lnTo>
                <a:lnTo>
                  <a:pt x="1563" y="373"/>
                </a:lnTo>
                <a:lnTo>
                  <a:pt x="1559" y="372"/>
                </a:lnTo>
                <a:lnTo>
                  <a:pt x="1556" y="371"/>
                </a:lnTo>
                <a:lnTo>
                  <a:pt x="1554" y="370"/>
                </a:lnTo>
                <a:lnTo>
                  <a:pt x="1551" y="369"/>
                </a:lnTo>
                <a:lnTo>
                  <a:pt x="1551" y="368"/>
                </a:lnTo>
                <a:lnTo>
                  <a:pt x="1550" y="368"/>
                </a:lnTo>
                <a:lnTo>
                  <a:pt x="1548" y="368"/>
                </a:lnTo>
                <a:lnTo>
                  <a:pt x="1546" y="369"/>
                </a:lnTo>
                <a:lnTo>
                  <a:pt x="1544" y="369"/>
                </a:lnTo>
                <a:lnTo>
                  <a:pt x="1537" y="368"/>
                </a:lnTo>
                <a:lnTo>
                  <a:pt x="1540" y="371"/>
                </a:lnTo>
                <a:lnTo>
                  <a:pt x="1540" y="371"/>
                </a:lnTo>
                <a:lnTo>
                  <a:pt x="1541" y="373"/>
                </a:lnTo>
                <a:lnTo>
                  <a:pt x="1544" y="376"/>
                </a:lnTo>
                <a:lnTo>
                  <a:pt x="1545" y="380"/>
                </a:lnTo>
                <a:lnTo>
                  <a:pt x="1544" y="381"/>
                </a:lnTo>
                <a:lnTo>
                  <a:pt x="1541" y="379"/>
                </a:lnTo>
                <a:lnTo>
                  <a:pt x="1541" y="375"/>
                </a:lnTo>
                <a:lnTo>
                  <a:pt x="1539" y="374"/>
                </a:lnTo>
                <a:lnTo>
                  <a:pt x="1538" y="377"/>
                </a:lnTo>
                <a:lnTo>
                  <a:pt x="1536" y="379"/>
                </a:lnTo>
                <a:lnTo>
                  <a:pt x="1531" y="380"/>
                </a:lnTo>
                <a:lnTo>
                  <a:pt x="1528" y="380"/>
                </a:lnTo>
                <a:lnTo>
                  <a:pt x="1527" y="379"/>
                </a:lnTo>
                <a:lnTo>
                  <a:pt x="1528" y="379"/>
                </a:lnTo>
                <a:lnTo>
                  <a:pt x="1529" y="376"/>
                </a:lnTo>
                <a:lnTo>
                  <a:pt x="1528" y="375"/>
                </a:lnTo>
                <a:lnTo>
                  <a:pt x="1527" y="373"/>
                </a:lnTo>
                <a:lnTo>
                  <a:pt x="1524" y="372"/>
                </a:lnTo>
                <a:lnTo>
                  <a:pt x="1520" y="371"/>
                </a:lnTo>
                <a:lnTo>
                  <a:pt x="1523" y="370"/>
                </a:lnTo>
                <a:lnTo>
                  <a:pt x="1523" y="369"/>
                </a:lnTo>
                <a:lnTo>
                  <a:pt x="1521" y="368"/>
                </a:lnTo>
                <a:lnTo>
                  <a:pt x="1518" y="368"/>
                </a:lnTo>
                <a:lnTo>
                  <a:pt x="1517" y="369"/>
                </a:lnTo>
                <a:lnTo>
                  <a:pt x="1517" y="371"/>
                </a:lnTo>
                <a:lnTo>
                  <a:pt x="1520" y="372"/>
                </a:lnTo>
                <a:lnTo>
                  <a:pt x="1521" y="373"/>
                </a:lnTo>
                <a:lnTo>
                  <a:pt x="1520" y="375"/>
                </a:lnTo>
                <a:lnTo>
                  <a:pt x="1518" y="375"/>
                </a:lnTo>
                <a:lnTo>
                  <a:pt x="1518" y="376"/>
                </a:lnTo>
                <a:lnTo>
                  <a:pt x="1517" y="376"/>
                </a:lnTo>
                <a:lnTo>
                  <a:pt x="1514" y="373"/>
                </a:lnTo>
                <a:lnTo>
                  <a:pt x="1513" y="371"/>
                </a:lnTo>
                <a:lnTo>
                  <a:pt x="1511" y="369"/>
                </a:lnTo>
                <a:lnTo>
                  <a:pt x="1510" y="366"/>
                </a:lnTo>
                <a:lnTo>
                  <a:pt x="1509" y="366"/>
                </a:lnTo>
                <a:lnTo>
                  <a:pt x="1507" y="363"/>
                </a:lnTo>
                <a:lnTo>
                  <a:pt x="1505" y="362"/>
                </a:lnTo>
                <a:lnTo>
                  <a:pt x="1503" y="362"/>
                </a:lnTo>
                <a:lnTo>
                  <a:pt x="1498" y="363"/>
                </a:lnTo>
                <a:lnTo>
                  <a:pt x="1493" y="363"/>
                </a:lnTo>
                <a:lnTo>
                  <a:pt x="1488" y="361"/>
                </a:lnTo>
                <a:lnTo>
                  <a:pt x="1483" y="360"/>
                </a:lnTo>
                <a:lnTo>
                  <a:pt x="1482" y="359"/>
                </a:lnTo>
                <a:lnTo>
                  <a:pt x="1480" y="356"/>
                </a:lnTo>
                <a:lnTo>
                  <a:pt x="1484" y="352"/>
                </a:lnTo>
                <a:lnTo>
                  <a:pt x="1485" y="352"/>
                </a:lnTo>
                <a:lnTo>
                  <a:pt x="1487" y="349"/>
                </a:lnTo>
                <a:lnTo>
                  <a:pt x="1486" y="346"/>
                </a:lnTo>
                <a:lnTo>
                  <a:pt x="1487" y="345"/>
                </a:lnTo>
                <a:lnTo>
                  <a:pt x="1488" y="345"/>
                </a:lnTo>
                <a:lnTo>
                  <a:pt x="1489" y="343"/>
                </a:lnTo>
                <a:lnTo>
                  <a:pt x="1494" y="335"/>
                </a:lnTo>
                <a:lnTo>
                  <a:pt x="1494" y="332"/>
                </a:lnTo>
                <a:lnTo>
                  <a:pt x="1495" y="332"/>
                </a:lnTo>
                <a:lnTo>
                  <a:pt x="1494" y="330"/>
                </a:lnTo>
                <a:lnTo>
                  <a:pt x="1493" y="329"/>
                </a:lnTo>
                <a:lnTo>
                  <a:pt x="1494" y="328"/>
                </a:lnTo>
                <a:lnTo>
                  <a:pt x="1494" y="325"/>
                </a:lnTo>
                <a:lnTo>
                  <a:pt x="1493" y="324"/>
                </a:lnTo>
                <a:lnTo>
                  <a:pt x="1495" y="324"/>
                </a:lnTo>
                <a:lnTo>
                  <a:pt x="1494" y="322"/>
                </a:lnTo>
                <a:lnTo>
                  <a:pt x="1496" y="320"/>
                </a:lnTo>
                <a:lnTo>
                  <a:pt x="1496" y="316"/>
                </a:lnTo>
                <a:lnTo>
                  <a:pt x="1498" y="316"/>
                </a:lnTo>
                <a:lnTo>
                  <a:pt x="1499" y="313"/>
                </a:lnTo>
                <a:lnTo>
                  <a:pt x="1498" y="311"/>
                </a:lnTo>
                <a:lnTo>
                  <a:pt x="1499" y="311"/>
                </a:lnTo>
                <a:lnTo>
                  <a:pt x="1501" y="309"/>
                </a:lnTo>
                <a:lnTo>
                  <a:pt x="1503" y="308"/>
                </a:lnTo>
                <a:lnTo>
                  <a:pt x="1501" y="305"/>
                </a:lnTo>
                <a:lnTo>
                  <a:pt x="1500" y="302"/>
                </a:lnTo>
                <a:lnTo>
                  <a:pt x="1500" y="300"/>
                </a:lnTo>
                <a:lnTo>
                  <a:pt x="1505" y="294"/>
                </a:lnTo>
                <a:lnTo>
                  <a:pt x="1505" y="292"/>
                </a:lnTo>
                <a:lnTo>
                  <a:pt x="1505" y="289"/>
                </a:lnTo>
                <a:lnTo>
                  <a:pt x="1506" y="286"/>
                </a:lnTo>
                <a:lnTo>
                  <a:pt x="1508" y="284"/>
                </a:lnTo>
                <a:lnTo>
                  <a:pt x="1513" y="282"/>
                </a:lnTo>
                <a:lnTo>
                  <a:pt x="1525" y="281"/>
                </a:lnTo>
                <a:lnTo>
                  <a:pt x="1534" y="281"/>
                </a:lnTo>
                <a:lnTo>
                  <a:pt x="1537" y="281"/>
                </a:lnTo>
                <a:lnTo>
                  <a:pt x="1539" y="281"/>
                </a:lnTo>
                <a:lnTo>
                  <a:pt x="1543" y="281"/>
                </a:lnTo>
                <a:lnTo>
                  <a:pt x="1546" y="281"/>
                </a:lnTo>
                <a:lnTo>
                  <a:pt x="1547" y="281"/>
                </a:lnTo>
                <a:lnTo>
                  <a:pt x="1549" y="283"/>
                </a:lnTo>
                <a:lnTo>
                  <a:pt x="1553" y="284"/>
                </a:lnTo>
                <a:lnTo>
                  <a:pt x="1554" y="284"/>
                </a:lnTo>
                <a:lnTo>
                  <a:pt x="1556" y="284"/>
                </a:lnTo>
                <a:lnTo>
                  <a:pt x="1556" y="283"/>
                </a:lnTo>
                <a:lnTo>
                  <a:pt x="1553" y="280"/>
                </a:lnTo>
                <a:lnTo>
                  <a:pt x="1554" y="280"/>
                </a:lnTo>
                <a:lnTo>
                  <a:pt x="1570" y="283"/>
                </a:lnTo>
                <a:lnTo>
                  <a:pt x="1575" y="283"/>
                </a:lnTo>
                <a:lnTo>
                  <a:pt x="1572" y="282"/>
                </a:lnTo>
                <a:lnTo>
                  <a:pt x="1574" y="281"/>
                </a:lnTo>
                <a:lnTo>
                  <a:pt x="1579" y="281"/>
                </a:lnTo>
                <a:lnTo>
                  <a:pt x="1581" y="282"/>
                </a:lnTo>
                <a:lnTo>
                  <a:pt x="1584" y="283"/>
                </a:lnTo>
                <a:lnTo>
                  <a:pt x="1586" y="283"/>
                </a:lnTo>
                <a:lnTo>
                  <a:pt x="1588" y="283"/>
                </a:lnTo>
                <a:lnTo>
                  <a:pt x="1587" y="282"/>
                </a:lnTo>
                <a:lnTo>
                  <a:pt x="1586" y="282"/>
                </a:lnTo>
                <a:lnTo>
                  <a:pt x="1582" y="280"/>
                </a:lnTo>
                <a:lnTo>
                  <a:pt x="1585" y="280"/>
                </a:lnTo>
                <a:lnTo>
                  <a:pt x="1587" y="280"/>
                </a:lnTo>
                <a:lnTo>
                  <a:pt x="1586" y="279"/>
                </a:lnTo>
                <a:lnTo>
                  <a:pt x="1584" y="278"/>
                </a:lnTo>
                <a:lnTo>
                  <a:pt x="1582" y="276"/>
                </a:lnTo>
                <a:lnTo>
                  <a:pt x="1585" y="275"/>
                </a:lnTo>
                <a:lnTo>
                  <a:pt x="1587" y="275"/>
                </a:lnTo>
                <a:lnTo>
                  <a:pt x="1590" y="275"/>
                </a:lnTo>
                <a:lnTo>
                  <a:pt x="1600" y="278"/>
                </a:lnTo>
                <a:lnTo>
                  <a:pt x="1602" y="278"/>
                </a:lnTo>
                <a:lnTo>
                  <a:pt x="1607" y="279"/>
                </a:lnTo>
                <a:lnTo>
                  <a:pt x="1608" y="280"/>
                </a:lnTo>
                <a:lnTo>
                  <a:pt x="1610" y="280"/>
                </a:lnTo>
                <a:lnTo>
                  <a:pt x="1610" y="278"/>
                </a:lnTo>
                <a:lnTo>
                  <a:pt x="1611" y="278"/>
                </a:lnTo>
                <a:lnTo>
                  <a:pt x="1616" y="278"/>
                </a:lnTo>
                <a:lnTo>
                  <a:pt x="1618" y="279"/>
                </a:lnTo>
                <a:lnTo>
                  <a:pt x="1622" y="281"/>
                </a:lnTo>
                <a:lnTo>
                  <a:pt x="1626" y="282"/>
                </a:lnTo>
                <a:lnTo>
                  <a:pt x="1630" y="283"/>
                </a:lnTo>
                <a:lnTo>
                  <a:pt x="1632" y="284"/>
                </a:lnTo>
                <a:lnTo>
                  <a:pt x="1631" y="285"/>
                </a:lnTo>
                <a:lnTo>
                  <a:pt x="1627" y="285"/>
                </a:lnTo>
                <a:lnTo>
                  <a:pt x="1622" y="285"/>
                </a:lnTo>
                <a:lnTo>
                  <a:pt x="1620" y="285"/>
                </a:lnTo>
                <a:lnTo>
                  <a:pt x="1621" y="286"/>
                </a:lnTo>
                <a:lnTo>
                  <a:pt x="1628" y="290"/>
                </a:lnTo>
                <a:lnTo>
                  <a:pt x="1632" y="290"/>
                </a:lnTo>
                <a:lnTo>
                  <a:pt x="1636" y="290"/>
                </a:lnTo>
                <a:lnTo>
                  <a:pt x="1638" y="290"/>
                </a:lnTo>
                <a:lnTo>
                  <a:pt x="1638" y="288"/>
                </a:lnTo>
                <a:lnTo>
                  <a:pt x="1639" y="286"/>
                </a:lnTo>
                <a:lnTo>
                  <a:pt x="1642" y="289"/>
                </a:lnTo>
                <a:lnTo>
                  <a:pt x="1646" y="289"/>
                </a:lnTo>
                <a:lnTo>
                  <a:pt x="1647" y="288"/>
                </a:lnTo>
                <a:lnTo>
                  <a:pt x="1647" y="286"/>
                </a:lnTo>
                <a:lnTo>
                  <a:pt x="1649" y="286"/>
                </a:lnTo>
                <a:lnTo>
                  <a:pt x="1648" y="285"/>
                </a:lnTo>
                <a:lnTo>
                  <a:pt x="1650" y="284"/>
                </a:lnTo>
                <a:lnTo>
                  <a:pt x="1655" y="284"/>
                </a:lnTo>
                <a:lnTo>
                  <a:pt x="1658" y="286"/>
                </a:lnTo>
                <a:lnTo>
                  <a:pt x="1660" y="286"/>
                </a:lnTo>
                <a:lnTo>
                  <a:pt x="1662" y="285"/>
                </a:lnTo>
                <a:lnTo>
                  <a:pt x="1661" y="284"/>
                </a:lnTo>
                <a:lnTo>
                  <a:pt x="1666" y="284"/>
                </a:lnTo>
                <a:lnTo>
                  <a:pt x="1668" y="285"/>
                </a:lnTo>
                <a:lnTo>
                  <a:pt x="1668" y="284"/>
                </a:lnTo>
                <a:lnTo>
                  <a:pt x="1670" y="284"/>
                </a:lnTo>
                <a:lnTo>
                  <a:pt x="1669" y="283"/>
                </a:lnTo>
                <a:lnTo>
                  <a:pt x="1667" y="282"/>
                </a:lnTo>
                <a:lnTo>
                  <a:pt x="1663" y="280"/>
                </a:lnTo>
                <a:lnTo>
                  <a:pt x="1657" y="279"/>
                </a:lnTo>
                <a:lnTo>
                  <a:pt x="1652" y="280"/>
                </a:lnTo>
                <a:lnTo>
                  <a:pt x="1651" y="278"/>
                </a:lnTo>
                <a:lnTo>
                  <a:pt x="1651" y="278"/>
                </a:lnTo>
                <a:lnTo>
                  <a:pt x="1646" y="273"/>
                </a:lnTo>
                <a:lnTo>
                  <a:pt x="1646" y="273"/>
                </a:lnTo>
                <a:lnTo>
                  <a:pt x="1648" y="273"/>
                </a:lnTo>
                <a:lnTo>
                  <a:pt x="1648" y="273"/>
                </a:lnTo>
                <a:lnTo>
                  <a:pt x="1647" y="269"/>
                </a:lnTo>
                <a:lnTo>
                  <a:pt x="1646" y="268"/>
                </a:lnTo>
                <a:lnTo>
                  <a:pt x="1645" y="265"/>
                </a:lnTo>
                <a:lnTo>
                  <a:pt x="1646" y="264"/>
                </a:lnTo>
                <a:lnTo>
                  <a:pt x="1648" y="263"/>
                </a:lnTo>
                <a:lnTo>
                  <a:pt x="1650" y="258"/>
                </a:lnTo>
                <a:lnTo>
                  <a:pt x="1649" y="257"/>
                </a:lnTo>
                <a:lnTo>
                  <a:pt x="1648" y="255"/>
                </a:lnTo>
                <a:lnTo>
                  <a:pt x="1649" y="251"/>
                </a:lnTo>
                <a:lnTo>
                  <a:pt x="1650" y="250"/>
                </a:lnTo>
                <a:lnTo>
                  <a:pt x="1647" y="247"/>
                </a:lnTo>
                <a:lnTo>
                  <a:pt x="1648" y="245"/>
                </a:lnTo>
                <a:lnTo>
                  <a:pt x="1649" y="243"/>
                </a:lnTo>
                <a:lnTo>
                  <a:pt x="1650" y="242"/>
                </a:lnTo>
                <a:lnTo>
                  <a:pt x="1651" y="241"/>
                </a:lnTo>
                <a:lnTo>
                  <a:pt x="1658" y="241"/>
                </a:lnTo>
                <a:lnTo>
                  <a:pt x="1666" y="240"/>
                </a:lnTo>
                <a:lnTo>
                  <a:pt x="1667" y="240"/>
                </a:lnTo>
                <a:lnTo>
                  <a:pt x="1667" y="239"/>
                </a:lnTo>
                <a:lnTo>
                  <a:pt x="1668" y="239"/>
                </a:lnTo>
                <a:lnTo>
                  <a:pt x="1672" y="240"/>
                </a:lnTo>
                <a:lnTo>
                  <a:pt x="1676" y="241"/>
                </a:lnTo>
                <a:lnTo>
                  <a:pt x="1678" y="243"/>
                </a:lnTo>
                <a:lnTo>
                  <a:pt x="1681" y="242"/>
                </a:lnTo>
                <a:lnTo>
                  <a:pt x="1681" y="241"/>
                </a:lnTo>
                <a:lnTo>
                  <a:pt x="1683" y="238"/>
                </a:lnTo>
                <a:lnTo>
                  <a:pt x="1689" y="244"/>
                </a:lnTo>
                <a:lnTo>
                  <a:pt x="1689" y="245"/>
                </a:lnTo>
                <a:lnTo>
                  <a:pt x="1689" y="248"/>
                </a:lnTo>
                <a:lnTo>
                  <a:pt x="1689" y="249"/>
                </a:lnTo>
                <a:lnTo>
                  <a:pt x="1692" y="251"/>
                </a:lnTo>
                <a:lnTo>
                  <a:pt x="1695" y="252"/>
                </a:lnTo>
                <a:lnTo>
                  <a:pt x="1696" y="253"/>
                </a:lnTo>
                <a:lnTo>
                  <a:pt x="1696" y="253"/>
                </a:lnTo>
                <a:lnTo>
                  <a:pt x="1696" y="254"/>
                </a:lnTo>
                <a:lnTo>
                  <a:pt x="1698" y="255"/>
                </a:lnTo>
                <a:lnTo>
                  <a:pt x="1700" y="254"/>
                </a:lnTo>
                <a:lnTo>
                  <a:pt x="1702" y="253"/>
                </a:lnTo>
                <a:lnTo>
                  <a:pt x="1703" y="258"/>
                </a:lnTo>
                <a:lnTo>
                  <a:pt x="1706" y="260"/>
                </a:lnTo>
                <a:lnTo>
                  <a:pt x="1708" y="261"/>
                </a:lnTo>
                <a:lnTo>
                  <a:pt x="1709" y="261"/>
                </a:lnTo>
                <a:lnTo>
                  <a:pt x="1710" y="259"/>
                </a:lnTo>
                <a:lnTo>
                  <a:pt x="1712" y="259"/>
                </a:lnTo>
                <a:lnTo>
                  <a:pt x="1712" y="252"/>
                </a:lnTo>
                <a:lnTo>
                  <a:pt x="1713" y="251"/>
                </a:lnTo>
                <a:lnTo>
                  <a:pt x="1713" y="249"/>
                </a:lnTo>
                <a:lnTo>
                  <a:pt x="1715" y="248"/>
                </a:lnTo>
                <a:lnTo>
                  <a:pt x="1716" y="244"/>
                </a:lnTo>
                <a:lnTo>
                  <a:pt x="1719" y="244"/>
                </a:lnTo>
                <a:lnTo>
                  <a:pt x="1719" y="243"/>
                </a:lnTo>
                <a:lnTo>
                  <a:pt x="1719" y="242"/>
                </a:lnTo>
                <a:lnTo>
                  <a:pt x="1721" y="243"/>
                </a:lnTo>
                <a:lnTo>
                  <a:pt x="1722" y="244"/>
                </a:lnTo>
                <a:lnTo>
                  <a:pt x="1725" y="245"/>
                </a:lnTo>
                <a:lnTo>
                  <a:pt x="1726" y="245"/>
                </a:lnTo>
                <a:lnTo>
                  <a:pt x="1725" y="242"/>
                </a:lnTo>
                <a:lnTo>
                  <a:pt x="1722" y="242"/>
                </a:lnTo>
                <a:lnTo>
                  <a:pt x="1719" y="241"/>
                </a:lnTo>
                <a:lnTo>
                  <a:pt x="1718" y="239"/>
                </a:lnTo>
                <a:lnTo>
                  <a:pt x="1716" y="237"/>
                </a:lnTo>
                <a:lnTo>
                  <a:pt x="1713" y="235"/>
                </a:lnTo>
                <a:lnTo>
                  <a:pt x="1713" y="233"/>
                </a:lnTo>
                <a:lnTo>
                  <a:pt x="1711" y="232"/>
                </a:lnTo>
                <a:lnTo>
                  <a:pt x="1710" y="230"/>
                </a:lnTo>
                <a:lnTo>
                  <a:pt x="1711" y="229"/>
                </a:lnTo>
                <a:lnTo>
                  <a:pt x="1719" y="227"/>
                </a:lnTo>
                <a:lnTo>
                  <a:pt x="1723" y="227"/>
                </a:lnTo>
                <a:lnTo>
                  <a:pt x="1729" y="229"/>
                </a:lnTo>
                <a:lnTo>
                  <a:pt x="1730" y="231"/>
                </a:lnTo>
                <a:lnTo>
                  <a:pt x="1727" y="230"/>
                </a:lnTo>
                <a:lnTo>
                  <a:pt x="1726" y="232"/>
                </a:lnTo>
                <a:lnTo>
                  <a:pt x="1726" y="234"/>
                </a:lnTo>
                <a:lnTo>
                  <a:pt x="1727" y="237"/>
                </a:lnTo>
                <a:lnTo>
                  <a:pt x="1728" y="238"/>
                </a:lnTo>
                <a:lnTo>
                  <a:pt x="1730" y="239"/>
                </a:lnTo>
                <a:lnTo>
                  <a:pt x="1734" y="243"/>
                </a:lnTo>
                <a:lnTo>
                  <a:pt x="1733" y="244"/>
                </a:lnTo>
                <a:lnTo>
                  <a:pt x="1734" y="245"/>
                </a:lnTo>
                <a:lnTo>
                  <a:pt x="1737" y="247"/>
                </a:lnTo>
                <a:lnTo>
                  <a:pt x="1739" y="248"/>
                </a:lnTo>
                <a:lnTo>
                  <a:pt x="1741" y="250"/>
                </a:lnTo>
                <a:lnTo>
                  <a:pt x="1740" y="251"/>
                </a:lnTo>
                <a:lnTo>
                  <a:pt x="1740" y="251"/>
                </a:lnTo>
                <a:lnTo>
                  <a:pt x="1740" y="252"/>
                </a:lnTo>
                <a:lnTo>
                  <a:pt x="1742" y="254"/>
                </a:lnTo>
                <a:lnTo>
                  <a:pt x="1746" y="255"/>
                </a:lnTo>
                <a:lnTo>
                  <a:pt x="1747" y="255"/>
                </a:lnTo>
                <a:lnTo>
                  <a:pt x="1746" y="258"/>
                </a:lnTo>
                <a:lnTo>
                  <a:pt x="1744" y="258"/>
                </a:lnTo>
                <a:lnTo>
                  <a:pt x="1741" y="258"/>
                </a:lnTo>
                <a:lnTo>
                  <a:pt x="1739" y="259"/>
                </a:lnTo>
                <a:lnTo>
                  <a:pt x="1740" y="261"/>
                </a:lnTo>
                <a:lnTo>
                  <a:pt x="1737" y="261"/>
                </a:lnTo>
                <a:lnTo>
                  <a:pt x="1732" y="263"/>
                </a:lnTo>
                <a:lnTo>
                  <a:pt x="1732" y="263"/>
                </a:lnTo>
                <a:lnTo>
                  <a:pt x="1734" y="265"/>
                </a:lnTo>
                <a:lnTo>
                  <a:pt x="1736" y="268"/>
                </a:lnTo>
                <a:lnTo>
                  <a:pt x="1736" y="269"/>
                </a:lnTo>
                <a:lnTo>
                  <a:pt x="1734" y="271"/>
                </a:lnTo>
                <a:lnTo>
                  <a:pt x="1734" y="276"/>
                </a:lnTo>
                <a:lnTo>
                  <a:pt x="1731" y="279"/>
                </a:lnTo>
                <a:lnTo>
                  <a:pt x="1733" y="281"/>
                </a:lnTo>
                <a:lnTo>
                  <a:pt x="1732" y="282"/>
                </a:lnTo>
                <a:lnTo>
                  <a:pt x="1732" y="286"/>
                </a:lnTo>
                <a:lnTo>
                  <a:pt x="1734" y="289"/>
                </a:lnTo>
                <a:lnTo>
                  <a:pt x="1734" y="293"/>
                </a:lnTo>
                <a:lnTo>
                  <a:pt x="1734" y="295"/>
                </a:lnTo>
                <a:lnTo>
                  <a:pt x="1733" y="298"/>
                </a:lnTo>
                <a:lnTo>
                  <a:pt x="1733" y="300"/>
                </a:lnTo>
                <a:lnTo>
                  <a:pt x="1733" y="303"/>
                </a:lnTo>
                <a:lnTo>
                  <a:pt x="1730" y="304"/>
                </a:lnTo>
                <a:lnTo>
                  <a:pt x="1726" y="304"/>
                </a:lnTo>
                <a:lnTo>
                  <a:pt x="1727" y="306"/>
                </a:lnTo>
                <a:lnTo>
                  <a:pt x="1726" y="308"/>
                </a:lnTo>
                <a:lnTo>
                  <a:pt x="1720" y="308"/>
                </a:lnTo>
                <a:lnTo>
                  <a:pt x="1718" y="308"/>
                </a:lnTo>
                <a:lnTo>
                  <a:pt x="1721" y="310"/>
                </a:lnTo>
                <a:lnTo>
                  <a:pt x="1726" y="312"/>
                </a:lnTo>
                <a:lnTo>
                  <a:pt x="1730" y="320"/>
                </a:lnTo>
                <a:lnTo>
                  <a:pt x="1728" y="321"/>
                </a:lnTo>
                <a:lnTo>
                  <a:pt x="1727" y="323"/>
                </a:lnTo>
                <a:lnTo>
                  <a:pt x="1725" y="324"/>
                </a:lnTo>
                <a:lnTo>
                  <a:pt x="1726" y="326"/>
                </a:lnTo>
                <a:lnTo>
                  <a:pt x="1729" y="330"/>
                </a:lnTo>
                <a:lnTo>
                  <a:pt x="1736" y="339"/>
                </a:lnTo>
                <a:lnTo>
                  <a:pt x="1743" y="348"/>
                </a:lnTo>
                <a:lnTo>
                  <a:pt x="1748" y="352"/>
                </a:lnTo>
                <a:lnTo>
                  <a:pt x="1753" y="356"/>
                </a:lnTo>
                <a:lnTo>
                  <a:pt x="1759" y="361"/>
                </a:lnTo>
                <a:lnTo>
                  <a:pt x="1762" y="364"/>
                </a:lnTo>
                <a:lnTo>
                  <a:pt x="1771" y="371"/>
                </a:lnTo>
                <a:lnTo>
                  <a:pt x="1772" y="372"/>
                </a:lnTo>
                <a:lnTo>
                  <a:pt x="1773" y="373"/>
                </a:lnTo>
                <a:lnTo>
                  <a:pt x="1781" y="380"/>
                </a:lnTo>
                <a:lnTo>
                  <a:pt x="1787" y="383"/>
                </a:lnTo>
                <a:lnTo>
                  <a:pt x="1792" y="389"/>
                </a:lnTo>
                <a:lnTo>
                  <a:pt x="1797" y="393"/>
                </a:lnTo>
                <a:lnTo>
                  <a:pt x="1802" y="397"/>
                </a:lnTo>
                <a:lnTo>
                  <a:pt x="1809" y="402"/>
                </a:lnTo>
                <a:lnTo>
                  <a:pt x="1814" y="406"/>
                </a:lnTo>
                <a:lnTo>
                  <a:pt x="1822" y="415"/>
                </a:lnTo>
                <a:lnTo>
                  <a:pt x="1827" y="419"/>
                </a:lnTo>
                <a:lnTo>
                  <a:pt x="1833" y="423"/>
                </a:lnTo>
                <a:lnTo>
                  <a:pt x="1837" y="426"/>
                </a:lnTo>
                <a:lnTo>
                  <a:pt x="1837" y="423"/>
                </a:lnTo>
                <a:lnTo>
                  <a:pt x="1839" y="421"/>
                </a:lnTo>
                <a:lnTo>
                  <a:pt x="1839" y="419"/>
                </a:lnTo>
                <a:lnTo>
                  <a:pt x="1838" y="415"/>
                </a:lnTo>
                <a:lnTo>
                  <a:pt x="1839" y="414"/>
                </a:lnTo>
                <a:lnTo>
                  <a:pt x="1840" y="409"/>
                </a:lnTo>
                <a:lnTo>
                  <a:pt x="1838" y="403"/>
                </a:lnTo>
                <a:lnTo>
                  <a:pt x="1835" y="401"/>
                </a:lnTo>
                <a:lnTo>
                  <a:pt x="1832" y="397"/>
                </a:lnTo>
                <a:lnTo>
                  <a:pt x="1831" y="396"/>
                </a:lnTo>
                <a:lnTo>
                  <a:pt x="1829" y="393"/>
                </a:lnTo>
                <a:lnTo>
                  <a:pt x="1828" y="392"/>
                </a:lnTo>
                <a:lnTo>
                  <a:pt x="1827" y="391"/>
                </a:lnTo>
                <a:lnTo>
                  <a:pt x="1829" y="391"/>
                </a:lnTo>
                <a:lnTo>
                  <a:pt x="1831" y="392"/>
                </a:lnTo>
                <a:lnTo>
                  <a:pt x="1831" y="390"/>
                </a:lnTo>
                <a:lnTo>
                  <a:pt x="1833" y="387"/>
                </a:lnTo>
                <a:lnTo>
                  <a:pt x="1838" y="385"/>
                </a:lnTo>
                <a:lnTo>
                  <a:pt x="1843" y="387"/>
                </a:lnTo>
                <a:lnTo>
                  <a:pt x="1841" y="385"/>
                </a:lnTo>
                <a:lnTo>
                  <a:pt x="1839" y="384"/>
                </a:lnTo>
                <a:lnTo>
                  <a:pt x="1835" y="382"/>
                </a:lnTo>
                <a:lnTo>
                  <a:pt x="1829" y="375"/>
                </a:lnTo>
                <a:lnTo>
                  <a:pt x="1827" y="372"/>
                </a:lnTo>
                <a:lnTo>
                  <a:pt x="1827" y="370"/>
                </a:lnTo>
                <a:lnTo>
                  <a:pt x="1828" y="365"/>
                </a:lnTo>
                <a:lnTo>
                  <a:pt x="1831" y="363"/>
                </a:lnTo>
                <a:lnTo>
                  <a:pt x="1834" y="362"/>
                </a:lnTo>
                <a:lnTo>
                  <a:pt x="1838" y="364"/>
                </a:lnTo>
                <a:lnTo>
                  <a:pt x="1840" y="364"/>
                </a:lnTo>
                <a:lnTo>
                  <a:pt x="1842" y="363"/>
                </a:lnTo>
                <a:lnTo>
                  <a:pt x="1843" y="361"/>
                </a:lnTo>
                <a:lnTo>
                  <a:pt x="1842" y="359"/>
                </a:lnTo>
                <a:lnTo>
                  <a:pt x="1832" y="354"/>
                </a:lnTo>
                <a:lnTo>
                  <a:pt x="1828" y="351"/>
                </a:lnTo>
                <a:lnTo>
                  <a:pt x="1825" y="349"/>
                </a:lnTo>
                <a:lnTo>
                  <a:pt x="1823" y="346"/>
                </a:lnTo>
                <a:lnTo>
                  <a:pt x="1821" y="343"/>
                </a:lnTo>
                <a:lnTo>
                  <a:pt x="1820" y="341"/>
                </a:lnTo>
                <a:lnTo>
                  <a:pt x="1819" y="339"/>
                </a:lnTo>
                <a:lnTo>
                  <a:pt x="1818" y="336"/>
                </a:lnTo>
                <a:lnTo>
                  <a:pt x="1820" y="335"/>
                </a:lnTo>
                <a:lnTo>
                  <a:pt x="1818" y="333"/>
                </a:lnTo>
                <a:lnTo>
                  <a:pt x="1815" y="333"/>
                </a:lnTo>
                <a:lnTo>
                  <a:pt x="1814" y="332"/>
                </a:lnTo>
                <a:lnTo>
                  <a:pt x="1818" y="331"/>
                </a:lnTo>
                <a:lnTo>
                  <a:pt x="1821" y="330"/>
                </a:lnTo>
                <a:lnTo>
                  <a:pt x="1821" y="329"/>
                </a:lnTo>
                <a:lnTo>
                  <a:pt x="1822" y="330"/>
                </a:lnTo>
                <a:lnTo>
                  <a:pt x="1823" y="332"/>
                </a:lnTo>
                <a:lnTo>
                  <a:pt x="1822" y="333"/>
                </a:lnTo>
                <a:lnTo>
                  <a:pt x="1823" y="334"/>
                </a:lnTo>
                <a:lnTo>
                  <a:pt x="1829" y="338"/>
                </a:lnTo>
                <a:lnTo>
                  <a:pt x="1832" y="339"/>
                </a:lnTo>
                <a:lnTo>
                  <a:pt x="1832" y="339"/>
                </a:lnTo>
                <a:lnTo>
                  <a:pt x="1832" y="335"/>
                </a:lnTo>
                <a:lnTo>
                  <a:pt x="1831" y="333"/>
                </a:lnTo>
                <a:lnTo>
                  <a:pt x="1823" y="328"/>
                </a:lnTo>
                <a:lnTo>
                  <a:pt x="1820" y="326"/>
                </a:lnTo>
                <a:lnTo>
                  <a:pt x="1817" y="326"/>
                </a:lnTo>
                <a:lnTo>
                  <a:pt x="1815" y="325"/>
                </a:lnTo>
                <a:lnTo>
                  <a:pt x="1811" y="322"/>
                </a:lnTo>
                <a:lnTo>
                  <a:pt x="1807" y="319"/>
                </a:lnTo>
                <a:lnTo>
                  <a:pt x="1804" y="316"/>
                </a:lnTo>
                <a:lnTo>
                  <a:pt x="1803" y="314"/>
                </a:lnTo>
                <a:lnTo>
                  <a:pt x="1804" y="313"/>
                </a:lnTo>
                <a:lnTo>
                  <a:pt x="1803" y="310"/>
                </a:lnTo>
                <a:lnTo>
                  <a:pt x="1801" y="308"/>
                </a:lnTo>
                <a:lnTo>
                  <a:pt x="1791" y="305"/>
                </a:lnTo>
                <a:lnTo>
                  <a:pt x="1789" y="305"/>
                </a:lnTo>
                <a:lnTo>
                  <a:pt x="1790" y="308"/>
                </a:lnTo>
                <a:lnTo>
                  <a:pt x="1790" y="309"/>
                </a:lnTo>
                <a:lnTo>
                  <a:pt x="1788" y="309"/>
                </a:lnTo>
                <a:lnTo>
                  <a:pt x="1786" y="308"/>
                </a:lnTo>
                <a:lnTo>
                  <a:pt x="1782" y="305"/>
                </a:lnTo>
                <a:lnTo>
                  <a:pt x="1779" y="302"/>
                </a:lnTo>
                <a:lnTo>
                  <a:pt x="1778" y="301"/>
                </a:lnTo>
                <a:lnTo>
                  <a:pt x="1776" y="298"/>
                </a:lnTo>
                <a:lnTo>
                  <a:pt x="1774" y="295"/>
                </a:lnTo>
                <a:lnTo>
                  <a:pt x="1774" y="292"/>
                </a:lnTo>
                <a:lnTo>
                  <a:pt x="1774" y="290"/>
                </a:lnTo>
                <a:lnTo>
                  <a:pt x="1773" y="288"/>
                </a:lnTo>
                <a:lnTo>
                  <a:pt x="1771" y="286"/>
                </a:lnTo>
                <a:lnTo>
                  <a:pt x="1771" y="285"/>
                </a:lnTo>
                <a:lnTo>
                  <a:pt x="1774" y="285"/>
                </a:lnTo>
                <a:lnTo>
                  <a:pt x="1772" y="284"/>
                </a:lnTo>
                <a:lnTo>
                  <a:pt x="1771" y="283"/>
                </a:lnTo>
                <a:lnTo>
                  <a:pt x="1772" y="283"/>
                </a:lnTo>
                <a:lnTo>
                  <a:pt x="1772" y="282"/>
                </a:lnTo>
                <a:lnTo>
                  <a:pt x="1769" y="280"/>
                </a:lnTo>
                <a:lnTo>
                  <a:pt x="1767" y="278"/>
                </a:lnTo>
                <a:lnTo>
                  <a:pt x="1766" y="275"/>
                </a:lnTo>
                <a:lnTo>
                  <a:pt x="1764" y="274"/>
                </a:lnTo>
                <a:lnTo>
                  <a:pt x="1764" y="273"/>
                </a:lnTo>
                <a:lnTo>
                  <a:pt x="1767" y="272"/>
                </a:lnTo>
                <a:lnTo>
                  <a:pt x="1768" y="271"/>
                </a:lnTo>
                <a:lnTo>
                  <a:pt x="1770" y="272"/>
                </a:lnTo>
                <a:lnTo>
                  <a:pt x="1773" y="273"/>
                </a:lnTo>
                <a:lnTo>
                  <a:pt x="1772" y="271"/>
                </a:lnTo>
                <a:lnTo>
                  <a:pt x="1774" y="270"/>
                </a:lnTo>
                <a:lnTo>
                  <a:pt x="1778" y="271"/>
                </a:lnTo>
                <a:lnTo>
                  <a:pt x="1781" y="273"/>
                </a:lnTo>
                <a:lnTo>
                  <a:pt x="1784" y="274"/>
                </a:lnTo>
                <a:lnTo>
                  <a:pt x="1782" y="271"/>
                </a:lnTo>
                <a:lnTo>
                  <a:pt x="1780" y="270"/>
                </a:lnTo>
                <a:lnTo>
                  <a:pt x="1780" y="268"/>
                </a:lnTo>
                <a:lnTo>
                  <a:pt x="1781" y="267"/>
                </a:lnTo>
                <a:lnTo>
                  <a:pt x="1784" y="265"/>
                </a:lnTo>
                <a:lnTo>
                  <a:pt x="1784" y="265"/>
                </a:lnTo>
                <a:lnTo>
                  <a:pt x="1784" y="263"/>
                </a:lnTo>
                <a:lnTo>
                  <a:pt x="1784" y="262"/>
                </a:lnTo>
                <a:lnTo>
                  <a:pt x="1787" y="262"/>
                </a:lnTo>
                <a:lnTo>
                  <a:pt x="1789" y="263"/>
                </a:lnTo>
                <a:lnTo>
                  <a:pt x="1789" y="264"/>
                </a:lnTo>
                <a:lnTo>
                  <a:pt x="1793" y="268"/>
                </a:lnTo>
                <a:lnTo>
                  <a:pt x="1794" y="270"/>
                </a:lnTo>
                <a:lnTo>
                  <a:pt x="1797" y="271"/>
                </a:lnTo>
                <a:lnTo>
                  <a:pt x="1797" y="272"/>
                </a:lnTo>
                <a:lnTo>
                  <a:pt x="1798" y="273"/>
                </a:lnTo>
                <a:lnTo>
                  <a:pt x="1799" y="273"/>
                </a:lnTo>
                <a:lnTo>
                  <a:pt x="1799" y="274"/>
                </a:lnTo>
                <a:lnTo>
                  <a:pt x="1799" y="271"/>
                </a:lnTo>
                <a:lnTo>
                  <a:pt x="1800" y="267"/>
                </a:lnTo>
                <a:lnTo>
                  <a:pt x="1800" y="265"/>
                </a:lnTo>
                <a:lnTo>
                  <a:pt x="1798" y="264"/>
                </a:lnTo>
                <a:lnTo>
                  <a:pt x="1798" y="264"/>
                </a:lnTo>
                <a:lnTo>
                  <a:pt x="1801" y="265"/>
                </a:lnTo>
                <a:lnTo>
                  <a:pt x="1801" y="264"/>
                </a:lnTo>
                <a:lnTo>
                  <a:pt x="1803" y="263"/>
                </a:lnTo>
                <a:lnTo>
                  <a:pt x="1806" y="262"/>
                </a:lnTo>
                <a:lnTo>
                  <a:pt x="1808" y="261"/>
                </a:lnTo>
                <a:lnTo>
                  <a:pt x="1808" y="260"/>
                </a:lnTo>
                <a:lnTo>
                  <a:pt x="1810" y="261"/>
                </a:lnTo>
                <a:lnTo>
                  <a:pt x="1811" y="261"/>
                </a:lnTo>
                <a:lnTo>
                  <a:pt x="1819" y="261"/>
                </a:lnTo>
                <a:lnTo>
                  <a:pt x="1822" y="261"/>
                </a:lnTo>
                <a:lnTo>
                  <a:pt x="1827" y="262"/>
                </a:lnTo>
                <a:lnTo>
                  <a:pt x="1831" y="264"/>
                </a:lnTo>
                <a:lnTo>
                  <a:pt x="1834" y="265"/>
                </a:lnTo>
                <a:lnTo>
                  <a:pt x="1845" y="270"/>
                </a:lnTo>
                <a:lnTo>
                  <a:pt x="1847" y="271"/>
                </a:lnTo>
                <a:lnTo>
                  <a:pt x="1850" y="271"/>
                </a:lnTo>
                <a:lnTo>
                  <a:pt x="1850" y="271"/>
                </a:lnTo>
                <a:lnTo>
                  <a:pt x="1847" y="269"/>
                </a:lnTo>
                <a:lnTo>
                  <a:pt x="1844" y="264"/>
                </a:lnTo>
                <a:lnTo>
                  <a:pt x="1843" y="264"/>
                </a:lnTo>
                <a:lnTo>
                  <a:pt x="1842" y="263"/>
                </a:lnTo>
                <a:lnTo>
                  <a:pt x="1843" y="263"/>
                </a:lnTo>
                <a:lnTo>
                  <a:pt x="1844" y="262"/>
                </a:lnTo>
                <a:lnTo>
                  <a:pt x="1847" y="261"/>
                </a:lnTo>
                <a:lnTo>
                  <a:pt x="1845" y="260"/>
                </a:lnTo>
                <a:lnTo>
                  <a:pt x="1848" y="261"/>
                </a:lnTo>
                <a:lnTo>
                  <a:pt x="1849" y="261"/>
                </a:lnTo>
                <a:lnTo>
                  <a:pt x="1849" y="259"/>
                </a:lnTo>
                <a:lnTo>
                  <a:pt x="1850" y="258"/>
                </a:lnTo>
                <a:lnTo>
                  <a:pt x="1849" y="258"/>
                </a:lnTo>
                <a:lnTo>
                  <a:pt x="1849" y="257"/>
                </a:lnTo>
                <a:lnTo>
                  <a:pt x="1851" y="257"/>
                </a:lnTo>
                <a:lnTo>
                  <a:pt x="1851" y="255"/>
                </a:lnTo>
                <a:lnTo>
                  <a:pt x="1852" y="255"/>
                </a:lnTo>
                <a:lnTo>
                  <a:pt x="1852" y="254"/>
                </a:lnTo>
                <a:lnTo>
                  <a:pt x="1851" y="254"/>
                </a:lnTo>
                <a:lnTo>
                  <a:pt x="1849" y="253"/>
                </a:lnTo>
                <a:lnTo>
                  <a:pt x="1848" y="252"/>
                </a:lnTo>
                <a:lnTo>
                  <a:pt x="1851" y="253"/>
                </a:lnTo>
                <a:lnTo>
                  <a:pt x="1853" y="254"/>
                </a:lnTo>
                <a:lnTo>
                  <a:pt x="1853" y="253"/>
                </a:lnTo>
                <a:lnTo>
                  <a:pt x="1851" y="252"/>
                </a:lnTo>
                <a:lnTo>
                  <a:pt x="1850" y="251"/>
                </a:lnTo>
                <a:lnTo>
                  <a:pt x="1852" y="251"/>
                </a:lnTo>
                <a:lnTo>
                  <a:pt x="1853" y="250"/>
                </a:lnTo>
                <a:lnTo>
                  <a:pt x="1854" y="250"/>
                </a:lnTo>
                <a:lnTo>
                  <a:pt x="1853" y="249"/>
                </a:lnTo>
                <a:lnTo>
                  <a:pt x="1851" y="248"/>
                </a:lnTo>
                <a:lnTo>
                  <a:pt x="1851" y="247"/>
                </a:lnTo>
                <a:lnTo>
                  <a:pt x="1853" y="248"/>
                </a:lnTo>
                <a:lnTo>
                  <a:pt x="1854" y="248"/>
                </a:lnTo>
                <a:lnTo>
                  <a:pt x="1855" y="248"/>
                </a:lnTo>
                <a:lnTo>
                  <a:pt x="1855" y="247"/>
                </a:lnTo>
                <a:lnTo>
                  <a:pt x="1854" y="245"/>
                </a:lnTo>
                <a:lnTo>
                  <a:pt x="1855" y="245"/>
                </a:lnTo>
                <a:lnTo>
                  <a:pt x="1854" y="244"/>
                </a:lnTo>
                <a:lnTo>
                  <a:pt x="1853" y="243"/>
                </a:lnTo>
                <a:lnTo>
                  <a:pt x="1852" y="242"/>
                </a:lnTo>
                <a:lnTo>
                  <a:pt x="1853" y="242"/>
                </a:lnTo>
                <a:lnTo>
                  <a:pt x="1857" y="243"/>
                </a:lnTo>
                <a:lnTo>
                  <a:pt x="1858" y="243"/>
                </a:lnTo>
                <a:lnTo>
                  <a:pt x="1859" y="243"/>
                </a:lnTo>
                <a:lnTo>
                  <a:pt x="1859" y="241"/>
                </a:lnTo>
                <a:lnTo>
                  <a:pt x="1864" y="240"/>
                </a:lnTo>
                <a:lnTo>
                  <a:pt x="1864" y="239"/>
                </a:lnTo>
                <a:lnTo>
                  <a:pt x="1867" y="238"/>
                </a:lnTo>
                <a:lnTo>
                  <a:pt x="1865" y="237"/>
                </a:lnTo>
                <a:lnTo>
                  <a:pt x="1864" y="237"/>
                </a:lnTo>
                <a:lnTo>
                  <a:pt x="1863" y="235"/>
                </a:lnTo>
                <a:lnTo>
                  <a:pt x="1865" y="234"/>
                </a:lnTo>
                <a:lnTo>
                  <a:pt x="1865" y="235"/>
                </a:lnTo>
                <a:lnTo>
                  <a:pt x="1867" y="237"/>
                </a:lnTo>
                <a:lnTo>
                  <a:pt x="1867" y="237"/>
                </a:lnTo>
                <a:lnTo>
                  <a:pt x="1870" y="234"/>
                </a:lnTo>
                <a:lnTo>
                  <a:pt x="1872" y="234"/>
                </a:lnTo>
                <a:lnTo>
                  <a:pt x="1873" y="233"/>
                </a:lnTo>
                <a:lnTo>
                  <a:pt x="1877" y="230"/>
                </a:lnTo>
                <a:lnTo>
                  <a:pt x="1881" y="229"/>
                </a:lnTo>
                <a:lnTo>
                  <a:pt x="1881" y="228"/>
                </a:lnTo>
                <a:lnTo>
                  <a:pt x="1880" y="228"/>
                </a:lnTo>
                <a:lnTo>
                  <a:pt x="1879" y="228"/>
                </a:lnTo>
                <a:lnTo>
                  <a:pt x="1873" y="225"/>
                </a:lnTo>
                <a:lnTo>
                  <a:pt x="1871" y="224"/>
                </a:lnTo>
                <a:lnTo>
                  <a:pt x="1871" y="223"/>
                </a:lnTo>
                <a:lnTo>
                  <a:pt x="1873" y="224"/>
                </a:lnTo>
                <a:lnTo>
                  <a:pt x="1877" y="225"/>
                </a:lnTo>
                <a:lnTo>
                  <a:pt x="1880" y="227"/>
                </a:lnTo>
                <a:lnTo>
                  <a:pt x="1881" y="227"/>
                </a:lnTo>
                <a:lnTo>
                  <a:pt x="1882" y="228"/>
                </a:lnTo>
                <a:lnTo>
                  <a:pt x="1883" y="228"/>
                </a:lnTo>
                <a:lnTo>
                  <a:pt x="1885" y="228"/>
                </a:lnTo>
                <a:lnTo>
                  <a:pt x="1884" y="228"/>
                </a:lnTo>
                <a:lnTo>
                  <a:pt x="1882" y="227"/>
                </a:lnTo>
                <a:lnTo>
                  <a:pt x="1883" y="227"/>
                </a:lnTo>
                <a:lnTo>
                  <a:pt x="1885" y="228"/>
                </a:lnTo>
                <a:lnTo>
                  <a:pt x="1889" y="229"/>
                </a:lnTo>
                <a:lnTo>
                  <a:pt x="1891" y="229"/>
                </a:lnTo>
                <a:lnTo>
                  <a:pt x="1894" y="229"/>
                </a:lnTo>
                <a:lnTo>
                  <a:pt x="1899" y="230"/>
                </a:lnTo>
                <a:lnTo>
                  <a:pt x="1903" y="232"/>
                </a:lnTo>
                <a:lnTo>
                  <a:pt x="1908" y="232"/>
                </a:lnTo>
                <a:lnTo>
                  <a:pt x="1909" y="232"/>
                </a:lnTo>
                <a:lnTo>
                  <a:pt x="1906" y="230"/>
                </a:lnTo>
                <a:lnTo>
                  <a:pt x="1909" y="230"/>
                </a:lnTo>
                <a:lnTo>
                  <a:pt x="1908" y="228"/>
                </a:lnTo>
                <a:lnTo>
                  <a:pt x="1905" y="225"/>
                </a:lnTo>
                <a:lnTo>
                  <a:pt x="1903" y="224"/>
                </a:lnTo>
                <a:lnTo>
                  <a:pt x="1899" y="223"/>
                </a:lnTo>
                <a:lnTo>
                  <a:pt x="1895" y="222"/>
                </a:lnTo>
                <a:lnTo>
                  <a:pt x="1894" y="221"/>
                </a:lnTo>
                <a:lnTo>
                  <a:pt x="1892" y="221"/>
                </a:lnTo>
                <a:lnTo>
                  <a:pt x="1893" y="221"/>
                </a:lnTo>
                <a:lnTo>
                  <a:pt x="1894" y="220"/>
                </a:lnTo>
                <a:lnTo>
                  <a:pt x="1896" y="221"/>
                </a:lnTo>
                <a:lnTo>
                  <a:pt x="1898" y="220"/>
                </a:lnTo>
                <a:lnTo>
                  <a:pt x="1892" y="218"/>
                </a:lnTo>
                <a:lnTo>
                  <a:pt x="1891" y="218"/>
                </a:lnTo>
                <a:lnTo>
                  <a:pt x="1887" y="217"/>
                </a:lnTo>
                <a:lnTo>
                  <a:pt x="1882" y="214"/>
                </a:lnTo>
                <a:lnTo>
                  <a:pt x="1878" y="211"/>
                </a:lnTo>
                <a:lnTo>
                  <a:pt x="1875" y="211"/>
                </a:lnTo>
                <a:lnTo>
                  <a:pt x="1868" y="205"/>
                </a:lnTo>
                <a:lnTo>
                  <a:pt x="1867" y="207"/>
                </a:lnTo>
                <a:lnTo>
                  <a:pt x="1862" y="204"/>
                </a:lnTo>
                <a:lnTo>
                  <a:pt x="1861" y="204"/>
                </a:lnTo>
                <a:lnTo>
                  <a:pt x="1862" y="203"/>
                </a:lnTo>
                <a:lnTo>
                  <a:pt x="1863" y="204"/>
                </a:lnTo>
                <a:lnTo>
                  <a:pt x="1860" y="202"/>
                </a:lnTo>
                <a:lnTo>
                  <a:pt x="1854" y="199"/>
                </a:lnTo>
                <a:lnTo>
                  <a:pt x="1855" y="201"/>
                </a:lnTo>
                <a:lnTo>
                  <a:pt x="1854" y="201"/>
                </a:lnTo>
                <a:lnTo>
                  <a:pt x="1851" y="201"/>
                </a:lnTo>
                <a:lnTo>
                  <a:pt x="1848" y="200"/>
                </a:lnTo>
                <a:lnTo>
                  <a:pt x="1844" y="199"/>
                </a:lnTo>
                <a:lnTo>
                  <a:pt x="1841" y="198"/>
                </a:lnTo>
                <a:lnTo>
                  <a:pt x="1839" y="195"/>
                </a:lnTo>
                <a:lnTo>
                  <a:pt x="1837" y="194"/>
                </a:lnTo>
                <a:lnTo>
                  <a:pt x="1835" y="193"/>
                </a:lnTo>
                <a:lnTo>
                  <a:pt x="1835" y="192"/>
                </a:lnTo>
                <a:lnTo>
                  <a:pt x="1839" y="193"/>
                </a:lnTo>
                <a:lnTo>
                  <a:pt x="1844" y="194"/>
                </a:lnTo>
                <a:lnTo>
                  <a:pt x="1844" y="193"/>
                </a:lnTo>
                <a:lnTo>
                  <a:pt x="1845" y="193"/>
                </a:lnTo>
                <a:lnTo>
                  <a:pt x="1848" y="194"/>
                </a:lnTo>
                <a:lnTo>
                  <a:pt x="1851" y="194"/>
                </a:lnTo>
                <a:lnTo>
                  <a:pt x="1851" y="194"/>
                </a:lnTo>
                <a:lnTo>
                  <a:pt x="1853" y="195"/>
                </a:lnTo>
                <a:lnTo>
                  <a:pt x="1853" y="194"/>
                </a:lnTo>
                <a:lnTo>
                  <a:pt x="1853" y="193"/>
                </a:lnTo>
                <a:lnTo>
                  <a:pt x="1855" y="192"/>
                </a:lnTo>
                <a:lnTo>
                  <a:pt x="1858" y="192"/>
                </a:lnTo>
                <a:lnTo>
                  <a:pt x="1858" y="189"/>
                </a:lnTo>
                <a:lnTo>
                  <a:pt x="1859" y="188"/>
                </a:lnTo>
                <a:lnTo>
                  <a:pt x="1837" y="173"/>
                </a:lnTo>
                <a:lnTo>
                  <a:pt x="1790" y="142"/>
                </a:lnTo>
                <a:lnTo>
                  <a:pt x="1768" y="128"/>
                </a:lnTo>
                <a:lnTo>
                  <a:pt x="1750" y="122"/>
                </a:lnTo>
                <a:lnTo>
                  <a:pt x="1743" y="121"/>
                </a:lnTo>
                <a:lnTo>
                  <a:pt x="1740" y="121"/>
                </a:lnTo>
                <a:lnTo>
                  <a:pt x="1737" y="120"/>
                </a:lnTo>
                <a:lnTo>
                  <a:pt x="1737" y="120"/>
                </a:lnTo>
                <a:lnTo>
                  <a:pt x="1726" y="118"/>
                </a:lnTo>
                <a:lnTo>
                  <a:pt x="1720" y="117"/>
                </a:lnTo>
                <a:lnTo>
                  <a:pt x="1719" y="117"/>
                </a:lnTo>
                <a:lnTo>
                  <a:pt x="1713" y="116"/>
                </a:lnTo>
                <a:lnTo>
                  <a:pt x="1710" y="116"/>
                </a:lnTo>
                <a:lnTo>
                  <a:pt x="1700" y="113"/>
                </a:lnTo>
                <a:lnTo>
                  <a:pt x="1697" y="113"/>
                </a:lnTo>
                <a:lnTo>
                  <a:pt x="1686" y="113"/>
                </a:lnTo>
                <a:lnTo>
                  <a:pt x="1686" y="113"/>
                </a:lnTo>
                <a:lnTo>
                  <a:pt x="1683" y="113"/>
                </a:lnTo>
                <a:lnTo>
                  <a:pt x="1680" y="113"/>
                </a:lnTo>
                <a:lnTo>
                  <a:pt x="1677" y="112"/>
                </a:lnTo>
                <a:lnTo>
                  <a:pt x="1673" y="113"/>
                </a:lnTo>
                <a:lnTo>
                  <a:pt x="1669" y="112"/>
                </a:lnTo>
                <a:lnTo>
                  <a:pt x="1667" y="113"/>
                </a:lnTo>
                <a:lnTo>
                  <a:pt x="1663" y="113"/>
                </a:lnTo>
                <a:lnTo>
                  <a:pt x="1656" y="111"/>
                </a:lnTo>
                <a:lnTo>
                  <a:pt x="1655" y="112"/>
                </a:lnTo>
                <a:lnTo>
                  <a:pt x="1638" y="110"/>
                </a:lnTo>
                <a:lnTo>
                  <a:pt x="1632" y="110"/>
                </a:lnTo>
                <a:lnTo>
                  <a:pt x="1631" y="111"/>
                </a:lnTo>
                <a:lnTo>
                  <a:pt x="1632" y="112"/>
                </a:lnTo>
                <a:lnTo>
                  <a:pt x="1635" y="113"/>
                </a:lnTo>
                <a:lnTo>
                  <a:pt x="1638" y="116"/>
                </a:lnTo>
                <a:lnTo>
                  <a:pt x="1635" y="116"/>
                </a:lnTo>
                <a:lnTo>
                  <a:pt x="1636" y="117"/>
                </a:lnTo>
                <a:lnTo>
                  <a:pt x="1644" y="118"/>
                </a:lnTo>
                <a:lnTo>
                  <a:pt x="1650" y="121"/>
                </a:lnTo>
                <a:lnTo>
                  <a:pt x="1652" y="122"/>
                </a:lnTo>
                <a:lnTo>
                  <a:pt x="1655" y="122"/>
                </a:lnTo>
                <a:lnTo>
                  <a:pt x="1659" y="124"/>
                </a:lnTo>
                <a:lnTo>
                  <a:pt x="1658" y="129"/>
                </a:lnTo>
                <a:lnTo>
                  <a:pt x="1656" y="130"/>
                </a:lnTo>
                <a:lnTo>
                  <a:pt x="1650" y="130"/>
                </a:lnTo>
                <a:lnTo>
                  <a:pt x="1648" y="129"/>
                </a:lnTo>
                <a:lnTo>
                  <a:pt x="1644" y="127"/>
                </a:lnTo>
                <a:lnTo>
                  <a:pt x="1640" y="126"/>
                </a:lnTo>
                <a:lnTo>
                  <a:pt x="1636" y="124"/>
                </a:lnTo>
                <a:lnTo>
                  <a:pt x="1635" y="124"/>
                </a:lnTo>
                <a:lnTo>
                  <a:pt x="1631" y="123"/>
                </a:lnTo>
                <a:lnTo>
                  <a:pt x="1626" y="123"/>
                </a:lnTo>
                <a:lnTo>
                  <a:pt x="1624" y="123"/>
                </a:lnTo>
                <a:lnTo>
                  <a:pt x="1622" y="122"/>
                </a:lnTo>
                <a:lnTo>
                  <a:pt x="1621" y="121"/>
                </a:lnTo>
                <a:lnTo>
                  <a:pt x="1617" y="119"/>
                </a:lnTo>
                <a:lnTo>
                  <a:pt x="1615" y="118"/>
                </a:lnTo>
                <a:lnTo>
                  <a:pt x="1610" y="117"/>
                </a:lnTo>
                <a:lnTo>
                  <a:pt x="1609" y="116"/>
                </a:lnTo>
                <a:lnTo>
                  <a:pt x="1610" y="116"/>
                </a:lnTo>
                <a:lnTo>
                  <a:pt x="1609" y="116"/>
                </a:lnTo>
                <a:lnTo>
                  <a:pt x="1606" y="114"/>
                </a:lnTo>
                <a:lnTo>
                  <a:pt x="1605" y="114"/>
                </a:lnTo>
                <a:lnTo>
                  <a:pt x="1604" y="116"/>
                </a:lnTo>
                <a:lnTo>
                  <a:pt x="1602" y="119"/>
                </a:lnTo>
                <a:lnTo>
                  <a:pt x="1601" y="119"/>
                </a:lnTo>
                <a:lnTo>
                  <a:pt x="1599" y="119"/>
                </a:lnTo>
                <a:lnTo>
                  <a:pt x="1595" y="119"/>
                </a:lnTo>
                <a:lnTo>
                  <a:pt x="1588" y="118"/>
                </a:lnTo>
                <a:lnTo>
                  <a:pt x="1581" y="117"/>
                </a:lnTo>
                <a:lnTo>
                  <a:pt x="1579" y="118"/>
                </a:lnTo>
                <a:lnTo>
                  <a:pt x="1579" y="118"/>
                </a:lnTo>
                <a:lnTo>
                  <a:pt x="1578" y="118"/>
                </a:lnTo>
                <a:lnTo>
                  <a:pt x="1574" y="118"/>
                </a:lnTo>
                <a:lnTo>
                  <a:pt x="1569" y="117"/>
                </a:lnTo>
                <a:lnTo>
                  <a:pt x="1563" y="114"/>
                </a:lnTo>
                <a:lnTo>
                  <a:pt x="1560" y="116"/>
                </a:lnTo>
                <a:lnTo>
                  <a:pt x="1553" y="116"/>
                </a:lnTo>
                <a:lnTo>
                  <a:pt x="1550" y="116"/>
                </a:lnTo>
                <a:lnTo>
                  <a:pt x="1547" y="116"/>
                </a:lnTo>
                <a:lnTo>
                  <a:pt x="1545" y="116"/>
                </a:lnTo>
                <a:lnTo>
                  <a:pt x="1545" y="116"/>
                </a:lnTo>
                <a:lnTo>
                  <a:pt x="1545" y="117"/>
                </a:lnTo>
                <a:lnTo>
                  <a:pt x="1544" y="117"/>
                </a:lnTo>
                <a:lnTo>
                  <a:pt x="1545" y="118"/>
                </a:lnTo>
                <a:lnTo>
                  <a:pt x="1541" y="118"/>
                </a:lnTo>
                <a:lnTo>
                  <a:pt x="1541" y="120"/>
                </a:lnTo>
                <a:lnTo>
                  <a:pt x="1541" y="121"/>
                </a:lnTo>
                <a:lnTo>
                  <a:pt x="1539" y="120"/>
                </a:lnTo>
                <a:lnTo>
                  <a:pt x="1537" y="119"/>
                </a:lnTo>
                <a:lnTo>
                  <a:pt x="1535" y="118"/>
                </a:lnTo>
                <a:lnTo>
                  <a:pt x="1534" y="118"/>
                </a:lnTo>
                <a:lnTo>
                  <a:pt x="1533" y="118"/>
                </a:lnTo>
                <a:lnTo>
                  <a:pt x="1529" y="117"/>
                </a:lnTo>
                <a:lnTo>
                  <a:pt x="1526" y="116"/>
                </a:lnTo>
                <a:lnTo>
                  <a:pt x="1523" y="116"/>
                </a:lnTo>
                <a:lnTo>
                  <a:pt x="1520" y="116"/>
                </a:lnTo>
                <a:lnTo>
                  <a:pt x="1518" y="116"/>
                </a:lnTo>
                <a:lnTo>
                  <a:pt x="1516" y="114"/>
                </a:lnTo>
                <a:lnTo>
                  <a:pt x="1511" y="114"/>
                </a:lnTo>
                <a:lnTo>
                  <a:pt x="1510" y="113"/>
                </a:lnTo>
                <a:lnTo>
                  <a:pt x="1506" y="108"/>
                </a:lnTo>
                <a:lnTo>
                  <a:pt x="1505" y="107"/>
                </a:lnTo>
                <a:lnTo>
                  <a:pt x="1503" y="106"/>
                </a:lnTo>
                <a:lnTo>
                  <a:pt x="1501" y="104"/>
                </a:lnTo>
                <a:lnTo>
                  <a:pt x="1497" y="103"/>
                </a:lnTo>
                <a:lnTo>
                  <a:pt x="1496" y="102"/>
                </a:lnTo>
                <a:lnTo>
                  <a:pt x="1493" y="101"/>
                </a:lnTo>
                <a:lnTo>
                  <a:pt x="1489" y="100"/>
                </a:lnTo>
                <a:lnTo>
                  <a:pt x="1487" y="100"/>
                </a:lnTo>
                <a:lnTo>
                  <a:pt x="1483" y="98"/>
                </a:lnTo>
                <a:lnTo>
                  <a:pt x="1480" y="98"/>
                </a:lnTo>
                <a:lnTo>
                  <a:pt x="1477" y="97"/>
                </a:lnTo>
                <a:lnTo>
                  <a:pt x="1474" y="97"/>
                </a:lnTo>
                <a:lnTo>
                  <a:pt x="1465" y="96"/>
                </a:lnTo>
                <a:lnTo>
                  <a:pt x="1462" y="96"/>
                </a:lnTo>
                <a:lnTo>
                  <a:pt x="1456" y="96"/>
                </a:lnTo>
                <a:lnTo>
                  <a:pt x="1452" y="96"/>
                </a:lnTo>
                <a:lnTo>
                  <a:pt x="1446" y="96"/>
                </a:lnTo>
                <a:lnTo>
                  <a:pt x="1444" y="96"/>
                </a:lnTo>
                <a:lnTo>
                  <a:pt x="1444" y="97"/>
                </a:lnTo>
                <a:lnTo>
                  <a:pt x="1438" y="97"/>
                </a:lnTo>
                <a:lnTo>
                  <a:pt x="1438" y="97"/>
                </a:lnTo>
                <a:lnTo>
                  <a:pt x="1436" y="97"/>
                </a:lnTo>
                <a:lnTo>
                  <a:pt x="1429" y="97"/>
                </a:lnTo>
                <a:lnTo>
                  <a:pt x="1428" y="97"/>
                </a:lnTo>
                <a:lnTo>
                  <a:pt x="1427" y="97"/>
                </a:lnTo>
                <a:lnTo>
                  <a:pt x="1425" y="98"/>
                </a:lnTo>
                <a:lnTo>
                  <a:pt x="1423" y="97"/>
                </a:lnTo>
                <a:lnTo>
                  <a:pt x="1418" y="97"/>
                </a:lnTo>
                <a:lnTo>
                  <a:pt x="1417" y="98"/>
                </a:lnTo>
                <a:lnTo>
                  <a:pt x="1415" y="98"/>
                </a:lnTo>
                <a:lnTo>
                  <a:pt x="1412" y="99"/>
                </a:lnTo>
                <a:lnTo>
                  <a:pt x="1409" y="98"/>
                </a:lnTo>
                <a:lnTo>
                  <a:pt x="1408" y="99"/>
                </a:lnTo>
                <a:lnTo>
                  <a:pt x="1406" y="98"/>
                </a:lnTo>
                <a:lnTo>
                  <a:pt x="1401" y="97"/>
                </a:lnTo>
                <a:lnTo>
                  <a:pt x="1397" y="97"/>
                </a:lnTo>
                <a:lnTo>
                  <a:pt x="1396" y="97"/>
                </a:lnTo>
                <a:lnTo>
                  <a:pt x="1399" y="96"/>
                </a:lnTo>
                <a:lnTo>
                  <a:pt x="1399" y="94"/>
                </a:lnTo>
                <a:lnTo>
                  <a:pt x="1398" y="93"/>
                </a:lnTo>
                <a:lnTo>
                  <a:pt x="1387" y="91"/>
                </a:lnTo>
                <a:lnTo>
                  <a:pt x="1385" y="90"/>
                </a:lnTo>
                <a:lnTo>
                  <a:pt x="1384" y="89"/>
                </a:lnTo>
                <a:lnTo>
                  <a:pt x="1379" y="90"/>
                </a:lnTo>
                <a:lnTo>
                  <a:pt x="1377" y="90"/>
                </a:lnTo>
                <a:lnTo>
                  <a:pt x="1375" y="90"/>
                </a:lnTo>
                <a:lnTo>
                  <a:pt x="1373" y="89"/>
                </a:lnTo>
                <a:lnTo>
                  <a:pt x="1372" y="89"/>
                </a:lnTo>
                <a:lnTo>
                  <a:pt x="1367" y="88"/>
                </a:lnTo>
                <a:lnTo>
                  <a:pt x="1364" y="87"/>
                </a:lnTo>
                <a:lnTo>
                  <a:pt x="1363" y="87"/>
                </a:lnTo>
                <a:lnTo>
                  <a:pt x="1357" y="86"/>
                </a:lnTo>
                <a:lnTo>
                  <a:pt x="1357" y="87"/>
                </a:lnTo>
                <a:lnTo>
                  <a:pt x="1355" y="87"/>
                </a:lnTo>
                <a:lnTo>
                  <a:pt x="1354" y="86"/>
                </a:lnTo>
                <a:lnTo>
                  <a:pt x="1349" y="86"/>
                </a:lnTo>
                <a:lnTo>
                  <a:pt x="1349" y="86"/>
                </a:lnTo>
                <a:lnTo>
                  <a:pt x="1348" y="86"/>
                </a:lnTo>
                <a:lnTo>
                  <a:pt x="1348" y="82"/>
                </a:lnTo>
                <a:lnTo>
                  <a:pt x="1349" y="82"/>
                </a:lnTo>
                <a:lnTo>
                  <a:pt x="1353" y="83"/>
                </a:lnTo>
                <a:lnTo>
                  <a:pt x="1355" y="84"/>
                </a:lnTo>
                <a:lnTo>
                  <a:pt x="1357" y="83"/>
                </a:lnTo>
                <a:lnTo>
                  <a:pt x="1356" y="82"/>
                </a:lnTo>
                <a:lnTo>
                  <a:pt x="1355" y="81"/>
                </a:lnTo>
                <a:lnTo>
                  <a:pt x="1347" y="79"/>
                </a:lnTo>
                <a:lnTo>
                  <a:pt x="1342" y="78"/>
                </a:lnTo>
                <a:lnTo>
                  <a:pt x="1339" y="77"/>
                </a:lnTo>
                <a:lnTo>
                  <a:pt x="1335" y="77"/>
                </a:lnTo>
                <a:lnTo>
                  <a:pt x="1334" y="77"/>
                </a:lnTo>
                <a:lnTo>
                  <a:pt x="1328" y="76"/>
                </a:lnTo>
                <a:lnTo>
                  <a:pt x="1325" y="76"/>
                </a:lnTo>
                <a:lnTo>
                  <a:pt x="1325" y="76"/>
                </a:lnTo>
                <a:lnTo>
                  <a:pt x="1324" y="76"/>
                </a:lnTo>
                <a:lnTo>
                  <a:pt x="1322" y="76"/>
                </a:lnTo>
                <a:lnTo>
                  <a:pt x="1316" y="76"/>
                </a:lnTo>
                <a:lnTo>
                  <a:pt x="1314" y="76"/>
                </a:lnTo>
                <a:lnTo>
                  <a:pt x="1308" y="76"/>
                </a:lnTo>
                <a:lnTo>
                  <a:pt x="1305" y="74"/>
                </a:lnTo>
                <a:lnTo>
                  <a:pt x="1302" y="74"/>
                </a:lnTo>
                <a:lnTo>
                  <a:pt x="1294" y="73"/>
                </a:lnTo>
                <a:lnTo>
                  <a:pt x="1293" y="73"/>
                </a:lnTo>
                <a:lnTo>
                  <a:pt x="1285" y="72"/>
                </a:lnTo>
                <a:lnTo>
                  <a:pt x="1278" y="71"/>
                </a:lnTo>
                <a:lnTo>
                  <a:pt x="1270" y="71"/>
                </a:lnTo>
                <a:lnTo>
                  <a:pt x="1266" y="71"/>
                </a:lnTo>
                <a:lnTo>
                  <a:pt x="1257" y="71"/>
                </a:lnTo>
                <a:lnTo>
                  <a:pt x="1245" y="70"/>
                </a:lnTo>
                <a:lnTo>
                  <a:pt x="1243" y="70"/>
                </a:lnTo>
                <a:lnTo>
                  <a:pt x="1241" y="69"/>
                </a:lnTo>
                <a:lnTo>
                  <a:pt x="1239" y="69"/>
                </a:lnTo>
                <a:lnTo>
                  <a:pt x="1236" y="69"/>
                </a:lnTo>
                <a:lnTo>
                  <a:pt x="1235" y="69"/>
                </a:lnTo>
                <a:lnTo>
                  <a:pt x="1234" y="70"/>
                </a:lnTo>
                <a:lnTo>
                  <a:pt x="1235" y="70"/>
                </a:lnTo>
                <a:lnTo>
                  <a:pt x="1237" y="71"/>
                </a:lnTo>
                <a:lnTo>
                  <a:pt x="1239" y="71"/>
                </a:lnTo>
                <a:lnTo>
                  <a:pt x="1242" y="72"/>
                </a:lnTo>
                <a:lnTo>
                  <a:pt x="1241" y="72"/>
                </a:lnTo>
                <a:lnTo>
                  <a:pt x="1240" y="73"/>
                </a:lnTo>
                <a:lnTo>
                  <a:pt x="1240" y="74"/>
                </a:lnTo>
                <a:lnTo>
                  <a:pt x="1242" y="77"/>
                </a:lnTo>
                <a:lnTo>
                  <a:pt x="1242" y="78"/>
                </a:lnTo>
                <a:lnTo>
                  <a:pt x="1241" y="78"/>
                </a:lnTo>
                <a:lnTo>
                  <a:pt x="1239" y="79"/>
                </a:lnTo>
                <a:lnTo>
                  <a:pt x="1237" y="80"/>
                </a:lnTo>
                <a:lnTo>
                  <a:pt x="1237" y="81"/>
                </a:lnTo>
                <a:lnTo>
                  <a:pt x="1239" y="81"/>
                </a:lnTo>
                <a:lnTo>
                  <a:pt x="1241" y="82"/>
                </a:lnTo>
                <a:lnTo>
                  <a:pt x="1242" y="83"/>
                </a:lnTo>
                <a:lnTo>
                  <a:pt x="1241" y="83"/>
                </a:lnTo>
                <a:lnTo>
                  <a:pt x="1243" y="84"/>
                </a:lnTo>
                <a:lnTo>
                  <a:pt x="1245" y="86"/>
                </a:lnTo>
                <a:lnTo>
                  <a:pt x="1248" y="87"/>
                </a:lnTo>
                <a:lnTo>
                  <a:pt x="1250" y="88"/>
                </a:lnTo>
                <a:lnTo>
                  <a:pt x="1252" y="89"/>
                </a:lnTo>
                <a:lnTo>
                  <a:pt x="1252" y="89"/>
                </a:lnTo>
                <a:lnTo>
                  <a:pt x="1250" y="89"/>
                </a:lnTo>
                <a:lnTo>
                  <a:pt x="1244" y="88"/>
                </a:lnTo>
                <a:lnTo>
                  <a:pt x="1245" y="90"/>
                </a:lnTo>
                <a:lnTo>
                  <a:pt x="1242" y="89"/>
                </a:lnTo>
                <a:lnTo>
                  <a:pt x="1242" y="90"/>
                </a:lnTo>
                <a:lnTo>
                  <a:pt x="1241" y="90"/>
                </a:lnTo>
                <a:lnTo>
                  <a:pt x="1239" y="91"/>
                </a:lnTo>
                <a:lnTo>
                  <a:pt x="1239" y="91"/>
                </a:lnTo>
                <a:lnTo>
                  <a:pt x="1237" y="92"/>
                </a:lnTo>
                <a:lnTo>
                  <a:pt x="1237" y="93"/>
                </a:lnTo>
                <a:lnTo>
                  <a:pt x="1235" y="93"/>
                </a:lnTo>
                <a:lnTo>
                  <a:pt x="1235" y="93"/>
                </a:lnTo>
                <a:lnTo>
                  <a:pt x="1233" y="93"/>
                </a:lnTo>
                <a:lnTo>
                  <a:pt x="1231" y="93"/>
                </a:lnTo>
                <a:lnTo>
                  <a:pt x="1230" y="92"/>
                </a:lnTo>
                <a:lnTo>
                  <a:pt x="1229" y="91"/>
                </a:lnTo>
                <a:lnTo>
                  <a:pt x="1226" y="91"/>
                </a:lnTo>
                <a:lnTo>
                  <a:pt x="1224" y="90"/>
                </a:lnTo>
                <a:lnTo>
                  <a:pt x="1222" y="90"/>
                </a:lnTo>
                <a:lnTo>
                  <a:pt x="1220" y="90"/>
                </a:lnTo>
                <a:lnTo>
                  <a:pt x="1212" y="88"/>
                </a:lnTo>
                <a:lnTo>
                  <a:pt x="1210" y="88"/>
                </a:lnTo>
                <a:lnTo>
                  <a:pt x="1205" y="88"/>
                </a:lnTo>
                <a:lnTo>
                  <a:pt x="1203" y="87"/>
                </a:lnTo>
                <a:lnTo>
                  <a:pt x="1202" y="87"/>
                </a:lnTo>
                <a:lnTo>
                  <a:pt x="1199" y="87"/>
                </a:lnTo>
                <a:lnTo>
                  <a:pt x="1192" y="87"/>
                </a:lnTo>
                <a:lnTo>
                  <a:pt x="1192" y="88"/>
                </a:lnTo>
                <a:lnTo>
                  <a:pt x="1193" y="89"/>
                </a:lnTo>
                <a:lnTo>
                  <a:pt x="1195" y="90"/>
                </a:lnTo>
                <a:lnTo>
                  <a:pt x="1195" y="91"/>
                </a:lnTo>
                <a:lnTo>
                  <a:pt x="1192" y="90"/>
                </a:lnTo>
                <a:lnTo>
                  <a:pt x="1191" y="90"/>
                </a:lnTo>
                <a:lnTo>
                  <a:pt x="1185" y="90"/>
                </a:lnTo>
                <a:lnTo>
                  <a:pt x="1183" y="90"/>
                </a:lnTo>
                <a:lnTo>
                  <a:pt x="1181" y="90"/>
                </a:lnTo>
                <a:lnTo>
                  <a:pt x="1176" y="88"/>
                </a:lnTo>
                <a:lnTo>
                  <a:pt x="1173" y="88"/>
                </a:lnTo>
                <a:lnTo>
                  <a:pt x="1169" y="86"/>
                </a:lnTo>
                <a:lnTo>
                  <a:pt x="1166" y="84"/>
                </a:lnTo>
                <a:lnTo>
                  <a:pt x="1162" y="83"/>
                </a:lnTo>
                <a:lnTo>
                  <a:pt x="1161" y="82"/>
                </a:lnTo>
                <a:lnTo>
                  <a:pt x="1160" y="81"/>
                </a:lnTo>
                <a:lnTo>
                  <a:pt x="1159" y="82"/>
                </a:lnTo>
                <a:lnTo>
                  <a:pt x="1159" y="82"/>
                </a:lnTo>
                <a:lnTo>
                  <a:pt x="1161" y="87"/>
                </a:lnTo>
                <a:lnTo>
                  <a:pt x="1161" y="88"/>
                </a:lnTo>
                <a:lnTo>
                  <a:pt x="1162" y="89"/>
                </a:lnTo>
                <a:lnTo>
                  <a:pt x="1163" y="90"/>
                </a:lnTo>
                <a:lnTo>
                  <a:pt x="1166" y="93"/>
                </a:lnTo>
                <a:lnTo>
                  <a:pt x="1166" y="93"/>
                </a:lnTo>
                <a:lnTo>
                  <a:pt x="1166" y="96"/>
                </a:lnTo>
                <a:lnTo>
                  <a:pt x="1166" y="97"/>
                </a:lnTo>
                <a:lnTo>
                  <a:pt x="1167" y="98"/>
                </a:lnTo>
                <a:lnTo>
                  <a:pt x="1167" y="99"/>
                </a:lnTo>
                <a:lnTo>
                  <a:pt x="1167" y="100"/>
                </a:lnTo>
                <a:lnTo>
                  <a:pt x="1164" y="100"/>
                </a:lnTo>
                <a:lnTo>
                  <a:pt x="1159" y="97"/>
                </a:lnTo>
                <a:lnTo>
                  <a:pt x="1158" y="97"/>
                </a:lnTo>
                <a:lnTo>
                  <a:pt x="1159" y="98"/>
                </a:lnTo>
                <a:lnTo>
                  <a:pt x="1158" y="98"/>
                </a:lnTo>
                <a:lnTo>
                  <a:pt x="1155" y="98"/>
                </a:lnTo>
                <a:lnTo>
                  <a:pt x="1154" y="98"/>
                </a:lnTo>
                <a:lnTo>
                  <a:pt x="1152" y="97"/>
                </a:lnTo>
                <a:lnTo>
                  <a:pt x="1150" y="97"/>
                </a:lnTo>
                <a:lnTo>
                  <a:pt x="1150" y="96"/>
                </a:lnTo>
                <a:lnTo>
                  <a:pt x="1146" y="94"/>
                </a:lnTo>
                <a:lnTo>
                  <a:pt x="1145" y="96"/>
                </a:lnTo>
                <a:lnTo>
                  <a:pt x="1144" y="94"/>
                </a:lnTo>
                <a:lnTo>
                  <a:pt x="1143" y="94"/>
                </a:lnTo>
                <a:lnTo>
                  <a:pt x="1141" y="93"/>
                </a:lnTo>
                <a:lnTo>
                  <a:pt x="1139" y="92"/>
                </a:lnTo>
                <a:lnTo>
                  <a:pt x="1138" y="92"/>
                </a:lnTo>
                <a:lnTo>
                  <a:pt x="1136" y="92"/>
                </a:lnTo>
                <a:lnTo>
                  <a:pt x="1136" y="91"/>
                </a:lnTo>
                <a:lnTo>
                  <a:pt x="1133" y="90"/>
                </a:lnTo>
                <a:lnTo>
                  <a:pt x="1131" y="89"/>
                </a:lnTo>
                <a:lnTo>
                  <a:pt x="1130" y="89"/>
                </a:lnTo>
                <a:lnTo>
                  <a:pt x="1129" y="88"/>
                </a:lnTo>
                <a:lnTo>
                  <a:pt x="1128" y="87"/>
                </a:lnTo>
                <a:lnTo>
                  <a:pt x="1125" y="86"/>
                </a:lnTo>
                <a:lnTo>
                  <a:pt x="1125" y="87"/>
                </a:lnTo>
                <a:lnTo>
                  <a:pt x="1124" y="87"/>
                </a:lnTo>
                <a:lnTo>
                  <a:pt x="1122" y="87"/>
                </a:lnTo>
                <a:lnTo>
                  <a:pt x="1122" y="86"/>
                </a:lnTo>
                <a:lnTo>
                  <a:pt x="1120" y="84"/>
                </a:lnTo>
                <a:lnTo>
                  <a:pt x="1119" y="84"/>
                </a:lnTo>
                <a:lnTo>
                  <a:pt x="1118" y="84"/>
                </a:lnTo>
                <a:lnTo>
                  <a:pt x="1116" y="82"/>
                </a:lnTo>
                <a:lnTo>
                  <a:pt x="1116" y="80"/>
                </a:lnTo>
                <a:lnTo>
                  <a:pt x="1119" y="80"/>
                </a:lnTo>
                <a:lnTo>
                  <a:pt x="1120" y="80"/>
                </a:lnTo>
                <a:lnTo>
                  <a:pt x="1119" y="80"/>
                </a:lnTo>
                <a:lnTo>
                  <a:pt x="1118" y="80"/>
                </a:lnTo>
                <a:lnTo>
                  <a:pt x="1120" y="79"/>
                </a:lnTo>
                <a:lnTo>
                  <a:pt x="1120" y="79"/>
                </a:lnTo>
                <a:lnTo>
                  <a:pt x="1119" y="79"/>
                </a:lnTo>
                <a:lnTo>
                  <a:pt x="1119" y="79"/>
                </a:lnTo>
                <a:lnTo>
                  <a:pt x="1119" y="78"/>
                </a:lnTo>
                <a:lnTo>
                  <a:pt x="1119" y="78"/>
                </a:lnTo>
                <a:lnTo>
                  <a:pt x="1118" y="77"/>
                </a:lnTo>
                <a:lnTo>
                  <a:pt x="1118" y="76"/>
                </a:lnTo>
                <a:lnTo>
                  <a:pt x="1111" y="74"/>
                </a:lnTo>
                <a:lnTo>
                  <a:pt x="1111" y="73"/>
                </a:lnTo>
                <a:lnTo>
                  <a:pt x="1111" y="73"/>
                </a:lnTo>
                <a:lnTo>
                  <a:pt x="1109" y="72"/>
                </a:lnTo>
                <a:lnTo>
                  <a:pt x="1108" y="71"/>
                </a:lnTo>
                <a:lnTo>
                  <a:pt x="1109" y="71"/>
                </a:lnTo>
                <a:lnTo>
                  <a:pt x="1108" y="70"/>
                </a:lnTo>
                <a:lnTo>
                  <a:pt x="1108" y="70"/>
                </a:lnTo>
                <a:lnTo>
                  <a:pt x="1106" y="70"/>
                </a:lnTo>
                <a:lnTo>
                  <a:pt x="1105" y="69"/>
                </a:lnTo>
                <a:lnTo>
                  <a:pt x="1105" y="69"/>
                </a:lnTo>
                <a:lnTo>
                  <a:pt x="1104" y="68"/>
                </a:lnTo>
                <a:lnTo>
                  <a:pt x="1105" y="68"/>
                </a:lnTo>
                <a:lnTo>
                  <a:pt x="1105" y="68"/>
                </a:lnTo>
                <a:lnTo>
                  <a:pt x="1104" y="67"/>
                </a:lnTo>
                <a:lnTo>
                  <a:pt x="1104" y="67"/>
                </a:lnTo>
                <a:lnTo>
                  <a:pt x="1103" y="67"/>
                </a:lnTo>
                <a:lnTo>
                  <a:pt x="1103" y="66"/>
                </a:lnTo>
                <a:lnTo>
                  <a:pt x="1099" y="66"/>
                </a:lnTo>
                <a:lnTo>
                  <a:pt x="1096" y="64"/>
                </a:lnTo>
                <a:lnTo>
                  <a:pt x="1094" y="63"/>
                </a:lnTo>
                <a:lnTo>
                  <a:pt x="1093" y="63"/>
                </a:lnTo>
                <a:lnTo>
                  <a:pt x="1088" y="62"/>
                </a:lnTo>
                <a:lnTo>
                  <a:pt x="1086" y="61"/>
                </a:lnTo>
                <a:lnTo>
                  <a:pt x="1085" y="61"/>
                </a:lnTo>
                <a:lnTo>
                  <a:pt x="1083" y="61"/>
                </a:lnTo>
                <a:lnTo>
                  <a:pt x="1082" y="60"/>
                </a:lnTo>
                <a:lnTo>
                  <a:pt x="1082" y="60"/>
                </a:lnTo>
                <a:lnTo>
                  <a:pt x="1080" y="60"/>
                </a:lnTo>
                <a:lnTo>
                  <a:pt x="1075" y="59"/>
                </a:lnTo>
                <a:lnTo>
                  <a:pt x="1074" y="59"/>
                </a:lnTo>
                <a:lnTo>
                  <a:pt x="1071" y="59"/>
                </a:lnTo>
                <a:lnTo>
                  <a:pt x="1067" y="59"/>
                </a:lnTo>
                <a:lnTo>
                  <a:pt x="1067" y="59"/>
                </a:lnTo>
                <a:lnTo>
                  <a:pt x="1067" y="60"/>
                </a:lnTo>
                <a:lnTo>
                  <a:pt x="1065" y="60"/>
                </a:lnTo>
                <a:lnTo>
                  <a:pt x="1064" y="60"/>
                </a:lnTo>
                <a:lnTo>
                  <a:pt x="1063" y="60"/>
                </a:lnTo>
                <a:lnTo>
                  <a:pt x="1062" y="60"/>
                </a:lnTo>
                <a:lnTo>
                  <a:pt x="1057" y="58"/>
                </a:lnTo>
                <a:lnTo>
                  <a:pt x="1057" y="59"/>
                </a:lnTo>
                <a:lnTo>
                  <a:pt x="1053" y="58"/>
                </a:lnTo>
                <a:lnTo>
                  <a:pt x="1052" y="58"/>
                </a:lnTo>
                <a:lnTo>
                  <a:pt x="1050" y="58"/>
                </a:lnTo>
                <a:lnTo>
                  <a:pt x="1050" y="58"/>
                </a:lnTo>
                <a:lnTo>
                  <a:pt x="1048" y="58"/>
                </a:lnTo>
                <a:lnTo>
                  <a:pt x="1048" y="58"/>
                </a:lnTo>
                <a:lnTo>
                  <a:pt x="1045" y="58"/>
                </a:lnTo>
                <a:lnTo>
                  <a:pt x="1044" y="57"/>
                </a:lnTo>
                <a:lnTo>
                  <a:pt x="1043" y="57"/>
                </a:lnTo>
                <a:lnTo>
                  <a:pt x="1042" y="56"/>
                </a:lnTo>
                <a:lnTo>
                  <a:pt x="1042" y="57"/>
                </a:lnTo>
                <a:lnTo>
                  <a:pt x="1038" y="56"/>
                </a:lnTo>
                <a:lnTo>
                  <a:pt x="1037" y="56"/>
                </a:lnTo>
                <a:lnTo>
                  <a:pt x="1034" y="56"/>
                </a:lnTo>
                <a:lnTo>
                  <a:pt x="1031" y="55"/>
                </a:lnTo>
                <a:lnTo>
                  <a:pt x="1028" y="55"/>
                </a:lnTo>
                <a:lnTo>
                  <a:pt x="1025" y="55"/>
                </a:lnTo>
                <a:lnTo>
                  <a:pt x="1027" y="55"/>
                </a:lnTo>
                <a:lnTo>
                  <a:pt x="1027" y="56"/>
                </a:lnTo>
                <a:lnTo>
                  <a:pt x="1028" y="56"/>
                </a:lnTo>
                <a:lnTo>
                  <a:pt x="1028" y="57"/>
                </a:lnTo>
                <a:lnTo>
                  <a:pt x="1024" y="56"/>
                </a:lnTo>
                <a:lnTo>
                  <a:pt x="1021" y="55"/>
                </a:lnTo>
                <a:lnTo>
                  <a:pt x="1021" y="56"/>
                </a:lnTo>
                <a:lnTo>
                  <a:pt x="1023" y="57"/>
                </a:lnTo>
                <a:lnTo>
                  <a:pt x="1025" y="60"/>
                </a:lnTo>
                <a:lnTo>
                  <a:pt x="1027" y="60"/>
                </a:lnTo>
                <a:lnTo>
                  <a:pt x="1027" y="60"/>
                </a:lnTo>
                <a:lnTo>
                  <a:pt x="1027" y="61"/>
                </a:lnTo>
                <a:lnTo>
                  <a:pt x="1029" y="62"/>
                </a:lnTo>
                <a:lnTo>
                  <a:pt x="1034" y="64"/>
                </a:lnTo>
                <a:lnTo>
                  <a:pt x="1034" y="66"/>
                </a:lnTo>
                <a:lnTo>
                  <a:pt x="1033" y="66"/>
                </a:lnTo>
                <a:lnTo>
                  <a:pt x="1029" y="66"/>
                </a:lnTo>
                <a:lnTo>
                  <a:pt x="1027" y="67"/>
                </a:lnTo>
                <a:lnTo>
                  <a:pt x="1025" y="67"/>
                </a:lnTo>
                <a:lnTo>
                  <a:pt x="1025" y="67"/>
                </a:lnTo>
                <a:lnTo>
                  <a:pt x="1023" y="67"/>
                </a:lnTo>
                <a:lnTo>
                  <a:pt x="1021" y="67"/>
                </a:lnTo>
                <a:lnTo>
                  <a:pt x="1018" y="67"/>
                </a:lnTo>
                <a:lnTo>
                  <a:pt x="1017" y="67"/>
                </a:lnTo>
                <a:lnTo>
                  <a:pt x="1012" y="67"/>
                </a:lnTo>
                <a:lnTo>
                  <a:pt x="1011" y="68"/>
                </a:lnTo>
                <a:lnTo>
                  <a:pt x="1007" y="67"/>
                </a:lnTo>
                <a:lnTo>
                  <a:pt x="1000" y="66"/>
                </a:lnTo>
                <a:lnTo>
                  <a:pt x="998" y="66"/>
                </a:lnTo>
                <a:lnTo>
                  <a:pt x="999" y="67"/>
                </a:lnTo>
                <a:lnTo>
                  <a:pt x="999" y="67"/>
                </a:lnTo>
                <a:lnTo>
                  <a:pt x="991" y="66"/>
                </a:lnTo>
                <a:lnTo>
                  <a:pt x="987" y="64"/>
                </a:lnTo>
                <a:lnTo>
                  <a:pt x="979" y="63"/>
                </a:lnTo>
                <a:lnTo>
                  <a:pt x="978" y="63"/>
                </a:lnTo>
                <a:lnTo>
                  <a:pt x="977" y="62"/>
                </a:lnTo>
                <a:lnTo>
                  <a:pt x="977" y="62"/>
                </a:lnTo>
                <a:lnTo>
                  <a:pt x="976" y="62"/>
                </a:lnTo>
                <a:lnTo>
                  <a:pt x="974" y="61"/>
                </a:lnTo>
                <a:lnTo>
                  <a:pt x="974" y="60"/>
                </a:lnTo>
                <a:lnTo>
                  <a:pt x="974" y="60"/>
                </a:lnTo>
                <a:lnTo>
                  <a:pt x="978" y="60"/>
                </a:lnTo>
                <a:lnTo>
                  <a:pt x="977" y="60"/>
                </a:lnTo>
                <a:lnTo>
                  <a:pt x="978" y="60"/>
                </a:lnTo>
                <a:lnTo>
                  <a:pt x="977" y="59"/>
                </a:lnTo>
                <a:lnTo>
                  <a:pt x="974" y="59"/>
                </a:lnTo>
                <a:lnTo>
                  <a:pt x="970" y="59"/>
                </a:lnTo>
                <a:lnTo>
                  <a:pt x="967" y="58"/>
                </a:lnTo>
                <a:lnTo>
                  <a:pt x="963" y="59"/>
                </a:lnTo>
                <a:lnTo>
                  <a:pt x="958" y="58"/>
                </a:lnTo>
                <a:lnTo>
                  <a:pt x="954" y="58"/>
                </a:lnTo>
                <a:lnTo>
                  <a:pt x="953" y="58"/>
                </a:lnTo>
                <a:lnTo>
                  <a:pt x="950" y="57"/>
                </a:lnTo>
                <a:lnTo>
                  <a:pt x="948" y="57"/>
                </a:lnTo>
                <a:lnTo>
                  <a:pt x="943" y="57"/>
                </a:lnTo>
                <a:lnTo>
                  <a:pt x="939" y="57"/>
                </a:lnTo>
                <a:lnTo>
                  <a:pt x="936" y="57"/>
                </a:lnTo>
                <a:lnTo>
                  <a:pt x="936" y="58"/>
                </a:lnTo>
                <a:lnTo>
                  <a:pt x="932" y="58"/>
                </a:lnTo>
                <a:lnTo>
                  <a:pt x="929" y="58"/>
                </a:lnTo>
                <a:lnTo>
                  <a:pt x="924" y="58"/>
                </a:lnTo>
                <a:lnTo>
                  <a:pt x="919" y="59"/>
                </a:lnTo>
                <a:lnTo>
                  <a:pt x="923" y="61"/>
                </a:lnTo>
                <a:lnTo>
                  <a:pt x="926" y="62"/>
                </a:lnTo>
                <a:lnTo>
                  <a:pt x="924" y="62"/>
                </a:lnTo>
                <a:lnTo>
                  <a:pt x="922" y="63"/>
                </a:lnTo>
                <a:lnTo>
                  <a:pt x="918" y="63"/>
                </a:lnTo>
                <a:lnTo>
                  <a:pt x="918" y="62"/>
                </a:lnTo>
                <a:lnTo>
                  <a:pt x="921" y="62"/>
                </a:lnTo>
                <a:lnTo>
                  <a:pt x="921" y="62"/>
                </a:lnTo>
                <a:lnTo>
                  <a:pt x="918" y="61"/>
                </a:lnTo>
                <a:lnTo>
                  <a:pt x="918" y="61"/>
                </a:lnTo>
                <a:lnTo>
                  <a:pt x="916" y="60"/>
                </a:lnTo>
                <a:lnTo>
                  <a:pt x="916" y="58"/>
                </a:lnTo>
                <a:lnTo>
                  <a:pt x="915" y="57"/>
                </a:lnTo>
                <a:lnTo>
                  <a:pt x="912" y="57"/>
                </a:lnTo>
                <a:lnTo>
                  <a:pt x="910" y="56"/>
                </a:lnTo>
                <a:lnTo>
                  <a:pt x="909" y="55"/>
                </a:lnTo>
                <a:lnTo>
                  <a:pt x="906" y="53"/>
                </a:lnTo>
                <a:lnTo>
                  <a:pt x="901" y="51"/>
                </a:lnTo>
                <a:lnTo>
                  <a:pt x="905" y="53"/>
                </a:lnTo>
                <a:lnTo>
                  <a:pt x="906" y="55"/>
                </a:lnTo>
                <a:lnTo>
                  <a:pt x="906" y="56"/>
                </a:lnTo>
                <a:lnTo>
                  <a:pt x="903" y="57"/>
                </a:lnTo>
                <a:lnTo>
                  <a:pt x="897" y="57"/>
                </a:lnTo>
                <a:lnTo>
                  <a:pt x="895" y="57"/>
                </a:lnTo>
                <a:lnTo>
                  <a:pt x="893" y="56"/>
                </a:lnTo>
                <a:lnTo>
                  <a:pt x="889" y="55"/>
                </a:lnTo>
                <a:lnTo>
                  <a:pt x="887" y="53"/>
                </a:lnTo>
                <a:lnTo>
                  <a:pt x="886" y="53"/>
                </a:lnTo>
                <a:lnTo>
                  <a:pt x="886" y="52"/>
                </a:lnTo>
                <a:lnTo>
                  <a:pt x="887" y="52"/>
                </a:lnTo>
                <a:lnTo>
                  <a:pt x="887" y="51"/>
                </a:lnTo>
                <a:lnTo>
                  <a:pt x="887" y="51"/>
                </a:lnTo>
                <a:lnTo>
                  <a:pt x="882" y="52"/>
                </a:lnTo>
                <a:lnTo>
                  <a:pt x="881" y="52"/>
                </a:lnTo>
                <a:lnTo>
                  <a:pt x="882" y="53"/>
                </a:lnTo>
                <a:lnTo>
                  <a:pt x="881" y="53"/>
                </a:lnTo>
                <a:lnTo>
                  <a:pt x="880" y="52"/>
                </a:lnTo>
                <a:lnTo>
                  <a:pt x="877" y="52"/>
                </a:lnTo>
                <a:lnTo>
                  <a:pt x="875" y="51"/>
                </a:lnTo>
                <a:lnTo>
                  <a:pt x="871" y="52"/>
                </a:lnTo>
                <a:lnTo>
                  <a:pt x="869" y="52"/>
                </a:lnTo>
                <a:lnTo>
                  <a:pt x="870" y="53"/>
                </a:lnTo>
                <a:lnTo>
                  <a:pt x="868" y="55"/>
                </a:lnTo>
                <a:lnTo>
                  <a:pt x="869" y="56"/>
                </a:lnTo>
                <a:lnTo>
                  <a:pt x="871" y="57"/>
                </a:lnTo>
                <a:lnTo>
                  <a:pt x="873" y="58"/>
                </a:lnTo>
                <a:lnTo>
                  <a:pt x="875" y="57"/>
                </a:lnTo>
                <a:lnTo>
                  <a:pt x="873" y="57"/>
                </a:lnTo>
                <a:lnTo>
                  <a:pt x="873" y="57"/>
                </a:lnTo>
                <a:lnTo>
                  <a:pt x="875" y="57"/>
                </a:lnTo>
                <a:lnTo>
                  <a:pt x="879" y="57"/>
                </a:lnTo>
                <a:lnTo>
                  <a:pt x="879" y="56"/>
                </a:lnTo>
                <a:lnTo>
                  <a:pt x="881" y="56"/>
                </a:lnTo>
                <a:lnTo>
                  <a:pt x="881" y="56"/>
                </a:lnTo>
                <a:lnTo>
                  <a:pt x="883" y="56"/>
                </a:lnTo>
                <a:lnTo>
                  <a:pt x="886" y="57"/>
                </a:lnTo>
                <a:lnTo>
                  <a:pt x="881" y="58"/>
                </a:lnTo>
                <a:lnTo>
                  <a:pt x="881" y="59"/>
                </a:lnTo>
                <a:lnTo>
                  <a:pt x="880" y="59"/>
                </a:lnTo>
                <a:lnTo>
                  <a:pt x="877" y="60"/>
                </a:lnTo>
                <a:lnTo>
                  <a:pt x="875" y="60"/>
                </a:lnTo>
                <a:lnTo>
                  <a:pt x="869" y="59"/>
                </a:lnTo>
                <a:lnTo>
                  <a:pt x="873" y="60"/>
                </a:lnTo>
                <a:lnTo>
                  <a:pt x="872" y="60"/>
                </a:lnTo>
                <a:lnTo>
                  <a:pt x="871" y="60"/>
                </a:lnTo>
                <a:lnTo>
                  <a:pt x="872" y="61"/>
                </a:lnTo>
                <a:lnTo>
                  <a:pt x="872" y="61"/>
                </a:lnTo>
                <a:lnTo>
                  <a:pt x="866" y="62"/>
                </a:lnTo>
                <a:lnTo>
                  <a:pt x="863" y="62"/>
                </a:lnTo>
                <a:lnTo>
                  <a:pt x="863" y="62"/>
                </a:lnTo>
                <a:lnTo>
                  <a:pt x="865" y="63"/>
                </a:lnTo>
                <a:lnTo>
                  <a:pt x="861" y="63"/>
                </a:lnTo>
                <a:lnTo>
                  <a:pt x="859" y="64"/>
                </a:lnTo>
                <a:lnTo>
                  <a:pt x="858" y="64"/>
                </a:lnTo>
                <a:lnTo>
                  <a:pt x="851" y="63"/>
                </a:lnTo>
                <a:lnTo>
                  <a:pt x="850" y="64"/>
                </a:lnTo>
                <a:lnTo>
                  <a:pt x="845" y="63"/>
                </a:lnTo>
                <a:lnTo>
                  <a:pt x="842" y="64"/>
                </a:lnTo>
                <a:lnTo>
                  <a:pt x="845" y="66"/>
                </a:lnTo>
                <a:lnTo>
                  <a:pt x="847" y="67"/>
                </a:lnTo>
                <a:lnTo>
                  <a:pt x="856" y="68"/>
                </a:lnTo>
                <a:lnTo>
                  <a:pt x="855" y="69"/>
                </a:lnTo>
                <a:lnTo>
                  <a:pt x="852" y="68"/>
                </a:lnTo>
                <a:lnTo>
                  <a:pt x="847" y="68"/>
                </a:lnTo>
                <a:lnTo>
                  <a:pt x="845" y="67"/>
                </a:lnTo>
                <a:lnTo>
                  <a:pt x="843" y="68"/>
                </a:lnTo>
                <a:lnTo>
                  <a:pt x="842" y="68"/>
                </a:lnTo>
                <a:lnTo>
                  <a:pt x="842" y="69"/>
                </a:lnTo>
                <a:lnTo>
                  <a:pt x="841" y="70"/>
                </a:lnTo>
                <a:lnTo>
                  <a:pt x="839" y="70"/>
                </a:lnTo>
                <a:lnTo>
                  <a:pt x="837" y="71"/>
                </a:lnTo>
                <a:lnTo>
                  <a:pt x="836" y="71"/>
                </a:lnTo>
                <a:lnTo>
                  <a:pt x="834" y="73"/>
                </a:lnTo>
                <a:lnTo>
                  <a:pt x="835" y="72"/>
                </a:lnTo>
                <a:lnTo>
                  <a:pt x="834" y="72"/>
                </a:lnTo>
                <a:lnTo>
                  <a:pt x="831" y="72"/>
                </a:lnTo>
                <a:lnTo>
                  <a:pt x="831" y="73"/>
                </a:lnTo>
                <a:lnTo>
                  <a:pt x="829" y="73"/>
                </a:lnTo>
                <a:lnTo>
                  <a:pt x="829" y="72"/>
                </a:lnTo>
                <a:lnTo>
                  <a:pt x="831" y="71"/>
                </a:lnTo>
                <a:lnTo>
                  <a:pt x="834" y="70"/>
                </a:lnTo>
                <a:lnTo>
                  <a:pt x="834" y="70"/>
                </a:lnTo>
                <a:lnTo>
                  <a:pt x="835" y="69"/>
                </a:lnTo>
                <a:lnTo>
                  <a:pt x="838" y="69"/>
                </a:lnTo>
                <a:lnTo>
                  <a:pt x="839" y="69"/>
                </a:lnTo>
                <a:lnTo>
                  <a:pt x="840" y="68"/>
                </a:lnTo>
                <a:lnTo>
                  <a:pt x="840" y="64"/>
                </a:lnTo>
                <a:lnTo>
                  <a:pt x="841" y="64"/>
                </a:lnTo>
                <a:lnTo>
                  <a:pt x="840" y="64"/>
                </a:lnTo>
                <a:lnTo>
                  <a:pt x="840" y="63"/>
                </a:lnTo>
                <a:lnTo>
                  <a:pt x="840" y="62"/>
                </a:lnTo>
                <a:lnTo>
                  <a:pt x="842" y="62"/>
                </a:lnTo>
                <a:lnTo>
                  <a:pt x="847" y="61"/>
                </a:lnTo>
                <a:lnTo>
                  <a:pt x="846" y="60"/>
                </a:lnTo>
                <a:lnTo>
                  <a:pt x="847" y="59"/>
                </a:lnTo>
                <a:lnTo>
                  <a:pt x="846" y="58"/>
                </a:lnTo>
                <a:lnTo>
                  <a:pt x="853" y="58"/>
                </a:lnTo>
                <a:lnTo>
                  <a:pt x="856" y="57"/>
                </a:lnTo>
                <a:lnTo>
                  <a:pt x="858" y="58"/>
                </a:lnTo>
                <a:lnTo>
                  <a:pt x="858" y="55"/>
                </a:lnTo>
                <a:lnTo>
                  <a:pt x="859" y="55"/>
                </a:lnTo>
                <a:lnTo>
                  <a:pt x="858" y="53"/>
                </a:lnTo>
                <a:lnTo>
                  <a:pt x="861" y="51"/>
                </a:lnTo>
                <a:lnTo>
                  <a:pt x="865" y="50"/>
                </a:lnTo>
                <a:lnTo>
                  <a:pt x="866" y="49"/>
                </a:lnTo>
                <a:lnTo>
                  <a:pt x="866" y="49"/>
                </a:lnTo>
                <a:lnTo>
                  <a:pt x="866" y="47"/>
                </a:lnTo>
                <a:lnTo>
                  <a:pt x="868" y="46"/>
                </a:lnTo>
                <a:lnTo>
                  <a:pt x="868" y="46"/>
                </a:lnTo>
                <a:lnTo>
                  <a:pt x="868" y="45"/>
                </a:lnTo>
                <a:lnTo>
                  <a:pt x="869" y="45"/>
                </a:lnTo>
                <a:lnTo>
                  <a:pt x="870" y="45"/>
                </a:lnTo>
                <a:lnTo>
                  <a:pt x="869" y="45"/>
                </a:lnTo>
                <a:lnTo>
                  <a:pt x="870" y="43"/>
                </a:lnTo>
                <a:lnTo>
                  <a:pt x="871" y="45"/>
                </a:lnTo>
                <a:lnTo>
                  <a:pt x="873" y="43"/>
                </a:lnTo>
                <a:lnTo>
                  <a:pt x="872" y="42"/>
                </a:lnTo>
                <a:lnTo>
                  <a:pt x="873" y="43"/>
                </a:lnTo>
                <a:lnTo>
                  <a:pt x="876" y="42"/>
                </a:lnTo>
                <a:lnTo>
                  <a:pt x="880" y="42"/>
                </a:lnTo>
                <a:lnTo>
                  <a:pt x="879" y="42"/>
                </a:lnTo>
                <a:lnTo>
                  <a:pt x="880" y="41"/>
                </a:lnTo>
                <a:lnTo>
                  <a:pt x="878" y="41"/>
                </a:lnTo>
                <a:lnTo>
                  <a:pt x="883" y="40"/>
                </a:lnTo>
                <a:lnTo>
                  <a:pt x="880" y="40"/>
                </a:lnTo>
                <a:lnTo>
                  <a:pt x="880" y="39"/>
                </a:lnTo>
                <a:lnTo>
                  <a:pt x="883" y="39"/>
                </a:lnTo>
                <a:lnTo>
                  <a:pt x="883" y="39"/>
                </a:lnTo>
                <a:lnTo>
                  <a:pt x="885" y="39"/>
                </a:lnTo>
                <a:lnTo>
                  <a:pt x="886" y="39"/>
                </a:lnTo>
                <a:lnTo>
                  <a:pt x="887" y="38"/>
                </a:lnTo>
                <a:lnTo>
                  <a:pt x="885" y="38"/>
                </a:lnTo>
                <a:lnTo>
                  <a:pt x="886" y="37"/>
                </a:lnTo>
                <a:lnTo>
                  <a:pt x="888" y="37"/>
                </a:lnTo>
                <a:lnTo>
                  <a:pt x="888" y="37"/>
                </a:lnTo>
                <a:lnTo>
                  <a:pt x="888" y="36"/>
                </a:lnTo>
                <a:lnTo>
                  <a:pt x="888" y="36"/>
                </a:lnTo>
                <a:lnTo>
                  <a:pt x="889" y="35"/>
                </a:lnTo>
                <a:lnTo>
                  <a:pt x="889" y="33"/>
                </a:lnTo>
                <a:lnTo>
                  <a:pt x="889" y="33"/>
                </a:lnTo>
                <a:lnTo>
                  <a:pt x="888" y="32"/>
                </a:lnTo>
                <a:lnTo>
                  <a:pt x="887" y="32"/>
                </a:lnTo>
                <a:lnTo>
                  <a:pt x="886" y="31"/>
                </a:lnTo>
                <a:lnTo>
                  <a:pt x="887" y="31"/>
                </a:lnTo>
                <a:lnTo>
                  <a:pt x="886" y="30"/>
                </a:lnTo>
                <a:lnTo>
                  <a:pt x="882" y="30"/>
                </a:lnTo>
                <a:lnTo>
                  <a:pt x="879" y="29"/>
                </a:lnTo>
                <a:lnTo>
                  <a:pt x="878" y="29"/>
                </a:lnTo>
                <a:lnTo>
                  <a:pt x="876" y="29"/>
                </a:lnTo>
                <a:lnTo>
                  <a:pt x="876" y="29"/>
                </a:lnTo>
                <a:lnTo>
                  <a:pt x="876" y="30"/>
                </a:lnTo>
                <a:lnTo>
                  <a:pt x="875" y="29"/>
                </a:lnTo>
                <a:lnTo>
                  <a:pt x="873" y="29"/>
                </a:lnTo>
                <a:lnTo>
                  <a:pt x="871" y="28"/>
                </a:lnTo>
                <a:lnTo>
                  <a:pt x="872" y="28"/>
                </a:lnTo>
                <a:lnTo>
                  <a:pt x="869" y="27"/>
                </a:lnTo>
                <a:lnTo>
                  <a:pt x="867" y="27"/>
                </a:lnTo>
                <a:lnTo>
                  <a:pt x="867" y="26"/>
                </a:lnTo>
                <a:lnTo>
                  <a:pt x="868" y="26"/>
                </a:lnTo>
                <a:lnTo>
                  <a:pt x="873" y="27"/>
                </a:lnTo>
                <a:lnTo>
                  <a:pt x="881" y="29"/>
                </a:lnTo>
                <a:lnTo>
                  <a:pt x="881" y="30"/>
                </a:lnTo>
                <a:lnTo>
                  <a:pt x="882" y="29"/>
                </a:lnTo>
                <a:lnTo>
                  <a:pt x="882" y="29"/>
                </a:lnTo>
                <a:lnTo>
                  <a:pt x="881" y="27"/>
                </a:lnTo>
                <a:lnTo>
                  <a:pt x="880" y="26"/>
                </a:lnTo>
                <a:lnTo>
                  <a:pt x="879" y="25"/>
                </a:lnTo>
                <a:lnTo>
                  <a:pt x="878" y="25"/>
                </a:lnTo>
                <a:lnTo>
                  <a:pt x="876" y="25"/>
                </a:lnTo>
                <a:lnTo>
                  <a:pt x="872" y="23"/>
                </a:lnTo>
                <a:lnTo>
                  <a:pt x="872" y="22"/>
                </a:lnTo>
                <a:lnTo>
                  <a:pt x="867" y="20"/>
                </a:lnTo>
                <a:lnTo>
                  <a:pt x="865" y="21"/>
                </a:lnTo>
                <a:lnTo>
                  <a:pt x="867" y="21"/>
                </a:lnTo>
                <a:lnTo>
                  <a:pt x="866" y="22"/>
                </a:lnTo>
                <a:lnTo>
                  <a:pt x="867" y="22"/>
                </a:lnTo>
                <a:lnTo>
                  <a:pt x="866" y="22"/>
                </a:lnTo>
                <a:lnTo>
                  <a:pt x="862" y="21"/>
                </a:lnTo>
                <a:lnTo>
                  <a:pt x="860" y="21"/>
                </a:lnTo>
                <a:lnTo>
                  <a:pt x="861" y="20"/>
                </a:lnTo>
                <a:lnTo>
                  <a:pt x="860" y="20"/>
                </a:lnTo>
                <a:lnTo>
                  <a:pt x="860" y="19"/>
                </a:lnTo>
                <a:lnTo>
                  <a:pt x="853" y="18"/>
                </a:lnTo>
                <a:lnTo>
                  <a:pt x="852" y="18"/>
                </a:lnTo>
                <a:lnTo>
                  <a:pt x="851" y="18"/>
                </a:lnTo>
                <a:lnTo>
                  <a:pt x="846" y="16"/>
                </a:lnTo>
                <a:lnTo>
                  <a:pt x="841" y="16"/>
                </a:lnTo>
                <a:lnTo>
                  <a:pt x="841" y="15"/>
                </a:lnTo>
                <a:lnTo>
                  <a:pt x="840" y="15"/>
                </a:lnTo>
                <a:lnTo>
                  <a:pt x="838" y="15"/>
                </a:lnTo>
                <a:lnTo>
                  <a:pt x="838" y="15"/>
                </a:lnTo>
                <a:lnTo>
                  <a:pt x="837" y="15"/>
                </a:lnTo>
                <a:lnTo>
                  <a:pt x="836" y="13"/>
                </a:lnTo>
                <a:lnTo>
                  <a:pt x="832" y="13"/>
                </a:lnTo>
                <a:lnTo>
                  <a:pt x="827" y="13"/>
                </a:lnTo>
                <a:lnTo>
                  <a:pt x="825" y="15"/>
                </a:lnTo>
                <a:lnTo>
                  <a:pt x="824" y="15"/>
                </a:lnTo>
                <a:lnTo>
                  <a:pt x="822" y="15"/>
                </a:lnTo>
                <a:lnTo>
                  <a:pt x="817" y="13"/>
                </a:lnTo>
                <a:lnTo>
                  <a:pt x="815" y="15"/>
                </a:lnTo>
                <a:lnTo>
                  <a:pt x="814" y="13"/>
                </a:lnTo>
                <a:lnTo>
                  <a:pt x="809" y="15"/>
                </a:lnTo>
                <a:lnTo>
                  <a:pt x="807" y="13"/>
                </a:lnTo>
                <a:lnTo>
                  <a:pt x="806" y="15"/>
                </a:lnTo>
                <a:lnTo>
                  <a:pt x="806" y="13"/>
                </a:lnTo>
                <a:lnTo>
                  <a:pt x="806" y="13"/>
                </a:lnTo>
                <a:lnTo>
                  <a:pt x="806" y="13"/>
                </a:lnTo>
                <a:lnTo>
                  <a:pt x="805" y="13"/>
                </a:lnTo>
                <a:lnTo>
                  <a:pt x="805" y="13"/>
                </a:lnTo>
                <a:lnTo>
                  <a:pt x="802" y="13"/>
                </a:lnTo>
                <a:lnTo>
                  <a:pt x="802" y="15"/>
                </a:lnTo>
                <a:lnTo>
                  <a:pt x="802" y="15"/>
                </a:lnTo>
                <a:lnTo>
                  <a:pt x="805" y="15"/>
                </a:lnTo>
                <a:lnTo>
                  <a:pt x="804" y="16"/>
                </a:lnTo>
                <a:lnTo>
                  <a:pt x="802" y="16"/>
                </a:lnTo>
                <a:lnTo>
                  <a:pt x="804" y="16"/>
                </a:lnTo>
                <a:lnTo>
                  <a:pt x="804" y="17"/>
                </a:lnTo>
                <a:lnTo>
                  <a:pt x="801" y="17"/>
                </a:lnTo>
                <a:lnTo>
                  <a:pt x="800" y="17"/>
                </a:lnTo>
                <a:lnTo>
                  <a:pt x="801" y="18"/>
                </a:lnTo>
                <a:lnTo>
                  <a:pt x="797" y="18"/>
                </a:lnTo>
                <a:lnTo>
                  <a:pt x="795" y="18"/>
                </a:lnTo>
                <a:lnTo>
                  <a:pt x="792" y="18"/>
                </a:lnTo>
                <a:lnTo>
                  <a:pt x="788" y="18"/>
                </a:lnTo>
                <a:lnTo>
                  <a:pt x="788" y="17"/>
                </a:lnTo>
                <a:lnTo>
                  <a:pt x="787" y="17"/>
                </a:lnTo>
                <a:lnTo>
                  <a:pt x="790" y="17"/>
                </a:lnTo>
                <a:lnTo>
                  <a:pt x="791" y="17"/>
                </a:lnTo>
                <a:lnTo>
                  <a:pt x="790" y="15"/>
                </a:lnTo>
                <a:lnTo>
                  <a:pt x="791" y="15"/>
                </a:lnTo>
                <a:lnTo>
                  <a:pt x="791" y="13"/>
                </a:lnTo>
                <a:lnTo>
                  <a:pt x="794" y="13"/>
                </a:lnTo>
                <a:lnTo>
                  <a:pt x="794" y="12"/>
                </a:lnTo>
                <a:lnTo>
                  <a:pt x="792" y="12"/>
                </a:lnTo>
                <a:lnTo>
                  <a:pt x="791" y="11"/>
                </a:lnTo>
                <a:lnTo>
                  <a:pt x="791" y="11"/>
                </a:lnTo>
                <a:lnTo>
                  <a:pt x="794" y="11"/>
                </a:lnTo>
                <a:lnTo>
                  <a:pt x="792" y="11"/>
                </a:lnTo>
                <a:lnTo>
                  <a:pt x="791" y="11"/>
                </a:lnTo>
                <a:lnTo>
                  <a:pt x="791" y="10"/>
                </a:lnTo>
                <a:lnTo>
                  <a:pt x="790" y="10"/>
                </a:lnTo>
                <a:lnTo>
                  <a:pt x="785" y="10"/>
                </a:lnTo>
                <a:lnTo>
                  <a:pt x="785" y="10"/>
                </a:lnTo>
                <a:lnTo>
                  <a:pt x="782" y="9"/>
                </a:lnTo>
                <a:lnTo>
                  <a:pt x="781" y="9"/>
                </a:lnTo>
                <a:lnTo>
                  <a:pt x="779" y="9"/>
                </a:lnTo>
                <a:lnTo>
                  <a:pt x="778" y="10"/>
                </a:lnTo>
                <a:lnTo>
                  <a:pt x="776" y="9"/>
                </a:lnTo>
                <a:lnTo>
                  <a:pt x="774" y="10"/>
                </a:lnTo>
                <a:lnTo>
                  <a:pt x="774" y="9"/>
                </a:lnTo>
                <a:lnTo>
                  <a:pt x="772" y="8"/>
                </a:lnTo>
                <a:lnTo>
                  <a:pt x="772" y="9"/>
                </a:lnTo>
                <a:lnTo>
                  <a:pt x="769" y="9"/>
                </a:lnTo>
                <a:lnTo>
                  <a:pt x="760" y="11"/>
                </a:lnTo>
                <a:lnTo>
                  <a:pt x="761" y="9"/>
                </a:lnTo>
                <a:lnTo>
                  <a:pt x="762" y="9"/>
                </a:lnTo>
                <a:lnTo>
                  <a:pt x="764" y="7"/>
                </a:lnTo>
                <a:lnTo>
                  <a:pt x="766" y="7"/>
                </a:lnTo>
                <a:lnTo>
                  <a:pt x="767" y="7"/>
                </a:lnTo>
                <a:lnTo>
                  <a:pt x="768" y="6"/>
                </a:lnTo>
                <a:lnTo>
                  <a:pt x="767" y="6"/>
                </a:lnTo>
                <a:lnTo>
                  <a:pt x="770" y="6"/>
                </a:lnTo>
                <a:lnTo>
                  <a:pt x="772" y="6"/>
                </a:lnTo>
                <a:lnTo>
                  <a:pt x="769" y="5"/>
                </a:lnTo>
                <a:lnTo>
                  <a:pt x="765" y="2"/>
                </a:lnTo>
                <a:lnTo>
                  <a:pt x="762" y="2"/>
                </a:lnTo>
                <a:lnTo>
                  <a:pt x="762" y="3"/>
                </a:lnTo>
                <a:lnTo>
                  <a:pt x="759" y="2"/>
                </a:lnTo>
                <a:lnTo>
                  <a:pt x="755" y="2"/>
                </a:lnTo>
                <a:lnTo>
                  <a:pt x="750" y="1"/>
                </a:lnTo>
                <a:lnTo>
                  <a:pt x="749" y="1"/>
                </a:lnTo>
                <a:lnTo>
                  <a:pt x="748" y="1"/>
                </a:lnTo>
                <a:lnTo>
                  <a:pt x="748" y="1"/>
                </a:lnTo>
                <a:lnTo>
                  <a:pt x="747" y="1"/>
                </a:lnTo>
                <a:lnTo>
                  <a:pt x="746" y="0"/>
                </a:lnTo>
                <a:lnTo>
                  <a:pt x="744" y="0"/>
                </a:lnTo>
                <a:lnTo>
                  <a:pt x="741" y="1"/>
                </a:lnTo>
                <a:lnTo>
                  <a:pt x="741" y="1"/>
                </a:lnTo>
                <a:lnTo>
                  <a:pt x="740" y="2"/>
                </a:lnTo>
                <a:lnTo>
                  <a:pt x="736" y="1"/>
                </a:lnTo>
                <a:lnTo>
                  <a:pt x="736" y="2"/>
                </a:lnTo>
                <a:lnTo>
                  <a:pt x="734" y="3"/>
                </a:lnTo>
                <a:lnTo>
                  <a:pt x="731" y="6"/>
                </a:lnTo>
                <a:lnTo>
                  <a:pt x="731" y="6"/>
                </a:lnTo>
                <a:lnTo>
                  <a:pt x="728" y="7"/>
                </a:lnTo>
                <a:lnTo>
                  <a:pt x="729" y="7"/>
                </a:lnTo>
                <a:lnTo>
                  <a:pt x="727" y="9"/>
                </a:lnTo>
                <a:lnTo>
                  <a:pt x="727" y="9"/>
                </a:lnTo>
                <a:lnTo>
                  <a:pt x="727" y="10"/>
                </a:lnTo>
                <a:lnTo>
                  <a:pt x="727" y="10"/>
                </a:lnTo>
                <a:lnTo>
                  <a:pt x="727" y="11"/>
                </a:lnTo>
                <a:lnTo>
                  <a:pt x="726" y="11"/>
                </a:lnTo>
                <a:lnTo>
                  <a:pt x="727" y="11"/>
                </a:lnTo>
                <a:lnTo>
                  <a:pt x="726" y="12"/>
                </a:lnTo>
                <a:lnTo>
                  <a:pt x="727" y="12"/>
                </a:lnTo>
                <a:lnTo>
                  <a:pt x="727" y="13"/>
                </a:lnTo>
                <a:lnTo>
                  <a:pt x="728" y="13"/>
                </a:lnTo>
                <a:lnTo>
                  <a:pt x="731" y="13"/>
                </a:lnTo>
                <a:lnTo>
                  <a:pt x="733" y="15"/>
                </a:lnTo>
                <a:lnTo>
                  <a:pt x="735" y="15"/>
                </a:lnTo>
                <a:lnTo>
                  <a:pt x="735" y="16"/>
                </a:lnTo>
                <a:lnTo>
                  <a:pt x="733" y="15"/>
                </a:lnTo>
                <a:lnTo>
                  <a:pt x="731" y="15"/>
                </a:lnTo>
                <a:lnTo>
                  <a:pt x="733" y="16"/>
                </a:lnTo>
                <a:lnTo>
                  <a:pt x="734" y="16"/>
                </a:lnTo>
                <a:lnTo>
                  <a:pt x="734" y="17"/>
                </a:lnTo>
                <a:lnTo>
                  <a:pt x="729" y="17"/>
                </a:lnTo>
                <a:lnTo>
                  <a:pt x="727" y="18"/>
                </a:lnTo>
                <a:lnTo>
                  <a:pt x="723" y="18"/>
                </a:lnTo>
                <a:lnTo>
                  <a:pt x="720" y="18"/>
                </a:lnTo>
                <a:lnTo>
                  <a:pt x="710" y="17"/>
                </a:lnTo>
                <a:lnTo>
                  <a:pt x="711" y="18"/>
                </a:lnTo>
                <a:lnTo>
                  <a:pt x="711" y="18"/>
                </a:lnTo>
                <a:lnTo>
                  <a:pt x="714" y="18"/>
                </a:lnTo>
                <a:lnTo>
                  <a:pt x="715" y="19"/>
                </a:lnTo>
                <a:lnTo>
                  <a:pt x="717" y="19"/>
                </a:lnTo>
                <a:lnTo>
                  <a:pt x="719" y="20"/>
                </a:lnTo>
                <a:lnTo>
                  <a:pt x="719" y="20"/>
                </a:lnTo>
                <a:lnTo>
                  <a:pt x="723" y="20"/>
                </a:lnTo>
                <a:lnTo>
                  <a:pt x="725" y="20"/>
                </a:lnTo>
                <a:lnTo>
                  <a:pt x="726" y="21"/>
                </a:lnTo>
                <a:lnTo>
                  <a:pt x="726" y="21"/>
                </a:lnTo>
                <a:lnTo>
                  <a:pt x="727" y="22"/>
                </a:lnTo>
                <a:lnTo>
                  <a:pt x="727" y="23"/>
                </a:lnTo>
                <a:lnTo>
                  <a:pt x="724" y="23"/>
                </a:lnTo>
                <a:lnTo>
                  <a:pt x="724" y="22"/>
                </a:lnTo>
                <a:lnTo>
                  <a:pt x="723" y="22"/>
                </a:lnTo>
                <a:lnTo>
                  <a:pt x="718" y="22"/>
                </a:lnTo>
                <a:lnTo>
                  <a:pt x="718" y="21"/>
                </a:lnTo>
                <a:lnTo>
                  <a:pt x="718" y="21"/>
                </a:lnTo>
                <a:lnTo>
                  <a:pt x="717" y="20"/>
                </a:lnTo>
                <a:lnTo>
                  <a:pt x="714" y="21"/>
                </a:lnTo>
                <a:lnTo>
                  <a:pt x="713" y="20"/>
                </a:lnTo>
                <a:lnTo>
                  <a:pt x="711" y="20"/>
                </a:lnTo>
                <a:lnTo>
                  <a:pt x="707" y="21"/>
                </a:lnTo>
                <a:lnTo>
                  <a:pt x="708" y="22"/>
                </a:lnTo>
                <a:lnTo>
                  <a:pt x="708" y="22"/>
                </a:lnTo>
                <a:lnTo>
                  <a:pt x="707" y="22"/>
                </a:lnTo>
                <a:lnTo>
                  <a:pt x="707" y="22"/>
                </a:lnTo>
                <a:lnTo>
                  <a:pt x="705" y="22"/>
                </a:lnTo>
                <a:lnTo>
                  <a:pt x="704" y="23"/>
                </a:lnTo>
                <a:lnTo>
                  <a:pt x="706" y="23"/>
                </a:lnTo>
                <a:lnTo>
                  <a:pt x="707" y="23"/>
                </a:lnTo>
                <a:lnTo>
                  <a:pt x="707" y="25"/>
                </a:lnTo>
                <a:lnTo>
                  <a:pt x="707" y="25"/>
                </a:lnTo>
                <a:lnTo>
                  <a:pt x="704" y="23"/>
                </a:lnTo>
                <a:lnTo>
                  <a:pt x="701" y="25"/>
                </a:lnTo>
                <a:lnTo>
                  <a:pt x="700" y="23"/>
                </a:lnTo>
                <a:lnTo>
                  <a:pt x="700" y="23"/>
                </a:lnTo>
                <a:lnTo>
                  <a:pt x="699" y="23"/>
                </a:lnTo>
                <a:lnTo>
                  <a:pt x="698" y="25"/>
                </a:lnTo>
                <a:lnTo>
                  <a:pt x="697" y="25"/>
                </a:lnTo>
                <a:lnTo>
                  <a:pt x="695" y="26"/>
                </a:lnTo>
                <a:lnTo>
                  <a:pt x="695" y="26"/>
                </a:lnTo>
                <a:lnTo>
                  <a:pt x="695" y="25"/>
                </a:lnTo>
                <a:lnTo>
                  <a:pt x="695" y="25"/>
                </a:lnTo>
                <a:lnTo>
                  <a:pt x="693" y="25"/>
                </a:lnTo>
                <a:lnTo>
                  <a:pt x="693" y="23"/>
                </a:lnTo>
                <a:lnTo>
                  <a:pt x="691" y="25"/>
                </a:lnTo>
                <a:lnTo>
                  <a:pt x="688" y="25"/>
                </a:lnTo>
                <a:lnTo>
                  <a:pt x="688" y="26"/>
                </a:lnTo>
                <a:lnTo>
                  <a:pt x="687" y="26"/>
                </a:lnTo>
                <a:lnTo>
                  <a:pt x="686" y="26"/>
                </a:lnTo>
                <a:lnTo>
                  <a:pt x="688" y="23"/>
                </a:lnTo>
                <a:lnTo>
                  <a:pt x="687" y="22"/>
                </a:lnTo>
                <a:lnTo>
                  <a:pt x="684" y="22"/>
                </a:lnTo>
                <a:lnTo>
                  <a:pt x="678" y="22"/>
                </a:lnTo>
                <a:lnTo>
                  <a:pt x="677" y="22"/>
                </a:lnTo>
                <a:lnTo>
                  <a:pt x="677" y="22"/>
                </a:lnTo>
                <a:lnTo>
                  <a:pt x="670" y="22"/>
                </a:lnTo>
                <a:lnTo>
                  <a:pt x="670" y="22"/>
                </a:lnTo>
                <a:lnTo>
                  <a:pt x="669" y="23"/>
                </a:lnTo>
                <a:lnTo>
                  <a:pt x="667" y="22"/>
                </a:lnTo>
                <a:lnTo>
                  <a:pt x="662" y="22"/>
                </a:lnTo>
                <a:lnTo>
                  <a:pt x="662" y="22"/>
                </a:lnTo>
                <a:lnTo>
                  <a:pt x="664" y="23"/>
                </a:lnTo>
                <a:lnTo>
                  <a:pt x="664" y="23"/>
                </a:lnTo>
                <a:lnTo>
                  <a:pt x="659" y="23"/>
                </a:lnTo>
                <a:lnTo>
                  <a:pt x="658" y="23"/>
                </a:lnTo>
                <a:lnTo>
                  <a:pt x="658" y="22"/>
                </a:lnTo>
                <a:lnTo>
                  <a:pt x="657" y="23"/>
                </a:lnTo>
                <a:lnTo>
                  <a:pt x="656" y="23"/>
                </a:lnTo>
                <a:lnTo>
                  <a:pt x="654" y="23"/>
                </a:lnTo>
                <a:lnTo>
                  <a:pt x="654" y="23"/>
                </a:lnTo>
                <a:lnTo>
                  <a:pt x="655" y="25"/>
                </a:lnTo>
                <a:lnTo>
                  <a:pt x="656" y="25"/>
                </a:lnTo>
                <a:lnTo>
                  <a:pt x="658" y="25"/>
                </a:lnTo>
                <a:lnTo>
                  <a:pt x="659" y="25"/>
                </a:lnTo>
                <a:lnTo>
                  <a:pt x="662" y="25"/>
                </a:lnTo>
                <a:lnTo>
                  <a:pt x="662" y="25"/>
                </a:lnTo>
                <a:lnTo>
                  <a:pt x="660" y="25"/>
                </a:lnTo>
                <a:lnTo>
                  <a:pt x="662" y="25"/>
                </a:lnTo>
                <a:lnTo>
                  <a:pt x="663" y="25"/>
                </a:lnTo>
                <a:lnTo>
                  <a:pt x="663" y="25"/>
                </a:lnTo>
                <a:lnTo>
                  <a:pt x="663" y="26"/>
                </a:lnTo>
                <a:lnTo>
                  <a:pt x="652" y="28"/>
                </a:lnTo>
                <a:lnTo>
                  <a:pt x="646" y="28"/>
                </a:lnTo>
                <a:lnTo>
                  <a:pt x="645" y="28"/>
                </a:lnTo>
                <a:lnTo>
                  <a:pt x="645" y="28"/>
                </a:lnTo>
                <a:lnTo>
                  <a:pt x="646" y="29"/>
                </a:lnTo>
                <a:lnTo>
                  <a:pt x="646" y="29"/>
                </a:lnTo>
                <a:lnTo>
                  <a:pt x="643" y="28"/>
                </a:lnTo>
                <a:lnTo>
                  <a:pt x="642" y="29"/>
                </a:lnTo>
                <a:lnTo>
                  <a:pt x="638" y="29"/>
                </a:lnTo>
                <a:lnTo>
                  <a:pt x="635" y="29"/>
                </a:lnTo>
                <a:lnTo>
                  <a:pt x="632" y="29"/>
                </a:lnTo>
                <a:lnTo>
                  <a:pt x="629" y="30"/>
                </a:lnTo>
                <a:lnTo>
                  <a:pt x="633" y="31"/>
                </a:lnTo>
                <a:lnTo>
                  <a:pt x="629" y="31"/>
                </a:lnTo>
                <a:lnTo>
                  <a:pt x="627" y="32"/>
                </a:lnTo>
                <a:lnTo>
                  <a:pt x="623" y="31"/>
                </a:lnTo>
                <a:lnTo>
                  <a:pt x="623" y="31"/>
                </a:lnTo>
                <a:lnTo>
                  <a:pt x="620" y="31"/>
                </a:lnTo>
                <a:lnTo>
                  <a:pt x="620" y="32"/>
                </a:lnTo>
                <a:lnTo>
                  <a:pt x="622" y="32"/>
                </a:lnTo>
                <a:lnTo>
                  <a:pt x="622" y="32"/>
                </a:lnTo>
                <a:lnTo>
                  <a:pt x="619" y="32"/>
                </a:lnTo>
                <a:lnTo>
                  <a:pt x="619" y="33"/>
                </a:lnTo>
                <a:lnTo>
                  <a:pt x="617" y="33"/>
                </a:lnTo>
                <a:lnTo>
                  <a:pt x="617" y="35"/>
                </a:lnTo>
                <a:lnTo>
                  <a:pt x="615" y="36"/>
                </a:lnTo>
                <a:lnTo>
                  <a:pt x="615" y="36"/>
                </a:lnTo>
                <a:lnTo>
                  <a:pt x="616" y="36"/>
                </a:lnTo>
                <a:lnTo>
                  <a:pt x="615" y="36"/>
                </a:lnTo>
                <a:lnTo>
                  <a:pt x="613" y="37"/>
                </a:lnTo>
                <a:lnTo>
                  <a:pt x="612" y="36"/>
                </a:lnTo>
                <a:lnTo>
                  <a:pt x="609" y="36"/>
                </a:lnTo>
                <a:lnTo>
                  <a:pt x="605" y="36"/>
                </a:lnTo>
                <a:lnTo>
                  <a:pt x="604" y="36"/>
                </a:lnTo>
                <a:lnTo>
                  <a:pt x="603" y="37"/>
                </a:lnTo>
                <a:lnTo>
                  <a:pt x="605" y="37"/>
                </a:lnTo>
                <a:lnTo>
                  <a:pt x="608" y="37"/>
                </a:lnTo>
                <a:lnTo>
                  <a:pt x="613" y="38"/>
                </a:lnTo>
                <a:lnTo>
                  <a:pt x="613" y="38"/>
                </a:lnTo>
                <a:lnTo>
                  <a:pt x="612" y="38"/>
                </a:lnTo>
                <a:lnTo>
                  <a:pt x="609" y="38"/>
                </a:lnTo>
                <a:lnTo>
                  <a:pt x="609" y="38"/>
                </a:lnTo>
                <a:lnTo>
                  <a:pt x="608" y="38"/>
                </a:lnTo>
                <a:lnTo>
                  <a:pt x="608" y="39"/>
                </a:lnTo>
                <a:lnTo>
                  <a:pt x="608" y="40"/>
                </a:lnTo>
                <a:lnTo>
                  <a:pt x="608" y="40"/>
                </a:lnTo>
                <a:lnTo>
                  <a:pt x="607" y="41"/>
                </a:lnTo>
                <a:lnTo>
                  <a:pt x="606" y="41"/>
                </a:lnTo>
                <a:lnTo>
                  <a:pt x="606" y="42"/>
                </a:lnTo>
                <a:lnTo>
                  <a:pt x="608" y="42"/>
                </a:lnTo>
                <a:lnTo>
                  <a:pt x="607" y="43"/>
                </a:lnTo>
                <a:lnTo>
                  <a:pt x="604" y="42"/>
                </a:lnTo>
                <a:lnTo>
                  <a:pt x="602" y="41"/>
                </a:lnTo>
                <a:lnTo>
                  <a:pt x="600" y="40"/>
                </a:lnTo>
                <a:lnTo>
                  <a:pt x="596" y="40"/>
                </a:lnTo>
                <a:lnTo>
                  <a:pt x="596" y="40"/>
                </a:lnTo>
                <a:lnTo>
                  <a:pt x="598" y="41"/>
                </a:lnTo>
                <a:lnTo>
                  <a:pt x="596" y="41"/>
                </a:lnTo>
                <a:lnTo>
                  <a:pt x="597" y="42"/>
                </a:lnTo>
                <a:lnTo>
                  <a:pt x="596" y="42"/>
                </a:lnTo>
                <a:lnTo>
                  <a:pt x="597" y="42"/>
                </a:lnTo>
                <a:lnTo>
                  <a:pt x="603" y="43"/>
                </a:lnTo>
                <a:lnTo>
                  <a:pt x="605" y="43"/>
                </a:lnTo>
                <a:lnTo>
                  <a:pt x="607" y="45"/>
                </a:lnTo>
                <a:lnTo>
                  <a:pt x="607" y="45"/>
                </a:lnTo>
                <a:lnTo>
                  <a:pt x="607" y="45"/>
                </a:lnTo>
                <a:lnTo>
                  <a:pt x="608" y="45"/>
                </a:lnTo>
                <a:lnTo>
                  <a:pt x="608" y="46"/>
                </a:lnTo>
                <a:lnTo>
                  <a:pt x="606" y="46"/>
                </a:lnTo>
                <a:lnTo>
                  <a:pt x="605" y="46"/>
                </a:lnTo>
                <a:lnTo>
                  <a:pt x="603" y="46"/>
                </a:lnTo>
                <a:lnTo>
                  <a:pt x="604" y="47"/>
                </a:lnTo>
                <a:lnTo>
                  <a:pt x="602" y="47"/>
                </a:lnTo>
                <a:lnTo>
                  <a:pt x="602" y="47"/>
                </a:lnTo>
                <a:lnTo>
                  <a:pt x="603" y="48"/>
                </a:lnTo>
                <a:lnTo>
                  <a:pt x="604" y="48"/>
                </a:lnTo>
                <a:lnTo>
                  <a:pt x="613" y="49"/>
                </a:lnTo>
                <a:lnTo>
                  <a:pt x="615" y="50"/>
                </a:lnTo>
                <a:lnTo>
                  <a:pt x="616" y="51"/>
                </a:lnTo>
                <a:lnTo>
                  <a:pt x="617" y="51"/>
                </a:lnTo>
                <a:lnTo>
                  <a:pt x="617" y="51"/>
                </a:lnTo>
                <a:lnTo>
                  <a:pt x="614" y="51"/>
                </a:lnTo>
                <a:lnTo>
                  <a:pt x="615" y="51"/>
                </a:lnTo>
                <a:lnTo>
                  <a:pt x="615" y="52"/>
                </a:lnTo>
                <a:lnTo>
                  <a:pt x="615" y="52"/>
                </a:lnTo>
                <a:lnTo>
                  <a:pt x="615" y="52"/>
                </a:lnTo>
                <a:lnTo>
                  <a:pt x="617" y="53"/>
                </a:lnTo>
                <a:lnTo>
                  <a:pt x="617" y="53"/>
                </a:lnTo>
                <a:lnTo>
                  <a:pt x="615" y="53"/>
                </a:lnTo>
                <a:lnTo>
                  <a:pt x="610" y="53"/>
                </a:lnTo>
                <a:lnTo>
                  <a:pt x="609" y="55"/>
                </a:lnTo>
                <a:lnTo>
                  <a:pt x="606" y="55"/>
                </a:lnTo>
                <a:lnTo>
                  <a:pt x="605" y="55"/>
                </a:lnTo>
                <a:lnTo>
                  <a:pt x="605" y="56"/>
                </a:lnTo>
                <a:lnTo>
                  <a:pt x="604" y="56"/>
                </a:lnTo>
                <a:lnTo>
                  <a:pt x="599" y="56"/>
                </a:lnTo>
                <a:lnTo>
                  <a:pt x="598" y="56"/>
                </a:lnTo>
                <a:lnTo>
                  <a:pt x="598" y="56"/>
                </a:lnTo>
                <a:lnTo>
                  <a:pt x="596" y="56"/>
                </a:lnTo>
                <a:lnTo>
                  <a:pt x="591" y="56"/>
                </a:lnTo>
                <a:lnTo>
                  <a:pt x="587" y="57"/>
                </a:lnTo>
                <a:lnTo>
                  <a:pt x="578" y="57"/>
                </a:lnTo>
                <a:lnTo>
                  <a:pt x="576" y="57"/>
                </a:lnTo>
                <a:lnTo>
                  <a:pt x="572" y="57"/>
                </a:lnTo>
                <a:lnTo>
                  <a:pt x="568" y="57"/>
                </a:lnTo>
                <a:lnTo>
                  <a:pt x="562" y="58"/>
                </a:lnTo>
                <a:lnTo>
                  <a:pt x="562" y="58"/>
                </a:lnTo>
                <a:lnTo>
                  <a:pt x="562" y="58"/>
                </a:lnTo>
                <a:lnTo>
                  <a:pt x="558" y="58"/>
                </a:lnTo>
                <a:lnTo>
                  <a:pt x="557" y="58"/>
                </a:lnTo>
                <a:lnTo>
                  <a:pt x="557" y="58"/>
                </a:lnTo>
                <a:lnTo>
                  <a:pt x="554" y="59"/>
                </a:lnTo>
                <a:lnTo>
                  <a:pt x="555" y="59"/>
                </a:lnTo>
                <a:lnTo>
                  <a:pt x="556" y="60"/>
                </a:lnTo>
                <a:lnTo>
                  <a:pt x="557" y="60"/>
                </a:lnTo>
                <a:lnTo>
                  <a:pt x="557" y="60"/>
                </a:lnTo>
                <a:lnTo>
                  <a:pt x="558" y="60"/>
                </a:lnTo>
                <a:lnTo>
                  <a:pt x="558" y="60"/>
                </a:lnTo>
                <a:lnTo>
                  <a:pt x="556" y="61"/>
                </a:lnTo>
                <a:lnTo>
                  <a:pt x="556" y="61"/>
                </a:lnTo>
                <a:lnTo>
                  <a:pt x="555" y="61"/>
                </a:lnTo>
                <a:lnTo>
                  <a:pt x="555" y="61"/>
                </a:lnTo>
                <a:lnTo>
                  <a:pt x="556" y="62"/>
                </a:lnTo>
                <a:lnTo>
                  <a:pt x="558" y="62"/>
                </a:lnTo>
                <a:lnTo>
                  <a:pt x="558" y="63"/>
                </a:lnTo>
                <a:lnTo>
                  <a:pt x="556" y="63"/>
                </a:lnTo>
                <a:lnTo>
                  <a:pt x="561" y="64"/>
                </a:lnTo>
                <a:lnTo>
                  <a:pt x="561" y="66"/>
                </a:lnTo>
                <a:lnTo>
                  <a:pt x="563" y="66"/>
                </a:lnTo>
                <a:lnTo>
                  <a:pt x="563" y="66"/>
                </a:lnTo>
                <a:lnTo>
                  <a:pt x="565" y="68"/>
                </a:lnTo>
                <a:lnTo>
                  <a:pt x="567" y="68"/>
                </a:lnTo>
                <a:lnTo>
                  <a:pt x="566" y="68"/>
                </a:lnTo>
                <a:lnTo>
                  <a:pt x="567" y="69"/>
                </a:lnTo>
                <a:lnTo>
                  <a:pt x="566" y="69"/>
                </a:lnTo>
                <a:lnTo>
                  <a:pt x="567" y="71"/>
                </a:lnTo>
                <a:lnTo>
                  <a:pt x="568" y="72"/>
                </a:lnTo>
                <a:lnTo>
                  <a:pt x="569" y="72"/>
                </a:lnTo>
                <a:lnTo>
                  <a:pt x="571" y="73"/>
                </a:lnTo>
                <a:lnTo>
                  <a:pt x="572" y="74"/>
                </a:lnTo>
                <a:lnTo>
                  <a:pt x="576" y="76"/>
                </a:lnTo>
                <a:lnTo>
                  <a:pt x="579" y="77"/>
                </a:lnTo>
                <a:lnTo>
                  <a:pt x="584" y="77"/>
                </a:lnTo>
                <a:lnTo>
                  <a:pt x="588" y="78"/>
                </a:lnTo>
                <a:lnTo>
                  <a:pt x="589" y="78"/>
                </a:lnTo>
                <a:lnTo>
                  <a:pt x="592" y="79"/>
                </a:lnTo>
                <a:lnTo>
                  <a:pt x="592" y="80"/>
                </a:lnTo>
                <a:lnTo>
                  <a:pt x="592" y="80"/>
                </a:lnTo>
                <a:lnTo>
                  <a:pt x="594" y="80"/>
                </a:lnTo>
                <a:lnTo>
                  <a:pt x="595" y="81"/>
                </a:lnTo>
                <a:lnTo>
                  <a:pt x="598" y="82"/>
                </a:lnTo>
                <a:lnTo>
                  <a:pt x="600" y="83"/>
                </a:lnTo>
                <a:lnTo>
                  <a:pt x="605" y="83"/>
                </a:lnTo>
                <a:lnTo>
                  <a:pt x="607" y="84"/>
                </a:lnTo>
                <a:lnTo>
                  <a:pt x="607" y="83"/>
                </a:lnTo>
                <a:lnTo>
                  <a:pt x="609" y="84"/>
                </a:lnTo>
                <a:lnTo>
                  <a:pt x="612" y="87"/>
                </a:lnTo>
                <a:lnTo>
                  <a:pt x="613" y="87"/>
                </a:lnTo>
                <a:lnTo>
                  <a:pt x="613" y="89"/>
                </a:lnTo>
                <a:lnTo>
                  <a:pt x="612" y="90"/>
                </a:lnTo>
                <a:lnTo>
                  <a:pt x="613" y="91"/>
                </a:lnTo>
                <a:lnTo>
                  <a:pt x="612" y="92"/>
                </a:lnTo>
                <a:lnTo>
                  <a:pt x="614" y="93"/>
                </a:lnTo>
                <a:lnTo>
                  <a:pt x="615" y="94"/>
                </a:lnTo>
                <a:lnTo>
                  <a:pt x="619" y="97"/>
                </a:lnTo>
                <a:lnTo>
                  <a:pt x="623" y="100"/>
                </a:lnTo>
                <a:lnTo>
                  <a:pt x="625" y="101"/>
                </a:lnTo>
                <a:lnTo>
                  <a:pt x="626" y="102"/>
                </a:lnTo>
                <a:lnTo>
                  <a:pt x="627" y="104"/>
                </a:lnTo>
                <a:lnTo>
                  <a:pt x="627" y="106"/>
                </a:lnTo>
                <a:lnTo>
                  <a:pt x="626" y="107"/>
                </a:lnTo>
                <a:lnTo>
                  <a:pt x="624" y="107"/>
                </a:lnTo>
                <a:lnTo>
                  <a:pt x="623" y="107"/>
                </a:lnTo>
                <a:lnTo>
                  <a:pt x="623" y="108"/>
                </a:lnTo>
                <a:lnTo>
                  <a:pt x="626" y="109"/>
                </a:lnTo>
                <a:lnTo>
                  <a:pt x="626" y="110"/>
                </a:lnTo>
                <a:lnTo>
                  <a:pt x="619" y="109"/>
                </a:lnTo>
                <a:lnTo>
                  <a:pt x="616" y="109"/>
                </a:lnTo>
                <a:lnTo>
                  <a:pt x="613" y="108"/>
                </a:lnTo>
                <a:lnTo>
                  <a:pt x="612" y="107"/>
                </a:lnTo>
                <a:lnTo>
                  <a:pt x="608" y="102"/>
                </a:lnTo>
                <a:lnTo>
                  <a:pt x="608" y="100"/>
                </a:lnTo>
                <a:lnTo>
                  <a:pt x="607" y="100"/>
                </a:lnTo>
                <a:lnTo>
                  <a:pt x="605" y="97"/>
                </a:lnTo>
                <a:lnTo>
                  <a:pt x="604" y="96"/>
                </a:lnTo>
                <a:lnTo>
                  <a:pt x="603" y="94"/>
                </a:lnTo>
                <a:lnTo>
                  <a:pt x="602" y="93"/>
                </a:lnTo>
                <a:lnTo>
                  <a:pt x="603" y="92"/>
                </a:lnTo>
                <a:lnTo>
                  <a:pt x="607" y="90"/>
                </a:lnTo>
                <a:lnTo>
                  <a:pt x="607" y="90"/>
                </a:lnTo>
                <a:lnTo>
                  <a:pt x="607" y="89"/>
                </a:lnTo>
                <a:lnTo>
                  <a:pt x="606" y="88"/>
                </a:lnTo>
                <a:lnTo>
                  <a:pt x="608" y="88"/>
                </a:lnTo>
                <a:lnTo>
                  <a:pt x="607" y="86"/>
                </a:lnTo>
                <a:lnTo>
                  <a:pt x="602" y="84"/>
                </a:lnTo>
                <a:lnTo>
                  <a:pt x="596" y="86"/>
                </a:lnTo>
                <a:lnTo>
                  <a:pt x="591" y="86"/>
                </a:lnTo>
                <a:lnTo>
                  <a:pt x="587" y="86"/>
                </a:lnTo>
                <a:lnTo>
                  <a:pt x="584" y="84"/>
                </a:lnTo>
                <a:lnTo>
                  <a:pt x="584" y="84"/>
                </a:lnTo>
                <a:lnTo>
                  <a:pt x="581" y="83"/>
                </a:lnTo>
                <a:lnTo>
                  <a:pt x="577" y="82"/>
                </a:lnTo>
                <a:lnTo>
                  <a:pt x="576" y="81"/>
                </a:lnTo>
                <a:lnTo>
                  <a:pt x="575" y="80"/>
                </a:lnTo>
                <a:lnTo>
                  <a:pt x="569" y="80"/>
                </a:lnTo>
                <a:lnTo>
                  <a:pt x="564" y="78"/>
                </a:lnTo>
                <a:lnTo>
                  <a:pt x="561" y="77"/>
                </a:lnTo>
                <a:lnTo>
                  <a:pt x="555" y="76"/>
                </a:lnTo>
                <a:lnTo>
                  <a:pt x="544" y="76"/>
                </a:lnTo>
                <a:lnTo>
                  <a:pt x="541" y="77"/>
                </a:lnTo>
                <a:lnTo>
                  <a:pt x="539" y="78"/>
                </a:lnTo>
                <a:lnTo>
                  <a:pt x="535" y="79"/>
                </a:lnTo>
                <a:lnTo>
                  <a:pt x="536" y="80"/>
                </a:lnTo>
                <a:lnTo>
                  <a:pt x="542" y="80"/>
                </a:lnTo>
                <a:lnTo>
                  <a:pt x="545" y="81"/>
                </a:lnTo>
                <a:lnTo>
                  <a:pt x="545" y="82"/>
                </a:lnTo>
                <a:lnTo>
                  <a:pt x="544" y="83"/>
                </a:lnTo>
                <a:lnTo>
                  <a:pt x="541" y="84"/>
                </a:lnTo>
                <a:lnTo>
                  <a:pt x="538" y="86"/>
                </a:lnTo>
                <a:lnTo>
                  <a:pt x="534" y="86"/>
                </a:lnTo>
                <a:lnTo>
                  <a:pt x="533" y="84"/>
                </a:lnTo>
                <a:lnTo>
                  <a:pt x="528" y="83"/>
                </a:lnTo>
                <a:lnTo>
                  <a:pt x="526" y="81"/>
                </a:lnTo>
                <a:lnTo>
                  <a:pt x="524" y="82"/>
                </a:lnTo>
                <a:lnTo>
                  <a:pt x="523" y="83"/>
                </a:lnTo>
                <a:lnTo>
                  <a:pt x="524" y="83"/>
                </a:lnTo>
                <a:lnTo>
                  <a:pt x="526" y="86"/>
                </a:lnTo>
                <a:lnTo>
                  <a:pt x="528" y="87"/>
                </a:lnTo>
                <a:lnTo>
                  <a:pt x="529" y="88"/>
                </a:lnTo>
                <a:lnTo>
                  <a:pt x="532" y="88"/>
                </a:lnTo>
                <a:lnTo>
                  <a:pt x="537" y="89"/>
                </a:lnTo>
                <a:lnTo>
                  <a:pt x="541" y="90"/>
                </a:lnTo>
                <a:lnTo>
                  <a:pt x="543" y="91"/>
                </a:lnTo>
                <a:lnTo>
                  <a:pt x="545" y="91"/>
                </a:lnTo>
                <a:lnTo>
                  <a:pt x="546" y="91"/>
                </a:lnTo>
                <a:lnTo>
                  <a:pt x="548" y="91"/>
                </a:lnTo>
                <a:lnTo>
                  <a:pt x="549" y="90"/>
                </a:lnTo>
                <a:lnTo>
                  <a:pt x="551" y="91"/>
                </a:lnTo>
                <a:lnTo>
                  <a:pt x="552" y="92"/>
                </a:lnTo>
                <a:lnTo>
                  <a:pt x="554" y="92"/>
                </a:lnTo>
                <a:lnTo>
                  <a:pt x="556" y="94"/>
                </a:lnTo>
                <a:lnTo>
                  <a:pt x="559" y="96"/>
                </a:lnTo>
                <a:lnTo>
                  <a:pt x="561" y="97"/>
                </a:lnTo>
                <a:lnTo>
                  <a:pt x="557" y="97"/>
                </a:lnTo>
                <a:lnTo>
                  <a:pt x="554" y="96"/>
                </a:lnTo>
                <a:lnTo>
                  <a:pt x="553" y="96"/>
                </a:lnTo>
                <a:lnTo>
                  <a:pt x="551" y="94"/>
                </a:lnTo>
                <a:lnTo>
                  <a:pt x="548" y="93"/>
                </a:lnTo>
                <a:lnTo>
                  <a:pt x="541" y="93"/>
                </a:lnTo>
                <a:lnTo>
                  <a:pt x="538" y="93"/>
                </a:lnTo>
                <a:lnTo>
                  <a:pt x="531" y="92"/>
                </a:lnTo>
                <a:lnTo>
                  <a:pt x="524" y="91"/>
                </a:lnTo>
                <a:lnTo>
                  <a:pt x="521" y="91"/>
                </a:lnTo>
                <a:lnTo>
                  <a:pt x="518" y="90"/>
                </a:lnTo>
                <a:lnTo>
                  <a:pt x="518" y="89"/>
                </a:lnTo>
                <a:lnTo>
                  <a:pt x="521" y="89"/>
                </a:lnTo>
                <a:lnTo>
                  <a:pt x="521" y="89"/>
                </a:lnTo>
                <a:lnTo>
                  <a:pt x="519" y="87"/>
                </a:lnTo>
                <a:lnTo>
                  <a:pt x="516" y="84"/>
                </a:lnTo>
                <a:lnTo>
                  <a:pt x="515" y="84"/>
                </a:lnTo>
                <a:lnTo>
                  <a:pt x="515" y="82"/>
                </a:lnTo>
                <a:lnTo>
                  <a:pt x="512" y="81"/>
                </a:lnTo>
                <a:lnTo>
                  <a:pt x="514" y="80"/>
                </a:lnTo>
                <a:lnTo>
                  <a:pt x="514" y="77"/>
                </a:lnTo>
                <a:lnTo>
                  <a:pt x="511" y="76"/>
                </a:lnTo>
                <a:lnTo>
                  <a:pt x="510" y="73"/>
                </a:lnTo>
                <a:lnTo>
                  <a:pt x="511" y="73"/>
                </a:lnTo>
                <a:lnTo>
                  <a:pt x="508" y="72"/>
                </a:lnTo>
                <a:lnTo>
                  <a:pt x="507" y="71"/>
                </a:lnTo>
                <a:lnTo>
                  <a:pt x="506" y="71"/>
                </a:lnTo>
                <a:lnTo>
                  <a:pt x="503" y="69"/>
                </a:lnTo>
                <a:lnTo>
                  <a:pt x="501" y="69"/>
                </a:lnTo>
                <a:lnTo>
                  <a:pt x="498" y="69"/>
                </a:lnTo>
                <a:lnTo>
                  <a:pt x="500" y="70"/>
                </a:lnTo>
                <a:lnTo>
                  <a:pt x="502" y="71"/>
                </a:lnTo>
                <a:lnTo>
                  <a:pt x="504" y="73"/>
                </a:lnTo>
                <a:lnTo>
                  <a:pt x="507" y="77"/>
                </a:lnTo>
                <a:lnTo>
                  <a:pt x="506" y="78"/>
                </a:lnTo>
                <a:lnTo>
                  <a:pt x="502" y="81"/>
                </a:lnTo>
                <a:lnTo>
                  <a:pt x="497" y="81"/>
                </a:lnTo>
                <a:lnTo>
                  <a:pt x="493" y="83"/>
                </a:lnTo>
                <a:lnTo>
                  <a:pt x="494" y="84"/>
                </a:lnTo>
                <a:lnTo>
                  <a:pt x="494" y="86"/>
                </a:lnTo>
                <a:lnTo>
                  <a:pt x="494" y="87"/>
                </a:lnTo>
                <a:lnTo>
                  <a:pt x="492" y="88"/>
                </a:lnTo>
                <a:lnTo>
                  <a:pt x="493" y="89"/>
                </a:lnTo>
                <a:lnTo>
                  <a:pt x="498" y="90"/>
                </a:lnTo>
                <a:lnTo>
                  <a:pt x="503" y="92"/>
                </a:lnTo>
                <a:lnTo>
                  <a:pt x="506" y="94"/>
                </a:lnTo>
                <a:lnTo>
                  <a:pt x="508" y="97"/>
                </a:lnTo>
                <a:lnTo>
                  <a:pt x="513" y="99"/>
                </a:lnTo>
                <a:lnTo>
                  <a:pt x="516" y="101"/>
                </a:lnTo>
                <a:lnTo>
                  <a:pt x="517" y="102"/>
                </a:lnTo>
                <a:lnTo>
                  <a:pt x="517" y="103"/>
                </a:lnTo>
                <a:lnTo>
                  <a:pt x="517" y="106"/>
                </a:lnTo>
                <a:lnTo>
                  <a:pt x="517" y="107"/>
                </a:lnTo>
                <a:lnTo>
                  <a:pt x="515" y="108"/>
                </a:lnTo>
                <a:lnTo>
                  <a:pt x="515" y="109"/>
                </a:lnTo>
                <a:lnTo>
                  <a:pt x="517" y="111"/>
                </a:lnTo>
                <a:lnTo>
                  <a:pt x="516" y="112"/>
                </a:lnTo>
                <a:lnTo>
                  <a:pt x="516" y="113"/>
                </a:lnTo>
                <a:lnTo>
                  <a:pt x="517" y="114"/>
                </a:lnTo>
                <a:lnTo>
                  <a:pt x="522" y="118"/>
                </a:lnTo>
                <a:lnTo>
                  <a:pt x="524" y="119"/>
                </a:lnTo>
                <a:lnTo>
                  <a:pt x="525" y="121"/>
                </a:lnTo>
                <a:lnTo>
                  <a:pt x="524" y="122"/>
                </a:lnTo>
                <a:lnTo>
                  <a:pt x="525" y="123"/>
                </a:lnTo>
                <a:lnTo>
                  <a:pt x="527" y="124"/>
                </a:lnTo>
                <a:lnTo>
                  <a:pt x="531" y="126"/>
                </a:lnTo>
                <a:lnTo>
                  <a:pt x="533" y="124"/>
                </a:lnTo>
                <a:lnTo>
                  <a:pt x="536" y="124"/>
                </a:lnTo>
                <a:lnTo>
                  <a:pt x="538" y="126"/>
                </a:lnTo>
                <a:lnTo>
                  <a:pt x="543" y="126"/>
                </a:lnTo>
                <a:lnTo>
                  <a:pt x="543" y="124"/>
                </a:lnTo>
                <a:lnTo>
                  <a:pt x="546" y="123"/>
                </a:lnTo>
                <a:lnTo>
                  <a:pt x="552" y="123"/>
                </a:lnTo>
                <a:lnTo>
                  <a:pt x="559" y="124"/>
                </a:lnTo>
                <a:lnTo>
                  <a:pt x="563" y="126"/>
                </a:lnTo>
                <a:lnTo>
                  <a:pt x="569" y="128"/>
                </a:lnTo>
                <a:lnTo>
                  <a:pt x="574" y="129"/>
                </a:lnTo>
                <a:lnTo>
                  <a:pt x="575" y="130"/>
                </a:lnTo>
                <a:lnTo>
                  <a:pt x="576" y="131"/>
                </a:lnTo>
                <a:lnTo>
                  <a:pt x="577" y="132"/>
                </a:lnTo>
                <a:lnTo>
                  <a:pt x="584" y="137"/>
                </a:lnTo>
                <a:lnTo>
                  <a:pt x="585" y="137"/>
                </a:lnTo>
                <a:lnTo>
                  <a:pt x="586" y="138"/>
                </a:lnTo>
                <a:lnTo>
                  <a:pt x="585" y="139"/>
                </a:lnTo>
                <a:lnTo>
                  <a:pt x="582" y="139"/>
                </a:lnTo>
                <a:lnTo>
                  <a:pt x="581" y="140"/>
                </a:lnTo>
                <a:lnTo>
                  <a:pt x="581" y="141"/>
                </a:lnTo>
                <a:lnTo>
                  <a:pt x="582" y="143"/>
                </a:lnTo>
                <a:lnTo>
                  <a:pt x="584" y="146"/>
                </a:lnTo>
                <a:lnTo>
                  <a:pt x="585" y="147"/>
                </a:lnTo>
                <a:lnTo>
                  <a:pt x="587" y="147"/>
                </a:lnTo>
                <a:lnTo>
                  <a:pt x="593" y="147"/>
                </a:lnTo>
                <a:lnTo>
                  <a:pt x="596" y="147"/>
                </a:lnTo>
                <a:lnTo>
                  <a:pt x="602" y="149"/>
                </a:lnTo>
                <a:lnTo>
                  <a:pt x="602" y="149"/>
                </a:lnTo>
                <a:lnTo>
                  <a:pt x="596" y="149"/>
                </a:lnTo>
                <a:lnTo>
                  <a:pt x="593" y="149"/>
                </a:lnTo>
                <a:lnTo>
                  <a:pt x="588" y="149"/>
                </a:lnTo>
                <a:lnTo>
                  <a:pt x="587" y="148"/>
                </a:lnTo>
                <a:lnTo>
                  <a:pt x="585" y="148"/>
                </a:lnTo>
                <a:lnTo>
                  <a:pt x="579" y="147"/>
                </a:lnTo>
                <a:lnTo>
                  <a:pt x="578" y="144"/>
                </a:lnTo>
                <a:lnTo>
                  <a:pt x="579" y="144"/>
                </a:lnTo>
                <a:lnTo>
                  <a:pt x="579" y="143"/>
                </a:lnTo>
                <a:lnTo>
                  <a:pt x="578" y="142"/>
                </a:lnTo>
                <a:lnTo>
                  <a:pt x="577" y="141"/>
                </a:lnTo>
                <a:lnTo>
                  <a:pt x="578" y="139"/>
                </a:lnTo>
                <a:lnTo>
                  <a:pt x="577" y="139"/>
                </a:lnTo>
                <a:lnTo>
                  <a:pt x="575" y="139"/>
                </a:lnTo>
                <a:lnTo>
                  <a:pt x="575" y="138"/>
                </a:lnTo>
                <a:lnTo>
                  <a:pt x="575" y="137"/>
                </a:lnTo>
                <a:lnTo>
                  <a:pt x="575" y="136"/>
                </a:lnTo>
                <a:lnTo>
                  <a:pt x="574" y="136"/>
                </a:lnTo>
                <a:lnTo>
                  <a:pt x="574" y="134"/>
                </a:lnTo>
                <a:lnTo>
                  <a:pt x="573" y="133"/>
                </a:lnTo>
                <a:lnTo>
                  <a:pt x="571" y="133"/>
                </a:lnTo>
                <a:lnTo>
                  <a:pt x="568" y="132"/>
                </a:lnTo>
                <a:lnTo>
                  <a:pt x="567" y="131"/>
                </a:lnTo>
                <a:lnTo>
                  <a:pt x="565" y="131"/>
                </a:lnTo>
                <a:lnTo>
                  <a:pt x="563" y="130"/>
                </a:lnTo>
                <a:lnTo>
                  <a:pt x="563" y="129"/>
                </a:lnTo>
                <a:lnTo>
                  <a:pt x="561" y="127"/>
                </a:lnTo>
                <a:lnTo>
                  <a:pt x="555" y="127"/>
                </a:lnTo>
                <a:lnTo>
                  <a:pt x="552" y="128"/>
                </a:lnTo>
                <a:lnTo>
                  <a:pt x="545" y="129"/>
                </a:lnTo>
                <a:lnTo>
                  <a:pt x="543" y="130"/>
                </a:lnTo>
                <a:lnTo>
                  <a:pt x="538" y="130"/>
                </a:lnTo>
                <a:lnTo>
                  <a:pt x="537" y="131"/>
                </a:lnTo>
                <a:lnTo>
                  <a:pt x="538" y="132"/>
                </a:lnTo>
                <a:lnTo>
                  <a:pt x="539" y="133"/>
                </a:lnTo>
                <a:lnTo>
                  <a:pt x="539" y="134"/>
                </a:lnTo>
                <a:lnTo>
                  <a:pt x="538" y="136"/>
                </a:lnTo>
                <a:lnTo>
                  <a:pt x="539" y="137"/>
                </a:lnTo>
                <a:lnTo>
                  <a:pt x="542" y="137"/>
                </a:lnTo>
                <a:lnTo>
                  <a:pt x="543" y="138"/>
                </a:lnTo>
                <a:lnTo>
                  <a:pt x="545" y="139"/>
                </a:lnTo>
                <a:lnTo>
                  <a:pt x="545" y="140"/>
                </a:lnTo>
                <a:lnTo>
                  <a:pt x="547" y="141"/>
                </a:lnTo>
                <a:lnTo>
                  <a:pt x="548" y="142"/>
                </a:lnTo>
                <a:lnTo>
                  <a:pt x="549" y="144"/>
                </a:lnTo>
                <a:lnTo>
                  <a:pt x="551" y="147"/>
                </a:lnTo>
                <a:lnTo>
                  <a:pt x="548" y="148"/>
                </a:lnTo>
                <a:lnTo>
                  <a:pt x="545" y="152"/>
                </a:lnTo>
                <a:lnTo>
                  <a:pt x="545" y="152"/>
                </a:lnTo>
                <a:lnTo>
                  <a:pt x="545" y="154"/>
                </a:lnTo>
                <a:lnTo>
                  <a:pt x="546" y="157"/>
                </a:lnTo>
                <a:lnTo>
                  <a:pt x="544" y="159"/>
                </a:lnTo>
                <a:lnTo>
                  <a:pt x="543" y="160"/>
                </a:lnTo>
                <a:lnTo>
                  <a:pt x="541" y="161"/>
                </a:lnTo>
                <a:lnTo>
                  <a:pt x="539" y="162"/>
                </a:lnTo>
                <a:lnTo>
                  <a:pt x="534" y="164"/>
                </a:lnTo>
                <a:lnTo>
                  <a:pt x="533" y="164"/>
                </a:lnTo>
                <a:lnTo>
                  <a:pt x="536" y="167"/>
                </a:lnTo>
                <a:lnTo>
                  <a:pt x="536" y="169"/>
                </a:lnTo>
                <a:lnTo>
                  <a:pt x="533" y="170"/>
                </a:lnTo>
                <a:lnTo>
                  <a:pt x="524" y="168"/>
                </a:lnTo>
                <a:lnTo>
                  <a:pt x="519" y="167"/>
                </a:lnTo>
                <a:lnTo>
                  <a:pt x="516" y="168"/>
                </a:lnTo>
                <a:lnTo>
                  <a:pt x="514" y="168"/>
                </a:lnTo>
                <a:lnTo>
                  <a:pt x="508" y="168"/>
                </a:lnTo>
                <a:lnTo>
                  <a:pt x="507" y="167"/>
                </a:lnTo>
                <a:lnTo>
                  <a:pt x="506" y="166"/>
                </a:lnTo>
                <a:lnTo>
                  <a:pt x="507" y="166"/>
                </a:lnTo>
                <a:lnTo>
                  <a:pt x="505" y="162"/>
                </a:lnTo>
                <a:lnTo>
                  <a:pt x="502" y="162"/>
                </a:lnTo>
                <a:lnTo>
                  <a:pt x="501" y="161"/>
                </a:lnTo>
                <a:lnTo>
                  <a:pt x="501" y="161"/>
                </a:lnTo>
                <a:lnTo>
                  <a:pt x="503" y="160"/>
                </a:lnTo>
                <a:lnTo>
                  <a:pt x="506" y="161"/>
                </a:lnTo>
                <a:lnTo>
                  <a:pt x="507" y="162"/>
                </a:lnTo>
                <a:lnTo>
                  <a:pt x="510" y="162"/>
                </a:lnTo>
                <a:lnTo>
                  <a:pt x="511" y="161"/>
                </a:lnTo>
                <a:lnTo>
                  <a:pt x="513" y="161"/>
                </a:lnTo>
                <a:lnTo>
                  <a:pt x="514" y="159"/>
                </a:lnTo>
                <a:lnTo>
                  <a:pt x="516" y="160"/>
                </a:lnTo>
                <a:lnTo>
                  <a:pt x="518" y="159"/>
                </a:lnTo>
                <a:lnTo>
                  <a:pt x="518" y="159"/>
                </a:lnTo>
                <a:lnTo>
                  <a:pt x="519" y="158"/>
                </a:lnTo>
                <a:lnTo>
                  <a:pt x="522" y="158"/>
                </a:lnTo>
                <a:lnTo>
                  <a:pt x="525" y="158"/>
                </a:lnTo>
                <a:lnTo>
                  <a:pt x="526" y="157"/>
                </a:lnTo>
                <a:lnTo>
                  <a:pt x="524" y="156"/>
                </a:lnTo>
                <a:lnTo>
                  <a:pt x="519" y="156"/>
                </a:lnTo>
                <a:lnTo>
                  <a:pt x="518" y="157"/>
                </a:lnTo>
                <a:lnTo>
                  <a:pt x="517" y="156"/>
                </a:lnTo>
                <a:lnTo>
                  <a:pt x="516" y="154"/>
                </a:lnTo>
                <a:lnTo>
                  <a:pt x="521" y="156"/>
                </a:lnTo>
                <a:lnTo>
                  <a:pt x="525" y="156"/>
                </a:lnTo>
                <a:lnTo>
                  <a:pt x="526" y="154"/>
                </a:lnTo>
                <a:lnTo>
                  <a:pt x="525" y="153"/>
                </a:lnTo>
                <a:lnTo>
                  <a:pt x="527" y="153"/>
                </a:lnTo>
                <a:lnTo>
                  <a:pt x="527" y="152"/>
                </a:lnTo>
                <a:lnTo>
                  <a:pt x="527" y="151"/>
                </a:lnTo>
                <a:lnTo>
                  <a:pt x="527" y="149"/>
                </a:lnTo>
                <a:lnTo>
                  <a:pt x="527" y="149"/>
                </a:lnTo>
                <a:lnTo>
                  <a:pt x="531" y="148"/>
                </a:lnTo>
                <a:lnTo>
                  <a:pt x="532" y="147"/>
                </a:lnTo>
                <a:lnTo>
                  <a:pt x="531" y="146"/>
                </a:lnTo>
                <a:lnTo>
                  <a:pt x="531" y="144"/>
                </a:lnTo>
                <a:lnTo>
                  <a:pt x="528" y="141"/>
                </a:lnTo>
                <a:lnTo>
                  <a:pt x="527" y="140"/>
                </a:lnTo>
                <a:lnTo>
                  <a:pt x="527" y="138"/>
                </a:lnTo>
                <a:lnTo>
                  <a:pt x="528" y="136"/>
                </a:lnTo>
                <a:lnTo>
                  <a:pt x="526" y="132"/>
                </a:lnTo>
                <a:lnTo>
                  <a:pt x="518" y="130"/>
                </a:lnTo>
                <a:lnTo>
                  <a:pt x="512" y="126"/>
                </a:lnTo>
                <a:lnTo>
                  <a:pt x="511" y="124"/>
                </a:lnTo>
                <a:lnTo>
                  <a:pt x="511" y="123"/>
                </a:lnTo>
                <a:lnTo>
                  <a:pt x="510" y="121"/>
                </a:lnTo>
                <a:lnTo>
                  <a:pt x="508" y="120"/>
                </a:lnTo>
                <a:lnTo>
                  <a:pt x="510" y="119"/>
                </a:lnTo>
                <a:lnTo>
                  <a:pt x="506" y="117"/>
                </a:lnTo>
                <a:lnTo>
                  <a:pt x="507" y="116"/>
                </a:lnTo>
                <a:lnTo>
                  <a:pt x="506" y="113"/>
                </a:lnTo>
                <a:lnTo>
                  <a:pt x="504" y="112"/>
                </a:lnTo>
                <a:lnTo>
                  <a:pt x="504" y="112"/>
                </a:lnTo>
                <a:lnTo>
                  <a:pt x="503" y="112"/>
                </a:lnTo>
                <a:lnTo>
                  <a:pt x="503" y="111"/>
                </a:lnTo>
                <a:lnTo>
                  <a:pt x="502" y="109"/>
                </a:lnTo>
                <a:lnTo>
                  <a:pt x="502" y="109"/>
                </a:lnTo>
                <a:lnTo>
                  <a:pt x="500" y="108"/>
                </a:lnTo>
                <a:lnTo>
                  <a:pt x="498" y="107"/>
                </a:lnTo>
                <a:lnTo>
                  <a:pt x="498" y="106"/>
                </a:lnTo>
                <a:lnTo>
                  <a:pt x="501" y="104"/>
                </a:lnTo>
                <a:lnTo>
                  <a:pt x="501" y="104"/>
                </a:lnTo>
                <a:lnTo>
                  <a:pt x="498" y="101"/>
                </a:lnTo>
                <a:lnTo>
                  <a:pt x="498" y="100"/>
                </a:lnTo>
                <a:lnTo>
                  <a:pt x="496" y="98"/>
                </a:lnTo>
                <a:lnTo>
                  <a:pt x="492" y="96"/>
                </a:lnTo>
                <a:lnTo>
                  <a:pt x="491" y="93"/>
                </a:lnTo>
                <a:lnTo>
                  <a:pt x="485" y="91"/>
                </a:lnTo>
                <a:lnTo>
                  <a:pt x="483" y="90"/>
                </a:lnTo>
                <a:lnTo>
                  <a:pt x="478" y="89"/>
                </a:lnTo>
                <a:lnTo>
                  <a:pt x="478" y="87"/>
                </a:lnTo>
                <a:lnTo>
                  <a:pt x="478" y="87"/>
                </a:lnTo>
                <a:lnTo>
                  <a:pt x="481" y="87"/>
                </a:lnTo>
                <a:lnTo>
                  <a:pt x="481" y="86"/>
                </a:lnTo>
                <a:lnTo>
                  <a:pt x="482" y="84"/>
                </a:lnTo>
                <a:lnTo>
                  <a:pt x="481" y="83"/>
                </a:lnTo>
                <a:lnTo>
                  <a:pt x="481" y="83"/>
                </a:lnTo>
                <a:lnTo>
                  <a:pt x="481" y="81"/>
                </a:lnTo>
                <a:lnTo>
                  <a:pt x="481" y="79"/>
                </a:lnTo>
                <a:lnTo>
                  <a:pt x="481" y="78"/>
                </a:lnTo>
                <a:lnTo>
                  <a:pt x="481" y="76"/>
                </a:lnTo>
                <a:lnTo>
                  <a:pt x="478" y="74"/>
                </a:lnTo>
                <a:lnTo>
                  <a:pt x="477" y="73"/>
                </a:lnTo>
                <a:lnTo>
                  <a:pt x="476" y="71"/>
                </a:lnTo>
                <a:lnTo>
                  <a:pt x="475" y="71"/>
                </a:lnTo>
                <a:lnTo>
                  <a:pt x="475" y="70"/>
                </a:lnTo>
                <a:lnTo>
                  <a:pt x="475" y="70"/>
                </a:lnTo>
                <a:lnTo>
                  <a:pt x="465" y="69"/>
                </a:lnTo>
                <a:lnTo>
                  <a:pt x="462" y="68"/>
                </a:lnTo>
                <a:lnTo>
                  <a:pt x="454" y="68"/>
                </a:lnTo>
                <a:lnTo>
                  <a:pt x="450" y="68"/>
                </a:lnTo>
                <a:lnTo>
                  <a:pt x="444" y="68"/>
                </a:lnTo>
                <a:lnTo>
                  <a:pt x="442" y="68"/>
                </a:lnTo>
                <a:lnTo>
                  <a:pt x="443" y="67"/>
                </a:lnTo>
                <a:lnTo>
                  <a:pt x="437" y="68"/>
                </a:lnTo>
                <a:lnTo>
                  <a:pt x="436" y="68"/>
                </a:lnTo>
                <a:lnTo>
                  <a:pt x="437" y="69"/>
                </a:lnTo>
                <a:lnTo>
                  <a:pt x="436" y="70"/>
                </a:lnTo>
                <a:lnTo>
                  <a:pt x="436" y="71"/>
                </a:lnTo>
                <a:lnTo>
                  <a:pt x="435" y="72"/>
                </a:lnTo>
                <a:lnTo>
                  <a:pt x="436" y="76"/>
                </a:lnTo>
                <a:lnTo>
                  <a:pt x="436" y="78"/>
                </a:lnTo>
                <a:lnTo>
                  <a:pt x="436" y="78"/>
                </a:lnTo>
                <a:lnTo>
                  <a:pt x="437" y="82"/>
                </a:lnTo>
                <a:lnTo>
                  <a:pt x="437" y="84"/>
                </a:lnTo>
                <a:lnTo>
                  <a:pt x="435" y="87"/>
                </a:lnTo>
                <a:lnTo>
                  <a:pt x="433" y="89"/>
                </a:lnTo>
                <a:lnTo>
                  <a:pt x="430" y="91"/>
                </a:lnTo>
                <a:lnTo>
                  <a:pt x="425" y="92"/>
                </a:lnTo>
                <a:lnTo>
                  <a:pt x="425" y="94"/>
                </a:lnTo>
                <a:lnTo>
                  <a:pt x="425" y="96"/>
                </a:lnTo>
                <a:lnTo>
                  <a:pt x="426" y="96"/>
                </a:lnTo>
                <a:lnTo>
                  <a:pt x="427" y="93"/>
                </a:lnTo>
                <a:lnTo>
                  <a:pt x="429" y="94"/>
                </a:lnTo>
                <a:lnTo>
                  <a:pt x="430" y="96"/>
                </a:lnTo>
                <a:lnTo>
                  <a:pt x="430" y="96"/>
                </a:lnTo>
                <a:lnTo>
                  <a:pt x="426" y="98"/>
                </a:lnTo>
                <a:lnTo>
                  <a:pt x="426" y="99"/>
                </a:lnTo>
                <a:lnTo>
                  <a:pt x="429" y="100"/>
                </a:lnTo>
                <a:lnTo>
                  <a:pt x="431" y="100"/>
                </a:lnTo>
                <a:lnTo>
                  <a:pt x="432" y="99"/>
                </a:lnTo>
                <a:lnTo>
                  <a:pt x="435" y="99"/>
                </a:lnTo>
                <a:lnTo>
                  <a:pt x="437" y="100"/>
                </a:lnTo>
                <a:lnTo>
                  <a:pt x="436" y="101"/>
                </a:lnTo>
                <a:lnTo>
                  <a:pt x="440" y="106"/>
                </a:lnTo>
                <a:lnTo>
                  <a:pt x="438" y="107"/>
                </a:lnTo>
                <a:lnTo>
                  <a:pt x="440" y="109"/>
                </a:lnTo>
                <a:lnTo>
                  <a:pt x="442" y="110"/>
                </a:lnTo>
                <a:lnTo>
                  <a:pt x="442" y="111"/>
                </a:lnTo>
                <a:lnTo>
                  <a:pt x="440" y="111"/>
                </a:lnTo>
                <a:lnTo>
                  <a:pt x="437" y="110"/>
                </a:lnTo>
                <a:lnTo>
                  <a:pt x="438" y="112"/>
                </a:lnTo>
                <a:lnTo>
                  <a:pt x="441" y="117"/>
                </a:lnTo>
                <a:lnTo>
                  <a:pt x="443" y="118"/>
                </a:lnTo>
                <a:lnTo>
                  <a:pt x="442" y="117"/>
                </a:lnTo>
                <a:lnTo>
                  <a:pt x="445" y="117"/>
                </a:lnTo>
                <a:lnTo>
                  <a:pt x="451" y="118"/>
                </a:lnTo>
                <a:lnTo>
                  <a:pt x="454" y="119"/>
                </a:lnTo>
                <a:lnTo>
                  <a:pt x="455" y="119"/>
                </a:lnTo>
                <a:lnTo>
                  <a:pt x="456" y="119"/>
                </a:lnTo>
                <a:lnTo>
                  <a:pt x="457" y="121"/>
                </a:lnTo>
                <a:lnTo>
                  <a:pt x="461" y="123"/>
                </a:lnTo>
                <a:lnTo>
                  <a:pt x="463" y="124"/>
                </a:lnTo>
                <a:lnTo>
                  <a:pt x="465" y="127"/>
                </a:lnTo>
                <a:lnTo>
                  <a:pt x="470" y="128"/>
                </a:lnTo>
                <a:lnTo>
                  <a:pt x="472" y="128"/>
                </a:lnTo>
                <a:lnTo>
                  <a:pt x="473" y="128"/>
                </a:lnTo>
                <a:lnTo>
                  <a:pt x="474" y="129"/>
                </a:lnTo>
                <a:lnTo>
                  <a:pt x="473" y="130"/>
                </a:lnTo>
                <a:lnTo>
                  <a:pt x="473" y="133"/>
                </a:lnTo>
                <a:lnTo>
                  <a:pt x="472" y="136"/>
                </a:lnTo>
                <a:lnTo>
                  <a:pt x="473" y="138"/>
                </a:lnTo>
                <a:lnTo>
                  <a:pt x="470" y="139"/>
                </a:lnTo>
                <a:lnTo>
                  <a:pt x="468" y="138"/>
                </a:lnTo>
                <a:lnTo>
                  <a:pt x="467" y="137"/>
                </a:lnTo>
                <a:lnTo>
                  <a:pt x="465" y="134"/>
                </a:lnTo>
                <a:lnTo>
                  <a:pt x="461" y="133"/>
                </a:lnTo>
                <a:lnTo>
                  <a:pt x="451" y="129"/>
                </a:lnTo>
                <a:lnTo>
                  <a:pt x="447" y="129"/>
                </a:lnTo>
                <a:lnTo>
                  <a:pt x="444" y="128"/>
                </a:lnTo>
                <a:lnTo>
                  <a:pt x="437" y="126"/>
                </a:lnTo>
                <a:lnTo>
                  <a:pt x="431" y="126"/>
                </a:lnTo>
                <a:lnTo>
                  <a:pt x="431" y="124"/>
                </a:lnTo>
                <a:lnTo>
                  <a:pt x="433" y="124"/>
                </a:lnTo>
                <a:lnTo>
                  <a:pt x="432" y="123"/>
                </a:lnTo>
                <a:lnTo>
                  <a:pt x="427" y="123"/>
                </a:lnTo>
                <a:lnTo>
                  <a:pt x="422" y="122"/>
                </a:lnTo>
                <a:lnTo>
                  <a:pt x="419" y="121"/>
                </a:lnTo>
                <a:lnTo>
                  <a:pt x="410" y="118"/>
                </a:lnTo>
                <a:lnTo>
                  <a:pt x="406" y="118"/>
                </a:lnTo>
                <a:lnTo>
                  <a:pt x="399" y="117"/>
                </a:lnTo>
                <a:lnTo>
                  <a:pt x="397" y="117"/>
                </a:lnTo>
                <a:lnTo>
                  <a:pt x="392" y="116"/>
                </a:lnTo>
                <a:lnTo>
                  <a:pt x="390" y="116"/>
                </a:lnTo>
                <a:lnTo>
                  <a:pt x="379" y="114"/>
                </a:lnTo>
                <a:lnTo>
                  <a:pt x="376" y="114"/>
                </a:lnTo>
                <a:lnTo>
                  <a:pt x="373" y="113"/>
                </a:lnTo>
                <a:lnTo>
                  <a:pt x="370" y="113"/>
                </a:lnTo>
                <a:lnTo>
                  <a:pt x="369" y="113"/>
                </a:lnTo>
                <a:lnTo>
                  <a:pt x="370" y="114"/>
                </a:lnTo>
                <a:lnTo>
                  <a:pt x="369" y="116"/>
                </a:lnTo>
                <a:lnTo>
                  <a:pt x="365" y="117"/>
                </a:lnTo>
                <a:lnTo>
                  <a:pt x="366" y="118"/>
                </a:lnTo>
                <a:lnTo>
                  <a:pt x="369" y="120"/>
                </a:lnTo>
                <a:lnTo>
                  <a:pt x="372" y="121"/>
                </a:lnTo>
                <a:lnTo>
                  <a:pt x="375" y="124"/>
                </a:lnTo>
                <a:lnTo>
                  <a:pt x="375" y="124"/>
                </a:lnTo>
                <a:lnTo>
                  <a:pt x="376" y="124"/>
                </a:lnTo>
                <a:lnTo>
                  <a:pt x="377" y="128"/>
                </a:lnTo>
                <a:lnTo>
                  <a:pt x="376" y="129"/>
                </a:lnTo>
                <a:lnTo>
                  <a:pt x="374" y="131"/>
                </a:lnTo>
                <a:lnTo>
                  <a:pt x="367" y="131"/>
                </a:lnTo>
                <a:lnTo>
                  <a:pt x="369" y="132"/>
                </a:lnTo>
                <a:lnTo>
                  <a:pt x="370" y="133"/>
                </a:lnTo>
                <a:lnTo>
                  <a:pt x="371" y="134"/>
                </a:lnTo>
                <a:lnTo>
                  <a:pt x="369" y="136"/>
                </a:lnTo>
                <a:lnTo>
                  <a:pt x="366" y="137"/>
                </a:lnTo>
                <a:lnTo>
                  <a:pt x="363" y="136"/>
                </a:lnTo>
                <a:lnTo>
                  <a:pt x="361" y="134"/>
                </a:lnTo>
                <a:lnTo>
                  <a:pt x="360" y="133"/>
                </a:lnTo>
                <a:lnTo>
                  <a:pt x="360" y="132"/>
                </a:lnTo>
                <a:lnTo>
                  <a:pt x="361" y="131"/>
                </a:lnTo>
                <a:lnTo>
                  <a:pt x="362" y="130"/>
                </a:lnTo>
                <a:lnTo>
                  <a:pt x="355" y="128"/>
                </a:lnTo>
                <a:lnTo>
                  <a:pt x="355" y="127"/>
                </a:lnTo>
                <a:lnTo>
                  <a:pt x="353" y="127"/>
                </a:lnTo>
                <a:lnTo>
                  <a:pt x="346" y="128"/>
                </a:lnTo>
                <a:lnTo>
                  <a:pt x="344" y="130"/>
                </a:lnTo>
                <a:lnTo>
                  <a:pt x="342" y="130"/>
                </a:lnTo>
                <a:lnTo>
                  <a:pt x="339" y="133"/>
                </a:lnTo>
                <a:lnTo>
                  <a:pt x="336" y="133"/>
                </a:lnTo>
                <a:lnTo>
                  <a:pt x="334" y="132"/>
                </a:lnTo>
                <a:lnTo>
                  <a:pt x="331" y="132"/>
                </a:lnTo>
                <a:lnTo>
                  <a:pt x="328" y="133"/>
                </a:lnTo>
                <a:lnTo>
                  <a:pt x="323" y="132"/>
                </a:lnTo>
                <a:lnTo>
                  <a:pt x="319" y="133"/>
                </a:lnTo>
                <a:lnTo>
                  <a:pt x="316" y="133"/>
                </a:lnTo>
                <a:lnTo>
                  <a:pt x="313" y="136"/>
                </a:lnTo>
                <a:lnTo>
                  <a:pt x="312" y="137"/>
                </a:lnTo>
                <a:lnTo>
                  <a:pt x="313" y="139"/>
                </a:lnTo>
                <a:lnTo>
                  <a:pt x="313" y="139"/>
                </a:lnTo>
                <a:lnTo>
                  <a:pt x="311" y="139"/>
                </a:lnTo>
                <a:lnTo>
                  <a:pt x="309" y="139"/>
                </a:lnTo>
                <a:lnTo>
                  <a:pt x="306" y="138"/>
                </a:lnTo>
                <a:lnTo>
                  <a:pt x="305" y="138"/>
                </a:lnTo>
                <a:lnTo>
                  <a:pt x="304" y="139"/>
                </a:lnTo>
                <a:lnTo>
                  <a:pt x="301" y="137"/>
                </a:lnTo>
                <a:lnTo>
                  <a:pt x="300" y="134"/>
                </a:lnTo>
                <a:lnTo>
                  <a:pt x="299" y="133"/>
                </a:lnTo>
                <a:lnTo>
                  <a:pt x="299" y="132"/>
                </a:lnTo>
                <a:lnTo>
                  <a:pt x="299" y="131"/>
                </a:lnTo>
                <a:lnTo>
                  <a:pt x="299" y="130"/>
                </a:lnTo>
                <a:lnTo>
                  <a:pt x="296" y="129"/>
                </a:lnTo>
                <a:lnTo>
                  <a:pt x="295" y="128"/>
                </a:lnTo>
                <a:lnTo>
                  <a:pt x="295" y="129"/>
                </a:lnTo>
                <a:lnTo>
                  <a:pt x="295" y="129"/>
                </a:lnTo>
                <a:lnTo>
                  <a:pt x="294" y="128"/>
                </a:lnTo>
                <a:lnTo>
                  <a:pt x="296" y="128"/>
                </a:lnTo>
                <a:lnTo>
                  <a:pt x="301" y="128"/>
                </a:lnTo>
                <a:lnTo>
                  <a:pt x="303" y="127"/>
                </a:lnTo>
                <a:lnTo>
                  <a:pt x="304" y="127"/>
                </a:lnTo>
                <a:lnTo>
                  <a:pt x="302" y="127"/>
                </a:lnTo>
                <a:lnTo>
                  <a:pt x="299" y="127"/>
                </a:lnTo>
                <a:lnTo>
                  <a:pt x="298" y="127"/>
                </a:lnTo>
                <a:lnTo>
                  <a:pt x="294" y="127"/>
                </a:lnTo>
                <a:lnTo>
                  <a:pt x="290" y="128"/>
                </a:lnTo>
                <a:lnTo>
                  <a:pt x="291" y="129"/>
                </a:lnTo>
                <a:lnTo>
                  <a:pt x="290" y="129"/>
                </a:lnTo>
                <a:lnTo>
                  <a:pt x="289" y="130"/>
                </a:lnTo>
                <a:lnTo>
                  <a:pt x="290" y="131"/>
                </a:lnTo>
                <a:lnTo>
                  <a:pt x="291" y="132"/>
                </a:lnTo>
                <a:lnTo>
                  <a:pt x="289" y="132"/>
                </a:lnTo>
                <a:lnTo>
                  <a:pt x="286" y="132"/>
                </a:lnTo>
                <a:lnTo>
                  <a:pt x="285" y="131"/>
                </a:lnTo>
                <a:lnTo>
                  <a:pt x="286" y="130"/>
                </a:lnTo>
                <a:lnTo>
                  <a:pt x="284" y="130"/>
                </a:lnTo>
                <a:lnTo>
                  <a:pt x="281" y="133"/>
                </a:lnTo>
                <a:lnTo>
                  <a:pt x="283" y="132"/>
                </a:lnTo>
                <a:lnTo>
                  <a:pt x="283" y="133"/>
                </a:lnTo>
                <a:lnTo>
                  <a:pt x="284" y="134"/>
                </a:lnTo>
                <a:lnTo>
                  <a:pt x="284" y="136"/>
                </a:lnTo>
                <a:lnTo>
                  <a:pt x="283" y="137"/>
                </a:lnTo>
                <a:lnTo>
                  <a:pt x="282" y="137"/>
                </a:lnTo>
                <a:lnTo>
                  <a:pt x="280" y="136"/>
                </a:lnTo>
                <a:lnTo>
                  <a:pt x="278" y="133"/>
                </a:lnTo>
                <a:lnTo>
                  <a:pt x="272" y="134"/>
                </a:lnTo>
                <a:lnTo>
                  <a:pt x="273" y="136"/>
                </a:lnTo>
                <a:lnTo>
                  <a:pt x="267" y="137"/>
                </a:lnTo>
                <a:lnTo>
                  <a:pt x="265" y="137"/>
                </a:lnTo>
                <a:lnTo>
                  <a:pt x="264" y="137"/>
                </a:lnTo>
                <a:lnTo>
                  <a:pt x="259" y="140"/>
                </a:lnTo>
                <a:lnTo>
                  <a:pt x="245" y="144"/>
                </a:lnTo>
                <a:lnTo>
                  <a:pt x="243" y="144"/>
                </a:lnTo>
                <a:lnTo>
                  <a:pt x="244" y="147"/>
                </a:lnTo>
                <a:lnTo>
                  <a:pt x="245" y="147"/>
                </a:lnTo>
                <a:lnTo>
                  <a:pt x="243" y="148"/>
                </a:lnTo>
                <a:lnTo>
                  <a:pt x="239" y="148"/>
                </a:lnTo>
                <a:lnTo>
                  <a:pt x="238" y="149"/>
                </a:lnTo>
                <a:lnTo>
                  <a:pt x="235" y="148"/>
                </a:lnTo>
                <a:lnTo>
                  <a:pt x="235" y="150"/>
                </a:lnTo>
                <a:lnTo>
                  <a:pt x="234" y="153"/>
                </a:lnTo>
                <a:lnTo>
                  <a:pt x="234" y="154"/>
                </a:lnTo>
                <a:lnTo>
                  <a:pt x="237" y="158"/>
                </a:lnTo>
                <a:lnTo>
                  <a:pt x="235" y="159"/>
                </a:lnTo>
                <a:lnTo>
                  <a:pt x="232" y="160"/>
                </a:lnTo>
                <a:lnTo>
                  <a:pt x="230" y="160"/>
                </a:lnTo>
                <a:lnTo>
                  <a:pt x="225" y="160"/>
                </a:lnTo>
                <a:lnTo>
                  <a:pt x="225" y="163"/>
                </a:lnTo>
                <a:lnTo>
                  <a:pt x="223" y="161"/>
                </a:lnTo>
                <a:lnTo>
                  <a:pt x="222" y="160"/>
                </a:lnTo>
                <a:lnTo>
                  <a:pt x="220" y="160"/>
                </a:lnTo>
                <a:lnTo>
                  <a:pt x="218" y="160"/>
                </a:lnTo>
                <a:lnTo>
                  <a:pt x="215" y="160"/>
                </a:lnTo>
                <a:lnTo>
                  <a:pt x="212" y="158"/>
                </a:lnTo>
                <a:lnTo>
                  <a:pt x="211" y="156"/>
                </a:lnTo>
                <a:lnTo>
                  <a:pt x="205" y="153"/>
                </a:lnTo>
                <a:lnTo>
                  <a:pt x="202" y="152"/>
                </a:lnTo>
                <a:lnTo>
                  <a:pt x="201" y="151"/>
                </a:lnTo>
                <a:lnTo>
                  <a:pt x="200" y="149"/>
                </a:lnTo>
                <a:lnTo>
                  <a:pt x="202" y="149"/>
                </a:lnTo>
                <a:lnTo>
                  <a:pt x="203" y="148"/>
                </a:lnTo>
                <a:lnTo>
                  <a:pt x="204" y="147"/>
                </a:lnTo>
                <a:lnTo>
                  <a:pt x="207" y="146"/>
                </a:lnTo>
                <a:lnTo>
                  <a:pt x="219" y="144"/>
                </a:lnTo>
                <a:lnTo>
                  <a:pt x="215" y="143"/>
                </a:lnTo>
                <a:lnTo>
                  <a:pt x="214" y="141"/>
                </a:lnTo>
                <a:lnTo>
                  <a:pt x="213" y="139"/>
                </a:lnTo>
                <a:lnTo>
                  <a:pt x="211" y="140"/>
                </a:lnTo>
                <a:lnTo>
                  <a:pt x="209" y="138"/>
                </a:lnTo>
                <a:lnTo>
                  <a:pt x="207" y="137"/>
                </a:lnTo>
                <a:lnTo>
                  <a:pt x="207" y="136"/>
                </a:lnTo>
                <a:lnTo>
                  <a:pt x="203" y="134"/>
                </a:lnTo>
                <a:lnTo>
                  <a:pt x="198" y="133"/>
                </a:lnTo>
                <a:lnTo>
                  <a:pt x="192" y="133"/>
                </a:lnTo>
                <a:lnTo>
                  <a:pt x="188" y="133"/>
                </a:lnTo>
                <a:lnTo>
                  <a:pt x="186" y="133"/>
                </a:lnTo>
                <a:lnTo>
                  <a:pt x="183" y="133"/>
                </a:lnTo>
                <a:lnTo>
                  <a:pt x="173" y="131"/>
                </a:lnTo>
                <a:lnTo>
                  <a:pt x="174" y="132"/>
                </a:lnTo>
                <a:lnTo>
                  <a:pt x="186" y="137"/>
                </a:lnTo>
                <a:lnTo>
                  <a:pt x="187" y="140"/>
                </a:lnTo>
                <a:lnTo>
                  <a:pt x="188" y="142"/>
                </a:lnTo>
                <a:lnTo>
                  <a:pt x="188" y="144"/>
                </a:lnTo>
                <a:lnTo>
                  <a:pt x="189" y="146"/>
                </a:lnTo>
                <a:lnTo>
                  <a:pt x="188" y="151"/>
                </a:lnTo>
                <a:lnTo>
                  <a:pt x="188" y="152"/>
                </a:lnTo>
                <a:lnTo>
                  <a:pt x="189" y="154"/>
                </a:lnTo>
                <a:lnTo>
                  <a:pt x="190" y="154"/>
                </a:lnTo>
                <a:lnTo>
                  <a:pt x="193" y="154"/>
                </a:lnTo>
                <a:lnTo>
                  <a:pt x="195" y="156"/>
                </a:lnTo>
                <a:lnTo>
                  <a:pt x="198" y="158"/>
                </a:lnTo>
                <a:lnTo>
                  <a:pt x="199" y="159"/>
                </a:lnTo>
                <a:lnTo>
                  <a:pt x="198" y="161"/>
                </a:lnTo>
                <a:lnTo>
                  <a:pt x="199" y="162"/>
                </a:lnTo>
                <a:lnTo>
                  <a:pt x="199" y="164"/>
                </a:lnTo>
                <a:lnTo>
                  <a:pt x="198" y="166"/>
                </a:lnTo>
                <a:lnTo>
                  <a:pt x="198" y="169"/>
                </a:lnTo>
                <a:lnTo>
                  <a:pt x="199" y="171"/>
                </a:lnTo>
                <a:lnTo>
                  <a:pt x="200" y="175"/>
                </a:lnTo>
                <a:lnTo>
                  <a:pt x="198" y="173"/>
                </a:lnTo>
                <a:lnTo>
                  <a:pt x="197" y="172"/>
                </a:lnTo>
                <a:lnTo>
                  <a:pt x="194" y="171"/>
                </a:lnTo>
                <a:lnTo>
                  <a:pt x="192" y="171"/>
                </a:lnTo>
                <a:lnTo>
                  <a:pt x="190" y="172"/>
                </a:lnTo>
                <a:lnTo>
                  <a:pt x="191" y="170"/>
                </a:lnTo>
                <a:lnTo>
                  <a:pt x="191" y="169"/>
                </a:lnTo>
                <a:lnTo>
                  <a:pt x="187" y="168"/>
                </a:lnTo>
                <a:lnTo>
                  <a:pt x="184" y="167"/>
                </a:lnTo>
                <a:lnTo>
                  <a:pt x="179" y="167"/>
                </a:lnTo>
                <a:lnTo>
                  <a:pt x="174" y="164"/>
                </a:lnTo>
                <a:lnTo>
                  <a:pt x="172" y="166"/>
                </a:lnTo>
                <a:lnTo>
                  <a:pt x="172" y="167"/>
                </a:lnTo>
                <a:lnTo>
                  <a:pt x="170" y="169"/>
                </a:lnTo>
                <a:lnTo>
                  <a:pt x="168" y="171"/>
                </a:lnTo>
                <a:lnTo>
                  <a:pt x="167" y="172"/>
                </a:lnTo>
                <a:lnTo>
                  <a:pt x="161" y="173"/>
                </a:lnTo>
                <a:lnTo>
                  <a:pt x="159" y="173"/>
                </a:lnTo>
                <a:lnTo>
                  <a:pt x="157" y="174"/>
                </a:lnTo>
                <a:lnTo>
                  <a:pt x="156" y="177"/>
                </a:lnTo>
                <a:lnTo>
                  <a:pt x="154" y="178"/>
                </a:lnTo>
                <a:lnTo>
                  <a:pt x="152" y="179"/>
                </a:lnTo>
                <a:lnTo>
                  <a:pt x="149" y="179"/>
                </a:lnTo>
                <a:lnTo>
                  <a:pt x="150" y="181"/>
                </a:lnTo>
                <a:lnTo>
                  <a:pt x="151" y="183"/>
                </a:lnTo>
                <a:lnTo>
                  <a:pt x="154" y="187"/>
                </a:lnTo>
                <a:lnTo>
                  <a:pt x="158" y="189"/>
                </a:lnTo>
                <a:lnTo>
                  <a:pt x="160" y="190"/>
                </a:lnTo>
                <a:lnTo>
                  <a:pt x="164" y="194"/>
                </a:lnTo>
                <a:lnTo>
                  <a:pt x="166" y="195"/>
                </a:lnTo>
                <a:lnTo>
                  <a:pt x="168" y="197"/>
                </a:lnTo>
                <a:lnTo>
                  <a:pt x="168" y="198"/>
                </a:lnTo>
                <a:lnTo>
                  <a:pt x="163" y="197"/>
                </a:lnTo>
                <a:lnTo>
                  <a:pt x="162" y="197"/>
                </a:lnTo>
                <a:lnTo>
                  <a:pt x="156" y="195"/>
                </a:lnTo>
                <a:lnTo>
                  <a:pt x="156" y="195"/>
                </a:lnTo>
                <a:lnTo>
                  <a:pt x="156" y="197"/>
                </a:lnTo>
                <a:lnTo>
                  <a:pt x="152" y="195"/>
                </a:lnTo>
                <a:lnTo>
                  <a:pt x="148" y="194"/>
                </a:lnTo>
                <a:lnTo>
                  <a:pt x="143" y="193"/>
                </a:lnTo>
                <a:lnTo>
                  <a:pt x="140" y="193"/>
                </a:lnTo>
                <a:lnTo>
                  <a:pt x="138" y="192"/>
                </a:lnTo>
                <a:lnTo>
                  <a:pt x="134" y="194"/>
                </a:lnTo>
                <a:lnTo>
                  <a:pt x="133" y="195"/>
                </a:lnTo>
                <a:lnTo>
                  <a:pt x="132" y="193"/>
                </a:lnTo>
                <a:lnTo>
                  <a:pt x="136" y="192"/>
                </a:lnTo>
                <a:lnTo>
                  <a:pt x="132" y="191"/>
                </a:lnTo>
                <a:lnTo>
                  <a:pt x="129" y="191"/>
                </a:lnTo>
                <a:lnTo>
                  <a:pt x="127" y="189"/>
                </a:lnTo>
                <a:lnTo>
                  <a:pt x="123" y="188"/>
                </a:lnTo>
                <a:lnTo>
                  <a:pt x="119" y="187"/>
                </a:lnTo>
                <a:lnTo>
                  <a:pt x="116" y="187"/>
                </a:lnTo>
                <a:lnTo>
                  <a:pt x="116" y="189"/>
                </a:lnTo>
                <a:lnTo>
                  <a:pt x="114" y="190"/>
                </a:lnTo>
                <a:lnTo>
                  <a:pt x="112" y="191"/>
                </a:lnTo>
                <a:lnTo>
                  <a:pt x="113" y="192"/>
                </a:lnTo>
                <a:lnTo>
                  <a:pt x="116" y="194"/>
                </a:lnTo>
                <a:lnTo>
                  <a:pt x="118" y="194"/>
                </a:lnTo>
                <a:lnTo>
                  <a:pt x="121" y="198"/>
                </a:lnTo>
                <a:lnTo>
                  <a:pt x="124" y="200"/>
                </a:lnTo>
                <a:lnTo>
                  <a:pt x="131" y="198"/>
                </a:lnTo>
                <a:lnTo>
                  <a:pt x="133" y="200"/>
                </a:lnTo>
                <a:lnTo>
                  <a:pt x="137" y="205"/>
                </a:lnTo>
                <a:lnTo>
                  <a:pt x="138" y="207"/>
                </a:lnTo>
                <a:lnTo>
                  <a:pt x="134" y="205"/>
                </a:lnTo>
                <a:lnTo>
                  <a:pt x="131" y="208"/>
                </a:lnTo>
                <a:lnTo>
                  <a:pt x="130" y="209"/>
                </a:lnTo>
                <a:lnTo>
                  <a:pt x="131" y="209"/>
                </a:lnTo>
                <a:lnTo>
                  <a:pt x="128" y="208"/>
                </a:lnTo>
                <a:lnTo>
                  <a:pt x="124" y="208"/>
                </a:lnTo>
                <a:lnTo>
                  <a:pt x="118" y="205"/>
                </a:lnTo>
                <a:lnTo>
                  <a:pt x="113" y="204"/>
                </a:lnTo>
                <a:lnTo>
                  <a:pt x="112" y="203"/>
                </a:lnTo>
                <a:lnTo>
                  <a:pt x="110" y="202"/>
                </a:lnTo>
                <a:lnTo>
                  <a:pt x="108" y="201"/>
                </a:lnTo>
                <a:lnTo>
                  <a:pt x="107" y="200"/>
                </a:lnTo>
                <a:lnTo>
                  <a:pt x="103" y="200"/>
                </a:lnTo>
                <a:lnTo>
                  <a:pt x="103" y="200"/>
                </a:lnTo>
                <a:lnTo>
                  <a:pt x="100" y="200"/>
                </a:lnTo>
                <a:lnTo>
                  <a:pt x="96" y="199"/>
                </a:lnTo>
                <a:lnTo>
                  <a:pt x="95" y="197"/>
                </a:lnTo>
                <a:lnTo>
                  <a:pt x="91" y="198"/>
                </a:lnTo>
                <a:lnTo>
                  <a:pt x="92" y="197"/>
                </a:lnTo>
                <a:lnTo>
                  <a:pt x="93" y="195"/>
                </a:lnTo>
                <a:lnTo>
                  <a:pt x="92" y="193"/>
                </a:lnTo>
                <a:lnTo>
                  <a:pt x="92" y="191"/>
                </a:lnTo>
                <a:lnTo>
                  <a:pt x="90" y="190"/>
                </a:lnTo>
                <a:lnTo>
                  <a:pt x="89" y="188"/>
                </a:lnTo>
                <a:lnTo>
                  <a:pt x="85" y="183"/>
                </a:lnTo>
                <a:lnTo>
                  <a:pt x="85" y="182"/>
                </a:lnTo>
                <a:lnTo>
                  <a:pt x="88" y="182"/>
                </a:lnTo>
                <a:lnTo>
                  <a:pt x="88" y="180"/>
                </a:lnTo>
                <a:lnTo>
                  <a:pt x="88" y="177"/>
                </a:lnTo>
                <a:lnTo>
                  <a:pt x="87" y="175"/>
                </a:lnTo>
                <a:lnTo>
                  <a:pt x="85" y="174"/>
                </a:lnTo>
                <a:lnTo>
                  <a:pt x="82" y="172"/>
                </a:lnTo>
                <a:lnTo>
                  <a:pt x="81" y="171"/>
                </a:lnTo>
                <a:lnTo>
                  <a:pt x="78" y="171"/>
                </a:lnTo>
                <a:lnTo>
                  <a:pt x="77" y="169"/>
                </a:lnTo>
                <a:lnTo>
                  <a:pt x="73" y="169"/>
                </a:lnTo>
                <a:lnTo>
                  <a:pt x="70" y="169"/>
                </a:lnTo>
                <a:lnTo>
                  <a:pt x="70" y="168"/>
                </a:lnTo>
                <a:lnTo>
                  <a:pt x="70" y="167"/>
                </a:lnTo>
                <a:lnTo>
                  <a:pt x="69" y="167"/>
                </a:lnTo>
                <a:lnTo>
                  <a:pt x="66" y="166"/>
                </a:lnTo>
                <a:lnTo>
                  <a:pt x="57" y="162"/>
                </a:lnTo>
                <a:lnTo>
                  <a:pt x="59" y="162"/>
                </a:lnTo>
                <a:lnTo>
                  <a:pt x="55" y="160"/>
                </a:lnTo>
                <a:lnTo>
                  <a:pt x="53" y="158"/>
                </a:lnTo>
                <a:lnTo>
                  <a:pt x="51" y="157"/>
                </a:lnTo>
                <a:lnTo>
                  <a:pt x="48" y="157"/>
                </a:lnTo>
                <a:lnTo>
                  <a:pt x="49" y="156"/>
                </a:lnTo>
                <a:lnTo>
                  <a:pt x="53" y="156"/>
                </a:lnTo>
                <a:lnTo>
                  <a:pt x="58" y="157"/>
                </a:lnTo>
                <a:lnTo>
                  <a:pt x="59" y="158"/>
                </a:lnTo>
                <a:lnTo>
                  <a:pt x="61" y="159"/>
                </a:lnTo>
                <a:lnTo>
                  <a:pt x="68" y="161"/>
                </a:lnTo>
                <a:lnTo>
                  <a:pt x="69" y="161"/>
                </a:lnTo>
                <a:lnTo>
                  <a:pt x="69" y="160"/>
                </a:lnTo>
                <a:lnTo>
                  <a:pt x="71" y="162"/>
                </a:lnTo>
                <a:lnTo>
                  <a:pt x="73" y="162"/>
                </a:lnTo>
                <a:lnTo>
                  <a:pt x="75" y="162"/>
                </a:lnTo>
                <a:lnTo>
                  <a:pt x="76" y="162"/>
                </a:lnTo>
                <a:lnTo>
                  <a:pt x="77" y="161"/>
                </a:lnTo>
                <a:lnTo>
                  <a:pt x="78" y="162"/>
                </a:lnTo>
                <a:lnTo>
                  <a:pt x="79" y="163"/>
                </a:lnTo>
                <a:lnTo>
                  <a:pt x="80" y="164"/>
                </a:lnTo>
                <a:lnTo>
                  <a:pt x="83" y="163"/>
                </a:lnTo>
                <a:lnTo>
                  <a:pt x="88" y="164"/>
                </a:lnTo>
                <a:lnTo>
                  <a:pt x="89" y="166"/>
                </a:lnTo>
                <a:lnTo>
                  <a:pt x="92" y="166"/>
                </a:lnTo>
                <a:lnTo>
                  <a:pt x="93" y="167"/>
                </a:lnTo>
                <a:lnTo>
                  <a:pt x="101" y="168"/>
                </a:lnTo>
                <a:lnTo>
                  <a:pt x="105" y="169"/>
                </a:lnTo>
                <a:lnTo>
                  <a:pt x="111" y="169"/>
                </a:lnTo>
                <a:lnTo>
                  <a:pt x="117" y="170"/>
                </a:lnTo>
                <a:lnTo>
                  <a:pt x="119" y="171"/>
                </a:lnTo>
                <a:lnTo>
                  <a:pt x="123" y="171"/>
                </a:lnTo>
                <a:lnTo>
                  <a:pt x="134" y="172"/>
                </a:lnTo>
                <a:lnTo>
                  <a:pt x="137" y="171"/>
                </a:lnTo>
                <a:lnTo>
                  <a:pt x="140" y="171"/>
                </a:lnTo>
                <a:lnTo>
                  <a:pt x="149" y="169"/>
                </a:lnTo>
                <a:lnTo>
                  <a:pt x="150" y="168"/>
                </a:lnTo>
                <a:lnTo>
                  <a:pt x="152" y="167"/>
                </a:lnTo>
                <a:lnTo>
                  <a:pt x="156" y="164"/>
                </a:lnTo>
                <a:lnTo>
                  <a:pt x="159" y="160"/>
                </a:lnTo>
                <a:lnTo>
                  <a:pt x="160" y="158"/>
                </a:lnTo>
                <a:lnTo>
                  <a:pt x="159" y="156"/>
                </a:lnTo>
                <a:lnTo>
                  <a:pt x="157" y="154"/>
                </a:lnTo>
                <a:lnTo>
                  <a:pt x="157" y="154"/>
                </a:lnTo>
                <a:lnTo>
                  <a:pt x="156" y="151"/>
                </a:lnTo>
                <a:lnTo>
                  <a:pt x="153" y="150"/>
                </a:lnTo>
                <a:lnTo>
                  <a:pt x="152" y="148"/>
                </a:lnTo>
                <a:lnTo>
                  <a:pt x="150" y="146"/>
                </a:lnTo>
                <a:lnTo>
                  <a:pt x="147" y="146"/>
                </a:lnTo>
                <a:lnTo>
                  <a:pt x="146" y="146"/>
                </a:lnTo>
                <a:lnTo>
                  <a:pt x="144" y="144"/>
                </a:lnTo>
                <a:lnTo>
                  <a:pt x="143" y="144"/>
                </a:lnTo>
                <a:lnTo>
                  <a:pt x="142" y="143"/>
                </a:lnTo>
                <a:lnTo>
                  <a:pt x="139" y="142"/>
                </a:lnTo>
                <a:lnTo>
                  <a:pt x="138" y="141"/>
                </a:lnTo>
                <a:lnTo>
                  <a:pt x="137" y="140"/>
                </a:lnTo>
                <a:lnTo>
                  <a:pt x="136" y="140"/>
                </a:lnTo>
                <a:lnTo>
                  <a:pt x="137" y="141"/>
                </a:lnTo>
                <a:lnTo>
                  <a:pt x="134" y="141"/>
                </a:lnTo>
                <a:lnTo>
                  <a:pt x="130" y="140"/>
                </a:lnTo>
                <a:lnTo>
                  <a:pt x="128" y="139"/>
                </a:lnTo>
                <a:lnTo>
                  <a:pt x="127" y="140"/>
                </a:lnTo>
                <a:lnTo>
                  <a:pt x="127" y="139"/>
                </a:lnTo>
                <a:lnTo>
                  <a:pt x="124" y="138"/>
                </a:lnTo>
                <a:lnTo>
                  <a:pt x="122" y="137"/>
                </a:lnTo>
                <a:lnTo>
                  <a:pt x="124" y="138"/>
                </a:lnTo>
                <a:lnTo>
                  <a:pt x="119" y="138"/>
                </a:lnTo>
                <a:lnTo>
                  <a:pt x="117" y="137"/>
                </a:lnTo>
                <a:lnTo>
                  <a:pt x="117" y="136"/>
                </a:lnTo>
                <a:lnTo>
                  <a:pt x="114" y="134"/>
                </a:lnTo>
                <a:lnTo>
                  <a:pt x="107" y="131"/>
                </a:lnTo>
                <a:lnTo>
                  <a:pt x="103" y="130"/>
                </a:lnTo>
                <a:lnTo>
                  <a:pt x="101" y="129"/>
                </a:lnTo>
                <a:lnTo>
                  <a:pt x="96" y="127"/>
                </a:lnTo>
                <a:lnTo>
                  <a:pt x="93" y="126"/>
                </a:lnTo>
                <a:lnTo>
                  <a:pt x="86" y="124"/>
                </a:lnTo>
                <a:lnTo>
                  <a:pt x="83" y="123"/>
                </a:lnTo>
                <a:lnTo>
                  <a:pt x="77" y="123"/>
                </a:lnTo>
                <a:lnTo>
                  <a:pt x="77" y="123"/>
                </a:lnTo>
                <a:lnTo>
                  <a:pt x="77" y="124"/>
                </a:lnTo>
                <a:lnTo>
                  <a:pt x="76" y="124"/>
                </a:lnTo>
                <a:lnTo>
                  <a:pt x="71" y="123"/>
                </a:lnTo>
                <a:lnTo>
                  <a:pt x="63" y="122"/>
                </a:lnTo>
                <a:lnTo>
                  <a:pt x="60" y="121"/>
                </a:lnTo>
                <a:lnTo>
                  <a:pt x="60" y="122"/>
                </a:lnTo>
                <a:lnTo>
                  <a:pt x="57" y="122"/>
                </a:lnTo>
                <a:lnTo>
                  <a:pt x="55" y="123"/>
                </a:lnTo>
                <a:lnTo>
                  <a:pt x="53" y="122"/>
                </a:lnTo>
                <a:lnTo>
                  <a:pt x="52" y="122"/>
                </a:lnTo>
                <a:lnTo>
                  <a:pt x="53" y="120"/>
                </a:lnTo>
                <a:lnTo>
                  <a:pt x="52" y="120"/>
                </a:lnTo>
                <a:lnTo>
                  <a:pt x="49" y="122"/>
                </a:lnTo>
                <a:lnTo>
                  <a:pt x="49" y="120"/>
                </a:lnTo>
                <a:lnTo>
                  <a:pt x="47" y="120"/>
                </a:lnTo>
                <a:lnTo>
                  <a:pt x="47" y="119"/>
                </a:lnTo>
                <a:lnTo>
                  <a:pt x="47" y="119"/>
                </a:lnTo>
                <a:lnTo>
                  <a:pt x="45" y="119"/>
                </a:lnTo>
                <a:lnTo>
                  <a:pt x="42" y="120"/>
                </a:lnTo>
                <a:lnTo>
                  <a:pt x="42" y="119"/>
                </a:lnTo>
                <a:lnTo>
                  <a:pt x="42" y="119"/>
                </a:lnTo>
                <a:lnTo>
                  <a:pt x="41" y="118"/>
                </a:lnTo>
                <a:lnTo>
                  <a:pt x="38" y="118"/>
                </a:lnTo>
                <a:lnTo>
                  <a:pt x="38" y="116"/>
                </a:lnTo>
                <a:lnTo>
                  <a:pt x="39" y="117"/>
                </a:lnTo>
                <a:lnTo>
                  <a:pt x="41" y="117"/>
                </a:lnTo>
                <a:lnTo>
                  <a:pt x="42" y="117"/>
                </a:lnTo>
                <a:lnTo>
                  <a:pt x="43" y="118"/>
                </a:lnTo>
                <a:lnTo>
                  <a:pt x="46" y="118"/>
                </a:lnTo>
                <a:lnTo>
                  <a:pt x="48" y="118"/>
                </a:lnTo>
                <a:lnTo>
                  <a:pt x="49" y="116"/>
                </a:lnTo>
                <a:lnTo>
                  <a:pt x="49" y="116"/>
                </a:lnTo>
                <a:lnTo>
                  <a:pt x="45" y="114"/>
                </a:lnTo>
                <a:lnTo>
                  <a:pt x="43" y="114"/>
                </a:lnTo>
                <a:lnTo>
                  <a:pt x="41" y="114"/>
                </a:lnTo>
                <a:lnTo>
                  <a:pt x="41" y="113"/>
                </a:lnTo>
                <a:lnTo>
                  <a:pt x="38" y="112"/>
                </a:lnTo>
                <a:lnTo>
                  <a:pt x="35" y="112"/>
                </a:lnTo>
                <a:lnTo>
                  <a:pt x="36" y="113"/>
                </a:lnTo>
                <a:lnTo>
                  <a:pt x="36" y="114"/>
                </a:lnTo>
                <a:lnTo>
                  <a:pt x="35" y="114"/>
                </a:lnTo>
                <a:lnTo>
                  <a:pt x="33" y="114"/>
                </a:lnTo>
                <a:lnTo>
                  <a:pt x="33" y="114"/>
                </a:lnTo>
                <a:lnTo>
                  <a:pt x="33" y="116"/>
                </a:lnTo>
                <a:lnTo>
                  <a:pt x="33" y="117"/>
                </a:lnTo>
                <a:lnTo>
                  <a:pt x="31" y="117"/>
                </a:lnTo>
                <a:lnTo>
                  <a:pt x="28" y="116"/>
                </a:lnTo>
                <a:lnTo>
                  <a:pt x="24" y="114"/>
                </a:lnTo>
                <a:lnTo>
                  <a:pt x="24" y="114"/>
                </a:lnTo>
                <a:lnTo>
                  <a:pt x="24" y="114"/>
                </a:lnTo>
                <a:lnTo>
                  <a:pt x="25" y="116"/>
                </a:lnTo>
                <a:lnTo>
                  <a:pt x="25" y="116"/>
                </a:lnTo>
                <a:lnTo>
                  <a:pt x="24" y="118"/>
                </a:lnTo>
                <a:lnTo>
                  <a:pt x="24" y="118"/>
                </a:lnTo>
                <a:lnTo>
                  <a:pt x="21" y="118"/>
                </a:lnTo>
                <a:lnTo>
                  <a:pt x="16" y="117"/>
                </a:lnTo>
                <a:lnTo>
                  <a:pt x="16" y="120"/>
                </a:lnTo>
                <a:lnTo>
                  <a:pt x="15" y="120"/>
                </a:lnTo>
                <a:lnTo>
                  <a:pt x="8" y="122"/>
                </a:lnTo>
                <a:lnTo>
                  <a:pt x="8" y="123"/>
                </a:lnTo>
                <a:lnTo>
                  <a:pt x="8" y="124"/>
                </a:lnTo>
                <a:lnTo>
                  <a:pt x="8" y="124"/>
                </a:lnTo>
                <a:lnTo>
                  <a:pt x="6" y="126"/>
                </a:lnTo>
                <a:lnTo>
                  <a:pt x="6" y="126"/>
                </a:lnTo>
                <a:lnTo>
                  <a:pt x="6" y="126"/>
                </a:lnTo>
                <a:lnTo>
                  <a:pt x="0" y="128"/>
                </a:lnTo>
                <a:lnTo>
                  <a:pt x="1" y="129"/>
                </a:lnTo>
                <a:lnTo>
                  <a:pt x="2" y="129"/>
                </a:lnTo>
                <a:lnTo>
                  <a:pt x="0" y="132"/>
                </a:lnTo>
                <a:lnTo>
                  <a:pt x="0" y="133"/>
                </a:lnTo>
                <a:lnTo>
                  <a:pt x="1" y="136"/>
                </a:lnTo>
                <a:lnTo>
                  <a:pt x="4" y="138"/>
                </a:lnTo>
                <a:lnTo>
                  <a:pt x="5" y="139"/>
                </a:lnTo>
                <a:lnTo>
                  <a:pt x="7" y="139"/>
                </a:lnTo>
                <a:lnTo>
                  <a:pt x="10" y="139"/>
                </a:lnTo>
                <a:lnTo>
                  <a:pt x="14" y="140"/>
                </a:lnTo>
                <a:lnTo>
                  <a:pt x="18" y="144"/>
                </a:lnTo>
                <a:lnTo>
                  <a:pt x="21" y="146"/>
                </a:lnTo>
                <a:lnTo>
                  <a:pt x="22" y="148"/>
                </a:lnTo>
                <a:lnTo>
                  <a:pt x="19" y="152"/>
                </a:lnTo>
                <a:lnTo>
                  <a:pt x="17" y="157"/>
                </a:lnTo>
                <a:lnTo>
                  <a:pt x="16" y="159"/>
                </a:lnTo>
                <a:lnTo>
                  <a:pt x="16" y="161"/>
                </a:lnTo>
                <a:lnTo>
                  <a:pt x="19" y="163"/>
                </a:lnTo>
                <a:lnTo>
                  <a:pt x="21" y="164"/>
                </a:lnTo>
                <a:lnTo>
                  <a:pt x="22" y="167"/>
                </a:lnTo>
                <a:lnTo>
                  <a:pt x="26" y="170"/>
                </a:lnTo>
                <a:lnTo>
                  <a:pt x="29" y="174"/>
                </a:lnTo>
                <a:lnTo>
                  <a:pt x="30" y="177"/>
                </a:lnTo>
                <a:lnTo>
                  <a:pt x="31" y="178"/>
                </a:lnTo>
                <a:lnTo>
                  <a:pt x="29" y="180"/>
                </a:lnTo>
                <a:lnTo>
                  <a:pt x="29" y="182"/>
                </a:lnTo>
                <a:lnTo>
                  <a:pt x="28" y="184"/>
                </a:lnTo>
                <a:lnTo>
                  <a:pt x="29" y="185"/>
                </a:lnTo>
                <a:lnTo>
                  <a:pt x="30" y="188"/>
                </a:lnTo>
                <a:lnTo>
                  <a:pt x="29" y="189"/>
                </a:lnTo>
                <a:lnTo>
                  <a:pt x="30" y="191"/>
                </a:lnTo>
                <a:lnTo>
                  <a:pt x="33" y="192"/>
                </a:lnTo>
                <a:lnTo>
                  <a:pt x="36" y="194"/>
                </a:lnTo>
                <a:lnTo>
                  <a:pt x="36" y="197"/>
                </a:lnTo>
                <a:lnTo>
                  <a:pt x="38" y="199"/>
                </a:lnTo>
                <a:lnTo>
                  <a:pt x="42" y="201"/>
                </a:lnTo>
                <a:lnTo>
                  <a:pt x="43" y="203"/>
                </a:lnTo>
                <a:lnTo>
                  <a:pt x="42" y="205"/>
                </a:lnTo>
                <a:lnTo>
                  <a:pt x="40" y="208"/>
                </a:lnTo>
                <a:lnTo>
                  <a:pt x="40" y="210"/>
                </a:lnTo>
                <a:lnTo>
                  <a:pt x="42" y="212"/>
                </a:lnTo>
                <a:lnTo>
                  <a:pt x="45" y="213"/>
                </a:lnTo>
                <a:lnTo>
                  <a:pt x="51" y="217"/>
                </a:lnTo>
                <a:lnTo>
                  <a:pt x="53" y="219"/>
                </a:lnTo>
                <a:lnTo>
                  <a:pt x="56" y="221"/>
                </a:lnTo>
                <a:lnTo>
                  <a:pt x="57" y="221"/>
                </a:lnTo>
                <a:lnTo>
                  <a:pt x="58" y="225"/>
                </a:lnTo>
                <a:lnTo>
                  <a:pt x="56" y="231"/>
                </a:lnTo>
                <a:lnTo>
                  <a:pt x="53" y="233"/>
                </a:lnTo>
                <a:lnTo>
                  <a:pt x="43" y="243"/>
                </a:lnTo>
                <a:lnTo>
                  <a:pt x="36" y="250"/>
                </a:lnTo>
                <a:lnTo>
                  <a:pt x="26" y="257"/>
                </a:lnTo>
                <a:lnTo>
                  <a:pt x="18" y="261"/>
                </a:lnTo>
                <a:lnTo>
                  <a:pt x="18" y="261"/>
                </a:lnTo>
                <a:lnTo>
                  <a:pt x="25" y="261"/>
                </a:lnTo>
                <a:lnTo>
                  <a:pt x="27" y="260"/>
                </a:lnTo>
                <a:lnTo>
                  <a:pt x="30" y="258"/>
                </a:lnTo>
                <a:lnTo>
                  <a:pt x="31" y="259"/>
                </a:lnTo>
                <a:lnTo>
                  <a:pt x="30" y="260"/>
                </a:lnTo>
                <a:lnTo>
                  <a:pt x="31" y="262"/>
                </a:lnTo>
                <a:lnTo>
                  <a:pt x="30" y="261"/>
                </a:lnTo>
                <a:lnTo>
                  <a:pt x="29" y="261"/>
                </a:lnTo>
                <a:lnTo>
                  <a:pt x="29" y="263"/>
                </a:lnTo>
                <a:lnTo>
                  <a:pt x="30" y="264"/>
                </a:lnTo>
                <a:lnTo>
                  <a:pt x="32" y="264"/>
                </a:lnTo>
                <a:lnTo>
                  <a:pt x="33" y="265"/>
                </a:lnTo>
                <a:lnTo>
                  <a:pt x="38" y="268"/>
                </a:lnTo>
                <a:lnTo>
                  <a:pt x="40" y="268"/>
                </a:lnTo>
                <a:lnTo>
                  <a:pt x="45" y="267"/>
                </a:lnTo>
                <a:lnTo>
                  <a:pt x="47" y="268"/>
                </a:lnTo>
                <a:lnTo>
                  <a:pt x="50" y="269"/>
                </a:lnTo>
                <a:lnTo>
                  <a:pt x="50" y="270"/>
                </a:lnTo>
                <a:lnTo>
                  <a:pt x="51" y="270"/>
                </a:lnTo>
                <a:lnTo>
                  <a:pt x="53" y="271"/>
                </a:lnTo>
                <a:lnTo>
                  <a:pt x="53" y="271"/>
                </a:lnTo>
                <a:lnTo>
                  <a:pt x="52" y="272"/>
                </a:lnTo>
                <a:lnTo>
                  <a:pt x="50" y="272"/>
                </a:lnTo>
                <a:lnTo>
                  <a:pt x="43" y="271"/>
                </a:lnTo>
                <a:lnTo>
                  <a:pt x="39" y="271"/>
                </a:lnTo>
                <a:lnTo>
                  <a:pt x="38" y="271"/>
                </a:lnTo>
                <a:lnTo>
                  <a:pt x="38" y="272"/>
                </a:lnTo>
                <a:lnTo>
                  <a:pt x="35" y="274"/>
                </a:lnTo>
                <a:lnTo>
                  <a:pt x="32" y="273"/>
                </a:lnTo>
                <a:lnTo>
                  <a:pt x="31" y="273"/>
                </a:lnTo>
                <a:lnTo>
                  <a:pt x="31" y="275"/>
                </a:lnTo>
                <a:lnTo>
                  <a:pt x="29" y="275"/>
                </a:lnTo>
                <a:lnTo>
                  <a:pt x="28" y="274"/>
                </a:lnTo>
                <a:lnTo>
                  <a:pt x="26" y="274"/>
                </a:lnTo>
                <a:lnTo>
                  <a:pt x="26" y="275"/>
                </a:lnTo>
                <a:lnTo>
                  <a:pt x="27" y="278"/>
                </a:lnTo>
                <a:lnTo>
                  <a:pt x="28" y="278"/>
                </a:lnTo>
                <a:lnTo>
                  <a:pt x="30" y="279"/>
                </a:lnTo>
                <a:lnTo>
                  <a:pt x="30" y="280"/>
                </a:lnTo>
                <a:lnTo>
                  <a:pt x="30" y="281"/>
                </a:lnTo>
                <a:lnTo>
                  <a:pt x="28" y="283"/>
                </a:lnTo>
                <a:lnTo>
                  <a:pt x="27" y="285"/>
                </a:lnTo>
                <a:lnTo>
                  <a:pt x="26" y="288"/>
                </a:lnTo>
                <a:lnTo>
                  <a:pt x="27" y="290"/>
                </a:lnTo>
                <a:lnTo>
                  <a:pt x="27" y="293"/>
                </a:lnTo>
                <a:lnTo>
                  <a:pt x="27" y="293"/>
                </a:lnTo>
                <a:lnTo>
                  <a:pt x="28" y="294"/>
                </a:lnTo>
                <a:lnTo>
                  <a:pt x="28" y="295"/>
                </a:lnTo>
                <a:lnTo>
                  <a:pt x="28" y="296"/>
                </a:lnTo>
                <a:lnTo>
                  <a:pt x="26" y="298"/>
                </a:lnTo>
                <a:lnTo>
                  <a:pt x="25" y="299"/>
                </a:lnTo>
                <a:lnTo>
                  <a:pt x="25" y="300"/>
                </a:lnTo>
                <a:lnTo>
                  <a:pt x="26" y="301"/>
                </a:lnTo>
                <a:lnTo>
                  <a:pt x="28" y="301"/>
                </a:lnTo>
                <a:lnTo>
                  <a:pt x="31" y="301"/>
                </a:lnTo>
                <a:lnTo>
                  <a:pt x="33" y="304"/>
                </a:lnTo>
                <a:lnTo>
                  <a:pt x="33" y="306"/>
                </a:lnTo>
                <a:lnTo>
                  <a:pt x="31" y="306"/>
                </a:lnTo>
                <a:lnTo>
                  <a:pt x="29" y="304"/>
                </a:lnTo>
                <a:lnTo>
                  <a:pt x="27" y="303"/>
                </a:lnTo>
                <a:lnTo>
                  <a:pt x="28" y="305"/>
                </a:lnTo>
                <a:lnTo>
                  <a:pt x="27" y="306"/>
                </a:lnTo>
                <a:lnTo>
                  <a:pt x="26" y="310"/>
                </a:lnTo>
                <a:lnTo>
                  <a:pt x="27" y="311"/>
                </a:lnTo>
                <a:lnTo>
                  <a:pt x="28" y="312"/>
                </a:lnTo>
                <a:lnTo>
                  <a:pt x="29" y="313"/>
                </a:lnTo>
                <a:lnTo>
                  <a:pt x="30" y="313"/>
                </a:lnTo>
                <a:lnTo>
                  <a:pt x="32" y="314"/>
                </a:lnTo>
                <a:lnTo>
                  <a:pt x="32" y="316"/>
                </a:lnTo>
                <a:lnTo>
                  <a:pt x="32" y="320"/>
                </a:lnTo>
                <a:lnTo>
                  <a:pt x="31" y="321"/>
                </a:lnTo>
                <a:lnTo>
                  <a:pt x="33" y="322"/>
                </a:lnTo>
                <a:lnTo>
                  <a:pt x="36" y="323"/>
                </a:lnTo>
                <a:lnTo>
                  <a:pt x="36" y="324"/>
                </a:lnTo>
                <a:lnTo>
                  <a:pt x="39" y="328"/>
                </a:lnTo>
                <a:lnTo>
                  <a:pt x="40" y="329"/>
                </a:lnTo>
                <a:lnTo>
                  <a:pt x="41" y="330"/>
                </a:lnTo>
                <a:lnTo>
                  <a:pt x="42" y="333"/>
                </a:lnTo>
                <a:lnTo>
                  <a:pt x="42" y="334"/>
                </a:lnTo>
                <a:lnTo>
                  <a:pt x="42" y="335"/>
                </a:lnTo>
                <a:lnTo>
                  <a:pt x="47" y="335"/>
                </a:lnTo>
                <a:lnTo>
                  <a:pt x="48" y="335"/>
                </a:lnTo>
                <a:lnTo>
                  <a:pt x="50" y="338"/>
                </a:lnTo>
                <a:lnTo>
                  <a:pt x="53" y="336"/>
                </a:lnTo>
                <a:lnTo>
                  <a:pt x="56" y="336"/>
                </a:lnTo>
                <a:lnTo>
                  <a:pt x="59" y="339"/>
                </a:lnTo>
                <a:lnTo>
                  <a:pt x="59" y="342"/>
                </a:lnTo>
                <a:lnTo>
                  <a:pt x="62" y="341"/>
                </a:lnTo>
                <a:lnTo>
                  <a:pt x="63" y="341"/>
                </a:lnTo>
                <a:lnTo>
                  <a:pt x="66" y="340"/>
                </a:lnTo>
                <a:lnTo>
                  <a:pt x="69" y="340"/>
                </a:lnTo>
                <a:lnTo>
                  <a:pt x="71" y="340"/>
                </a:lnTo>
                <a:lnTo>
                  <a:pt x="72" y="340"/>
                </a:lnTo>
                <a:lnTo>
                  <a:pt x="75" y="341"/>
                </a:lnTo>
                <a:lnTo>
                  <a:pt x="77" y="343"/>
                </a:lnTo>
                <a:lnTo>
                  <a:pt x="79" y="344"/>
                </a:lnTo>
                <a:lnTo>
                  <a:pt x="80" y="345"/>
                </a:lnTo>
                <a:lnTo>
                  <a:pt x="79" y="348"/>
                </a:lnTo>
                <a:lnTo>
                  <a:pt x="80" y="349"/>
                </a:lnTo>
                <a:lnTo>
                  <a:pt x="81" y="350"/>
                </a:lnTo>
                <a:lnTo>
                  <a:pt x="82" y="351"/>
                </a:lnTo>
                <a:lnTo>
                  <a:pt x="82" y="352"/>
                </a:lnTo>
                <a:lnTo>
                  <a:pt x="82" y="354"/>
                </a:lnTo>
                <a:lnTo>
                  <a:pt x="80" y="355"/>
                </a:lnTo>
                <a:lnTo>
                  <a:pt x="80" y="356"/>
                </a:lnTo>
                <a:lnTo>
                  <a:pt x="81" y="358"/>
                </a:lnTo>
                <a:lnTo>
                  <a:pt x="85" y="360"/>
                </a:lnTo>
                <a:lnTo>
                  <a:pt x="86" y="363"/>
                </a:lnTo>
                <a:lnTo>
                  <a:pt x="90" y="366"/>
                </a:lnTo>
                <a:lnTo>
                  <a:pt x="91" y="368"/>
                </a:lnTo>
                <a:lnTo>
                  <a:pt x="95" y="370"/>
                </a:lnTo>
                <a:lnTo>
                  <a:pt x="97" y="371"/>
                </a:lnTo>
                <a:lnTo>
                  <a:pt x="97" y="372"/>
                </a:lnTo>
                <a:lnTo>
                  <a:pt x="97" y="373"/>
                </a:lnTo>
                <a:lnTo>
                  <a:pt x="98" y="375"/>
                </a:lnTo>
                <a:lnTo>
                  <a:pt x="103" y="374"/>
                </a:lnTo>
                <a:lnTo>
                  <a:pt x="106" y="375"/>
                </a:lnTo>
                <a:lnTo>
                  <a:pt x="108" y="375"/>
                </a:lnTo>
                <a:lnTo>
                  <a:pt x="107" y="377"/>
                </a:lnTo>
                <a:lnTo>
                  <a:pt x="109" y="379"/>
                </a:lnTo>
                <a:lnTo>
                  <a:pt x="111" y="379"/>
                </a:lnTo>
                <a:lnTo>
                  <a:pt x="112" y="381"/>
                </a:lnTo>
                <a:lnTo>
                  <a:pt x="110" y="382"/>
                </a:lnTo>
                <a:lnTo>
                  <a:pt x="109" y="383"/>
                </a:lnTo>
                <a:lnTo>
                  <a:pt x="107" y="385"/>
                </a:lnTo>
                <a:lnTo>
                  <a:pt x="106" y="386"/>
                </a:lnTo>
                <a:lnTo>
                  <a:pt x="101" y="385"/>
                </a:lnTo>
                <a:lnTo>
                  <a:pt x="98" y="383"/>
                </a:lnTo>
                <a:lnTo>
                  <a:pt x="96" y="383"/>
                </a:lnTo>
                <a:lnTo>
                  <a:pt x="93" y="384"/>
                </a:lnTo>
                <a:lnTo>
                  <a:pt x="95" y="385"/>
                </a:lnTo>
                <a:lnTo>
                  <a:pt x="92" y="386"/>
                </a:lnTo>
                <a:lnTo>
                  <a:pt x="92" y="387"/>
                </a:lnTo>
                <a:lnTo>
                  <a:pt x="96" y="390"/>
                </a:lnTo>
                <a:lnTo>
                  <a:pt x="97" y="391"/>
                </a:lnTo>
                <a:lnTo>
                  <a:pt x="97" y="393"/>
                </a:lnTo>
                <a:lnTo>
                  <a:pt x="98" y="394"/>
                </a:lnTo>
                <a:lnTo>
                  <a:pt x="98" y="395"/>
                </a:lnTo>
                <a:lnTo>
                  <a:pt x="100" y="396"/>
                </a:lnTo>
                <a:lnTo>
                  <a:pt x="101" y="397"/>
                </a:lnTo>
                <a:lnTo>
                  <a:pt x="101" y="400"/>
                </a:lnTo>
                <a:lnTo>
                  <a:pt x="103" y="403"/>
                </a:lnTo>
                <a:lnTo>
                  <a:pt x="103" y="403"/>
                </a:lnTo>
                <a:lnTo>
                  <a:pt x="105" y="404"/>
                </a:lnTo>
                <a:lnTo>
                  <a:pt x="107" y="405"/>
                </a:lnTo>
                <a:lnTo>
                  <a:pt x="108" y="404"/>
                </a:lnTo>
                <a:lnTo>
                  <a:pt x="109" y="403"/>
                </a:lnTo>
                <a:lnTo>
                  <a:pt x="110" y="402"/>
                </a:lnTo>
                <a:lnTo>
                  <a:pt x="111" y="401"/>
                </a:lnTo>
                <a:lnTo>
                  <a:pt x="116" y="401"/>
                </a:lnTo>
                <a:lnTo>
                  <a:pt x="118" y="401"/>
                </a:lnTo>
                <a:lnTo>
                  <a:pt x="121" y="400"/>
                </a:lnTo>
                <a:lnTo>
                  <a:pt x="126" y="401"/>
                </a:lnTo>
                <a:lnTo>
                  <a:pt x="129" y="400"/>
                </a:lnTo>
                <a:lnTo>
                  <a:pt x="132" y="402"/>
                </a:lnTo>
                <a:lnTo>
                  <a:pt x="134" y="403"/>
                </a:lnTo>
                <a:lnTo>
                  <a:pt x="134" y="405"/>
                </a:lnTo>
                <a:lnTo>
                  <a:pt x="138" y="407"/>
                </a:lnTo>
                <a:lnTo>
                  <a:pt x="139" y="409"/>
                </a:lnTo>
                <a:lnTo>
                  <a:pt x="140" y="410"/>
                </a:lnTo>
                <a:lnTo>
                  <a:pt x="138" y="411"/>
                </a:lnTo>
                <a:lnTo>
                  <a:pt x="136" y="411"/>
                </a:lnTo>
                <a:lnTo>
                  <a:pt x="137" y="413"/>
                </a:lnTo>
                <a:lnTo>
                  <a:pt x="138" y="414"/>
                </a:lnTo>
                <a:lnTo>
                  <a:pt x="139" y="417"/>
                </a:lnTo>
                <a:lnTo>
                  <a:pt x="141" y="419"/>
                </a:lnTo>
                <a:lnTo>
                  <a:pt x="143" y="419"/>
                </a:lnTo>
                <a:lnTo>
                  <a:pt x="148" y="420"/>
                </a:lnTo>
                <a:lnTo>
                  <a:pt x="149" y="419"/>
                </a:lnTo>
                <a:lnTo>
                  <a:pt x="151" y="420"/>
                </a:lnTo>
                <a:lnTo>
                  <a:pt x="152" y="421"/>
                </a:lnTo>
                <a:lnTo>
                  <a:pt x="156" y="423"/>
                </a:lnTo>
                <a:lnTo>
                  <a:pt x="159" y="429"/>
                </a:lnTo>
                <a:lnTo>
                  <a:pt x="158" y="430"/>
                </a:lnTo>
                <a:lnTo>
                  <a:pt x="159" y="432"/>
                </a:lnTo>
                <a:lnTo>
                  <a:pt x="161" y="433"/>
                </a:lnTo>
                <a:lnTo>
                  <a:pt x="163" y="434"/>
                </a:lnTo>
                <a:lnTo>
                  <a:pt x="164" y="433"/>
                </a:lnTo>
                <a:lnTo>
                  <a:pt x="167" y="433"/>
                </a:lnTo>
                <a:lnTo>
                  <a:pt x="169" y="433"/>
                </a:lnTo>
                <a:lnTo>
                  <a:pt x="172" y="435"/>
                </a:lnTo>
                <a:lnTo>
                  <a:pt x="174" y="435"/>
                </a:lnTo>
                <a:lnTo>
                  <a:pt x="176" y="435"/>
                </a:lnTo>
                <a:lnTo>
                  <a:pt x="182" y="434"/>
                </a:lnTo>
                <a:lnTo>
                  <a:pt x="186" y="432"/>
                </a:lnTo>
                <a:lnTo>
                  <a:pt x="188" y="433"/>
                </a:lnTo>
                <a:lnTo>
                  <a:pt x="189" y="434"/>
                </a:lnTo>
                <a:lnTo>
                  <a:pt x="192" y="439"/>
                </a:lnTo>
                <a:lnTo>
                  <a:pt x="195" y="441"/>
                </a:lnTo>
                <a:lnTo>
                  <a:pt x="198" y="441"/>
                </a:lnTo>
                <a:lnTo>
                  <a:pt x="199" y="440"/>
                </a:lnTo>
                <a:lnTo>
                  <a:pt x="200" y="440"/>
                </a:lnTo>
                <a:lnTo>
                  <a:pt x="202" y="441"/>
                </a:lnTo>
                <a:lnTo>
                  <a:pt x="204" y="441"/>
                </a:lnTo>
                <a:lnTo>
                  <a:pt x="207" y="442"/>
                </a:lnTo>
                <a:lnTo>
                  <a:pt x="208" y="443"/>
                </a:lnTo>
                <a:lnTo>
                  <a:pt x="212" y="443"/>
                </a:lnTo>
                <a:lnTo>
                  <a:pt x="215" y="445"/>
                </a:lnTo>
                <a:lnTo>
                  <a:pt x="218" y="445"/>
                </a:lnTo>
                <a:lnTo>
                  <a:pt x="221" y="447"/>
                </a:lnTo>
                <a:lnTo>
                  <a:pt x="223" y="447"/>
                </a:lnTo>
                <a:lnTo>
                  <a:pt x="225" y="447"/>
                </a:lnTo>
                <a:lnTo>
                  <a:pt x="228" y="449"/>
                </a:lnTo>
                <a:lnTo>
                  <a:pt x="225" y="450"/>
                </a:lnTo>
                <a:lnTo>
                  <a:pt x="229" y="454"/>
                </a:lnTo>
                <a:lnTo>
                  <a:pt x="228" y="457"/>
                </a:lnTo>
                <a:lnTo>
                  <a:pt x="223" y="457"/>
                </a:lnTo>
                <a:lnTo>
                  <a:pt x="225" y="460"/>
                </a:lnTo>
                <a:lnTo>
                  <a:pt x="228" y="460"/>
                </a:lnTo>
                <a:lnTo>
                  <a:pt x="229" y="461"/>
                </a:lnTo>
                <a:lnTo>
                  <a:pt x="224" y="462"/>
                </a:lnTo>
                <a:lnTo>
                  <a:pt x="224" y="463"/>
                </a:lnTo>
                <a:lnTo>
                  <a:pt x="224" y="465"/>
                </a:lnTo>
                <a:lnTo>
                  <a:pt x="225" y="466"/>
                </a:lnTo>
                <a:lnTo>
                  <a:pt x="227" y="469"/>
                </a:lnTo>
                <a:lnTo>
                  <a:pt x="227" y="470"/>
                </a:lnTo>
                <a:lnTo>
                  <a:pt x="229" y="471"/>
                </a:lnTo>
                <a:lnTo>
                  <a:pt x="229" y="474"/>
                </a:lnTo>
                <a:lnTo>
                  <a:pt x="228" y="480"/>
                </a:lnTo>
                <a:lnTo>
                  <a:pt x="227" y="480"/>
                </a:lnTo>
                <a:lnTo>
                  <a:pt x="222" y="480"/>
                </a:lnTo>
                <a:lnTo>
                  <a:pt x="220" y="480"/>
                </a:lnTo>
                <a:lnTo>
                  <a:pt x="217" y="477"/>
                </a:lnTo>
                <a:lnTo>
                  <a:pt x="214" y="479"/>
                </a:lnTo>
                <a:lnTo>
                  <a:pt x="213" y="482"/>
                </a:lnTo>
                <a:lnTo>
                  <a:pt x="209" y="483"/>
                </a:lnTo>
                <a:lnTo>
                  <a:pt x="208" y="486"/>
                </a:lnTo>
                <a:lnTo>
                  <a:pt x="209" y="488"/>
                </a:lnTo>
                <a:lnTo>
                  <a:pt x="210" y="492"/>
                </a:lnTo>
                <a:lnTo>
                  <a:pt x="213" y="491"/>
                </a:lnTo>
                <a:lnTo>
                  <a:pt x="215" y="491"/>
                </a:lnTo>
                <a:lnTo>
                  <a:pt x="217" y="490"/>
                </a:lnTo>
                <a:lnTo>
                  <a:pt x="220" y="490"/>
                </a:lnTo>
                <a:lnTo>
                  <a:pt x="222" y="490"/>
                </a:lnTo>
                <a:lnTo>
                  <a:pt x="222" y="491"/>
                </a:lnTo>
                <a:lnTo>
                  <a:pt x="224" y="492"/>
                </a:lnTo>
                <a:lnTo>
                  <a:pt x="225" y="492"/>
                </a:lnTo>
                <a:lnTo>
                  <a:pt x="225" y="493"/>
                </a:lnTo>
                <a:lnTo>
                  <a:pt x="223" y="493"/>
                </a:lnTo>
                <a:lnTo>
                  <a:pt x="220" y="494"/>
                </a:lnTo>
                <a:lnTo>
                  <a:pt x="217" y="496"/>
                </a:lnTo>
                <a:lnTo>
                  <a:pt x="213" y="497"/>
                </a:lnTo>
                <a:lnTo>
                  <a:pt x="213" y="498"/>
                </a:lnTo>
                <a:lnTo>
                  <a:pt x="215" y="500"/>
                </a:lnTo>
                <a:lnTo>
                  <a:pt x="214" y="500"/>
                </a:lnTo>
                <a:lnTo>
                  <a:pt x="211" y="500"/>
                </a:lnTo>
                <a:lnTo>
                  <a:pt x="204" y="500"/>
                </a:lnTo>
                <a:lnTo>
                  <a:pt x="204" y="502"/>
                </a:lnTo>
                <a:lnTo>
                  <a:pt x="208" y="504"/>
                </a:lnTo>
                <a:lnTo>
                  <a:pt x="211" y="505"/>
                </a:lnTo>
                <a:lnTo>
                  <a:pt x="213" y="508"/>
                </a:lnTo>
                <a:lnTo>
                  <a:pt x="217" y="511"/>
                </a:lnTo>
                <a:lnTo>
                  <a:pt x="215" y="511"/>
                </a:lnTo>
                <a:lnTo>
                  <a:pt x="212" y="510"/>
                </a:lnTo>
                <a:lnTo>
                  <a:pt x="211" y="512"/>
                </a:lnTo>
                <a:lnTo>
                  <a:pt x="210" y="512"/>
                </a:lnTo>
                <a:lnTo>
                  <a:pt x="208" y="516"/>
                </a:lnTo>
                <a:lnTo>
                  <a:pt x="205" y="518"/>
                </a:lnTo>
                <a:lnTo>
                  <a:pt x="203" y="523"/>
                </a:lnTo>
                <a:lnTo>
                  <a:pt x="200" y="523"/>
                </a:lnTo>
                <a:lnTo>
                  <a:pt x="195" y="523"/>
                </a:lnTo>
                <a:lnTo>
                  <a:pt x="195" y="524"/>
                </a:lnTo>
                <a:lnTo>
                  <a:pt x="195" y="525"/>
                </a:lnTo>
                <a:lnTo>
                  <a:pt x="193" y="526"/>
                </a:lnTo>
                <a:lnTo>
                  <a:pt x="197" y="527"/>
                </a:lnTo>
                <a:lnTo>
                  <a:pt x="200" y="530"/>
                </a:lnTo>
                <a:lnTo>
                  <a:pt x="202" y="533"/>
                </a:lnTo>
                <a:lnTo>
                  <a:pt x="205" y="535"/>
                </a:lnTo>
                <a:lnTo>
                  <a:pt x="208" y="536"/>
                </a:lnTo>
                <a:lnTo>
                  <a:pt x="209" y="535"/>
                </a:lnTo>
                <a:lnTo>
                  <a:pt x="211" y="536"/>
                </a:lnTo>
                <a:lnTo>
                  <a:pt x="215" y="540"/>
                </a:lnTo>
                <a:lnTo>
                  <a:pt x="228" y="544"/>
                </a:lnTo>
                <a:lnTo>
                  <a:pt x="234" y="548"/>
                </a:lnTo>
                <a:lnTo>
                  <a:pt x="238" y="552"/>
                </a:lnTo>
                <a:lnTo>
                  <a:pt x="239" y="553"/>
                </a:lnTo>
                <a:lnTo>
                  <a:pt x="241" y="554"/>
                </a:lnTo>
                <a:lnTo>
                  <a:pt x="245" y="556"/>
                </a:lnTo>
                <a:lnTo>
                  <a:pt x="249" y="555"/>
                </a:lnTo>
                <a:lnTo>
                  <a:pt x="251" y="555"/>
                </a:lnTo>
                <a:lnTo>
                  <a:pt x="253" y="556"/>
                </a:lnTo>
                <a:lnTo>
                  <a:pt x="255" y="555"/>
                </a:lnTo>
                <a:lnTo>
                  <a:pt x="260" y="557"/>
                </a:lnTo>
                <a:lnTo>
                  <a:pt x="262" y="558"/>
                </a:lnTo>
                <a:lnTo>
                  <a:pt x="267" y="558"/>
                </a:lnTo>
                <a:lnTo>
                  <a:pt x="272" y="561"/>
                </a:lnTo>
                <a:lnTo>
                  <a:pt x="274" y="562"/>
                </a:lnTo>
                <a:lnTo>
                  <a:pt x="281" y="561"/>
                </a:lnTo>
                <a:lnTo>
                  <a:pt x="285" y="562"/>
                </a:lnTo>
                <a:lnTo>
                  <a:pt x="290" y="562"/>
                </a:lnTo>
                <a:lnTo>
                  <a:pt x="292" y="563"/>
                </a:lnTo>
                <a:lnTo>
                  <a:pt x="293" y="564"/>
                </a:lnTo>
                <a:lnTo>
                  <a:pt x="304" y="570"/>
                </a:lnTo>
                <a:lnTo>
                  <a:pt x="305" y="572"/>
                </a:lnTo>
                <a:lnTo>
                  <a:pt x="308" y="573"/>
                </a:lnTo>
                <a:lnTo>
                  <a:pt x="310" y="572"/>
                </a:lnTo>
                <a:lnTo>
                  <a:pt x="311" y="571"/>
                </a:lnTo>
                <a:lnTo>
                  <a:pt x="314" y="570"/>
                </a:lnTo>
                <a:lnTo>
                  <a:pt x="316" y="570"/>
                </a:lnTo>
                <a:lnTo>
                  <a:pt x="319" y="571"/>
                </a:lnTo>
                <a:lnTo>
                  <a:pt x="321" y="571"/>
                </a:lnTo>
                <a:lnTo>
                  <a:pt x="325" y="571"/>
                </a:lnTo>
                <a:lnTo>
                  <a:pt x="326" y="573"/>
                </a:lnTo>
                <a:lnTo>
                  <a:pt x="329" y="573"/>
                </a:lnTo>
                <a:lnTo>
                  <a:pt x="331" y="573"/>
                </a:lnTo>
                <a:lnTo>
                  <a:pt x="333" y="574"/>
                </a:lnTo>
                <a:lnTo>
                  <a:pt x="334" y="576"/>
                </a:lnTo>
                <a:lnTo>
                  <a:pt x="334" y="580"/>
                </a:lnTo>
                <a:lnTo>
                  <a:pt x="338" y="582"/>
                </a:lnTo>
                <a:lnTo>
                  <a:pt x="342" y="583"/>
                </a:lnTo>
                <a:lnTo>
                  <a:pt x="344" y="584"/>
                </a:lnTo>
                <a:lnTo>
                  <a:pt x="345" y="585"/>
                </a:lnTo>
                <a:lnTo>
                  <a:pt x="349" y="586"/>
                </a:lnTo>
                <a:lnTo>
                  <a:pt x="350" y="586"/>
                </a:lnTo>
                <a:lnTo>
                  <a:pt x="354" y="589"/>
                </a:lnTo>
                <a:lnTo>
                  <a:pt x="355" y="591"/>
                </a:lnTo>
                <a:lnTo>
                  <a:pt x="357" y="591"/>
                </a:lnTo>
                <a:lnTo>
                  <a:pt x="360" y="595"/>
                </a:lnTo>
                <a:lnTo>
                  <a:pt x="361" y="596"/>
                </a:lnTo>
                <a:lnTo>
                  <a:pt x="363" y="596"/>
                </a:lnTo>
                <a:lnTo>
                  <a:pt x="367" y="597"/>
                </a:lnTo>
                <a:lnTo>
                  <a:pt x="370" y="597"/>
                </a:lnTo>
                <a:lnTo>
                  <a:pt x="371" y="596"/>
                </a:lnTo>
                <a:lnTo>
                  <a:pt x="372" y="592"/>
                </a:lnTo>
                <a:lnTo>
                  <a:pt x="373" y="591"/>
                </a:lnTo>
                <a:lnTo>
                  <a:pt x="375" y="589"/>
                </a:lnTo>
                <a:lnTo>
                  <a:pt x="375" y="588"/>
                </a:lnTo>
                <a:lnTo>
                  <a:pt x="376" y="586"/>
                </a:lnTo>
                <a:lnTo>
                  <a:pt x="373" y="584"/>
                </a:lnTo>
                <a:lnTo>
                  <a:pt x="369" y="577"/>
                </a:lnTo>
                <a:lnTo>
                  <a:pt x="362" y="570"/>
                </a:lnTo>
                <a:lnTo>
                  <a:pt x="359" y="567"/>
                </a:lnTo>
                <a:lnTo>
                  <a:pt x="357" y="564"/>
                </a:lnTo>
                <a:lnTo>
                  <a:pt x="356" y="558"/>
                </a:lnTo>
                <a:lnTo>
                  <a:pt x="356" y="553"/>
                </a:lnTo>
                <a:lnTo>
                  <a:pt x="355" y="550"/>
                </a:lnTo>
                <a:lnTo>
                  <a:pt x="354" y="554"/>
                </a:lnTo>
                <a:lnTo>
                  <a:pt x="353" y="553"/>
                </a:lnTo>
                <a:lnTo>
                  <a:pt x="352" y="548"/>
                </a:lnTo>
                <a:lnTo>
                  <a:pt x="349" y="545"/>
                </a:lnTo>
                <a:lnTo>
                  <a:pt x="344" y="541"/>
                </a:lnTo>
                <a:lnTo>
                  <a:pt x="341" y="541"/>
                </a:lnTo>
                <a:lnTo>
                  <a:pt x="340" y="537"/>
                </a:lnTo>
                <a:lnTo>
                  <a:pt x="341" y="534"/>
                </a:lnTo>
                <a:lnTo>
                  <a:pt x="341" y="532"/>
                </a:lnTo>
                <a:lnTo>
                  <a:pt x="342" y="530"/>
                </a:lnTo>
                <a:lnTo>
                  <a:pt x="343" y="530"/>
                </a:lnTo>
                <a:lnTo>
                  <a:pt x="343" y="528"/>
                </a:lnTo>
                <a:lnTo>
                  <a:pt x="343" y="526"/>
                </a:lnTo>
                <a:lnTo>
                  <a:pt x="345" y="524"/>
                </a:lnTo>
                <a:lnTo>
                  <a:pt x="345" y="516"/>
                </a:lnTo>
                <a:lnTo>
                  <a:pt x="348" y="517"/>
                </a:lnTo>
                <a:lnTo>
                  <a:pt x="348" y="512"/>
                </a:lnTo>
                <a:lnTo>
                  <a:pt x="346" y="510"/>
                </a:lnTo>
                <a:lnTo>
                  <a:pt x="343" y="506"/>
                </a:lnTo>
                <a:lnTo>
                  <a:pt x="346" y="507"/>
                </a:lnTo>
                <a:lnTo>
                  <a:pt x="350" y="507"/>
                </a:lnTo>
                <a:lnTo>
                  <a:pt x="350" y="508"/>
                </a:lnTo>
                <a:lnTo>
                  <a:pt x="352" y="512"/>
                </a:lnTo>
                <a:lnTo>
                  <a:pt x="354" y="514"/>
                </a:lnTo>
                <a:lnTo>
                  <a:pt x="355" y="514"/>
                </a:lnTo>
                <a:lnTo>
                  <a:pt x="357" y="514"/>
                </a:lnTo>
                <a:lnTo>
                  <a:pt x="359" y="514"/>
                </a:lnTo>
                <a:lnTo>
                  <a:pt x="360" y="507"/>
                </a:lnTo>
                <a:lnTo>
                  <a:pt x="361" y="506"/>
                </a:lnTo>
                <a:lnTo>
                  <a:pt x="360" y="506"/>
                </a:lnTo>
                <a:lnTo>
                  <a:pt x="357" y="505"/>
                </a:lnTo>
                <a:lnTo>
                  <a:pt x="356" y="504"/>
                </a:lnTo>
                <a:lnTo>
                  <a:pt x="354" y="504"/>
                </a:lnTo>
                <a:lnTo>
                  <a:pt x="352" y="503"/>
                </a:lnTo>
                <a:lnTo>
                  <a:pt x="351" y="502"/>
                </a:lnTo>
                <a:lnTo>
                  <a:pt x="352" y="501"/>
                </a:lnTo>
                <a:lnTo>
                  <a:pt x="352" y="498"/>
                </a:lnTo>
                <a:lnTo>
                  <a:pt x="354" y="498"/>
                </a:lnTo>
                <a:lnTo>
                  <a:pt x="356" y="500"/>
                </a:lnTo>
                <a:lnTo>
                  <a:pt x="360" y="498"/>
                </a:lnTo>
                <a:lnTo>
                  <a:pt x="354" y="486"/>
                </a:lnTo>
                <a:lnTo>
                  <a:pt x="352" y="486"/>
                </a:lnTo>
                <a:lnTo>
                  <a:pt x="351" y="484"/>
                </a:lnTo>
                <a:lnTo>
                  <a:pt x="350" y="483"/>
                </a:lnTo>
                <a:lnTo>
                  <a:pt x="348" y="481"/>
                </a:lnTo>
                <a:lnTo>
                  <a:pt x="346" y="480"/>
                </a:lnTo>
                <a:lnTo>
                  <a:pt x="344" y="480"/>
                </a:lnTo>
                <a:lnTo>
                  <a:pt x="340" y="481"/>
                </a:lnTo>
                <a:lnTo>
                  <a:pt x="336" y="480"/>
                </a:lnTo>
                <a:lnTo>
                  <a:pt x="336" y="482"/>
                </a:lnTo>
                <a:lnTo>
                  <a:pt x="333" y="479"/>
                </a:lnTo>
                <a:lnTo>
                  <a:pt x="332" y="477"/>
                </a:lnTo>
                <a:lnTo>
                  <a:pt x="331" y="475"/>
                </a:lnTo>
                <a:lnTo>
                  <a:pt x="331" y="474"/>
                </a:lnTo>
                <a:lnTo>
                  <a:pt x="330" y="473"/>
                </a:lnTo>
                <a:lnTo>
                  <a:pt x="330" y="471"/>
                </a:lnTo>
                <a:lnTo>
                  <a:pt x="321" y="469"/>
                </a:lnTo>
                <a:lnTo>
                  <a:pt x="322" y="460"/>
                </a:lnTo>
                <a:lnTo>
                  <a:pt x="325" y="457"/>
                </a:lnTo>
                <a:lnTo>
                  <a:pt x="325" y="456"/>
                </a:lnTo>
                <a:lnTo>
                  <a:pt x="324" y="455"/>
                </a:lnTo>
                <a:lnTo>
                  <a:pt x="321" y="453"/>
                </a:lnTo>
                <a:lnTo>
                  <a:pt x="321" y="443"/>
                </a:lnTo>
                <a:lnTo>
                  <a:pt x="324" y="441"/>
                </a:lnTo>
                <a:lnTo>
                  <a:pt x="325" y="440"/>
                </a:lnTo>
                <a:lnTo>
                  <a:pt x="324" y="439"/>
                </a:lnTo>
                <a:lnTo>
                  <a:pt x="324" y="436"/>
                </a:lnTo>
                <a:lnTo>
                  <a:pt x="324" y="435"/>
                </a:lnTo>
                <a:lnTo>
                  <a:pt x="324" y="433"/>
                </a:lnTo>
                <a:lnTo>
                  <a:pt x="325" y="432"/>
                </a:lnTo>
                <a:lnTo>
                  <a:pt x="328" y="433"/>
                </a:lnTo>
                <a:lnTo>
                  <a:pt x="329" y="435"/>
                </a:lnTo>
                <a:lnTo>
                  <a:pt x="332" y="436"/>
                </a:lnTo>
                <a:lnTo>
                  <a:pt x="339" y="444"/>
                </a:lnTo>
                <a:lnTo>
                  <a:pt x="341" y="445"/>
                </a:lnTo>
                <a:lnTo>
                  <a:pt x="346" y="441"/>
                </a:lnTo>
                <a:lnTo>
                  <a:pt x="345" y="440"/>
                </a:lnTo>
                <a:lnTo>
                  <a:pt x="344" y="437"/>
                </a:lnTo>
                <a:lnTo>
                  <a:pt x="342" y="433"/>
                </a:lnTo>
                <a:lnTo>
                  <a:pt x="340" y="430"/>
                </a:lnTo>
                <a:lnTo>
                  <a:pt x="342" y="431"/>
                </a:lnTo>
                <a:lnTo>
                  <a:pt x="343" y="430"/>
                </a:lnTo>
                <a:lnTo>
                  <a:pt x="348" y="426"/>
                </a:lnTo>
                <a:lnTo>
                  <a:pt x="350" y="426"/>
                </a:lnTo>
                <a:lnTo>
                  <a:pt x="350" y="425"/>
                </a:lnTo>
                <a:lnTo>
                  <a:pt x="350" y="423"/>
                </a:lnTo>
                <a:lnTo>
                  <a:pt x="349" y="422"/>
                </a:lnTo>
                <a:lnTo>
                  <a:pt x="351" y="421"/>
                </a:lnTo>
                <a:lnTo>
                  <a:pt x="353" y="422"/>
                </a:lnTo>
                <a:lnTo>
                  <a:pt x="354" y="421"/>
                </a:lnTo>
                <a:lnTo>
                  <a:pt x="355" y="420"/>
                </a:lnTo>
                <a:lnTo>
                  <a:pt x="357" y="419"/>
                </a:lnTo>
                <a:lnTo>
                  <a:pt x="359" y="419"/>
                </a:lnTo>
                <a:lnTo>
                  <a:pt x="360" y="417"/>
                </a:lnTo>
                <a:lnTo>
                  <a:pt x="361" y="416"/>
                </a:lnTo>
                <a:lnTo>
                  <a:pt x="362" y="415"/>
                </a:lnTo>
                <a:lnTo>
                  <a:pt x="362" y="413"/>
                </a:lnTo>
                <a:lnTo>
                  <a:pt x="363" y="412"/>
                </a:lnTo>
                <a:lnTo>
                  <a:pt x="367" y="412"/>
                </a:lnTo>
                <a:lnTo>
                  <a:pt x="371" y="412"/>
                </a:lnTo>
                <a:lnTo>
                  <a:pt x="372" y="413"/>
                </a:lnTo>
                <a:lnTo>
                  <a:pt x="373" y="414"/>
                </a:lnTo>
                <a:lnTo>
                  <a:pt x="377" y="414"/>
                </a:lnTo>
                <a:lnTo>
                  <a:pt x="379" y="415"/>
                </a:lnTo>
                <a:lnTo>
                  <a:pt x="380" y="414"/>
                </a:lnTo>
                <a:lnTo>
                  <a:pt x="380" y="412"/>
                </a:lnTo>
                <a:lnTo>
                  <a:pt x="381" y="411"/>
                </a:lnTo>
                <a:lnTo>
                  <a:pt x="382" y="411"/>
                </a:lnTo>
                <a:lnTo>
                  <a:pt x="384" y="410"/>
                </a:lnTo>
                <a:lnTo>
                  <a:pt x="386" y="411"/>
                </a:lnTo>
                <a:lnTo>
                  <a:pt x="389" y="413"/>
                </a:lnTo>
                <a:lnTo>
                  <a:pt x="390" y="414"/>
                </a:lnTo>
                <a:lnTo>
                  <a:pt x="392" y="414"/>
                </a:lnTo>
                <a:lnTo>
                  <a:pt x="394" y="414"/>
                </a:lnTo>
                <a:lnTo>
                  <a:pt x="396" y="414"/>
                </a:lnTo>
                <a:lnTo>
                  <a:pt x="400" y="414"/>
                </a:lnTo>
                <a:lnTo>
                  <a:pt x="402" y="414"/>
                </a:lnTo>
                <a:lnTo>
                  <a:pt x="404" y="415"/>
                </a:lnTo>
                <a:lnTo>
                  <a:pt x="405" y="416"/>
                </a:lnTo>
                <a:lnTo>
                  <a:pt x="407" y="419"/>
                </a:lnTo>
                <a:lnTo>
                  <a:pt x="414" y="422"/>
                </a:lnTo>
                <a:lnTo>
                  <a:pt x="415" y="423"/>
                </a:lnTo>
                <a:lnTo>
                  <a:pt x="416" y="424"/>
                </a:lnTo>
                <a:lnTo>
                  <a:pt x="421" y="426"/>
                </a:lnTo>
                <a:lnTo>
                  <a:pt x="421" y="429"/>
                </a:lnTo>
                <a:lnTo>
                  <a:pt x="421" y="430"/>
                </a:lnTo>
                <a:lnTo>
                  <a:pt x="423" y="431"/>
                </a:lnTo>
                <a:lnTo>
                  <a:pt x="425" y="431"/>
                </a:lnTo>
                <a:lnTo>
                  <a:pt x="424" y="429"/>
                </a:lnTo>
                <a:lnTo>
                  <a:pt x="423" y="427"/>
                </a:lnTo>
                <a:lnTo>
                  <a:pt x="423" y="426"/>
                </a:lnTo>
                <a:lnTo>
                  <a:pt x="422" y="424"/>
                </a:lnTo>
                <a:lnTo>
                  <a:pt x="422" y="423"/>
                </a:lnTo>
                <a:lnTo>
                  <a:pt x="424" y="423"/>
                </a:lnTo>
                <a:lnTo>
                  <a:pt x="425" y="424"/>
                </a:lnTo>
                <a:lnTo>
                  <a:pt x="427" y="425"/>
                </a:lnTo>
                <a:lnTo>
                  <a:pt x="429" y="427"/>
                </a:lnTo>
                <a:lnTo>
                  <a:pt x="431" y="429"/>
                </a:lnTo>
                <a:lnTo>
                  <a:pt x="435" y="430"/>
                </a:lnTo>
                <a:lnTo>
                  <a:pt x="438" y="431"/>
                </a:lnTo>
                <a:lnTo>
                  <a:pt x="441" y="431"/>
                </a:lnTo>
                <a:lnTo>
                  <a:pt x="445" y="427"/>
                </a:lnTo>
                <a:lnTo>
                  <a:pt x="444" y="426"/>
                </a:lnTo>
                <a:lnTo>
                  <a:pt x="446" y="425"/>
                </a:lnTo>
                <a:lnTo>
                  <a:pt x="447" y="424"/>
                </a:lnTo>
                <a:lnTo>
                  <a:pt x="448" y="424"/>
                </a:lnTo>
                <a:lnTo>
                  <a:pt x="451" y="424"/>
                </a:lnTo>
                <a:lnTo>
                  <a:pt x="451" y="423"/>
                </a:lnTo>
                <a:lnTo>
                  <a:pt x="453" y="423"/>
                </a:lnTo>
                <a:lnTo>
                  <a:pt x="455" y="423"/>
                </a:lnTo>
                <a:lnTo>
                  <a:pt x="456" y="422"/>
                </a:lnTo>
                <a:lnTo>
                  <a:pt x="458" y="423"/>
                </a:lnTo>
                <a:lnTo>
                  <a:pt x="462" y="425"/>
                </a:lnTo>
                <a:lnTo>
                  <a:pt x="465" y="424"/>
                </a:lnTo>
                <a:lnTo>
                  <a:pt x="465" y="422"/>
                </a:lnTo>
                <a:lnTo>
                  <a:pt x="470" y="422"/>
                </a:lnTo>
                <a:lnTo>
                  <a:pt x="471" y="422"/>
                </a:lnTo>
                <a:lnTo>
                  <a:pt x="475" y="423"/>
                </a:lnTo>
                <a:lnTo>
                  <a:pt x="476" y="424"/>
                </a:lnTo>
                <a:lnTo>
                  <a:pt x="478" y="427"/>
                </a:lnTo>
                <a:lnTo>
                  <a:pt x="480" y="429"/>
                </a:lnTo>
                <a:lnTo>
                  <a:pt x="482" y="430"/>
                </a:lnTo>
                <a:lnTo>
                  <a:pt x="485" y="430"/>
                </a:lnTo>
                <a:lnTo>
                  <a:pt x="490" y="430"/>
                </a:lnTo>
                <a:lnTo>
                  <a:pt x="490" y="430"/>
                </a:lnTo>
                <a:lnTo>
                  <a:pt x="491" y="432"/>
                </a:lnTo>
                <a:lnTo>
                  <a:pt x="495" y="432"/>
                </a:lnTo>
                <a:lnTo>
                  <a:pt x="496" y="431"/>
                </a:lnTo>
                <a:lnTo>
                  <a:pt x="497" y="427"/>
                </a:lnTo>
                <a:lnTo>
                  <a:pt x="498" y="426"/>
                </a:lnTo>
                <a:lnTo>
                  <a:pt x="500" y="427"/>
                </a:lnTo>
                <a:lnTo>
                  <a:pt x="504" y="430"/>
                </a:lnTo>
                <a:lnTo>
                  <a:pt x="507" y="430"/>
                </a:lnTo>
                <a:lnTo>
                  <a:pt x="512" y="430"/>
                </a:lnTo>
                <a:lnTo>
                  <a:pt x="513" y="429"/>
                </a:lnTo>
                <a:lnTo>
                  <a:pt x="516" y="427"/>
                </a:lnTo>
                <a:lnTo>
                  <a:pt x="516" y="420"/>
                </a:lnTo>
                <a:lnTo>
                  <a:pt x="517" y="419"/>
                </a:lnTo>
                <a:lnTo>
                  <a:pt x="515" y="416"/>
                </a:lnTo>
                <a:lnTo>
                  <a:pt x="514" y="416"/>
                </a:lnTo>
                <a:lnTo>
                  <a:pt x="511" y="416"/>
                </a:lnTo>
                <a:lnTo>
                  <a:pt x="507" y="415"/>
                </a:lnTo>
                <a:lnTo>
                  <a:pt x="505" y="414"/>
                </a:lnTo>
                <a:lnTo>
                  <a:pt x="504" y="413"/>
                </a:lnTo>
                <a:lnTo>
                  <a:pt x="500" y="413"/>
                </a:lnTo>
                <a:lnTo>
                  <a:pt x="497" y="412"/>
                </a:lnTo>
                <a:lnTo>
                  <a:pt x="496" y="410"/>
                </a:lnTo>
                <a:lnTo>
                  <a:pt x="495" y="409"/>
                </a:lnTo>
                <a:lnTo>
                  <a:pt x="491" y="409"/>
                </a:lnTo>
                <a:lnTo>
                  <a:pt x="491" y="406"/>
                </a:lnTo>
                <a:lnTo>
                  <a:pt x="492" y="406"/>
                </a:lnTo>
                <a:lnTo>
                  <a:pt x="494" y="404"/>
                </a:lnTo>
                <a:lnTo>
                  <a:pt x="498" y="403"/>
                </a:lnTo>
                <a:lnTo>
                  <a:pt x="501" y="402"/>
                </a:lnTo>
                <a:lnTo>
                  <a:pt x="502" y="400"/>
                </a:lnTo>
                <a:lnTo>
                  <a:pt x="501" y="399"/>
                </a:lnTo>
                <a:lnTo>
                  <a:pt x="494" y="393"/>
                </a:lnTo>
                <a:lnTo>
                  <a:pt x="496" y="393"/>
                </a:lnTo>
                <a:lnTo>
                  <a:pt x="497" y="392"/>
                </a:lnTo>
                <a:lnTo>
                  <a:pt x="497" y="390"/>
                </a:lnTo>
                <a:lnTo>
                  <a:pt x="498" y="389"/>
                </a:lnTo>
                <a:lnTo>
                  <a:pt x="501" y="389"/>
                </a:lnTo>
                <a:lnTo>
                  <a:pt x="503" y="390"/>
                </a:lnTo>
                <a:lnTo>
                  <a:pt x="504" y="389"/>
                </a:lnTo>
                <a:lnTo>
                  <a:pt x="506" y="390"/>
                </a:lnTo>
                <a:lnTo>
                  <a:pt x="511" y="390"/>
                </a:lnTo>
                <a:lnTo>
                  <a:pt x="512" y="389"/>
                </a:lnTo>
                <a:lnTo>
                  <a:pt x="513" y="387"/>
                </a:lnTo>
                <a:lnTo>
                  <a:pt x="511" y="386"/>
                </a:lnTo>
                <a:lnTo>
                  <a:pt x="507" y="384"/>
                </a:lnTo>
                <a:lnTo>
                  <a:pt x="498" y="383"/>
                </a:lnTo>
                <a:lnTo>
                  <a:pt x="497" y="382"/>
                </a:lnTo>
                <a:lnTo>
                  <a:pt x="496" y="381"/>
                </a:lnTo>
                <a:lnTo>
                  <a:pt x="498" y="381"/>
                </a:lnTo>
                <a:lnTo>
                  <a:pt x="501" y="380"/>
                </a:lnTo>
                <a:lnTo>
                  <a:pt x="501" y="379"/>
                </a:lnTo>
                <a:lnTo>
                  <a:pt x="498" y="377"/>
                </a:lnTo>
                <a:lnTo>
                  <a:pt x="497" y="379"/>
                </a:lnTo>
                <a:lnTo>
                  <a:pt x="494" y="379"/>
                </a:lnTo>
                <a:lnTo>
                  <a:pt x="493" y="377"/>
                </a:lnTo>
                <a:lnTo>
                  <a:pt x="493" y="375"/>
                </a:lnTo>
                <a:lnTo>
                  <a:pt x="494" y="374"/>
                </a:lnTo>
                <a:lnTo>
                  <a:pt x="491" y="372"/>
                </a:lnTo>
                <a:lnTo>
                  <a:pt x="494" y="372"/>
                </a:lnTo>
                <a:lnTo>
                  <a:pt x="495" y="371"/>
                </a:lnTo>
                <a:lnTo>
                  <a:pt x="497" y="371"/>
                </a:lnTo>
                <a:lnTo>
                  <a:pt x="498" y="372"/>
                </a:lnTo>
                <a:lnTo>
                  <a:pt x="501" y="372"/>
                </a:lnTo>
                <a:lnTo>
                  <a:pt x="503" y="372"/>
                </a:lnTo>
                <a:lnTo>
                  <a:pt x="504" y="372"/>
                </a:lnTo>
                <a:lnTo>
                  <a:pt x="511" y="372"/>
                </a:lnTo>
                <a:lnTo>
                  <a:pt x="512" y="373"/>
                </a:lnTo>
                <a:lnTo>
                  <a:pt x="514" y="371"/>
                </a:lnTo>
                <a:lnTo>
                  <a:pt x="515" y="370"/>
                </a:lnTo>
                <a:lnTo>
                  <a:pt x="519" y="371"/>
                </a:lnTo>
                <a:lnTo>
                  <a:pt x="521" y="370"/>
                </a:lnTo>
                <a:lnTo>
                  <a:pt x="522" y="369"/>
                </a:lnTo>
                <a:lnTo>
                  <a:pt x="524" y="368"/>
                </a:lnTo>
                <a:lnTo>
                  <a:pt x="526" y="368"/>
                </a:lnTo>
                <a:lnTo>
                  <a:pt x="528" y="369"/>
                </a:lnTo>
                <a:lnTo>
                  <a:pt x="531" y="369"/>
                </a:lnTo>
                <a:lnTo>
                  <a:pt x="531" y="368"/>
                </a:lnTo>
                <a:lnTo>
                  <a:pt x="534" y="366"/>
                </a:lnTo>
                <a:lnTo>
                  <a:pt x="535" y="365"/>
                </a:lnTo>
                <a:lnTo>
                  <a:pt x="537" y="365"/>
                </a:lnTo>
                <a:lnTo>
                  <a:pt x="539" y="365"/>
                </a:lnTo>
                <a:lnTo>
                  <a:pt x="541" y="365"/>
                </a:lnTo>
                <a:lnTo>
                  <a:pt x="543" y="365"/>
                </a:lnTo>
                <a:lnTo>
                  <a:pt x="544" y="364"/>
                </a:lnTo>
                <a:lnTo>
                  <a:pt x="543" y="363"/>
                </a:lnTo>
                <a:lnTo>
                  <a:pt x="544" y="361"/>
                </a:lnTo>
                <a:lnTo>
                  <a:pt x="545" y="361"/>
                </a:lnTo>
                <a:lnTo>
                  <a:pt x="547" y="360"/>
                </a:lnTo>
                <a:lnTo>
                  <a:pt x="548" y="361"/>
                </a:lnTo>
                <a:lnTo>
                  <a:pt x="553" y="360"/>
                </a:lnTo>
                <a:lnTo>
                  <a:pt x="553" y="360"/>
                </a:lnTo>
                <a:lnTo>
                  <a:pt x="562" y="359"/>
                </a:lnTo>
                <a:lnTo>
                  <a:pt x="568" y="358"/>
                </a:lnTo>
                <a:lnTo>
                  <a:pt x="575" y="356"/>
                </a:lnTo>
                <a:lnTo>
                  <a:pt x="576" y="355"/>
                </a:lnTo>
                <a:lnTo>
                  <a:pt x="578" y="355"/>
                </a:lnTo>
                <a:lnTo>
                  <a:pt x="579" y="354"/>
                </a:lnTo>
                <a:lnTo>
                  <a:pt x="581" y="353"/>
                </a:lnTo>
                <a:lnTo>
                  <a:pt x="579" y="352"/>
                </a:lnTo>
                <a:lnTo>
                  <a:pt x="579" y="351"/>
                </a:lnTo>
                <a:lnTo>
                  <a:pt x="582" y="351"/>
                </a:lnTo>
                <a:lnTo>
                  <a:pt x="583" y="351"/>
                </a:lnTo>
                <a:lnTo>
                  <a:pt x="584" y="350"/>
                </a:lnTo>
                <a:lnTo>
                  <a:pt x="585" y="349"/>
                </a:lnTo>
                <a:lnTo>
                  <a:pt x="587" y="349"/>
                </a:lnTo>
                <a:lnTo>
                  <a:pt x="587" y="348"/>
                </a:lnTo>
                <a:lnTo>
                  <a:pt x="589" y="348"/>
                </a:lnTo>
                <a:lnTo>
                  <a:pt x="592" y="349"/>
                </a:lnTo>
                <a:lnTo>
                  <a:pt x="593" y="348"/>
                </a:lnTo>
                <a:lnTo>
                  <a:pt x="595" y="349"/>
                </a:lnTo>
                <a:lnTo>
                  <a:pt x="597" y="349"/>
                </a:lnTo>
                <a:lnTo>
                  <a:pt x="599" y="349"/>
                </a:lnTo>
                <a:lnTo>
                  <a:pt x="600" y="350"/>
                </a:lnTo>
                <a:lnTo>
                  <a:pt x="605" y="352"/>
                </a:lnTo>
                <a:lnTo>
                  <a:pt x="606" y="351"/>
                </a:lnTo>
                <a:lnTo>
                  <a:pt x="607" y="350"/>
                </a:lnTo>
                <a:lnTo>
                  <a:pt x="610" y="350"/>
                </a:lnTo>
                <a:lnTo>
                  <a:pt x="613" y="350"/>
                </a:lnTo>
                <a:lnTo>
                  <a:pt x="615" y="351"/>
                </a:lnTo>
                <a:lnTo>
                  <a:pt x="616" y="352"/>
                </a:lnTo>
                <a:lnTo>
                  <a:pt x="618" y="355"/>
                </a:lnTo>
                <a:lnTo>
                  <a:pt x="618" y="356"/>
                </a:lnTo>
                <a:lnTo>
                  <a:pt x="619" y="358"/>
                </a:lnTo>
                <a:lnTo>
                  <a:pt x="624" y="360"/>
                </a:lnTo>
                <a:lnTo>
                  <a:pt x="624" y="361"/>
                </a:lnTo>
                <a:lnTo>
                  <a:pt x="625" y="364"/>
                </a:lnTo>
                <a:lnTo>
                  <a:pt x="625" y="365"/>
                </a:lnTo>
                <a:lnTo>
                  <a:pt x="624" y="366"/>
                </a:lnTo>
                <a:lnTo>
                  <a:pt x="625" y="368"/>
                </a:lnTo>
                <a:lnTo>
                  <a:pt x="626" y="370"/>
                </a:lnTo>
                <a:lnTo>
                  <a:pt x="630" y="369"/>
                </a:lnTo>
                <a:lnTo>
                  <a:pt x="633" y="370"/>
                </a:lnTo>
                <a:lnTo>
                  <a:pt x="634" y="370"/>
                </a:lnTo>
                <a:lnTo>
                  <a:pt x="634" y="368"/>
                </a:lnTo>
                <a:lnTo>
                  <a:pt x="636" y="368"/>
                </a:lnTo>
                <a:lnTo>
                  <a:pt x="638" y="369"/>
                </a:lnTo>
                <a:lnTo>
                  <a:pt x="638" y="366"/>
                </a:lnTo>
                <a:lnTo>
                  <a:pt x="637" y="365"/>
                </a:lnTo>
                <a:lnTo>
                  <a:pt x="639" y="365"/>
                </a:lnTo>
                <a:lnTo>
                  <a:pt x="640" y="366"/>
                </a:lnTo>
                <a:lnTo>
                  <a:pt x="642" y="369"/>
                </a:lnTo>
                <a:lnTo>
                  <a:pt x="644" y="370"/>
                </a:lnTo>
                <a:lnTo>
                  <a:pt x="644" y="371"/>
                </a:lnTo>
                <a:lnTo>
                  <a:pt x="644" y="372"/>
                </a:lnTo>
                <a:lnTo>
                  <a:pt x="648" y="373"/>
                </a:lnTo>
                <a:lnTo>
                  <a:pt x="647" y="371"/>
                </a:lnTo>
                <a:lnTo>
                  <a:pt x="645" y="370"/>
                </a:lnTo>
                <a:lnTo>
                  <a:pt x="647" y="370"/>
                </a:lnTo>
                <a:lnTo>
                  <a:pt x="650" y="370"/>
                </a:lnTo>
                <a:lnTo>
                  <a:pt x="653" y="371"/>
                </a:lnTo>
                <a:lnTo>
                  <a:pt x="655" y="372"/>
                </a:lnTo>
                <a:lnTo>
                  <a:pt x="657" y="373"/>
                </a:lnTo>
                <a:lnTo>
                  <a:pt x="659" y="373"/>
                </a:lnTo>
                <a:lnTo>
                  <a:pt x="659" y="371"/>
                </a:lnTo>
                <a:lnTo>
                  <a:pt x="662" y="371"/>
                </a:lnTo>
                <a:lnTo>
                  <a:pt x="663" y="372"/>
                </a:lnTo>
                <a:lnTo>
                  <a:pt x="663" y="374"/>
                </a:lnTo>
                <a:lnTo>
                  <a:pt x="662" y="374"/>
                </a:lnTo>
                <a:lnTo>
                  <a:pt x="660" y="375"/>
                </a:lnTo>
                <a:lnTo>
                  <a:pt x="659" y="376"/>
                </a:lnTo>
                <a:lnTo>
                  <a:pt x="659" y="377"/>
                </a:lnTo>
                <a:lnTo>
                  <a:pt x="660" y="380"/>
                </a:lnTo>
                <a:lnTo>
                  <a:pt x="662" y="381"/>
                </a:lnTo>
                <a:lnTo>
                  <a:pt x="664" y="381"/>
                </a:lnTo>
                <a:lnTo>
                  <a:pt x="665" y="380"/>
                </a:lnTo>
                <a:lnTo>
                  <a:pt x="668" y="379"/>
                </a:lnTo>
                <a:lnTo>
                  <a:pt x="670" y="379"/>
                </a:lnTo>
                <a:lnTo>
                  <a:pt x="672" y="379"/>
                </a:lnTo>
                <a:lnTo>
                  <a:pt x="674" y="380"/>
                </a:lnTo>
                <a:lnTo>
                  <a:pt x="676" y="380"/>
                </a:lnTo>
                <a:lnTo>
                  <a:pt x="675" y="379"/>
                </a:lnTo>
                <a:lnTo>
                  <a:pt x="675" y="377"/>
                </a:lnTo>
                <a:lnTo>
                  <a:pt x="677" y="376"/>
                </a:lnTo>
                <a:lnTo>
                  <a:pt x="678" y="374"/>
                </a:lnTo>
                <a:lnTo>
                  <a:pt x="683" y="374"/>
                </a:lnTo>
                <a:lnTo>
                  <a:pt x="685" y="372"/>
                </a:lnTo>
                <a:lnTo>
                  <a:pt x="685" y="370"/>
                </a:lnTo>
                <a:lnTo>
                  <a:pt x="686" y="369"/>
                </a:lnTo>
                <a:lnTo>
                  <a:pt x="688" y="369"/>
                </a:lnTo>
                <a:lnTo>
                  <a:pt x="691" y="369"/>
                </a:lnTo>
                <a:lnTo>
                  <a:pt x="693" y="368"/>
                </a:lnTo>
                <a:lnTo>
                  <a:pt x="694" y="366"/>
                </a:lnTo>
                <a:lnTo>
                  <a:pt x="697" y="366"/>
                </a:lnTo>
                <a:lnTo>
                  <a:pt x="699" y="364"/>
                </a:lnTo>
                <a:lnTo>
                  <a:pt x="701" y="365"/>
                </a:lnTo>
                <a:lnTo>
                  <a:pt x="703" y="368"/>
                </a:lnTo>
                <a:lnTo>
                  <a:pt x="701" y="369"/>
                </a:lnTo>
                <a:lnTo>
                  <a:pt x="700" y="369"/>
                </a:lnTo>
                <a:lnTo>
                  <a:pt x="698" y="369"/>
                </a:lnTo>
                <a:lnTo>
                  <a:pt x="698" y="37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88" name="Freeform 688"/>
          <p:cNvSpPr>
            <a:spLocks/>
          </p:cNvSpPr>
          <p:nvPr/>
        </p:nvSpPr>
        <p:spPr bwMode="auto">
          <a:xfrm>
            <a:off x="5568950" y="2344703"/>
            <a:ext cx="361950" cy="215900"/>
          </a:xfrm>
          <a:custGeom>
            <a:avLst/>
            <a:gdLst>
              <a:gd name="T0" fmla="*/ 68 w 228"/>
              <a:gd name="T1" fmla="*/ 23 h 136"/>
              <a:gd name="T2" fmla="*/ 68 w 228"/>
              <a:gd name="T3" fmla="*/ 14 h 136"/>
              <a:gd name="T4" fmla="*/ 76 w 228"/>
              <a:gd name="T5" fmla="*/ 10 h 136"/>
              <a:gd name="T6" fmla="*/ 79 w 228"/>
              <a:gd name="T7" fmla="*/ 5 h 136"/>
              <a:gd name="T8" fmla="*/ 82 w 228"/>
              <a:gd name="T9" fmla="*/ 4 h 136"/>
              <a:gd name="T10" fmla="*/ 86 w 228"/>
              <a:gd name="T11" fmla="*/ 1 h 136"/>
              <a:gd name="T12" fmla="*/ 98 w 228"/>
              <a:gd name="T13" fmla="*/ 7 h 136"/>
              <a:gd name="T14" fmla="*/ 109 w 228"/>
              <a:gd name="T15" fmla="*/ 11 h 136"/>
              <a:gd name="T16" fmla="*/ 113 w 228"/>
              <a:gd name="T17" fmla="*/ 16 h 136"/>
              <a:gd name="T18" fmla="*/ 112 w 228"/>
              <a:gd name="T19" fmla="*/ 23 h 136"/>
              <a:gd name="T20" fmla="*/ 126 w 228"/>
              <a:gd name="T21" fmla="*/ 27 h 136"/>
              <a:gd name="T22" fmla="*/ 136 w 228"/>
              <a:gd name="T23" fmla="*/ 25 h 136"/>
              <a:gd name="T24" fmla="*/ 144 w 228"/>
              <a:gd name="T25" fmla="*/ 33 h 136"/>
              <a:gd name="T26" fmla="*/ 151 w 228"/>
              <a:gd name="T27" fmla="*/ 41 h 136"/>
              <a:gd name="T28" fmla="*/ 159 w 228"/>
              <a:gd name="T29" fmla="*/ 53 h 136"/>
              <a:gd name="T30" fmla="*/ 188 w 228"/>
              <a:gd name="T31" fmla="*/ 67 h 136"/>
              <a:gd name="T32" fmla="*/ 208 w 228"/>
              <a:gd name="T33" fmla="*/ 80 h 136"/>
              <a:gd name="T34" fmla="*/ 221 w 228"/>
              <a:gd name="T35" fmla="*/ 83 h 136"/>
              <a:gd name="T36" fmla="*/ 227 w 228"/>
              <a:gd name="T37" fmla="*/ 88 h 136"/>
              <a:gd name="T38" fmla="*/ 228 w 228"/>
              <a:gd name="T39" fmla="*/ 98 h 136"/>
              <a:gd name="T40" fmla="*/ 217 w 228"/>
              <a:gd name="T41" fmla="*/ 95 h 136"/>
              <a:gd name="T42" fmla="*/ 213 w 228"/>
              <a:gd name="T43" fmla="*/ 98 h 136"/>
              <a:gd name="T44" fmla="*/ 207 w 228"/>
              <a:gd name="T45" fmla="*/ 99 h 136"/>
              <a:gd name="T46" fmla="*/ 202 w 228"/>
              <a:gd name="T47" fmla="*/ 103 h 136"/>
              <a:gd name="T48" fmla="*/ 202 w 228"/>
              <a:gd name="T49" fmla="*/ 113 h 136"/>
              <a:gd name="T50" fmla="*/ 197 w 228"/>
              <a:gd name="T51" fmla="*/ 119 h 136"/>
              <a:gd name="T52" fmla="*/ 187 w 228"/>
              <a:gd name="T53" fmla="*/ 124 h 136"/>
              <a:gd name="T54" fmla="*/ 185 w 228"/>
              <a:gd name="T55" fmla="*/ 128 h 136"/>
              <a:gd name="T56" fmla="*/ 183 w 228"/>
              <a:gd name="T57" fmla="*/ 134 h 136"/>
              <a:gd name="T58" fmla="*/ 174 w 228"/>
              <a:gd name="T59" fmla="*/ 136 h 136"/>
              <a:gd name="T60" fmla="*/ 167 w 228"/>
              <a:gd name="T61" fmla="*/ 133 h 136"/>
              <a:gd name="T62" fmla="*/ 158 w 228"/>
              <a:gd name="T63" fmla="*/ 129 h 136"/>
              <a:gd name="T64" fmla="*/ 151 w 228"/>
              <a:gd name="T65" fmla="*/ 113 h 136"/>
              <a:gd name="T66" fmla="*/ 131 w 228"/>
              <a:gd name="T67" fmla="*/ 104 h 136"/>
              <a:gd name="T68" fmla="*/ 118 w 228"/>
              <a:gd name="T69" fmla="*/ 93 h 136"/>
              <a:gd name="T70" fmla="*/ 104 w 228"/>
              <a:gd name="T71" fmla="*/ 92 h 136"/>
              <a:gd name="T72" fmla="*/ 82 w 228"/>
              <a:gd name="T73" fmla="*/ 79 h 136"/>
              <a:gd name="T74" fmla="*/ 71 w 228"/>
              <a:gd name="T75" fmla="*/ 84 h 136"/>
              <a:gd name="T76" fmla="*/ 58 w 228"/>
              <a:gd name="T77" fmla="*/ 84 h 136"/>
              <a:gd name="T78" fmla="*/ 38 w 228"/>
              <a:gd name="T79" fmla="*/ 95 h 136"/>
              <a:gd name="T80" fmla="*/ 32 w 228"/>
              <a:gd name="T81" fmla="*/ 77 h 136"/>
              <a:gd name="T82" fmla="*/ 28 w 228"/>
              <a:gd name="T83" fmla="*/ 64 h 136"/>
              <a:gd name="T84" fmla="*/ 28 w 228"/>
              <a:gd name="T85" fmla="*/ 58 h 136"/>
              <a:gd name="T86" fmla="*/ 21 w 228"/>
              <a:gd name="T87" fmla="*/ 53 h 136"/>
              <a:gd name="T88" fmla="*/ 27 w 228"/>
              <a:gd name="T89" fmla="*/ 49 h 136"/>
              <a:gd name="T90" fmla="*/ 13 w 228"/>
              <a:gd name="T91" fmla="*/ 52 h 136"/>
              <a:gd name="T92" fmla="*/ 10 w 228"/>
              <a:gd name="T93" fmla="*/ 36 h 136"/>
              <a:gd name="T94" fmla="*/ 19 w 228"/>
              <a:gd name="T95" fmla="*/ 36 h 136"/>
              <a:gd name="T96" fmla="*/ 33 w 228"/>
              <a:gd name="T97" fmla="*/ 37 h 136"/>
              <a:gd name="T98" fmla="*/ 37 w 228"/>
              <a:gd name="T99" fmla="*/ 29 h 136"/>
              <a:gd name="T100" fmla="*/ 18 w 228"/>
              <a:gd name="T101" fmla="*/ 14 h 136"/>
              <a:gd name="T102" fmla="*/ 6 w 228"/>
              <a:gd name="T103" fmla="*/ 16 h 136"/>
              <a:gd name="T104" fmla="*/ 8 w 228"/>
              <a:gd name="T105" fmla="*/ 28 h 136"/>
              <a:gd name="T106" fmla="*/ 7 w 228"/>
              <a:gd name="T107" fmla="*/ 11 h 136"/>
              <a:gd name="T108" fmla="*/ 22 w 228"/>
              <a:gd name="T109" fmla="*/ 6 h 136"/>
              <a:gd name="T110" fmla="*/ 32 w 228"/>
              <a:gd name="T111" fmla="*/ 12 h 136"/>
              <a:gd name="T112" fmla="*/ 42 w 228"/>
              <a:gd name="T113" fmla="*/ 25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28" h="136">
                <a:moveTo>
                  <a:pt x="53" y="25"/>
                </a:moveTo>
                <a:lnTo>
                  <a:pt x="69" y="27"/>
                </a:lnTo>
                <a:lnTo>
                  <a:pt x="70" y="26"/>
                </a:lnTo>
                <a:lnTo>
                  <a:pt x="68" y="23"/>
                </a:lnTo>
                <a:lnTo>
                  <a:pt x="68" y="21"/>
                </a:lnTo>
                <a:lnTo>
                  <a:pt x="66" y="16"/>
                </a:lnTo>
                <a:lnTo>
                  <a:pt x="66" y="15"/>
                </a:lnTo>
                <a:lnTo>
                  <a:pt x="68" y="14"/>
                </a:lnTo>
                <a:lnTo>
                  <a:pt x="68" y="12"/>
                </a:lnTo>
                <a:lnTo>
                  <a:pt x="69" y="11"/>
                </a:lnTo>
                <a:lnTo>
                  <a:pt x="71" y="11"/>
                </a:lnTo>
                <a:lnTo>
                  <a:pt x="76" y="10"/>
                </a:lnTo>
                <a:lnTo>
                  <a:pt x="77" y="10"/>
                </a:lnTo>
                <a:lnTo>
                  <a:pt x="78" y="7"/>
                </a:lnTo>
                <a:lnTo>
                  <a:pt x="77" y="5"/>
                </a:lnTo>
                <a:lnTo>
                  <a:pt x="79" y="5"/>
                </a:lnTo>
                <a:lnTo>
                  <a:pt x="82" y="7"/>
                </a:lnTo>
                <a:lnTo>
                  <a:pt x="84" y="7"/>
                </a:lnTo>
                <a:lnTo>
                  <a:pt x="83" y="5"/>
                </a:lnTo>
                <a:lnTo>
                  <a:pt x="82" y="4"/>
                </a:lnTo>
                <a:lnTo>
                  <a:pt x="80" y="3"/>
                </a:lnTo>
                <a:lnTo>
                  <a:pt x="81" y="2"/>
                </a:lnTo>
                <a:lnTo>
                  <a:pt x="83" y="2"/>
                </a:lnTo>
                <a:lnTo>
                  <a:pt x="86" y="1"/>
                </a:lnTo>
                <a:lnTo>
                  <a:pt x="84" y="0"/>
                </a:lnTo>
                <a:lnTo>
                  <a:pt x="92" y="4"/>
                </a:lnTo>
                <a:lnTo>
                  <a:pt x="96" y="6"/>
                </a:lnTo>
                <a:lnTo>
                  <a:pt x="98" y="7"/>
                </a:lnTo>
                <a:lnTo>
                  <a:pt x="100" y="8"/>
                </a:lnTo>
                <a:lnTo>
                  <a:pt x="102" y="8"/>
                </a:lnTo>
                <a:lnTo>
                  <a:pt x="107" y="8"/>
                </a:lnTo>
                <a:lnTo>
                  <a:pt x="109" y="11"/>
                </a:lnTo>
                <a:lnTo>
                  <a:pt x="109" y="13"/>
                </a:lnTo>
                <a:lnTo>
                  <a:pt x="109" y="14"/>
                </a:lnTo>
                <a:lnTo>
                  <a:pt x="111" y="16"/>
                </a:lnTo>
                <a:lnTo>
                  <a:pt x="113" y="16"/>
                </a:lnTo>
                <a:lnTo>
                  <a:pt x="111" y="17"/>
                </a:lnTo>
                <a:lnTo>
                  <a:pt x="112" y="19"/>
                </a:lnTo>
                <a:lnTo>
                  <a:pt x="112" y="22"/>
                </a:lnTo>
                <a:lnTo>
                  <a:pt x="112" y="23"/>
                </a:lnTo>
                <a:lnTo>
                  <a:pt x="114" y="25"/>
                </a:lnTo>
                <a:lnTo>
                  <a:pt x="119" y="27"/>
                </a:lnTo>
                <a:lnTo>
                  <a:pt x="123" y="27"/>
                </a:lnTo>
                <a:lnTo>
                  <a:pt x="126" y="27"/>
                </a:lnTo>
                <a:lnTo>
                  <a:pt x="132" y="28"/>
                </a:lnTo>
                <a:lnTo>
                  <a:pt x="134" y="28"/>
                </a:lnTo>
                <a:lnTo>
                  <a:pt x="133" y="26"/>
                </a:lnTo>
                <a:lnTo>
                  <a:pt x="136" y="25"/>
                </a:lnTo>
                <a:lnTo>
                  <a:pt x="138" y="26"/>
                </a:lnTo>
                <a:lnTo>
                  <a:pt x="141" y="29"/>
                </a:lnTo>
                <a:lnTo>
                  <a:pt x="143" y="31"/>
                </a:lnTo>
                <a:lnTo>
                  <a:pt x="144" y="33"/>
                </a:lnTo>
                <a:lnTo>
                  <a:pt x="146" y="36"/>
                </a:lnTo>
                <a:lnTo>
                  <a:pt x="148" y="38"/>
                </a:lnTo>
                <a:lnTo>
                  <a:pt x="150" y="39"/>
                </a:lnTo>
                <a:lnTo>
                  <a:pt x="151" y="41"/>
                </a:lnTo>
                <a:lnTo>
                  <a:pt x="153" y="45"/>
                </a:lnTo>
                <a:lnTo>
                  <a:pt x="154" y="47"/>
                </a:lnTo>
                <a:lnTo>
                  <a:pt x="157" y="51"/>
                </a:lnTo>
                <a:lnTo>
                  <a:pt x="159" y="53"/>
                </a:lnTo>
                <a:lnTo>
                  <a:pt x="173" y="59"/>
                </a:lnTo>
                <a:lnTo>
                  <a:pt x="181" y="66"/>
                </a:lnTo>
                <a:lnTo>
                  <a:pt x="183" y="67"/>
                </a:lnTo>
                <a:lnTo>
                  <a:pt x="188" y="67"/>
                </a:lnTo>
                <a:lnTo>
                  <a:pt x="192" y="69"/>
                </a:lnTo>
                <a:lnTo>
                  <a:pt x="199" y="74"/>
                </a:lnTo>
                <a:lnTo>
                  <a:pt x="205" y="79"/>
                </a:lnTo>
                <a:lnTo>
                  <a:pt x="208" y="80"/>
                </a:lnTo>
                <a:lnTo>
                  <a:pt x="210" y="82"/>
                </a:lnTo>
                <a:lnTo>
                  <a:pt x="212" y="80"/>
                </a:lnTo>
                <a:lnTo>
                  <a:pt x="214" y="80"/>
                </a:lnTo>
                <a:lnTo>
                  <a:pt x="221" y="83"/>
                </a:lnTo>
                <a:lnTo>
                  <a:pt x="222" y="84"/>
                </a:lnTo>
                <a:lnTo>
                  <a:pt x="224" y="85"/>
                </a:lnTo>
                <a:lnTo>
                  <a:pt x="227" y="86"/>
                </a:lnTo>
                <a:lnTo>
                  <a:pt x="227" y="88"/>
                </a:lnTo>
                <a:lnTo>
                  <a:pt x="225" y="90"/>
                </a:lnTo>
                <a:lnTo>
                  <a:pt x="227" y="95"/>
                </a:lnTo>
                <a:lnTo>
                  <a:pt x="228" y="96"/>
                </a:lnTo>
                <a:lnTo>
                  <a:pt x="228" y="98"/>
                </a:lnTo>
                <a:lnTo>
                  <a:pt x="228" y="98"/>
                </a:lnTo>
                <a:lnTo>
                  <a:pt x="223" y="98"/>
                </a:lnTo>
                <a:lnTo>
                  <a:pt x="221" y="97"/>
                </a:lnTo>
                <a:lnTo>
                  <a:pt x="217" y="95"/>
                </a:lnTo>
                <a:lnTo>
                  <a:pt x="214" y="95"/>
                </a:lnTo>
                <a:lnTo>
                  <a:pt x="213" y="95"/>
                </a:lnTo>
                <a:lnTo>
                  <a:pt x="213" y="96"/>
                </a:lnTo>
                <a:lnTo>
                  <a:pt x="213" y="98"/>
                </a:lnTo>
                <a:lnTo>
                  <a:pt x="213" y="99"/>
                </a:lnTo>
                <a:lnTo>
                  <a:pt x="213" y="99"/>
                </a:lnTo>
                <a:lnTo>
                  <a:pt x="209" y="99"/>
                </a:lnTo>
                <a:lnTo>
                  <a:pt x="207" y="99"/>
                </a:lnTo>
                <a:lnTo>
                  <a:pt x="204" y="99"/>
                </a:lnTo>
                <a:lnTo>
                  <a:pt x="203" y="102"/>
                </a:lnTo>
                <a:lnTo>
                  <a:pt x="202" y="102"/>
                </a:lnTo>
                <a:lnTo>
                  <a:pt x="202" y="103"/>
                </a:lnTo>
                <a:lnTo>
                  <a:pt x="203" y="104"/>
                </a:lnTo>
                <a:lnTo>
                  <a:pt x="202" y="109"/>
                </a:lnTo>
                <a:lnTo>
                  <a:pt x="202" y="110"/>
                </a:lnTo>
                <a:lnTo>
                  <a:pt x="202" y="113"/>
                </a:lnTo>
                <a:lnTo>
                  <a:pt x="202" y="115"/>
                </a:lnTo>
                <a:lnTo>
                  <a:pt x="202" y="116"/>
                </a:lnTo>
                <a:lnTo>
                  <a:pt x="199" y="119"/>
                </a:lnTo>
                <a:lnTo>
                  <a:pt x="197" y="119"/>
                </a:lnTo>
                <a:lnTo>
                  <a:pt x="195" y="122"/>
                </a:lnTo>
                <a:lnTo>
                  <a:pt x="193" y="122"/>
                </a:lnTo>
                <a:lnTo>
                  <a:pt x="192" y="124"/>
                </a:lnTo>
                <a:lnTo>
                  <a:pt x="187" y="124"/>
                </a:lnTo>
                <a:lnTo>
                  <a:pt x="185" y="125"/>
                </a:lnTo>
                <a:lnTo>
                  <a:pt x="183" y="125"/>
                </a:lnTo>
                <a:lnTo>
                  <a:pt x="183" y="126"/>
                </a:lnTo>
                <a:lnTo>
                  <a:pt x="185" y="128"/>
                </a:lnTo>
                <a:lnTo>
                  <a:pt x="185" y="129"/>
                </a:lnTo>
                <a:lnTo>
                  <a:pt x="184" y="129"/>
                </a:lnTo>
                <a:lnTo>
                  <a:pt x="184" y="133"/>
                </a:lnTo>
                <a:lnTo>
                  <a:pt x="183" y="134"/>
                </a:lnTo>
                <a:lnTo>
                  <a:pt x="181" y="134"/>
                </a:lnTo>
                <a:lnTo>
                  <a:pt x="180" y="136"/>
                </a:lnTo>
                <a:lnTo>
                  <a:pt x="175" y="136"/>
                </a:lnTo>
                <a:lnTo>
                  <a:pt x="174" y="136"/>
                </a:lnTo>
                <a:lnTo>
                  <a:pt x="173" y="136"/>
                </a:lnTo>
                <a:lnTo>
                  <a:pt x="171" y="135"/>
                </a:lnTo>
                <a:lnTo>
                  <a:pt x="169" y="134"/>
                </a:lnTo>
                <a:lnTo>
                  <a:pt x="167" y="133"/>
                </a:lnTo>
                <a:lnTo>
                  <a:pt x="163" y="133"/>
                </a:lnTo>
                <a:lnTo>
                  <a:pt x="160" y="133"/>
                </a:lnTo>
                <a:lnTo>
                  <a:pt x="160" y="132"/>
                </a:lnTo>
                <a:lnTo>
                  <a:pt x="158" y="129"/>
                </a:lnTo>
                <a:lnTo>
                  <a:pt x="156" y="128"/>
                </a:lnTo>
                <a:lnTo>
                  <a:pt x="156" y="125"/>
                </a:lnTo>
                <a:lnTo>
                  <a:pt x="153" y="122"/>
                </a:lnTo>
                <a:lnTo>
                  <a:pt x="151" y="113"/>
                </a:lnTo>
                <a:lnTo>
                  <a:pt x="150" y="110"/>
                </a:lnTo>
                <a:lnTo>
                  <a:pt x="143" y="110"/>
                </a:lnTo>
                <a:lnTo>
                  <a:pt x="138" y="108"/>
                </a:lnTo>
                <a:lnTo>
                  <a:pt x="131" y="104"/>
                </a:lnTo>
                <a:lnTo>
                  <a:pt x="126" y="100"/>
                </a:lnTo>
                <a:lnTo>
                  <a:pt x="123" y="100"/>
                </a:lnTo>
                <a:lnTo>
                  <a:pt x="121" y="96"/>
                </a:lnTo>
                <a:lnTo>
                  <a:pt x="118" y="93"/>
                </a:lnTo>
                <a:lnTo>
                  <a:pt x="116" y="92"/>
                </a:lnTo>
                <a:lnTo>
                  <a:pt x="111" y="92"/>
                </a:lnTo>
                <a:lnTo>
                  <a:pt x="108" y="92"/>
                </a:lnTo>
                <a:lnTo>
                  <a:pt x="104" y="92"/>
                </a:lnTo>
                <a:lnTo>
                  <a:pt x="101" y="89"/>
                </a:lnTo>
                <a:lnTo>
                  <a:pt x="90" y="86"/>
                </a:lnTo>
                <a:lnTo>
                  <a:pt x="87" y="83"/>
                </a:lnTo>
                <a:lnTo>
                  <a:pt x="82" y="79"/>
                </a:lnTo>
                <a:lnTo>
                  <a:pt x="77" y="79"/>
                </a:lnTo>
                <a:lnTo>
                  <a:pt x="72" y="80"/>
                </a:lnTo>
                <a:lnTo>
                  <a:pt x="72" y="82"/>
                </a:lnTo>
                <a:lnTo>
                  <a:pt x="71" y="84"/>
                </a:lnTo>
                <a:lnTo>
                  <a:pt x="68" y="84"/>
                </a:lnTo>
                <a:lnTo>
                  <a:pt x="65" y="83"/>
                </a:lnTo>
                <a:lnTo>
                  <a:pt x="62" y="83"/>
                </a:lnTo>
                <a:lnTo>
                  <a:pt x="58" y="84"/>
                </a:lnTo>
                <a:lnTo>
                  <a:pt x="55" y="87"/>
                </a:lnTo>
                <a:lnTo>
                  <a:pt x="47" y="94"/>
                </a:lnTo>
                <a:lnTo>
                  <a:pt x="42" y="95"/>
                </a:lnTo>
                <a:lnTo>
                  <a:pt x="38" y="95"/>
                </a:lnTo>
                <a:lnTo>
                  <a:pt x="38" y="95"/>
                </a:lnTo>
                <a:lnTo>
                  <a:pt x="38" y="94"/>
                </a:lnTo>
                <a:lnTo>
                  <a:pt x="35" y="84"/>
                </a:lnTo>
                <a:lnTo>
                  <a:pt x="32" y="77"/>
                </a:lnTo>
                <a:lnTo>
                  <a:pt x="32" y="72"/>
                </a:lnTo>
                <a:lnTo>
                  <a:pt x="35" y="67"/>
                </a:lnTo>
                <a:lnTo>
                  <a:pt x="31" y="66"/>
                </a:lnTo>
                <a:lnTo>
                  <a:pt x="28" y="64"/>
                </a:lnTo>
                <a:lnTo>
                  <a:pt x="26" y="62"/>
                </a:lnTo>
                <a:lnTo>
                  <a:pt x="23" y="61"/>
                </a:lnTo>
                <a:lnTo>
                  <a:pt x="23" y="61"/>
                </a:lnTo>
                <a:lnTo>
                  <a:pt x="28" y="58"/>
                </a:lnTo>
                <a:lnTo>
                  <a:pt x="29" y="57"/>
                </a:lnTo>
                <a:lnTo>
                  <a:pt x="27" y="56"/>
                </a:lnTo>
                <a:lnTo>
                  <a:pt x="23" y="55"/>
                </a:lnTo>
                <a:lnTo>
                  <a:pt x="21" y="53"/>
                </a:lnTo>
                <a:lnTo>
                  <a:pt x="23" y="51"/>
                </a:lnTo>
                <a:lnTo>
                  <a:pt x="26" y="52"/>
                </a:lnTo>
                <a:lnTo>
                  <a:pt x="29" y="53"/>
                </a:lnTo>
                <a:lnTo>
                  <a:pt x="27" y="49"/>
                </a:lnTo>
                <a:lnTo>
                  <a:pt x="20" y="48"/>
                </a:lnTo>
                <a:lnTo>
                  <a:pt x="17" y="49"/>
                </a:lnTo>
                <a:lnTo>
                  <a:pt x="15" y="52"/>
                </a:lnTo>
                <a:lnTo>
                  <a:pt x="13" y="52"/>
                </a:lnTo>
                <a:lnTo>
                  <a:pt x="10" y="44"/>
                </a:lnTo>
                <a:lnTo>
                  <a:pt x="9" y="39"/>
                </a:lnTo>
                <a:lnTo>
                  <a:pt x="10" y="37"/>
                </a:lnTo>
                <a:lnTo>
                  <a:pt x="10" y="36"/>
                </a:lnTo>
                <a:lnTo>
                  <a:pt x="9" y="31"/>
                </a:lnTo>
                <a:lnTo>
                  <a:pt x="11" y="34"/>
                </a:lnTo>
                <a:lnTo>
                  <a:pt x="12" y="36"/>
                </a:lnTo>
                <a:lnTo>
                  <a:pt x="19" y="36"/>
                </a:lnTo>
                <a:lnTo>
                  <a:pt x="25" y="37"/>
                </a:lnTo>
                <a:lnTo>
                  <a:pt x="27" y="37"/>
                </a:lnTo>
                <a:lnTo>
                  <a:pt x="31" y="38"/>
                </a:lnTo>
                <a:lnTo>
                  <a:pt x="33" y="37"/>
                </a:lnTo>
                <a:lnTo>
                  <a:pt x="31" y="37"/>
                </a:lnTo>
                <a:lnTo>
                  <a:pt x="30" y="35"/>
                </a:lnTo>
                <a:lnTo>
                  <a:pt x="35" y="34"/>
                </a:lnTo>
                <a:lnTo>
                  <a:pt x="37" y="29"/>
                </a:lnTo>
                <a:lnTo>
                  <a:pt x="29" y="26"/>
                </a:lnTo>
                <a:lnTo>
                  <a:pt x="23" y="22"/>
                </a:lnTo>
                <a:lnTo>
                  <a:pt x="21" y="17"/>
                </a:lnTo>
                <a:lnTo>
                  <a:pt x="18" y="14"/>
                </a:lnTo>
                <a:lnTo>
                  <a:pt x="17" y="13"/>
                </a:lnTo>
                <a:lnTo>
                  <a:pt x="13" y="13"/>
                </a:lnTo>
                <a:lnTo>
                  <a:pt x="9" y="14"/>
                </a:lnTo>
                <a:lnTo>
                  <a:pt x="6" y="16"/>
                </a:lnTo>
                <a:lnTo>
                  <a:pt x="5" y="19"/>
                </a:lnTo>
                <a:lnTo>
                  <a:pt x="5" y="22"/>
                </a:lnTo>
                <a:lnTo>
                  <a:pt x="6" y="22"/>
                </a:lnTo>
                <a:lnTo>
                  <a:pt x="8" y="28"/>
                </a:lnTo>
                <a:lnTo>
                  <a:pt x="7" y="27"/>
                </a:lnTo>
                <a:lnTo>
                  <a:pt x="2" y="22"/>
                </a:lnTo>
                <a:lnTo>
                  <a:pt x="0" y="17"/>
                </a:lnTo>
                <a:lnTo>
                  <a:pt x="7" y="11"/>
                </a:lnTo>
                <a:lnTo>
                  <a:pt x="12" y="8"/>
                </a:lnTo>
                <a:lnTo>
                  <a:pt x="18" y="7"/>
                </a:lnTo>
                <a:lnTo>
                  <a:pt x="20" y="6"/>
                </a:lnTo>
                <a:lnTo>
                  <a:pt x="22" y="6"/>
                </a:lnTo>
                <a:lnTo>
                  <a:pt x="25" y="7"/>
                </a:lnTo>
                <a:lnTo>
                  <a:pt x="27" y="8"/>
                </a:lnTo>
                <a:lnTo>
                  <a:pt x="31" y="11"/>
                </a:lnTo>
                <a:lnTo>
                  <a:pt x="32" y="12"/>
                </a:lnTo>
                <a:lnTo>
                  <a:pt x="36" y="16"/>
                </a:lnTo>
                <a:lnTo>
                  <a:pt x="37" y="17"/>
                </a:lnTo>
                <a:lnTo>
                  <a:pt x="39" y="19"/>
                </a:lnTo>
                <a:lnTo>
                  <a:pt x="42" y="25"/>
                </a:lnTo>
                <a:lnTo>
                  <a:pt x="46" y="26"/>
                </a:lnTo>
                <a:lnTo>
                  <a:pt x="50" y="26"/>
                </a:lnTo>
                <a:lnTo>
                  <a:pt x="53" y="2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89" name="Freeform 689"/>
          <p:cNvSpPr>
            <a:spLocks/>
          </p:cNvSpPr>
          <p:nvPr/>
        </p:nvSpPr>
        <p:spPr bwMode="auto">
          <a:xfrm>
            <a:off x="5568950" y="2344703"/>
            <a:ext cx="361950" cy="215900"/>
          </a:xfrm>
          <a:custGeom>
            <a:avLst/>
            <a:gdLst>
              <a:gd name="T0" fmla="*/ 68 w 228"/>
              <a:gd name="T1" fmla="*/ 23 h 136"/>
              <a:gd name="T2" fmla="*/ 68 w 228"/>
              <a:gd name="T3" fmla="*/ 14 h 136"/>
              <a:gd name="T4" fmla="*/ 76 w 228"/>
              <a:gd name="T5" fmla="*/ 10 h 136"/>
              <a:gd name="T6" fmla="*/ 79 w 228"/>
              <a:gd name="T7" fmla="*/ 5 h 136"/>
              <a:gd name="T8" fmla="*/ 82 w 228"/>
              <a:gd name="T9" fmla="*/ 4 h 136"/>
              <a:gd name="T10" fmla="*/ 86 w 228"/>
              <a:gd name="T11" fmla="*/ 1 h 136"/>
              <a:gd name="T12" fmla="*/ 98 w 228"/>
              <a:gd name="T13" fmla="*/ 7 h 136"/>
              <a:gd name="T14" fmla="*/ 109 w 228"/>
              <a:gd name="T15" fmla="*/ 11 h 136"/>
              <a:gd name="T16" fmla="*/ 113 w 228"/>
              <a:gd name="T17" fmla="*/ 16 h 136"/>
              <a:gd name="T18" fmla="*/ 112 w 228"/>
              <a:gd name="T19" fmla="*/ 23 h 136"/>
              <a:gd name="T20" fmla="*/ 126 w 228"/>
              <a:gd name="T21" fmla="*/ 27 h 136"/>
              <a:gd name="T22" fmla="*/ 136 w 228"/>
              <a:gd name="T23" fmla="*/ 25 h 136"/>
              <a:gd name="T24" fmla="*/ 144 w 228"/>
              <a:gd name="T25" fmla="*/ 33 h 136"/>
              <a:gd name="T26" fmla="*/ 151 w 228"/>
              <a:gd name="T27" fmla="*/ 41 h 136"/>
              <a:gd name="T28" fmla="*/ 159 w 228"/>
              <a:gd name="T29" fmla="*/ 53 h 136"/>
              <a:gd name="T30" fmla="*/ 188 w 228"/>
              <a:gd name="T31" fmla="*/ 67 h 136"/>
              <a:gd name="T32" fmla="*/ 208 w 228"/>
              <a:gd name="T33" fmla="*/ 80 h 136"/>
              <a:gd name="T34" fmla="*/ 221 w 228"/>
              <a:gd name="T35" fmla="*/ 83 h 136"/>
              <a:gd name="T36" fmla="*/ 227 w 228"/>
              <a:gd name="T37" fmla="*/ 88 h 136"/>
              <a:gd name="T38" fmla="*/ 228 w 228"/>
              <a:gd name="T39" fmla="*/ 98 h 136"/>
              <a:gd name="T40" fmla="*/ 217 w 228"/>
              <a:gd name="T41" fmla="*/ 95 h 136"/>
              <a:gd name="T42" fmla="*/ 213 w 228"/>
              <a:gd name="T43" fmla="*/ 98 h 136"/>
              <a:gd name="T44" fmla="*/ 207 w 228"/>
              <a:gd name="T45" fmla="*/ 99 h 136"/>
              <a:gd name="T46" fmla="*/ 202 w 228"/>
              <a:gd name="T47" fmla="*/ 103 h 136"/>
              <a:gd name="T48" fmla="*/ 202 w 228"/>
              <a:gd name="T49" fmla="*/ 113 h 136"/>
              <a:gd name="T50" fmla="*/ 197 w 228"/>
              <a:gd name="T51" fmla="*/ 119 h 136"/>
              <a:gd name="T52" fmla="*/ 187 w 228"/>
              <a:gd name="T53" fmla="*/ 124 h 136"/>
              <a:gd name="T54" fmla="*/ 185 w 228"/>
              <a:gd name="T55" fmla="*/ 128 h 136"/>
              <a:gd name="T56" fmla="*/ 183 w 228"/>
              <a:gd name="T57" fmla="*/ 134 h 136"/>
              <a:gd name="T58" fmla="*/ 174 w 228"/>
              <a:gd name="T59" fmla="*/ 136 h 136"/>
              <a:gd name="T60" fmla="*/ 167 w 228"/>
              <a:gd name="T61" fmla="*/ 133 h 136"/>
              <a:gd name="T62" fmla="*/ 158 w 228"/>
              <a:gd name="T63" fmla="*/ 129 h 136"/>
              <a:gd name="T64" fmla="*/ 151 w 228"/>
              <a:gd name="T65" fmla="*/ 113 h 136"/>
              <a:gd name="T66" fmla="*/ 131 w 228"/>
              <a:gd name="T67" fmla="*/ 104 h 136"/>
              <a:gd name="T68" fmla="*/ 118 w 228"/>
              <a:gd name="T69" fmla="*/ 93 h 136"/>
              <a:gd name="T70" fmla="*/ 104 w 228"/>
              <a:gd name="T71" fmla="*/ 92 h 136"/>
              <a:gd name="T72" fmla="*/ 82 w 228"/>
              <a:gd name="T73" fmla="*/ 79 h 136"/>
              <a:gd name="T74" fmla="*/ 71 w 228"/>
              <a:gd name="T75" fmla="*/ 84 h 136"/>
              <a:gd name="T76" fmla="*/ 58 w 228"/>
              <a:gd name="T77" fmla="*/ 84 h 136"/>
              <a:gd name="T78" fmla="*/ 38 w 228"/>
              <a:gd name="T79" fmla="*/ 95 h 136"/>
              <a:gd name="T80" fmla="*/ 32 w 228"/>
              <a:gd name="T81" fmla="*/ 77 h 136"/>
              <a:gd name="T82" fmla="*/ 28 w 228"/>
              <a:gd name="T83" fmla="*/ 64 h 136"/>
              <a:gd name="T84" fmla="*/ 28 w 228"/>
              <a:gd name="T85" fmla="*/ 58 h 136"/>
              <a:gd name="T86" fmla="*/ 21 w 228"/>
              <a:gd name="T87" fmla="*/ 53 h 136"/>
              <a:gd name="T88" fmla="*/ 27 w 228"/>
              <a:gd name="T89" fmla="*/ 49 h 136"/>
              <a:gd name="T90" fmla="*/ 13 w 228"/>
              <a:gd name="T91" fmla="*/ 52 h 136"/>
              <a:gd name="T92" fmla="*/ 10 w 228"/>
              <a:gd name="T93" fmla="*/ 36 h 136"/>
              <a:gd name="T94" fmla="*/ 19 w 228"/>
              <a:gd name="T95" fmla="*/ 36 h 136"/>
              <a:gd name="T96" fmla="*/ 33 w 228"/>
              <a:gd name="T97" fmla="*/ 37 h 136"/>
              <a:gd name="T98" fmla="*/ 37 w 228"/>
              <a:gd name="T99" fmla="*/ 29 h 136"/>
              <a:gd name="T100" fmla="*/ 18 w 228"/>
              <a:gd name="T101" fmla="*/ 14 h 136"/>
              <a:gd name="T102" fmla="*/ 6 w 228"/>
              <a:gd name="T103" fmla="*/ 16 h 136"/>
              <a:gd name="T104" fmla="*/ 8 w 228"/>
              <a:gd name="T105" fmla="*/ 28 h 136"/>
              <a:gd name="T106" fmla="*/ 7 w 228"/>
              <a:gd name="T107" fmla="*/ 11 h 136"/>
              <a:gd name="T108" fmla="*/ 22 w 228"/>
              <a:gd name="T109" fmla="*/ 6 h 136"/>
              <a:gd name="T110" fmla="*/ 32 w 228"/>
              <a:gd name="T111" fmla="*/ 12 h 136"/>
              <a:gd name="T112" fmla="*/ 42 w 228"/>
              <a:gd name="T113" fmla="*/ 25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28" h="136">
                <a:moveTo>
                  <a:pt x="53" y="25"/>
                </a:moveTo>
                <a:lnTo>
                  <a:pt x="69" y="27"/>
                </a:lnTo>
                <a:lnTo>
                  <a:pt x="70" y="26"/>
                </a:lnTo>
                <a:lnTo>
                  <a:pt x="68" y="23"/>
                </a:lnTo>
                <a:lnTo>
                  <a:pt x="68" y="21"/>
                </a:lnTo>
                <a:lnTo>
                  <a:pt x="66" y="16"/>
                </a:lnTo>
                <a:lnTo>
                  <a:pt x="66" y="15"/>
                </a:lnTo>
                <a:lnTo>
                  <a:pt x="68" y="14"/>
                </a:lnTo>
                <a:lnTo>
                  <a:pt x="68" y="12"/>
                </a:lnTo>
                <a:lnTo>
                  <a:pt x="69" y="11"/>
                </a:lnTo>
                <a:lnTo>
                  <a:pt x="71" y="11"/>
                </a:lnTo>
                <a:lnTo>
                  <a:pt x="76" y="10"/>
                </a:lnTo>
                <a:lnTo>
                  <a:pt x="77" y="10"/>
                </a:lnTo>
                <a:lnTo>
                  <a:pt x="78" y="7"/>
                </a:lnTo>
                <a:lnTo>
                  <a:pt x="77" y="5"/>
                </a:lnTo>
                <a:lnTo>
                  <a:pt x="79" y="5"/>
                </a:lnTo>
                <a:lnTo>
                  <a:pt x="82" y="7"/>
                </a:lnTo>
                <a:lnTo>
                  <a:pt x="84" y="7"/>
                </a:lnTo>
                <a:lnTo>
                  <a:pt x="83" y="5"/>
                </a:lnTo>
                <a:lnTo>
                  <a:pt x="82" y="4"/>
                </a:lnTo>
                <a:lnTo>
                  <a:pt x="80" y="3"/>
                </a:lnTo>
                <a:lnTo>
                  <a:pt x="81" y="2"/>
                </a:lnTo>
                <a:lnTo>
                  <a:pt x="83" y="2"/>
                </a:lnTo>
                <a:lnTo>
                  <a:pt x="86" y="1"/>
                </a:lnTo>
                <a:lnTo>
                  <a:pt x="84" y="0"/>
                </a:lnTo>
                <a:lnTo>
                  <a:pt x="92" y="4"/>
                </a:lnTo>
                <a:lnTo>
                  <a:pt x="96" y="6"/>
                </a:lnTo>
                <a:lnTo>
                  <a:pt x="98" y="7"/>
                </a:lnTo>
                <a:lnTo>
                  <a:pt x="100" y="8"/>
                </a:lnTo>
                <a:lnTo>
                  <a:pt x="102" y="8"/>
                </a:lnTo>
                <a:lnTo>
                  <a:pt x="107" y="8"/>
                </a:lnTo>
                <a:lnTo>
                  <a:pt x="109" y="11"/>
                </a:lnTo>
                <a:lnTo>
                  <a:pt x="109" y="13"/>
                </a:lnTo>
                <a:lnTo>
                  <a:pt x="109" y="14"/>
                </a:lnTo>
                <a:lnTo>
                  <a:pt x="111" y="16"/>
                </a:lnTo>
                <a:lnTo>
                  <a:pt x="113" y="16"/>
                </a:lnTo>
                <a:lnTo>
                  <a:pt x="111" y="17"/>
                </a:lnTo>
                <a:lnTo>
                  <a:pt x="112" y="19"/>
                </a:lnTo>
                <a:lnTo>
                  <a:pt x="112" y="22"/>
                </a:lnTo>
                <a:lnTo>
                  <a:pt x="112" y="23"/>
                </a:lnTo>
                <a:lnTo>
                  <a:pt x="114" y="25"/>
                </a:lnTo>
                <a:lnTo>
                  <a:pt x="119" y="27"/>
                </a:lnTo>
                <a:lnTo>
                  <a:pt x="123" y="27"/>
                </a:lnTo>
                <a:lnTo>
                  <a:pt x="126" y="27"/>
                </a:lnTo>
                <a:lnTo>
                  <a:pt x="132" y="28"/>
                </a:lnTo>
                <a:lnTo>
                  <a:pt x="134" y="28"/>
                </a:lnTo>
                <a:lnTo>
                  <a:pt x="133" y="26"/>
                </a:lnTo>
                <a:lnTo>
                  <a:pt x="136" y="25"/>
                </a:lnTo>
                <a:lnTo>
                  <a:pt x="138" y="26"/>
                </a:lnTo>
                <a:lnTo>
                  <a:pt x="141" y="29"/>
                </a:lnTo>
                <a:lnTo>
                  <a:pt x="143" y="31"/>
                </a:lnTo>
                <a:lnTo>
                  <a:pt x="144" y="33"/>
                </a:lnTo>
                <a:lnTo>
                  <a:pt x="146" y="36"/>
                </a:lnTo>
                <a:lnTo>
                  <a:pt x="148" y="38"/>
                </a:lnTo>
                <a:lnTo>
                  <a:pt x="150" y="39"/>
                </a:lnTo>
                <a:lnTo>
                  <a:pt x="151" y="41"/>
                </a:lnTo>
                <a:lnTo>
                  <a:pt x="153" y="45"/>
                </a:lnTo>
                <a:lnTo>
                  <a:pt x="154" y="47"/>
                </a:lnTo>
                <a:lnTo>
                  <a:pt x="157" y="51"/>
                </a:lnTo>
                <a:lnTo>
                  <a:pt x="159" y="53"/>
                </a:lnTo>
                <a:lnTo>
                  <a:pt x="173" y="59"/>
                </a:lnTo>
                <a:lnTo>
                  <a:pt x="181" y="66"/>
                </a:lnTo>
                <a:lnTo>
                  <a:pt x="183" y="67"/>
                </a:lnTo>
                <a:lnTo>
                  <a:pt x="188" y="67"/>
                </a:lnTo>
                <a:lnTo>
                  <a:pt x="192" y="69"/>
                </a:lnTo>
                <a:lnTo>
                  <a:pt x="199" y="74"/>
                </a:lnTo>
                <a:lnTo>
                  <a:pt x="205" y="79"/>
                </a:lnTo>
                <a:lnTo>
                  <a:pt x="208" y="80"/>
                </a:lnTo>
                <a:lnTo>
                  <a:pt x="210" y="82"/>
                </a:lnTo>
                <a:lnTo>
                  <a:pt x="212" y="80"/>
                </a:lnTo>
                <a:lnTo>
                  <a:pt x="214" y="80"/>
                </a:lnTo>
                <a:lnTo>
                  <a:pt x="221" y="83"/>
                </a:lnTo>
                <a:lnTo>
                  <a:pt x="222" y="84"/>
                </a:lnTo>
                <a:lnTo>
                  <a:pt x="224" y="85"/>
                </a:lnTo>
                <a:lnTo>
                  <a:pt x="227" y="86"/>
                </a:lnTo>
                <a:lnTo>
                  <a:pt x="227" y="88"/>
                </a:lnTo>
                <a:lnTo>
                  <a:pt x="225" y="90"/>
                </a:lnTo>
                <a:lnTo>
                  <a:pt x="227" y="95"/>
                </a:lnTo>
                <a:lnTo>
                  <a:pt x="228" y="96"/>
                </a:lnTo>
                <a:lnTo>
                  <a:pt x="228" y="98"/>
                </a:lnTo>
                <a:lnTo>
                  <a:pt x="228" y="98"/>
                </a:lnTo>
                <a:lnTo>
                  <a:pt x="223" y="98"/>
                </a:lnTo>
                <a:lnTo>
                  <a:pt x="221" y="97"/>
                </a:lnTo>
                <a:lnTo>
                  <a:pt x="217" y="95"/>
                </a:lnTo>
                <a:lnTo>
                  <a:pt x="214" y="95"/>
                </a:lnTo>
                <a:lnTo>
                  <a:pt x="213" y="95"/>
                </a:lnTo>
                <a:lnTo>
                  <a:pt x="213" y="96"/>
                </a:lnTo>
                <a:lnTo>
                  <a:pt x="213" y="98"/>
                </a:lnTo>
                <a:lnTo>
                  <a:pt x="213" y="99"/>
                </a:lnTo>
                <a:lnTo>
                  <a:pt x="213" y="99"/>
                </a:lnTo>
                <a:lnTo>
                  <a:pt x="209" y="99"/>
                </a:lnTo>
                <a:lnTo>
                  <a:pt x="207" y="99"/>
                </a:lnTo>
                <a:lnTo>
                  <a:pt x="204" y="99"/>
                </a:lnTo>
                <a:lnTo>
                  <a:pt x="203" y="102"/>
                </a:lnTo>
                <a:lnTo>
                  <a:pt x="202" y="102"/>
                </a:lnTo>
                <a:lnTo>
                  <a:pt x="202" y="103"/>
                </a:lnTo>
                <a:lnTo>
                  <a:pt x="203" y="104"/>
                </a:lnTo>
                <a:lnTo>
                  <a:pt x="202" y="109"/>
                </a:lnTo>
                <a:lnTo>
                  <a:pt x="202" y="110"/>
                </a:lnTo>
                <a:lnTo>
                  <a:pt x="202" y="113"/>
                </a:lnTo>
                <a:lnTo>
                  <a:pt x="202" y="115"/>
                </a:lnTo>
                <a:lnTo>
                  <a:pt x="202" y="116"/>
                </a:lnTo>
                <a:lnTo>
                  <a:pt x="199" y="119"/>
                </a:lnTo>
                <a:lnTo>
                  <a:pt x="197" y="119"/>
                </a:lnTo>
                <a:lnTo>
                  <a:pt x="195" y="122"/>
                </a:lnTo>
                <a:lnTo>
                  <a:pt x="193" y="122"/>
                </a:lnTo>
                <a:lnTo>
                  <a:pt x="192" y="124"/>
                </a:lnTo>
                <a:lnTo>
                  <a:pt x="187" y="124"/>
                </a:lnTo>
                <a:lnTo>
                  <a:pt x="185" y="125"/>
                </a:lnTo>
                <a:lnTo>
                  <a:pt x="183" y="125"/>
                </a:lnTo>
                <a:lnTo>
                  <a:pt x="183" y="126"/>
                </a:lnTo>
                <a:lnTo>
                  <a:pt x="185" y="128"/>
                </a:lnTo>
                <a:lnTo>
                  <a:pt x="185" y="129"/>
                </a:lnTo>
                <a:lnTo>
                  <a:pt x="184" y="129"/>
                </a:lnTo>
                <a:lnTo>
                  <a:pt x="184" y="133"/>
                </a:lnTo>
                <a:lnTo>
                  <a:pt x="183" y="134"/>
                </a:lnTo>
                <a:lnTo>
                  <a:pt x="181" y="134"/>
                </a:lnTo>
                <a:lnTo>
                  <a:pt x="180" y="136"/>
                </a:lnTo>
                <a:lnTo>
                  <a:pt x="175" y="136"/>
                </a:lnTo>
                <a:lnTo>
                  <a:pt x="174" y="136"/>
                </a:lnTo>
                <a:lnTo>
                  <a:pt x="173" y="136"/>
                </a:lnTo>
                <a:lnTo>
                  <a:pt x="171" y="135"/>
                </a:lnTo>
                <a:lnTo>
                  <a:pt x="169" y="134"/>
                </a:lnTo>
                <a:lnTo>
                  <a:pt x="167" y="133"/>
                </a:lnTo>
                <a:lnTo>
                  <a:pt x="163" y="133"/>
                </a:lnTo>
                <a:lnTo>
                  <a:pt x="160" y="133"/>
                </a:lnTo>
                <a:lnTo>
                  <a:pt x="160" y="132"/>
                </a:lnTo>
                <a:lnTo>
                  <a:pt x="158" y="129"/>
                </a:lnTo>
                <a:lnTo>
                  <a:pt x="156" y="128"/>
                </a:lnTo>
                <a:lnTo>
                  <a:pt x="156" y="125"/>
                </a:lnTo>
                <a:lnTo>
                  <a:pt x="153" y="122"/>
                </a:lnTo>
                <a:lnTo>
                  <a:pt x="151" y="113"/>
                </a:lnTo>
                <a:lnTo>
                  <a:pt x="150" y="110"/>
                </a:lnTo>
                <a:lnTo>
                  <a:pt x="143" y="110"/>
                </a:lnTo>
                <a:lnTo>
                  <a:pt x="138" y="108"/>
                </a:lnTo>
                <a:lnTo>
                  <a:pt x="131" y="104"/>
                </a:lnTo>
                <a:lnTo>
                  <a:pt x="126" y="100"/>
                </a:lnTo>
                <a:lnTo>
                  <a:pt x="123" y="100"/>
                </a:lnTo>
                <a:lnTo>
                  <a:pt x="121" y="96"/>
                </a:lnTo>
                <a:lnTo>
                  <a:pt x="118" y="93"/>
                </a:lnTo>
                <a:lnTo>
                  <a:pt x="116" y="92"/>
                </a:lnTo>
                <a:lnTo>
                  <a:pt x="111" y="92"/>
                </a:lnTo>
                <a:lnTo>
                  <a:pt x="108" y="92"/>
                </a:lnTo>
                <a:lnTo>
                  <a:pt x="104" y="92"/>
                </a:lnTo>
                <a:lnTo>
                  <a:pt x="101" y="89"/>
                </a:lnTo>
                <a:lnTo>
                  <a:pt x="90" y="86"/>
                </a:lnTo>
                <a:lnTo>
                  <a:pt x="87" y="83"/>
                </a:lnTo>
                <a:lnTo>
                  <a:pt x="82" y="79"/>
                </a:lnTo>
                <a:lnTo>
                  <a:pt x="77" y="79"/>
                </a:lnTo>
                <a:lnTo>
                  <a:pt x="72" y="80"/>
                </a:lnTo>
                <a:lnTo>
                  <a:pt x="72" y="82"/>
                </a:lnTo>
                <a:lnTo>
                  <a:pt x="71" y="84"/>
                </a:lnTo>
                <a:lnTo>
                  <a:pt x="68" y="84"/>
                </a:lnTo>
                <a:lnTo>
                  <a:pt x="65" y="83"/>
                </a:lnTo>
                <a:lnTo>
                  <a:pt x="62" y="83"/>
                </a:lnTo>
                <a:lnTo>
                  <a:pt x="58" y="84"/>
                </a:lnTo>
                <a:lnTo>
                  <a:pt x="55" y="87"/>
                </a:lnTo>
                <a:lnTo>
                  <a:pt x="47" y="94"/>
                </a:lnTo>
                <a:lnTo>
                  <a:pt x="42" y="95"/>
                </a:lnTo>
                <a:lnTo>
                  <a:pt x="38" y="95"/>
                </a:lnTo>
                <a:lnTo>
                  <a:pt x="38" y="95"/>
                </a:lnTo>
                <a:lnTo>
                  <a:pt x="38" y="94"/>
                </a:lnTo>
                <a:lnTo>
                  <a:pt x="35" y="84"/>
                </a:lnTo>
                <a:lnTo>
                  <a:pt x="32" y="77"/>
                </a:lnTo>
                <a:lnTo>
                  <a:pt x="32" y="72"/>
                </a:lnTo>
                <a:lnTo>
                  <a:pt x="35" y="67"/>
                </a:lnTo>
                <a:lnTo>
                  <a:pt x="31" y="66"/>
                </a:lnTo>
                <a:lnTo>
                  <a:pt x="28" y="64"/>
                </a:lnTo>
                <a:lnTo>
                  <a:pt x="26" y="62"/>
                </a:lnTo>
                <a:lnTo>
                  <a:pt x="23" y="61"/>
                </a:lnTo>
                <a:lnTo>
                  <a:pt x="23" y="61"/>
                </a:lnTo>
                <a:lnTo>
                  <a:pt x="28" y="58"/>
                </a:lnTo>
                <a:lnTo>
                  <a:pt x="29" y="57"/>
                </a:lnTo>
                <a:lnTo>
                  <a:pt x="27" y="56"/>
                </a:lnTo>
                <a:lnTo>
                  <a:pt x="23" y="55"/>
                </a:lnTo>
                <a:lnTo>
                  <a:pt x="21" y="53"/>
                </a:lnTo>
                <a:lnTo>
                  <a:pt x="23" y="51"/>
                </a:lnTo>
                <a:lnTo>
                  <a:pt x="26" y="52"/>
                </a:lnTo>
                <a:lnTo>
                  <a:pt x="29" y="53"/>
                </a:lnTo>
                <a:lnTo>
                  <a:pt x="27" y="49"/>
                </a:lnTo>
                <a:lnTo>
                  <a:pt x="20" y="48"/>
                </a:lnTo>
                <a:lnTo>
                  <a:pt x="17" y="49"/>
                </a:lnTo>
                <a:lnTo>
                  <a:pt x="15" y="52"/>
                </a:lnTo>
                <a:lnTo>
                  <a:pt x="13" y="52"/>
                </a:lnTo>
                <a:lnTo>
                  <a:pt x="10" y="44"/>
                </a:lnTo>
                <a:lnTo>
                  <a:pt x="9" y="39"/>
                </a:lnTo>
                <a:lnTo>
                  <a:pt x="10" y="37"/>
                </a:lnTo>
                <a:lnTo>
                  <a:pt x="10" y="36"/>
                </a:lnTo>
                <a:lnTo>
                  <a:pt x="9" y="31"/>
                </a:lnTo>
                <a:lnTo>
                  <a:pt x="11" y="34"/>
                </a:lnTo>
                <a:lnTo>
                  <a:pt x="12" y="36"/>
                </a:lnTo>
                <a:lnTo>
                  <a:pt x="19" y="36"/>
                </a:lnTo>
                <a:lnTo>
                  <a:pt x="25" y="37"/>
                </a:lnTo>
                <a:lnTo>
                  <a:pt x="27" y="37"/>
                </a:lnTo>
                <a:lnTo>
                  <a:pt x="31" y="38"/>
                </a:lnTo>
                <a:lnTo>
                  <a:pt x="33" y="37"/>
                </a:lnTo>
                <a:lnTo>
                  <a:pt x="31" y="37"/>
                </a:lnTo>
                <a:lnTo>
                  <a:pt x="30" y="35"/>
                </a:lnTo>
                <a:lnTo>
                  <a:pt x="35" y="34"/>
                </a:lnTo>
                <a:lnTo>
                  <a:pt x="37" y="29"/>
                </a:lnTo>
                <a:lnTo>
                  <a:pt x="29" y="26"/>
                </a:lnTo>
                <a:lnTo>
                  <a:pt x="23" y="22"/>
                </a:lnTo>
                <a:lnTo>
                  <a:pt x="21" y="17"/>
                </a:lnTo>
                <a:lnTo>
                  <a:pt x="18" y="14"/>
                </a:lnTo>
                <a:lnTo>
                  <a:pt x="17" y="13"/>
                </a:lnTo>
                <a:lnTo>
                  <a:pt x="13" y="13"/>
                </a:lnTo>
                <a:lnTo>
                  <a:pt x="9" y="14"/>
                </a:lnTo>
                <a:lnTo>
                  <a:pt x="6" y="16"/>
                </a:lnTo>
                <a:lnTo>
                  <a:pt x="5" y="19"/>
                </a:lnTo>
                <a:lnTo>
                  <a:pt x="5" y="22"/>
                </a:lnTo>
                <a:lnTo>
                  <a:pt x="6" y="22"/>
                </a:lnTo>
                <a:lnTo>
                  <a:pt x="8" y="28"/>
                </a:lnTo>
                <a:lnTo>
                  <a:pt x="7" y="27"/>
                </a:lnTo>
                <a:lnTo>
                  <a:pt x="2" y="22"/>
                </a:lnTo>
                <a:lnTo>
                  <a:pt x="0" y="17"/>
                </a:lnTo>
                <a:lnTo>
                  <a:pt x="7" y="11"/>
                </a:lnTo>
                <a:lnTo>
                  <a:pt x="12" y="8"/>
                </a:lnTo>
                <a:lnTo>
                  <a:pt x="18" y="7"/>
                </a:lnTo>
                <a:lnTo>
                  <a:pt x="20" y="6"/>
                </a:lnTo>
                <a:lnTo>
                  <a:pt x="22" y="6"/>
                </a:lnTo>
                <a:lnTo>
                  <a:pt x="25" y="7"/>
                </a:lnTo>
                <a:lnTo>
                  <a:pt x="27" y="8"/>
                </a:lnTo>
                <a:lnTo>
                  <a:pt x="31" y="11"/>
                </a:lnTo>
                <a:lnTo>
                  <a:pt x="32" y="12"/>
                </a:lnTo>
                <a:lnTo>
                  <a:pt x="36" y="16"/>
                </a:lnTo>
                <a:lnTo>
                  <a:pt x="37" y="17"/>
                </a:lnTo>
                <a:lnTo>
                  <a:pt x="39" y="19"/>
                </a:lnTo>
                <a:lnTo>
                  <a:pt x="42" y="25"/>
                </a:lnTo>
                <a:lnTo>
                  <a:pt x="46" y="26"/>
                </a:lnTo>
                <a:lnTo>
                  <a:pt x="50" y="26"/>
                </a:lnTo>
                <a:lnTo>
                  <a:pt x="53" y="2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90" name="Freeform 690"/>
          <p:cNvSpPr>
            <a:spLocks/>
          </p:cNvSpPr>
          <p:nvPr/>
        </p:nvSpPr>
        <p:spPr bwMode="auto">
          <a:xfrm>
            <a:off x="5973763" y="2332003"/>
            <a:ext cx="238125" cy="112713"/>
          </a:xfrm>
          <a:custGeom>
            <a:avLst/>
            <a:gdLst>
              <a:gd name="T0" fmla="*/ 70 w 150"/>
              <a:gd name="T1" fmla="*/ 57 h 71"/>
              <a:gd name="T2" fmla="*/ 80 w 150"/>
              <a:gd name="T3" fmla="*/ 53 h 71"/>
              <a:gd name="T4" fmla="*/ 88 w 150"/>
              <a:gd name="T5" fmla="*/ 49 h 71"/>
              <a:gd name="T6" fmla="*/ 96 w 150"/>
              <a:gd name="T7" fmla="*/ 53 h 71"/>
              <a:gd name="T8" fmla="*/ 106 w 150"/>
              <a:gd name="T9" fmla="*/ 50 h 71"/>
              <a:gd name="T10" fmla="*/ 111 w 150"/>
              <a:gd name="T11" fmla="*/ 41 h 71"/>
              <a:gd name="T12" fmla="*/ 127 w 150"/>
              <a:gd name="T13" fmla="*/ 39 h 71"/>
              <a:gd name="T14" fmla="*/ 138 w 150"/>
              <a:gd name="T15" fmla="*/ 26 h 71"/>
              <a:gd name="T16" fmla="*/ 150 w 150"/>
              <a:gd name="T17" fmla="*/ 19 h 71"/>
              <a:gd name="T18" fmla="*/ 147 w 150"/>
              <a:gd name="T19" fmla="*/ 16 h 71"/>
              <a:gd name="T20" fmla="*/ 130 w 150"/>
              <a:gd name="T21" fmla="*/ 8 h 71"/>
              <a:gd name="T22" fmla="*/ 121 w 150"/>
              <a:gd name="T23" fmla="*/ 8 h 71"/>
              <a:gd name="T24" fmla="*/ 111 w 150"/>
              <a:gd name="T25" fmla="*/ 6 h 71"/>
              <a:gd name="T26" fmla="*/ 98 w 150"/>
              <a:gd name="T27" fmla="*/ 4 h 71"/>
              <a:gd name="T28" fmla="*/ 84 w 150"/>
              <a:gd name="T29" fmla="*/ 4 h 71"/>
              <a:gd name="T30" fmla="*/ 74 w 150"/>
              <a:gd name="T31" fmla="*/ 5 h 71"/>
              <a:gd name="T32" fmla="*/ 67 w 150"/>
              <a:gd name="T33" fmla="*/ 3 h 71"/>
              <a:gd name="T34" fmla="*/ 54 w 150"/>
              <a:gd name="T35" fmla="*/ 0 h 71"/>
              <a:gd name="T36" fmla="*/ 48 w 150"/>
              <a:gd name="T37" fmla="*/ 2 h 71"/>
              <a:gd name="T38" fmla="*/ 46 w 150"/>
              <a:gd name="T39" fmla="*/ 8 h 71"/>
              <a:gd name="T40" fmla="*/ 41 w 150"/>
              <a:gd name="T41" fmla="*/ 12 h 71"/>
              <a:gd name="T42" fmla="*/ 30 w 150"/>
              <a:gd name="T43" fmla="*/ 9 h 71"/>
              <a:gd name="T44" fmla="*/ 21 w 150"/>
              <a:gd name="T45" fmla="*/ 8 h 71"/>
              <a:gd name="T46" fmla="*/ 14 w 150"/>
              <a:gd name="T47" fmla="*/ 8 h 71"/>
              <a:gd name="T48" fmla="*/ 13 w 150"/>
              <a:gd name="T49" fmla="*/ 12 h 71"/>
              <a:gd name="T50" fmla="*/ 16 w 150"/>
              <a:gd name="T51" fmla="*/ 16 h 71"/>
              <a:gd name="T52" fmla="*/ 13 w 150"/>
              <a:gd name="T53" fmla="*/ 23 h 71"/>
              <a:gd name="T54" fmla="*/ 7 w 150"/>
              <a:gd name="T55" fmla="*/ 31 h 71"/>
              <a:gd name="T56" fmla="*/ 13 w 150"/>
              <a:gd name="T57" fmla="*/ 31 h 71"/>
              <a:gd name="T58" fmla="*/ 25 w 150"/>
              <a:gd name="T59" fmla="*/ 37 h 71"/>
              <a:gd name="T60" fmla="*/ 27 w 150"/>
              <a:gd name="T61" fmla="*/ 30 h 71"/>
              <a:gd name="T62" fmla="*/ 31 w 150"/>
              <a:gd name="T63" fmla="*/ 35 h 71"/>
              <a:gd name="T64" fmla="*/ 40 w 150"/>
              <a:gd name="T65" fmla="*/ 39 h 71"/>
              <a:gd name="T66" fmla="*/ 50 w 150"/>
              <a:gd name="T67" fmla="*/ 42 h 71"/>
              <a:gd name="T68" fmla="*/ 48 w 150"/>
              <a:gd name="T69" fmla="*/ 45 h 71"/>
              <a:gd name="T70" fmla="*/ 44 w 150"/>
              <a:gd name="T71" fmla="*/ 47 h 71"/>
              <a:gd name="T72" fmla="*/ 39 w 150"/>
              <a:gd name="T73" fmla="*/ 50 h 71"/>
              <a:gd name="T74" fmla="*/ 34 w 150"/>
              <a:gd name="T75" fmla="*/ 54 h 71"/>
              <a:gd name="T76" fmla="*/ 24 w 150"/>
              <a:gd name="T77" fmla="*/ 52 h 71"/>
              <a:gd name="T78" fmla="*/ 20 w 150"/>
              <a:gd name="T79" fmla="*/ 57 h 71"/>
              <a:gd name="T80" fmla="*/ 13 w 150"/>
              <a:gd name="T81" fmla="*/ 55 h 71"/>
              <a:gd name="T82" fmla="*/ 4 w 150"/>
              <a:gd name="T83" fmla="*/ 56 h 71"/>
              <a:gd name="T84" fmla="*/ 3 w 150"/>
              <a:gd name="T85" fmla="*/ 64 h 71"/>
              <a:gd name="T86" fmla="*/ 8 w 150"/>
              <a:gd name="T87" fmla="*/ 65 h 71"/>
              <a:gd name="T88" fmla="*/ 21 w 150"/>
              <a:gd name="T89" fmla="*/ 65 h 71"/>
              <a:gd name="T90" fmla="*/ 27 w 150"/>
              <a:gd name="T91" fmla="*/ 67 h 71"/>
              <a:gd name="T92" fmla="*/ 39 w 150"/>
              <a:gd name="T93" fmla="*/ 66 h 71"/>
              <a:gd name="T94" fmla="*/ 48 w 150"/>
              <a:gd name="T95" fmla="*/ 71 h 71"/>
              <a:gd name="T96" fmla="*/ 60 w 150"/>
              <a:gd name="T97" fmla="*/ 69 h 71"/>
              <a:gd name="T98" fmla="*/ 65 w 150"/>
              <a:gd name="T99" fmla="*/ 65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50" h="71">
                <a:moveTo>
                  <a:pt x="70" y="65"/>
                </a:moveTo>
                <a:lnTo>
                  <a:pt x="69" y="63"/>
                </a:lnTo>
                <a:lnTo>
                  <a:pt x="70" y="57"/>
                </a:lnTo>
                <a:lnTo>
                  <a:pt x="78" y="54"/>
                </a:lnTo>
                <a:lnTo>
                  <a:pt x="79" y="53"/>
                </a:lnTo>
                <a:lnTo>
                  <a:pt x="80" y="53"/>
                </a:lnTo>
                <a:lnTo>
                  <a:pt x="81" y="50"/>
                </a:lnTo>
                <a:lnTo>
                  <a:pt x="85" y="50"/>
                </a:lnTo>
                <a:lnTo>
                  <a:pt x="88" y="49"/>
                </a:lnTo>
                <a:lnTo>
                  <a:pt x="90" y="49"/>
                </a:lnTo>
                <a:lnTo>
                  <a:pt x="94" y="52"/>
                </a:lnTo>
                <a:lnTo>
                  <a:pt x="96" y="53"/>
                </a:lnTo>
                <a:lnTo>
                  <a:pt x="100" y="52"/>
                </a:lnTo>
                <a:lnTo>
                  <a:pt x="104" y="52"/>
                </a:lnTo>
                <a:lnTo>
                  <a:pt x="106" y="50"/>
                </a:lnTo>
                <a:lnTo>
                  <a:pt x="106" y="45"/>
                </a:lnTo>
                <a:lnTo>
                  <a:pt x="108" y="42"/>
                </a:lnTo>
                <a:lnTo>
                  <a:pt x="111" y="41"/>
                </a:lnTo>
                <a:lnTo>
                  <a:pt x="117" y="41"/>
                </a:lnTo>
                <a:lnTo>
                  <a:pt x="124" y="40"/>
                </a:lnTo>
                <a:lnTo>
                  <a:pt x="127" y="39"/>
                </a:lnTo>
                <a:lnTo>
                  <a:pt x="128" y="35"/>
                </a:lnTo>
                <a:lnTo>
                  <a:pt x="130" y="32"/>
                </a:lnTo>
                <a:lnTo>
                  <a:pt x="138" y="26"/>
                </a:lnTo>
                <a:lnTo>
                  <a:pt x="147" y="24"/>
                </a:lnTo>
                <a:lnTo>
                  <a:pt x="149" y="22"/>
                </a:lnTo>
                <a:lnTo>
                  <a:pt x="150" y="19"/>
                </a:lnTo>
                <a:lnTo>
                  <a:pt x="149" y="16"/>
                </a:lnTo>
                <a:lnTo>
                  <a:pt x="149" y="16"/>
                </a:lnTo>
                <a:lnTo>
                  <a:pt x="147" y="16"/>
                </a:lnTo>
                <a:lnTo>
                  <a:pt x="140" y="13"/>
                </a:lnTo>
                <a:lnTo>
                  <a:pt x="136" y="12"/>
                </a:lnTo>
                <a:lnTo>
                  <a:pt x="130" y="8"/>
                </a:lnTo>
                <a:lnTo>
                  <a:pt x="126" y="8"/>
                </a:lnTo>
                <a:lnTo>
                  <a:pt x="124" y="8"/>
                </a:lnTo>
                <a:lnTo>
                  <a:pt x="121" y="8"/>
                </a:lnTo>
                <a:lnTo>
                  <a:pt x="119" y="6"/>
                </a:lnTo>
                <a:lnTo>
                  <a:pt x="118" y="5"/>
                </a:lnTo>
                <a:lnTo>
                  <a:pt x="111" y="6"/>
                </a:lnTo>
                <a:lnTo>
                  <a:pt x="105" y="5"/>
                </a:lnTo>
                <a:lnTo>
                  <a:pt x="102" y="5"/>
                </a:lnTo>
                <a:lnTo>
                  <a:pt x="98" y="4"/>
                </a:lnTo>
                <a:lnTo>
                  <a:pt x="96" y="4"/>
                </a:lnTo>
                <a:lnTo>
                  <a:pt x="92" y="5"/>
                </a:lnTo>
                <a:lnTo>
                  <a:pt x="84" y="4"/>
                </a:lnTo>
                <a:lnTo>
                  <a:pt x="81" y="4"/>
                </a:lnTo>
                <a:lnTo>
                  <a:pt x="78" y="5"/>
                </a:lnTo>
                <a:lnTo>
                  <a:pt x="74" y="5"/>
                </a:lnTo>
                <a:lnTo>
                  <a:pt x="71" y="5"/>
                </a:lnTo>
                <a:lnTo>
                  <a:pt x="69" y="4"/>
                </a:lnTo>
                <a:lnTo>
                  <a:pt x="67" y="3"/>
                </a:lnTo>
                <a:lnTo>
                  <a:pt x="63" y="4"/>
                </a:lnTo>
                <a:lnTo>
                  <a:pt x="60" y="2"/>
                </a:lnTo>
                <a:lnTo>
                  <a:pt x="54" y="0"/>
                </a:lnTo>
                <a:lnTo>
                  <a:pt x="53" y="1"/>
                </a:lnTo>
                <a:lnTo>
                  <a:pt x="50" y="1"/>
                </a:lnTo>
                <a:lnTo>
                  <a:pt x="48" y="2"/>
                </a:lnTo>
                <a:lnTo>
                  <a:pt x="46" y="4"/>
                </a:lnTo>
                <a:lnTo>
                  <a:pt x="46" y="5"/>
                </a:lnTo>
                <a:lnTo>
                  <a:pt x="46" y="8"/>
                </a:lnTo>
                <a:lnTo>
                  <a:pt x="46" y="11"/>
                </a:lnTo>
                <a:lnTo>
                  <a:pt x="46" y="13"/>
                </a:lnTo>
                <a:lnTo>
                  <a:pt x="41" y="12"/>
                </a:lnTo>
                <a:lnTo>
                  <a:pt x="37" y="11"/>
                </a:lnTo>
                <a:lnTo>
                  <a:pt x="33" y="9"/>
                </a:lnTo>
                <a:lnTo>
                  <a:pt x="30" y="9"/>
                </a:lnTo>
                <a:lnTo>
                  <a:pt x="28" y="8"/>
                </a:lnTo>
                <a:lnTo>
                  <a:pt x="26" y="8"/>
                </a:lnTo>
                <a:lnTo>
                  <a:pt x="21" y="8"/>
                </a:lnTo>
                <a:lnTo>
                  <a:pt x="19" y="8"/>
                </a:lnTo>
                <a:lnTo>
                  <a:pt x="17" y="6"/>
                </a:lnTo>
                <a:lnTo>
                  <a:pt x="14" y="8"/>
                </a:lnTo>
                <a:lnTo>
                  <a:pt x="11" y="9"/>
                </a:lnTo>
                <a:lnTo>
                  <a:pt x="11" y="10"/>
                </a:lnTo>
                <a:lnTo>
                  <a:pt x="13" y="12"/>
                </a:lnTo>
                <a:lnTo>
                  <a:pt x="11" y="13"/>
                </a:lnTo>
                <a:lnTo>
                  <a:pt x="11" y="15"/>
                </a:lnTo>
                <a:lnTo>
                  <a:pt x="16" y="16"/>
                </a:lnTo>
                <a:lnTo>
                  <a:pt x="17" y="19"/>
                </a:lnTo>
                <a:lnTo>
                  <a:pt x="14" y="20"/>
                </a:lnTo>
                <a:lnTo>
                  <a:pt x="13" y="23"/>
                </a:lnTo>
                <a:lnTo>
                  <a:pt x="9" y="26"/>
                </a:lnTo>
                <a:lnTo>
                  <a:pt x="7" y="29"/>
                </a:lnTo>
                <a:lnTo>
                  <a:pt x="7" y="31"/>
                </a:lnTo>
                <a:lnTo>
                  <a:pt x="9" y="31"/>
                </a:lnTo>
                <a:lnTo>
                  <a:pt x="11" y="32"/>
                </a:lnTo>
                <a:lnTo>
                  <a:pt x="13" y="31"/>
                </a:lnTo>
                <a:lnTo>
                  <a:pt x="16" y="34"/>
                </a:lnTo>
                <a:lnTo>
                  <a:pt x="24" y="37"/>
                </a:lnTo>
                <a:lnTo>
                  <a:pt x="25" y="37"/>
                </a:lnTo>
                <a:lnTo>
                  <a:pt x="26" y="35"/>
                </a:lnTo>
                <a:lnTo>
                  <a:pt x="27" y="34"/>
                </a:lnTo>
                <a:lnTo>
                  <a:pt x="27" y="30"/>
                </a:lnTo>
                <a:lnTo>
                  <a:pt x="29" y="31"/>
                </a:lnTo>
                <a:lnTo>
                  <a:pt x="31" y="33"/>
                </a:lnTo>
                <a:lnTo>
                  <a:pt x="31" y="35"/>
                </a:lnTo>
                <a:lnTo>
                  <a:pt x="36" y="37"/>
                </a:lnTo>
                <a:lnTo>
                  <a:pt x="38" y="39"/>
                </a:lnTo>
                <a:lnTo>
                  <a:pt x="40" y="39"/>
                </a:lnTo>
                <a:lnTo>
                  <a:pt x="45" y="41"/>
                </a:lnTo>
                <a:lnTo>
                  <a:pt x="49" y="42"/>
                </a:lnTo>
                <a:lnTo>
                  <a:pt x="50" y="42"/>
                </a:lnTo>
                <a:lnTo>
                  <a:pt x="53" y="42"/>
                </a:lnTo>
                <a:lnTo>
                  <a:pt x="53" y="44"/>
                </a:lnTo>
                <a:lnTo>
                  <a:pt x="48" y="45"/>
                </a:lnTo>
                <a:lnTo>
                  <a:pt x="48" y="47"/>
                </a:lnTo>
                <a:lnTo>
                  <a:pt x="46" y="49"/>
                </a:lnTo>
                <a:lnTo>
                  <a:pt x="44" y="47"/>
                </a:lnTo>
                <a:lnTo>
                  <a:pt x="44" y="49"/>
                </a:lnTo>
                <a:lnTo>
                  <a:pt x="41" y="49"/>
                </a:lnTo>
                <a:lnTo>
                  <a:pt x="39" y="50"/>
                </a:lnTo>
                <a:lnTo>
                  <a:pt x="39" y="52"/>
                </a:lnTo>
                <a:lnTo>
                  <a:pt x="38" y="53"/>
                </a:lnTo>
                <a:lnTo>
                  <a:pt x="34" y="54"/>
                </a:lnTo>
                <a:lnTo>
                  <a:pt x="29" y="52"/>
                </a:lnTo>
                <a:lnTo>
                  <a:pt x="27" y="52"/>
                </a:lnTo>
                <a:lnTo>
                  <a:pt x="24" y="52"/>
                </a:lnTo>
                <a:lnTo>
                  <a:pt x="24" y="54"/>
                </a:lnTo>
                <a:lnTo>
                  <a:pt x="21" y="55"/>
                </a:lnTo>
                <a:lnTo>
                  <a:pt x="20" y="57"/>
                </a:lnTo>
                <a:lnTo>
                  <a:pt x="19" y="57"/>
                </a:lnTo>
                <a:lnTo>
                  <a:pt x="15" y="55"/>
                </a:lnTo>
                <a:lnTo>
                  <a:pt x="13" y="55"/>
                </a:lnTo>
                <a:lnTo>
                  <a:pt x="8" y="55"/>
                </a:lnTo>
                <a:lnTo>
                  <a:pt x="6" y="55"/>
                </a:lnTo>
                <a:lnTo>
                  <a:pt x="4" y="56"/>
                </a:lnTo>
                <a:lnTo>
                  <a:pt x="0" y="57"/>
                </a:lnTo>
                <a:lnTo>
                  <a:pt x="0" y="60"/>
                </a:lnTo>
                <a:lnTo>
                  <a:pt x="3" y="64"/>
                </a:lnTo>
                <a:lnTo>
                  <a:pt x="4" y="65"/>
                </a:lnTo>
                <a:lnTo>
                  <a:pt x="6" y="65"/>
                </a:lnTo>
                <a:lnTo>
                  <a:pt x="8" y="65"/>
                </a:lnTo>
                <a:lnTo>
                  <a:pt x="13" y="66"/>
                </a:lnTo>
                <a:lnTo>
                  <a:pt x="18" y="65"/>
                </a:lnTo>
                <a:lnTo>
                  <a:pt x="21" y="65"/>
                </a:lnTo>
                <a:lnTo>
                  <a:pt x="24" y="65"/>
                </a:lnTo>
                <a:lnTo>
                  <a:pt x="25" y="67"/>
                </a:lnTo>
                <a:lnTo>
                  <a:pt x="27" y="67"/>
                </a:lnTo>
                <a:lnTo>
                  <a:pt x="35" y="65"/>
                </a:lnTo>
                <a:lnTo>
                  <a:pt x="37" y="66"/>
                </a:lnTo>
                <a:lnTo>
                  <a:pt x="39" y="66"/>
                </a:lnTo>
                <a:lnTo>
                  <a:pt x="41" y="71"/>
                </a:lnTo>
                <a:lnTo>
                  <a:pt x="46" y="70"/>
                </a:lnTo>
                <a:lnTo>
                  <a:pt x="48" y="71"/>
                </a:lnTo>
                <a:lnTo>
                  <a:pt x="51" y="69"/>
                </a:lnTo>
                <a:lnTo>
                  <a:pt x="56" y="69"/>
                </a:lnTo>
                <a:lnTo>
                  <a:pt x="60" y="69"/>
                </a:lnTo>
                <a:lnTo>
                  <a:pt x="63" y="69"/>
                </a:lnTo>
                <a:lnTo>
                  <a:pt x="66" y="69"/>
                </a:lnTo>
                <a:lnTo>
                  <a:pt x="65" y="65"/>
                </a:lnTo>
                <a:lnTo>
                  <a:pt x="70" y="65"/>
                </a:lnTo>
                <a:lnTo>
                  <a:pt x="70" y="6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91" name="Freeform 691"/>
          <p:cNvSpPr>
            <a:spLocks/>
          </p:cNvSpPr>
          <p:nvPr/>
        </p:nvSpPr>
        <p:spPr bwMode="auto">
          <a:xfrm>
            <a:off x="5973763" y="2332003"/>
            <a:ext cx="238125" cy="112713"/>
          </a:xfrm>
          <a:custGeom>
            <a:avLst/>
            <a:gdLst>
              <a:gd name="T0" fmla="*/ 70 w 150"/>
              <a:gd name="T1" fmla="*/ 57 h 71"/>
              <a:gd name="T2" fmla="*/ 80 w 150"/>
              <a:gd name="T3" fmla="*/ 53 h 71"/>
              <a:gd name="T4" fmla="*/ 88 w 150"/>
              <a:gd name="T5" fmla="*/ 49 h 71"/>
              <a:gd name="T6" fmla="*/ 96 w 150"/>
              <a:gd name="T7" fmla="*/ 53 h 71"/>
              <a:gd name="T8" fmla="*/ 106 w 150"/>
              <a:gd name="T9" fmla="*/ 50 h 71"/>
              <a:gd name="T10" fmla="*/ 111 w 150"/>
              <a:gd name="T11" fmla="*/ 41 h 71"/>
              <a:gd name="T12" fmla="*/ 127 w 150"/>
              <a:gd name="T13" fmla="*/ 39 h 71"/>
              <a:gd name="T14" fmla="*/ 138 w 150"/>
              <a:gd name="T15" fmla="*/ 26 h 71"/>
              <a:gd name="T16" fmla="*/ 150 w 150"/>
              <a:gd name="T17" fmla="*/ 19 h 71"/>
              <a:gd name="T18" fmla="*/ 147 w 150"/>
              <a:gd name="T19" fmla="*/ 16 h 71"/>
              <a:gd name="T20" fmla="*/ 130 w 150"/>
              <a:gd name="T21" fmla="*/ 8 h 71"/>
              <a:gd name="T22" fmla="*/ 121 w 150"/>
              <a:gd name="T23" fmla="*/ 8 h 71"/>
              <a:gd name="T24" fmla="*/ 111 w 150"/>
              <a:gd name="T25" fmla="*/ 6 h 71"/>
              <a:gd name="T26" fmla="*/ 98 w 150"/>
              <a:gd name="T27" fmla="*/ 4 h 71"/>
              <a:gd name="T28" fmla="*/ 84 w 150"/>
              <a:gd name="T29" fmla="*/ 4 h 71"/>
              <a:gd name="T30" fmla="*/ 74 w 150"/>
              <a:gd name="T31" fmla="*/ 5 h 71"/>
              <a:gd name="T32" fmla="*/ 67 w 150"/>
              <a:gd name="T33" fmla="*/ 3 h 71"/>
              <a:gd name="T34" fmla="*/ 54 w 150"/>
              <a:gd name="T35" fmla="*/ 0 h 71"/>
              <a:gd name="T36" fmla="*/ 48 w 150"/>
              <a:gd name="T37" fmla="*/ 2 h 71"/>
              <a:gd name="T38" fmla="*/ 46 w 150"/>
              <a:gd name="T39" fmla="*/ 8 h 71"/>
              <a:gd name="T40" fmla="*/ 41 w 150"/>
              <a:gd name="T41" fmla="*/ 12 h 71"/>
              <a:gd name="T42" fmla="*/ 30 w 150"/>
              <a:gd name="T43" fmla="*/ 9 h 71"/>
              <a:gd name="T44" fmla="*/ 21 w 150"/>
              <a:gd name="T45" fmla="*/ 8 h 71"/>
              <a:gd name="T46" fmla="*/ 14 w 150"/>
              <a:gd name="T47" fmla="*/ 8 h 71"/>
              <a:gd name="T48" fmla="*/ 13 w 150"/>
              <a:gd name="T49" fmla="*/ 12 h 71"/>
              <a:gd name="T50" fmla="*/ 16 w 150"/>
              <a:gd name="T51" fmla="*/ 16 h 71"/>
              <a:gd name="T52" fmla="*/ 13 w 150"/>
              <a:gd name="T53" fmla="*/ 23 h 71"/>
              <a:gd name="T54" fmla="*/ 7 w 150"/>
              <a:gd name="T55" fmla="*/ 31 h 71"/>
              <a:gd name="T56" fmla="*/ 13 w 150"/>
              <a:gd name="T57" fmla="*/ 31 h 71"/>
              <a:gd name="T58" fmla="*/ 25 w 150"/>
              <a:gd name="T59" fmla="*/ 37 h 71"/>
              <a:gd name="T60" fmla="*/ 27 w 150"/>
              <a:gd name="T61" fmla="*/ 30 h 71"/>
              <a:gd name="T62" fmla="*/ 31 w 150"/>
              <a:gd name="T63" fmla="*/ 35 h 71"/>
              <a:gd name="T64" fmla="*/ 40 w 150"/>
              <a:gd name="T65" fmla="*/ 39 h 71"/>
              <a:gd name="T66" fmla="*/ 50 w 150"/>
              <a:gd name="T67" fmla="*/ 42 h 71"/>
              <a:gd name="T68" fmla="*/ 48 w 150"/>
              <a:gd name="T69" fmla="*/ 45 h 71"/>
              <a:gd name="T70" fmla="*/ 44 w 150"/>
              <a:gd name="T71" fmla="*/ 47 h 71"/>
              <a:gd name="T72" fmla="*/ 39 w 150"/>
              <a:gd name="T73" fmla="*/ 50 h 71"/>
              <a:gd name="T74" fmla="*/ 34 w 150"/>
              <a:gd name="T75" fmla="*/ 54 h 71"/>
              <a:gd name="T76" fmla="*/ 24 w 150"/>
              <a:gd name="T77" fmla="*/ 52 h 71"/>
              <a:gd name="T78" fmla="*/ 20 w 150"/>
              <a:gd name="T79" fmla="*/ 57 h 71"/>
              <a:gd name="T80" fmla="*/ 13 w 150"/>
              <a:gd name="T81" fmla="*/ 55 h 71"/>
              <a:gd name="T82" fmla="*/ 4 w 150"/>
              <a:gd name="T83" fmla="*/ 56 h 71"/>
              <a:gd name="T84" fmla="*/ 3 w 150"/>
              <a:gd name="T85" fmla="*/ 64 h 71"/>
              <a:gd name="T86" fmla="*/ 8 w 150"/>
              <a:gd name="T87" fmla="*/ 65 h 71"/>
              <a:gd name="T88" fmla="*/ 21 w 150"/>
              <a:gd name="T89" fmla="*/ 65 h 71"/>
              <a:gd name="T90" fmla="*/ 27 w 150"/>
              <a:gd name="T91" fmla="*/ 67 h 71"/>
              <a:gd name="T92" fmla="*/ 39 w 150"/>
              <a:gd name="T93" fmla="*/ 66 h 71"/>
              <a:gd name="T94" fmla="*/ 48 w 150"/>
              <a:gd name="T95" fmla="*/ 71 h 71"/>
              <a:gd name="T96" fmla="*/ 60 w 150"/>
              <a:gd name="T97" fmla="*/ 69 h 71"/>
              <a:gd name="T98" fmla="*/ 65 w 150"/>
              <a:gd name="T99" fmla="*/ 65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50" h="71">
                <a:moveTo>
                  <a:pt x="70" y="65"/>
                </a:moveTo>
                <a:lnTo>
                  <a:pt x="69" y="63"/>
                </a:lnTo>
                <a:lnTo>
                  <a:pt x="70" y="57"/>
                </a:lnTo>
                <a:lnTo>
                  <a:pt x="78" y="54"/>
                </a:lnTo>
                <a:lnTo>
                  <a:pt x="79" y="53"/>
                </a:lnTo>
                <a:lnTo>
                  <a:pt x="80" y="53"/>
                </a:lnTo>
                <a:lnTo>
                  <a:pt x="81" y="50"/>
                </a:lnTo>
                <a:lnTo>
                  <a:pt x="85" y="50"/>
                </a:lnTo>
                <a:lnTo>
                  <a:pt x="88" y="49"/>
                </a:lnTo>
                <a:lnTo>
                  <a:pt x="90" y="49"/>
                </a:lnTo>
                <a:lnTo>
                  <a:pt x="94" y="52"/>
                </a:lnTo>
                <a:lnTo>
                  <a:pt x="96" y="53"/>
                </a:lnTo>
                <a:lnTo>
                  <a:pt x="100" y="52"/>
                </a:lnTo>
                <a:lnTo>
                  <a:pt x="104" y="52"/>
                </a:lnTo>
                <a:lnTo>
                  <a:pt x="106" y="50"/>
                </a:lnTo>
                <a:lnTo>
                  <a:pt x="106" y="45"/>
                </a:lnTo>
                <a:lnTo>
                  <a:pt x="108" y="42"/>
                </a:lnTo>
                <a:lnTo>
                  <a:pt x="111" y="41"/>
                </a:lnTo>
                <a:lnTo>
                  <a:pt x="117" y="41"/>
                </a:lnTo>
                <a:lnTo>
                  <a:pt x="124" y="40"/>
                </a:lnTo>
                <a:lnTo>
                  <a:pt x="127" y="39"/>
                </a:lnTo>
                <a:lnTo>
                  <a:pt x="128" y="35"/>
                </a:lnTo>
                <a:lnTo>
                  <a:pt x="130" y="32"/>
                </a:lnTo>
                <a:lnTo>
                  <a:pt x="138" y="26"/>
                </a:lnTo>
                <a:lnTo>
                  <a:pt x="147" y="24"/>
                </a:lnTo>
                <a:lnTo>
                  <a:pt x="149" y="22"/>
                </a:lnTo>
                <a:lnTo>
                  <a:pt x="150" y="19"/>
                </a:lnTo>
                <a:lnTo>
                  <a:pt x="149" y="16"/>
                </a:lnTo>
                <a:lnTo>
                  <a:pt x="149" y="16"/>
                </a:lnTo>
                <a:lnTo>
                  <a:pt x="147" y="16"/>
                </a:lnTo>
                <a:lnTo>
                  <a:pt x="140" y="13"/>
                </a:lnTo>
                <a:lnTo>
                  <a:pt x="136" y="12"/>
                </a:lnTo>
                <a:lnTo>
                  <a:pt x="130" y="8"/>
                </a:lnTo>
                <a:lnTo>
                  <a:pt x="126" y="8"/>
                </a:lnTo>
                <a:lnTo>
                  <a:pt x="124" y="8"/>
                </a:lnTo>
                <a:lnTo>
                  <a:pt x="121" y="8"/>
                </a:lnTo>
                <a:lnTo>
                  <a:pt x="119" y="6"/>
                </a:lnTo>
                <a:lnTo>
                  <a:pt x="118" y="5"/>
                </a:lnTo>
                <a:lnTo>
                  <a:pt x="111" y="6"/>
                </a:lnTo>
                <a:lnTo>
                  <a:pt x="105" y="5"/>
                </a:lnTo>
                <a:lnTo>
                  <a:pt x="102" y="5"/>
                </a:lnTo>
                <a:lnTo>
                  <a:pt x="98" y="4"/>
                </a:lnTo>
                <a:lnTo>
                  <a:pt x="96" y="4"/>
                </a:lnTo>
                <a:lnTo>
                  <a:pt x="92" y="5"/>
                </a:lnTo>
                <a:lnTo>
                  <a:pt x="84" y="4"/>
                </a:lnTo>
                <a:lnTo>
                  <a:pt x="81" y="4"/>
                </a:lnTo>
                <a:lnTo>
                  <a:pt x="78" y="5"/>
                </a:lnTo>
                <a:lnTo>
                  <a:pt x="74" y="5"/>
                </a:lnTo>
                <a:lnTo>
                  <a:pt x="71" y="5"/>
                </a:lnTo>
                <a:lnTo>
                  <a:pt x="69" y="4"/>
                </a:lnTo>
                <a:lnTo>
                  <a:pt x="67" y="3"/>
                </a:lnTo>
                <a:lnTo>
                  <a:pt x="63" y="4"/>
                </a:lnTo>
                <a:lnTo>
                  <a:pt x="60" y="2"/>
                </a:lnTo>
                <a:lnTo>
                  <a:pt x="54" y="0"/>
                </a:lnTo>
                <a:lnTo>
                  <a:pt x="53" y="1"/>
                </a:lnTo>
                <a:lnTo>
                  <a:pt x="50" y="1"/>
                </a:lnTo>
                <a:lnTo>
                  <a:pt x="48" y="2"/>
                </a:lnTo>
                <a:lnTo>
                  <a:pt x="46" y="4"/>
                </a:lnTo>
                <a:lnTo>
                  <a:pt x="46" y="5"/>
                </a:lnTo>
                <a:lnTo>
                  <a:pt x="46" y="8"/>
                </a:lnTo>
                <a:lnTo>
                  <a:pt x="46" y="11"/>
                </a:lnTo>
                <a:lnTo>
                  <a:pt x="46" y="13"/>
                </a:lnTo>
                <a:lnTo>
                  <a:pt x="41" y="12"/>
                </a:lnTo>
                <a:lnTo>
                  <a:pt x="37" y="11"/>
                </a:lnTo>
                <a:lnTo>
                  <a:pt x="33" y="9"/>
                </a:lnTo>
                <a:lnTo>
                  <a:pt x="30" y="9"/>
                </a:lnTo>
                <a:lnTo>
                  <a:pt x="28" y="8"/>
                </a:lnTo>
                <a:lnTo>
                  <a:pt x="26" y="8"/>
                </a:lnTo>
                <a:lnTo>
                  <a:pt x="21" y="8"/>
                </a:lnTo>
                <a:lnTo>
                  <a:pt x="19" y="8"/>
                </a:lnTo>
                <a:lnTo>
                  <a:pt x="17" y="6"/>
                </a:lnTo>
                <a:lnTo>
                  <a:pt x="14" y="8"/>
                </a:lnTo>
                <a:lnTo>
                  <a:pt x="11" y="9"/>
                </a:lnTo>
                <a:lnTo>
                  <a:pt x="11" y="10"/>
                </a:lnTo>
                <a:lnTo>
                  <a:pt x="13" y="12"/>
                </a:lnTo>
                <a:lnTo>
                  <a:pt x="11" y="13"/>
                </a:lnTo>
                <a:lnTo>
                  <a:pt x="11" y="15"/>
                </a:lnTo>
                <a:lnTo>
                  <a:pt x="16" y="16"/>
                </a:lnTo>
                <a:lnTo>
                  <a:pt x="17" y="19"/>
                </a:lnTo>
                <a:lnTo>
                  <a:pt x="14" y="20"/>
                </a:lnTo>
                <a:lnTo>
                  <a:pt x="13" y="23"/>
                </a:lnTo>
                <a:lnTo>
                  <a:pt x="9" y="26"/>
                </a:lnTo>
                <a:lnTo>
                  <a:pt x="7" y="29"/>
                </a:lnTo>
                <a:lnTo>
                  <a:pt x="7" y="31"/>
                </a:lnTo>
                <a:lnTo>
                  <a:pt x="9" y="31"/>
                </a:lnTo>
                <a:lnTo>
                  <a:pt x="11" y="32"/>
                </a:lnTo>
                <a:lnTo>
                  <a:pt x="13" y="31"/>
                </a:lnTo>
                <a:lnTo>
                  <a:pt x="16" y="34"/>
                </a:lnTo>
                <a:lnTo>
                  <a:pt x="24" y="37"/>
                </a:lnTo>
                <a:lnTo>
                  <a:pt x="25" y="37"/>
                </a:lnTo>
                <a:lnTo>
                  <a:pt x="26" y="35"/>
                </a:lnTo>
                <a:lnTo>
                  <a:pt x="27" y="34"/>
                </a:lnTo>
                <a:lnTo>
                  <a:pt x="27" y="30"/>
                </a:lnTo>
                <a:lnTo>
                  <a:pt x="29" y="31"/>
                </a:lnTo>
                <a:lnTo>
                  <a:pt x="31" y="33"/>
                </a:lnTo>
                <a:lnTo>
                  <a:pt x="31" y="35"/>
                </a:lnTo>
                <a:lnTo>
                  <a:pt x="36" y="37"/>
                </a:lnTo>
                <a:lnTo>
                  <a:pt x="38" y="39"/>
                </a:lnTo>
                <a:lnTo>
                  <a:pt x="40" y="39"/>
                </a:lnTo>
                <a:lnTo>
                  <a:pt x="45" y="41"/>
                </a:lnTo>
                <a:lnTo>
                  <a:pt x="49" y="42"/>
                </a:lnTo>
                <a:lnTo>
                  <a:pt x="50" y="42"/>
                </a:lnTo>
                <a:lnTo>
                  <a:pt x="53" y="42"/>
                </a:lnTo>
                <a:lnTo>
                  <a:pt x="53" y="44"/>
                </a:lnTo>
                <a:lnTo>
                  <a:pt x="48" y="45"/>
                </a:lnTo>
                <a:lnTo>
                  <a:pt x="48" y="47"/>
                </a:lnTo>
                <a:lnTo>
                  <a:pt x="46" y="49"/>
                </a:lnTo>
                <a:lnTo>
                  <a:pt x="44" y="47"/>
                </a:lnTo>
                <a:lnTo>
                  <a:pt x="44" y="49"/>
                </a:lnTo>
                <a:lnTo>
                  <a:pt x="41" y="49"/>
                </a:lnTo>
                <a:lnTo>
                  <a:pt x="39" y="50"/>
                </a:lnTo>
                <a:lnTo>
                  <a:pt x="39" y="52"/>
                </a:lnTo>
                <a:lnTo>
                  <a:pt x="38" y="53"/>
                </a:lnTo>
                <a:lnTo>
                  <a:pt x="34" y="54"/>
                </a:lnTo>
                <a:lnTo>
                  <a:pt x="29" y="52"/>
                </a:lnTo>
                <a:lnTo>
                  <a:pt x="27" y="52"/>
                </a:lnTo>
                <a:lnTo>
                  <a:pt x="24" y="52"/>
                </a:lnTo>
                <a:lnTo>
                  <a:pt x="24" y="54"/>
                </a:lnTo>
                <a:lnTo>
                  <a:pt x="21" y="55"/>
                </a:lnTo>
                <a:lnTo>
                  <a:pt x="20" y="57"/>
                </a:lnTo>
                <a:lnTo>
                  <a:pt x="19" y="57"/>
                </a:lnTo>
                <a:lnTo>
                  <a:pt x="15" y="55"/>
                </a:lnTo>
                <a:lnTo>
                  <a:pt x="13" y="55"/>
                </a:lnTo>
                <a:lnTo>
                  <a:pt x="8" y="55"/>
                </a:lnTo>
                <a:lnTo>
                  <a:pt x="6" y="55"/>
                </a:lnTo>
                <a:lnTo>
                  <a:pt x="4" y="56"/>
                </a:lnTo>
                <a:lnTo>
                  <a:pt x="0" y="57"/>
                </a:lnTo>
                <a:lnTo>
                  <a:pt x="0" y="60"/>
                </a:lnTo>
                <a:lnTo>
                  <a:pt x="3" y="64"/>
                </a:lnTo>
                <a:lnTo>
                  <a:pt x="4" y="65"/>
                </a:lnTo>
                <a:lnTo>
                  <a:pt x="6" y="65"/>
                </a:lnTo>
                <a:lnTo>
                  <a:pt x="8" y="65"/>
                </a:lnTo>
                <a:lnTo>
                  <a:pt x="13" y="66"/>
                </a:lnTo>
                <a:lnTo>
                  <a:pt x="18" y="65"/>
                </a:lnTo>
                <a:lnTo>
                  <a:pt x="21" y="65"/>
                </a:lnTo>
                <a:lnTo>
                  <a:pt x="24" y="65"/>
                </a:lnTo>
                <a:lnTo>
                  <a:pt x="25" y="67"/>
                </a:lnTo>
                <a:lnTo>
                  <a:pt x="27" y="67"/>
                </a:lnTo>
                <a:lnTo>
                  <a:pt x="35" y="65"/>
                </a:lnTo>
                <a:lnTo>
                  <a:pt x="37" y="66"/>
                </a:lnTo>
                <a:lnTo>
                  <a:pt x="39" y="66"/>
                </a:lnTo>
                <a:lnTo>
                  <a:pt x="41" y="71"/>
                </a:lnTo>
                <a:lnTo>
                  <a:pt x="46" y="70"/>
                </a:lnTo>
                <a:lnTo>
                  <a:pt x="48" y="71"/>
                </a:lnTo>
                <a:lnTo>
                  <a:pt x="51" y="69"/>
                </a:lnTo>
                <a:lnTo>
                  <a:pt x="56" y="69"/>
                </a:lnTo>
                <a:lnTo>
                  <a:pt x="60" y="69"/>
                </a:lnTo>
                <a:lnTo>
                  <a:pt x="63" y="69"/>
                </a:lnTo>
                <a:lnTo>
                  <a:pt x="66" y="69"/>
                </a:lnTo>
                <a:lnTo>
                  <a:pt x="65" y="65"/>
                </a:lnTo>
                <a:lnTo>
                  <a:pt x="70" y="65"/>
                </a:lnTo>
                <a:lnTo>
                  <a:pt x="70" y="6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92" name="Freeform 692"/>
          <p:cNvSpPr>
            <a:spLocks/>
          </p:cNvSpPr>
          <p:nvPr/>
        </p:nvSpPr>
        <p:spPr bwMode="auto">
          <a:xfrm>
            <a:off x="3906838" y="3095590"/>
            <a:ext cx="158750" cy="125413"/>
          </a:xfrm>
          <a:custGeom>
            <a:avLst/>
            <a:gdLst>
              <a:gd name="T0" fmla="*/ 12 w 100"/>
              <a:gd name="T1" fmla="*/ 51 h 79"/>
              <a:gd name="T2" fmla="*/ 9 w 100"/>
              <a:gd name="T3" fmla="*/ 41 h 79"/>
              <a:gd name="T4" fmla="*/ 2 w 100"/>
              <a:gd name="T5" fmla="*/ 36 h 79"/>
              <a:gd name="T6" fmla="*/ 1 w 100"/>
              <a:gd name="T7" fmla="*/ 35 h 79"/>
              <a:gd name="T8" fmla="*/ 11 w 100"/>
              <a:gd name="T9" fmla="*/ 27 h 79"/>
              <a:gd name="T10" fmla="*/ 16 w 100"/>
              <a:gd name="T11" fmla="*/ 10 h 79"/>
              <a:gd name="T12" fmla="*/ 21 w 100"/>
              <a:gd name="T13" fmla="*/ 3 h 79"/>
              <a:gd name="T14" fmla="*/ 27 w 100"/>
              <a:gd name="T15" fmla="*/ 3 h 79"/>
              <a:gd name="T16" fmla="*/ 36 w 100"/>
              <a:gd name="T17" fmla="*/ 2 h 79"/>
              <a:gd name="T18" fmla="*/ 40 w 100"/>
              <a:gd name="T19" fmla="*/ 0 h 79"/>
              <a:gd name="T20" fmla="*/ 50 w 100"/>
              <a:gd name="T21" fmla="*/ 0 h 79"/>
              <a:gd name="T22" fmla="*/ 54 w 100"/>
              <a:gd name="T23" fmla="*/ 3 h 79"/>
              <a:gd name="T24" fmla="*/ 61 w 100"/>
              <a:gd name="T25" fmla="*/ 9 h 79"/>
              <a:gd name="T26" fmla="*/ 64 w 100"/>
              <a:gd name="T27" fmla="*/ 9 h 79"/>
              <a:gd name="T28" fmla="*/ 70 w 100"/>
              <a:gd name="T29" fmla="*/ 18 h 79"/>
              <a:gd name="T30" fmla="*/ 72 w 100"/>
              <a:gd name="T31" fmla="*/ 21 h 79"/>
              <a:gd name="T32" fmla="*/ 75 w 100"/>
              <a:gd name="T33" fmla="*/ 24 h 79"/>
              <a:gd name="T34" fmla="*/ 76 w 100"/>
              <a:gd name="T35" fmla="*/ 26 h 79"/>
              <a:gd name="T36" fmla="*/ 81 w 100"/>
              <a:gd name="T37" fmla="*/ 29 h 79"/>
              <a:gd name="T38" fmla="*/ 84 w 100"/>
              <a:gd name="T39" fmla="*/ 33 h 79"/>
              <a:gd name="T40" fmla="*/ 86 w 100"/>
              <a:gd name="T41" fmla="*/ 39 h 79"/>
              <a:gd name="T42" fmla="*/ 87 w 100"/>
              <a:gd name="T43" fmla="*/ 43 h 79"/>
              <a:gd name="T44" fmla="*/ 90 w 100"/>
              <a:gd name="T45" fmla="*/ 50 h 79"/>
              <a:gd name="T46" fmla="*/ 91 w 100"/>
              <a:gd name="T47" fmla="*/ 58 h 79"/>
              <a:gd name="T48" fmla="*/ 93 w 100"/>
              <a:gd name="T49" fmla="*/ 59 h 79"/>
              <a:gd name="T50" fmla="*/ 96 w 100"/>
              <a:gd name="T51" fmla="*/ 64 h 79"/>
              <a:gd name="T52" fmla="*/ 98 w 100"/>
              <a:gd name="T53" fmla="*/ 68 h 79"/>
              <a:gd name="T54" fmla="*/ 98 w 100"/>
              <a:gd name="T55" fmla="*/ 71 h 79"/>
              <a:gd name="T56" fmla="*/ 100 w 100"/>
              <a:gd name="T57" fmla="*/ 77 h 79"/>
              <a:gd name="T58" fmla="*/ 93 w 100"/>
              <a:gd name="T59" fmla="*/ 78 h 79"/>
              <a:gd name="T60" fmla="*/ 85 w 100"/>
              <a:gd name="T61" fmla="*/ 79 h 79"/>
              <a:gd name="T62" fmla="*/ 78 w 100"/>
              <a:gd name="T63" fmla="*/ 77 h 79"/>
              <a:gd name="T64" fmla="*/ 73 w 100"/>
              <a:gd name="T65" fmla="*/ 77 h 79"/>
              <a:gd name="T66" fmla="*/ 69 w 100"/>
              <a:gd name="T67" fmla="*/ 73 h 79"/>
              <a:gd name="T68" fmla="*/ 46 w 100"/>
              <a:gd name="T69" fmla="*/ 73 h 79"/>
              <a:gd name="T70" fmla="*/ 32 w 100"/>
              <a:gd name="T71" fmla="*/ 76 h 79"/>
              <a:gd name="T72" fmla="*/ 16 w 100"/>
              <a:gd name="T73" fmla="*/ 79 h 79"/>
              <a:gd name="T74" fmla="*/ 12 w 100"/>
              <a:gd name="T75" fmla="*/ 78 h 79"/>
              <a:gd name="T76" fmla="*/ 13 w 100"/>
              <a:gd name="T77" fmla="*/ 64 h 79"/>
              <a:gd name="T78" fmla="*/ 29 w 100"/>
              <a:gd name="T79" fmla="*/ 60 h 79"/>
              <a:gd name="T80" fmla="*/ 36 w 100"/>
              <a:gd name="T81" fmla="*/ 59 h 79"/>
              <a:gd name="T82" fmla="*/ 42 w 100"/>
              <a:gd name="T83" fmla="*/ 58 h 79"/>
              <a:gd name="T84" fmla="*/ 51 w 100"/>
              <a:gd name="T85" fmla="*/ 63 h 79"/>
              <a:gd name="T86" fmla="*/ 59 w 100"/>
              <a:gd name="T87" fmla="*/ 60 h 79"/>
              <a:gd name="T88" fmla="*/ 60 w 100"/>
              <a:gd name="T89" fmla="*/ 57 h 79"/>
              <a:gd name="T90" fmla="*/ 55 w 100"/>
              <a:gd name="T91" fmla="*/ 57 h 79"/>
              <a:gd name="T92" fmla="*/ 47 w 100"/>
              <a:gd name="T93" fmla="*/ 56 h 79"/>
              <a:gd name="T94" fmla="*/ 41 w 100"/>
              <a:gd name="T95" fmla="*/ 53 h 79"/>
              <a:gd name="T96" fmla="*/ 35 w 100"/>
              <a:gd name="T97" fmla="*/ 53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00" h="79">
                <a:moveTo>
                  <a:pt x="15" y="56"/>
                </a:moveTo>
                <a:lnTo>
                  <a:pt x="15" y="56"/>
                </a:lnTo>
                <a:lnTo>
                  <a:pt x="14" y="54"/>
                </a:lnTo>
                <a:lnTo>
                  <a:pt x="12" y="51"/>
                </a:lnTo>
                <a:lnTo>
                  <a:pt x="12" y="47"/>
                </a:lnTo>
                <a:lnTo>
                  <a:pt x="11" y="46"/>
                </a:lnTo>
                <a:lnTo>
                  <a:pt x="10" y="44"/>
                </a:lnTo>
                <a:lnTo>
                  <a:pt x="9" y="41"/>
                </a:lnTo>
                <a:lnTo>
                  <a:pt x="5" y="38"/>
                </a:lnTo>
                <a:lnTo>
                  <a:pt x="4" y="36"/>
                </a:lnTo>
                <a:lnTo>
                  <a:pt x="3" y="36"/>
                </a:lnTo>
                <a:lnTo>
                  <a:pt x="2" y="36"/>
                </a:lnTo>
                <a:lnTo>
                  <a:pt x="2" y="37"/>
                </a:lnTo>
                <a:lnTo>
                  <a:pt x="0" y="36"/>
                </a:lnTo>
                <a:lnTo>
                  <a:pt x="0" y="35"/>
                </a:lnTo>
                <a:lnTo>
                  <a:pt x="1" y="35"/>
                </a:lnTo>
                <a:lnTo>
                  <a:pt x="2" y="35"/>
                </a:lnTo>
                <a:lnTo>
                  <a:pt x="5" y="33"/>
                </a:lnTo>
                <a:lnTo>
                  <a:pt x="10" y="29"/>
                </a:lnTo>
                <a:lnTo>
                  <a:pt x="11" y="27"/>
                </a:lnTo>
                <a:lnTo>
                  <a:pt x="12" y="25"/>
                </a:lnTo>
                <a:lnTo>
                  <a:pt x="16" y="18"/>
                </a:lnTo>
                <a:lnTo>
                  <a:pt x="16" y="16"/>
                </a:lnTo>
                <a:lnTo>
                  <a:pt x="16" y="10"/>
                </a:lnTo>
                <a:lnTo>
                  <a:pt x="17" y="10"/>
                </a:lnTo>
                <a:lnTo>
                  <a:pt x="19" y="9"/>
                </a:lnTo>
                <a:lnTo>
                  <a:pt x="20" y="7"/>
                </a:lnTo>
                <a:lnTo>
                  <a:pt x="21" y="3"/>
                </a:lnTo>
                <a:lnTo>
                  <a:pt x="22" y="3"/>
                </a:lnTo>
                <a:lnTo>
                  <a:pt x="23" y="3"/>
                </a:lnTo>
                <a:lnTo>
                  <a:pt x="25" y="3"/>
                </a:lnTo>
                <a:lnTo>
                  <a:pt x="27" y="3"/>
                </a:lnTo>
                <a:lnTo>
                  <a:pt x="30" y="4"/>
                </a:lnTo>
                <a:lnTo>
                  <a:pt x="32" y="3"/>
                </a:lnTo>
                <a:lnTo>
                  <a:pt x="33" y="3"/>
                </a:lnTo>
                <a:lnTo>
                  <a:pt x="36" y="2"/>
                </a:lnTo>
                <a:lnTo>
                  <a:pt x="39" y="2"/>
                </a:lnTo>
                <a:lnTo>
                  <a:pt x="40" y="2"/>
                </a:lnTo>
                <a:lnTo>
                  <a:pt x="40" y="0"/>
                </a:lnTo>
                <a:lnTo>
                  <a:pt x="40" y="0"/>
                </a:lnTo>
                <a:lnTo>
                  <a:pt x="42" y="0"/>
                </a:lnTo>
                <a:lnTo>
                  <a:pt x="43" y="0"/>
                </a:lnTo>
                <a:lnTo>
                  <a:pt x="45" y="0"/>
                </a:lnTo>
                <a:lnTo>
                  <a:pt x="50" y="0"/>
                </a:lnTo>
                <a:lnTo>
                  <a:pt x="50" y="2"/>
                </a:lnTo>
                <a:lnTo>
                  <a:pt x="51" y="0"/>
                </a:lnTo>
                <a:lnTo>
                  <a:pt x="52" y="3"/>
                </a:lnTo>
                <a:lnTo>
                  <a:pt x="54" y="3"/>
                </a:lnTo>
                <a:lnTo>
                  <a:pt x="56" y="6"/>
                </a:lnTo>
                <a:lnTo>
                  <a:pt x="57" y="7"/>
                </a:lnTo>
                <a:lnTo>
                  <a:pt x="60" y="9"/>
                </a:lnTo>
                <a:lnTo>
                  <a:pt x="61" y="9"/>
                </a:lnTo>
                <a:lnTo>
                  <a:pt x="62" y="9"/>
                </a:lnTo>
                <a:lnTo>
                  <a:pt x="62" y="10"/>
                </a:lnTo>
                <a:lnTo>
                  <a:pt x="63" y="10"/>
                </a:lnTo>
                <a:lnTo>
                  <a:pt x="64" y="9"/>
                </a:lnTo>
                <a:lnTo>
                  <a:pt x="65" y="9"/>
                </a:lnTo>
                <a:lnTo>
                  <a:pt x="69" y="14"/>
                </a:lnTo>
                <a:lnTo>
                  <a:pt x="70" y="17"/>
                </a:lnTo>
                <a:lnTo>
                  <a:pt x="70" y="18"/>
                </a:lnTo>
                <a:lnTo>
                  <a:pt x="71" y="19"/>
                </a:lnTo>
                <a:lnTo>
                  <a:pt x="72" y="20"/>
                </a:lnTo>
                <a:lnTo>
                  <a:pt x="72" y="21"/>
                </a:lnTo>
                <a:lnTo>
                  <a:pt x="72" y="21"/>
                </a:lnTo>
                <a:lnTo>
                  <a:pt x="73" y="21"/>
                </a:lnTo>
                <a:lnTo>
                  <a:pt x="74" y="21"/>
                </a:lnTo>
                <a:lnTo>
                  <a:pt x="74" y="24"/>
                </a:lnTo>
                <a:lnTo>
                  <a:pt x="75" y="24"/>
                </a:lnTo>
                <a:lnTo>
                  <a:pt x="75" y="25"/>
                </a:lnTo>
                <a:lnTo>
                  <a:pt x="75" y="26"/>
                </a:lnTo>
                <a:lnTo>
                  <a:pt x="75" y="26"/>
                </a:lnTo>
                <a:lnTo>
                  <a:pt x="76" y="26"/>
                </a:lnTo>
                <a:lnTo>
                  <a:pt x="76" y="27"/>
                </a:lnTo>
                <a:lnTo>
                  <a:pt x="77" y="28"/>
                </a:lnTo>
                <a:lnTo>
                  <a:pt x="78" y="28"/>
                </a:lnTo>
                <a:lnTo>
                  <a:pt x="81" y="29"/>
                </a:lnTo>
                <a:lnTo>
                  <a:pt x="82" y="30"/>
                </a:lnTo>
                <a:lnTo>
                  <a:pt x="82" y="31"/>
                </a:lnTo>
                <a:lnTo>
                  <a:pt x="82" y="33"/>
                </a:lnTo>
                <a:lnTo>
                  <a:pt x="84" y="33"/>
                </a:lnTo>
                <a:lnTo>
                  <a:pt x="86" y="35"/>
                </a:lnTo>
                <a:lnTo>
                  <a:pt x="86" y="36"/>
                </a:lnTo>
                <a:lnTo>
                  <a:pt x="86" y="37"/>
                </a:lnTo>
                <a:lnTo>
                  <a:pt x="86" y="39"/>
                </a:lnTo>
                <a:lnTo>
                  <a:pt x="86" y="41"/>
                </a:lnTo>
                <a:lnTo>
                  <a:pt x="86" y="41"/>
                </a:lnTo>
                <a:lnTo>
                  <a:pt x="87" y="43"/>
                </a:lnTo>
                <a:lnTo>
                  <a:pt x="87" y="43"/>
                </a:lnTo>
                <a:lnTo>
                  <a:pt x="88" y="44"/>
                </a:lnTo>
                <a:lnTo>
                  <a:pt x="88" y="46"/>
                </a:lnTo>
                <a:lnTo>
                  <a:pt x="88" y="48"/>
                </a:lnTo>
                <a:lnTo>
                  <a:pt x="90" y="50"/>
                </a:lnTo>
                <a:lnTo>
                  <a:pt x="90" y="51"/>
                </a:lnTo>
                <a:lnTo>
                  <a:pt x="88" y="54"/>
                </a:lnTo>
                <a:lnTo>
                  <a:pt x="88" y="55"/>
                </a:lnTo>
                <a:lnTo>
                  <a:pt x="91" y="58"/>
                </a:lnTo>
                <a:lnTo>
                  <a:pt x="91" y="60"/>
                </a:lnTo>
                <a:lnTo>
                  <a:pt x="92" y="60"/>
                </a:lnTo>
                <a:lnTo>
                  <a:pt x="93" y="60"/>
                </a:lnTo>
                <a:lnTo>
                  <a:pt x="93" y="59"/>
                </a:lnTo>
                <a:lnTo>
                  <a:pt x="95" y="60"/>
                </a:lnTo>
                <a:lnTo>
                  <a:pt x="95" y="61"/>
                </a:lnTo>
                <a:lnTo>
                  <a:pt x="96" y="61"/>
                </a:lnTo>
                <a:lnTo>
                  <a:pt x="96" y="64"/>
                </a:lnTo>
                <a:lnTo>
                  <a:pt x="97" y="64"/>
                </a:lnTo>
                <a:lnTo>
                  <a:pt x="97" y="66"/>
                </a:lnTo>
                <a:lnTo>
                  <a:pt x="98" y="67"/>
                </a:lnTo>
                <a:lnTo>
                  <a:pt x="98" y="68"/>
                </a:lnTo>
                <a:lnTo>
                  <a:pt x="98" y="68"/>
                </a:lnTo>
                <a:lnTo>
                  <a:pt x="98" y="69"/>
                </a:lnTo>
                <a:lnTo>
                  <a:pt x="98" y="70"/>
                </a:lnTo>
                <a:lnTo>
                  <a:pt x="98" y="71"/>
                </a:lnTo>
                <a:lnTo>
                  <a:pt x="98" y="73"/>
                </a:lnTo>
                <a:lnTo>
                  <a:pt x="98" y="75"/>
                </a:lnTo>
                <a:lnTo>
                  <a:pt x="100" y="76"/>
                </a:lnTo>
                <a:lnTo>
                  <a:pt x="100" y="77"/>
                </a:lnTo>
                <a:lnTo>
                  <a:pt x="98" y="77"/>
                </a:lnTo>
                <a:lnTo>
                  <a:pt x="96" y="77"/>
                </a:lnTo>
                <a:lnTo>
                  <a:pt x="94" y="78"/>
                </a:lnTo>
                <a:lnTo>
                  <a:pt x="93" y="78"/>
                </a:lnTo>
                <a:lnTo>
                  <a:pt x="90" y="77"/>
                </a:lnTo>
                <a:lnTo>
                  <a:pt x="88" y="78"/>
                </a:lnTo>
                <a:lnTo>
                  <a:pt x="86" y="78"/>
                </a:lnTo>
                <a:lnTo>
                  <a:pt x="85" y="79"/>
                </a:lnTo>
                <a:lnTo>
                  <a:pt x="83" y="79"/>
                </a:lnTo>
                <a:lnTo>
                  <a:pt x="81" y="78"/>
                </a:lnTo>
                <a:lnTo>
                  <a:pt x="81" y="78"/>
                </a:lnTo>
                <a:lnTo>
                  <a:pt x="78" y="77"/>
                </a:lnTo>
                <a:lnTo>
                  <a:pt x="76" y="77"/>
                </a:lnTo>
                <a:lnTo>
                  <a:pt x="74" y="76"/>
                </a:lnTo>
                <a:lnTo>
                  <a:pt x="74" y="76"/>
                </a:lnTo>
                <a:lnTo>
                  <a:pt x="73" y="77"/>
                </a:lnTo>
                <a:lnTo>
                  <a:pt x="72" y="77"/>
                </a:lnTo>
                <a:lnTo>
                  <a:pt x="72" y="75"/>
                </a:lnTo>
                <a:lnTo>
                  <a:pt x="71" y="74"/>
                </a:lnTo>
                <a:lnTo>
                  <a:pt x="69" y="73"/>
                </a:lnTo>
                <a:lnTo>
                  <a:pt x="66" y="74"/>
                </a:lnTo>
                <a:lnTo>
                  <a:pt x="65" y="73"/>
                </a:lnTo>
                <a:lnTo>
                  <a:pt x="61" y="73"/>
                </a:lnTo>
                <a:lnTo>
                  <a:pt x="46" y="73"/>
                </a:lnTo>
                <a:lnTo>
                  <a:pt x="45" y="73"/>
                </a:lnTo>
                <a:lnTo>
                  <a:pt x="39" y="73"/>
                </a:lnTo>
                <a:lnTo>
                  <a:pt x="35" y="75"/>
                </a:lnTo>
                <a:lnTo>
                  <a:pt x="32" y="76"/>
                </a:lnTo>
                <a:lnTo>
                  <a:pt x="29" y="77"/>
                </a:lnTo>
                <a:lnTo>
                  <a:pt x="21" y="77"/>
                </a:lnTo>
                <a:lnTo>
                  <a:pt x="20" y="77"/>
                </a:lnTo>
                <a:lnTo>
                  <a:pt x="16" y="79"/>
                </a:lnTo>
                <a:lnTo>
                  <a:pt x="14" y="79"/>
                </a:lnTo>
                <a:lnTo>
                  <a:pt x="13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7"/>
                </a:lnTo>
                <a:lnTo>
                  <a:pt x="12" y="66"/>
                </a:lnTo>
                <a:lnTo>
                  <a:pt x="13" y="64"/>
                </a:lnTo>
                <a:lnTo>
                  <a:pt x="24" y="63"/>
                </a:lnTo>
                <a:lnTo>
                  <a:pt x="27" y="63"/>
                </a:lnTo>
                <a:lnTo>
                  <a:pt x="27" y="63"/>
                </a:lnTo>
                <a:lnTo>
                  <a:pt x="29" y="60"/>
                </a:lnTo>
                <a:lnTo>
                  <a:pt x="30" y="60"/>
                </a:lnTo>
                <a:lnTo>
                  <a:pt x="31" y="60"/>
                </a:lnTo>
                <a:lnTo>
                  <a:pt x="34" y="60"/>
                </a:lnTo>
                <a:lnTo>
                  <a:pt x="36" y="59"/>
                </a:lnTo>
                <a:lnTo>
                  <a:pt x="37" y="57"/>
                </a:lnTo>
                <a:lnTo>
                  <a:pt x="39" y="57"/>
                </a:lnTo>
                <a:lnTo>
                  <a:pt x="41" y="57"/>
                </a:lnTo>
                <a:lnTo>
                  <a:pt x="42" y="58"/>
                </a:lnTo>
                <a:lnTo>
                  <a:pt x="44" y="59"/>
                </a:lnTo>
                <a:lnTo>
                  <a:pt x="46" y="61"/>
                </a:lnTo>
                <a:lnTo>
                  <a:pt x="49" y="61"/>
                </a:lnTo>
                <a:lnTo>
                  <a:pt x="51" y="63"/>
                </a:lnTo>
                <a:lnTo>
                  <a:pt x="53" y="63"/>
                </a:lnTo>
                <a:lnTo>
                  <a:pt x="53" y="63"/>
                </a:lnTo>
                <a:lnTo>
                  <a:pt x="55" y="61"/>
                </a:lnTo>
                <a:lnTo>
                  <a:pt x="59" y="60"/>
                </a:lnTo>
                <a:lnTo>
                  <a:pt x="60" y="59"/>
                </a:lnTo>
                <a:lnTo>
                  <a:pt x="60" y="58"/>
                </a:lnTo>
                <a:lnTo>
                  <a:pt x="60" y="57"/>
                </a:lnTo>
                <a:lnTo>
                  <a:pt x="60" y="57"/>
                </a:lnTo>
                <a:lnTo>
                  <a:pt x="59" y="57"/>
                </a:lnTo>
                <a:lnTo>
                  <a:pt x="57" y="56"/>
                </a:lnTo>
                <a:lnTo>
                  <a:pt x="56" y="56"/>
                </a:lnTo>
                <a:lnTo>
                  <a:pt x="55" y="57"/>
                </a:lnTo>
                <a:lnTo>
                  <a:pt x="52" y="58"/>
                </a:lnTo>
                <a:lnTo>
                  <a:pt x="51" y="58"/>
                </a:lnTo>
                <a:lnTo>
                  <a:pt x="49" y="57"/>
                </a:lnTo>
                <a:lnTo>
                  <a:pt x="47" y="56"/>
                </a:lnTo>
                <a:lnTo>
                  <a:pt x="47" y="55"/>
                </a:lnTo>
                <a:lnTo>
                  <a:pt x="44" y="55"/>
                </a:lnTo>
                <a:lnTo>
                  <a:pt x="42" y="53"/>
                </a:lnTo>
                <a:lnTo>
                  <a:pt x="41" y="53"/>
                </a:lnTo>
                <a:lnTo>
                  <a:pt x="40" y="51"/>
                </a:lnTo>
                <a:lnTo>
                  <a:pt x="37" y="51"/>
                </a:lnTo>
                <a:lnTo>
                  <a:pt x="36" y="53"/>
                </a:lnTo>
                <a:lnTo>
                  <a:pt x="35" y="53"/>
                </a:lnTo>
                <a:lnTo>
                  <a:pt x="33" y="54"/>
                </a:lnTo>
                <a:lnTo>
                  <a:pt x="32" y="56"/>
                </a:lnTo>
                <a:lnTo>
                  <a:pt x="15" y="56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93" name="Freeform 693"/>
          <p:cNvSpPr>
            <a:spLocks/>
          </p:cNvSpPr>
          <p:nvPr/>
        </p:nvSpPr>
        <p:spPr bwMode="auto">
          <a:xfrm>
            <a:off x="3906838" y="3095590"/>
            <a:ext cx="158750" cy="125413"/>
          </a:xfrm>
          <a:custGeom>
            <a:avLst/>
            <a:gdLst>
              <a:gd name="T0" fmla="*/ 12 w 100"/>
              <a:gd name="T1" fmla="*/ 51 h 79"/>
              <a:gd name="T2" fmla="*/ 9 w 100"/>
              <a:gd name="T3" fmla="*/ 41 h 79"/>
              <a:gd name="T4" fmla="*/ 2 w 100"/>
              <a:gd name="T5" fmla="*/ 36 h 79"/>
              <a:gd name="T6" fmla="*/ 1 w 100"/>
              <a:gd name="T7" fmla="*/ 35 h 79"/>
              <a:gd name="T8" fmla="*/ 11 w 100"/>
              <a:gd name="T9" fmla="*/ 27 h 79"/>
              <a:gd name="T10" fmla="*/ 16 w 100"/>
              <a:gd name="T11" fmla="*/ 10 h 79"/>
              <a:gd name="T12" fmla="*/ 21 w 100"/>
              <a:gd name="T13" fmla="*/ 3 h 79"/>
              <a:gd name="T14" fmla="*/ 27 w 100"/>
              <a:gd name="T15" fmla="*/ 3 h 79"/>
              <a:gd name="T16" fmla="*/ 36 w 100"/>
              <a:gd name="T17" fmla="*/ 2 h 79"/>
              <a:gd name="T18" fmla="*/ 40 w 100"/>
              <a:gd name="T19" fmla="*/ 0 h 79"/>
              <a:gd name="T20" fmla="*/ 50 w 100"/>
              <a:gd name="T21" fmla="*/ 0 h 79"/>
              <a:gd name="T22" fmla="*/ 54 w 100"/>
              <a:gd name="T23" fmla="*/ 3 h 79"/>
              <a:gd name="T24" fmla="*/ 61 w 100"/>
              <a:gd name="T25" fmla="*/ 9 h 79"/>
              <a:gd name="T26" fmla="*/ 64 w 100"/>
              <a:gd name="T27" fmla="*/ 9 h 79"/>
              <a:gd name="T28" fmla="*/ 70 w 100"/>
              <a:gd name="T29" fmla="*/ 18 h 79"/>
              <a:gd name="T30" fmla="*/ 72 w 100"/>
              <a:gd name="T31" fmla="*/ 21 h 79"/>
              <a:gd name="T32" fmla="*/ 75 w 100"/>
              <a:gd name="T33" fmla="*/ 24 h 79"/>
              <a:gd name="T34" fmla="*/ 76 w 100"/>
              <a:gd name="T35" fmla="*/ 26 h 79"/>
              <a:gd name="T36" fmla="*/ 81 w 100"/>
              <a:gd name="T37" fmla="*/ 29 h 79"/>
              <a:gd name="T38" fmla="*/ 84 w 100"/>
              <a:gd name="T39" fmla="*/ 33 h 79"/>
              <a:gd name="T40" fmla="*/ 86 w 100"/>
              <a:gd name="T41" fmla="*/ 39 h 79"/>
              <a:gd name="T42" fmla="*/ 87 w 100"/>
              <a:gd name="T43" fmla="*/ 43 h 79"/>
              <a:gd name="T44" fmla="*/ 90 w 100"/>
              <a:gd name="T45" fmla="*/ 50 h 79"/>
              <a:gd name="T46" fmla="*/ 91 w 100"/>
              <a:gd name="T47" fmla="*/ 58 h 79"/>
              <a:gd name="T48" fmla="*/ 93 w 100"/>
              <a:gd name="T49" fmla="*/ 59 h 79"/>
              <a:gd name="T50" fmla="*/ 96 w 100"/>
              <a:gd name="T51" fmla="*/ 64 h 79"/>
              <a:gd name="T52" fmla="*/ 98 w 100"/>
              <a:gd name="T53" fmla="*/ 68 h 79"/>
              <a:gd name="T54" fmla="*/ 98 w 100"/>
              <a:gd name="T55" fmla="*/ 71 h 79"/>
              <a:gd name="T56" fmla="*/ 100 w 100"/>
              <a:gd name="T57" fmla="*/ 77 h 79"/>
              <a:gd name="T58" fmla="*/ 93 w 100"/>
              <a:gd name="T59" fmla="*/ 78 h 79"/>
              <a:gd name="T60" fmla="*/ 85 w 100"/>
              <a:gd name="T61" fmla="*/ 79 h 79"/>
              <a:gd name="T62" fmla="*/ 78 w 100"/>
              <a:gd name="T63" fmla="*/ 77 h 79"/>
              <a:gd name="T64" fmla="*/ 73 w 100"/>
              <a:gd name="T65" fmla="*/ 77 h 79"/>
              <a:gd name="T66" fmla="*/ 69 w 100"/>
              <a:gd name="T67" fmla="*/ 73 h 79"/>
              <a:gd name="T68" fmla="*/ 46 w 100"/>
              <a:gd name="T69" fmla="*/ 73 h 79"/>
              <a:gd name="T70" fmla="*/ 32 w 100"/>
              <a:gd name="T71" fmla="*/ 76 h 79"/>
              <a:gd name="T72" fmla="*/ 16 w 100"/>
              <a:gd name="T73" fmla="*/ 79 h 79"/>
              <a:gd name="T74" fmla="*/ 12 w 100"/>
              <a:gd name="T75" fmla="*/ 78 h 79"/>
              <a:gd name="T76" fmla="*/ 13 w 100"/>
              <a:gd name="T77" fmla="*/ 64 h 79"/>
              <a:gd name="T78" fmla="*/ 29 w 100"/>
              <a:gd name="T79" fmla="*/ 60 h 79"/>
              <a:gd name="T80" fmla="*/ 36 w 100"/>
              <a:gd name="T81" fmla="*/ 59 h 79"/>
              <a:gd name="T82" fmla="*/ 42 w 100"/>
              <a:gd name="T83" fmla="*/ 58 h 79"/>
              <a:gd name="T84" fmla="*/ 51 w 100"/>
              <a:gd name="T85" fmla="*/ 63 h 79"/>
              <a:gd name="T86" fmla="*/ 59 w 100"/>
              <a:gd name="T87" fmla="*/ 60 h 79"/>
              <a:gd name="T88" fmla="*/ 60 w 100"/>
              <a:gd name="T89" fmla="*/ 57 h 79"/>
              <a:gd name="T90" fmla="*/ 55 w 100"/>
              <a:gd name="T91" fmla="*/ 57 h 79"/>
              <a:gd name="T92" fmla="*/ 47 w 100"/>
              <a:gd name="T93" fmla="*/ 56 h 79"/>
              <a:gd name="T94" fmla="*/ 41 w 100"/>
              <a:gd name="T95" fmla="*/ 53 h 79"/>
              <a:gd name="T96" fmla="*/ 35 w 100"/>
              <a:gd name="T97" fmla="*/ 53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00" h="79">
                <a:moveTo>
                  <a:pt x="15" y="56"/>
                </a:moveTo>
                <a:lnTo>
                  <a:pt x="15" y="56"/>
                </a:lnTo>
                <a:lnTo>
                  <a:pt x="14" y="54"/>
                </a:lnTo>
                <a:lnTo>
                  <a:pt x="12" y="51"/>
                </a:lnTo>
                <a:lnTo>
                  <a:pt x="12" y="47"/>
                </a:lnTo>
                <a:lnTo>
                  <a:pt x="11" y="46"/>
                </a:lnTo>
                <a:lnTo>
                  <a:pt x="10" y="44"/>
                </a:lnTo>
                <a:lnTo>
                  <a:pt x="9" y="41"/>
                </a:lnTo>
                <a:lnTo>
                  <a:pt x="5" y="38"/>
                </a:lnTo>
                <a:lnTo>
                  <a:pt x="4" y="36"/>
                </a:lnTo>
                <a:lnTo>
                  <a:pt x="3" y="36"/>
                </a:lnTo>
                <a:lnTo>
                  <a:pt x="2" y="36"/>
                </a:lnTo>
                <a:lnTo>
                  <a:pt x="2" y="37"/>
                </a:lnTo>
                <a:lnTo>
                  <a:pt x="0" y="36"/>
                </a:lnTo>
                <a:lnTo>
                  <a:pt x="0" y="35"/>
                </a:lnTo>
                <a:lnTo>
                  <a:pt x="1" y="35"/>
                </a:lnTo>
                <a:lnTo>
                  <a:pt x="2" y="35"/>
                </a:lnTo>
                <a:lnTo>
                  <a:pt x="5" y="33"/>
                </a:lnTo>
                <a:lnTo>
                  <a:pt x="10" y="29"/>
                </a:lnTo>
                <a:lnTo>
                  <a:pt x="11" y="27"/>
                </a:lnTo>
                <a:lnTo>
                  <a:pt x="12" y="25"/>
                </a:lnTo>
                <a:lnTo>
                  <a:pt x="16" y="18"/>
                </a:lnTo>
                <a:lnTo>
                  <a:pt x="16" y="16"/>
                </a:lnTo>
                <a:lnTo>
                  <a:pt x="16" y="10"/>
                </a:lnTo>
                <a:lnTo>
                  <a:pt x="17" y="10"/>
                </a:lnTo>
                <a:lnTo>
                  <a:pt x="19" y="9"/>
                </a:lnTo>
                <a:lnTo>
                  <a:pt x="20" y="7"/>
                </a:lnTo>
                <a:lnTo>
                  <a:pt x="21" y="3"/>
                </a:lnTo>
                <a:lnTo>
                  <a:pt x="22" y="3"/>
                </a:lnTo>
                <a:lnTo>
                  <a:pt x="23" y="3"/>
                </a:lnTo>
                <a:lnTo>
                  <a:pt x="25" y="3"/>
                </a:lnTo>
                <a:lnTo>
                  <a:pt x="27" y="3"/>
                </a:lnTo>
                <a:lnTo>
                  <a:pt x="30" y="4"/>
                </a:lnTo>
                <a:lnTo>
                  <a:pt x="32" y="3"/>
                </a:lnTo>
                <a:lnTo>
                  <a:pt x="33" y="3"/>
                </a:lnTo>
                <a:lnTo>
                  <a:pt x="36" y="2"/>
                </a:lnTo>
                <a:lnTo>
                  <a:pt x="39" y="2"/>
                </a:lnTo>
                <a:lnTo>
                  <a:pt x="40" y="2"/>
                </a:lnTo>
                <a:lnTo>
                  <a:pt x="40" y="0"/>
                </a:lnTo>
                <a:lnTo>
                  <a:pt x="40" y="0"/>
                </a:lnTo>
                <a:lnTo>
                  <a:pt x="42" y="0"/>
                </a:lnTo>
                <a:lnTo>
                  <a:pt x="43" y="0"/>
                </a:lnTo>
                <a:lnTo>
                  <a:pt x="45" y="0"/>
                </a:lnTo>
                <a:lnTo>
                  <a:pt x="50" y="0"/>
                </a:lnTo>
                <a:lnTo>
                  <a:pt x="50" y="2"/>
                </a:lnTo>
                <a:lnTo>
                  <a:pt x="51" y="0"/>
                </a:lnTo>
                <a:lnTo>
                  <a:pt x="52" y="3"/>
                </a:lnTo>
                <a:lnTo>
                  <a:pt x="54" y="3"/>
                </a:lnTo>
                <a:lnTo>
                  <a:pt x="56" y="6"/>
                </a:lnTo>
                <a:lnTo>
                  <a:pt x="57" y="7"/>
                </a:lnTo>
                <a:lnTo>
                  <a:pt x="60" y="9"/>
                </a:lnTo>
                <a:lnTo>
                  <a:pt x="61" y="9"/>
                </a:lnTo>
                <a:lnTo>
                  <a:pt x="62" y="9"/>
                </a:lnTo>
                <a:lnTo>
                  <a:pt x="62" y="10"/>
                </a:lnTo>
                <a:lnTo>
                  <a:pt x="63" y="10"/>
                </a:lnTo>
                <a:lnTo>
                  <a:pt x="64" y="9"/>
                </a:lnTo>
                <a:lnTo>
                  <a:pt x="65" y="9"/>
                </a:lnTo>
                <a:lnTo>
                  <a:pt x="69" y="14"/>
                </a:lnTo>
                <a:lnTo>
                  <a:pt x="70" y="17"/>
                </a:lnTo>
                <a:lnTo>
                  <a:pt x="70" y="18"/>
                </a:lnTo>
                <a:lnTo>
                  <a:pt x="71" y="19"/>
                </a:lnTo>
                <a:lnTo>
                  <a:pt x="72" y="20"/>
                </a:lnTo>
                <a:lnTo>
                  <a:pt x="72" y="21"/>
                </a:lnTo>
                <a:lnTo>
                  <a:pt x="72" y="21"/>
                </a:lnTo>
                <a:lnTo>
                  <a:pt x="73" y="21"/>
                </a:lnTo>
                <a:lnTo>
                  <a:pt x="74" y="21"/>
                </a:lnTo>
                <a:lnTo>
                  <a:pt x="74" y="24"/>
                </a:lnTo>
                <a:lnTo>
                  <a:pt x="75" y="24"/>
                </a:lnTo>
                <a:lnTo>
                  <a:pt x="75" y="25"/>
                </a:lnTo>
                <a:lnTo>
                  <a:pt x="75" y="26"/>
                </a:lnTo>
                <a:lnTo>
                  <a:pt x="75" y="26"/>
                </a:lnTo>
                <a:lnTo>
                  <a:pt x="76" y="26"/>
                </a:lnTo>
                <a:lnTo>
                  <a:pt x="76" y="27"/>
                </a:lnTo>
                <a:lnTo>
                  <a:pt x="77" y="28"/>
                </a:lnTo>
                <a:lnTo>
                  <a:pt x="78" y="28"/>
                </a:lnTo>
                <a:lnTo>
                  <a:pt x="81" y="29"/>
                </a:lnTo>
                <a:lnTo>
                  <a:pt x="82" y="30"/>
                </a:lnTo>
                <a:lnTo>
                  <a:pt x="82" y="31"/>
                </a:lnTo>
                <a:lnTo>
                  <a:pt x="82" y="33"/>
                </a:lnTo>
                <a:lnTo>
                  <a:pt x="84" y="33"/>
                </a:lnTo>
                <a:lnTo>
                  <a:pt x="86" y="35"/>
                </a:lnTo>
                <a:lnTo>
                  <a:pt x="86" y="36"/>
                </a:lnTo>
                <a:lnTo>
                  <a:pt x="86" y="37"/>
                </a:lnTo>
                <a:lnTo>
                  <a:pt x="86" y="39"/>
                </a:lnTo>
                <a:lnTo>
                  <a:pt x="86" y="41"/>
                </a:lnTo>
                <a:lnTo>
                  <a:pt x="86" y="41"/>
                </a:lnTo>
                <a:lnTo>
                  <a:pt x="87" y="43"/>
                </a:lnTo>
                <a:lnTo>
                  <a:pt x="87" y="43"/>
                </a:lnTo>
                <a:lnTo>
                  <a:pt x="88" y="44"/>
                </a:lnTo>
                <a:lnTo>
                  <a:pt x="88" y="46"/>
                </a:lnTo>
                <a:lnTo>
                  <a:pt x="88" y="48"/>
                </a:lnTo>
                <a:lnTo>
                  <a:pt x="90" y="50"/>
                </a:lnTo>
                <a:lnTo>
                  <a:pt x="90" y="51"/>
                </a:lnTo>
                <a:lnTo>
                  <a:pt x="88" y="54"/>
                </a:lnTo>
                <a:lnTo>
                  <a:pt x="88" y="55"/>
                </a:lnTo>
                <a:lnTo>
                  <a:pt x="91" y="58"/>
                </a:lnTo>
                <a:lnTo>
                  <a:pt x="91" y="60"/>
                </a:lnTo>
                <a:lnTo>
                  <a:pt x="92" y="60"/>
                </a:lnTo>
                <a:lnTo>
                  <a:pt x="93" y="60"/>
                </a:lnTo>
                <a:lnTo>
                  <a:pt x="93" y="59"/>
                </a:lnTo>
                <a:lnTo>
                  <a:pt x="95" y="60"/>
                </a:lnTo>
                <a:lnTo>
                  <a:pt x="95" y="61"/>
                </a:lnTo>
                <a:lnTo>
                  <a:pt x="96" y="61"/>
                </a:lnTo>
                <a:lnTo>
                  <a:pt x="96" y="64"/>
                </a:lnTo>
                <a:lnTo>
                  <a:pt x="97" y="64"/>
                </a:lnTo>
                <a:lnTo>
                  <a:pt x="97" y="66"/>
                </a:lnTo>
                <a:lnTo>
                  <a:pt x="98" y="67"/>
                </a:lnTo>
                <a:lnTo>
                  <a:pt x="98" y="68"/>
                </a:lnTo>
                <a:lnTo>
                  <a:pt x="98" y="68"/>
                </a:lnTo>
                <a:lnTo>
                  <a:pt x="98" y="69"/>
                </a:lnTo>
                <a:lnTo>
                  <a:pt x="98" y="70"/>
                </a:lnTo>
                <a:lnTo>
                  <a:pt x="98" y="71"/>
                </a:lnTo>
                <a:lnTo>
                  <a:pt x="98" y="73"/>
                </a:lnTo>
                <a:lnTo>
                  <a:pt x="98" y="75"/>
                </a:lnTo>
                <a:lnTo>
                  <a:pt x="100" y="76"/>
                </a:lnTo>
                <a:lnTo>
                  <a:pt x="100" y="77"/>
                </a:lnTo>
                <a:lnTo>
                  <a:pt x="98" y="77"/>
                </a:lnTo>
                <a:lnTo>
                  <a:pt x="96" y="77"/>
                </a:lnTo>
                <a:lnTo>
                  <a:pt x="94" y="78"/>
                </a:lnTo>
                <a:lnTo>
                  <a:pt x="93" y="78"/>
                </a:lnTo>
                <a:lnTo>
                  <a:pt x="90" y="77"/>
                </a:lnTo>
                <a:lnTo>
                  <a:pt x="88" y="78"/>
                </a:lnTo>
                <a:lnTo>
                  <a:pt x="86" y="78"/>
                </a:lnTo>
                <a:lnTo>
                  <a:pt x="85" y="79"/>
                </a:lnTo>
                <a:lnTo>
                  <a:pt x="83" y="79"/>
                </a:lnTo>
                <a:lnTo>
                  <a:pt x="81" y="78"/>
                </a:lnTo>
                <a:lnTo>
                  <a:pt x="81" y="78"/>
                </a:lnTo>
                <a:lnTo>
                  <a:pt x="78" y="77"/>
                </a:lnTo>
                <a:lnTo>
                  <a:pt x="76" y="77"/>
                </a:lnTo>
                <a:lnTo>
                  <a:pt x="74" y="76"/>
                </a:lnTo>
                <a:lnTo>
                  <a:pt x="74" y="76"/>
                </a:lnTo>
                <a:lnTo>
                  <a:pt x="73" y="77"/>
                </a:lnTo>
                <a:lnTo>
                  <a:pt x="72" y="77"/>
                </a:lnTo>
                <a:lnTo>
                  <a:pt x="72" y="75"/>
                </a:lnTo>
                <a:lnTo>
                  <a:pt x="71" y="74"/>
                </a:lnTo>
                <a:lnTo>
                  <a:pt x="69" y="73"/>
                </a:lnTo>
                <a:lnTo>
                  <a:pt x="66" y="74"/>
                </a:lnTo>
                <a:lnTo>
                  <a:pt x="65" y="73"/>
                </a:lnTo>
                <a:lnTo>
                  <a:pt x="61" y="73"/>
                </a:lnTo>
                <a:lnTo>
                  <a:pt x="46" y="73"/>
                </a:lnTo>
                <a:lnTo>
                  <a:pt x="45" y="73"/>
                </a:lnTo>
                <a:lnTo>
                  <a:pt x="39" y="73"/>
                </a:lnTo>
                <a:lnTo>
                  <a:pt x="35" y="75"/>
                </a:lnTo>
                <a:lnTo>
                  <a:pt x="32" y="76"/>
                </a:lnTo>
                <a:lnTo>
                  <a:pt x="29" y="77"/>
                </a:lnTo>
                <a:lnTo>
                  <a:pt x="21" y="77"/>
                </a:lnTo>
                <a:lnTo>
                  <a:pt x="20" y="77"/>
                </a:lnTo>
                <a:lnTo>
                  <a:pt x="16" y="79"/>
                </a:lnTo>
                <a:lnTo>
                  <a:pt x="14" y="79"/>
                </a:lnTo>
                <a:lnTo>
                  <a:pt x="13" y="78"/>
                </a:lnTo>
                <a:lnTo>
                  <a:pt x="12" y="78"/>
                </a:lnTo>
                <a:lnTo>
                  <a:pt x="12" y="78"/>
                </a:lnTo>
                <a:lnTo>
                  <a:pt x="12" y="78"/>
                </a:lnTo>
                <a:lnTo>
                  <a:pt x="12" y="77"/>
                </a:lnTo>
                <a:lnTo>
                  <a:pt x="12" y="66"/>
                </a:lnTo>
                <a:lnTo>
                  <a:pt x="13" y="64"/>
                </a:lnTo>
                <a:lnTo>
                  <a:pt x="24" y="63"/>
                </a:lnTo>
                <a:lnTo>
                  <a:pt x="27" y="63"/>
                </a:lnTo>
                <a:lnTo>
                  <a:pt x="27" y="63"/>
                </a:lnTo>
                <a:lnTo>
                  <a:pt x="29" y="60"/>
                </a:lnTo>
                <a:lnTo>
                  <a:pt x="30" y="60"/>
                </a:lnTo>
                <a:lnTo>
                  <a:pt x="31" y="60"/>
                </a:lnTo>
                <a:lnTo>
                  <a:pt x="34" y="60"/>
                </a:lnTo>
                <a:lnTo>
                  <a:pt x="36" y="59"/>
                </a:lnTo>
                <a:lnTo>
                  <a:pt x="37" y="57"/>
                </a:lnTo>
                <a:lnTo>
                  <a:pt x="39" y="57"/>
                </a:lnTo>
                <a:lnTo>
                  <a:pt x="41" y="57"/>
                </a:lnTo>
                <a:lnTo>
                  <a:pt x="42" y="58"/>
                </a:lnTo>
                <a:lnTo>
                  <a:pt x="44" y="59"/>
                </a:lnTo>
                <a:lnTo>
                  <a:pt x="46" y="61"/>
                </a:lnTo>
                <a:lnTo>
                  <a:pt x="49" y="61"/>
                </a:lnTo>
                <a:lnTo>
                  <a:pt x="51" y="63"/>
                </a:lnTo>
                <a:lnTo>
                  <a:pt x="53" y="63"/>
                </a:lnTo>
                <a:lnTo>
                  <a:pt x="53" y="63"/>
                </a:lnTo>
                <a:lnTo>
                  <a:pt x="55" y="61"/>
                </a:lnTo>
                <a:lnTo>
                  <a:pt x="59" y="60"/>
                </a:lnTo>
                <a:lnTo>
                  <a:pt x="60" y="59"/>
                </a:lnTo>
                <a:lnTo>
                  <a:pt x="60" y="58"/>
                </a:lnTo>
                <a:lnTo>
                  <a:pt x="60" y="57"/>
                </a:lnTo>
                <a:lnTo>
                  <a:pt x="60" y="57"/>
                </a:lnTo>
                <a:lnTo>
                  <a:pt x="59" y="57"/>
                </a:lnTo>
                <a:lnTo>
                  <a:pt x="57" y="56"/>
                </a:lnTo>
                <a:lnTo>
                  <a:pt x="56" y="56"/>
                </a:lnTo>
                <a:lnTo>
                  <a:pt x="55" y="57"/>
                </a:lnTo>
                <a:lnTo>
                  <a:pt x="52" y="58"/>
                </a:lnTo>
                <a:lnTo>
                  <a:pt x="51" y="58"/>
                </a:lnTo>
                <a:lnTo>
                  <a:pt x="49" y="57"/>
                </a:lnTo>
                <a:lnTo>
                  <a:pt x="47" y="56"/>
                </a:lnTo>
                <a:lnTo>
                  <a:pt x="47" y="55"/>
                </a:lnTo>
                <a:lnTo>
                  <a:pt x="44" y="55"/>
                </a:lnTo>
                <a:lnTo>
                  <a:pt x="42" y="53"/>
                </a:lnTo>
                <a:lnTo>
                  <a:pt x="41" y="53"/>
                </a:lnTo>
                <a:lnTo>
                  <a:pt x="40" y="51"/>
                </a:lnTo>
                <a:lnTo>
                  <a:pt x="37" y="51"/>
                </a:lnTo>
                <a:lnTo>
                  <a:pt x="36" y="53"/>
                </a:lnTo>
                <a:lnTo>
                  <a:pt x="35" y="53"/>
                </a:lnTo>
                <a:lnTo>
                  <a:pt x="33" y="54"/>
                </a:lnTo>
                <a:lnTo>
                  <a:pt x="32" y="56"/>
                </a:lnTo>
                <a:lnTo>
                  <a:pt x="15" y="56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94" name="Freeform 694"/>
          <p:cNvSpPr>
            <a:spLocks/>
          </p:cNvSpPr>
          <p:nvPr/>
        </p:nvSpPr>
        <p:spPr bwMode="auto">
          <a:xfrm>
            <a:off x="868363" y="1643028"/>
            <a:ext cx="234950" cy="115888"/>
          </a:xfrm>
          <a:custGeom>
            <a:avLst/>
            <a:gdLst>
              <a:gd name="T0" fmla="*/ 98 w 148"/>
              <a:gd name="T1" fmla="*/ 2 h 73"/>
              <a:gd name="T2" fmla="*/ 98 w 148"/>
              <a:gd name="T3" fmla="*/ 6 h 73"/>
              <a:gd name="T4" fmla="*/ 100 w 148"/>
              <a:gd name="T5" fmla="*/ 9 h 73"/>
              <a:gd name="T6" fmla="*/ 103 w 148"/>
              <a:gd name="T7" fmla="*/ 11 h 73"/>
              <a:gd name="T8" fmla="*/ 106 w 148"/>
              <a:gd name="T9" fmla="*/ 13 h 73"/>
              <a:gd name="T10" fmla="*/ 105 w 148"/>
              <a:gd name="T11" fmla="*/ 15 h 73"/>
              <a:gd name="T12" fmla="*/ 105 w 148"/>
              <a:gd name="T13" fmla="*/ 18 h 73"/>
              <a:gd name="T14" fmla="*/ 110 w 148"/>
              <a:gd name="T15" fmla="*/ 22 h 73"/>
              <a:gd name="T16" fmla="*/ 111 w 148"/>
              <a:gd name="T17" fmla="*/ 19 h 73"/>
              <a:gd name="T18" fmla="*/ 114 w 148"/>
              <a:gd name="T19" fmla="*/ 21 h 73"/>
              <a:gd name="T20" fmla="*/ 115 w 148"/>
              <a:gd name="T21" fmla="*/ 22 h 73"/>
              <a:gd name="T22" fmla="*/ 107 w 148"/>
              <a:gd name="T23" fmla="*/ 30 h 73"/>
              <a:gd name="T24" fmla="*/ 103 w 148"/>
              <a:gd name="T25" fmla="*/ 35 h 73"/>
              <a:gd name="T26" fmla="*/ 103 w 148"/>
              <a:gd name="T27" fmla="*/ 39 h 73"/>
              <a:gd name="T28" fmla="*/ 108 w 148"/>
              <a:gd name="T29" fmla="*/ 36 h 73"/>
              <a:gd name="T30" fmla="*/ 112 w 148"/>
              <a:gd name="T31" fmla="*/ 32 h 73"/>
              <a:gd name="T32" fmla="*/ 113 w 148"/>
              <a:gd name="T33" fmla="*/ 29 h 73"/>
              <a:gd name="T34" fmla="*/ 120 w 148"/>
              <a:gd name="T35" fmla="*/ 29 h 73"/>
              <a:gd name="T36" fmla="*/ 124 w 148"/>
              <a:gd name="T37" fmla="*/ 28 h 73"/>
              <a:gd name="T38" fmla="*/ 122 w 148"/>
              <a:gd name="T39" fmla="*/ 30 h 73"/>
              <a:gd name="T40" fmla="*/ 126 w 148"/>
              <a:gd name="T41" fmla="*/ 30 h 73"/>
              <a:gd name="T42" fmla="*/ 131 w 148"/>
              <a:gd name="T43" fmla="*/ 30 h 73"/>
              <a:gd name="T44" fmla="*/ 142 w 148"/>
              <a:gd name="T45" fmla="*/ 33 h 73"/>
              <a:gd name="T46" fmla="*/ 143 w 148"/>
              <a:gd name="T47" fmla="*/ 39 h 73"/>
              <a:gd name="T48" fmla="*/ 145 w 148"/>
              <a:gd name="T49" fmla="*/ 41 h 73"/>
              <a:gd name="T50" fmla="*/ 147 w 148"/>
              <a:gd name="T51" fmla="*/ 43 h 73"/>
              <a:gd name="T52" fmla="*/ 138 w 148"/>
              <a:gd name="T53" fmla="*/ 45 h 73"/>
              <a:gd name="T54" fmla="*/ 124 w 148"/>
              <a:gd name="T55" fmla="*/ 51 h 73"/>
              <a:gd name="T56" fmla="*/ 118 w 148"/>
              <a:gd name="T57" fmla="*/ 51 h 73"/>
              <a:gd name="T58" fmla="*/ 113 w 148"/>
              <a:gd name="T59" fmla="*/ 53 h 73"/>
              <a:gd name="T60" fmla="*/ 94 w 148"/>
              <a:gd name="T61" fmla="*/ 57 h 73"/>
              <a:gd name="T62" fmla="*/ 89 w 148"/>
              <a:gd name="T63" fmla="*/ 62 h 73"/>
              <a:gd name="T64" fmla="*/ 79 w 148"/>
              <a:gd name="T65" fmla="*/ 64 h 73"/>
              <a:gd name="T66" fmla="*/ 77 w 148"/>
              <a:gd name="T67" fmla="*/ 66 h 73"/>
              <a:gd name="T68" fmla="*/ 81 w 148"/>
              <a:gd name="T69" fmla="*/ 67 h 73"/>
              <a:gd name="T70" fmla="*/ 72 w 148"/>
              <a:gd name="T71" fmla="*/ 69 h 73"/>
              <a:gd name="T72" fmla="*/ 66 w 148"/>
              <a:gd name="T73" fmla="*/ 73 h 73"/>
              <a:gd name="T74" fmla="*/ 71 w 148"/>
              <a:gd name="T75" fmla="*/ 67 h 73"/>
              <a:gd name="T76" fmla="*/ 64 w 148"/>
              <a:gd name="T77" fmla="*/ 69 h 73"/>
              <a:gd name="T78" fmla="*/ 61 w 148"/>
              <a:gd name="T79" fmla="*/ 66 h 73"/>
              <a:gd name="T80" fmla="*/ 63 w 148"/>
              <a:gd name="T81" fmla="*/ 62 h 73"/>
              <a:gd name="T82" fmla="*/ 57 w 148"/>
              <a:gd name="T83" fmla="*/ 63 h 73"/>
              <a:gd name="T84" fmla="*/ 50 w 148"/>
              <a:gd name="T85" fmla="*/ 64 h 73"/>
              <a:gd name="T86" fmla="*/ 55 w 148"/>
              <a:gd name="T87" fmla="*/ 57 h 73"/>
              <a:gd name="T88" fmla="*/ 55 w 148"/>
              <a:gd name="T89" fmla="*/ 52 h 73"/>
              <a:gd name="T90" fmla="*/ 43 w 148"/>
              <a:gd name="T91" fmla="*/ 52 h 73"/>
              <a:gd name="T92" fmla="*/ 33 w 148"/>
              <a:gd name="T93" fmla="*/ 50 h 73"/>
              <a:gd name="T94" fmla="*/ 36 w 148"/>
              <a:gd name="T95" fmla="*/ 44 h 73"/>
              <a:gd name="T96" fmla="*/ 47 w 148"/>
              <a:gd name="T97" fmla="*/ 40 h 73"/>
              <a:gd name="T98" fmla="*/ 39 w 148"/>
              <a:gd name="T99" fmla="*/ 42 h 73"/>
              <a:gd name="T100" fmla="*/ 33 w 148"/>
              <a:gd name="T101" fmla="*/ 43 h 73"/>
              <a:gd name="T102" fmla="*/ 24 w 148"/>
              <a:gd name="T103" fmla="*/ 44 h 73"/>
              <a:gd name="T104" fmla="*/ 16 w 148"/>
              <a:gd name="T105" fmla="*/ 54 h 73"/>
              <a:gd name="T106" fmla="*/ 69 w 148"/>
              <a:gd name="T107" fmla="*/ 14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48" h="73">
                <a:moveTo>
                  <a:pt x="91" y="0"/>
                </a:moveTo>
                <a:lnTo>
                  <a:pt x="92" y="0"/>
                </a:lnTo>
                <a:lnTo>
                  <a:pt x="95" y="0"/>
                </a:lnTo>
                <a:lnTo>
                  <a:pt x="95" y="1"/>
                </a:lnTo>
                <a:lnTo>
                  <a:pt x="98" y="2"/>
                </a:lnTo>
                <a:lnTo>
                  <a:pt x="100" y="2"/>
                </a:lnTo>
                <a:lnTo>
                  <a:pt x="98" y="3"/>
                </a:lnTo>
                <a:lnTo>
                  <a:pt x="96" y="5"/>
                </a:lnTo>
                <a:lnTo>
                  <a:pt x="97" y="6"/>
                </a:lnTo>
                <a:lnTo>
                  <a:pt x="98" y="6"/>
                </a:lnTo>
                <a:lnTo>
                  <a:pt x="100" y="8"/>
                </a:lnTo>
                <a:lnTo>
                  <a:pt x="101" y="5"/>
                </a:lnTo>
                <a:lnTo>
                  <a:pt x="101" y="6"/>
                </a:lnTo>
                <a:lnTo>
                  <a:pt x="101" y="8"/>
                </a:lnTo>
                <a:lnTo>
                  <a:pt x="100" y="9"/>
                </a:lnTo>
                <a:lnTo>
                  <a:pt x="98" y="10"/>
                </a:lnTo>
                <a:lnTo>
                  <a:pt x="97" y="10"/>
                </a:lnTo>
                <a:lnTo>
                  <a:pt x="103" y="9"/>
                </a:lnTo>
                <a:lnTo>
                  <a:pt x="104" y="10"/>
                </a:lnTo>
                <a:lnTo>
                  <a:pt x="103" y="11"/>
                </a:lnTo>
                <a:lnTo>
                  <a:pt x="105" y="10"/>
                </a:lnTo>
                <a:lnTo>
                  <a:pt x="105" y="11"/>
                </a:lnTo>
                <a:lnTo>
                  <a:pt x="104" y="12"/>
                </a:lnTo>
                <a:lnTo>
                  <a:pt x="107" y="12"/>
                </a:lnTo>
                <a:lnTo>
                  <a:pt x="106" y="13"/>
                </a:lnTo>
                <a:lnTo>
                  <a:pt x="106" y="13"/>
                </a:lnTo>
                <a:lnTo>
                  <a:pt x="105" y="14"/>
                </a:lnTo>
                <a:lnTo>
                  <a:pt x="103" y="14"/>
                </a:lnTo>
                <a:lnTo>
                  <a:pt x="104" y="15"/>
                </a:lnTo>
                <a:lnTo>
                  <a:pt x="105" y="15"/>
                </a:lnTo>
                <a:lnTo>
                  <a:pt x="107" y="15"/>
                </a:lnTo>
                <a:lnTo>
                  <a:pt x="111" y="16"/>
                </a:lnTo>
                <a:lnTo>
                  <a:pt x="110" y="16"/>
                </a:lnTo>
                <a:lnTo>
                  <a:pt x="108" y="18"/>
                </a:lnTo>
                <a:lnTo>
                  <a:pt x="105" y="18"/>
                </a:lnTo>
                <a:lnTo>
                  <a:pt x="103" y="19"/>
                </a:lnTo>
                <a:lnTo>
                  <a:pt x="104" y="20"/>
                </a:lnTo>
                <a:lnTo>
                  <a:pt x="106" y="20"/>
                </a:lnTo>
                <a:lnTo>
                  <a:pt x="108" y="22"/>
                </a:lnTo>
                <a:lnTo>
                  <a:pt x="110" y="22"/>
                </a:lnTo>
                <a:lnTo>
                  <a:pt x="112" y="21"/>
                </a:lnTo>
                <a:lnTo>
                  <a:pt x="112" y="21"/>
                </a:lnTo>
                <a:lnTo>
                  <a:pt x="111" y="21"/>
                </a:lnTo>
                <a:lnTo>
                  <a:pt x="111" y="20"/>
                </a:lnTo>
                <a:lnTo>
                  <a:pt x="111" y="19"/>
                </a:lnTo>
                <a:lnTo>
                  <a:pt x="112" y="18"/>
                </a:lnTo>
                <a:lnTo>
                  <a:pt x="113" y="18"/>
                </a:lnTo>
                <a:lnTo>
                  <a:pt x="116" y="19"/>
                </a:lnTo>
                <a:lnTo>
                  <a:pt x="115" y="20"/>
                </a:lnTo>
                <a:lnTo>
                  <a:pt x="114" y="21"/>
                </a:lnTo>
                <a:lnTo>
                  <a:pt x="116" y="23"/>
                </a:lnTo>
                <a:lnTo>
                  <a:pt x="115" y="24"/>
                </a:lnTo>
                <a:lnTo>
                  <a:pt x="114" y="24"/>
                </a:lnTo>
                <a:lnTo>
                  <a:pt x="115" y="23"/>
                </a:lnTo>
                <a:lnTo>
                  <a:pt x="115" y="22"/>
                </a:lnTo>
                <a:lnTo>
                  <a:pt x="113" y="23"/>
                </a:lnTo>
                <a:lnTo>
                  <a:pt x="113" y="24"/>
                </a:lnTo>
                <a:lnTo>
                  <a:pt x="111" y="26"/>
                </a:lnTo>
                <a:lnTo>
                  <a:pt x="108" y="29"/>
                </a:lnTo>
                <a:lnTo>
                  <a:pt x="107" y="30"/>
                </a:lnTo>
                <a:lnTo>
                  <a:pt x="106" y="31"/>
                </a:lnTo>
                <a:lnTo>
                  <a:pt x="103" y="33"/>
                </a:lnTo>
                <a:lnTo>
                  <a:pt x="103" y="34"/>
                </a:lnTo>
                <a:lnTo>
                  <a:pt x="104" y="34"/>
                </a:lnTo>
                <a:lnTo>
                  <a:pt x="103" y="35"/>
                </a:lnTo>
                <a:lnTo>
                  <a:pt x="102" y="36"/>
                </a:lnTo>
                <a:lnTo>
                  <a:pt x="104" y="36"/>
                </a:lnTo>
                <a:lnTo>
                  <a:pt x="106" y="36"/>
                </a:lnTo>
                <a:lnTo>
                  <a:pt x="104" y="39"/>
                </a:lnTo>
                <a:lnTo>
                  <a:pt x="103" y="39"/>
                </a:lnTo>
                <a:lnTo>
                  <a:pt x="102" y="40"/>
                </a:lnTo>
                <a:lnTo>
                  <a:pt x="104" y="39"/>
                </a:lnTo>
                <a:lnTo>
                  <a:pt x="105" y="39"/>
                </a:lnTo>
                <a:lnTo>
                  <a:pt x="107" y="38"/>
                </a:lnTo>
                <a:lnTo>
                  <a:pt x="108" y="36"/>
                </a:lnTo>
                <a:lnTo>
                  <a:pt x="110" y="35"/>
                </a:lnTo>
                <a:lnTo>
                  <a:pt x="110" y="35"/>
                </a:lnTo>
                <a:lnTo>
                  <a:pt x="107" y="35"/>
                </a:lnTo>
                <a:lnTo>
                  <a:pt x="106" y="35"/>
                </a:lnTo>
                <a:lnTo>
                  <a:pt x="112" y="32"/>
                </a:lnTo>
                <a:lnTo>
                  <a:pt x="116" y="30"/>
                </a:lnTo>
                <a:lnTo>
                  <a:pt x="114" y="29"/>
                </a:lnTo>
                <a:lnTo>
                  <a:pt x="115" y="29"/>
                </a:lnTo>
                <a:lnTo>
                  <a:pt x="116" y="29"/>
                </a:lnTo>
                <a:lnTo>
                  <a:pt x="113" y="29"/>
                </a:lnTo>
                <a:lnTo>
                  <a:pt x="112" y="30"/>
                </a:lnTo>
                <a:lnTo>
                  <a:pt x="112" y="29"/>
                </a:lnTo>
                <a:lnTo>
                  <a:pt x="115" y="28"/>
                </a:lnTo>
                <a:lnTo>
                  <a:pt x="117" y="28"/>
                </a:lnTo>
                <a:lnTo>
                  <a:pt x="120" y="29"/>
                </a:lnTo>
                <a:lnTo>
                  <a:pt x="118" y="29"/>
                </a:lnTo>
                <a:lnTo>
                  <a:pt x="120" y="29"/>
                </a:lnTo>
                <a:lnTo>
                  <a:pt x="122" y="28"/>
                </a:lnTo>
                <a:lnTo>
                  <a:pt x="123" y="28"/>
                </a:lnTo>
                <a:lnTo>
                  <a:pt x="124" y="28"/>
                </a:lnTo>
                <a:lnTo>
                  <a:pt x="124" y="29"/>
                </a:lnTo>
                <a:lnTo>
                  <a:pt x="125" y="28"/>
                </a:lnTo>
                <a:lnTo>
                  <a:pt x="126" y="29"/>
                </a:lnTo>
                <a:lnTo>
                  <a:pt x="124" y="29"/>
                </a:lnTo>
                <a:lnTo>
                  <a:pt x="122" y="30"/>
                </a:lnTo>
                <a:lnTo>
                  <a:pt x="122" y="31"/>
                </a:lnTo>
                <a:lnTo>
                  <a:pt x="121" y="32"/>
                </a:lnTo>
                <a:lnTo>
                  <a:pt x="122" y="32"/>
                </a:lnTo>
                <a:lnTo>
                  <a:pt x="124" y="31"/>
                </a:lnTo>
                <a:lnTo>
                  <a:pt x="126" y="30"/>
                </a:lnTo>
                <a:lnTo>
                  <a:pt x="128" y="31"/>
                </a:lnTo>
                <a:lnTo>
                  <a:pt x="130" y="31"/>
                </a:lnTo>
                <a:lnTo>
                  <a:pt x="133" y="31"/>
                </a:lnTo>
                <a:lnTo>
                  <a:pt x="135" y="30"/>
                </a:lnTo>
                <a:lnTo>
                  <a:pt x="131" y="30"/>
                </a:lnTo>
                <a:lnTo>
                  <a:pt x="133" y="29"/>
                </a:lnTo>
                <a:lnTo>
                  <a:pt x="143" y="30"/>
                </a:lnTo>
                <a:lnTo>
                  <a:pt x="142" y="31"/>
                </a:lnTo>
                <a:lnTo>
                  <a:pt x="141" y="32"/>
                </a:lnTo>
                <a:lnTo>
                  <a:pt x="142" y="33"/>
                </a:lnTo>
                <a:lnTo>
                  <a:pt x="141" y="34"/>
                </a:lnTo>
                <a:lnTo>
                  <a:pt x="141" y="35"/>
                </a:lnTo>
                <a:lnTo>
                  <a:pt x="142" y="36"/>
                </a:lnTo>
                <a:lnTo>
                  <a:pt x="142" y="38"/>
                </a:lnTo>
                <a:lnTo>
                  <a:pt x="143" y="39"/>
                </a:lnTo>
                <a:lnTo>
                  <a:pt x="144" y="40"/>
                </a:lnTo>
                <a:lnTo>
                  <a:pt x="143" y="41"/>
                </a:lnTo>
                <a:lnTo>
                  <a:pt x="141" y="41"/>
                </a:lnTo>
                <a:lnTo>
                  <a:pt x="141" y="42"/>
                </a:lnTo>
                <a:lnTo>
                  <a:pt x="145" y="41"/>
                </a:lnTo>
                <a:lnTo>
                  <a:pt x="145" y="42"/>
                </a:lnTo>
                <a:lnTo>
                  <a:pt x="144" y="42"/>
                </a:lnTo>
                <a:lnTo>
                  <a:pt x="145" y="42"/>
                </a:lnTo>
                <a:lnTo>
                  <a:pt x="146" y="43"/>
                </a:lnTo>
                <a:lnTo>
                  <a:pt x="147" y="43"/>
                </a:lnTo>
                <a:lnTo>
                  <a:pt x="148" y="43"/>
                </a:lnTo>
                <a:lnTo>
                  <a:pt x="146" y="44"/>
                </a:lnTo>
                <a:lnTo>
                  <a:pt x="144" y="44"/>
                </a:lnTo>
                <a:lnTo>
                  <a:pt x="142" y="44"/>
                </a:lnTo>
                <a:lnTo>
                  <a:pt x="138" y="45"/>
                </a:lnTo>
                <a:lnTo>
                  <a:pt x="134" y="46"/>
                </a:lnTo>
                <a:lnTo>
                  <a:pt x="130" y="49"/>
                </a:lnTo>
                <a:lnTo>
                  <a:pt x="128" y="50"/>
                </a:lnTo>
                <a:lnTo>
                  <a:pt x="126" y="51"/>
                </a:lnTo>
                <a:lnTo>
                  <a:pt x="124" y="51"/>
                </a:lnTo>
                <a:lnTo>
                  <a:pt x="124" y="50"/>
                </a:lnTo>
                <a:lnTo>
                  <a:pt x="123" y="49"/>
                </a:lnTo>
                <a:lnTo>
                  <a:pt x="123" y="47"/>
                </a:lnTo>
                <a:lnTo>
                  <a:pt x="121" y="49"/>
                </a:lnTo>
                <a:lnTo>
                  <a:pt x="118" y="51"/>
                </a:lnTo>
                <a:lnTo>
                  <a:pt x="121" y="52"/>
                </a:lnTo>
                <a:lnTo>
                  <a:pt x="120" y="53"/>
                </a:lnTo>
                <a:lnTo>
                  <a:pt x="117" y="53"/>
                </a:lnTo>
                <a:lnTo>
                  <a:pt x="115" y="53"/>
                </a:lnTo>
                <a:lnTo>
                  <a:pt x="113" y="53"/>
                </a:lnTo>
                <a:lnTo>
                  <a:pt x="108" y="53"/>
                </a:lnTo>
                <a:lnTo>
                  <a:pt x="104" y="54"/>
                </a:lnTo>
                <a:lnTo>
                  <a:pt x="101" y="55"/>
                </a:lnTo>
                <a:lnTo>
                  <a:pt x="100" y="56"/>
                </a:lnTo>
                <a:lnTo>
                  <a:pt x="94" y="57"/>
                </a:lnTo>
                <a:lnTo>
                  <a:pt x="95" y="57"/>
                </a:lnTo>
                <a:lnTo>
                  <a:pt x="97" y="57"/>
                </a:lnTo>
                <a:lnTo>
                  <a:pt x="97" y="59"/>
                </a:lnTo>
                <a:lnTo>
                  <a:pt x="96" y="60"/>
                </a:lnTo>
                <a:lnTo>
                  <a:pt x="89" y="62"/>
                </a:lnTo>
                <a:lnTo>
                  <a:pt x="87" y="62"/>
                </a:lnTo>
                <a:lnTo>
                  <a:pt x="86" y="63"/>
                </a:lnTo>
                <a:lnTo>
                  <a:pt x="84" y="63"/>
                </a:lnTo>
                <a:lnTo>
                  <a:pt x="82" y="63"/>
                </a:lnTo>
                <a:lnTo>
                  <a:pt x="79" y="64"/>
                </a:lnTo>
                <a:lnTo>
                  <a:pt x="82" y="64"/>
                </a:lnTo>
                <a:lnTo>
                  <a:pt x="82" y="64"/>
                </a:lnTo>
                <a:lnTo>
                  <a:pt x="81" y="65"/>
                </a:lnTo>
                <a:lnTo>
                  <a:pt x="79" y="65"/>
                </a:lnTo>
                <a:lnTo>
                  <a:pt x="77" y="66"/>
                </a:lnTo>
                <a:lnTo>
                  <a:pt x="79" y="66"/>
                </a:lnTo>
                <a:lnTo>
                  <a:pt x="77" y="66"/>
                </a:lnTo>
                <a:lnTo>
                  <a:pt x="81" y="66"/>
                </a:lnTo>
                <a:lnTo>
                  <a:pt x="81" y="67"/>
                </a:lnTo>
                <a:lnTo>
                  <a:pt x="81" y="67"/>
                </a:lnTo>
                <a:lnTo>
                  <a:pt x="80" y="70"/>
                </a:lnTo>
                <a:lnTo>
                  <a:pt x="76" y="71"/>
                </a:lnTo>
                <a:lnTo>
                  <a:pt x="76" y="70"/>
                </a:lnTo>
                <a:lnTo>
                  <a:pt x="74" y="69"/>
                </a:lnTo>
                <a:lnTo>
                  <a:pt x="72" y="69"/>
                </a:lnTo>
                <a:lnTo>
                  <a:pt x="72" y="70"/>
                </a:lnTo>
                <a:lnTo>
                  <a:pt x="73" y="70"/>
                </a:lnTo>
                <a:lnTo>
                  <a:pt x="71" y="72"/>
                </a:lnTo>
                <a:lnTo>
                  <a:pt x="67" y="73"/>
                </a:lnTo>
                <a:lnTo>
                  <a:pt x="66" y="73"/>
                </a:lnTo>
                <a:lnTo>
                  <a:pt x="64" y="73"/>
                </a:lnTo>
                <a:lnTo>
                  <a:pt x="64" y="72"/>
                </a:lnTo>
                <a:lnTo>
                  <a:pt x="69" y="70"/>
                </a:lnTo>
                <a:lnTo>
                  <a:pt x="71" y="69"/>
                </a:lnTo>
                <a:lnTo>
                  <a:pt x="71" y="67"/>
                </a:lnTo>
                <a:lnTo>
                  <a:pt x="69" y="70"/>
                </a:lnTo>
                <a:lnTo>
                  <a:pt x="65" y="71"/>
                </a:lnTo>
                <a:lnTo>
                  <a:pt x="63" y="72"/>
                </a:lnTo>
                <a:lnTo>
                  <a:pt x="61" y="71"/>
                </a:lnTo>
                <a:lnTo>
                  <a:pt x="64" y="69"/>
                </a:lnTo>
                <a:lnTo>
                  <a:pt x="61" y="71"/>
                </a:lnTo>
                <a:lnTo>
                  <a:pt x="59" y="71"/>
                </a:lnTo>
                <a:lnTo>
                  <a:pt x="61" y="69"/>
                </a:lnTo>
                <a:lnTo>
                  <a:pt x="60" y="67"/>
                </a:lnTo>
                <a:lnTo>
                  <a:pt x="61" y="66"/>
                </a:lnTo>
                <a:lnTo>
                  <a:pt x="61" y="66"/>
                </a:lnTo>
                <a:lnTo>
                  <a:pt x="59" y="66"/>
                </a:lnTo>
                <a:lnTo>
                  <a:pt x="56" y="65"/>
                </a:lnTo>
                <a:lnTo>
                  <a:pt x="61" y="63"/>
                </a:lnTo>
                <a:lnTo>
                  <a:pt x="63" y="62"/>
                </a:lnTo>
                <a:lnTo>
                  <a:pt x="64" y="61"/>
                </a:lnTo>
                <a:lnTo>
                  <a:pt x="62" y="62"/>
                </a:lnTo>
                <a:lnTo>
                  <a:pt x="60" y="64"/>
                </a:lnTo>
                <a:lnTo>
                  <a:pt x="57" y="64"/>
                </a:lnTo>
                <a:lnTo>
                  <a:pt x="57" y="63"/>
                </a:lnTo>
                <a:lnTo>
                  <a:pt x="54" y="64"/>
                </a:lnTo>
                <a:lnTo>
                  <a:pt x="55" y="65"/>
                </a:lnTo>
                <a:lnTo>
                  <a:pt x="54" y="65"/>
                </a:lnTo>
                <a:lnTo>
                  <a:pt x="52" y="64"/>
                </a:lnTo>
                <a:lnTo>
                  <a:pt x="50" y="64"/>
                </a:lnTo>
                <a:lnTo>
                  <a:pt x="51" y="64"/>
                </a:lnTo>
                <a:lnTo>
                  <a:pt x="51" y="63"/>
                </a:lnTo>
                <a:lnTo>
                  <a:pt x="50" y="60"/>
                </a:lnTo>
                <a:lnTo>
                  <a:pt x="52" y="59"/>
                </a:lnTo>
                <a:lnTo>
                  <a:pt x="55" y="57"/>
                </a:lnTo>
                <a:lnTo>
                  <a:pt x="55" y="55"/>
                </a:lnTo>
                <a:lnTo>
                  <a:pt x="59" y="54"/>
                </a:lnTo>
                <a:lnTo>
                  <a:pt x="57" y="53"/>
                </a:lnTo>
                <a:lnTo>
                  <a:pt x="55" y="53"/>
                </a:lnTo>
                <a:lnTo>
                  <a:pt x="55" y="52"/>
                </a:lnTo>
                <a:lnTo>
                  <a:pt x="55" y="51"/>
                </a:lnTo>
                <a:lnTo>
                  <a:pt x="52" y="52"/>
                </a:lnTo>
                <a:lnTo>
                  <a:pt x="49" y="51"/>
                </a:lnTo>
                <a:lnTo>
                  <a:pt x="46" y="51"/>
                </a:lnTo>
                <a:lnTo>
                  <a:pt x="43" y="52"/>
                </a:lnTo>
                <a:lnTo>
                  <a:pt x="37" y="53"/>
                </a:lnTo>
                <a:lnTo>
                  <a:pt x="34" y="53"/>
                </a:lnTo>
                <a:lnTo>
                  <a:pt x="32" y="53"/>
                </a:lnTo>
                <a:lnTo>
                  <a:pt x="31" y="52"/>
                </a:lnTo>
                <a:lnTo>
                  <a:pt x="33" y="50"/>
                </a:lnTo>
                <a:lnTo>
                  <a:pt x="34" y="49"/>
                </a:lnTo>
                <a:lnTo>
                  <a:pt x="33" y="49"/>
                </a:lnTo>
                <a:lnTo>
                  <a:pt x="34" y="46"/>
                </a:lnTo>
                <a:lnTo>
                  <a:pt x="34" y="45"/>
                </a:lnTo>
                <a:lnTo>
                  <a:pt x="36" y="44"/>
                </a:lnTo>
                <a:lnTo>
                  <a:pt x="37" y="44"/>
                </a:lnTo>
                <a:lnTo>
                  <a:pt x="39" y="44"/>
                </a:lnTo>
                <a:lnTo>
                  <a:pt x="42" y="43"/>
                </a:lnTo>
                <a:lnTo>
                  <a:pt x="44" y="42"/>
                </a:lnTo>
                <a:lnTo>
                  <a:pt x="47" y="40"/>
                </a:lnTo>
                <a:lnTo>
                  <a:pt x="47" y="40"/>
                </a:lnTo>
                <a:lnTo>
                  <a:pt x="46" y="40"/>
                </a:lnTo>
                <a:lnTo>
                  <a:pt x="44" y="41"/>
                </a:lnTo>
                <a:lnTo>
                  <a:pt x="41" y="42"/>
                </a:lnTo>
                <a:lnTo>
                  <a:pt x="39" y="42"/>
                </a:lnTo>
                <a:lnTo>
                  <a:pt x="39" y="41"/>
                </a:lnTo>
                <a:lnTo>
                  <a:pt x="40" y="40"/>
                </a:lnTo>
                <a:lnTo>
                  <a:pt x="37" y="41"/>
                </a:lnTo>
                <a:lnTo>
                  <a:pt x="37" y="40"/>
                </a:lnTo>
                <a:lnTo>
                  <a:pt x="33" y="43"/>
                </a:lnTo>
                <a:lnTo>
                  <a:pt x="30" y="43"/>
                </a:lnTo>
                <a:lnTo>
                  <a:pt x="30" y="43"/>
                </a:lnTo>
                <a:lnTo>
                  <a:pt x="27" y="43"/>
                </a:lnTo>
                <a:lnTo>
                  <a:pt x="25" y="43"/>
                </a:lnTo>
                <a:lnTo>
                  <a:pt x="24" y="44"/>
                </a:lnTo>
                <a:lnTo>
                  <a:pt x="21" y="47"/>
                </a:lnTo>
                <a:lnTo>
                  <a:pt x="21" y="50"/>
                </a:lnTo>
                <a:lnTo>
                  <a:pt x="22" y="51"/>
                </a:lnTo>
                <a:lnTo>
                  <a:pt x="20" y="52"/>
                </a:lnTo>
                <a:lnTo>
                  <a:pt x="16" y="54"/>
                </a:lnTo>
                <a:lnTo>
                  <a:pt x="13" y="55"/>
                </a:lnTo>
                <a:lnTo>
                  <a:pt x="5" y="59"/>
                </a:lnTo>
                <a:lnTo>
                  <a:pt x="0" y="60"/>
                </a:lnTo>
                <a:lnTo>
                  <a:pt x="22" y="45"/>
                </a:lnTo>
                <a:lnTo>
                  <a:pt x="69" y="14"/>
                </a:lnTo>
                <a:lnTo>
                  <a:pt x="91" y="0"/>
                </a:lnTo>
                <a:close/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95" name="Freeform 695"/>
          <p:cNvSpPr>
            <a:spLocks/>
          </p:cNvSpPr>
          <p:nvPr/>
        </p:nvSpPr>
        <p:spPr bwMode="auto">
          <a:xfrm>
            <a:off x="1511300" y="2636803"/>
            <a:ext cx="669925" cy="520700"/>
          </a:xfrm>
          <a:custGeom>
            <a:avLst/>
            <a:gdLst>
              <a:gd name="T0" fmla="*/ 44 w 422"/>
              <a:gd name="T1" fmla="*/ 21 h 328"/>
              <a:gd name="T2" fmla="*/ 52 w 422"/>
              <a:gd name="T3" fmla="*/ 41 h 328"/>
              <a:gd name="T4" fmla="*/ 54 w 422"/>
              <a:gd name="T5" fmla="*/ 60 h 328"/>
              <a:gd name="T6" fmla="*/ 65 w 422"/>
              <a:gd name="T7" fmla="*/ 83 h 328"/>
              <a:gd name="T8" fmla="*/ 74 w 422"/>
              <a:gd name="T9" fmla="*/ 97 h 328"/>
              <a:gd name="T10" fmla="*/ 90 w 422"/>
              <a:gd name="T11" fmla="*/ 114 h 328"/>
              <a:gd name="T12" fmla="*/ 85 w 422"/>
              <a:gd name="T13" fmla="*/ 128 h 328"/>
              <a:gd name="T14" fmla="*/ 103 w 422"/>
              <a:gd name="T15" fmla="*/ 140 h 328"/>
              <a:gd name="T16" fmla="*/ 117 w 422"/>
              <a:gd name="T17" fmla="*/ 163 h 328"/>
              <a:gd name="T18" fmla="*/ 132 w 422"/>
              <a:gd name="T19" fmla="*/ 184 h 328"/>
              <a:gd name="T20" fmla="*/ 135 w 422"/>
              <a:gd name="T21" fmla="*/ 207 h 328"/>
              <a:gd name="T22" fmla="*/ 126 w 422"/>
              <a:gd name="T23" fmla="*/ 223 h 328"/>
              <a:gd name="T24" fmla="*/ 137 w 422"/>
              <a:gd name="T25" fmla="*/ 245 h 328"/>
              <a:gd name="T26" fmla="*/ 152 w 422"/>
              <a:gd name="T27" fmla="*/ 256 h 328"/>
              <a:gd name="T28" fmla="*/ 163 w 422"/>
              <a:gd name="T29" fmla="*/ 264 h 328"/>
              <a:gd name="T30" fmla="*/ 183 w 422"/>
              <a:gd name="T31" fmla="*/ 274 h 328"/>
              <a:gd name="T32" fmla="*/ 195 w 422"/>
              <a:gd name="T33" fmla="*/ 283 h 328"/>
              <a:gd name="T34" fmla="*/ 226 w 422"/>
              <a:gd name="T35" fmla="*/ 296 h 328"/>
              <a:gd name="T36" fmla="*/ 254 w 422"/>
              <a:gd name="T37" fmla="*/ 307 h 328"/>
              <a:gd name="T38" fmla="*/ 279 w 422"/>
              <a:gd name="T39" fmla="*/ 300 h 328"/>
              <a:gd name="T40" fmla="*/ 315 w 422"/>
              <a:gd name="T41" fmla="*/ 320 h 328"/>
              <a:gd name="T42" fmla="*/ 326 w 422"/>
              <a:gd name="T43" fmla="*/ 316 h 328"/>
              <a:gd name="T44" fmla="*/ 353 w 422"/>
              <a:gd name="T45" fmla="*/ 293 h 328"/>
              <a:gd name="T46" fmla="*/ 381 w 422"/>
              <a:gd name="T47" fmla="*/ 267 h 328"/>
              <a:gd name="T48" fmla="*/ 397 w 422"/>
              <a:gd name="T49" fmla="*/ 256 h 328"/>
              <a:gd name="T50" fmla="*/ 406 w 422"/>
              <a:gd name="T51" fmla="*/ 242 h 328"/>
              <a:gd name="T52" fmla="*/ 416 w 422"/>
              <a:gd name="T53" fmla="*/ 218 h 328"/>
              <a:gd name="T54" fmla="*/ 404 w 422"/>
              <a:gd name="T55" fmla="*/ 198 h 328"/>
              <a:gd name="T56" fmla="*/ 366 w 422"/>
              <a:gd name="T57" fmla="*/ 209 h 328"/>
              <a:gd name="T58" fmla="*/ 346 w 422"/>
              <a:gd name="T59" fmla="*/ 247 h 328"/>
              <a:gd name="T60" fmla="*/ 326 w 422"/>
              <a:gd name="T61" fmla="*/ 253 h 328"/>
              <a:gd name="T62" fmla="*/ 288 w 422"/>
              <a:gd name="T63" fmla="*/ 255 h 328"/>
              <a:gd name="T64" fmla="*/ 273 w 422"/>
              <a:gd name="T65" fmla="*/ 245 h 328"/>
              <a:gd name="T66" fmla="*/ 262 w 422"/>
              <a:gd name="T67" fmla="*/ 219 h 328"/>
              <a:gd name="T68" fmla="*/ 255 w 422"/>
              <a:gd name="T69" fmla="*/ 186 h 328"/>
              <a:gd name="T70" fmla="*/ 260 w 422"/>
              <a:gd name="T71" fmla="*/ 145 h 328"/>
              <a:gd name="T72" fmla="*/ 275 w 422"/>
              <a:gd name="T73" fmla="*/ 128 h 328"/>
              <a:gd name="T74" fmla="*/ 270 w 422"/>
              <a:gd name="T75" fmla="*/ 123 h 328"/>
              <a:gd name="T76" fmla="*/ 237 w 422"/>
              <a:gd name="T77" fmla="*/ 82 h 328"/>
              <a:gd name="T78" fmla="*/ 204 w 422"/>
              <a:gd name="T79" fmla="*/ 52 h 328"/>
              <a:gd name="T80" fmla="*/ 164 w 422"/>
              <a:gd name="T81" fmla="*/ 25 h 328"/>
              <a:gd name="T82" fmla="*/ 86 w 422"/>
              <a:gd name="T83" fmla="*/ 23 h 328"/>
              <a:gd name="T84" fmla="*/ 2 w 422"/>
              <a:gd name="T85" fmla="*/ 14 h 328"/>
              <a:gd name="T86" fmla="*/ 5 w 422"/>
              <a:gd name="T87" fmla="*/ 33 h 328"/>
              <a:gd name="T88" fmla="*/ 6 w 422"/>
              <a:gd name="T89" fmla="*/ 54 h 328"/>
              <a:gd name="T90" fmla="*/ 20 w 422"/>
              <a:gd name="T91" fmla="*/ 69 h 328"/>
              <a:gd name="T92" fmla="*/ 20 w 422"/>
              <a:gd name="T93" fmla="*/ 85 h 328"/>
              <a:gd name="T94" fmla="*/ 8 w 422"/>
              <a:gd name="T95" fmla="*/ 90 h 328"/>
              <a:gd name="T96" fmla="*/ 20 w 422"/>
              <a:gd name="T97" fmla="*/ 103 h 328"/>
              <a:gd name="T98" fmla="*/ 34 w 422"/>
              <a:gd name="T99" fmla="*/ 114 h 328"/>
              <a:gd name="T100" fmla="*/ 37 w 422"/>
              <a:gd name="T101" fmla="*/ 143 h 328"/>
              <a:gd name="T102" fmla="*/ 45 w 422"/>
              <a:gd name="T103" fmla="*/ 148 h 328"/>
              <a:gd name="T104" fmla="*/ 65 w 422"/>
              <a:gd name="T105" fmla="*/ 177 h 328"/>
              <a:gd name="T106" fmla="*/ 73 w 422"/>
              <a:gd name="T107" fmla="*/ 163 h 328"/>
              <a:gd name="T108" fmla="*/ 60 w 422"/>
              <a:gd name="T109" fmla="*/ 147 h 328"/>
              <a:gd name="T110" fmla="*/ 55 w 422"/>
              <a:gd name="T111" fmla="*/ 123 h 328"/>
              <a:gd name="T112" fmla="*/ 52 w 422"/>
              <a:gd name="T113" fmla="*/ 112 h 328"/>
              <a:gd name="T114" fmla="*/ 46 w 422"/>
              <a:gd name="T115" fmla="*/ 94 h 328"/>
              <a:gd name="T116" fmla="*/ 41 w 422"/>
              <a:gd name="T117" fmla="*/ 77 h 328"/>
              <a:gd name="T118" fmla="*/ 35 w 422"/>
              <a:gd name="T119" fmla="*/ 62 h 328"/>
              <a:gd name="T120" fmla="*/ 25 w 422"/>
              <a:gd name="T121" fmla="*/ 46 h 328"/>
              <a:gd name="T122" fmla="*/ 31 w 422"/>
              <a:gd name="T123" fmla="*/ 15 h 3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22" h="328">
                <a:moveTo>
                  <a:pt x="31" y="15"/>
                </a:moveTo>
                <a:lnTo>
                  <a:pt x="33" y="16"/>
                </a:lnTo>
                <a:lnTo>
                  <a:pt x="34" y="16"/>
                </a:lnTo>
                <a:lnTo>
                  <a:pt x="35" y="19"/>
                </a:lnTo>
                <a:lnTo>
                  <a:pt x="36" y="19"/>
                </a:lnTo>
                <a:lnTo>
                  <a:pt x="36" y="20"/>
                </a:lnTo>
                <a:lnTo>
                  <a:pt x="39" y="21"/>
                </a:lnTo>
                <a:lnTo>
                  <a:pt x="40" y="22"/>
                </a:lnTo>
                <a:lnTo>
                  <a:pt x="44" y="21"/>
                </a:lnTo>
                <a:lnTo>
                  <a:pt x="46" y="22"/>
                </a:lnTo>
                <a:lnTo>
                  <a:pt x="46" y="24"/>
                </a:lnTo>
                <a:lnTo>
                  <a:pt x="47" y="25"/>
                </a:lnTo>
                <a:lnTo>
                  <a:pt x="52" y="26"/>
                </a:lnTo>
                <a:lnTo>
                  <a:pt x="53" y="27"/>
                </a:lnTo>
                <a:lnTo>
                  <a:pt x="53" y="29"/>
                </a:lnTo>
                <a:lnTo>
                  <a:pt x="52" y="34"/>
                </a:lnTo>
                <a:lnTo>
                  <a:pt x="52" y="36"/>
                </a:lnTo>
                <a:lnTo>
                  <a:pt x="52" y="41"/>
                </a:lnTo>
                <a:lnTo>
                  <a:pt x="52" y="42"/>
                </a:lnTo>
                <a:lnTo>
                  <a:pt x="53" y="43"/>
                </a:lnTo>
                <a:lnTo>
                  <a:pt x="53" y="45"/>
                </a:lnTo>
                <a:lnTo>
                  <a:pt x="53" y="50"/>
                </a:lnTo>
                <a:lnTo>
                  <a:pt x="53" y="52"/>
                </a:lnTo>
                <a:lnTo>
                  <a:pt x="54" y="52"/>
                </a:lnTo>
                <a:lnTo>
                  <a:pt x="54" y="53"/>
                </a:lnTo>
                <a:lnTo>
                  <a:pt x="54" y="59"/>
                </a:lnTo>
                <a:lnTo>
                  <a:pt x="54" y="60"/>
                </a:lnTo>
                <a:lnTo>
                  <a:pt x="55" y="61"/>
                </a:lnTo>
                <a:lnTo>
                  <a:pt x="56" y="62"/>
                </a:lnTo>
                <a:lnTo>
                  <a:pt x="56" y="63"/>
                </a:lnTo>
                <a:lnTo>
                  <a:pt x="57" y="67"/>
                </a:lnTo>
                <a:lnTo>
                  <a:pt x="59" y="70"/>
                </a:lnTo>
                <a:lnTo>
                  <a:pt x="59" y="73"/>
                </a:lnTo>
                <a:lnTo>
                  <a:pt x="61" y="76"/>
                </a:lnTo>
                <a:lnTo>
                  <a:pt x="63" y="77"/>
                </a:lnTo>
                <a:lnTo>
                  <a:pt x="65" y="83"/>
                </a:lnTo>
                <a:lnTo>
                  <a:pt x="69" y="85"/>
                </a:lnTo>
                <a:lnTo>
                  <a:pt x="73" y="86"/>
                </a:lnTo>
                <a:lnTo>
                  <a:pt x="74" y="86"/>
                </a:lnTo>
                <a:lnTo>
                  <a:pt x="75" y="87"/>
                </a:lnTo>
                <a:lnTo>
                  <a:pt x="74" y="92"/>
                </a:lnTo>
                <a:lnTo>
                  <a:pt x="73" y="93"/>
                </a:lnTo>
                <a:lnTo>
                  <a:pt x="73" y="94"/>
                </a:lnTo>
                <a:lnTo>
                  <a:pt x="73" y="96"/>
                </a:lnTo>
                <a:lnTo>
                  <a:pt x="74" y="97"/>
                </a:lnTo>
                <a:lnTo>
                  <a:pt x="76" y="100"/>
                </a:lnTo>
                <a:lnTo>
                  <a:pt x="80" y="102"/>
                </a:lnTo>
                <a:lnTo>
                  <a:pt x="81" y="104"/>
                </a:lnTo>
                <a:lnTo>
                  <a:pt x="82" y="107"/>
                </a:lnTo>
                <a:lnTo>
                  <a:pt x="83" y="108"/>
                </a:lnTo>
                <a:lnTo>
                  <a:pt x="83" y="110"/>
                </a:lnTo>
                <a:lnTo>
                  <a:pt x="87" y="108"/>
                </a:lnTo>
                <a:lnTo>
                  <a:pt x="89" y="111"/>
                </a:lnTo>
                <a:lnTo>
                  <a:pt x="90" y="114"/>
                </a:lnTo>
                <a:lnTo>
                  <a:pt x="91" y="114"/>
                </a:lnTo>
                <a:lnTo>
                  <a:pt x="91" y="116"/>
                </a:lnTo>
                <a:lnTo>
                  <a:pt x="89" y="118"/>
                </a:lnTo>
                <a:lnTo>
                  <a:pt x="87" y="120"/>
                </a:lnTo>
                <a:lnTo>
                  <a:pt x="86" y="122"/>
                </a:lnTo>
                <a:lnTo>
                  <a:pt x="85" y="123"/>
                </a:lnTo>
                <a:lnTo>
                  <a:pt x="84" y="125"/>
                </a:lnTo>
                <a:lnTo>
                  <a:pt x="85" y="126"/>
                </a:lnTo>
                <a:lnTo>
                  <a:pt x="85" y="128"/>
                </a:lnTo>
                <a:lnTo>
                  <a:pt x="89" y="128"/>
                </a:lnTo>
                <a:lnTo>
                  <a:pt x="92" y="127"/>
                </a:lnTo>
                <a:lnTo>
                  <a:pt x="92" y="128"/>
                </a:lnTo>
                <a:lnTo>
                  <a:pt x="91" y="131"/>
                </a:lnTo>
                <a:lnTo>
                  <a:pt x="91" y="132"/>
                </a:lnTo>
                <a:lnTo>
                  <a:pt x="96" y="135"/>
                </a:lnTo>
                <a:lnTo>
                  <a:pt x="98" y="136"/>
                </a:lnTo>
                <a:lnTo>
                  <a:pt x="100" y="135"/>
                </a:lnTo>
                <a:lnTo>
                  <a:pt x="103" y="140"/>
                </a:lnTo>
                <a:lnTo>
                  <a:pt x="104" y="141"/>
                </a:lnTo>
                <a:lnTo>
                  <a:pt x="104" y="143"/>
                </a:lnTo>
                <a:lnTo>
                  <a:pt x="103" y="146"/>
                </a:lnTo>
                <a:lnTo>
                  <a:pt x="104" y="147"/>
                </a:lnTo>
                <a:lnTo>
                  <a:pt x="112" y="156"/>
                </a:lnTo>
                <a:lnTo>
                  <a:pt x="114" y="158"/>
                </a:lnTo>
                <a:lnTo>
                  <a:pt x="116" y="160"/>
                </a:lnTo>
                <a:lnTo>
                  <a:pt x="117" y="162"/>
                </a:lnTo>
                <a:lnTo>
                  <a:pt x="117" y="163"/>
                </a:lnTo>
                <a:lnTo>
                  <a:pt x="117" y="165"/>
                </a:lnTo>
                <a:lnTo>
                  <a:pt x="117" y="166"/>
                </a:lnTo>
                <a:lnTo>
                  <a:pt x="120" y="166"/>
                </a:lnTo>
                <a:lnTo>
                  <a:pt x="121" y="168"/>
                </a:lnTo>
                <a:lnTo>
                  <a:pt x="122" y="173"/>
                </a:lnTo>
                <a:lnTo>
                  <a:pt x="123" y="174"/>
                </a:lnTo>
                <a:lnTo>
                  <a:pt x="125" y="177"/>
                </a:lnTo>
                <a:lnTo>
                  <a:pt x="127" y="181"/>
                </a:lnTo>
                <a:lnTo>
                  <a:pt x="132" y="184"/>
                </a:lnTo>
                <a:lnTo>
                  <a:pt x="132" y="186"/>
                </a:lnTo>
                <a:lnTo>
                  <a:pt x="132" y="186"/>
                </a:lnTo>
                <a:lnTo>
                  <a:pt x="131" y="188"/>
                </a:lnTo>
                <a:lnTo>
                  <a:pt x="132" y="195"/>
                </a:lnTo>
                <a:lnTo>
                  <a:pt x="133" y="198"/>
                </a:lnTo>
                <a:lnTo>
                  <a:pt x="133" y="201"/>
                </a:lnTo>
                <a:lnTo>
                  <a:pt x="135" y="203"/>
                </a:lnTo>
                <a:lnTo>
                  <a:pt x="135" y="205"/>
                </a:lnTo>
                <a:lnTo>
                  <a:pt x="135" y="207"/>
                </a:lnTo>
                <a:lnTo>
                  <a:pt x="135" y="211"/>
                </a:lnTo>
                <a:lnTo>
                  <a:pt x="134" y="212"/>
                </a:lnTo>
                <a:lnTo>
                  <a:pt x="131" y="215"/>
                </a:lnTo>
                <a:lnTo>
                  <a:pt x="131" y="216"/>
                </a:lnTo>
                <a:lnTo>
                  <a:pt x="131" y="216"/>
                </a:lnTo>
                <a:lnTo>
                  <a:pt x="133" y="218"/>
                </a:lnTo>
                <a:lnTo>
                  <a:pt x="133" y="221"/>
                </a:lnTo>
                <a:lnTo>
                  <a:pt x="128" y="222"/>
                </a:lnTo>
                <a:lnTo>
                  <a:pt x="126" y="223"/>
                </a:lnTo>
                <a:lnTo>
                  <a:pt x="126" y="224"/>
                </a:lnTo>
                <a:lnTo>
                  <a:pt x="126" y="225"/>
                </a:lnTo>
                <a:lnTo>
                  <a:pt x="127" y="228"/>
                </a:lnTo>
                <a:lnTo>
                  <a:pt x="127" y="232"/>
                </a:lnTo>
                <a:lnTo>
                  <a:pt x="128" y="234"/>
                </a:lnTo>
                <a:lnTo>
                  <a:pt x="131" y="236"/>
                </a:lnTo>
                <a:lnTo>
                  <a:pt x="134" y="241"/>
                </a:lnTo>
                <a:lnTo>
                  <a:pt x="135" y="243"/>
                </a:lnTo>
                <a:lnTo>
                  <a:pt x="137" y="245"/>
                </a:lnTo>
                <a:lnTo>
                  <a:pt x="138" y="245"/>
                </a:lnTo>
                <a:lnTo>
                  <a:pt x="141" y="246"/>
                </a:lnTo>
                <a:lnTo>
                  <a:pt x="143" y="246"/>
                </a:lnTo>
                <a:lnTo>
                  <a:pt x="144" y="247"/>
                </a:lnTo>
                <a:lnTo>
                  <a:pt x="147" y="251"/>
                </a:lnTo>
                <a:lnTo>
                  <a:pt x="150" y="252"/>
                </a:lnTo>
                <a:lnTo>
                  <a:pt x="152" y="254"/>
                </a:lnTo>
                <a:lnTo>
                  <a:pt x="152" y="255"/>
                </a:lnTo>
                <a:lnTo>
                  <a:pt x="152" y="256"/>
                </a:lnTo>
                <a:lnTo>
                  <a:pt x="153" y="256"/>
                </a:lnTo>
                <a:lnTo>
                  <a:pt x="153" y="257"/>
                </a:lnTo>
                <a:lnTo>
                  <a:pt x="153" y="258"/>
                </a:lnTo>
                <a:lnTo>
                  <a:pt x="154" y="259"/>
                </a:lnTo>
                <a:lnTo>
                  <a:pt x="155" y="261"/>
                </a:lnTo>
                <a:lnTo>
                  <a:pt x="158" y="262"/>
                </a:lnTo>
                <a:lnTo>
                  <a:pt x="161" y="263"/>
                </a:lnTo>
                <a:lnTo>
                  <a:pt x="162" y="263"/>
                </a:lnTo>
                <a:lnTo>
                  <a:pt x="163" y="264"/>
                </a:lnTo>
                <a:lnTo>
                  <a:pt x="172" y="267"/>
                </a:lnTo>
                <a:lnTo>
                  <a:pt x="173" y="267"/>
                </a:lnTo>
                <a:lnTo>
                  <a:pt x="175" y="267"/>
                </a:lnTo>
                <a:lnTo>
                  <a:pt x="176" y="267"/>
                </a:lnTo>
                <a:lnTo>
                  <a:pt x="177" y="267"/>
                </a:lnTo>
                <a:lnTo>
                  <a:pt x="181" y="271"/>
                </a:lnTo>
                <a:lnTo>
                  <a:pt x="182" y="273"/>
                </a:lnTo>
                <a:lnTo>
                  <a:pt x="182" y="274"/>
                </a:lnTo>
                <a:lnTo>
                  <a:pt x="183" y="274"/>
                </a:lnTo>
                <a:lnTo>
                  <a:pt x="184" y="275"/>
                </a:lnTo>
                <a:lnTo>
                  <a:pt x="186" y="276"/>
                </a:lnTo>
                <a:lnTo>
                  <a:pt x="187" y="277"/>
                </a:lnTo>
                <a:lnTo>
                  <a:pt x="189" y="278"/>
                </a:lnTo>
                <a:lnTo>
                  <a:pt x="189" y="279"/>
                </a:lnTo>
                <a:lnTo>
                  <a:pt x="192" y="281"/>
                </a:lnTo>
                <a:lnTo>
                  <a:pt x="193" y="281"/>
                </a:lnTo>
                <a:lnTo>
                  <a:pt x="194" y="282"/>
                </a:lnTo>
                <a:lnTo>
                  <a:pt x="195" y="283"/>
                </a:lnTo>
                <a:lnTo>
                  <a:pt x="198" y="284"/>
                </a:lnTo>
                <a:lnTo>
                  <a:pt x="201" y="284"/>
                </a:lnTo>
                <a:lnTo>
                  <a:pt x="206" y="286"/>
                </a:lnTo>
                <a:lnTo>
                  <a:pt x="208" y="288"/>
                </a:lnTo>
                <a:lnTo>
                  <a:pt x="211" y="289"/>
                </a:lnTo>
                <a:lnTo>
                  <a:pt x="217" y="292"/>
                </a:lnTo>
                <a:lnTo>
                  <a:pt x="222" y="294"/>
                </a:lnTo>
                <a:lnTo>
                  <a:pt x="224" y="293"/>
                </a:lnTo>
                <a:lnTo>
                  <a:pt x="226" y="296"/>
                </a:lnTo>
                <a:lnTo>
                  <a:pt x="233" y="300"/>
                </a:lnTo>
                <a:lnTo>
                  <a:pt x="234" y="302"/>
                </a:lnTo>
                <a:lnTo>
                  <a:pt x="236" y="302"/>
                </a:lnTo>
                <a:lnTo>
                  <a:pt x="237" y="303"/>
                </a:lnTo>
                <a:lnTo>
                  <a:pt x="238" y="303"/>
                </a:lnTo>
                <a:lnTo>
                  <a:pt x="242" y="304"/>
                </a:lnTo>
                <a:lnTo>
                  <a:pt x="249" y="305"/>
                </a:lnTo>
                <a:lnTo>
                  <a:pt x="253" y="307"/>
                </a:lnTo>
                <a:lnTo>
                  <a:pt x="254" y="307"/>
                </a:lnTo>
                <a:lnTo>
                  <a:pt x="255" y="307"/>
                </a:lnTo>
                <a:lnTo>
                  <a:pt x="257" y="309"/>
                </a:lnTo>
                <a:lnTo>
                  <a:pt x="262" y="309"/>
                </a:lnTo>
                <a:lnTo>
                  <a:pt x="263" y="309"/>
                </a:lnTo>
                <a:lnTo>
                  <a:pt x="265" y="308"/>
                </a:lnTo>
                <a:lnTo>
                  <a:pt x="266" y="307"/>
                </a:lnTo>
                <a:lnTo>
                  <a:pt x="269" y="305"/>
                </a:lnTo>
                <a:lnTo>
                  <a:pt x="273" y="305"/>
                </a:lnTo>
                <a:lnTo>
                  <a:pt x="279" y="300"/>
                </a:lnTo>
                <a:lnTo>
                  <a:pt x="280" y="299"/>
                </a:lnTo>
                <a:lnTo>
                  <a:pt x="283" y="298"/>
                </a:lnTo>
                <a:lnTo>
                  <a:pt x="288" y="298"/>
                </a:lnTo>
                <a:lnTo>
                  <a:pt x="292" y="299"/>
                </a:lnTo>
                <a:lnTo>
                  <a:pt x="297" y="303"/>
                </a:lnTo>
                <a:lnTo>
                  <a:pt x="304" y="306"/>
                </a:lnTo>
                <a:lnTo>
                  <a:pt x="308" y="312"/>
                </a:lnTo>
                <a:lnTo>
                  <a:pt x="310" y="315"/>
                </a:lnTo>
                <a:lnTo>
                  <a:pt x="315" y="320"/>
                </a:lnTo>
                <a:lnTo>
                  <a:pt x="317" y="324"/>
                </a:lnTo>
                <a:lnTo>
                  <a:pt x="322" y="328"/>
                </a:lnTo>
                <a:lnTo>
                  <a:pt x="323" y="327"/>
                </a:lnTo>
                <a:lnTo>
                  <a:pt x="324" y="323"/>
                </a:lnTo>
                <a:lnTo>
                  <a:pt x="325" y="322"/>
                </a:lnTo>
                <a:lnTo>
                  <a:pt x="325" y="320"/>
                </a:lnTo>
                <a:lnTo>
                  <a:pt x="325" y="318"/>
                </a:lnTo>
                <a:lnTo>
                  <a:pt x="325" y="318"/>
                </a:lnTo>
                <a:lnTo>
                  <a:pt x="326" y="316"/>
                </a:lnTo>
                <a:lnTo>
                  <a:pt x="328" y="313"/>
                </a:lnTo>
                <a:lnTo>
                  <a:pt x="328" y="313"/>
                </a:lnTo>
                <a:lnTo>
                  <a:pt x="337" y="300"/>
                </a:lnTo>
                <a:lnTo>
                  <a:pt x="345" y="299"/>
                </a:lnTo>
                <a:lnTo>
                  <a:pt x="351" y="299"/>
                </a:lnTo>
                <a:lnTo>
                  <a:pt x="353" y="300"/>
                </a:lnTo>
                <a:lnTo>
                  <a:pt x="353" y="299"/>
                </a:lnTo>
                <a:lnTo>
                  <a:pt x="353" y="295"/>
                </a:lnTo>
                <a:lnTo>
                  <a:pt x="353" y="293"/>
                </a:lnTo>
                <a:lnTo>
                  <a:pt x="350" y="291"/>
                </a:lnTo>
                <a:lnTo>
                  <a:pt x="349" y="287"/>
                </a:lnTo>
                <a:lnTo>
                  <a:pt x="345" y="285"/>
                </a:lnTo>
                <a:lnTo>
                  <a:pt x="339" y="276"/>
                </a:lnTo>
                <a:lnTo>
                  <a:pt x="339" y="277"/>
                </a:lnTo>
                <a:lnTo>
                  <a:pt x="348" y="277"/>
                </a:lnTo>
                <a:lnTo>
                  <a:pt x="349" y="268"/>
                </a:lnTo>
                <a:lnTo>
                  <a:pt x="377" y="268"/>
                </a:lnTo>
                <a:lnTo>
                  <a:pt x="381" y="267"/>
                </a:lnTo>
                <a:lnTo>
                  <a:pt x="383" y="267"/>
                </a:lnTo>
                <a:lnTo>
                  <a:pt x="388" y="258"/>
                </a:lnTo>
                <a:lnTo>
                  <a:pt x="389" y="257"/>
                </a:lnTo>
                <a:lnTo>
                  <a:pt x="390" y="257"/>
                </a:lnTo>
                <a:lnTo>
                  <a:pt x="391" y="255"/>
                </a:lnTo>
                <a:lnTo>
                  <a:pt x="395" y="251"/>
                </a:lnTo>
                <a:lnTo>
                  <a:pt x="397" y="251"/>
                </a:lnTo>
                <a:lnTo>
                  <a:pt x="396" y="256"/>
                </a:lnTo>
                <a:lnTo>
                  <a:pt x="397" y="256"/>
                </a:lnTo>
                <a:lnTo>
                  <a:pt x="398" y="257"/>
                </a:lnTo>
                <a:lnTo>
                  <a:pt x="397" y="262"/>
                </a:lnTo>
                <a:lnTo>
                  <a:pt x="397" y="265"/>
                </a:lnTo>
                <a:lnTo>
                  <a:pt x="398" y="264"/>
                </a:lnTo>
                <a:lnTo>
                  <a:pt x="401" y="257"/>
                </a:lnTo>
                <a:lnTo>
                  <a:pt x="401" y="254"/>
                </a:lnTo>
                <a:lnTo>
                  <a:pt x="405" y="246"/>
                </a:lnTo>
                <a:lnTo>
                  <a:pt x="406" y="243"/>
                </a:lnTo>
                <a:lnTo>
                  <a:pt x="406" y="242"/>
                </a:lnTo>
                <a:lnTo>
                  <a:pt x="405" y="241"/>
                </a:lnTo>
                <a:lnTo>
                  <a:pt x="407" y="238"/>
                </a:lnTo>
                <a:lnTo>
                  <a:pt x="407" y="236"/>
                </a:lnTo>
                <a:lnTo>
                  <a:pt x="405" y="235"/>
                </a:lnTo>
                <a:lnTo>
                  <a:pt x="407" y="233"/>
                </a:lnTo>
                <a:lnTo>
                  <a:pt x="409" y="229"/>
                </a:lnTo>
                <a:lnTo>
                  <a:pt x="409" y="226"/>
                </a:lnTo>
                <a:lnTo>
                  <a:pt x="414" y="221"/>
                </a:lnTo>
                <a:lnTo>
                  <a:pt x="416" y="218"/>
                </a:lnTo>
                <a:lnTo>
                  <a:pt x="420" y="214"/>
                </a:lnTo>
                <a:lnTo>
                  <a:pt x="421" y="211"/>
                </a:lnTo>
                <a:lnTo>
                  <a:pt x="422" y="207"/>
                </a:lnTo>
                <a:lnTo>
                  <a:pt x="421" y="204"/>
                </a:lnTo>
                <a:lnTo>
                  <a:pt x="420" y="202"/>
                </a:lnTo>
                <a:lnTo>
                  <a:pt x="411" y="201"/>
                </a:lnTo>
                <a:lnTo>
                  <a:pt x="408" y="204"/>
                </a:lnTo>
                <a:lnTo>
                  <a:pt x="408" y="201"/>
                </a:lnTo>
                <a:lnTo>
                  <a:pt x="404" y="198"/>
                </a:lnTo>
                <a:lnTo>
                  <a:pt x="400" y="199"/>
                </a:lnTo>
                <a:lnTo>
                  <a:pt x="394" y="202"/>
                </a:lnTo>
                <a:lnTo>
                  <a:pt x="390" y="203"/>
                </a:lnTo>
                <a:lnTo>
                  <a:pt x="384" y="204"/>
                </a:lnTo>
                <a:lnTo>
                  <a:pt x="379" y="204"/>
                </a:lnTo>
                <a:lnTo>
                  <a:pt x="376" y="204"/>
                </a:lnTo>
                <a:lnTo>
                  <a:pt x="373" y="206"/>
                </a:lnTo>
                <a:lnTo>
                  <a:pt x="370" y="206"/>
                </a:lnTo>
                <a:lnTo>
                  <a:pt x="366" y="209"/>
                </a:lnTo>
                <a:lnTo>
                  <a:pt x="365" y="213"/>
                </a:lnTo>
                <a:lnTo>
                  <a:pt x="363" y="222"/>
                </a:lnTo>
                <a:lnTo>
                  <a:pt x="360" y="227"/>
                </a:lnTo>
                <a:lnTo>
                  <a:pt x="359" y="232"/>
                </a:lnTo>
                <a:lnTo>
                  <a:pt x="357" y="234"/>
                </a:lnTo>
                <a:lnTo>
                  <a:pt x="356" y="238"/>
                </a:lnTo>
                <a:lnTo>
                  <a:pt x="354" y="242"/>
                </a:lnTo>
                <a:lnTo>
                  <a:pt x="350" y="245"/>
                </a:lnTo>
                <a:lnTo>
                  <a:pt x="346" y="247"/>
                </a:lnTo>
                <a:lnTo>
                  <a:pt x="346" y="254"/>
                </a:lnTo>
                <a:lnTo>
                  <a:pt x="340" y="256"/>
                </a:lnTo>
                <a:lnTo>
                  <a:pt x="337" y="257"/>
                </a:lnTo>
                <a:lnTo>
                  <a:pt x="336" y="256"/>
                </a:lnTo>
                <a:lnTo>
                  <a:pt x="335" y="255"/>
                </a:lnTo>
                <a:lnTo>
                  <a:pt x="335" y="253"/>
                </a:lnTo>
                <a:lnTo>
                  <a:pt x="333" y="252"/>
                </a:lnTo>
                <a:lnTo>
                  <a:pt x="328" y="252"/>
                </a:lnTo>
                <a:lnTo>
                  <a:pt x="326" y="253"/>
                </a:lnTo>
                <a:lnTo>
                  <a:pt x="324" y="254"/>
                </a:lnTo>
                <a:lnTo>
                  <a:pt x="319" y="256"/>
                </a:lnTo>
                <a:lnTo>
                  <a:pt x="316" y="257"/>
                </a:lnTo>
                <a:lnTo>
                  <a:pt x="314" y="256"/>
                </a:lnTo>
                <a:lnTo>
                  <a:pt x="305" y="258"/>
                </a:lnTo>
                <a:lnTo>
                  <a:pt x="298" y="262"/>
                </a:lnTo>
                <a:lnTo>
                  <a:pt x="294" y="262"/>
                </a:lnTo>
                <a:lnTo>
                  <a:pt x="290" y="259"/>
                </a:lnTo>
                <a:lnTo>
                  <a:pt x="288" y="255"/>
                </a:lnTo>
                <a:lnTo>
                  <a:pt x="287" y="254"/>
                </a:lnTo>
                <a:lnTo>
                  <a:pt x="287" y="254"/>
                </a:lnTo>
                <a:lnTo>
                  <a:pt x="283" y="254"/>
                </a:lnTo>
                <a:lnTo>
                  <a:pt x="279" y="252"/>
                </a:lnTo>
                <a:lnTo>
                  <a:pt x="277" y="252"/>
                </a:lnTo>
                <a:lnTo>
                  <a:pt x="276" y="251"/>
                </a:lnTo>
                <a:lnTo>
                  <a:pt x="275" y="248"/>
                </a:lnTo>
                <a:lnTo>
                  <a:pt x="274" y="247"/>
                </a:lnTo>
                <a:lnTo>
                  <a:pt x="273" y="245"/>
                </a:lnTo>
                <a:lnTo>
                  <a:pt x="272" y="244"/>
                </a:lnTo>
                <a:lnTo>
                  <a:pt x="270" y="244"/>
                </a:lnTo>
                <a:lnTo>
                  <a:pt x="270" y="244"/>
                </a:lnTo>
                <a:lnTo>
                  <a:pt x="270" y="241"/>
                </a:lnTo>
                <a:lnTo>
                  <a:pt x="268" y="229"/>
                </a:lnTo>
                <a:lnTo>
                  <a:pt x="267" y="227"/>
                </a:lnTo>
                <a:lnTo>
                  <a:pt x="265" y="225"/>
                </a:lnTo>
                <a:lnTo>
                  <a:pt x="263" y="222"/>
                </a:lnTo>
                <a:lnTo>
                  <a:pt x="262" y="219"/>
                </a:lnTo>
                <a:lnTo>
                  <a:pt x="258" y="212"/>
                </a:lnTo>
                <a:lnTo>
                  <a:pt x="258" y="208"/>
                </a:lnTo>
                <a:lnTo>
                  <a:pt x="258" y="207"/>
                </a:lnTo>
                <a:lnTo>
                  <a:pt x="260" y="205"/>
                </a:lnTo>
                <a:lnTo>
                  <a:pt x="260" y="203"/>
                </a:lnTo>
                <a:lnTo>
                  <a:pt x="260" y="202"/>
                </a:lnTo>
                <a:lnTo>
                  <a:pt x="256" y="195"/>
                </a:lnTo>
                <a:lnTo>
                  <a:pt x="255" y="190"/>
                </a:lnTo>
                <a:lnTo>
                  <a:pt x="255" y="186"/>
                </a:lnTo>
                <a:lnTo>
                  <a:pt x="257" y="180"/>
                </a:lnTo>
                <a:lnTo>
                  <a:pt x="259" y="168"/>
                </a:lnTo>
                <a:lnTo>
                  <a:pt x="259" y="164"/>
                </a:lnTo>
                <a:lnTo>
                  <a:pt x="259" y="161"/>
                </a:lnTo>
                <a:lnTo>
                  <a:pt x="258" y="160"/>
                </a:lnTo>
                <a:lnTo>
                  <a:pt x="259" y="154"/>
                </a:lnTo>
                <a:lnTo>
                  <a:pt x="260" y="147"/>
                </a:lnTo>
                <a:lnTo>
                  <a:pt x="260" y="146"/>
                </a:lnTo>
                <a:lnTo>
                  <a:pt x="260" y="145"/>
                </a:lnTo>
                <a:lnTo>
                  <a:pt x="263" y="141"/>
                </a:lnTo>
                <a:lnTo>
                  <a:pt x="264" y="138"/>
                </a:lnTo>
                <a:lnTo>
                  <a:pt x="266" y="135"/>
                </a:lnTo>
                <a:lnTo>
                  <a:pt x="266" y="133"/>
                </a:lnTo>
                <a:lnTo>
                  <a:pt x="267" y="132"/>
                </a:lnTo>
                <a:lnTo>
                  <a:pt x="270" y="133"/>
                </a:lnTo>
                <a:lnTo>
                  <a:pt x="272" y="133"/>
                </a:lnTo>
                <a:lnTo>
                  <a:pt x="274" y="130"/>
                </a:lnTo>
                <a:lnTo>
                  <a:pt x="275" y="128"/>
                </a:lnTo>
                <a:lnTo>
                  <a:pt x="276" y="125"/>
                </a:lnTo>
                <a:lnTo>
                  <a:pt x="275" y="125"/>
                </a:lnTo>
                <a:lnTo>
                  <a:pt x="275" y="127"/>
                </a:lnTo>
                <a:lnTo>
                  <a:pt x="274" y="128"/>
                </a:lnTo>
                <a:lnTo>
                  <a:pt x="273" y="128"/>
                </a:lnTo>
                <a:lnTo>
                  <a:pt x="273" y="128"/>
                </a:lnTo>
                <a:lnTo>
                  <a:pt x="273" y="126"/>
                </a:lnTo>
                <a:lnTo>
                  <a:pt x="275" y="123"/>
                </a:lnTo>
                <a:lnTo>
                  <a:pt x="270" y="123"/>
                </a:lnTo>
                <a:lnTo>
                  <a:pt x="266" y="120"/>
                </a:lnTo>
                <a:lnTo>
                  <a:pt x="258" y="120"/>
                </a:lnTo>
                <a:lnTo>
                  <a:pt x="255" y="116"/>
                </a:lnTo>
                <a:lnTo>
                  <a:pt x="251" y="116"/>
                </a:lnTo>
                <a:lnTo>
                  <a:pt x="247" y="113"/>
                </a:lnTo>
                <a:lnTo>
                  <a:pt x="244" y="105"/>
                </a:lnTo>
                <a:lnTo>
                  <a:pt x="243" y="91"/>
                </a:lnTo>
                <a:lnTo>
                  <a:pt x="238" y="87"/>
                </a:lnTo>
                <a:lnTo>
                  <a:pt x="237" y="82"/>
                </a:lnTo>
                <a:lnTo>
                  <a:pt x="234" y="77"/>
                </a:lnTo>
                <a:lnTo>
                  <a:pt x="232" y="64"/>
                </a:lnTo>
                <a:lnTo>
                  <a:pt x="229" y="62"/>
                </a:lnTo>
                <a:lnTo>
                  <a:pt x="228" y="59"/>
                </a:lnTo>
                <a:lnTo>
                  <a:pt x="225" y="54"/>
                </a:lnTo>
                <a:lnTo>
                  <a:pt x="223" y="51"/>
                </a:lnTo>
                <a:lnTo>
                  <a:pt x="211" y="52"/>
                </a:lnTo>
                <a:lnTo>
                  <a:pt x="207" y="51"/>
                </a:lnTo>
                <a:lnTo>
                  <a:pt x="204" y="52"/>
                </a:lnTo>
                <a:lnTo>
                  <a:pt x="203" y="53"/>
                </a:lnTo>
                <a:lnTo>
                  <a:pt x="193" y="66"/>
                </a:lnTo>
                <a:lnTo>
                  <a:pt x="186" y="65"/>
                </a:lnTo>
                <a:lnTo>
                  <a:pt x="181" y="61"/>
                </a:lnTo>
                <a:lnTo>
                  <a:pt x="177" y="56"/>
                </a:lnTo>
                <a:lnTo>
                  <a:pt x="174" y="51"/>
                </a:lnTo>
                <a:lnTo>
                  <a:pt x="174" y="36"/>
                </a:lnTo>
                <a:lnTo>
                  <a:pt x="168" y="31"/>
                </a:lnTo>
                <a:lnTo>
                  <a:pt x="164" y="25"/>
                </a:lnTo>
                <a:lnTo>
                  <a:pt x="163" y="22"/>
                </a:lnTo>
                <a:lnTo>
                  <a:pt x="160" y="21"/>
                </a:lnTo>
                <a:lnTo>
                  <a:pt x="158" y="16"/>
                </a:lnTo>
                <a:lnTo>
                  <a:pt x="157" y="16"/>
                </a:lnTo>
                <a:lnTo>
                  <a:pt x="155" y="14"/>
                </a:lnTo>
                <a:lnTo>
                  <a:pt x="131" y="14"/>
                </a:lnTo>
                <a:lnTo>
                  <a:pt x="127" y="23"/>
                </a:lnTo>
                <a:lnTo>
                  <a:pt x="115" y="23"/>
                </a:lnTo>
                <a:lnTo>
                  <a:pt x="86" y="23"/>
                </a:lnTo>
                <a:lnTo>
                  <a:pt x="35" y="1"/>
                </a:lnTo>
                <a:lnTo>
                  <a:pt x="35" y="0"/>
                </a:lnTo>
                <a:lnTo>
                  <a:pt x="0" y="2"/>
                </a:lnTo>
                <a:lnTo>
                  <a:pt x="1" y="4"/>
                </a:lnTo>
                <a:lnTo>
                  <a:pt x="1" y="6"/>
                </a:lnTo>
                <a:lnTo>
                  <a:pt x="1" y="9"/>
                </a:lnTo>
                <a:lnTo>
                  <a:pt x="1" y="11"/>
                </a:lnTo>
                <a:lnTo>
                  <a:pt x="2" y="13"/>
                </a:lnTo>
                <a:lnTo>
                  <a:pt x="2" y="14"/>
                </a:lnTo>
                <a:lnTo>
                  <a:pt x="3" y="14"/>
                </a:lnTo>
                <a:lnTo>
                  <a:pt x="3" y="15"/>
                </a:lnTo>
                <a:lnTo>
                  <a:pt x="2" y="20"/>
                </a:lnTo>
                <a:lnTo>
                  <a:pt x="4" y="27"/>
                </a:lnTo>
                <a:lnTo>
                  <a:pt x="4" y="30"/>
                </a:lnTo>
                <a:lnTo>
                  <a:pt x="4" y="31"/>
                </a:lnTo>
                <a:lnTo>
                  <a:pt x="4" y="31"/>
                </a:lnTo>
                <a:lnTo>
                  <a:pt x="5" y="32"/>
                </a:lnTo>
                <a:lnTo>
                  <a:pt x="5" y="33"/>
                </a:lnTo>
                <a:lnTo>
                  <a:pt x="5" y="39"/>
                </a:lnTo>
                <a:lnTo>
                  <a:pt x="5" y="41"/>
                </a:lnTo>
                <a:lnTo>
                  <a:pt x="5" y="42"/>
                </a:lnTo>
                <a:lnTo>
                  <a:pt x="6" y="41"/>
                </a:lnTo>
                <a:lnTo>
                  <a:pt x="8" y="41"/>
                </a:lnTo>
                <a:lnTo>
                  <a:pt x="8" y="43"/>
                </a:lnTo>
                <a:lnTo>
                  <a:pt x="6" y="50"/>
                </a:lnTo>
                <a:lnTo>
                  <a:pt x="6" y="53"/>
                </a:lnTo>
                <a:lnTo>
                  <a:pt x="6" y="54"/>
                </a:lnTo>
                <a:lnTo>
                  <a:pt x="10" y="54"/>
                </a:lnTo>
                <a:lnTo>
                  <a:pt x="10" y="55"/>
                </a:lnTo>
                <a:lnTo>
                  <a:pt x="12" y="56"/>
                </a:lnTo>
                <a:lnTo>
                  <a:pt x="13" y="59"/>
                </a:lnTo>
                <a:lnTo>
                  <a:pt x="15" y="60"/>
                </a:lnTo>
                <a:lnTo>
                  <a:pt x="16" y="61"/>
                </a:lnTo>
                <a:lnTo>
                  <a:pt x="16" y="64"/>
                </a:lnTo>
                <a:lnTo>
                  <a:pt x="17" y="65"/>
                </a:lnTo>
                <a:lnTo>
                  <a:pt x="20" y="69"/>
                </a:lnTo>
                <a:lnTo>
                  <a:pt x="21" y="69"/>
                </a:lnTo>
                <a:lnTo>
                  <a:pt x="24" y="76"/>
                </a:lnTo>
                <a:lnTo>
                  <a:pt x="24" y="79"/>
                </a:lnTo>
                <a:lnTo>
                  <a:pt x="23" y="81"/>
                </a:lnTo>
                <a:lnTo>
                  <a:pt x="24" y="82"/>
                </a:lnTo>
                <a:lnTo>
                  <a:pt x="23" y="83"/>
                </a:lnTo>
                <a:lnTo>
                  <a:pt x="23" y="84"/>
                </a:lnTo>
                <a:lnTo>
                  <a:pt x="21" y="84"/>
                </a:lnTo>
                <a:lnTo>
                  <a:pt x="20" y="85"/>
                </a:lnTo>
                <a:lnTo>
                  <a:pt x="20" y="87"/>
                </a:lnTo>
                <a:lnTo>
                  <a:pt x="20" y="87"/>
                </a:lnTo>
                <a:lnTo>
                  <a:pt x="20" y="89"/>
                </a:lnTo>
                <a:lnTo>
                  <a:pt x="19" y="87"/>
                </a:lnTo>
                <a:lnTo>
                  <a:pt x="13" y="89"/>
                </a:lnTo>
                <a:lnTo>
                  <a:pt x="8" y="89"/>
                </a:lnTo>
                <a:lnTo>
                  <a:pt x="6" y="91"/>
                </a:lnTo>
                <a:lnTo>
                  <a:pt x="6" y="91"/>
                </a:lnTo>
                <a:lnTo>
                  <a:pt x="8" y="90"/>
                </a:lnTo>
                <a:lnTo>
                  <a:pt x="11" y="93"/>
                </a:lnTo>
                <a:lnTo>
                  <a:pt x="13" y="94"/>
                </a:lnTo>
                <a:lnTo>
                  <a:pt x="13" y="95"/>
                </a:lnTo>
                <a:lnTo>
                  <a:pt x="13" y="98"/>
                </a:lnTo>
                <a:lnTo>
                  <a:pt x="14" y="100"/>
                </a:lnTo>
                <a:lnTo>
                  <a:pt x="16" y="100"/>
                </a:lnTo>
                <a:lnTo>
                  <a:pt x="17" y="101"/>
                </a:lnTo>
                <a:lnTo>
                  <a:pt x="19" y="103"/>
                </a:lnTo>
                <a:lnTo>
                  <a:pt x="20" y="103"/>
                </a:lnTo>
                <a:lnTo>
                  <a:pt x="22" y="104"/>
                </a:lnTo>
                <a:lnTo>
                  <a:pt x="23" y="106"/>
                </a:lnTo>
                <a:lnTo>
                  <a:pt x="24" y="107"/>
                </a:lnTo>
                <a:lnTo>
                  <a:pt x="27" y="107"/>
                </a:lnTo>
                <a:lnTo>
                  <a:pt x="32" y="104"/>
                </a:lnTo>
                <a:lnTo>
                  <a:pt x="32" y="105"/>
                </a:lnTo>
                <a:lnTo>
                  <a:pt x="31" y="107"/>
                </a:lnTo>
                <a:lnTo>
                  <a:pt x="32" y="110"/>
                </a:lnTo>
                <a:lnTo>
                  <a:pt x="34" y="114"/>
                </a:lnTo>
                <a:lnTo>
                  <a:pt x="36" y="116"/>
                </a:lnTo>
                <a:lnTo>
                  <a:pt x="39" y="117"/>
                </a:lnTo>
                <a:lnTo>
                  <a:pt x="40" y="117"/>
                </a:lnTo>
                <a:lnTo>
                  <a:pt x="41" y="120"/>
                </a:lnTo>
                <a:lnTo>
                  <a:pt x="42" y="126"/>
                </a:lnTo>
                <a:lnTo>
                  <a:pt x="42" y="128"/>
                </a:lnTo>
                <a:lnTo>
                  <a:pt x="41" y="135"/>
                </a:lnTo>
                <a:lnTo>
                  <a:pt x="39" y="141"/>
                </a:lnTo>
                <a:lnTo>
                  <a:pt x="37" y="143"/>
                </a:lnTo>
                <a:lnTo>
                  <a:pt x="36" y="144"/>
                </a:lnTo>
                <a:lnTo>
                  <a:pt x="37" y="143"/>
                </a:lnTo>
                <a:lnTo>
                  <a:pt x="39" y="143"/>
                </a:lnTo>
                <a:lnTo>
                  <a:pt x="39" y="144"/>
                </a:lnTo>
                <a:lnTo>
                  <a:pt x="41" y="144"/>
                </a:lnTo>
                <a:lnTo>
                  <a:pt x="42" y="145"/>
                </a:lnTo>
                <a:lnTo>
                  <a:pt x="42" y="146"/>
                </a:lnTo>
                <a:lnTo>
                  <a:pt x="43" y="147"/>
                </a:lnTo>
                <a:lnTo>
                  <a:pt x="45" y="148"/>
                </a:lnTo>
                <a:lnTo>
                  <a:pt x="45" y="150"/>
                </a:lnTo>
                <a:lnTo>
                  <a:pt x="47" y="153"/>
                </a:lnTo>
                <a:lnTo>
                  <a:pt x="52" y="156"/>
                </a:lnTo>
                <a:lnTo>
                  <a:pt x="53" y="157"/>
                </a:lnTo>
                <a:lnTo>
                  <a:pt x="59" y="163"/>
                </a:lnTo>
                <a:lnTo>
                  <a:pt x="60" y="164"/>
                </a:lnTo>
                <a:lnTo>
                  <a:pt x="63" y="168"/>
                </a:lnTo>
                <a:lnTo>
                  <a:pt x="64" y="175"/>
                </a:lnTo>
                <a:lnTo>
                  <a:pt x="65" y="177"/>
                </a:lnTo>
                <a:lnTo>
                  <a:pt x="66" y="178"/>
                </a:lnTo>
                <a:lnTo>
                  <a:pt x="69" y="176"/>
                </a:lnTo>
                <a:lnTo>
                  <a:pt x="71" y="175"/>
                </a:lnTo>
                <a:lnTo>
                  <a:pt x="73" y="173"/>
                </a:lnTo>
                <a:lnTo>
                  <a:pt x="74" y="171"/>
                </a:lnTo>
                <a:lnTo>
                  <a:pt x="75" y="168"/>
                </a:lnTo>
                <a:lnTo>
                  <a:pt x="75" y="166"/>
                </a:lnTo>
                <a:lnTo>
                  <a:pt x="74" y="165"/>
                </a:lnTo>
                <a:lnTo>
                  <a:pt x="73" y="163"/>
                </a:lnTo>
                <a:lnTo>
                  <a:pt x="72" y="160"/>
                </a:lnTo>
                <a:lnTo>
                  <a:pt x="72" y="157"/>
                </a:lnTo>
                <a:lnTo>
                  <a:pt x="69" y="155"/>
                </a:lnTo>
                <a:lnTo>
                  <a:pt x="66" y="153"/>
                </a:lnTo>
                <a:lnTo>
                  <a:pt x="63" y="155"/>
                </a:lnTo>
                <a:lnTo>
                  <a:pt x="62" y="154"/>
                </a:lnTo>
                <a:lnTo>
                  <a:pt x="61" y="153"/>
                </a:lnTo>
                <a:lnTo>
                  <a:pt x="60" y="148"/>
                </a:lnTo>
                <a:lnTo>
                  <a:pt x="60" y="147"/>
                </a:lnTo>
                <a:lnTo>
                  <a:pt x="61" y="142"/>
                </a:lnTo>
                <a:lnTo>
                  <a:pt x="59" y="137"/>
                </a:lnTo>
                <a:lnTo>
                  <a:pt x="59" y="136"/>
                </a:lnTo>
                <a:lnTo>
                  <a:pt x="57" y="136"/>
                </a:lnTo>
                <a:lnTo>
                  <a:pt x="60" y="131"/>
                </a:lnTo>
                <a:lnTo>
                  <a:pt x="57" y="128"/>
                </a:lnTo>
                <a:lnTo>
                  <a:pt x="56" y="127"/>
                </a:lnTo>
                <a:lnTo>
                  <a:pt x="55" y="125"/>
                </a:lnTo>
                <a:lnTo>
                  <a:pt x="55" y="123"/>
                </a:lnTo>
                <a:lnTo>
                  <a:pt x="56" y="116"/>
                </a:lnTo>
                <a:lnTo>
                  <a:pt x="55" y="116"/>
                </a:lnTo>
                <a:lnTo>
                  <a:pt x="55" y="114"/>
                </a:lnTo>
                <a:lnTo>
                  <a:pt x="55" y="110"/>
                </a:lnTo>
                <a:lnTo>
                  <a:pt x="53" y="106"/>
                </a:lnTo>
                <a:lnTo>
                  <a:pt x="52" y="106"/>
                </a:lnTo>
                <a:lnTo>
                  <a:pt x="51" y="111"/>
                </a:lnTo>
                <a:lnTo>
                  <a:pt x="52" y="112"/>
                </a:lnTo>
                <a:lnTo>
                  <a:pt x="52" y="112"/>
                </a:lnTo>
                <a:lnTo>
                  <a:pt x="51" y="110"/>
                </a:lnTo>
                <a:lnTo>
                  <a:pt x="51" y="107"/>
                </a:lnTo>
                <a:lnTo>
                  <a:pt x="50" y="105"/>
                </a:lnTo>
                <a:lnTo>
                  <a:pt x="50" y="103"/>
                </a:lnTo>
                <a:lnTo>
                  <a:pt x="50" y="103"/>
                </a:lnTo>
                <a:lnTo>
                  <a:pt x="50" y="102"/>
                </a:lnTo>
                <a:lnTo>
                  <a:pt x="47" y="100"/>
                </a:lnTo>
                <a:lnTo>
                  <a:pt x="47" y="97"/>
                </a:lnTo>
                <a:lnTo>
                  <a:pt x="46" y="94"/>
                </a:lnTo>
                <a:lnTo>
                  <a:pt x="43" y="89"/>
                </a:lnTo>
                <a:lnTo>
                  <a:pt x="43" y="85"/>
                </a:lnTo>
                <a:lnTo>
                  <a:pt x="43" y="82"/>
                </a:lnTo>
                <a:lnTo>
                  <a:pt x="43" y="80"/>
                </a:lnTo>
                <a:lnTo>
                  <a:pt x="43" y="79"/>
                </a:lnTo>
                <a:lnTo>
                  <a:pt x="43" y="79"/>
                </a:lnTo>
                <a:lnTo>
                  <a:pt x="43" y="77"/>
                </a:lnTo>
                <a:lnTo>
                  <a:pt x="42" y="76"/>
                </a:lnTo>
                <a:lnTo>
                  <a:pt x="41" y="77"/>
                </a:lnTo>
                <a:lnTo>
                  <a:pt x="41" y="76"/>
                </a:lnTo>
                <a:lnTo>
                  <a:pt x="40" y="74"/>
                </a:lnTo>
                <a:lnTo>
                  <a:pt x="40" y="70"/>
                </a:lnTo>
                <a:lnTo>
                  <a:pt x="40" y="71"/>
                </a:lnTo>
                <a:lnTo>
                  <a:pt x="39" y="70"/>
                </a:lnTo>
                <a:lnTo>
                  <a:pt x="37" y="69"/>
                </a:lnTo>
                <a:lnTo>
                  <a:pt x="36" y="69"/>
                </a:lnTo>
                <a:lnTo>
                  <a:pt x="35" y="64"/>
                </a:lnTo>
                <a:lnTo>
                  <a:pt x="35" y="62"/>
                </a:lnTo>
                <a:lnTo>
                  <a:pt x="31" y="57"/>
                </a:lnTo>
                <a:lnTo>
                  <a:pt x="30" y="55"/>
                </a:lnTo>
                <a:lnTo>
                  <a:pt x="30" y="54"/>
                </a:lnTo>
                <a:lnTo>
                  <a:pt x="30" y="53"/>
                </a:lnTo>
                <a:lnTo>
                  <a:pt x="27" y="53"/>
                </a:lnTo>
                <a:lnTo>
                  <a:pt x="27" y="52"/>
                </a:lnTo>
                <a:lnTo>
                  <a:pt x="27" y="50"/>
                </a:lnTo>
                <a:lnTo>
                  <a:pt x="26" y="47"/>
                </a:lnTo>
                <a:lnTo>
                  <a:pt x="25" y="46"/>
                </a:lnTo>
                <a:lnTo>
                  <a:pt x="26" y="40"/>
                </a:lnTo>
                <a:lnTo>
                  <a:pt x="27" y="34"/>
                </a:lnTo>
                <a:lnTo>
                  <a:pt x="29" y="32"/>
                </a:lnTo>
                <a:lnTo>
                  <a:pt x="27" y="30"/>
                </a:lnTo>
                <a:lnTo>
                  <a:pt x="27" y="27"/>
                </a:lnTo>
                <a:lnTo>
                  <a:pt x="29" y="22"/>
                </a:lnTo>
                <a:lnTo>
                  <a:pt x="30" y="20"/>
                </a:lnTo>
                <a:lnTo>
                  <a:pt x="31" y="17"/>
                </a:lnTo>
                <a:lnTo>
                  <a:pt x="31" y="1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96" name="Freeform 696"/>
          <p:cNvSpPr>
            <a:spLocks/>
          </p:cNvSpPr>
          <p:nvPr/>
        </p:nvSpPr>
        <p:spPr bwMode="auto">
          <a:xfrm>
            <a:off x="1511300" y="2636803"/>
            <a:ext cx="669925" cy="520700"/>
          </a:xfrm>
          <a:custGeom>
            <a:avLst/>
            <a:gdLst>
              <a:gd name="T0" fmla="*/ 44 w 422"/>
              <a:gd name="T1" fmla="*/ 21 h 328"/>
              <a:gd name="T2" fmla="*/ 52 w 422"/>
              <a:gd name="T3" fmla="*/ 41 h 328"/>
              <a:gd name="T4" fmla="*/ 54 w 422"/>
              <a:gd name="T5" fmla="*/ 60 h 328"/>
              <a:gd name="T6" fmla="*/ 65 w 422"/>
              <a:gd name="T7" fmla="*/ 83 h 328"/>
              <a:gd name="T8" fmla="*/ 74 w 422"/>
              <a:gd name="T9" fmla="*/ 97 h 328"/>
              <a:gd name="T10" fmla="*/ 90 w 422"/>
              <a:gd name="T11" fmla="*/ 114 h 328"/>
              <a:gd name="T12" fmla="*/ 85 w 422"/>
              <a:gd name="T13" fmla="*/ 128 h 328"/>
              <a:gd name="T14" fmla="*/ 103 w 422"/>
              <a:gd name="T15" fmla="*/ 140 h 328"/>
              <a:gd name="T16" fmla="*/ 117 w 422"/>
              <a:gd name="T17" fmla="*/ 163 h 328"/>
              <a:gd name="T18" fmla="*/ 132 w 422"/>
              <a:gd name="T19" fmla="*/ 184 h 328"/>
              <a:gd name="T20" fmla="*/ 135 w 422"/>
              <a:gd name="T21" fmla="*/ 207 h 328"/>
              <a:gd name="T22" fmla="*/ 126 w 422"/>
              <a:gd name="T23" fmla="*/ 223 h 328"/>
              <a:gd name="T24" fmla="*/ 137 w 422"/>
              <a:gd name="T25" fmla="*/ 245 h 328"/>
              <a:gd name="T26" fmla="*/ 152 w 422"/>
              <a:gd name="T27" fmla="*/ 256 h 328"/>
              <a:gd name="T28" fmla="*/ 163 w 422"/>
              <a:gd name="T29" fmla="*/ 264 h 328"/>
              <a:gd name="T30" fmla="*/ 183 w 422"/>
              <a:gd name="T31" fmla="*/ 274 h 328"/>
              <a:gd name="T32" fmla="*/ 195 w 422"/>
              <a:gd name="T33" fmla="*/ 283 h 328"/>
              <a:gd name="T34" fmla="*/ 226 w 422"/>
              <a:gd name="T35" fmla="*/ 296 h 328"/>
              <a:gd name="T36" fmla="*/ 254 w 422"/>
              <a:gd name="T37" fmla="*/ 307 h 328"/>
              <a:gd name="T38" fmla="*/ 279 w 422"/>
              <a:gd name="T39" fmla="*/ 300 h 328"/>
              <a:gd name="T40" fmla="*/ 315 w 422"/>
              <a:gd name="T41" fmla="*/ 320 h 328"/>
              <a:gd name="T42" fmla="*/ 326 w 422"/>
              <a:gd name="T43" fmla="*/ 316 h 328"/>
              <a:gd name="T44" fmla="*/ 353 w 422"/>
              <a:gd name="T45" fmla="*/ 293 h 328"/>
              <a:gd name="T46" fmla="*/ 381 w 422"/>
              <a:gd name="T47" fmla="*/ 267 h 328"/>
              <a:gd name="T48" fmla="*/ 397 w 422"/>
              <a:gd name="T49" fmla="*/ 256 h 328"/>
              <a:gd name="T50" fmla="*/ 406 w 422"/>
              <a:gd name="T51" fmla="*/ 242 h 328"/>
              <a:gd name="T52" fmla="*/ 416 w 422"/>
              <a:gd name="T53" fmla="*/ 218 h 328"/>
              <a:gd name="T54" fmla="*/ 404 w 422"/>
              <a:gd name="T55" fmla="*/ 198 h 328"/>
              <a:gd name="T56" fmla="*/ 366 w 422"/>
              <a:gd name="T57" fmla="*/ 209 h 328"/>
              <a:gd name="T58" fmla="*/ 346 w 422"/>
              <a:gd name="T59" fmla="*/ 247 h 328"/>
              <a:gd name="T60" fmla="*/ 326 w 422"/>
              <a:gd name="T61" fmla="*/ 253 h 328"/>
              <a:gd name="T62" fmla="*/ 288 w 422"/>
              <a:gd name="T63" fmla="*/ 255 h 328"/>
              <a:gd name="T64" fmla="*/ 273 w 422"/>
              <a:gd name="T65" fmla="*/ 245 h 328"/>
              <a:gd name="T66" fmla="*/ 262 w 422"/>
              <a:gd name="T67" fmla="*/ 219 h 328"/>
              <a:gd name="T68" fmla="*/ 255 w 422"/>
              <a:gd name="T69" fmla="*/ 186 h 328"/>
              <a:gd name="T70" fmla="*/ 260 w 422"/>
              <a:gd name="T71" fmla="*/ 145 h 328"/>
              <a:gd name="T72" fmla="*/ 275 w 422"/>
              <a:gd name="T73" fmla="*/ 128 h 328"/>
              <a:gd name="T74" fmla="*/ 270 w 422"/>
              <a:gd name="T75" fmla="*/ 123 h 328"/>
              <a:gd name="T76" fmla="*/ 237 w 422"/>
              <a:gd name="T77" fmla="*/ 82 h 328"/>
              <a:gd name="T78" fmla="*/ 204 w 422"/>
              <a:gd name="T79" fmla="*/ 52 h 328"/>
              <a:gd name="T80" fmla="*/ 164 w 422"/>
              <a:gd name="T81" fmla="*/ 25 h 328"/>
              <a:gd name="T82" fmla="*/ 86 w 422"/>
              <a:gd name="T83" fmla="*/ 23 h 328"/>
              <a:gd name="T84" fmla="*/ 2 w 422"/>
              <a:gd name="T85" fmla="*/ 14 h 328"/>
              <a:gd name="T86" fmla="*/ 5 w 422"/>
              <a:gd name="T87" fmla="*/ 33 h 328"/>
              <a:gd name="T88" fmla="*/ 6 w 422"/>
              <a:gd name="T89" fmla="*/ 54 h 328"/>
              <a:gd name="T90" fmla="*/ 20 w 422"/>
              <a:gd name="T91" fmla="*/ 69 h 328"/>
              <a:gd name="T92" fmla="*/ 20 w 422"/>
              <a:gd name="T93" fmla="*/ 85 h 328"/>
              <a:gd name="T94" fmla="*/ 8 w 422"/>
              <a:gd name="T95" fmla="*/ 90 h 328"/>
              <a:gd name="T96" fmla="*/ 20 w 422"/>
              <a:gd name="T97" fmla="*/ 103 h 328"/>
              <a:gd name="T98" fmla="*/ 34 w 422"/>
              <a:gd name="T99" fmla="*/ 114 h 328"/>
              <a:gd name="T100" fmla="*/ 37 w 422"/>
              <a:gd name="T101" fmla="*/ 143 h 328"/>
              <a:gd name="T102" fmla="*/ 45 w 422"/>
              <a:gd name="T103" fmla="*/ 148 h 328"/>
              <a:gd name="T104" fmla="*/ 65 w 422"/>
              <a:gd name="T105" fmla="*/ 177 h 328"/>
              <a:gd name="T106" fmla="*/ 73 w 422"/>
              <a:gd name="T107" fmla="*/ 163 h 328"/>
              <a:gd name="T108" fmla="*/ 60 w 422"/>
              <a:gd name="T109" fmla="*/ 147 h 328"/>
              <a:gd name="T110" fmla="*/ 55 w 422"/>
              <a:gd name="T111" fmla="*/ 123 h 328"/>
              <a:gd name="T112" fmla="*/ 52 w 422"/>
              <a:gd name="T113" fmla="*/ 112 h 328"/>
              <a:gd name="T114" fmla="*/ 46 w 422"/>
              <a:gd name="T115" fmla="*/ 94 h 328"/>
              <a:gd name="T116" fmla="*/ 41 w 422"/>
              <a:gd name="T117" fmla="*/ 77 h 328"/>
              <a:gd name="T118" fmla="*/ 35 w 422"/>
              <a:gd name="T119" fmla="*/ 62 h 328"/>
              <a:gd name="T120" fmla="*/ 25 w 422"/>
              <a:gd name="T121" fmla="*/ 46 h 328"/>
              <a:gd name="T122" fmla="*/ 31 w 422"/>
              <a:gd name="T123" fmla="*/ 15 h 3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22" h="328">
                <a:moveTo>
                  <a:pt x="31" y="15"/>
                </a:moveTo>
                <a:lnTo>
                  <a:pt x="33" y="16"/>
                </a:lnTo>
                <a:lnTo>
                  <a:pt x="34" y="16"/>
                </a:lnTo>
                <a:lnTo>
                  <a:pt x="35" y="19"/>
                </a:lnTo>
                <a:lnTo>
                  <a:pt x="36" y="19"/>
                </a:lnTo>
                <a:lnTo>
                  <a:pt x="36" y="20"/>
                </a:lnTo>
                <a:lnTo>
                  <a:pt x="39" y="21"/>
                </a:lnTo>
                <a:lnTo>
                  <a:pt x="40" y="22"/>
                </a:lnTo>
                <a:lnTo>
                  <a:pt x="44" y="21"/>
                </a:lnTo>
                <a:lnTo>
                  <a:pt x="46" y="22"/>
                </a:lnTo>
                <a:lnTo>
                  <a:pt x="46" y="24"/>
                </a:lnTo>
                <a:lnTo>
                  <a:pt x="47" y="25"/>
                </a:lnTo>
                <a:lnTo>
                  <a:pt x="52" y="26"/>
                </a:lnTo>
                <a:lnTo>
                  <a:pt x="53" y="27"/>
                </a:lnTo>
                <a:lnTo>
                  <a:pt x="53" y="29"/>
                </a:lnTo>
                <a:lnTo>
                  <a:pt x="52" y="34"/>
                </a:lnTo>
                <a:lnTo>
                  <a:pt x="52" y="36"/>
                </a:lnTo>
                <a:lnTo>
                  <a:pt x="52" y="41"/>
                </a:lnTo>
                <a:lnTo>
                  <a:pt x="52" y="42"/>
                </a:lnTo>
                <a:lnTo>
                  <a:pt x="53" y="43"/>
                </a:lnTo>
                <a:lnTo>
                  <a:pt x="53" y="45"/>
                </a:lnTo>
                <a:lnTo>
                  <a:pt x="53" y="50"/>
                </a:lnTo>
                <a:lnTo>
                  <a:pt x="53" y="52"/>
                </a:lnTo>
                <a:lnTo>
                  <a:pt x="54" y="52"/>
                </a:lnTo>
                <a:lnTo>
                  <a:pt x="54" y="53"/>
                </a:lnTo>
                <a:lnTo>
                  <a:pt x="54" y="59"/>
                </a:lnTo>
                <a:lnTo>
                  <a:pt x="54" y="60"/>
                </a:lnTo>
                <a:lnTo>
                  <a:pt x="55" y="61"/>
                </a:lnTo>
                <a:lnTo>
                  <a:pt x="56" y="62"/>
                </a:lnTo>
                <a:lnTo>
                  <a:pt x="56" y="63"/>
                </a:lnTo>
                <a:lnTo>
                  <a:pt x="57" y="67"/>
                </a:lnTo>
                <a:lnTo>
                  <a:pt x="59" y="70"/>
                </a:lnTo>
                <a:lnTo>
                  <a:pt x="59" y="73"/>
                </a:lnTo>
                <a:lnTo>
                  <a:pt x="61" y="76"/>
                </a:lnTo>
                <a:lnTo>
                  <a:pt x="63" y="77"/>
                </a:lnTo>
                <a:lnTo>
                  <a:pt x="65" y="83"/>
                </a:lnTo>
                <a:lnTo>
                  <a:pt x="69" y="85"/>
                </a:lnTo>
                <a:lnTo>
                  <a:pt x="73" y="86"/>
                </a:lnTo>
                <a:lnTo>
                  <a:pt x="74" y="86"/>
                </a:lnTo>
                <a:lnTo>
                  <a:pt x="75" y="87"/>
                </a:lnTo>
                <a:lnTo>
                  <a:pt x="74" y="92"/>
                </a:lnTo>
                <a:lnTo>
                  <a:pt x="73" y="93"/>
                </a:lnTo>
                <a:lnTo>
                  <a:pt x="73" y="94"/>
                </a:lnTo>
                <a:lnTo>
                  <a:pt x="73" y="96"/>
                </a:lnTo>
                <a:lnTo>
                  <a:pt x="74" y="97"/>
                </a:lnTo>
                <a:lnTo>
                  <a:pt x="76" y="100"/>
                </a:lnTo>
                <a:lnTo>
                  <a:pt x="80" y="102"/>
                </a:lnTo>
                <a:lnTo>
                  <a:pt x="81" y="104"/>
                </a:lnTo>
                <a:lnTo>
                  <a:pt x="82" y="107"/>
                </a:lnTo>
                <a:lnTo>
                  <a:pt x="83" y="108"/>
                </a:lnTo>
                <a:lnTo>
                  <a:pt x="83" y="110"/>
                </a:lnTo>
                <a:lnTo>
                  <a:pt x="87" y="108"/>
                </a:lnTo>
                <a:lnTo>
                  <a:pt x="89" y="111"/>
                </a:lnTo>
                <a:lnTo>
                  <a:pt x="90" y="114"/>
                </a:lnTo>
                <a:lnTo>
                  <a:pt x="91" y="114"/>
                </a:lnTo>
                <a:lnTo>
                  <a:pt x="91" y="116"/>
                </a:lnTo>
                <a:lnTo>
                  <a:pt x="89" y="118"/>
                </a:lnTo>
                <a:lnTo>
                  <a:pt x="87" y="120"/>
                </a:lnTo>
                <a:lnTo>
                  <a:pt x="86" y="122"/>
                </a:lnTo>
                <a:lnTo>
                  <a:pt x="85" y="123"/>
                </a:lnTo>
                <a:lnTo>
                  <a:pt x="84" y="125"/>
                </a:lnTo>
                <a:lnTo>
                  <a:pt x="85" y="126"/>
                </a:lnTo>
                <a:lnTo>
                  <a:pt x="85" y="128"/>
                </a:lnTo>
                <a:lnTo>
                  <a:pt x="89" y="128"/>
                </a:lnTo>
                <a:lnTo>
                  <a:pt x="92" y="127"/>
                </a:lnTo>
                <a:lnTo>
                  <a:pt x="92" y="128"/>
                </a:lnTo>
                <a:lnTo>
                  <a:pt x="91" y="131"/>
                </a:lnTo>
                <a:lnTo>
                  <a:pt x="91" y="132"/>
                </a:lnTo>
                <a:lnTo>
                  <a:pt x="96" y="135"/>
                </a:lnTo>
                <a:lnTo>
                  <a:pt x="98" y="136"/>
                </a:lnTo>
                <a:lnTo>
                  <a:pt x="100" y="135"/>
                </a:lnTo>
                <a:lnTo>
                  <a:pt x="103" y="140"/>
                </a:lnTo>
                <a:lnTo>
                  <a:pt x="104" y="141"/>
                </a:lnTo>
                <a:lnTo>
                  <a:pt x="104" y="143"/>
                </a:lnTo>
                <a:lnTo>
                  <a:pt x="103" y="146"/>
                </a:lnTo>
                <a:lnTo>
                  <a:pt x="104" y="147"/>
                </a:lnTo>
                <a:lnTo>
                  <a:pt x="112" y="156"/>
                </a:lnTo>
                <a:lnTo>
                  <a:pt x="114" y="158"/>
                </a:lnTo>
                <a:lnTo>
                  <a:pt x="116" y="160"/>
                </a:lnTo>
                <a:lnTo>
                  <a:pt x="117" y="162"/>
                </a:lnTo>
                <a:lnTo>
                  <a:pt x="117" y="163"/>
                </a:lnTo>
                <a:lnTo>
                  <a:pt x="117" y="165"/>
                </a:lnTo>
                <a:lnTo>
                  <a:pt x="117" y="166"/>
                </a:lnTo>
                <a:lnTo>
                  <a:pt x="120" y="166"/>
                </a:lnTo>
                <a:lnTo>
                  <a:pt x="121" y="168"/>
                </a:lnTo>
                <a:lnTo>
                  <a:pt x="122" y="173"/>
                </a:lnTo>
                <a:lnTo>
                  <a:pt x="123" y="174"/>
                </a:lnTo>
                <a:lnTo>
                  <a:pt x="125" y="177"/>
                </a:lnTo>
                <a:lnTo>
                  <a:pt x="127" y="181"/>
                </a:lnTo>
                <a:lnTo>
                  <a:pt x="132" y="184"/>
                </a:lnTo>
                <a:lnTo>
                  <a:pt x="132" y="186"/>
                </a:lnTo>
                <a:lnTo>
                  <a:pt x="132" y="186"/>
                </a:lnTo>
                <a:lnTo>
                  <a:pt x="131" y="188"/>
                </a:lnTo>
                <a:lnTo>
                  <a:pt x="132" y="195"/>
                </a:lnTo>
                <a:lnTo>
                  <a:pt x="133" y="198"/>
                </a:lnTo>
                <a:lnTo>
                  <a:pt x="133" y="201"/>
                </a:lnTo>
                <a:lnTo>
                  <a:pt x="135" y="203"/>
                </a:lnTo>
                <a:lnTo>
                  <a:pt x="135" y="205"/>
                </a:lnTo>
                <a:lnTo>
                  <a:pt x="135" y="207"/>
                </a:lnTo>
                <a:lnTo>
                  <a:pt x="135" y="211"/>
                </a:lnTo>
                <a:lnTo>
                  <a:pt x="134" y="212"/>
                </a:lnTo>
                <a:lnTo>
                  <a:pt x="131" y="215"/>
                </a:lnTo>
                <a:lnTo>
                  <a:pt x="131" y="216"/>
                </a:lnTo>
                <a:lnTo>
                  <a:pt x="131" y="216"/>
                </a:lnTo>
                <a:lnTo>
                  <a:pt x="133" y="218"/>
                </a:lnTo>
                <a:lnTo>
                  <a:pt x="133" y="221"/>
                </a:lnTo>
                <a:lnTo>
                  <a:pt x="128" y="222"/>
                </a:lnTo>
                <a:lnTo>
                  <a:pt x="126" y="223"/>
                </a:lnTo>
                <a:lnTo>
                  <a:pt x="126" y="224"/>
                </a:lnTo>
                <a:lnTo>
                  <a:pt x="126" y="225"/>
                </a:lnTo>
                <a:lnTo>
                  <a:pt x="127" y="228"/>
                </a:lnTo>
                <a:lnTo>
                  <a:pt x="127" y="232"/>
                </a:lnTo>
                <a:lnTo>
                  <a:pt x="128" y="234"/>
                </a:lnTo>
                <a:lnTo>
                  <a:pt x="131" y="236"/>
                </a:lnTo>
                <a:lnTo>
                  <a:pt x="134" y="241"/>
                </a:lnTo>
                <a:lnTo>
                  <a:pt x="135" y="243"/>
                </a:lnTo>
                <a:lnTo>
                  <a:pt x="137" y="245"/>
                </a:lnTo>
                <a:lnTo>
                  <a:pt x="138" y="245"/>
                </a:lnTo>
                <a:lnTo>
                  <a:pt x="141" y="246"/>
                </a:lnTo>
                <a:lnTo>
                  <a:pt x="143" y="246"/>
                </a:lnTo>
                <a:lnTo>
                  <a:pt x="144" y="247"/>
                </a:lnTo>
                <a:lnTo>
                  <a:pt x="147" y="251"/>
                </a:lnTo>
                <a:lnTo>
                  <a:pt x="150" y="252"/>
                </a:lnTo>
                <a:lnTo>
                  <a:pt x="152" y="254"/>
                </a:lnTo>
                <a:lnTo>
                  <a:pt x="152" y="255"/>
                </a:lnTo>
                <a:lnTo>
                  <a:pt x="152" y="256"/>
                </a:lnTo>
                <a:lnTo>
                  <a:pt x="153" y="256"/>
                </a:lnTo>
                <a:lnTo>
                  <a:pt x="153" y="257"/>
                </a:lnTo>
                <a:lnTo>
                  <a:pt x="153" y="258"/>
                </a:lnTo>
                <a:lnTo>
                  <a:pt x="154" y="259"/>
                </a:lnTo>
                <a:lnTo>
                  <a:pt x="155" y="261"/>
                </a:lnTo>
                <a:lnTo>
                  <a:pt x="158" y="262"/>
                </a:lnTo>
                <a:lnTo>
                  <a:pt x="161" y="263"/>
                </a:lnTo>
                <a:lnTo>
                  <a:pt x="162" y="263"/>
                </a:lnTo>
                <a:lnTo>
                  <a:pt x="163" y="264"/>
                </a:lnTo>
                <a:lnTo>
                  <a:pt x="172" y="267"/>
                </a:lnTo>
                <a:lnTo>
                  <a:pt x="173" y="267"/>
                </a:lnTo>
                <a:lnTo>
                  <a:pt x="175" y="267"/>
                </a:lnTo>
                <a:lnTo>
                  <a:pt x="176" y="267"/>
                </a:lnTo>
                <a:lnTo>
                  <a:pt x="177" y="267"/>
                </a:lnTo>
                <a:lnTo>
                  <a:pt x="181" y="271"/>
                </a:lnTo>
                <a:lnTo>
                  <a:pt x="182" y="273"/>
                </a:lnTo>
                <a:lnTo>
                  <a:pt x="182" y="274"/>
                </a:lnTo>
                <a:lnTo>
                  <a:pt x="183" y="274"/>
                </a:lnTo>
                <a:lnTo>
                  <a:pt x="184" y="275"/>
                </a:lnTo>
                <a:lnTo>
                  <a:pt x="186" y="276"/>
                </a:lnTo>
                <a:lnTo>
                  <a:pt x="187" y="277"/>
                </a:lnTo>
                <a:lnTo>
                  <a:pt x="189" y="278"/>
                </a:lnTo>
                <a:lnTo>
                  <a:pt x="189" y="279"/>
                </a:lnTo>
                <a:lnTo>
                  <a:pt x="192" y="281"/>
                </a:lnTo>
                <a:lnTo>
                  <a:pt x="193" y="281"/>
                </a:lnTo>
                <a:lnTo>
                  <a:pt x="194" y="282"/>
                </a:lnTo>
                <a:lnTo>
                  <a:pt x="195" y="283"/>
                </a:lnTo>
                <a:lnTo>
                  <a:pt x="198" y="284"/>
                </a:lnTo>
                <a:lnTo>
                  <a:pt x="201" y="284"/>
                </a:lnTo>
                <a:lnTo>
                  <a:pt x="206" y="286"/>
                </a:lnTo>
                <a:lnTo>
                  <a:pt x="208" y="288"/>
                </a:lnTo>
                <a:lnTo>
                  <a:pt x="211" y="289"/>
                </a:lnTo>
                <a:lnTo>
                  <a:pt x="217" y="292"/>
                </a:lnTo>
                <a:lnTo>
                  <a:pt x="222" y="294"/>
                </a:lnTo>
                <a:lnTo>
                  <a:pt x="224" y="293"/>
                </a:lnTo>
                <a:lnTo>
                  <a:pt x="226" y="296"/>
                </a:lnTo>
                <a:lnTo>
                  <a:pt x="233" y="300"/>
                </a:lnTo>
                <a:lnTo>
                  <a:pt x="234" y="302"/>
                </a:lnTo>
                <a:lnTo>
                  <a:pt x="236" y="302"/>
                </a:lnTo>
                <a:lnTo>
                  <a:pt x="237" y="303"/>
                </a:lnTo>
                <a:lnTo>
                  <a:pt x="238" y="303"/>
                </a:lnTo>
                <a:lnTo>
                  <a:pt x="242" y="304"/>
                </a:lnTo>
                <a:lnTo>
                  <a:pt x="249" y="305"/>
                </a:lnTo>
                <a:lnTo>
                  <a:pt x="253" y="307"/>
                </a:lnTo>
                <a:lnTo>
                  <a:pt x="254" y="307"/>
                </a:lnTo>
                <a:lnTo>
                  <a:pt x="255" y="307"/>
                </a:lnTo>
                <a:lnTo>
                  <a:pt x="257" y="309"/>
                </a:lnTo>
                <a:lnTo>
                  <a:pt x="262" y="309"/>
                </a:lnTo>
                <a:lnTo>
                  <a:pt x="263" y="309"/>
                </a:lnTo>
                <a:lnTo>
                  <a:pt x="265" y="308"/>
                </a:lnTo>
                <a:lnTo>
                  <a:pt x="266" y="307"/>
                </a:lnTo>
                <a:lnTo>
                  <a:pt x="269" y="305"/>
                </a:lnTo>
                <a:lnTo>
                  <a:pt x="273" y="305"/>
                </a:lnTo>
                <a:lnTo>
                  <a:pt x="279" y="300"/>
                </a:lnTo>
                <a:lnTo>
                  <a:pt x="280" y="299"/>
                </a:lnTo>
                <a:lnTo>
                  <a:pt x="283" y="298"/>
                </a:lnTo>
                <a:lnTo>
                  <a:pt x="288" y="298"/>
                </a:lnTo>
                <a:lnTo>
                  <a:pt x="292" y="299"/>
                </a:lnTo>
                <a:lnTo>
                  <a:pt x="297" y="303"/>
                </a:lnTo>
                <a:lnTo>
                  <a:pt x="304" y="306"/>
                </a:lnTo>
                <a:lnTo>
                  <a:pt x="308" y="312"/>
                </a:lnTo>
                <a:lnTo>
                  <a:pt x="310" y="315"/>
                </a:lnTo>
                <a:lnTo>
                  <a:pt x="315" y="320"/>
                </a:lnTo>
                <a:lnTo>
                  <a:pt x="317" y="324"/>
                </a:lnTo>
                <a:lnTo>
                  <a:pt x="322" y="328"/>
                </a:lnTo>
                <a:lnTo>
                  <a:pt x="323" y="327"/>
                </a:lnTo>
                <a:lnTo>
                  <a:pt x="324" y="323"/>
                </a:lnTo>
                <a:lnTo>
                  <a:pt x="325" y="322"/>
                </a:lnTo>
                <a:lnTo>
                  <a:pt x="325" y="320"/>
                </a:lnTo>
                <a:lnTo>
                  <a:pt x="325" y="318"/>
                </a:lnTo>
                <a:lnTo>
                  <a:pt x="325" y="318"/>
                </a:lnTo>
                <a:lnTo>
                  <a:pt x="326" y="316"/>
                </a:lnTo>
                <a:lnTo>
                  <a:pt x="328" y="313"/>
                </a:lnTo>
                <a:lnTo>
                  <a:pt x="328" y="313"/>
                </a:lnTo>
                <a:lnTo>
                  <a:pt x="337" y="300"/>
                </a:lnTo>
                <a:lnTo>
                  <a:pt x="345" y="299"/>
                </a:lnTo>
                <a:lnTo>
                  <a:pt x="351" y="299"/>
                </a:lnTo>
                <a:lnTo>
                  <a:pt x="353" y="300"/>
                </a:lnTo>
                <a:lnTo>
                  <a:pt x="353" y="299"/>
                </a:lnTo>
                <a:lnTo>
                  <a:pt x="353" y="295"/>
                </a:lnTo>
                <a:lnTo>
                  <a:pt x="353" y="293"/>
                </a:lnTo>
                <a:lnTo>
                  <a:pt x="350" y="291"/>
                </a:lnTo>
                <a:lnTo>
                  <a:pt x="349" y="287"/>
                </a:lnTo>
                <a:lnTo>
                  <a:pt x="345" y="285"/>
                </a:lnTo>
                <a:lnTo>
                  <a:pt x="339" y="276"/>
                </a:lnTo>
                <a:lnTo>
                  <a:pt x="339" y="277"/>
                </a:lnTo>
                <a:lnTo>
                  <a:pt x="348" y="277"/>
                </a:lnTo>
                <a:lnTo>
                  <a:pt x="349" y="268"/>
                </a:lnTo>
                <a:lnTo>
                  <a:pt x="377" y="268"/>
                </a:lnTo>
                <a:lnTo>
                  <a:pt x="381" y="267"/>
                </a:lnTo>
                <a:lnTo>
                  <a:pt x="383" y="267"/>
                </a:lnTo>
                <a:lnTo>
                  <a:pt x="388" y="258"/>
                </a:lnTo>
                <a:lnTo>
                  <a:pt x="389" y="257"/>
                </a:lnTo>
                <a:lnTo>
                  <a:pt x="390" y="257"/>
                </a:lnTo>
                <a:lnTo>
                  <a:pt x="391" y="255"/>
                </a:lnTo>
                <a:lnTo>
                  <a:pt x="395" y="251"/>
                </a:lnTo>
                <a:lnTo>
                  <a:pt x="397" y="251"/>
                </a:lnTo>
                <a:lnTo>
                  <a:pt x="396" y="256"/>
                </a:lnTo>
                <a:lnTo>
                  <a:pt x="397" y="256"/>
                </a:lnTo>
                <a:lnTo>
                  <a:pt x="398" y="257"/>
                </a:lnTo>
                <a:lnTo>
                  <a:pt x="397" y="262"/>
                </a:lnTo>
                <a:lnTo>
                  <a:pt x="397" y="265"/>
                </a:lnTo>
                <a:lnTo>
                  <a:pt x="398" y="264"/>
                </a:lnTo>
                <a:lnTo>
                  <a:pt x="401" y="257"/>
                </a:lnTo>
                <a:lnTo>
                  <a:pt x="401" y="254"/>
                </a:lnTo>
                <a:lnTo>
                  <a:pt x="405" y="246"/>
                </a:lnTo>
                <a:lnTo>
                  <a:pt x="406" y="243"/>
                </a:lnTo>
                <a:lnTo>
                  <a:pt x="406" y="242"/>
                </a:lnTo>
                <a:lnTo>
                  <a:pt x="405" y="241"/>
                </a:lnTo>
                <a:lnTo>
                  <a:pt x="407" y="238"/>
                </a:lnTo>
                <a:lnTo>
                  <a:pt x="407" y="236"/>
                </a:lnTo>
                <a:lnTo>
                  <a:pt x="405" y="235"/>
                </a:lnTo>
                <a:lnTo>
                  <a:pt x="407" y="233"/>
                </a:lnTo>
                <a:lnTo>
                  <a:pt x="409" y="229"/>
                </a:lnTo>
                <a:lnTo>
                  <a:pt x="409" y="226"/>
                </a:lnTo>
                <a:lnTo>
                  <a:pt x="414" y="221"/>
                </a:lnTo>
                <a:lnTo>
                  <a:pt x="416" y="218"/>
                </a:lnTo>
                <a:lnTo>
                  <a:pt x="420" y="214"/>
                </a:lnTo>
                <a:lnTo>
                  <a:pt x="421" y="211"/>
                </a:lnTo>
                <a:lnTo>
                  <a:pt x="422" y="207"/>
                </a:lnTo>
                <a:lnTo>
                  <a:pt x="421" y="204"/>
                </a:lnTo>
                <a:lnTo>
                  <a:pt x="420" y="202"/>
                </a:lnTo>
                <a:lnTo>
                  <a:pt x="411" y="201"/>
                </a:lnTo>
                <a:lnTo>
                  <a:pt x="408" y="204"/>
                </a:lnTo>
                <a:lnTo>
                  <a:pt x="408" y="201"/>
                </a:lnTo>
                <a:lnTo>
                  <a:pt x="404" y="198"/>
                </a:lnTo>
                <a:lnTo>
                  <a:pt x="400" y="199"/>
                </a:lnTo>
                <a:lnTo>
                  <a:pt x="394" y="202"/>
                </a:lnTo>
                <a:lnTo>
                  <a:pt x="390" y="203"/>
                </a:lnTo>
                <a:lnTo>
                  <a:pt x="384" y="204"/>
                </a:lnTo>
                <a:lnTo>
                  <a:pt x="379" y="204"/>
                </a:lnTo>
                <a:lnTo>
                  <a:pt x="376" y="204"/>
                </a:lnTo>
                <a:lnTo>
                  <a:pt x="373" y="206"/>
                </a:lnTo>
                <a:lnTo>
                  <a:pt x="370" y="206"/>
                </a:lnTo>
                <a:lnTo>
                  <a:pt x="366" y="209"/>
                </a:lnTo>
                <a:lnTo>
                  <a:pt x="365" y="213"/>
                </a:lnTo>
                <a:lnTo>
                  <a:pt x="363" y="222"/>
                </a:lnTo>
                <a:lnTo>
                  <a:pt x="360" y="227"/>
                </a:lnTo>
                <a:lnTo>
                  <a:pt x="359" y="232"/>
                </a:lnTo>
                <a:lnTo>
                  <a:pt x="357" y="234"/>
                </a:lnTo>
                <a:lnTo>
                  <a:pt x="356" y="238"/>
                </a:lnTo>
                <a:lnTo>
                  <a:pt x="354" y="242"/>
                </a:lnTo>
                <a:lnTo>
                  <a:pt x="350" y="245"/>
                </a:lnTo>
                <a:lnTo>
                  <a:pt x="346" y="247"/>
                </a:lnTo>
                <a:lnTo>
                  <a:pt x="346" y="254"/>
                </a:lnTo>
                <a:lnTo>
                  <a:pt x="340" y="256"/>
                </a:lnTo>
                <a:lnTo>
                  <a:pt x="337" y="257"/>
                </a:lnTo>
                <a:lnTo>
                  <a:pt x="336" y="256"/>
                </a:lnTo>
                <a:lnTo>
                  <a:pt x="335" y="255"/>
                </a:lnTo>
                <a:lnTo>
                  <a:pt x="335" y="253"/>
                </a:lnTo>
                <a:lnTo>
                  <a:pt x="333" y="252"/>
                </a:lnTo>
                <a:lnTo>
                  <a:pt x="328" y="252"/>
                </a:lnTo>
                <a:lnTo>
                  <a:pt x="326" y="253"/>
                </a:lnTo>
                <a:lnTo>
                  <a:pt x="324" y="254"/>
                </a:lnTo>
                <a:lnTo>
                  <a:pt x="319" y="256"/>
                </a:lnTo>
                <a:lnTo>
                  <a:pt x="316" y="257"/>
                </a:lnTo>
                <a:lnTo>
                  <a:pt x="314" y="256"/>
                </a:lnTo>
                <a:lnTo>
                  <a:pt x="305" y="258"/>
                </a:lnTo>
                <a:lnTo>
                  <a:pt x="298" y="262"/>
                </a:lnTo>
                <a:lnTo>
                  <a:pt x="294" y="262"/>
                </a:lnTo>
                <a:lnTo>
                  <a:pt x="290" y="259"/>
                </a:lnTo>
                <a:lnTo>
                  <a:pt x="288" y="255"/>
                </a:lnTo>
                <a:lnTo>
                  <a:pt x="287" y="254"/>
                </a:lnTo>
                <a:lnTo>
                  <a:pt x="287" y="254"/>
                </a:lnTo>
                <a:lnTo>
                  <a:pt x="283" y="254"/>
                </a:lnTo>
                <a:lnTo>
                  <a:pt x="279" y="252"/>
                </a:lnTo>
                <a:lnTo>
                  <a:pt x="277" y="252"/>
                </a:lnTo>
                <a:lnTo>
                  <a:pt x="276" y="251"/>
                </a:lnTo>
                <a:lnTo>
                  <a:pt x="275" y="248"/>
                </a:lnTo>
                <a:lnTo>
                  <a:pt x="274" y="247"/>
                </a:lnTo>
                <a:lnTo>
                  <a:pt x="273" y="245"/>
                </a:lnTo>
                <a:lnTo>
                  <a:pt x="272" y="244"/>
                </a:lnTo>
                <a:lnTo>
                  <a:pt x="270" y="244"/>
                </a:lnTo>
                <a:lnTo>
                  <a:pt x="270" y="244"/>
                </a:lnTo>
                <a:lnTo>
                  <a:pt x="270" y="241"/>
                </a:lnTo>
                <a:lnTo>
                  <a:pt x="268" y="229"/>
                </a:lnTo>
                <a:lnTo>
                  <a:pt x="267" y="227"/>
                </a:lnTo>
                <a:lnTo>
                  <a:pt x="265" y="225"/>
                </a:lnTo>
                <a:lnTo>
                  <a:pt x="263" y="222"/>
                </a:lnTo>
                <a:lnTo>
                  <a:pt x="262" y="219"/>
                </a:lnTo>
                <a:lnTo>
                  <a:pt x="258" y="212"/>
                </a:lnTo>
                <a:lnTo>
                  <a:pt x="258" y="208"/>
                </a:lnTo>
                <a:lnTo>
                  <a:pt x="258" y="207"/>
                </a:lnTo>
                <a:lnTo>
                  <a:pt x="260" y="205"/>
                </a:lnTo>
                <a:lnTo>
                  <a:pt x="260" y="203"/>
                </a:lnTo>
                <a:lnTo>
                  <a:pt x="260" y="202"/>
                </a:lnTo>
                <a:lnTo>
                  <a:pt x="256" y="195"/>
                </a:lnTo>
                <a:lnTo>
                  <a:pt x="255" y="190"/>
                </a:lnTo>
                <a:lnTo>
                  <a:pt x="255" y="186"/>
                </a:lnTo>
                <a:lnTo>
                  <a:pt x="257" y="180"/>
                </a:lnTo>
                <a:lnTo>
                  <a:pt x="259" y="168"/>
                </a:lnTo>
                <a:lnTo>
                  <a:pt x="259" y="164"/>
                </a:lnTo>
                <a:lnTo>
                  <a:pt x="259" y="161"/>
                </a:lnTo>
                <a:lnTo>
                  <a:pt x="258" y="160"/>
                </a:lnTo>
                <a:lnTo>
                  <a:pt x="259" y="154"/>
                </a:lnTo>
                <a:lnTo>
                  <a:pt x="260" y="147"/>
                </a:lnTo>
                <a:lnTo>
                  <a:pt x="260" y="146"/>
                </a:lnTo>
                <a:lnTo>
                  <a:pt x="260" y="145"/>
                </a:lnTo>
                <a:lnTo>
                  <a:pt x="263" y="141"/>
                </a:lnTo>
                <a:lnTo>
                  <a:pt x="264" y="138"/>
                </a:lnTo>
                <a:lnTo>
                  <a:pt x="266" y="135"/>
                </a:lnTo>
                <a:lnTo>
                  <a:pt x="266" y="133"/>
                </a:lnTo>
                <a:lnTo>
                  <a:pt x="267" y="132"/>
                </a:lnTo>
                <a:lnTo>
                  <a:pt x="270" y="133"/>
                </a:lnTo>
                <a:lnTo>
                  <a:pt x="272" y="133"/>
                </a:lnTo>
                <a:lnTo>
                  <a:pt x="274" y="130"/>
                </a:lnTo>
                <a:lnTo>
                  <a:pt x="275" y="128"/>
                </a:lnTo>
                <a:lnTo>
                  <a:pt x="276" y="125"/>
                </a:lnTo>
                <a:lnTo>
                  <a:pt x="275" y="125"/>
                </a:lnTo>
                <a:lnTo>
                  <a:pt x="275" y="127"/>
                </a:lnTo>
                <a:lnTo>
                  <a:pt x="274" y="128"/>
                </a:lnTo>
                <a:lnTo>
                  <a:pt x="273" y="128"/>
                </a:lnTo>
                <a:lnTo>
                  <a:pt x="273" y="128"/>
                </a:lnTo>
                <a:lnTo>
                  <a:pt x="273" y="126"/>
                </a:lnTo>
                <a:lnTo>
                  <a:pt x="275" y="123"/>
                </a:lnTo>
                <a:lnTo>
                  <a:pt x="270" y="123"/>
                </a:lnTo>
                <a:lnTo>
                  <a:pt x="266" y="120"/>
                </a:lnTo>
                <a:lnTo>
                  <a:pt x="258" y="120"/>
                </a:lnTo>
                <a:lnTo>
                  <a:pt x="255" y="116"/>
                </a:lnTo>
                <a:lnTo>
                  <a:pt x="251" y="116"/>
                </a:lnTo>
                <a:lnTo>
                  <a:pt x="247" y="113"/>
                </a:lnTo>
                <a:lnTo>
                  <a:pt x="244" y="105"/>
                </a:lnTo>
                <a:lnTo>
                  <a:pt x="243" y="91"/>
                </a:lnTo>
                <a:lnTo>
                  <a:pt x="238" y="87"/>
                </a:lnTo>
                <a:lnTo>
                  <a:pt x="237" y="82"/>
                </a:lnTo>
                <a:lnTo>
                  <a:pt x="234" y="77"/>
                </a:lnTo>
                <a:lnTo>
                  <a:pt x="232" y="64"/>
                </a:lnTo>
                <a:lnTo>
                  <a:pt x="229" y="62"/>
                </a:lnTo>
                <a:lnTo>
                  <a:pt x="228" y="59"/>
                </a:lnTo>
                <a:lnTo>
                  <a:pt x="225" y="54"/>
                </a:lnTo>
                <a:lnTo>
                  <a:pt x="223" y="51"/>
                </a:lnTo>
                <a:lnTo>
                  <a:pt x="211" y="52"/>
                </a:lnTo>
                <a:lnTo>
                  <a:pt x="207" y="51"/>
                </a:lnTo>
                <a:lnTo>
                  <a:pt x="204" y="52"/>
                </a:lnTo>
                <a:lnTo>
                  <a:pt x="203" y="53"/>
                </a:lnTo>
                <a:lnTo>
                  <a:pt x="193" y="66"/>
                </a:lnTo>
                <a:lnTo>
                  <a:pt x="186" y="65"/>
                </a:lnTo>
                <a:lnTo>
                  <a:pt x="181" y="61"/>
                </a:lnTo>
                <a:lnTo>
                  <a:pt x="177" y="56"/>
                </a:lnTo>
                <a:lnTo>
                  <a:pt x="174" y="51"/>
                </a:lnTo>
                <a:lnTo>
                  <a:pt x="174" y="36"/>
                </a:lnTo>
                <a:lnTo>
                  <a:pt x="168" y="31"/>
                </a:lnTo>
                <a:lnTo>
                  <a:pt x="164" y="25"/>
                </a:lnTo>
                <a:lnTo>
                  <a:pt x="163" y="22"/>
                </a:lnTo>
                <a:lnTo>
                  <a:pt x="160" y="21"/>
                </a:lnTo>
                <a:lnTo>
                  <a:pt x="158" y="16"/>
                </a:lnTo>
                <a:lnTo>
                  <a:pt x="157" y="16"/>
                </a:lnTo>
                <a:lnTo>
                  <a:pt x="155" y="14"/>
                </a:lnTo>
                <a:lnTo>
                  <a:pt x="131" y="14"/>
                </a:lnTo>
                <a:lnTo>
                  <a:pt x="127" y="23"/>
                </a:lnTo>
                <a:lnTo>
                  <a:pt x="115" y="23"/>
                </a:lnTo>
                <a:lnTo>
                  <a:pt x="86" y="23"/>
                </a:lnTo>
                <a:lnTo>
                  <a:pt x="35" y="1"/>
                </a:lnTo>
                <a:lnTo>
                  <a:pt x="35" y="0"/>
                </a:lnTo>
                <a:lnTo>
                  <a:pt x="0" y="2"/>
                </a:lnTo>
                <a:lnTo>
                  <a:pt x="1" y="4"/>
                </a:lnTo>
                <a:lnTo>
                  <a:pt x="1" y="6"/>
                </a:lnTo>
                <a:lnTo>
                  <a:pt x="1" y="9"/>
                </a:lnTo>
                <a:lnTo>
                  <a:pt x="1" y="11"/>
                </a:lnTo>
                <a:lnTo>
                  <a:pt x="2" y="13"/>
                </a:lnTo>
                <a:lnTo>
                  <a:pt x="2" y="14"/>
                </a:lnTo>
                <a:lnTo>
                  <a:pt x="3" y="14"/>
                </a:lnTo>
                <a:lnTo>
                  <a:pt x="3" y="15"/>
                </a:lnTo>
                <a:lnTo>
                  <a:pt x="2" y="20"/>
                </a:lnTo>
                <a:lnTo>
                  <a:pt x="4" y="27"/>
                </a:lnTo>
                <a:lnTo>
                  <a:pt x="4" y="30"/>
                </a:lnTo>
                <a:lnTo>
                  <a:pt x="4" y="31"/>
                </a:lnTo>
                <a:lnTo>
                  <a:pt x="4" y="31"/>
                </a:lnTo>
                <a:lnTo>
                  <a:pt x="5" y="32"/>
                </a:lnTo>
                <a:lnTo>
                  <a:pt x="5" y="33"/>
                </a:lnTo>
                <a:lnTo>
                  <a:pt x="5" y="39"/>
                </a:lnTo>
                <a:lnTo>
                  <a:pt x="5" y="41"/>
                </a:lnTo>
                <a:lnTo>
                  <a:pt x="5" y="42"/>
                </a:lnTo>
                <a:lnTo>
                  <a:pt x="6" y="41"/>
                </a:lnTo>
                <a:lnTo>
                  <a:pt x="8" y="41"/>
                </a:lnTo>
                <a:lnTo>
                  <a:pt x="8" y="43"/>
                </a:lnTo>
                <a:lnTo>
                  <a:pt x="6" y="50"/>
                </a:lnTo>
                <a:lnTo>
                  <a:pt x="6" y="53"/>
                </a:lnTo>
                <a:lnTo>
                  <a:pt x="6" y="54"/>
                </a:lnTo>
                <a:lnTo>
                  <a:pt x="10" y="54"/>
                </a:lnTo>
                <a:lnTo>
                  <a:pt x="10" y="55"/>
                </a:lnTo>
                <a:lnTo>
                  <a:pt x="12" y="56"/>
                </a:lnTo>
                <a:lnTo>
                  <a:pt x="13" y="59"/>
                </a:lnTo>
                <a:lnTo>
                  <a:pt x="15" y="60"/>
                </a:lnTo>
                <a:lnTo>
                  <a:pt x="16" y="61"/>
                </a:lnTo>
                <a:lnTo>
                  <a:pt x="16" y="64"/>
                </a:lnTo>
                <a:lnTo>
                  <a:pt x="17" y="65"/>
                </a:lnTo>
                <a:lnTo>
                  <a:pt x="20" y="69"/>
                </a:lnTo>
                <a:lnTo>
                  <a:pt x="21" y="69"/>
                </a:lnTo>
                <a:lnTo>
                  <a:pt x="24" y="76"/>
                </a:lnTo>
                <a:lnTo>
                  <a:pt x="24" y="79"/>
                </a:lnTo>
                <a:lnTo>
                  <a:pt x="23" y="81"/>
                </a:lnTo>
                <a:lnTo>
                  <a:pt x="24" y="82"/>
                </a:lnTo>
                <a:lnTo>
                  <a:pt x="23" y="83"/>
                </a:lnTo>
                <a:lnTo>
                  <a:pt x="23" y="84"/>
                </a:lnTo>
                <a:lnTo>
                  <a:pt x="21" y="84"/>
                </a:lnTo>
                <a:lnTo>
                  <a:pt x="20" y="85"/>
                </a:lnTo>
                <a:lnTo>
                  <a:pt x="20" y="87"/>
                </a:lnTo>
                <a:lnTo>
                  <a:pt x="20" y="87"/>
                </a:lnTo>
                <a:lnTo>
                  <a:pt x="20" y="89"/>
                </a:lnTo>
                <a:lnTo>
                  <a:pt x="19" y="87"/>
                </a:lnTo>
                <a:lnTo>
                  <a:pt x="13" y="89"/>
                </a:lnTo>
                <a:lnTo>
                  <a:pt x="8" y="89"/>
                </a:lnTo>
                <a:lnTo>
                  <a:pt x="6" y="91"/>
                </a:lnTo>
                <a:lnTo>
                  <a:pt x="6" y="91"/>
                </a:lnTo>
                <a:lnTo>
                  <a:pt x="8" y="90"/>
                </a:lnTo>
                <a:lnTo>
                  <a:pt x="11" y="93"/>
                </a:lnTo>
                <a:lnTo>
                  <a:pt x="13" y="94"/>
                </a:lnTo>
                <a:lnTo>
                  <a:pt x="13" y="95"/>
                </a:lnTo>
                <a:lnTo>
                  <a:pt x="13" y="98"/>
                </a:lnTo>
                <a:lnTo>
                  <a:pt x="14" y="100"/>
                </a:lnTo>
                <a:lnTo>
                  <a:pt x="16" y="100"/>
                </a:lnTo>
                <a:lnTo>
                  <a:pt x="17" y="101"/>
                </a:lnTo>
                <a:lnTo>
                  <a:pt x="19" y="103"/>
                </a:lnTo>
                <a:lnTo>
                  <a:pt x="20" y="103"/>
                </a:lnTo>
                <a:lnTo>
                  <a:pt x="22" y="104"/>
                </a:lnTo>
                <a:lnTo>
                  <a:pt x="23" y="106"/>
                </a:lnTo>
                <a:lnTo>
                  <a:pt x="24" y="107"/>
                </a:lnTo>
                <a:lnTo>
                  <a:pt x="27" y="107"/>
                </a:lnTo>
                <a:lnTo>
                  <a:pt x="32" y="104"/>
                </a:lnTo>
                <a:lnTo>
                  <a:pt x="32" y="105"/>
                </a:lnTo>
                <a:lnTo>
                  <a:pt x="31" y="107"/>
                </a:lnTo>
                <a:lnTo>
                  <a:pt x="32" y="110"/>
                </a:lnTo>
                <a:lnTo>
                  <a:pt x="34" y="114"/>
                </a:lnTo>
                <a:lnTo>
                  <a:pt x="36" y="116"/>
                </a:lnTo>
                <a:lnTo>
                  <a:pt x="39" y="117"/>
                </a:lnTo>
                <a:lnTo>
                  <a:pt x="40" y="117"/>
                </a:lnTo>
                <a:lnTo>
                  <a:pt x="41" y="120"/>
                </a:lnTo>
                <a:lnTo>
                  <a:pt x="42" y="126"/>
                </a:lnTo>
                <a:lnTo>
                  <a:pt x="42" y="128"/>
                </a:lnTo>
                <a:lnTo>
                  <a:pt x="41" y="135"/>
                </a:lnTo>
                <a:lnTo>
                  <a:pt x="39" y="141"/>
                </a:lnTo>
                <a:lnTo>
                  <a:pt x="37" y="143"/>
                </a:lnTo>
                <a:lnTo>
                  <a:pt x="36" y="144"/>
                </a:lnTo>
                <a:lnTo>
                  <a:pt x="37" y="143"/>
                </a:lnTo>
                <a:lnTo>
                  <a:pt x="39" y="143"/>
                </a:lnTo>
                <a:lnTo>
                  <a:pt x="39" y="144"/>
                </a:lnTo>
                <a:lnTo>
                  <a:pt x="41" y="144"/>
                </a:lnTo>
                <a:lnTo>
                  <a:pt x="42" y="145"/>
                </a:lnTo>
                <a:lnTo>
                  <a:pt x="42" y="146"/>
                </a:lnTo>
                <a:lnTo>
                  <a:pt x="43" y="147"/>
                </a:lnTo>
                <a:lnTo>
                  <a:pt x="45" y="148"/>
                </a:lnTo>
                <a:lnTo>
                  <a:pt x="45" y="150"/>
                </a:lnTo>
                <a:lnTo>
                  <a:pt x="47" y="153"/>
                </a:lnTo>
                <a:lnTo>
                  <a:pt x="52" y="156"/>
                </a:lnTo>
                <a:lnTo>
                  <a:pt x="53" y="157"/>
                </a:lnTo>
                <a:lnTo>
                  <a:pt x="59" y="163"/>
                </a:lnTo>
                <a:lnTo>
                  <a:pt x="60" y="164"/>
                </a:lnTo>
                <a:lnTo>
                  <a:pt x="63" y="168"/>
                </a:lnTo>
                <a:lnTo>
                  <a:pt x="64" y="175"/>
                </a:lnTo>
                <a:lnTo>
                  <a:pt x="65" y="177"/>
                </a:lnTo>
                <a:lnTo>
                  <a:pt x="66" y="178"/>
                </a:lnTo>
                <a:lnTo>
                  <a:pt x="69" y="176"/>
                </a:lnTo>
                <a:lnTo>
                  <a:pt x="71" y="175"/>
                </a:lnTo>
                <a:lnTo>
                  <a:pt x="73" y="173"/>
                </a:lnTo>
                <a:lnTo>
                  <a:pt x="74" y="171"/>
                </a:lnTo>
                <a:lnTo>
                  <a:pt x="75" y="168"/>
                </a:lnTo>
                <a:lnTo>
                  <a:pt x="75" y="166"/>
                </a:lnTo>
                <a:lnTo>
                  <a:pt x="74" y="165"/>
                </a:lnTo>
                <a:lnTo>
                  <a:pt x="73" y="163"/>
                </a:lnTo>
                <a:lnTo>
                  <a:pt x="72" y="160"/>
                </a:lnTo>
                <a:lnTo>
                  <a:pt x="72" y="157"/>
                </a:lnTo>
                <a:lnTo>
                  <a:pt x="69" y="155"/>
                </a:lnTo>
                <a:lnTo>
                  <a:pt x="66" y="153"/>
                </a:lnTo>
                <a:lnTo>
                  <a:pt x="63" y="155"/>
                </a:lnTo>
                <a:lnTo>
                  <a:pt x="62" y="154"/>
                </a:lnTo>
                <a:lnTo>
                  <a:pt x="61" y="153"/>
                </a:lnTo>
                <a:lnTo>
                  <a:pt x="60" y="148"/>
                </a:lnTo>
                <a:lnTo>
                  <a:pt x="60" y="147"/>
                </a:lnTo>
                <a:lnTo>
                  <a:pt x="61" y="142"/>
                </a:lnTo>
                <a:lnTo>
                  <a:pt x="59" y="137"/>
                </a:lnTo>
                <a:lnTo>
                  <a:pt x="59" y="136"/>
                </a:lnTo>
                <a:lnTo>
                  <a:pt x="57" y="136"/>
                </a:lnTo>
                <a:lnTo>
                  <a:pt x="60" y="131"/>
                </a:lnTo>
                <a:lnTo>
                  <a:pt x="57" y="128"/>
                </a:lnTo>
                <a:lnTo>
                  <a:pt x="56" y="127"/>
                </a:lnTo>
                <a:lnTo>
                  <a:pt x="55" y="125"/>
                </a:lnTo>
                <a:lnTo>
                  <a:pt x="55" y="123"/>
                </a:lnTo>
                <a:lnTo>
                  <a:pt x="56" y="116"/>
                </a:lnTo>
                <a:lnTo>
                  <a:pt x="55" y="116"/>
                </a:lnTo>
                <a:lnTo>
                  <a:pt x="55" y="114"/>
                </a:lnTo>
                <a:lnTo>
                  <a:pt x="55" y="110"/>
                </a:lnTo>
                <a:lnTo>
                  <a:pt x="53" y="106"/>
                </a:lnTo>
                <a:lnTo>
                  <a:pt x="52" y="106"/>
                </a:lnTo>
                <a:lnTo>
                  <a:pt x="51" y="111"/>
                </a:lnTo>
                <a:lnTo>
                  <a:pt x="52" y="112"/>
                </a:lnTo>
                <a:lnTo>
                  <a:pt x="52" y="112"/>
                </a:lnTo>
                <a:lnTo>
                  <a:pt x="51" y="110"/>
                </a:lnTo>
                <a:lnTo>
                  <a:pt x="51" y="107"/>
                </a:lnTo>
                <a:lnTo>
                  <a:pt x="50" y="105"/>
                </a:lnTo>
                <a:lnTo>
                  <a:pt x="50" y="103"/>
                </a:lnTo>
                <a:lnTo>
                  <a:pt x="50" y="103"/>
                </a:lnTo>
                <a:lnTo>
                  <a:pt x="50" y="102"/>
                </a:lnTo>
                <a:lnTo>
                  <a:pt x="47" y="100"/>
                </a:lnTo>
                <a:lnTo>
                  <a:pt x="47" y="97"/>
                </a:lnTo>
                <a:lnTo>
                  <a:pt x="46" y="94"/>
                </a:lnTo>
                <a:lnTo>
                  <a:pt x="43" y="89"/>
                </a:lnTo>
                <a:lnTo>
                  <a:pt x="43" y="85"/>
                </a:lnTo>
                <a:lnTo>
                  <a:pt x="43" y="82"/>
                </a:lnTo>
                <a:lnTo>
                  <a:pt x="43" y="80"/>
                </a:lnTo>
                <a:lnTo>
                  <a:pt x="43" y="79"/>
                </a:lnTo>
                <a:lnTo>
                  <a:pt x="43" y="79"/>
                </a:lnTo>
                <a:lnTo>
                  <a:pt x="43" y="77"/>
                </a:lnTo>
                <a:lnTo>
                  <a:pt x="42" y="76"/>
                </a:lnTo>
                <a:lnTo>
                  <a:pt x="41" y="77"/>
                </a:lnTo>
                <a:lnTo>
                  <a:pt x="41" y="76"/>
                </a:lnTo>
                <a:lnTo>
                  <a:pt x="40" y="74"/>
                </a:lnTo>
                <a:lnTo>
                  <a:pt x="40" y="70"/>
                </a:lnTo>
                <a:lnTo>
                  <a:pt x="40" y="71"/>
                </a:lnTo>
                <a:lnTo>
                  <a:pt x="39" y="70"/>
                </a:lnTo>
                <a:lnTo>
                  <a:pt x="37" y="69"/>
                </a:lnTo>
                <a:lnTo>
                  <a:pt x="36" y="69"/>
                </a:lnTo>
                <a:lnTo>
                  <a:pt x="35" y="64"/>
                </a:lnTo>
                <a:lnTo>
                  <a:pt x="35" y="62"/>
                </a:lnTo>
                <a:lnTo>
                  <a:pt x="31" y="57"/>
                </a:lnTo>
                <a:lnTo>
                  <a:pt x="30" y="55"/>
                </a:lnTo>
                <a:lnTo>
                  <a:pt x="30" y="54"/>
                </a:lnTo>
                <a:lnTo>
                  <a:pt x="30" y="53"/>
                </a:lnTo>
                <a:lnTo>
                  <a:pt x="27" y="53"/>
                </a:lnTo>
                <a:lnTo>
                  <a:pt x="27" y="52"/>
                </a:lnTo>
                <a:lnTo>
                  <a:pt x="27" y="50"/>
                </a:lnTo>
                <a:lnTo>
                  <a:pt x="26" y="47"/>
                </a:lnTo>
                <a:lnTo>
                  <a:pt x="25" y="46"/>
                </a:lnTo>
                <a:lnTo>
                  <a:pt x="26" y="40"/>
                </a:lnTo>
                <a:lnTo>
                  <a:pt x="27" y="34"/>
                </a:lnTo>
                <a:lnTo>
                  <a:pt x="29" y="32"/>
                </a:lnTo>
                <a:lnTo>
                  <a:pt x="27" y="30"/>
                </a:lnTo>
                <a:lnTo>
                  <a:pt x="27" y="27"/>
                </a:lnTo>
                <a:lnTo>
                  <a:pt x="29" y="22"/>
                </a:lnTo>
                <a:lnTo>
                  <a:pt x="30" y="20"/>
                </a:lnTo>
                <a:lnTo>
                  <a:pt x="31" y="17"/>
                </a:lnTo>
                <a:lnTo>
                  <a:pt x="31" y="1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97" name="Freeform 697"/>
          <p:cNvSpPr>
            <a:spLocks/>
          </p:cNvSpPr>
          <p:nvPr/>
        </p:nvSpPr>
        <p:spPr bwMode="auto">
          <a:xfrm>
            <a:off x="2338388" y="3219415"/>
            <a:ext cx="306387" cy="479425"/>
          </a:xfrm>
          <a:custGeom>
            <a:avLst/>
            <a:gdLst>
              <a:gd name="T0" fmla="*/ 126 w 193"/>
              <a:gd name="T1" fmla="*/ 0 h 302"/>
              <a:gd name="T2" fmla="*/ 119 w 193"/>
              <a:gd name="T3" fmla="*/ 5 h 302"/>
              <a:gd name="T4" fmla="*/ 98 w 193"/>
              <a:gd name="T5" fmla="*/ 19 h 302"/>
              <a:gd name="T6" fmla="*/ 82 w 193"/>
              <a:gd name="T7" fmla="*/ 21 h 302"/>
              <a:gd name="T8" fmla="*/ 78 w 193"/>
              <a:gd name="T9" fmla="*/ 27 h 302"/>
              <a:gd name="T10" fmla="*/ 60 w 193"/>
              <a:gd name="T11" fmla="*/ 33 h 302"/>
              <a:gd name="T12" fmla="*/ 51 w 193"/>
              <a:gd name="T13" fmla="*/ 56 h 302"/>
              <a:gd name="T14" fmla="*/ 38 w 193"/>
              <a:gd name="T15" fmla="*/ 70 h 302"/>
              <a:gd name="T16" fmla="*/ 37 w 193"/>
              <a:gd name="T17" fmla="*/ 80 h 302"/>
              <a:gd name="T18" fmla="*/ 29 w 193"/>
              <a:gd name="T19" fmla="*/ 74 h 302"/>
              <a:gd name="T20" fmla="*/ 30 w 193"/>
              <a:gd name="T21" fmla="*/ 82 h 302"/>
              <a:gd name="T22" fmla="*/ 20 w 193"/>
              <a:gd name="T23" fmla="*/ 91 h 302"/>
              <a:gd name="T24" fmla="*/ 26 w 193"/>
              <a:gd name="T25" fmla="*/ 106 h 302"/>
              <a:gd name="T26" fmla="*/ 26 w 193"/>
              <a:gd name="T27" fmla="*/ 126 h 302"/>
              <a:gd name="T28" fmla="*/ 25 w 193"/>
              <a:gd name="T29" fmla="*/ 153 h 302"/>
              <a:gd name="T30" fmla="*/ 34 w 193"/>
              <a:gd name="T31" fmla="*/ 155 h 302"/>
              <a:gd name="T32" fmla="*/ 21 w 193"/>
              <a:gd name="T33" fmla="*/ 177 h 302"/>
              <a:gd name="T34" fmla="*/ 6 w 193"/>
              <a:gd name="T35" fmla="*/ 185 h 302"/>
              <a:gd name="T36" fmla="*/ 0 w 193"/>
              <a:gd name="T37" fmla="*/ 198 h 302"/>
              <a:gd name="T38" fmla="*/ 12 w 193"/>
              <a:gd name="T39" fmla="*/ 209 h 302"/>
              <a:gd name="T40" fmla="*/ 30 w 193"/>
              <a:gd name="T41" fmla="*/ 223 h 302"/>
              <a:gd name="T42" fmla="*/ 45 w 193"/>
              <a:gd name="T43" fmla="*/ 221 h 302"/>
              <a:gd name="T44" fmla="*/ 58 w 193"/>
              <a:gd name="T45" fmla="*/ 228 h 302"/>
              <a:gd name="T46" fmla="*/ 69 w 193"/>
              <a:gd name="T47" fmla="*/ 234 h 302"/>
              <a:gd name="T48" fmla="*/ 80 w 193"/>
              <a:gd name="T49" fmla="*/ 247 h 302"/>
              <a:gd name="T50" fmla="*/ 87 w 193"/>
              <a:gd name="T51" fmla="*/ 258 h 302"/>
              <a:gd name="T52" fmla="*/ 93 w 193"/>
              <a:gd name="T53" fmla="*/ 269 h 302"/>
              <a:gd name="T54" fmla="*/ 107 w 193"/>
              <a:gd name="T55" fmla="*/ 272 h 302"/>
              <a:gd name="T56" fmla="*/ 113 w 193"/>
              <a:gd name="T57" fmla="*/ 268 h 302"/>
              <a:gd name="T58" fmla="*/ 127 w 193"/>
              <a:gd name="T59" fmla="*/ 268 h 302"/>
              <a:gd name="T60" fmla="*/ 142 w 193"/>
              <a:gd name="T61" fmla="*/ 280 h 302"/>
              <a:gd name="T62" fmla="*/ 135 w 193"/>
              <a:gd name="T63" fmla="*/ 296 h 302"/>
              <a:gd name="T64" fmla="*/ 146 w 193"/>
              <a:gd name="T65" fmla="*/ 302 h 302"/>
              <a:gd name="T66" fmla="*/ 148 w 193"/>
              <a:gd name="T67" fmla="*/ 284 h 302"/>
              <a:gd name="T68" fmla="*/ 153 w 193"/>
              <a:gd name="T69" fmla="*/ 250 h 302"/>
              <a:gd name="T70" fmla="*/ 142 w 193"/>
              <a:gd name="T71" fmla="*/ 217 h 302"/>
              <a:gd name="T72" fmla="*/ 156 w 193"/>
              <a:gd name="T73" fmla="*/ 217 h 302"/>
              <a:gd name="T74" fmla="*/ 151 w 193"/>
              <a:gd name="T75" fmla="*/ 208 h 302"/>
              <a:gd name="T76" fmla="*/ 147 w 193"/>
              <a:gd name="T77" fmla="*/ 205 h 302"/>
              <a:gd name="T78" fmla="*/ 172 w 193"/>
              <a:gd name="T79" fmla="*/ 190 h 302"/>
              <a:gd name="T80" fmla="*/ 184 w 193"/>
              <a:gd name="T81" fmla="*/ 190 h 302"/>
              <a:gd name="T82" fmla="*/ 192 w 193"/>
              <a:gd name="T83" fmla="*/ 200 h 302"/>
              <a:gd name="T84" fmla="*/ 183 w 193"/>
              <a:gd name="T85" fmla="*/ 171 h 302"/>
              <a:gd name="T86" fmla="*/ 188 w 193"/>
              <a:gd name="T87" fmla="*/ 163 h 302"/>
              <a:gd name="T88" fmla="*/ 181 w 193"/>
              <a:gd name="T89" fmla="*/ 150 h 302"/>
              <a:gd name="T90" fmla="*/ 181 w 193"/>
              <a:gd name="T91" fmla="*/ 133 h 302"/>
              <a:gd name="T92" fmla="*/ 187 w 193"/>
              <a:gd name="T93" fmla="*/ 117 h 302"/>
              <a:gd name="T94" fmla="*/ 172 w 193"/>
              <a:gd name="T95" fmla="*/ 117 h 302"/>
              <a:gd name="T96" fmla="*/ 161 w 193"/>
              <a:gd name="T97" fmla="*/ 114 h 302"/>
              <a:gd name="T98" fmla="*/ 147 w 193"/>
              <a:gd name="T99" fmla="*/ 101 h 302"/>
              <a:gd name="T100" fmla="*/ 132 w 193"/>
              <a:gd name="T101" fmla="*/ 97 h 302"/>
              <a:gd name="T102" fmla="*/ 112 w 193"/>
              <a:gd name="T103" fmla="*/ 93 h 302"/>
              <a:gd name="T104" fmla="*/ 107 w 193"/>
              <a:gd name="T105" fmla="*/ 73 h 302"/>
              <a:gd name="T106" fmla="*/ 101 w 193"/>
              <a:gd name="T107" fmla="*/ 59 h 302"/>
              <a:gd name="T108" fmla="*/ 116 w 193"/>
              <a:gd name="T109" fmla="*/ 20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93" h="302">
                <a:moveTo>
                  <a:pt x="129" y="11"/>
                </a:moveTo>
                <a:lnTo>
                  <a:pt x="131" y="10"/>
                </a:lnTo>
                <a:lnTo>
                  <a:pt x="132" y="8"/>
                </a:lnTo>
                <a:lnTo>
                  <a:pt x="132" y="5"/>
                </a:lnTo>
                <a:lnTo>
                  <a:pt x="130" y="2"/>
                </a:lnTo>
                <a:lnTo>
                  <a:pt x="126" y="0"/>
                </a:lnTo>
                <a:lnTo>
                  <a:pt x="123" y="2"/>
                </a:lnTo>
                <a:lnTo>
                  <a:pt x="122" y="2"/>
                </a:lnTo>
                <a:lnTo>
                  <a:pt x="122" y="2"/>
                </a:lnTo>
                <a:lnTo>
                  <a:pt x="121" y="5"/>
                </a:lnTo>
                <a:lnTo>
                  <a:pt x="120" y="5"/>
                </a:lnTo>
                <a:lnTo>
                  <a:pt x="119" y="5"/>
                </a:lnTo>
                <a:lnTo>
                  <a:pt x="118" y="6"/>
                </a:lnTo>
                <a:lnTo>
                  <a:pt x="118" y="8"/>
                </a:lnTo>
                <a:lnTo>
                  <a:pt x="116" y="10"/>
                </a:lnTo>
                <a:lnTo>
                  <a:pt x="113" y="11"/>
                </a:lnTo>
                <a:lnTo>
                  <a:pt x="107" y="15"/>
                </a:lnTo>
                <a:lnTo>
                  <a:pt x="98" y="19"/>
                </a:lnTo>
                <a:lnTo>
                  <a:pt x="97" y="20"/>
                </a:lnTo>
                <a:lnTo>
                  <a:pt x="91" y="21"/>
                </a:lnTo>
                <a:lnTo>
                  <a:pt x="89" y="21"/>
                </a:lnTo>
                <a:lnTo>
                  <a:pt x="86" y="21"/>
                </a:lnTo>
                <a:lnTo>
                  <a:pt x="83" y="21"/>
                </a:lnTo>
                <a:lnTo>
                  <a:pt x="82" y="21"/>
                </a:lnTo>
                <a:lnTo>
                  <a:pt x="81" y="23"/>
                </a:lnTo>
                <a:lnTo>
                  <a:pt x="80" y="27"/>
                </a:lnTo>
                <a:lnTo>
                  <a:pt x="79" y="30"/>
                </a:lnTo>
                <a:lnTo>
                  <a:pt x="78" y="30"/>
                </a:lnTo>
                <a:lnTo>
                  <a:pt x="78" y="30"/>
                </a:lnTo>
                <a:lnTo>
                  <a:pt x="78" y="27"/>
                </a:lnTo>
                <a:lnTo>
                  <a:pt x="77" y="27"/>
                </a:lnTo>
                <a:lnTo>
                  <a:pt x="73" y="27"/>
                </a:lnTo>
                <a:lnTo>
                  <a:pt x="70" y="27"/>
                </a:lnTo>
                <a:lnTo>
                  <a:pt x="69" y="27"/>
                </a:lnTo>
                <a:lnTo>
                  <a:pt x="62" y="31"/>
                </a:lnTo>
                <a:lnTo>
                  <a:pt x="60" y="33"/>
                </a:lnTo>
                <a:lnTo>
                  <a:pt x="60" y="36"/>
                </a:lnTo>
                <a:lnTo>
                  <a:pt x="59" y="42"/>
                </a:lnTo>
                <a:lnTo>
                  <a:pt x="58" y="48"/>
                </a:lnTo>
                <a:lnTo>
                  <a:pt x="57" y="52"/>
                </a:lnTo>
                <a:lnTo>
                  <a:pt x="56" y="54"/>
                </a:lnTo>
                <a:lnTo>
                  <a:pt x="51" y="56"/>
                </a:lnTo>
                <a:lnTo>
                  <a:pt x="50" y="57"/>
                </a:lnTo>
                <a:lnTo>
                  <a:pt x="47" y="62"/>
                </a:lnTo>
                <a:lnTo>
                  <a:pt x="46" y="63"/>
                </a:lnTo>
                <a:lnTo>
                  <a:pt x="44" y="66"/>
                </a:lnTo>
                <a:lnTo>
                  <a:pt x="38" y="69"/>
                </a:lnTo>
                <a:lnTo>
                  <a:pt x="38" y="70"/>
                </a:lnTo>
                <a:lnTo>
                  <a:pt x="38" y="71"/>
                </a:lnTo>
                <a:lnTo>
                  <a:pt x="38" y="72"/>
                </a:lnTo>
                <a:lnTo>
                  <a:pt x="39" y="79"/>
                </a:lnTo>
                <a:lnTo>
                  <a:pt x="38" y="81"/>
                </a:lnTo>
                <a:lnTo>
                  <a:pt x="38" y="81"/>
                </a:lnTo>
                <a:lnTo>
                  <a:pt x="37" y="80"/>
                </a:lnTo>
                <a:lnTo>
                  <a:pt x="34" y="76"/>
                </a:lnTo>
                <a:lnTo>
                  <a:pt x="29" y="69"/>
                </a:lnTo>
                <a:lnTo>
                  <a:pt x="29" y="70"/>
                </a:lnTo>
                <a:lnTo>
                  <a:pt x="28" y="73"/>
                </a:lnTo>
                <a:lnTo>
                  <a:pt x="28" y="73"/>
                </a:lnTo>
                <a:lnTo>
                  <a:pt x="29" y="74"/>
                </a:lnTo>
                <a:lnTo>
                  <a:pt x="30" y="77"/>
                </a:lnTo>
                <a:lnTo>
                  <a:pt x="30" y="79"/>
                </a:lnTo>
                <a:lnTo>
                  <a:pt x="31" y="79"/>
                </a:lnTo>
                <a:lnTo>
                  <a:pt x="31" y="80"/>
                </a:lnTo>
                <a:lnTo>
                  <a:pt x="31" y="81"/>
                </a:lnTo>
                <a:lnTo>
                  <a:pt x="30" y="82"/>
                </a:lnTo>
                <a:lnTo>
                  <a:pt x="27" y="87"/>
                </a:lnTo>
                <a:lnTo>
                  <a:pt x="26" y="88"/>
                </a:lnTo>
                <a:lnTo>
                  <a:pt x="25" y="87"/>
                </a:lnTo>
                <a:lnTo>
                  <a:pt x="24" y="87"/>
                </a:lnTo>
                <a:lnTo>
                  <a:pt x="22" y="90"/>
                </a:lnTo>
                <a:lnTo>
                  <a:pt x="20" y="91"/>
                </a:lnTo>
                <a:lnTo>
                  <a:pt x="20" y="93"/>
                </a:lnTo>
                <a:lnTo>
                  <a:pt x="20" y="93"/>
                </a:lnTo>
                <a:lnTo>
                  <a:pt x="20" y="94"/>
                </a:lnTo>
                <a:lnTo>
                  <a:pt x="22" y="101"/>
                </a:lnTo>
                <a:lnTo>
                  <a:pt x="22" y="102"/>
                </a:lnTo>
                <a:lnTo>
                  <a:pt x="26" y="106"/>
                </a:lnTo>
                <a:lnTo>
                  <a:pt x="27" y="108"/>
                </a:lnTo>
                <a:lnTo>
                  <a:pt x="28" y="109"/>
                </a:lnTo>
                <a:lnTo>
                  <a:pt x="27" y="117"/>
                </a:lnTo>
                <a:lnTo>
                  <a:pt x="28" y="121"/>
                </a:lnTo>
                <a:lnTo>
                  <a:pt x="28" y="123"/>
                </a:lnTo>
                <a:lnTo>
                  <a:pt x="26" y="126"/>
                </a:lnTo>
                <a:lnTo>
                  <a:pt x="26" y="128"/>
                </a:lnTo>
                <a:lnTo>
                  <a:pt x="26" y="136"/>
                </a:lnTo>
                <a:lnTo>
                  <a:pt x="27" y="142"/>
                </a:lnTo>
                <a:lnTo>
                  <a:pt x="27" y="145"/>
                </a:lnTo>
                <a:lnTo>
                  <a:pt x="26" y="150"/>
                </a:lnTo>
                <a:lnTo>
                  <a:pt x="25" y="153"/>
                </a:lnTo>
                <a:lnTo>
                  <a:pt x="26" y="155"/>
                </a:lnTo>
                <a:lnTo>
                  <a:pt x="28" y="155"/>
                </a:lnTo>
                <a:lnTo>
                  <a:pt x="29" y="157"/>
                </a:lnTo>
                <a:lnTo>
                  <a:pt x="31" y="155"/>
                </a:lnTo>
                <a:lnTo>
                  <a:pt x="34" y="154"/>
                </a:lnTo>
                <a:lnTo>
                  <a:pt x="34" y="155"/>
                </a:lnTo>
                <a:lnTo>
                  <a:pt x="32" y="157"/>
                </a:lnTo>
                <a:lnTo>
                  <a:pt x="32" y="159"/>
                </a:lnTo>
                <a:lnTo>
                  <a:pt x="28" y="162"/>
                </a:lnTo>
                <a:lnTo>
                  <a:pt x="24" y="168"/>
                </a:lnTo>
                <a:lnTo>
                  <a:pt x="21" y="175"/>
                </a:lnTo>
                <a:lnTo>
                  <a:pt x="21" y="177"/>
                </a:lnTo>
                <a:lnTo>
                  <a:pt x="20" y="178"/>
                </a:lnTo>
                <a:lnTo>
                  <a:pt x="16" y="179"/>
                </a:lnTo>
                <a:lnTo>
                  <a:pt x="11" y="179"/>
                </a:lnTo>
                <a:lnTo>
                  <a:pt x="11" y="179"/>
                </a:lnTo>
                <a:lnTo>
                  <a:pt x="8" y="181"/>
                </a:lnTo>
                <a:lnTo>
                  <a:pt x="6" y="185"/>
                </a:lnTo>
                <a:lnTo>
                  <a:pt x="6" y="189"/>
                </a:lnTo>
                <a:lnTo>
                  <a:pt x="6" y="191"/>
                </a:lnTo>
                <a:lnTo>
                  <a:pt x="6" y="193"/>
                </a:lnTo>
                <a:lnTo>
                  <a:pt x="2" y="193"/>
                </a:lnTo>
                <a:lnTo>
                  <a:pt x="0" y="195"/>
                </a:lnTo>
                <a:lnTo>
                  <a:pt x="0" y="198"/>
                </a:lnTo>
                <a:lnTo>
                  <a:pt x="0" y="199"/>
                </a:lnTo>
                <a:lnTo>
                  <a:pt x="1" y="201"/>
                </a:lnTo>
                <a:lnTo>
                  <a:pt x="1" y="202"/>
                </a:lnTo>
                <a:lnTo>
                  <a:pt x="2" y="203"/>
                </a:lnTo>
                <a:lnTo>
                  <a:pt x="4" y="204"/>
                </a:lnTo>
                <a:lnTo>
                  <a:pt x="12" y="209"/>
                </a:lnTo>
                <a:lnTo>
                  <a:pt x="21" y="213"/>
                </a:lnTo>
                <a:lnTo>
                  <a:pt x="25" y="217"/>
                </a:lnTo>
                <a:lnTo>
                  <a:pt x="26" y="218"/>
                </a:lnTo>
                <a:lnTo>
                  <a:pt x="26" y="221"/>
                </a:lnTo>
                <a:lnTo>
                  <a:pt x="27" y="223"/>
                </a:lnTo>
                <a:lnTo>
                  <a:pt x="30" y="223"/>
                </a:lnTo>
                <a:lnTo>
                  <a:pt x="34" y="222"/>
                </a:lnTo>
                <a:lnTo>
                  <a:pt x="35" y="222"/>
                </a:lnTo>
                <a:lnTo>
                  <a:pt x="40" y="223"/>
                </a:lnTo>
                <a:lnTo>
                  <a:pt x="44" y="223"/>
                </a:lnTo>
                <a:lnTo>
                  <a:pt x="44" y="222"/>
                </a:lnTo>
                <a:lnTo>
                  <a:pt x="45" y="221"/>
                </a:lnTo>
                <a:lnTo>
                  <a:pt x="47" y="220"/>
                </a:lnTo>
                <a:lnTo>
                  <a:pt x="49" y="221"/>
                </a:lnTo>
                <a:lnTo>
                  <a:pt x="50" y="223"/>
                </a:lnTo>
                <a:lnTo>
                  <a:pt x="52" y="224"/>
                </a:lnTo>
                <a:lnTo>
                  <a:pt x="57" y="228"/>
                </a:lnTo>
                <a:lnTo>
                  <a:pt x="58" y="228"/>
                </a:lnTo>
                <a:lnTo>
                  <a:pt x="59" y="228"/>
                </a:lnTo>
                <a:lnTo>
                  <a:pt x="62" y="229"/>
                </a:lnTo>
                <a:lnTo>
                  <a:pt x="65" y="230"/>
                </a:lnTo>
                <a:lnTo>
                  <a:pt x="67" y="231"/>
                </a:lnTo>
                <a:lnTo>
                  <a:pt x="68" y="233"/>
                </a:lnTo>
                <a:lnTo>
                  <a:pt x="69" y="234"/>
                </a:lnTo>
                <a:lnTo>
                  <a:pt x="72" y="235"/>
                </a:lnTo>
                <a:lnTo>
                  <a:pt x="73" y="240"/>
                </a:lnTo>
                <a:lnTo>
                  <a:pt x="76" y="243"/>
                </a:lnTo>
                <a:lnTo>
                  <a:pt x="77" y="244"/>
                </a:lnTo>
                <a:lnTo>
                  <a:pt x="78" y="247"/>
                </a:lnTo>
                <a:lnTo>
                  <a:pt x="80" y="247"/>
                </a:lnTo>
                <a:lnTo>
                  <a:pt x="81" y="247"/>
                </a:lnTo>
                <a:lnTo>
                  <a:pt x="82" y="248"/>
                </a:lnTo>
                <a:lnTo>
                  <a:pt x="85" y="249"/>
                </a:lnTo>
                <a:lnTo>
                  <a:pt x="86" y="251"/>
                </a:lnTo>
                <a:lnTo>
                  <a:pt x="86" y="254"/>
                </a:lnTo>
                <a:lnTo>
                  <a:pt x="87" y="258"/>
                </a:lnTo>
                <a:lnTo>
                  <a:pt x="87" y="259"/>
                </a:lnTo>
                <a:lnTo>
                  <a:pt x="88" y="260"/>
                </a:lnTo>
                <a:lnTo>
                  <a:pt x="91" y="260"/>
                </a:lnTo>
                <a:lnTo>
                  <a:pt x="92" y="260"/>
                </a:lnTo>
                <a:lnTo>
                  <a:pt x="92" y="268"/>
                </a:lnTo>
                <a:lnTo>
                  <a:pt x="93" y="269"/>
                </a:lnTo>
                <a:lnTo>
                  <a:pt x="95" y="271"/>
                </a:lnTo>
                <a:lnTo>
                  <a:pt x="98" y="271"/>
                </a:lnTo>
                <a:lnTo>
                  <a:pt x="99" y="271"/>
                </a:lnTo>
                <a:lnTo>
                  <a:pt x="103" y="271"/>
                </a:lnTo>
                <a:lnTo>
                  <a:pt x="106" y="272"/>
                </a:lnTo>
                <a:lnTo>
                  <a:pt x="107" y="272"/>
                </a:lnTo>
                <a:lnTo>
                  <a:pt x="109" y="272"/>
                </a:lnTo>
                <a:lnTo>
                  <a:pt x="110" y="271"/>
                </a:lnTo>
                <a:lnTo>
                  <a:pt x="110" y="270"/>
                </a:lnTo>
                <a:lnTo>
                  <a:pt x="111" y="270"/>
                </a:lnTo>
                <a:lnTo>
                  <a:pt x="112" y="269"/>
                </a:lnTo>
                <a:lnTo>
                  <a:pt x="113" y="268"/>
                </a:lnTo>
                <a:lnTo>
                  <a:pt x="117" y="268"/>
                </a:lnTo>
                <a:lnTo>
                  <a:pt x="119" y="269"/>
                </a:lnTo>
                <a:lnTo>
                  <a:pt x="120" y="270"/>
                </a:lnTo>
                <a:lnTo>
                  <a:pt x="122" y="270"/>
                </a:lnTo>
                <a:lnTo>
                  <a:pt x="125" y="270"/>
                </a:lnTo>
                <a:lnTo>
                  <a:pt x="127" y="268"/>
                </a:lnTo>
                <a:lnTo>
                  <a:pt x="128" y="268"/>
                </a:lnTo>
                <a:lnTo>
                  <a:pt x="130" y="269"/>
                </a:lnTo>
                <a:lnTo>
                  <a:pt x="135" y="270"/>
                </a:lnTo>
                <a:lnTo>
                  <a:pt x="140" y="273"/>
                </a:lnTo>
                <a:lnTo>
                  <a:pt x="142" y="278"/>
                </a:lnTo>
                <a:lnTo>
                  <a:pt x="142" y="280"/>
                </a:lnTo>
                <a:lnTo>
                  <a:pt x="142" y="282"/>
                </a:lnTo>
                <a:lnTo>
                  <a:pt x="140" y="284"/>
                </a:lnTo>
                <a:lnTo>
                  <a:pt x="137" y="289"/>
                </a:lnTo>
                <a:lnTo>
                  <a:pt x="135" y="292"/>
                </a:lnTo>
                <a:lnTo>
                  <a:pt x="135" y="295"/>
                </a:lnTo>
                <a:lnTo>
                  <a:pt x="135" y="296"/>
                </a:lnTo>
                <a:lnTo>
                  <a:pt x="137" y="296"/>
                </a:lnTo>
                <a:lnTo>
                  <a:pt x="138" y="296"/>
                </a:lnTo>
                <a:lnTo>
                  <a:pt x="139" y="296"/>
                </a:lnTo>
                <a:lnTo>
                  <a:pt x="140" y="298"/>
                </a:lnTo>
                <a:lnTo>
                  <a:pt x="143" y="302"/>
                </a:lnTo>
                <a:lnTo>
                  <a:pt x="146" y="302"/>
                </a:lnTo>
                <a:lnTo>
                  <a:pt x="146" y="300"/>
                </a:lnTo>
                <a:lnTo>
                  <a:pt x="147" y="298"/>
                </a:lnTo>
                <a:lnTo>
                  <a:pt x="147" y="292"/>
                </a:lnTo>
                <a:lnTo>
                  <a:pt x="147" y="290"/>
                </a:lnTo>
                <a:lnTo>
                  <a:pt x="148" y="289"/>
                </a:lnTo>
                <a:lnTo>
                  <a:pt x="148" y="284"/>
                </a:lnTo>
                <a:lnTo>
                  <a:pt x="149" y="282"/>
                </a:lnTo>
                <a:lnTo>
                  <a:pt x="149" y="276"/>
                </a:lnTo>
                <a:lnTo>
                  <a:pt x="150" y="275"/>
                </a:lnTo>
                <a:lnTo>
                  <a:pt x="152" y="254"/>
                </a:lnTo>
                <a:lnTo>
                  <a:pt x="153" y="252"/>
                </a:lnTo>
                <a:lnTo>
                  <a:pt x="153" y="250"/>
                </a:lnTo>
                <a:lnTo>
                  <a:pt x="151" y="240"/>
                </a:lnTo>
                <a:lnTo>
                  <a:pt x="149" y="237"/>
                </a:lnTo>
                <a:lnTo>
                  <a:pt x="148" y="234"/>
                </a:lnTo>
                <a:lnTo>
                  <a:pt x="144" y="231"/>
                </a:lnTo>
                <a:lnTo>
                  <a:pt x="142" y="230"/>
                </a:lnTo>
                <a:lnTo>
                  <a:pt x="142" y="217"/>
                </a:lnTo>
                <a:lnTo>
                  <a:pt x="144" y="217"/>
                </a:lnTo>
                <a:lnTo>
                  <a:pt x="149" y="215"/>
                </a:lnTo>
                <a:lnTo>
                  <a:pt x="151" y="214"/>
                </a:lnTo>
                <a:lnTo>
                  <a:pt x="154" y="214"/>
                </a:lnTo>
                <a:lnTo>
                  <a:pt x="156" y="215"/>
                </a:lnTo>
                <a:lnTo>
                  <a:pt x="156" y="217"/>
                </a:lnTo>
                <a:lnTo>
                  <a:pt x="157" y="215"/>
                </a:lnTo>
                <a:lnTo>
                  <a:pt x="157" y="215"/>
                </a:lnTo>
                <a:lnTo>
                  <a:pt x="156" y="212"/>
                </a:lnTo>
                <a:lnTo>
                  <a:pt x="156" y="210"/>
                </a:lnTo>
                <a:lnTo>
                  <a:pt x="154" y="208"/>
                </a:lnTo>
                <a:lnTo>
                  <a:pt x="151" y="208"/>
                </a:lnTo>
                <a:lnTo>
                  <a:pt x="150" y="209"/>
                </a:lnTo>
                <a:lnTo>
                  <a:pt x="149" y="209"/>
                </a:lnTo>
                <a:lnTo>
                  <a:pt x="148" y="207"/>
                </a:lnTo>
                <a:lnTo>
                  <a:pt x="147" y="207"/>
                </a:lnTo>
                <a:lnTo>
                  <a:pt x="147" y="205"/>
                </a:lnTo>
                <a:lnTo>
                  <a:pt x="147" y="205"/>
                </a:lnTo>
                <a:lnTo>
                  <a:pt x="147" y="195"/>
                </a:lnTo>
                <a:lnTo>
                  <a:pt x="147" y="195"/>
                </a:lnTo>
                <a:lnTo>
                  <a:pt x="170" y="195"/>
                </a:lnTo>
                <a:lnTo>
                  <a:pt x="171" y="194"/>
                </a:lnTo>
                <a:lnTo>
                  <a:pt x="172" y="192"/>
                </a:lnTo>
                <a:lnTo>
                  <a:pt x="172" y="190"/>
                </a:lnTo>
                <a:lnTo>
                  <a:pt x="173" y="190"/>
                </a:lnTo>
                <a:lnTo>
                  <a:pt x="174" y="191"/>
                </a:lnTo>
                <a:lnTo>
                  <a:pt x="176" y="193"/>
                </a:lnTo>
                <a:lnTo>
                  <a:pt x="177" y="193"/>
                </a:lnTo>
                <a:lnTo>
                  <a:pt x="182" y="190"/>
                </a:lnTo>
                <a:lnTo>
                  <a:pt x="184" y="190"/>
                </a:lnTo>
                <a:lnTo>
                  <a:pt x="187" y="192"/>
                </a:lnTo>
                <a:lnTo>
                  <a:pt x="189" y="195"/>
                </a:lnTo>
                <a:lnTo>
                  <a:pt x="190" y="205"/>
                </a:lnTo>
                <a:lnTo>
                  <a:pt x="193" y="203"/>
                </a:lnTo>
                <a:lnTo>
                  <a:pt x="193" y="202"/>
                </a:lnTo>
                <a:lnTo>
                  <a:pt x="192" y="200"/>
                </a:lnTo>
                <a:lnTo>
                  <a:pt x="191" y="195"/>
                </a:lnTo>
                <a:lnTo>
                  <a:pt x="187" y="184"/>
                </a:lnTo>
                <a:lnTo>
                  <a:pt x="184" y="180"/>
                </a:lnTo>
                <a:lnTo>
                  <a:pt x="180" y="175"/>
                </a:lnTo>
                <a:lnTo>
                  <a:pt x="180" y="174"/>
                </a:lnTo>
                <a:lnTo>
                  <a:pt x="183" y="171"/>
                </a:lnTo>
                <a:lnTo>
                  <a:pt x="186" y="169"/>
                </a:lnTo>
                <a:lnTo>
                  <a:pt x="186" y="168"/>
                </a:lnTo>
                <a:lnTo>
                  <a:pt x="187" y="167"/>
                </a:lnTo>
                <a:lnTo>
                  <a:pt x="188" y="167"/>
                </a:lnTo>
                <a:lnTo>
                  <a:pt x="188" y="165"/>
                </a:lnTo>
                <a:lnTo>
                  <a:pt x="188" y="163"/>
                </a:lnTo>
                <a:lnTo>
                  <a:pt x="187" y="161"/>
                </a:lnTo>
                <a:lnTo>
                  <a:pt x="186" y="159"/>
                </a:lnTo>
                <a:lnTo>
                  <a:pt x="183" y="155"/>
                </a:lnTo>
                <a:lnTo>
                  <a:pt x="181" y="154"/>
                </a:lnTo>
                <a:lnTo>
                  <a:pt x="181" y="153"/>
                </a:lnTo>
                <a:lnTo>
                  <a:pt x="181" y="150"/>
                </a:lnTo>
                <a:lnTo>
                  <a:pt x="180" y="148"/>
                </a:lnTo>
                <a:lnTo>
                  <a:pt x="180" y="144"/>
                </a:lnTo>
                <a:lnTo>
                  <a:pt x="179" y="142"/>
                </a:lnTo>
                <a:lnTo>
                  <a:pt x="179" y="139"/>
                </a:lnTo>
                <a:lnTo>
                  <a:pt x="180" y="137"/>
                </a:lnTo>
                <a:lnTo>
                  <a:pt x="181" y="133"/>
                </a:lnTo>
                <a:lnTo>
                  <a:pt x="181" y="130"/>
                </a:lnTo>
                <a:lnTo>
                  <a:pt x="184" y="126"/>
                </a:lnTo>
                <a:lnTo>
                  <a:pt x="184" y="121"/>
                </a:lnTo>
                <a:lnTo>
                  <a:pt x="184" y="120"/>
                </a:lnTo>
                <a:lnTo>
                  <a:pt x="187" y="118"/>
                </a:lnTo>
                <a:lnTo>
                  <a:pt x="187" y="117"/>
                </a:lnTo>
                <a:lnTo>
                  <a:pt x="186" y="113"/>
                </a:lnTo>
                <a:lnTo>
                  <a:pt x="186" y="113"/>
                </a:lnTo>
                <a:lnTo>
                  <a:pt x="184" y="112"/>
                </a:lnTo>
                <a:lnTo>
                  <a:pt x="181" y="113"/>
                </a:lnTo>
                <a:lnTo>
                  <a:pt x="176" y="116"/>
                </a:lnTo>
                <a:lnTo>
                  <a:pt x="172" y="117"/>
                </a:lnTo>
                <a:lnTo>
                  <a:pt x="170" y="117"/>
                </a:lnTo>
                <a:lnTo>
                  <a:pt x="168" y="116"/>
                </a:lnTo>
                <a:lnTo>
                  <a:pt x="167" y="116"/>
                </a:lnTo>
                <a:lnTo>
                  <a:pt x="164" y="114"/>
                </a:lnTo>
                <a:lnTo>
                  <a:pt x="163" y="113"/>
                </a:lnTo>
                <a:lnTo>
                  <a:pt x="161" y="114"/>
                </a:lnTo>
                <a:lnTo>
                  <a:pt x="160" y="116"/>
                </a:lnTo>
                <a:lnTo>
                  <a:pt x="158" y="116"/>
                </a:lnTo>
                <a:lnTo>
                  <a:pt x="156" y="116"/>
                </a:lnTo>
                <a:lnTo>
                  <a:pt x="154" y="114"/>
                </a:lnTo>
                <a:lnTo>
                  <a:pt x="154" y="114"/>
                </a:lnTo>
                <a:lnTo>
                  <a:pt x="147" y="101"/>
                </a:lnTo>
                <a:lnTo>
                  <a:pt x="147" y="100"/>
                </a:lnTo>
                <a:lnTo>
                  <a:pt x="146" y="100"/>
                </a:lnTo>
                <a:lnTo>
                  <a:pt x="142" y="99"/>
                </a:lnTo>
                <a:lnTo>
                  <a:pt x="141" y="98"/>
                </a:lnTo>
                <a:lnTo>
                  <a:pt x="137" y="97"/>
                </a:lnTo>
                <a:lnTo>
                  <a:pt x="132" y="97"/>
                </a:lnTo>
                <a:lnTo>
                  <a:pt x="127" y="99"/>
                </a:lnTo>
                <a:lnTo>
                  <a:pt x="123" y="99"/>
                </a:lnTo>
                <a:lnTo>
                  <a:pt x="120" y="99"/>
                </a:lnTo>
                <a:lnTo>
                  <a:pt x="115" y="97"/>
                </a:lnTo>
                <a:lnTo>
                  <a:pt x="113" y="93"/>
                </a:lnTo>
                <a:lnTo>
                  <a:pt x="112" y="93"/>
                </a:lnTo>
                <a:lnTo>
                  <a:pt x="109" y="91"/>
                </a:lnTo>
                <a:lnTo>
                  <a:pt x="109" y="90"/>
                </a:lnTo>
                <a:lnTo>
                  <a:pt x="109" y="80"/>
                </a:lnTo>
                <a:lnTo>
                  <a:pt x="109" y="77"/>
                </a:lnTo>
                <a:lnTo>
                  <a:pt x="108" y="74"/>
                </a:lnTo>
                <a:lnTo>
                  <a:pt x="107" y="73"/>
                </a:lnTo>
                <a:lnTo>
                  <a:pt x="107" y="72"/>
                </a:lnTo>
                <a:lnTo>
                  <a:pt x="105" y="70"/>
                </a:lnTo>
                <a:lnTo>
                  <a:pt x="103" y="69"/>
                </a:lnTo>
                <a:lnTo>
                  <a:pt x="103" y="62"/>
                </a:lnTo>
                <a:lnTo>
                  <a:pt x="102" y="60"/>
                </a:lnTo>
                <a:lnTo>
                  <a:pt x="101" y="59"/>
                </a:lnTo>
                <a:lnTo>
                  <a:pt x="95" y="60"/>
                </a:lnTo>
                <a:lnTo>
                  <a:pt x="97" y="56"/>
                </a:lnTo>
                <a:lnTo>
                  <a:pt x="100" y="50"/>
                </a:lnTo>
                <a:lnTo>
                  <a:pt x="103" y="36"/>
                </a:lnTo>
                <a:lnTo>
                  <a:pt x="108" y="28"/>
                </a:lnTo>
                <a:lnTo>
                  <a:pt x="116" y="20"/>
                </a:lnTo>
                <a:lnTo>
                  <a:pt x="117" y="19"/>
                </a:lnTo>
                <a:lnTo>
                  <a:pt x="119" y="16"/>
                </a:lnTo>
                <a:lnTo>
                  <a:pt x="120" y="13"/>
                </a:lnTo>
                <a:lnTo>
                  <a:pt x="125" y="11"/>
                </a:lnTo>
                <a:lnTo>
                  <a:pt x="129" y="1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98" name="Freeform 698"/>
          <p:cNvSpPr>
            <a:spLocks/>
          </p:cNvSpPr>
          <p:nvPr/>
        </p:nvSpPr>
        <p:spPr bwMode="auto">
          <a:xfrm>
            <a:off x="2338388" y="3219415"/>
            <a:ext cx="306387" cy="479425"/>
          </a:xfrm>
          <a:custGeom>
            <a:avLst/>
            <a:gdLst>
              <a:gd name="T0" fmla="*/ 126 w 193"/>
              <a:gd name="T1" fmla="*/ 0 h 302"/>
              <a:gd name="T2" fmla="*/ 119 w 193"/>
              <a:gd name="T3" fmla="*/ 5 h 302"/>
              <a:gd name="T4" fmla="*/ 98 w 193"/>
              <a:gd name="T5" fmla="*/ 19 h 302"/>
              <a:gd name="T6" fmla="*/ 82 w 193"/>
              <a:gd name="T7" fmla="*/ 21 h 302"/>
              <a:gd name="T8" fmla="*/ 78 w 193"/>
              <a:gd name="T9" fmla="*/ 27 h 302"/>
              <a:gd name="T10" fmla="*/ 60 w 193"/>
              <a:gd name="T11" fmla="*/ 33 h 302"/>
              <a:gd name="T12" fmla="*/ 51 w 193"/>
              <a:gd name="T13" fmla="*/ 56 h 302"/>
              <a:gd name="T14" fmla="*/ 38 w 193"/>
              <a:gd name="T15" fmla="*/ 70 h 302"/>
              <a:gd name="T16" fmla="*/ 37 w 193"/>
              <a:gd name="T17" fmla="*/ 80 h 302"/>
              <a:gd name="T18" fmla="*/ 29 w 193"/>
              <a:gd name="T19" fmla="*/ 74 h 302"/>
              <a:gd name="T20" fmla="*/ 30 w 193"/>
              <a:gd name="T21" fmla="*/ 82 h 302"/>
              <a:gd name="T22" fmla="*/ 20 w 193"/>
              <a:gd name="T23" fmla="*/ 91 h 302"/>
              <a:gd name="T24" fmla="*/ 26 w 193"/>
              <a:gd name="T25" fmla="*/ 106 h 302"/>
              <a:gd name="T26" fmla="*/ 26 w 193"/>
              <a:gd name="T27" fmla="*/ 126 h 302"/>
              <a:gd name="T28" fmla="*/ 25 w 193"/>
              <a:gd name="T29" fmla="*/ 153 h 302"/>
              <a:gd name="T30" fmla="*/ 34 w 193"/>
              <a:gd name="T31" fmla="*/ 155 h 302"/>
              <a:gd name="T32" fmla="*/ 21 w 193"/>
              <a:gd name="T33" fmla="*/ 177 h 302"/>
              <a:gd name="T34" fmla="*/ 6 w 193"/>
              <a:gd name="T35" fmla="*/ 185 h 302"/>
              <a:gd name="T36" fmla="*/ 0 w 193"/>
              <a:gd name="T37" fmla="*/ 198 h 302"/>
              <a:gd name="T38" fmla="*/ 12 w 193"/>
              <a:gd name="T39" fmla="*/ 209 h 302"/>
              <a:gd name="T40" fmla="*/ 30 w 193"/>
              <a:gd name="T41" fmla="*/ 223 h 302"/>
              <a:gd name="T42" fmla="*/ 45 w 193"/>
              <a:gd name="T43" fmla="*/ 221 h 302"/>
              <a:gd name="T44" fmla="*/ 58 w 193"/>
              <a:gd name="T45" fmla="*/ 228 h 302"/>
              <a:gd name="T46" fmla="*/ 69 w 193"/>
              <a:gd name="T47" fmla="*/ 234 h 302"/>
              <a:gd name="T48" fmla="*/ 80 w 193"/>
              <a:gd name="T49" fmla="*/ 247 h 302"/>
              <a:gd name="T50" fmla="*/ 87 w 193"/>
              <a:gd name="T51" fmla="*/ 258 h 302"/>
              <a:gd name="T52" fmla="*/ 93 w 193"/>
              <a:gd name="T53" fmla="*/ 269 h 302"/>
              <a:gd name="T54" fmla="*/ 107 w 193"/>
              <a:gd name="T55" fmla="*/ 272 h 302"/>
              <a:gd name="T56" fmla="*/ 113 w 193"/>
              <a:gd name="T57" fmla="*/ 268 h 302"/>
              <a:gd name="T58" fmla="*/ 127 w 193"/>
              <a:gd name="T59" fmla="*/ 268 h 302"/>
              <a:gd name="T60" fmla="*/ 142 w 193"/>
              <a:gd name="T61" fmla="*/ 280 h 302"/>
              <a:gd name="T62" fmla="*/ 135 w 193"/>
              <a:gd name="T63" fmla="*/ 296 h 302"/>
              <a:gd name="T64" fmla="*/ 146 w 193"/>
              <a:gd name="T65" fmla="*/ 302 h 302"/>
              <a:gd name="T66" fmla="*/ 148 w 193"/>
              <a:gd name="T67" fmla="*/ 284 h 302"/>
              <a:gd name="T68" fmla="*/ 153 w 193"/>
              <a:gd name="T69" fmla="*/ 250 h 302"/>
              <a:gd name="T70" fmla="*/ 142 w 193"/>
              <a:gd name="T71" fmla="*/ 217 h 302"/>
              <a:gd name="T72" fmla="*/ 156 w 193"/>
              <a:gd name="T73" fmla="*/ 217 h 302"/>
              <a:gd name="T74" fmla="*/ 151 w 193"/>
              <a:gd name="T75" fmla="*/ 208 h 302"/>
              <a:gd name="T76" fmla="*/ 147 w 193"/>
              <a:gd name="T77" fmla="*/ 205 h 302"/>
              <a:gd name="T78" fmla="*/ 172 w 193"/>
              <a:gd name="T79" fmla="*/ 190 h 302"/>
              <a:gd name="T80" fmla="*/ 184 w 193"/>
              <a:gd name="T81" fmla="*/ 190 h 302"/>
              <a:gd name="T82" fmla="*/ 192 w 193"/>
              <a:gd name="T83" fmla="*/ 200 h 302"/>
              <a:gd name="T84" fmla="*/ 183 w 193"/>
              <a:gd name="T85" fmla="*/ 171 h 302"/>
              <a:gd name="T86" fmla="*/ 188 w 193"/>
              <a:gd name="T87" fmla="*/ 163 h 302"/>
              <a:gd name="T88" fmla="*/ 181 w 193"/>
              <a:gd name="T89" fmla="*/ 150 h 302"/>
              <a:gd name="T90" fmla="*/ 181 w 193"/>
              <a:gd name="T91" fmla="*/ 133 h 302"/>
              <a:gd name="T92" fmla="*/ 187 w 193"/>
              <a:gd name="T93" fmla="*/ 117 h 302"/>
              <a:gd name="T94" fmla="*/ 172 w 193"/>
              <a:gd name="T95" fmla="*/ 117 h 302"/>
              <a:gd name="T96" fmla="*/ 161 w 193"/>
              <a:gd name="T97" fmla="*/ 114 h 302"/>
              <a:gd name="T98" fmla="*/ 147 w 193"/>
              <a:gd name="T99" fmla="*/ 101 h 302"/>
              <a:gd name="T100" fmla="*/ 132 w 193"/>
              <a:gd name="T101" fmla="*/ 97 h 302"/>
              <a:gd name="T102" fmla="*/ 112 w 193"/>
              <a:gd name="T103" fmla="*/ 93 h 302"/>
              <a:gd name="T104" fmla="*/ 107 w 193"/>
              <a:gd name="T105" fmla="*/ 73 h 302"/>
              <a:gd name="T106" fmla="*/ 101 w 193"/>
              <a:gd name="T107" fmla="*/ 59 h 302"/>
              <a:gd name="T108" fmla="*/ 116 w 193"/>
              <a:gd name="T109" fmla="*/ 20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93" h="302">
                <a:moveTo>
                  <a:pt x="129" y="11"/>
                </a:moveTo>
                <a:lnTo>
                  <a:pt x="131" y="10"/>
                </a:lnTo>
                <a:lnTo>
                  <a:pt x="132" y="8"/>
                </a:lnTo>
                <a:lnTo>
                  <a:pt x="132" y="5"/>
                </a:lnTo>
                <a:lnTo>
                  <a:pt x="130" y="2"/>
                </a:lnTo>
                <a:lnTo>
                  <a:pt x="126" y="0"/>
                </a:lnTo>
                <a:lnTo>
                  <a:pt x="123" y="2"/>
                </a:lnTo>
                <a:lnTo>
                  <a:pt x="122" y="2"/>
                </a:lnTo>
                <a:lnTo>
                  <a:pt x="122" y="2"/>
                </a:lnTo>
                <a:lnTo>
                  <a:pt x="121" y="5"/>
                </a:lnTo>
                <a:lnTo>
                  <a:pt x="120" y="5"/>
                </a:lnTo>
                <a:lnTo>
                  <a:pt x="119" y="5"/>
                </a:lnTo>
                <a:lnTo>
                  <a:pt x="118" y="6"/>
                </a:lnTo>
                <a:lnTo>
                  <a:pt x="118" y="8"/>
                </a:lnTo>
                <a:lnTo>
                  <a:pt x="116" y="10"/>
                </a:lnTo>
                <a:lnTo>
                  <a:pt x="113" y="11"/>
                </a:lnTo>
                <a:lnTo>
                  <a:pt x="107" y="15"/>
                </a:lnTo>
                <a:lnTo>
                  <a:pt x="98" y="19"/>
                </a:lnTo>
                <a:lnTo>
                  <a:pt x="97" y="20"/>
                </a:lnTo>
                <a:lnTo>
                  <a:pt x="91" y="21"/>
                </a:lnTo>
                <a:lnTo>
                  <a:pt x="89" y="21"/>
                </a:lnTo>
                <a:lnTo>
                  <a:pt x="86" y="21"/>
                </a:lnTo>
                <a:lnTo>
                  <a:pt x="83" y="21"/>
                </a:lnTo>
                <a:lnTo>
                  <a:pt x="82" y="21"/>
                </a:lnTo>
                <a:lnTo>
                  <a:pt x="81" y="23"/>
                </a:lnTo>
                <a:lnTo>
                  <a:pt x="80" y="27"/>
                </a:lnTo>
                <a:lnTo>
                  <a:pt x="79" y="30"/>
                </a:lnTo>
                <a:lnTo>
                  <a:pt x="78" y="30"/>
                </a:lnTo>
                <a:lnTo>
                  <a:pt x="78" y="30"/>
                </a:lnTo>
                <a:lnTo>
                  <a:pt x="78" y="27"/>
                </a:lnTo>
                <a:lnTo>
                  <a:pt x="77" y="27"/>
                </a:lnTo>
                <a:lnTo>
                  <a:pt x="73" y="27"/>
                </a:lnTo>
                <a:lnTo>
                  <a:pt x="70" y="27"/>
                </a:lnTo>
                <a:lnTo>
                  <a:pt x="69" y="27"/>
                </a:lnTo>
                <a:lnTo>
                  <a:pt x="62" y="31"/>
                </a:lnTo>
                <a:lnTo>
                  <a:pt x="60" y="33"/>
                </a:lnTo>
                <a:lnTo>
                  <a:pt x="60" y="36"/>
                </a:lnTo>
                <a:lnTo>
                  <a:pt x="59" y="42"/>
                </a:lnTo>
                <a:lnTo>
                  <a:pt x="58" y="48"/>
                </a:lnTo>
                <a:lnTo>
                  <a:pt x="57" y="52"/>
                </a:lnTo>
                <a:lnTo>
                  <a:pt x="56" y="54"/>
                </a:lnTo>
                <a:lnTo>
                  <a:pt x="51" y="56"/>
                </a:lnTo>
                <a:lnTo>
                  <a:pt x="50" y="57"/>
                </a:lnTo>
                <a:lnTo>
                  <a:pt x="47" y="62"/>
                </a:lnTo>
                <a:lnTo>
                  <a:pt x="46" y="63"/>
                </a:lnTo>
                <a:lnTo>
                  <a:pt x="44" y="66"/>
                </a:lnTo>
                <a:lnTo>
                  <a:pt x="38" y="69"/>
                </a:lnTo>
                <a:lnTo>
                  <a:pt x="38" y="70"/>
                </a:lnTo>
                <a:lnTo>
                  <a:pt x="38" y="71"/>
                </a:lnTo>
                <a:lnTo>
                  <a:pt x="38" y="72"/>
                </a:lnTo>
                <a:lnTo>
                  <a:pt x="39" y="79"/>
                </a:lnTo>
                <a:lnTo>
                  <a:pt x="38" y="81"/>
                </a:lnTo>
                <a:lnTo>
                  <a:pt x="38" y="81"/>
                </a:lnTo>
                <a:lnTo>
                  <a:pt x="37" y="80"/>
                </a:lnTo>
                <a:lnTo>
                  <a:pt x="34" y="76"/>
                </a:lnTo>
                <a:lnTo>
                  <a:pt x="29" y="69"/>
                </a:lnTo>
                <a:lnTo>
                  <a:pt x="29" y="70"/>
                </a:lnTo>
                <a:lnTo>
                  <a:pt x="28" y="73"/>
                </a:lnTo>
                <a:lnTo>
                  <a:pt x="28" y="73"/>
                </a:lnTo>
                <a:lnTo>
                  <a:pt x="29" y="74"/>
                </a:lnTo>
                <a:lnTo>
                  <a:pt x="30" y="77"/>
                </a:lnTo>
                <a:lnTo>
                  <a:pt x="30" y="79"/>
                </a:lnTo>
                <a:lnTo>
                  <a:pt x="31" y="79"/>
                </a:lnTo>
                <a:lnTo>
                  <a:pt x="31" y="80"/>
                </a:lnTo>
                <a:lnTo>
                  <a:pt x="31" y="81"/>
                </a:lnTo>
                <a:lnTo>
                  <a:pt x="30" y="82"/>
                </a:lnTo>
                <a:lnTo>
                  <a:pt x="27" y="87"/>
                </a:lnTo>
                <a:lnTo>
                  <a:pt x="26" y="88"/>
                </a:lnTo>
                <a:lnTo>
                  <a:pt x="25" y="87"/>
                </a:lnTo>
                <a:lnTo>
                  <a:pt x="24" y="87"/>
                </a:lnTo>
                <a:lnTo>
                  <a:pt x="22" y="90"/>
                </a:lnTo>
                <a:lnTo>
                  <a:pt x="20" y="91"/>
                </a:lnTo>
                <a:lnTo>
                  <a:pt x="20" y="93"/>
                </a:lnTo>
                <a:lnTo>
                  <a:pt x="20" y="93"/>
                </a:lnTo>
                <a:lnTo>
                  <a:pt x="20" y="94"/>
                </a:lnTo>
                <a:lnTo>
                  <a:pt x="22" y="101"/>
                </a:lnTo>
                <a:lnTo>
                  <a:pt x="22" y="102"/>
                </a:lnTo>
                <a:lnTo>
                  <a:pt x="26" y="106"/>
                </a:lnTo>
                <a:lnTo>
                  <a:pt x="27" y="108"/>
                </a:lnTo>
                <a:lnTo>
                  <a:pt x="28" y="109"/>
                </a:lnTo>
                <a:lnTo>
                  <a:pt x="27" y="117"/>
                </a:lnTo>
                <a:lnTo>
                  <a:pt x="28" y="121"/>
                </a:lnTo>
                <a:lnTo>
                  <a:pt x="28" y="123"/>
                </a:lnTo>
                <a:lnTo>
                  <a:pt x="26" y="126"/>
                </a:lnTo>
                <a:lnTo>
                  <a:pt x="26" y="128"/>
                </a:lnTo>
                <a:lnTo>
                  <a:pt x="26" y="136"/>
                </a:lnTo>
                <a:lnTo>
                  <a:pt x="27" y="142"/>
                </a:lnTo>
                <a:lnTo>
                  <a:pt x="27" y="145"/>
                </a:lnTo>
                <a:lnTo>
                  <a:pt x="26" y="150"/>
                </a:lnTo>
                <a:lnTo>
                  <a:pt x="25" y="153"/>
                </a:lnTo>
                <a:lnTo>
                  <a:pt x="26" y="155"/>
                </a:lnTo>
                <a:lnTo>
                  <a:pt x="28" y="155"/>
                </a:lnTo>
                <a:lnTo>
                  <a:pt x="29" y="157"/>
                </a:lnTo>
                <a:lnTo>
                  <a:pt x="31" y="155"/>
                </a:lnTo>
                <a:lnTo>
                  <a:pt x="34" y="154"/>
                </a:lnTo>
                <a:lnTo>
                  <a:pt x="34" y="155"/>
                </a:lnTo>
                <a:lnTo>
                  <a:pt x="32" y="157"/>
                </a:lnTo>
                <a:lnTo>
                  <a:pt x="32" y="159"/>
                </a:lnTo>
                <a:lnTo>
                  <a:pt x="28" y="162"/>
                </a:lnTo>
                <a:lnTo>
                  <a:pt x="24" y="168"/>
                </a:lnTo>
                <a:lnTo>
                  <a:pt x="21" y="175"/>
                </a:lnTo>
                <a:lnTo>
                  <a:pt x="21" y="177"/>
                </a:lnTo>
                <a:lnTo>
                  <a:pt x="20" y="178"/>
                </a:lnTo>
                <a:lnTo>
                  <a:pt x="16" y="179"/>
                </a:lnTo>
                <a:lnTo>
                  <a:pt x="11" y="179"/>
                </a:lnTo>
                <a:lnTo>
                  <a:pt x="11" y="179"/>
                </a:lnTo>
                <a:lnTo>
                  <a:pt x="8" y="181"/>
                </a:lnTo>
                <a:lnTo>
                  <a:pt x="6" y="185"/>
                </a:lnTo>
                <a:lnTo>
                  <a:pt x="6" y="189"/>
                </a:lnTo>
                <a:lnTo>
                  <a:pt x="6" y="191"/>
                </a:lnTo>
                <a:lnTo>
                  <a:pt x="6" y="193"/>
                </a:lnTo>
                <a:lnTo>
                  <a:pt x="2" y="193"/>
                </a:lnTo>
                <a:lnTo>
                  <a:pt x="0" y="195"/>
                </a:lnTo>
                <a:lnTo>
                  <a:pt x="0" y="198"/>
                </a:lnTo>
                <a:lnTo>
                  <a:pt x="0" y="199"/>
                </a:lnTo>
                <a:lnTo>
                  <a:pt x="1" y="201"/>
                </a:lnTo>
                <a:lnTo>
                  <a:pt x="1" y="202"/>
                </a:lnTo>
                <a:lnTo>
                  <a:pt x="2" y="203"/>
                </a:lnTo>
                <a:lnTo>
                  <a:pt x="4" y="204"/>
                </a:lnTo>
                <a:lnTo>
                  <a:pt x="12" y="209"/>
                </a:lnTo>
                <a:lnTo>
                  <a:pt x="21" y="213"/>
                </a:lnTo>
                <a:lnTo>
                  <a:pt x="25" y="217"/>
                </a:lnTo>
                <a:lnTo>
                  <a:pt x="26" y="218"/>
                </a:lnTo>
                <a:lnTo>
                  <a:pt x="26" y="221"/>
                </a:lnTo>
                <a:lnTo>
                  <a:pt x="27" y="223"/>
                </a:lnTo>
                <a:lnTo>
                  <a:pt x="30" y="223"/>
                </a:lnTo>
                <a:lnTo>
                  <a:pt x="34" y="222"/>
                </a:lnTo>
                <a:lnTo>
                  <a:pt x="35" y="222"/>
                </a:lnTo>
                <a:lnTo>
                  <a:pt x="40" y="223"/>
                </a:lnTo>
                <a:lnTo>
                  <a:pt x="44" y="223"/>
                </a:lnTo>
                <a:lnTo>
                  <a:pt x="44" y="222"/>
                </a:lnTo>
                <a:lnTo>
                  <a:pt x="45" y="221"/>
                </a:lnTo>
                <a:lnTo>
                  <a:pt x="47" y="220"/>
                </a:lnTo>
                <a:lnTo>
                  <a:pt x="49" y="221"/>
                </a:lnTo>
                <a:lnTo>
                  <a:pt x="50" y="223"/>
                </a:lnTo>
                <a:lnTo>
                  <a:pt x="52" y="224"/>
                </a:lnTo>
                <a:lnTo>
                  <a:pt x="57" y="228"/>
                </a:lnTo>
                <a:lnTo>
                  <a:pt x="58" y="228"/>
                </a:lnTo>
                <a:lnTo>
                  <a:pt x="59" y="228"/>
                </a:lnTo>
                <a:lnTo>
                  <a:pt x="62" y="229"/>
                </a:lnTo>
                <a:lnTo>
                  <a:pt x="65" y="230"/>
                </a:lnTo>
                <a:lnTo>
                  <a:pt x="67" y="231"/>
                </a:lnTo>
                <a:lnTo>
                  <a:pt x="68" y="233"/>
                </a:lnTo>
                <a:lnTo>
                  <a:pt x="69" y="234"/>
                </a:lnTo>
                <a:lnTo>
                  <a:pt x="72" y="235"/>
                </a:lnTo>
                <a:lnTo>
                  <a:pt x="73" y="240"/>
                </a:lnTo>
                <a:lnTo>
                  <a:pt x="76" y="243"/>
                </a:lnTo>
                <a:lnTo>
                  <a:pt x="77" y="244"/>
                </a:lnTo>
                <a:lnTo>
                  <a:pt x="78" y="247"/>
                </a:lnTo>
                <a:lnTo>
                  <a:pt x="80" y="247"/>
                </a:lnTo>
                <a:lnTo>
                  <a:pt x="81" y="247"/>
                </a:lnTo>
                <a:lnTo>
                  <a:pt x="82" y="248"/>
                </a:lnTo>
                <a:lnTo>
                  <a:pt x="85" y="249"/>
                </a:lnTo>
                <a:lnTo>
                  <a:pt x="86" y="251"/>
                </a:lnTo>
                <a:lnTo>
                  <a:pt x="86" y="254"/>
                </a:lnTo>
                <a:lnTo>
                  <a:pt x="87" y="258"/>
                </a:lnTo>
                <a:lnTo>
                  <a:pt x="87" y="259"/>
                </a:lnTo>
                <a:lnTo>
                  <a:pt x="88" y="260"/>
                </a:lnTo>
                <a:lnTo>
                  <a:pt x="91" y="260"/>
                </a:lnTo>
                <a:lnTo>
                  <a:pt x="92" y="260"/>
                </a:lnTo>
                <a:lnTo>
                  <a:pt x="92" y="268"/>
                </a:lnTo>
                <a:lnTo>
                  <a:pt x="93" y="269"/>
                </a:lnTo>
                <a:lnTo>
                  <a:pt x="95" y="271"/>
                </a:lnTo>
                <a:lnTo>
                  <a:pt x="98" y="271"/>
                </a:lnTo>
                <a:lnTo>
                  <a:pt x="99" y="271"/>
                </a:lnTo>
                <a:lnTo>
                  <a:pt x="103" y="271"/>
                </a:lnTo>
                <a:lnTo>
                  <a:pt x="106" y="272"/>
                </a:lnTo>
                <a:lnTo>
                  <a:pt x="107" y="272"/>
                </a:lnTo>
                <a:lnTo>
                  <a:pt x="109" y="272"/>
                </a:lnTo>
                <a:lnTo>
                  <a:pt x="110" y="271"/>
                </a:lnTo>
                <a:lnTo>
                  <a:pt x="110" y="270"/>
                </a:lnTo>
                <a:lnTo>
                  <a:pt x="111" y="270"/>
                </a:lnTo>
                <a:lnTo>
                  <a:pt x="112" y="269"/>
                </a:lnTo>
                <a:lnTo>
                  <a:pt x="113" y="268"/>
                </a:lnTo>
                <a:lnTo>
                  <a:pt x="117" y="268"/>
                </a:lnTo>
                <a:lnTo>
                  <a:pt x="119" y="269"/>
                </a:lnTo>
                <a:lnTo>
                  <a:pt x="120" y="270"/>
                </a:lnTo>
                <a:lnTo>
                  <a:pt x="122" y="270"/>
                </a:lnTo>
                <a:lnTo>
                  <a:pt x="125" y="270"/>
                </a:lnTo>
                <a:lnTo>
                  <a:pt x="127" y="268"/>
                </a:lnTo>
                <a:lnTo>
                  <a:pt x="128" y="268"/>
                </a:lnTo>
                <a:lnTo>
                  <a:pt x="130" y="269"/>
                </a:lnTo>
                <a:lnTo>
                  <a:pt x="135" y="270"/>
                </a:lnTo>
                <a:lnTo>
                  <a:pt x="140" y="273"/>
                </a:lnTo>
                <a:lnTo>
                  <a:pt x="142" y="278"/>
                </a:lnTo>
                <a:lnTo>
                  <a:pt x="142" y="280"/>
                </a:lnTo>
                <a:lnTo>
                  <a:pt x="142" y="282"/>
                </a:lnTo>
                <a:lnTo>
                  <a:pt x="140" y="284"/>
                </a:lnTo>
                <a:lnTo>
                  <a:pt x="137" y="289"/>
                </a:lnTo>
                <a:lnTo>
                  <a:pt x="135" y="292"/>
                </a:lnTo>
                <a:lnTo>
                  <a:pt x="135" y="295"/>
                </a:lnTo>
                <a:lnTo>
                  <a:pt x="135" y="296"/>
                </a:lnTo>
                <a:lnTo>
                  <a:pt x="137" y="296"/>
                </a:lnTo>
                <a:lnTo>
                  <a:pt x="138" y="296"/>
                </a:lnTo>
                <a:lnTo>
                  <a:pt x="139" y="296"/>
                </a:lnTo>
                <a:lnTo>
                  <a:pt x="140" y="298"/>
                </a:lnTo>
                <a:lnTo>
                  <a:pt x="143" y="302"/>
                </a:lnTo>
                <a:lnTo>
                  <a:pt x="146" y="302"/>
                </a:lnTo>
                <a:lnTo>
                  <a:pt x="146" y="300"/>
                </a:lnTo>
                <a:lnTo>
                  <a:pt x="147" y="298"/>
                </a:lnTo>
                <a:lnTo>
                  <a:pt x="147" y="292"/>
                </a:lnTo>
                <a:lnTo>
                  <a:pt x="147" y="290"/>
                </a:lnTo>
                <a:lnTo>
                  <a:pt x="148" y="289"/>
                </a:lnTo>
                <a:lnTo>
                  <a:pt x="148" y="284"/>
                </a:lnTo>
                <a:lnTo>
                  <a:pt x="149" y="282"/>
                </a:lnTo>
                <a:lnTo>
                  <a:pt x="149" y="276"/>
                </a:lnTo>
                <a:lnTo>
                  <a:pt x="150" y="275"/>
                </a:lnTo>
                <a:lnTo>
                  <a:pt x="152" y="254"/>
                </a:lnTo>
                <a:lnTo>
                  <a:pt x="153" y="252"/>
                </a:lnTo>
                <a:lnTo>
                  <a:pt x="153" y="250"/>
                </a:lnTo>
                <a:lnTo>
                  <a:pt x="151" y="240"/>
                </a:lnTo>
                <a:lnTo>
                  <a:pt x="149" y="237"/>
                </a:lnTo>
                <a:lnTo>
                  <a:pt x="148" y="234"/>
                </a:lnTo>
                <a:lnTo>
                  <a:pt x="144" y="231"/>
                </a:lnTo>
                <a:lnTo>
                  <a:pt x="142" y="230"/>
                </a:lnTo>
                <a:lnTo>
                  <a:pt x="142" y="217"/>
                </a:lnTo>
                <a:lnTo>
                  <a:pt x="144" y="217"/>
                </a:lnTo>
                <a:lnTo>
                  <a:pt x="149" y="215"/>
                </a:lnTo>
                <a:lnTo>
                  <a:pt x="151" y="214"/>
                </a:lnTo>
                <a:lnTo>
                  <a:pt x="154" y="214"/>
                </a:lnTo>
                <a:lnTo>
                  <a:pt x="156" y="215"/>
                </a:lnTo>
                <a:lnTo>
                  <a:pt x="156" y="217"/>
                </a:lnTo>
                <a:lnTo>
                  <a:pt x="157" y="215"/>
                </a:lnTo>
                <a:lnTo>
                  <a:pt x="157" y="215"/>
                </a:lnTo>
                <a:lnTo>
                  <a:pt x="156" y="212"/>
                </a:lnTo>
                <a:lnTo>
                  <a:pt x="156" y="210"/>
                </a:lnTo>
                <a:lnTo>
                  <a:pt x="154" y="208"/>
                </a:lnTo>
                <a:lnTo>
                  <a:pt x="151" y="208"/>
                </a:lnTo>
                <a:lnTo>
                  <a:pt x="150" y="209"/>
                </a:lnTo>
                <a:lnTo>
                  <a:pt x="149" y="209"/>
                </a:lnTo>
                <a:lnTo>
                  <a:pt x="148" y="207"/>
                </a:lnTo>
                <a:lnTo>
                  <a:pt x="147" y="207"/>
                </a:lnTo>
                <a:lnTo>
                  <a:pt x="147" y="205"/>
                </a:lnTo>
                <a:lnTo>
                  <a:pt x="147" y="205"/>
                </a:lnTo>
                <a:lnTo>
                  <a:pt x="147" y="195"/>
                </a:lnTo>
                <a:lnTo>
                  <a:pt x="147" y="195"/>
                </a:lnTo>
                <a:lnTo>
                  <a:pt x="170" y="195"/>
                </a:lnTo>
                <a:lnTo>
                  <a:pt x="171" y="194"/>
                </a:lnTo>
                <a:lnTo>
                  <a:pt x="172" y="192"/>
                </a:lnTo>
                <a:lnTo>
                  <a:pt x="172" y="190"/>
                </a:lnTo>
                <a:lnTo>
                  <a:pt x="173" y="190"/>
                </a:lnTo>
                <a:lnTo>
                  <a:pt x="174" y="191"/>
                </a:lnTo>
                <a:lnTo>
                  <a:pt x="176" y="193"/>
                </a:lnTo>
                <a:lnTo>
                  <a:pt x="177" y="193"/>
                </a:lnTo>
                <a:lnTo>
                  <a:pt x="182" y="190"/>
                </a:lnTo>
                <a:lnTo>
                  <a:pt x="184" y="190"/>
                </a:lnTo>
                <a:lnTo>
                  <a:pt x="187" y="192"/>
                </a:lnTo>
                <a:lnTo>
                  <a:pt x="189" y="195"/>
                </a:lnTo>
                <a:lnTo>
                  <a:pt x="190" y="205"/>
                </a:lnTo>
                <a:lnTo>
                  <a:pt x="193" y="203"/>
                </a:lnTo>
                <a:lnTo>
                  <a:pt x="193" y="202"/>
                </a:lnTo>
                <a:lnTo>
                  <a:pt x="192" y="200"/>
                </a:lnTo>
                <a:lnTo>
                  <a:pt x="191" y="195"/>
                </a:lnTo>
                <a:lnTo>
                  <a:pt x="187" y="184"/>
                </a:lnTo>
                <a:lnTo>
                  <a:pt x="184" y="180"/>
                </a:lnTo>
                <a:lnTo>
                  <a:pt x="180" y="175"/>
                </a:lnTo>
                <a:lnTo>
                  <a:pt x="180" y="174"/>
                </a:lnTo>
                <a:lnTo>
                  <a:pt x="183" y="171"/>
                </a:lnTo>
                <a:lnTo>
                  <a:pt x="186" y="169"/>
                </a:lnTo>
                <a:lnTo>
                  <a:pt x="186" y="168"/>
                </a:lnTo>
                <a:lnTo>
                  <a:pt x="187" y="167"/>
                </a:lnTo>
                <a:lnTo>
                  <a:pt x="188" y="167"/>
                </a:lnTo>
                <a:lnTo>
                  <a:pt x="188" y="165"/>
                </a:lnTo>
                <a:lnTo>
                  <a:pt x="188" y="163"/>
                </a:lnTo>
                <a:lnTo>
                  <a:pt x="187" y="161"/>
                </a:lnTo>
                <a:lnTo>
                  <a:pt x="186" y="159"/>
                </a:lnTo>
                <a:lnTo>
                  <a:pt x="183" y="155"/>
                </a:lnTo>
                <a:lnTo>
                  <a:pt x="181" y="154"/>
                </a:lnTo>
                <a:lnTo>
                  <a:pt x="181" y="153"/>
                </a:lnTo>
                <a:lnTo>
                  <a:pt x="181" y="150"/>
                </a:lnTo>
                <a:lnTo>
                  <a:pt x="180" y="148"/>
                </a:lnTo>
                <a:lnTo>
                  <a:pt x="180" y="144"/>
                </a:lnTo>
                <a:lnTo>
                  <a:pt x="179" y="142"/>
                </a:lnTo>
                <a:lnTo>
                  <a:pt x="179" y="139"/>
                </a:lnTo>
                <a:lnTo>
                  <a:pt x="180" y="137"/>
                </a:lnTo>
                <a:lnTo>
                  <a:pt x="181" y="133"/>
                </a:lnTo>
                <a:lnTo>
                  <a:pt x="181" y="130"/>
                </a:lnTo>
                <a:lnTo>
                  <a:pt x="184" y="126"/>
                </a:lnTo>
                <a:lnTo>
                  <a:pt x="184" y="121"/>
                </a:lnTo>
                <a:lnTo>
                  <a:pt x="184" y="120"/>
                </a:lnTo>
                <a:lnTo>
                  <a:pt x="187" y="118"/>
                </a:lnTo>
                <a:lnTo>
                  <a:pt x="187" y="117"/>
                </a:lnTo>
                <a:lnTo>
                  <a:pt x="186" y="113"/>
                </a:lnTo>
                <a:lnTo>
                  <a:pt x="186" y="113"/>
                </a:lnTo>
                <a:lnTo>
                  <a:pt x="184" y="112"/>
                </a:lnTo>
                <a:lnTo>
                  <a:pt x="181" y="113"/>
                </a:lnTo>
                <a:lnTo>
                  <a:pt x="176" y="116"/>
                </a:lnTo>
                <a:lnTo>
                  <a:pt x="172" y="117"/>
                </a:lnTo>
                <a:lnTo>
                  <a:pt x="170" y="117"/>
                </a:lnTo>
                <a:lnTo>
                  <a:pt x="168" y="116"/>
                </a:lnTo>
                <a:lnTo>
                  <a:pt x="167" y="116"/>
                </a:lnTo>
                <a:lnTo>
                  <a:pt x="164" y="114"/>
                </a:lnTo>
                <a:lnTo>
                  <a:pt x="163" y="113"/>
                </a:lnTo>
                <a:lnTo>
                  <a:pt x="161" y="114"/>
                </a:lnTo>
                <a:lnTo>
                  <a:pt x="160" y="116"/>
                </a:lnTo>
                <a:lnTo>
                  <a:pt x="158" y="116"/>
                </a:lnTo>
                <a:lnTo>
                  <a:pt x="156" y="116"/>
                </a:lnTo>
                <a:lnTo>
                  <a:pt x="154" y="114"/>
                </a:lnTo>
                <a:lnTo>
                  <a:pt x="154" y="114"/>
                </a:lnTo>
                <a:lnTo>
                  <a:pt x="147" y="101"/>
                </a:lnTo>
                <a:lnTo>
                  <a:pt x="147" y="100"/>
                </a:lnTo>
                <a:lnTo>
                  <a:pt x="146" y="100"/>
                </a:lnTo>
                <a:lnTo>
                  <a:pt x="142" y="99"/>
                </a:lnTo>
                <a:lnTo>
                  <a:pt x="141" y="98"/>
                </a:lnTo>
                <a:lnTo>
                  <a:pt x="137" y="97"/>
                </a:lnTo>
                <a:lnTo>
                  <a:pt x="132" y="97"/>
                </a:lnTo>
                <a:lnTo>
                  <a:pt x="127" y="99"/>
                </a:lnTo>
                <a:lnTo>
                  <a:pt x="123" y="99"/>
                </a:lnTo>
                <a:lnTo>
                  <a:pt x="120" y="99"/>
                </a:lnTo>
                <a:lnTo>
                  <a:pt x="115" y="97"/>
                </a:lnTo>
                <a:lnTo>
                  <a:pt x="113" y="93"/>
                </a:lnTo>
                <a:lnTo>
                  <a:pt x="112" y="93"/>
                </a:lnTo>
                <a:lnTo>
                  <a:pt x="109" y="91"/>
                </a:lnTo>
                <a:lnTo>
                  <a:pt x="109" y="90"/>
                </a:lnTo>
                <a:lnTo>
                  <a:pt x="109" y="80"/>
                </a:lnTo>
                <a:lnTo>
                  <a:pt x="109" y="77"/>
                </a:lnTo>
                <a:lnTo>
                  <a:pt x="108" y="74"/>
                </a:lnTo>
                <a:lnTo>
                  <a:pt x="107" y="73"/>
                </a:lnTo>
                <a:lnTo>
                  <a:pt x="107" y="72"/>
                </a:lnTo>
                <a:lnTo>
                  <a:pt x="105" y="70"/>
                </a:lnTo>
                <a:lnTo>
                  <a:pt x="103" y="69"/>
                </a:lnTo>
                <a:lnTo>
                  <a:pt x="103" y="62"/>
                </a:lnTo>
                <a:lnTo>
                  <a:pt x="102" y="60"/>
                </a:lnTo>
                <a:lnTo>
                  <a:pt x="101" y="59"/>
                </a:lnTo>
                <a:lnTo>
                  <a:pt x="95" y="60"/>
                </a:lnTo>
                <a:lnTo>
                  <a:pt x="97" y="56"/>
                </a:lnTo>
                <a:lnTo>
                  <a:pt x="100" y="50"/>
                </a:lnTo>
                <a:lnTo>
                  <a:pt x="103" y="36"/>
                </a:lnTo>
                <a:lnTo>
                  <a:pt x="108" y="28"/>
                </a:lnTo>
                <a:lnTo>
                  <a:pt x="116" y="20"/>
                </a:lnTo>
                <a:lnTo>
                  <a:pt x="117" y="19"/>
                </a:lnTo>
                <a:lnTo>
                  <a:pt x="119" y="16"/>
                </a:lnTo>
                <a:lnTo>
                  <a:pt x="120" y="13"/>
                </a:lnTo>
                <a:lnTo>
                  <a:pt x="125" y="11"/>
                </a:lnTo>
                <a:lnTo>
                  <a:pt x="129" y="1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699" name="Freeform 699"/>
          <p:cNvSpPr>
            <a:spLocks/>
          </p:cNvSpPr>
          <p:nvPr/>
        </p:nvSpPr>
        <p:spPr bwMode="auto">
          <a:xfrm>
            <a:off x="2582863" y="3856003"/>
            <a:ext cx="319087" cy="384175"/>
          </a:xfrm>
          <a:custGeom>
            <a:avLst/>
            <a:gdLst>
              <a:gd name="T0" fmla="*/ 9 w 201"/>
              <a:gd name="T1" fmla="*/ 24 h 242"/>
              <a:gd name="T2" fmla="*/ 33 w 201"/>
              <a:gd name="T3" fmla="*/ 20 h 242"/>
              <a:gd name="T4" fmla="*/ 47 w 201"/>
              <a:gd name="T5" fmla="*/ 3 h 242"/>
              <a:gd name="T6" fmla="*/ 67 w 201"/>
              <a:gd name="T7" fmla="*/ 1 h 242"/>
              <a:gd name="T8" fmla="*/ 70 w 201"/>
              <a:gd name="T9" fmla="*/ 20 h 242"/>
              <a:gd name="T10" fmla="*/ 69 w 201"/>
              <a:gd name="T11" fmla="*/ 30 h 242"/>
              <a:gd name="T12" fmla="*/ 85 w 201"/>
              <a:gd name="T13" fmla="*/ 50 h 242"/>
              <a:gd name="T14" fmla="*/ 104 w 201"/>
              <a:gd name="T15" fmla="*/ 53 h 242"/>
              <a:gd name="T16" fmla="*/ 110 w 201"/>
              <a:gd name="T17" fmla="*/ 60 h 242"/>
              <a:gd name="T18" fmla="*/ 131 w 201"/>
              <a:gd name="T19" fmla="*/ 70 h 242"/>
              <a:gd name="T20" fmla="*/ 145 w 201"/>
              <a:gd name="T21" fmla="*/ 73 h 242"/>
              <a:gd name="T22" fmla="*/ 151 w 201"/>
              <a:gd name="T23" fmla="*/ 87 h 242"/>
              <a:gd name="T24" fmla="*/ 154 w 201"/>
              <a:gd name="T25" fmla="*/ 101 h 242"/>
              <a:gd name="T26" fmla="*/ 155 w 201"/>
              <a:gd name="T27" fmla="*/ 109 h 242"/>
              <a:gd name="T28" fmla="*/ 167 w 201"/>
              <a:gd name="T29" fmla="*/ 121 h 242"/>
              <a:gd name="T30" fmla="*/ 186 w 201"/>
              <a:gd name="T31" fmla="*/ 122 h 242"/>
              <a:gd name="T32" fmla="*/ 187 w 201"/>
              <a:gd name="T33" fmla="*/ 130 h 242"/>
              <a:gd name="T34" fmla="*/ 195 w 201"/>
              <a:gd name="T35" fmla="*/ 141 h 242"/>
              <a:gd name="T36" fmla="*/ 201 w 201"/>
              <a:gd name="T37" fmla="*/ 162 h 242"/>
              <a:gd name="T38" fmla="*/ 199 w 201"/>
              <a:gd name="T39" fmla="*/ 180 h 242"/>
              <a:gd name="T40" fmla="*/ 200 w 201"/>
              <a:gd name="T41" fmla="*/ 188 h 242"/>
              <a:gd name="T42" fmla="*/ 196 w 201"/>
              <a:gd name="T43" fmla="*/ 188 h 242"/>
              <a:gd name="T44" fmla="*/ 185 w 201"/>
              <a:gd name="T45" fmla="*/ 176 h 242"/>
              <a:gd name="T46" fmla="*/ 158 w 201"/>
              <a:gd name="T47" fmla="*/ 177 h 242"/>
              <a:gd name="T48" fmla="*/ 137 w 201"/>
              <a:gd name="T49" fmla="*/ 186 h 242"/>
              <a:gd name="T50" fmla="*/ 131 w 201"/>
              <a:gd name="T51" fmla="*/ 202 h 242"/>
              <a:gd name="T52" fmla="*/ 130 w 201"/>
              <a:gd name="T53" fmla="*/ 226 h 242"/>
              <a:gd name="T54" fmla="*/ 122 w 201"/>
              <a:gd name="T55" fmla="*/ 226 h 242"/>
              <a:gd name="T56" fmla="*/ 108 w 201"/>
              <a:gd name="T57" fmla="*/ 225 h 242"/>
              <a:gd name="T58" fmla="*/ 105 w 201"/>
              <a:gd name="T59" fmla="*/ 235 h 242"/>
              <a:gd name="T60" fmla="*/ 99 w 201"/>
              <a:gd name="T61" fmla="*/ 233 h 242"/>
              <a:gd name="T62" fmla="*/ 90 w 201"/>
              <a:gd name="T63" fmla="*/ 227 h 242"/>
              <a:gd name="T64" fmla="*/ 76 w 201"/>
              <a:gd name="T65" fmla="*/ 223 h 242"/>
              <a:gd name="T66" fmla="*/ 69 w 201"/>
              <a:gd name="T67" fmla="*/ 226 h 242"/>
              <a:gd name="T68" fmla="*/ 63 w 201"/>
              <a:gd name="T69" fmla="*/ 236 h 242"/>
              <a:gd name="T70" fmla="*/ 56 w 201"/>
              <a:gd name="T71" fmla="*/ 241 h 242"/>
              <a:gd name="T72" fmla="*/ 47 w 201"/>
              <a:gd name="T73" fmla="*/ 240 h 242"/>
              <a:gd name="T74" fmla="*/ 43 w 201"/>
              <a:gd name="T75" fmla="*/ 227 h 242"/>
              <a:gd name="T76" fmla="*/ 38 w 201"/>
              <a:gd name="T77" fmla="*/ 210 h 242"/>
              <a:gd name="T78" fmla="*/ 34 w 201"/>
              <a:gd name="T79" fmla="*/ 202 h 242"/>
              <a:gd name="T80" fmla="*/ 30 w 201"/>
              <a:gd name="T81" fmla="*/ 194 h 242"/>
              <a:gd name="T82" fmla="*/ 29 w 201"/>
              <a:gd name="T83" fmla="*/ 186 h 242"/>
              <a:gd name="T84" fmla="*/ 30 w 201"/>
              <a:gd name="T85" fmla="*/ 182 h 242"/>
              <a:gd name="T86" fmla="*/ 28 w 201"/>
              <a:gd name="T87" fmla="*/ 173 h 242"/>
              <a:gd name="T88" fmla="*/ 19 w 201"/>
              <a:gd name="T89" fmla="*/ 155 h 242"/>
              <a:gd name="T90" fmla="*/ 12 w 201"/>
              <a:gd name="T91" fmla="*/ 144 h 242"/>
              <a:gd name="T92" fmla="*/ 9 w 201"/>
              <a:gd name="T93" fmla="*/ 140 h 242"/>
              <a:gd name="T94" fmla="*/ 18 w 201"/>
              <a:gd name="T95" fmla="*/ 122 h 242"/>
              <a:gd name="T96" fmla="*/ 13 w 201"/>
              <a:gd name="T97" fmla="*/ 116 h 242"/>
              <a:gd name="T98" fmla="*/ 12 w 201"/>
              <a:gd name="T99" fmla="*/ 107 h 242"/>
              <a:gd name="T100" fmla="*/ 14 w 201"/>
              <a:gd name="T101" fmla="*/ 100 h 242"/>
              <a:gd name="T102" fmla="*/ 12 w 201"/>
              <a:gd name="T103" fmla="*/ 91 h 242"/>
              <a:gd name="T104" fmla="*/ 14 w 201"/>
              <a:gd name="T105" fmla="*/ 75 h 242"/>
              <a:gd name="T106" fmla="*/ 14 w 201"/>
              <a:gd name="T107" fmla="*/ 54 h 242"/>
              <a:gd name="T108" fmla="*/ 12 w 201"/>
              <a:gd name="T109" fmla="*/ 43 h 2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01" h="242">
                <a:moveTo>
                  <a:pt x="0" y="23"/>
                </a:moveTo>
                <a:lnTo>
                  <a:pt x="2" y="23"/>
                </a:lnTo>
                <a:lnTo>
                  <a:pt x="4" y="23"/>
                </a:lnTo>
                <a:lnTo>
                  <a:pt x="9" y="24"/>
                </a:lnTo>
                <a:lnTo>
                  <a:pt x="20" y="25"/>
                </a:lnTo>
                <a:lnTo>
                  <a:pt x="24" y="24"/>
                </a:lnTo>
                <a:lnTo>
                  <a:pt x="25" y="23"/>
                </a:lnTo>
                <a:lnTo>
                  <a:pt x="33" y="20"/>
                </a:lnTo>
                <a:lnTo>
                  <a:pt x="34" y="19"/>
                </a:lnTo>
                <a:lnTo>
                  <a:pt x="40" y="11"/>
                </a:lnTo>
                <a:lnTo>
                  <a:pt x="46" y="4"/>
                </a:lnTo>
                <a:lnTo>
                  <a:pt x="47" y="3"/>
                </a:lnTo>
                <a:lnTo>
                  <a:pt x="52" y="2"/>
                </a:lnTo>
                <a:lnTo>
                  <a:pt x="54" y="2"/>
                </a:lnTo>
                <a:lnTo>
                  <a:pt x="61" y="0"/>
                </a:lnTo>
                <a:lnTo>
                  <a:pt x="67" y="1"/>
                </a:lnTo>
                <a:lnTo>
                  <a:pt x="68" y="2"/>
                </a:lnTo>
                <a:lnTo>
                  <a:pt x="69" y="4"/>
                </a:lnTo>
                <a:lnTo>
                  <a:pt x="70" y="10"/>
                </a:lnTo>
                <a:lnTo>
                  <a:pt x="70" y="20"/>
                </a:lnTo>
                <a:lnTo>
                  <a:pt x="70" y="23"/>
                </a:lnTo>
                <a:lnTo>
                  <a:pt x="69" y="25"/>
                </a:lnTo>
                <a:lnTo>
                  <a:pt x="69" y="28"/>
                </a:lnTo>
                <a:lnTo>
                  <a:pt x="69" y="30"/>
                </a:lnTo>
                <a:lnTo>
                  <a:pt x="71" y="38"/>
                </a:lnTo>
                <a:lnTo>
                  <a:pt x="74" y="41"/>
                </a:lnTo>
                <a:lnTo>
                  <a:pt x="76" y="43"/>
                </a:lnTo>
                <a:lnTo>
                  <a:pt x="85" y="50"/>
                </a:lnTo>
                <a:lnTo>
                  <a:pt x="88" y="51"/>
                </a:lnTo>
                <a:lnTo>
                  <a:pt x="94" y="52"/>
                </a:lnTo>
                <a:lnTo>
                  <a:pt x="99" y="52"/>
                </a:lnTo>
                <a:lnTo>
                  <a:pt x="104" y="53"/>
                </a:lnTo>
                <a:lnTo>
                  <a:pt x="106" y="55"/>
                </a:lnTo>
                <a:lnTo>
                  <a:pt x="106" y="56"/>
                </a:lnTo>
                <a:lnTo>
                  <a:pt x="108" y="59"/>
                </a:lnTo>
                <a:lnTo>
                  <a:pt x="110" y="60"/>
                </a:lnTo>
                <a:lnTo>
                  <a:pt x="122" y="63"/>
                </a:lnTo>
                <a:lnTo>
                  <a:pt x="127" y="67"/>
                </a:lnTo>
                <a:lnTo>
                  <a:pt x="128" y="70"/>
                </a:lnTo>
                <a:lnTo>
                  <a:pt x="131" y="70"/>
                </a:lnTo>
                <a:lnTo>
                  <a:pt x="134" y="69"/>
                </a:lnTo>
                <a:lnTo>
                  <a:pt x="136" y="69"/>
                </a:lnTo>
                <a:lnTo>
                  <a:pt x="139" y="70"/>
                </a:lnTo>
                <a:lnTo>
                  <a:pt x="145" y="73"/>
                </a:lnTo>
                <a:lnTo>
                  <a:pt x="147" y="75"/>
                </a:lnTo>
                <a:lnTo>
                  <a:pt x="149" y="77"/>
                </a:lnTo>
                <a:lnTo>
                  <a:pt x="151" y="83"/>
                </a:lnTo>
                <a:lnTo>
                  <a:pt x="151" y="87"/>
                </a:lnTo>
                <a:lnTo>
                  <a:pt x="152" y="91"/>
                </a:lnTo>
                <a:lnTo>
                  <a:pt x="155" y="92"/>
                </a:lnTo>
                <a:lnTo>
                  <a:pt x="155" y="95"/>
                </a:lnTo>
                <a:lnTo>
                  <a:pt x="154" y="101"/>
                </a:lnTo>
                <a:lnTo>
                  <a:pt x="151" y="101"/>
                </a:lnTo>
                <a:lnTo>
                  <a:pt x="151" y="102"/>
                </a:lnTo>
                <a:lnTo>
                  <a:pt x="152" y="104"/>
                </a:lnTo>
                <a:lnTo>
                  <a:pt x="155" y="109"/>
                </a:lnTo>
                <a:lnTo>
                  <a:pt x="157" y="116"/>
                </a:lnTo>
                <a:lnTo>
                  <a:pt x="159" y="120"/>
                </a:lnTo>
                <a:lnTo>
                  <a:pt x="164" y="120"/>
                </a:lnTo>
                <a:lnTo>
                  <a:pt x="167" y="121"/>
                </a:lnTo>
                <a:lnTo>
                  <a:pt x="170" y="121"/>
                </a:lnTo>
                <a:lnTo>
                  <a:pt x="172" y="121"/>
                </a:lnTo>
                <a:lnTo>
                  <a:pt x="185" y="122"/>
                </a:lnTo>
                <a:lnTo>
                  <a:pt x="186" y="122"/>
                </a:lnTo>
                <a:lnTo>
                  <a:pt x="187" y="123"/>
                </a:lnTo>
                <a:lnTo>
                  <a:pt x="187" y="124"/>
                </a:lnTo>
                <a:lnTo>
                  <a:pt x="187" y="127"/>
                </a:lnTo>
                <a:lnTo>
                  <a:pt x="187" y="130"/>
                </a:lnTo>
                <a:lnTo>
                  <a:pt x="187" y="132"/>
                </a:lnTo>
                <a:lnTo>
                  <a:pt x="188" y="137"/>
                </a:lnTo>
                <a:lnTo>
                  <a:pt x="193" y="140"/>
                </a:lnTo>
                <a:lnTo>
                  <a:pt x="195" y="141"/>
                </a:lnTo>
                <a:lnTo>
                  <a:pt x="196" y="145"/>
                </a:lnTo>
                <a:lnTo>
                  <a:pt x="199" y="151"/>
                </a:lnTo>
                <a:lnTo>
                  <a:pt x="200" y="154"/>
                </a:lnTo>
                <a:lnTo>
                  <a:pt x="201" y="162"/>
                </a:lnTo>
                <a:lnTo>
                  <a:pt x="201" y="172"/>
                </a:lnTo>
                <a:lnTo>
                  <a:pt x="201" y="173"/>
                </a:lnTo>
                <a:lnTo>
                  <a:pt x="200" y="175"/>
                </a:lnTo>
                <a:lnTo>
                  <a:pt x="199" y="180"/>
                </a:lnTo>
                <a:lnTo>
                  <a:pt x="199" y="181"/>
                </a:lnTo>
                <a:lnTo>
                  <a:pt x="199" y="184"/>
                </a:lnTo>
                <a:lnTo>
                  <a:pt x="200" y="185"/>
                </a:lnTo>
                <a:lnTo>
                  <a:pt x="200" y="188"/>
                </a:lnTo>
                <a:lnTo>
                  <a:pt x="200" y="190"/>
                </a:lnTo>
                <a:lnTo>
                  <a:pt x="198" y="190"/>
                </a:lnTo>
                <a:lnTo>
                  <a:pt x="198" y="191"/>
                </a:lnTo>
                <a:lnTo>
                  <a:pt x="196" y="188"/>
                </a:lnTo>
                <a:lnTo>
                  <a:pt x="195" y="187"/>
                </a:lnTo>
                <a:lnTo>
                  <a:pt x="190" y="181"/>
                </a:lnTo>
                <a:lnTo>
                  <a:pt x="188" y="178"/>
                </a:lnTo>
                <a:lnTo>
                  <a:pt x="185" y="176"/>
                </a:lnTo>
                <a:lnTo>
                  <a:pt x="180" y="175"/>
                </a:lnTo>
                <a:lnTo>
                  <a:pt x="168" y="174"/>
                </a:lnTo>
                <a:lnTo>
                  <a:pt x="167" y="175"/>
                </a:lnTo>
                <a:lnTo>
                  <a:pt x="158" y="177"/>
                </a:lnTo>
                <a:lnTo>
                  <a:pt x="157" y="177"/>
                </a:lnTo>
                <a:lnTo>
                  <a:pt x="142" y="183"/>
                </a:lnTo>
                <a:lnTo>
                  <a:pt x="137" y="184"/>
                </a:lnTo>
                <a:lnTo>
                  <a:pt x="137" y="186"/>
                </a:lnTo>
                <a:lnTo>
                  <a:pt x="136" y="191"/>
                </a:lnTo>
                <a:lnTo>
                  <a:pt x="134" y="195"/>
                </a:lnTo>
                <a:lnTo>
                  <a:pt x="131" y="201"/>
                </a:lnTo>
                <a:lnTo>
                  <a:pt x="131" y="202"/>
                </a:lnTo>
                <a:lnTo>
                  <a:pt x="131" y="210"/>
                </a:lnTo>
                <a:lnTo>
                  <a:pt x="132" y="212"/>
                </a:lnTo>
                <a:lnTo>
                  <a:pt x="132" y="214"/>
                </a:lnTo>
                <a:lnTo>
                  <a:pt x="130" y="226"/>
                </a:lnTo>
                <a:lnTo>
                  <a:pt x="128" y="231"/>
                </a:lnTo>
                <a:lnTo>
                  <a:pt x="126" y="230"/>
                </a:lnTo>
                <a:lnTo>
                  <a:pt x="125" y="227"/>
                </a:lnTo>
                <a:lnTo>
                  <a:pt x="122" y="226"/>
                </a:lnTo>
                <a:lnTo>
                  <a:pt x="121" y="226"/>
                </a:lnTo>
                <a:lnTo>
                  <a:pt x="119" y="226"/>
                </a:lnTo>
                <a:lnTo>
                  <a:pt x="114" y="226"/>
                </a:lnTo>
                <a:lnTo>
                  <a:pt x="108" y="225"/>
                </a:lnTo>
                <a:lnTo>
                  <a:pt x="106" y="225"/>
                </a:lnTo>
                <a:lnTo>
                  <a:pt x="106" y="226"/>
                </a:lnTo>
                <a:lnTo>
                  <a:pt x="105" y="232"/>
                </a:lnTo>
                <a:lnTo>
                  <a:pt x="105" y="235"/>
                </a:lnTo>
                <a:lnTo>
                  <a:pt x="105" y="237"/>
                </a:lnTo>
                <a:lnTo>
                  <a:pt x="104" y="237"/>
                </a:lnTo>
                <a:lnTo>
                  <a:pt x="100" y="234"/>
                </a:lnTo>
                <a:lnTo>
                  <a:pt x="99" y="233"/>
                </a:lnTo>
                <a:lnTo>
                  <a:pt x="99" y="232"/>
                </a:lnTo>
                <a:lnTo>
                  <a:pt x="97" y="230"/>
                </a:lnTo>
                <a:lnTo>
                  <a:pt x="96" y="230"/>
                </a:lnTo>
                <a:lnTo>
                  <a:pt x="90" y="227"/>
                </a:lnTo>
                <a:lnTo>
                  <a:pt x="89" y="227"/>
                </a:lnTo>
                <a:lnTo>
                  <a:pt x="86" y="227"/>
                </a:lnTo>
                <a:lnTo>
                  <a:pt x="79" y="227"/>
                </a:lnTo>
                <a:lnTo>
                  <a:pt x="76" y="223"/>
                </a:lnTo>
                <a:lnTo>
                  <a:pt x="74" y="221"/>
                </a:lnTo>
                <a:lnTo>
                  <a:pt x="73" y="221"/>
                </a:lnTo>
                <a:lnTo>
                  <a:pt x="73" y="222"/>
                </a:lnTo>
                <a:lnTo>
                  <a:pt x="69" y="226"/>
                </a:lnTo>
                <a:lnTo>
                  <a:pt x="66" y="230"/>
                </a:lnTo>
                <a:lnTo>
                  <a:pt x="64" y="232"/>
                </a:lnTo>
                <a:lnTo>
                  <a:pt x="63" y="234"/>
                </a:lnTo>
                <a:lnTo>
                  <a:pt x="63" y="236"/>
                </a:lnTo>
                <a:lnTo>
                  <a:pt x="60" y="238"/>
                </a:lnTo>
                <a:lnTo>
                  <a:pt x="59" y="241"/>
                </a:lnTo>
                <a:lnTo>
                  <a:pt x="59" y="241"/>
                </a:lnTo>
                <a:lnTo>
                  <a:pt x="56" y="241"/>
                </a:lnTo>
                <a:lnTo>
                  <a:pt x="55" y="241"/>
                </a:lnTo>
                <a:lnTo>
                  <a:pt x="52" y="242"/>
                </a:lnTo>
                <a:lnTo>
                  <a:pt x="49" y="241"/>
                </a:lnTo>
                <a:lnTo>
                  <a:pt x="47" y="240"/>
                </a:lnTo>
                <a:lnTo>
                  <a:pt x="47" y="240"/>
                </a:lnTo>
                <a:lnTo>
                  <a:pt x="45" y="236"/>
                </a:lnTo>
                <a:lnTo>
                  <a:pt x="45" y="234"/>
                </a:lnTo>
                <a:lnTo>
                  <a:pt x="43" y="227"/>
                </a:lnTo>
                <a:lnTo>
                  <a:pt x="43" y="222"/>
                </a:lnTo>
                <a:lnTo>
                  <a:pt x="42" y="215"/>
                </a:lnTo>
                <a:lnTo>
                  <a:pt x="39" y="212"/>
                </a:lnTo>
                <a:lnTo>
                  <a:pt x="38" y="210"/>
                </a:lnTo>
                <a:lnTo>
                  <a:pt x="37" y="205"/>
                </a:lnTo>
                <a:lnTo>
                  <a:pt x="37" y="204"/>
                </a:lnTo>
                <a:lnTo>
                  <a:pt x="35" y="202"/>
                </a:lnTo>
                <a:lnTo>
                  <a:pt x="34" y="202"/>
                </a:lnTo>
                <a:lnTo>
                  <a:pt x="33" y="201"/>
                </a:lnTo>
                <a:lnTo>
                  <a:pt x="33" y="198"/>
                </a:lnTo>
                <a:lnTo>
                  <a:pt x="32" y="195"/>
                </a:lnTo>
                <a:lnTo>
                  <a:pt x="30" y="194"/>
                </a:lnTo>
                <a:lnTo>
                  <a:pt x="28" y="193"/>
                </a:lnTo>
                <a:lnTo>
                  <a:pt x="28" y="191"/>
                </a:lnTo>
                <a:lnTo>
                  <a:pt x="28" y="187"/>
                </a:lnTo>
                <a:lnTo>
                  <a:pt x="29" y="186"/>
                </a:lnTo>
                <a:lnTo>
                  <a:pt x="32" y="185"/>
                </a:lnTo>
                <a:lnTo>
                  <a:pt x="32" y="185"/>
                </a:lnTo>
                <a:lnTo>
                  <a:pt x="32" y="184"/>
                </a:lnTo>
                <a:lnTo>
                  <a:pt x="30" y="182"/>
                </a:lnTo>
                <a:lnTo>
                  <a:pt x="30" y="180"/>
                </a:lnTo>
                <a:lnTo>
                  <a:pt x="32" y="178"/>
                </a:lnTo>
                <a:lnTo>
                  <a:pt x="30" y="175"/>
                </a:lnTo>
                <a:lnTo>
                  <a:pt x="28" y="173"/>
                </a:lnTo>
                <a:lnTo>
                  <a:pt x="24" y="170"/>
                </a:lnTo>
                <a:lnTo>
                  <a:pt x="23" y="168"/>
                </a:lnTo>
                <a:lnTo>
                  <a:pt x="22" y="166"/>
                </a:lnTo>
                <a:lnTo>
                  <a:pt x="19" y="155"/>
                </a:lnTo>
                <a:lnTo>
                  <a:pt x="19" y="153"/>
                </a:lnTo>
                <a:lnTo>
                  <a:pt x="17" y="150"/>
                </a:lnTo>
                <a:lnTo>
                  <a:pt x="15" y="149"/>
                </a:lnTo>
                <a:lnTo>
                  <a:pt x="12" y="144"/>
                </a:lnTo>
                <a:lnTo>
                  <a:pt x="12" y="144"/>
                </a:lnTo>
                <a:lnTo>
                  <a:pt x="10" y="142"/>
                </a:lnTo>
                <a:lnTo>
                  <a:pt x="9" y="142"/>
                </a:lnTo>
                <a:lnTo>
                  <a:pt x="9" y="140"/>
                </a:lnTo>
                <a:lnTo>
                  <a:pt x="13" y="134"/>
                </a:lnTo>
                <a:lnTo>
                  <a:pt x="15" y="131"/>
                </a:lnTo>
                <a:lnTo>
                  <a:pt x="18" y="125"/>
                </a:lnTo>
                <a:lnTo>
                  <a:pt x="18" y="122"/>
                </a:lnTo>
                <a:lnTo>
                  <a:pt x="17" y="121"/>
                </a:lnTo>
                <a:lnTo>
                  <a:pt x="16" y="119"/>
                </a:lnTo>
                <a:lnTo>
                  <a:pt x="15" y="119"/>
                </a:lnTo>
                <a:lnTo>
                  <a:pt x="13" y="116"/>
                </a:lnTo>
                <a:lnTo>
                  <a:pt x="13" y="116"/>
                </a:lnTo>
                <a:lnTo>
                  <a:pt x="12" y="114"/>
                </a:lnTo>
                <a:lnTo>
                  <a:pt x="12" y="111"/>
                </a:lnTo>
                <a:lnTo>
                  <a:pt x="12" y="107"/>
                </a:lnTo>
                <a:lnTo>
                  <a:pt x="13" y="104"/>
                </a:lnTo>
                <a:lnTo>
                  <a:pt x="14" y="103"/>
                </a:lnTo>
                <a:lnTo>
                  <a:pt x="14" y="101"/>
                </a:lnTo>
                <a:lnTo>
                  <a:pt x="14" y="100"/>
                </a:lnTo>
                <a:lnTo>
                  <a:pt x="14" y="97"/>
                </a:lnTo>
                <a:lnTo>
                  <a:pt x="10" y="93"/>
                </a:lnTo>
                <a:lnTo>
                  <a:pt x="10" y="92"/>
                </a:lnTo>
                <a:lnTo>
                  <a:pt x="12" y="91"/>
                </a:lnTo>
                <a:lnTo>
                  <a:pt x="15" y="89"/>
                </a:lnTo>
                <a:lnTo>
                  <a:pt x="15" y="87"/>
                </a:lnTo>
                <a:lnTo>
                  <a:pt x="15" y="82"/>
                </a:lnTo>
                <a:lnTo>
                  <a:pt x="14" y="75"/>
                </a:lnTo>
                <a:lnTo>
                  <a:pt x="13" y="72"/>
                </a:lnTo>
                <a:lnTo>
                  <a:pt x="14" y="66"/>
                </a:lnTo>
                <a:lnTo>
                  <a:pt x="13" y="59"/>
                </a:lnTo>
                <a:lnTo>
                  <a:pt x="14" y="54"/>
                </a:lnTo>
                <a:lnTo>
                  <a:pt x="16" y="52"/>
                </a:lnTo>
                <a:lnTo>
                  <a:pt x="17" y="51"/>
                </a:lnTo>
                <a:lnTo>
                  <a:pt x="17" y="51"/>
                </a:lnTo>
                <a:lnTo>
                  <a:pt x="12" y="43"/>
                </a:lnTo>
                <a:lnTo>
                  <a:pt x="0" y="2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00" name="Freeform 700"/>
          <p:cNvSpPr>
            <a:spLocks/>
          </p:cNvSpPr>
          <p:nvPr/>
        </p:nvSpPr>
        <p:spPr bwMode="auto">
          <a:xfrm>
            <a:off x="2582863" y="3856003"/>
            <a:ext cx="319087" cy="384175"/>
          </a:xfrm>
          <a:custGeom>
            <a:avLst/>
            <a:gdLst>
              <a:gd name="T0" fmla="*/ 9 w 201"/>
              <a:gd name="T1" fmla="*/ 24 h 242"/>
              <a:gd name="T2" fmla="*/ 33 w 201"/>
              <a:gd name="T3" fmla="*/ 20 h 242"/>
              <a:gd name="T4" fmla="*/ 47 w 201"/>
              <a:gd name="T5" fmla="*/ 3 h 242"/>
              <a:gd name="T6" fmla="*/ 67 w 201"/>
              <a:gd name="T7" fmla="*/ 1 h 242"/>
              <a:gd name="T8" fmla="*/ 70 w 201"/>
              <a:gd name="T9" fmla="*/ 20 h 242"/>
              <a:gd name="T10" fmla="*/ 69 w 201"/>
              <a:gd name="T11" fmla="*/ 30 h 242"/>
              <a:gd name="T12" fmla="*/ 85 w 201"/>
              <a:gd name="T13" fmla="*/ 50 h 242"/>
              <a:gd name="T14" fmla="*/ 104 w 201"/>
              <a:gd name="T15" fmla="*/ 53 h 242"/>
              <a:gd name="T16" fmla="*/ 110 w 201"/>
              <a:gd name="T17" fmla="*/ 60 h 242"/>
              <a:gd name="T18" fmla="*/ 131 w 201"/>
              <a:gd name="T19" fmla="*/ 70 h 242"/>
              <a:gd name="T20" fmla="*/ 145 w 201"/>
              <a:gd name="T21" fmla="*/ 73 h 242"/>
              <a:gd name="T22" fmla="*/ 151 w 201"/>
              <a:gd name="T23" fmla="*/ 87 h 242"/>
              <a:gd name="T24" fmla="*/ 154 w 201"/>
              <a:gd name="T25" fmla="*/ 101 h 242"/>
              <a:gd name="T26" fmla="*/ 155 w 201"/>
              <a:gd name="T27" fmla="*/ 109 h 242"/>
              <a:gd name="T28" fmla="*/ 167 w 201"/>
              <a:gd name="T29" fmla="*/ 121 h 242"/>
              <a:gd name="T30" fmla="*/ 186 w 201"/>
              <a:gd name="T31" fmla="*/ 122 h 242"/>
              <a:gd name="T32" fmla="*/ 187 w 201"/>
              <a:gd name="T33" fmla="*/ 130 h 242"/>
              <a:gd name="T34" fmla="*/ 195 w 201"/>
              <a:gd name="T35" fmla="*/ 141 h 242"/>
              <a:gd name="T36" fmla="*/ 201 w 201"/>
              <a:gd name="T37" fmla="*/ 162 h 242"/>
              <a:gd name="T38" fmla="*/ 199 w 201"/>
              <a:gd name="T39" fmla="*/ 180 h 242"/>
              <a:gd name="T40" fmla="*/ 200 w 201"/>
              <a:gd name="T41" fmla="*/ 188 h 242"/>
              <a:gd name="T42" fmla="*/ 196 w 201"/>
              <a:gd name="T43" fmla="*/ 188 h 242"/>
              <a:gd name="T44" fmla="*/ 185 w 201"/>
              <a:gd name="T45" fmla="*/ 176 h 242"/>
              <a:gd name="T46" fmla="*/ 158 w 201"/>
              <a:gd name="T47" fmla="*/ 177 h 242"/>
              <a:gd name="T48" fmla="*/ 137 w 201"/>
              <a:gd name="T49" fmla="*/ 186 h 242"/>
              <a:gd name="T50" fmla="*/ 131 w 201"/>
              <a:gd name="T51" fmla="*/ 202 h 242"/>
              <a:gd name="T52" fmla="*/ 130 w 201"/>
              <a:gd name="T53" fmla="*/ 226 h 242"/>
              <a:gd name="T54" fmla="*/ 122 w 201"/>
              <a:gd name="T55" fmla="*/ 226 h 242"/>
              <a:gd name="T56" fmla="*/ 108 w 201"/>
              <a:gd name="T57" fmla="*/ 225 h 242"/>
              <a:gd name="T58" fmla="*/ 105 w 201"/>
              <a:gd name="T59" fmla="*/ 235 h 242"/>
              <a:gd name="T60" fmla="*/ 99 w 201"/>
              <a:gd name="T61" fmla="*/ 233 h 242"/>
              <a:gd name="T62" fmla="*/ 90 w 201"/>
              <a:gd name="T63" fmla="*/ 227 h 242"/>
              <a:gd name="T64" fmla="*/ 76 w 201"/>
              <a:gd name="T65" fmla="*/ 223 h 242"/>
              <a:gd name="T66" fmla="*/ 69 w 201"/>
              <a:gd name="T67" fmla="*/ 226 h 242"/>
              <a:gd name="T68" fmla="*/ 63 w 201"/>
              <a:gd name="T69" fmla="*/ 236 h 242"/>
              <a:gd name="T70" fmla="*/ 56 w 201"/>
              <a:gd name="T71" fmla="*/ 241 h 242"/>
              <a:gd name="T72" fmla="*/ 47 w 201"/>
              <a:gd name="T73" fmla="*/ 240 h 242"/>
              <a:gd name="T74" fmla="*/ 43 w 201"/>
              <a:gd name="T75" fmla="*/ 227 h 242"/>
              <a:gd name="T76" fmla="*/ 38 w 201"/>
              <a:gd name="T77" fmla="*/ 210 h 242"/>
              <a:gd name="T78" fmla="*/ 34 w 201"/>
              <a:gd name="T79" fmla="*/ 202 h 242"/>
              <a:gd name="T80" fmla="*/ 30 w 201"/>
              <a:gd name="T81" fmla="*/ 194 h 242"/>
              <a:gd name="T82" fmla="*/ 29 w 201"/>
              <a:gd name="T83" fmla="*/ 186 h 242"/>
              <a:gd name="T84" fmla="*/ 30 w 201"/>
              <a:gd name="T85" fmla="*/ 182 h 242"/>
              <a:gd name="T86" fmla="*/ 28 w 201"/>
              <a:gd name="T87" fmla="*/ 173 h 242"/>
              <a:gd name="T88" fmla="*/ 19 w 201"/>
              <a:gd name="T89" fmla="*/ 155 h 242"/>
              <a:gd name="T90" fmla="*/ 12 w 201"/>
              <a:gd name="T91" fmla="*/ 144 h 242"/>
              <a:gd name="T92" fmla="*/ 9 w 201"/>
              <a:gd name="T93" fmla="*/ 140 h 242"/>
              <a:gd name="T94" fmla="*/ 18 w 201"/>
              <a:gd name="T95" fmla="*/ 122 h 242"/>
              <a:gd name="T96" fmla="*/ 13 w 201"/>
              <a:gd name="T97" fmla="*/ 116 h 242"/>
              <a:gd name="T98" fmla="*/ 12 w 201"/>
              <a:gd name="T99" fmla="*/ 107 h 242"/>
              <a:gd name="T100" fmla="*/ 14 w 201"/>
              <a:gd name="T101" fmla="*/ 100 h 242"/>
              <a:gd name="T102" fmla="*/ 12 w 201"/>
              <a:gd name="T103" fmla="*/ 91 h 242"/>
              <a:gd name="T104" fmla="*/ 14 w 201"/>
              <a:gd name="T105" fmla="*/ 75 h 242"/>
              <a:gd name="T106" fmla="*/ 14 w 201"/>
              <a:gd name="T107" fmla="*/ 54 h 242"/>
              <a:gd name="T108" fmla="*/ 12 w 201"/>
              <a:gd name="T109" fmla="*/ 43 h 2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01" h="242">
                <a:moveTo>
                  <a:pt x="0" y="23"/>
                </a:moveTo>
                <a:lnTo>
                  <a:pt x="2" y="23"/>
                </a:lnTo>
                <a:lnTo>
                  <a:pt x="4" y="23"/>
                </a:lnTo>
                <a:lnTo>
                  <a:pt x="9" y="24"/>
                </a:lnTo>
                <a:lnTo>
                  <a:pt x="20" y="25"/>
                </a:lnTo>
                <a:lnTo>
                  <a:pt x="24" y="24"/>
                </a:lnTo>
                <a:lnTo>
                  <a:pt x="25" y="23"/>
                </a:lnTo>
                <a:lnTo>
                  <a:pt x="33" y="20"/>
                </a:lnTo>
                <a:lnTo>
                  <a:pt x="34" y="19"/>
                </a:lnTo>
                <a:lnTo>
                  <a:pt x="40" y="11"/>
                </a:lnTo>
                <a:lnTo>
                  <a:pt x="46" y="4"/>
                </a:lnTo>
                <a:lnTo>
                  <a:pt x="47" y="3"/>
                </a:lnTo>
                <a:lnTo>
                  <a:pt x="52" y="2"/>
                </a:lnTo>
                <a:lnTo>
                  <a:pt x="54" y="2"/>
                </a:lnTo>
                <a:lnTo>
                  <a:pt x="61" y="0"/>
                </a:lnTo>
                <a:lnTo>
                  <a:pt x="67" y="1"/>
                </a:lnTo>
                <a:lnTo>
                  <a:pt x="68" y="2"/>
                </a:lnTo>
                <a:lnTo>
                  <a:pt x="69" y="4"/>
                </a:lnTo>
                <a:lnTo>
                  <a:pt x="70" y="10"/>
                </a:lnTo>
                <a:lnTo>
                  <a:pt x="70" y="20"/>
                </a:lnTo>
                <a:lnTo>
                  <a:pt x="70" y="23"/>
                </a:lnTo>
                <a:lnTo>
                  <a:pt x="69" y="25"/>
                </a:lnTo>
                <a:lnTo>
                  <a:pt x="69" y="28"/>
                </a:lnTo>
                <a:lnTo>
                  <a:pt x="69" y="30"/>
                </a:lnTo>
                <a:lnTo>
                  <a:pt x="71" y="38"/>
                </a:lnTo>
                <a:lnTo>
                  <a:pt x="74" y="41"/>
                </a:lnTo>
                <a:lnTo>
                  <a:pt x="76" y="43"/>
                </a:lnTo>
                <a:lnTo>
                  <a:pt x="85" y="50"/>
                </a:lnTo>
                <a:lnTo>
                  <a:pt x="88" y="51"/>
                </a:lnTo>
                <a:lnTo>
                  <a:pt x="94" y="52"/>
                </a:lnTo>
                <a:lnTo>
                  <a:pt x="99" y="52"/>
                </a:lnTo>
                <a:lnTo>
                  <a:pt x="104" y="53"/>
                </a:lnTo>
                <a:lnTo>
                  <a:pt x="106" y="55"/>
                </a:lnTo>
                <a:lnTo>
                  <a:pt x="106" y="56"/>
                </a:lnTo>
                <a:lnTo>
                  <a:pt x="108" y="59"/>
                </a:lnTo>
                <a:lnTo>
                  <a:pt x="110" y="60"/>
                </a:lnTo>
                <a:lnTo>
                  <a:pt x="122" y="63"/>
                </a:lnTo>
                <a:lnTo>
                  <a:pt x="127" y="67"/>
                </a:lnTo>
                <a:lnTo>
                  <a:pt x="128" y="70"/>
                </a:lnTo>
                <a:lnTo>
                  <a:pt x="131" y="70"/>
                </a:lnTo>
                <a:lnTo>
                  <a:pt x="134" y="69"/>
                </a:lnTo>
                <a:lnTo>
                  <a:pt x="136" y="69"/>
                </a:lnTo>
                <a:lnTo>
                  <a:pt x="139" y="70"/>
                </a:lnTo>
                <a:lnTo>
                  <a:pt x="145" y="73"/>
                </a:lnTo>
                <a:lnTo>
                  <a:pt x="147" y="75"/>
                </a:lnTo>
                <a:lnTo>
                  <a:pt x="149" y="77"/>
                </a:lnTo>
                <a:lnTo>
                  <a:pt x="151" y="83"/>
                </a:lnTo>
                <a:lnTo>
                  <a:pt x="151" y="87"/>
                </a:lnTo>
                <a:lnTo>
                  <a:pt x="152" y="91"/>
                </a:lnTo>
                <a:lnTo>
                  <a:pt x="155" y="92"/>
                </a:lnTo>
                <a:lnTo>
                  <a:pt x="155" y="95"/>
                </a:lnTo>
                <a:lnTo>
                  <a:pt x="154" y="101"/>
                </a:lnTo>
                <a:lnTo>
                  <a:pt x="151" y="101"/>
                </a:lnTo>
                <a:lnTo>
                  <a:pt x="151" y="102"/>
                </a:lnTo>
                <a:lnTo>
                  <a:pt x="152" y="104"/>
                </a:lnTo>
                <a:lnTo>
                  <a:pt x="155" y="109"/>
                </a:lnTo>
                <a:lnTo>
                  <a:pt x="157" y="116"/>
                </a:lnTo>
                <a:lnTo>
                  <a:pt x="159" y="120"/>
                </a:lnTo>
                <a:lnTo>
                  <a:pt x="164" y="120"/>
                </a:lnTo>
                <a:lnTo>
                  <a:pt x="167" y="121"/>
                </a:lnTo>
                <a:lnTo>
                  <a:pt x="170" y="121"/>
                </a:lnTo>
                <a:lnTo>
                  <a:pt x="172" y="121"/>
                </a:lnTo>
                <a:lnTo>
                  <a:pt x="185" y="122"/>
                </a:lnTo>
                <a:lnTo>
                  <a:pt x="186" y="122"/>
                </a:lnTo>
                <a:lnTo>
                  <a:pt x="187" y="123"/>
                </a:lnTo>
                <a:lnTo>
                  <a:pt x="187" y="124"/>
                </a:lnTo>
                <a:lnTo>
                  <a:pt x="187" y="127"/>
                </a:lnTo>
                <a:lnTo>
                  <a:pt x="187" y="130"/>
                </a:lnTo>
                <a:lnTo>
                  <a:pt x="187" y="132"/>
                </a:lnTo>
                <a:lnTo>
                  <a:pt x="188" y="137"/>
                </a:lnTo>
                <a:lnTo>
                  <a:pt x="193" y="140"/>
                </a:lnTo>
                <a:lnTo>
                  <a:pt x="195" y="141"/>
                </a:lnTo>
                <a:lnTo>
                  <a:pt x="196" y="145"/>
                </a:lnTo>
                <a:lnTo>
                  <a:pt x="199" y="151"/>
                </a:lnTo>
                <a:lnTo>
                  <a:pt x="200" y="154"/>
                </a:lnTo>
                <a:lnTo>
                  <a:pt x="201" y="162"/>
                </a:lnTo>
                <a:lnTo>
                  <a:pt x="201" y="172"/>
                </a:lnTo>
                <a:lnTo>
                  <a:pt x="201" y="173"/>
                </a:lnTo>
                <a:lnTo>
                  <a:pt x="200" y="175"/>
                </a:lnTo>
                <a:lnTo>
                  <a:pt x="199" y="180"/>
                </a:lnTo>
                <a:lnTo>
                  <a:pt x="199" y="181"/>
                </a:lnTo>
                <a:lnTo>
                  <a:pt x="199" y="184"/>
                </a:lnTo>
                <a:lnTo>
                  <a:pt x="200" y="185"/>
                </a:lnTo>
                <a:lnTo>
                  <a:pt x="200" y="188"/>
                </a:lnTo>
                <a:lnTo>
                  <a:pt x="200" y="190"/>
                </a:lnTo>
                <a:lnTo>
                  <a:pt x="198" y="190"/>
                </a:lnTo>
                <a:lnTo>
                  <a:pt x="198" y="191"/>
                </a:lnTo>
                <a:lnTo>
                  <a:pt x="196" y="188"/>
                </a:lnTo>
                <a:lnTo>
                  <a:pt x="195" y="187"/>
                </a:lnTo>
                <a:lnTo>
                  <a:pt x="190" y="181"/>
                </a:lnTo>
                <a:lnTo>
                  <a:pt x="188" y="178"/>
                </a:lnTo>
                <a:lnTo>
                  <a:pt x="185" y="176"/>
                </a:lnTo>
                <a:lnTo>
                  <a:pt x="180" y="175"/>
                </a:lnTo>
                <a:lnTo>
                  <a:pt x="168" y="174"/>
                </a:lnTo>
                <a:lnTo>
                  <a:pt x="167" y="175"/>
                </a:lnTo>
                <a:lnTo>
                  <a:pt x="158" y="177"/>
                </a:lnTo>
                <a:lnTo>
                  <a:pt x="157" y="177"/>
                </a:lnTo>
                <a:lnTo>
                  <a:pt x="142" y="183"/>
                </a:lnTo>
                <a:lnTo>
                  <a:pt x="137" y="184"/>
                </a:lnTo>
                <a:lnTo>
                  <a:pt x="137" y="186"/>
                </a:lnTo>
                <a:lnTo>
                  <a:pt x="136" y="191"/>
                </a:lnTo>
                <a:lnTo>
                  <a:pt x="134" y="195"/>
                </a:lnTo>
                <a:lnTo>
                  <a:pt x="131" y="201"/>
                </a:lnTo>
                <a:lnTo>
                  <a:pt x="131" y="202"/>
                </a:lnTo>
                <a:lnTo>
                  <a:pt x="131" y="210"/>
                </a:lnTo>
                <a:lnTo>
                  <a:pt x="132" y="212"/>
                </a:lnTo>
                <a:lnTo>
                  <a:pt x="132" y="214"/>
                </a:lnTo>
                <a:lnTo>
                  <a:pt x="130" y="226"/>
                </a:lnTo>
                <a:lnTo>
                  <a:pt x="128" y="231"/>
                </a:lnTo>
                <a:lnTo>
                  <a:pt x="126" y="230"/>
                </a:lnTo>
                <a:lnTo>
                  <a:pt x="125" y="227"/>
                </a:lnTo>
                <a:lnTo>
                  <a:pt x="122" y="226"/>
                </a:lnTo>
                <a:lnTo>
                  <a:pt x="121" y="226"/>
                </a:lnTo>
                <a:lnTo>
                  <a:pt x="119" y="226"/>
                </a:lnTo>
                <a:lnTo>
                  <a:pt x="114" y="226"/>
                </a:lnTo>
                <a:lnTo>
                  <a:pt x="108" y="225"/>
                </a:lnTo>
                <a:lnTo>
                  <a:pt x="106" y="225"/>
                </a:lnTo>
                <a:lnTo>
                  <a:pt x="106" y="226"/>
                </a:lnTo>
                <a:lnTo>
                  <a:pt x="105" y="232"/>
                </a:lnTo>
                <a:lnTo>
                  <a:pt x="105" y="235"/>
                </a:lnTo>
                <a:lnTo>
                  <a:pt x="105" y="237"/>
                </a:lnTo>
                <a:lnTo>
                  <a:pt x="104" y="237"/>
                </a:lnTo>
                <a:lnTo>
                  <a:pt x="100" y="234"/>
                </a:lnTo>
                <a:lnTo>
                  <a:pt x="99" y="233"/>
                </a:lnTo>
                <a:lnTo>
                  <a:pt x="99" y="232"/>
                </a:lnTo>
                <a:lnTo>
                  <a:pt x="97" y="230"/>
                </a:lnTo>
                <a:lnTo>
                  <a:pt x="96" y="230"/>
                </a:lnTo>
                <a:lnTo>
                  <a:pt x="90" y="227"/>
                </a:lnTo>
                <a:lnTo>
                  <a:pt x="89" y="227"/>
                </a:lnTo>
                <a:lnTo>
                  <a:pt x="86" y="227"/>
                </a:lnTo>
                <a:lnTo>
                  <a:pt x="79" y="227"/>
                </a:lnTo>
                <a:lnTo>
                  <a:pt x="76" y="223"/>
                </a:lnTo>
                <a:lnTo>
                  <a:pt x="74" y="221"/>
                </a:lnTo>
                <a:lnTo>
                  <a:pt x="73" y="221"/>
                </a:lnTo>
                <a:lnTo>
                  <a:pt x="73" y="222"/>
                </a:lnTo>
                <a:lnTo>
                  <a:pt x="69" y="226"/>
                </a:lnTo>
                <a:lnTo>
                  <a:pt x="66" y="230"/>
                </a:lnTo>
                <a:lnTo>
                  <a:pt x="64" y="232"/>
                </a:lnTo>
                <a:lnTo>
                  <a:pt x="63" y="234"/>
                </a:lnTo>
                <a:lnTo>
                  <a:pt x="63" y="236"/>
                </a:lnTo>
                <a:lnTo>
                  <a:pt x="60" y="238"/>
                </a:lnTo>
                <a:lnTo>
                  <a:pt x="59" y="241"/>
                </a:lnTo>
                <a:lnTo>
                  <a:pt x="59" y="241"/>
                </a:lnTo>
                <a:lnTo>
                  <a:pt x="56" y="241"/>
                </a:lnTo>
                <a:lnTo>
                  <a:pt x="55" y="241"/>
                </a:lnTo>
                <a:lnTo>
                  <a:pt x="52" y="242"/>
                </a:lnTo>
                <a:lnTo>
                  <a:pt x="49" y="241"/>
                </a:lnTo>
                <a:lnTo>
                  <a:pt x="47" y="240"/>
                </a:lnTo>
                <a:lnTo>
                  <a:pt x="47" y="240"/>
                </a:lnTo>
                <a:lnTo>
                  <a:pt x="45" y="236"/>
                </a:lnTo>
                <a:lnTo>
                  <a:pt x="45" y="234"/>
                </a:lnTo>
                <a:lnTo>
                  <a:pt x="43" y="227"/>
                </a:lnTo>
                <a:lnTo>
                  <a:pt x="43" y="222"/>
                </a:lnTo>
                <a:lnTo>
                  <a:pt x="42" y="215"/>
                </a:lnTo>
                <a:lnTo>
                  <a:pt x="39" y="212"/>
                </a:lnTo>
                <a:lnTo>
                  <a:pt x="38" y="210"/>
                </a:lnTo>
                <a:lnTo>
                  <a:pt x="37" y="205"/>
                </a:lnTo>
                <a:lnTo>
                  <a:pt x="37" y="204"/>
                </a:lnTo>
                <a:lnTo>
                  <a:pt x="35" y="202"/>
                </a:lnTo>
                <a:lnTo>
                  <a:pt x="34" y="202"/>
                </a:lnTo>
                <a:lnTo>
                  <a:pt x="33" y="201"/>
                </a:lnTo>
                <a:lnTo>
                  <a:pt x="33" y="198"/>
                </a:lnTo>
                <a:lnTo>
                  <a:pt x="32" y="195"/>
                </a:lnTo>
                <a:lnTo>
                  <a:pt x="30" y="194"/>
                </a:lnTo>
                <a:lnTo>
                  <a:pt x="28" y="193"/>
                </a:lnTo>
                <a:lnTo>
                  <a:pt x="28" y="191"/>
                </a:lnTo>
                <a:lnTo>
                  <a:pt x="28" y="187"/>
                </a:lnTo>
                <a:lnTo>
                  <a:pt x="29" y="186"/>
                </a:lnTo>
                <a:lnTo>
                  <a:pt x="32" y="185"/>
                </a:lnTo>
                <a:lnTo>
                  <a:pt x="32" y="185"/>
                </a:lnTo>
                <a:lnTo>
                  <a:pt x="32" y="184"/>
                </a:lnTo>
                <a:lnTo>
                  <a:pt x="30" y="182"/>
                </a:lnTo>
                <a:lnTo>
                  <a:pt x="30" y="180"/>
                </a:lnTo>
                <a:lnTo>
                  <a:pt x="32" y="178"/>
                </a:lnTo>
                <a:lnTo>
                  <a:pt x="30" y="175"/>
                </a:lnTo>
                <a:lnTo>
                  <a:pt x="28" y="173"/>
                </a:lnTo>
                <a:lnTo>
                  <a:pt x="24" y="170"/>
                </a:lnTo>
                <a:lnTo>
                  <a:pt x="23" y="168"/>
                </a:lnTo>
                <a:lnTo>
                  <a:pt x="22" y="166"/>
                </a:lnTo>
                <a:lnTo>
                  <a:pt x="19" y="155"/>
                </a:lnTo>
                <a:lnTo>
                  <a:pt x="19" y="153"/>
                </a:lnTo>
                <a:lnTo>
                  <a:pt x="17" y="150"/>
                </a:lnTo>
                <a:lnTo>
                  <a:pt x="15" y="149"/>
                </a:lnTo>
                <a:lnTo>
                  <a:pt x="12" y="144"/>
                </a:lnTo>
                <a:lnTo>
                  <a:pt x="12" y="144"/>
                </a:lnTo>
                <a:lnTo>
                  <a:pt x="10" y="142"/>
                </a:lnTo>
                <a:lnTo>
                  <a:pt x="9" y="142"/>
                </a:lnTo>
                <a:lnTo>
                  <a:pt x="9" y="140"/>
                </a:lnTo>
                <a:lnTo>
                  <a:pt x="13" y="134"/>
                </a:lnTo>
                <a:lnTo>
                  <a:pt x="15" y="131"/>
                </a:lnTo>
                <a:lnTo>
                  <a:pt x="18" y="125"/>
                </a:lnTo>
                <a:lnTo>
                  <a:pt x="18" y="122"/>
                </a:lnTo>
                <a:lnTo>
                  <a:pt x="17" y="121"/>
                </a:lnTo>
                <a:lnTo>
                  <a:pt x="16" y="119"/>
                </a:lnTo>
                <a:lnTo>
                  <a:pt x="15" y="119"/>
                </a:lnTo>
                <a:lnTo>
                  <a:pt x="13" y="116"/>
                </a:lnTo>
                <a:lnTo>
                  <a:pt x="13" y="116"/>
                </a:lnTo>
                <a:lnTo>
                  <a:pt x="12" y="114"/>
                </a:lnTo>
                <a:lnTo>
                  <a:pt x="12" y="111"/>
                </a:lnTo>
                <a:lnTo>
                  <a:pt x="12" y="107"/>
                </a:lnTo>
                <a:lnTo>
                  <a:pt x="13" y="104"/>
                </a:lnTo>
                <a:lnTo>
                  <a:pt x="14" y="103"/>
                </a:lnTo>
                <a:lnTo>
                  <a:pt x="14" y="101"/>
                </a:lnTo>
                <a:lnTo>
                  <a:pt x="14" y="100"/>
                </a:lnTo>
                <a:lnTo>
                  <a:pt x="14" y="97"/>
                </a:lnTo>
                <a:lnTo>
                  <a:pt x="10" y="93"/>
                </a:lnTo>
                <a:lnTo>
                  <a:pt x="10" y="92"/>
                </a:lnTo>
                <a:lnTo>
                  <a:pt x="12" y="91"/>
                </a:lnTo>
                <a:lnTo>
                  <a:pt x="15" y="89"/>
                </a:lnTo>
                <a:lnTo>
                  <a:pt x="15" y="87"/>
                </a:lnTo>
                <a:lnTo>
                  <a:pt x="15" y="82"/>
                </a:lnTo>
                <a:lnTo>
                  <a:pt x="14" y="75"/>
                </a:lnTo>
                <a:lnTo>
                  <a:pt x="13" y="72"/>
                </a:lnTo>
                <a:lnTo>
                  <a:pt x="14" y="66"/>
                </a:lnTo>
                <a:lnTo>
                  <a:pt x="13" y="59"/>
                </a:lnTo>
                <a:lnTo>
                  <a:pt x="14" y="54"/>
                </a:lnTo>
                <a:lnTo>
                  <a:pt x="16" y="52"/>
                </a:lnTo>
                <a:lnTo>
                  <a:pt x="17" y="51"/>
                </a:lnTo>
                <a:lnTo>
                  <a:pt x="17" y="51"/>
                </a:lnTo>
                <a:lnTo>
                  <a:pt x="12" y="43"/>
                </a:lnTo>
                <a:lnTo>
                  <a:pt x="0" y="2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01" name="Freeform 701"/>
          <p:cNvSpPr>
            <a:spLocks/>
          </p:cNvSpPr>
          <p:nvPr/>
        </p:nvSpPr>
        <p:spPr bwMode="auto">
          <a:xfrm>
            <a:off x="2935288" y="4446553"/>
            <a:ext cx="127000" cy="139700"/>
          </a:xfrm>
          <a:custGeom>
            <a:avLst/>
            <a:gdLst>
              <a:gd name="T0" fmla="*/ 3 w 80"/>
              <a:gd name="T1" fmla="*/ 71 h 88"/>
              <a:gd name="T2" fmla="*/ 10 w 80"/>
              <a:gd name="T3" fmla="*/ 76 h 88"/>
              <a:gd name="T4" fmla="*/ 20 w 80"/>
              <a:gd name="T5" fmla="*/ 80 h 88"/>
              <a:gd name="T6" fmla="*/ 30 w 80"/>
              <a:gd name="T7" fmla="*/ 83 h 88"/>
              <a:gd name="T8" fmla="*/ 37 w 80"/>
              <a:gd name="T9" fmla="*/ 85 h 88"/>
              <a:gd name="T10" fmla="*/ 41 w 80"/>
              <a:gd name="T11" fmla="*/ 87 h 88"/>
              <a:gd name="T12" fmla="*/ 50 w 80"/>
              <a:gd name="T13" fmla="*/ 86 h 88"/>
              <a:gd name="T14" fmla="*/ 60 w 80"/>
              <a:gd name="T15" fmla="*/ 88 h 88"/>
              <a:gd name="T16" fmla="*/ 67 w 80"/>
              <a:gd name="T17" fmla="*/ 85 h 88"/>
              <a:gd name="T18" fmla="*/ 72 w 80"/>
              <a:gd name="T19" fmla="*/ 80 h 88"/>
              <a:gd name="T20" fmla="*/ 74 w 80"/>
              <a:gd name="T21" fmla="*/ 76 h 88"/>
              <a:gd name="T22" fmla="*/ 77 w 80"/>
              <a:gd name="T23" fmla="*/ 71 h 88"/>
              <a:gd name="T24" fmla="*/ 78 w 80"/>
              <a:gd name="T25" fmla="*/ 66 h 88"/>
              <a:gd name="T26" fmla="*/ 77 w 80"/>
              <a:gd name="T27" fmla="*/ 64 h 88"/>
              <a:gd name="T28" fmla="*/ 76 w 80"/>
              <a:gd name="T29" fmla="*/ 56 h 88"/>
              <a:gd name="T30" fmla="*/ 77 w 80"/>
              <a:gd name="T31" fmla="*/ 52 h 88"/>
              <a:gd name="T32" fmla="*/ 78 w 80"/>
              <a:gd name="T33" fmla="*/ 50 h 88"/>
              <a:gd name="T34" fmla="*/ 80 w 80"/>
              <a:gd name="T35" fmla="*/ 48 h 88"/>
              <a:gd name="T36" fmla="*/ 71 w 80"/>
              <a:gd name="T37" fmla="*/ 42 h 88"/>
              <a:gd name="T38" fmla="*/ 69 w 80"/>
              <a:gd name="T39" fmla="*/ 36 h 88"/>
              <a:gd name="T40" fmla="*/ 62 w 80"/>
              <a:gd name="T41" fmla="*/ 32 h 88"/>
              <a:gd name="T42" fmla="*/ 59 w 80"/>
              <a:gd name="T43" fmla="*/ 31 h 88"/>
              <a:gd name="T44" fmla="*/ 55 w 80"/>
              <a:gd name="T45" fmla="*/ 25 h 88"/>
              <a:gd name="T46" fmla="*/ 50 w 80"/>
              <a:gd name="T47" fmla="*/ 24 h 88"/>
              <a:gd name="T48" fmla="*/ 46 w 80"/>
              <a:gd name="T49" fmla="*/ 22 h 88"/>
              <a:gd name="T50" fmla="*/ 44 w 80"/>
              <a:gd name="T51" fmla="*/ 21 h 88"/>
              <a:gd name="T52" fmla="*/ 39 w 80"/>
              <a:gd name="T53" fmla="*/ 16 h 88"/>
              <a:gd name="T54" fmla="*/ 37 w 80"/>
              <a:gd name="T55" fmla="*/ 13 h 88"/>
              <a:gd name="T56" fmla="*/ 33 w 80"/>
              <a:gd name="T57" fmla="*/ 17 h 88"/>
              <a:gd name="T58" fmla="*/ 29 w 80"/>
              <a:gd name="T59" fmla="*/ 14 h 88"/>
              <a:gd name="T60" fmla="*/ 25 w 80"/>
              <a:gd name="T61" fmla="*/ 7 h 88"/>
              <a:gd name="T62" fmla="*/ 20 w 80"/>
              <a:gd name="T63" fmla="*/ 3 h 88"/>
              <a:gd name="T64" fmla="*/ 14 w 80"/>
              <a:gd name="T65" fmla="*/ 0 h 88"/>
              <a:gd name="T66" fmla="*/ 11 w 80"/>
              <a:gd name="T67" fmla="*/ 1 h 88"/>
              <a:gd name="T68" fmla="*/ 8 w 80"/>
              <a:gd name="T69" fmla="*/ 3 h 88"/>
              <a:gd name="T70" fmla="*/ 4 w 80"/>
              <a:gd name="T71" fmla="*/ 4 h 88"/>
              <a:gd name="T72" fmla="*/ 0 w 80"/>
              <a:gd name="T73" fmla="*/ 7 h 88"/>
              <a:gd name="T74" fmla="*/ 3 w 80"/>
              <a:gd name="T75" fmla="*/ 21 h 88"/>
              <a:gd name="T76" fmla="*/ 3 w 80"/>
              <a:gd name="T77" fmla="*/ 27 h 88"/>
              <a:gd name="T78" fmla="*/ 4 w 80"/>
              <a:gd name="T79" fmla="*/ 48 h 88"/>
              <a:gd name="T80" fmla="*/ 4 w 80"/>
              <a:gd name="T81" fmla="*/ 53 h 88"/>
              <a:gd name="T82" fmla="*/ 1 w 80"/>
              <a:gd name="T83" fmla="*/ 60 h 88"/>
              <a:gd name="T84" fmla="*/ 3 w 80"/>
              <a:gd name="T85" fmla="*/ 71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80" h="88">
                <a:moveTo>
                  <a:pt x="3" y="71"/>
                </a:moveTo>
                <a:lnTo>
                  <a:pt x="3" y="71"/>
                </a:lnTo>
                <a:lnTo>
                  <a:pt x="5" y="71"/>
                </a:lnTo>
                <a:lnTo>
                  <a:pt x="10" y="76"/>
                </a:lnTo>
                <a:lnTo>
                  <a:pt x="13" y="78"/>
                </a:lnTo>
                <a:lnTo>
                  <a:pt x="20" y="80"/>
                </a:lnTo>
                <a:lnTo>
                  <a:pt x="23" y="80"/>
                </a:lnTo>
                <a:lnTo>
                  <a:pt x="30" y="83"/>
                </a:lnTo>
                <a:lnTo>
                  <a:pt x="34" y="85"/>
                </a:lnTo>
                <a:lnTo>
                  <a:pt x="37" y="85"/>
                </a:lnTo>
                <a:lnTo>
                  <a:pt x="39" y="86"/>
                </a:lnTo>
                <a:lnTo>
                  <a:pt x="41" y="87"/>
                </a:lnTo>
                <a:lnTo>
                  <a:pt x="47" y="86"/>
                </a:lnTo>
                <a:lnTo>
                  <a:pt x="50" y="86"/>
                </a:lnTo>
                <a:lnTo>
                  <a:pt x="56" y="87"/>
                </a:lnTo>
                <a:lnTo>
                  <a:pt x="60" y="88"/>
                </a:lnTo>
                <a:lnTo>
                  <a:pt x="65" y="86"/>
                </a:lnTo>
                <a:lnTo>
                  <a:pt x="67" y="85"/>
                </a:lnTo>
                <a:lnTo>
                  <a:pt x="70" y="83"/>
                </a:lnTo>
                <a:lnTo>
                  <a:pt x="72" y="80"/>
                </a:lnTo>
                <a:lnTo>
                  <a:pt x="74" y="78"/>
                </a:lnTo>
                <a:lnTo>
                  <a:pt x="74" y="76"/>
                </a:lnTo>
                <a:lnTo>
                  <a:pt x="76" y="74"/>
                </a:lnTo>
                <a:lnTo>
                  <a:pt x="77" y="71"/>
                </a:lnTo>
                <a:lnTo>
                  <a:pt x="77" y="67"/>
                </a:lnTo>
                <a:lnTo>
                  <a:pt x="78" y="66"/>
                </a:lnTo>
                <a:lnTo>
                  <a:pt x="77" y="65"/>
                </a:lnTo>
                <a:lnTo>
                  <a:pt x="77" y="64"/>
                </a:lnTo>
                <a:lnTo>
                  <a:pt x="77" y="61"/>
                </a:lnTo>
                <a:lnTo>
                  <a:pt x="76" y="56"/>
                </a:lnTo>
                <a:lnTo>
                  <a:pt x="76" y="54"/>
                </a:lnTo>
                <a:lnTo>
                  <a:pt x="77" y="52"/>
                </a:lnTo>
                <a:lnTo>
                  <a:pt x="78" y="52"/>
                </a:lnTo>
                <a:lnTo>
                  <a:pt x="78" y="50"/>
                </a:lnTo>
                <a:lnTo>
                  <a:pt x="79" y="50"/>
                </a:lnTo>
                <a:lnTo>
                  <a:pt x="80" y="48"/>
                </a:lnTo>
                <a:lnTo>
                  <a:pt x="78" y="46"/>
                </a:lnTo>
                <a:lnTo>
                  <a:pt x="71" y="42"/>
                </a:lnTo>
                <a:lnTo>
                  <a:pt x="70" y="41"/>
                </a:lnTo>
                <a:lnTo>
                  <a:pt x="69" y="36"/>
                </a:lnTo>
                <a:lnTo>
                  <a:pt x="67" y="34"/>
                </a:lnTo>
                <a:lnTo>
                  <a:pt x="62" y="32"/>
                </a:lnTo>
                <a:lnTo>
                  <a:pt x="61" y="32"/>
                </a:lnTo>
                <a:lnTo>
                  <a:pt x="59" y="31"/>
                </a:lnTo>
                <a:lnTo>
                  <a:pt x="57" y="28"/>
                </a:lnTo>
                <a:lnTo>
                  <a:pt x="55" y="25"/>
                </a:lnTo>
                <a:lnTo>
                  <a:pt x="54" y="25"/>
                </a:lnTo>
                <a:lnTo>
                  <a:pt x="50" y="24"/>
                </a:lnTo>
                <a:lnTo>
                  <a:pt x="48" y="22"/>
                </a:lnTo>
                <a:lnTo>
                  <a:pt x="46" y="22"/>
                </a:lnTo>
                <a:lnTo>
                  <a:pt x="45" y="22"/>
                </a:lnTo>
                <a:lnTo>
                  <a:pt x="44" y="21"/>
                </a:lnTo>
                <a:lnTo>
                  <a:pt x="41" y="18"/>
                </a:lnTo>
                <a:lnTo>
                  <a:pt x="39" y="16"/>
                </a:lnTo>
                <a:lnTo>
                  <a:pt x="38" y="14"/>
                </a:lnTo>
                <a:lnTo>
                  <a:pt x="37" y="13"/>
                </a:lnTo>
                <a:lnTo>
                  <a:pt x="34" y="16"/>
                </a:lnTo>
                <a:lnTo>
                  <a:pt x="33" y="17"/>
                </a:lnTo>
                <a:lnTo>
                  <a:pt x="30" y="16"/>
                </a:lnTo>
                <a:lnTo>
                  <a:pt x="29" y="14"/>
                </a:lnTo>
                <a:lnTo>
                  <a:pt x="27" y="10"/>
                </a:lnTo>
                <a:lnTo>
                  <a:pt x="25" y="7"/>
                </a:lnTo>
                <a:lnTo>
                  <a:pt x="21" y="5"/>
                </a:lnTo>
                <a:lnTo>
                  <a:pt x="20" y="3"/>
                </a:lnTo>
                <a:lnTo>
                  <a:pt x="16" y="1"/>
                </a:lnTo>
                <a:lnTo>
                  <a:pt x="14" y="0"/>
                </a:lnTo>
                <a:lnTo>
                  <a:pt x="13" y="0"/>
                </a:lnTo>
                <a:lnTo>
                  <a:pt x="11" y="1"/>
                </a:lnTo>
                <a:lnTo>
                  <a:pt x="10" y="2"/>
                </a:lnTo>
                <a:lnTo>
                  <a:pt x="8" y="3"/>
                </a:lnTo>
                <a:lnTo>
                  <a:pt x="4" y="3"/>
                </a:lnTo>
                <a:lnTo>
                  <a:pt x="4" y="4"/>
                </a:lnTo>
                <a:lnTo>
                  <a:pt x="0" y="6"/>
                </a:lnTo>
                <a:lnTo>
                  <a:pt x="0" y="7"/>
                </a:lnTo>
                <a:lnTo>
                  <a:pt x="3" y="14"/>
                </a:lnTo>
                <a:lnTo>
                  <a:pt x="3" y="21"/>
                </a:lnTo>
                <a:lnTo>
                  <a:pt x="3" y="25"/>
                </a:lnTo>
                <a:lnTo>
                  <a:pt x="3" y="27"/>
                </a:lnTo>
                <a:lnTo>
                  <a:pt x="1" y="34"/>
                </a:lnTo>
                <a:lnTo>
                  <a:pt x="4" y="48"/>
                </a:lnTo>
                <a:lnTo>
                  <a:pt x="4" y="52"/>
                </a:lnTo>
                <a:lnTo>
                  <a:pt x="4" y="53"/>
                </a:lnTo>
                <a:lnTo>
                  <a:pt x="3" y="56"/>
                </a:lnTo>
                <a:lnTo>
                  <a:pt x="1" y="60"/>
                </a:lnTo>
                <a:lnTo>
                  <a:pt x="3" y="66"/>
                </a:lnTo>
                <a:lnTo>
                  <a:pt x="3" y="7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02" name="Freeform 702"/>
          <p:cNvSpPr>
            <a:spLocks/>
          </p:cNvSpPr>
          <p:nvPr/>
        </p:nvSpPr>
        <p:spPr bwMode="auto">
          <a:xfrm>
            <a:off x="2935288" y="4446553"/>
            <a:ext cx="127000" cy="139700"/>
          </a:xfrm>
          <a:custGeom>
            <a:avLst/>
            <a:gdLst>
              <a:gd name="T0" fmla="*/ 3 w 80"/>
              <a:gd name="T1" fmla="*/ 71 h 88"/>
              <a:gd name="T2" fmla="*/ 10 w 80"/>
              <a:gd name="T3" fmla="*/ 76 h 88"/>
              <a:gd name="T4" fmla="*/ 20 w 80"/>
              <a:gd name="T5" fmla="*/ 80 h 88"/>
              <a:gd name="T6" fmla="*/ 30 w 80"/>
              <a:gd name="T7" fmla="*/ 83 h 88"/>
              <a:gd name="T8" fmla="*/ 37 w 80"/>
              <a:gd name="T9" fmla="*/ 85 h 88"/>
              <a:gd name="T10" fmla="*/ 41 w 80"/>
              <a:gd name="T11" fmla="*/ 87 h 88"/>
              <a:gd name="T12" fmla="*/ 50 w 80"/>
              <a:gd name="T13" fmla="*/ 86 h 88"/>
              <a:gd name="T14" fmla="*/ 60 w 80"/>
              <a:gd name="T15" fmla="*/ 88 h 88"/>
              <a:gd name="T16" fmla="*/ 67 w 80"/>
              <a:gd name="T17" fmla="*/ 85 h 88"/>
              <a:gd name="T18" fmla="*/ 72 w 80"/>
              <a:gd name="T19" fmla="*/ 80 h 88"/>
              <a:gd name="T20" fmla="*/ 74 w 80"/>
              <a:gd name="T21" fmla="*/ 76 h 88"/>
              <a:gd name="T22" fmla="*/ 77 w 80"/>
              <a:gd name="T23" fmla="*/ 71 h 88"/>
              <a:gd name="T24" fmla="*/ 78 w 80"/>
              <a:gd name="T25" fmla="*/ 66 h 88"/>
              <a:gd name="T26" fmla="*/ 77 w 80"/>
              <a:gd name="T27" fmla="*/ 64 h 88"/>
              <a:gd name="T28" fmla="*/ 76 w 80"/>
              <a:gd name="T29" fmla="*/ 56 h 88"/>
              <a:gd name="T30" fmla="*/ 77 w 80"/>
              <a:gd name="T31" fmla="*/ 52 h 88"/>
              <a:gd name="T32" fmla="*/ 78 w 80"/>
              <a:gd name="T33" fmla="*/ 50 h 88"/>
              <a:gd name="T34" fmla="*/ 80 w 80"/>
              <a:gd name="T35" fmla="*/ 48 h 88"/>
              <a:gd name="T36" fmla="*/ 71 w 80"/>
              <a:gd name="T37" fmla="*/ 42 h 88"/>
              <a:gd name="T38" fmla="*/ 69 w 80"/>
              <a:gd name="T39" fmla="*/ 36 h 88"/>
              <a:gd name="T40" fmla="*/ 62 w 80"/>
              <a:gd name="T41" fmla="*/ 32 h 88"/>
              <a:gd name="T42" fmla="*/ 59 w 80"/>
              <a:gd name="T43" fmla="*/ 31 h 88"/>
              <a:gd name="T44" fmla="*/ 55 w 80"/>
              <a:gd name="T45" fmla="*/ 25 h 88"/>
              <a:gd name="T46" fmla="*/ 50 w 80"/>
              <a:gd name="T47" fmla="*/ 24 h 88"/>
              <a:gd name="T48" fmla="*/ 46 w 80"/>
              <a:gd name="T49" fmla="*/ 22 h 88"/>
              <a:gd name="T50" fmla="*/ 44 w 80"/>
              <a:gd name="T51" fmla="*/ 21 h 88"/>
              <a:gd name="T52" fmla="*/ 39 w 80"/>
              <a:gd name="T53" fmla="*/ 16 h 88"/>
              <a:gd name="T54" fmla="*/ 37 w 80"/>
              <a:gd name="T55" fmla="*/ 13 h 88"/>
              <a:gd name="T56" fmla="*/ 33 w 80"/>
              <a:gd name="T57" fmla="*/ 17 h 88"/>
              <a:gd name="T58" fmla="*/ 29 w 80"/>
              <a:gd name="T59" fmla="*/ 14 h 88"/>
              <a:gd name="T60" fmla="*/ 25 w 80"/>
              <a:gd name="T61" fmla="*/ 7 h 88"/>
              <a:gd name="T62" fmla="*/ 20 w 80"/>
              <a:gd name="T63" fmla="*/ 3 h 88"/>
              <a:gd name="T64" fmla="*/ 14 w 80"/>
              <a:gd name="T65" fmla="*/ 0 h 88"/>
              <a:gd name="T66" fmla="*/ 11 w 80"/>
              <a:gd name="T67" fmla="*/ 1 h 88"/>
              <a:gd name="T68" fmla="*/ 8 w 80"/>
              <a:gd name="T69" fmla="*/ 3 h 88"/>
              <a:gd name="T70" fmla="*/ 4 w 80"/>
              <a:gd name="T71" fmla="*/ 4 h 88"/>
              <a:gd name="T72" fmla="*/ 0 w 80"/>
              <a:gd name="T73" fmla="*/ 7 h 88"/>
              <a:gd name="T74" fmla="*/ 3 w 80"/>
              <a:gd name="T75" fmla="*/ 21 h 88"/>
              <a:gd name="T76" fmla="*/ 3 w 80"/>
              <a:gd name="T77" fmla="*/ 27 h 88"/>
              <a:gd name="T78" fmla="*/ 4 w 80"/>
              <a:gd name="T79" fmla="*/ 48 h 88"/>
              <a:gd name="T80" fmla="*/ 4 w 80"/>
              <a:gd name="T81" fmla="*/ 53 h 88"/>
              <a:gd name="T82" fmla="*/ 1 w 80"/>
              <a:gd name="T83" fmla="*/ 60 h 88"/>
              <a:gd name="T84" fmla="*/ 3 w 80"/>
              <a:gd name="T85" fmla="*/ 71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80" h="88">
                <a:moveTo>
                  <a:pt x="3" y="71"/>
                </a:moveTo>
                <a:lnTo>
                  <a:pt x="3" y="71"/>
                </a:lnTo>
                <a:lnTo>
                  <a:pt x="5" y="71"/>
                </a:lnTo>
                <a:lnTo>
                  <a:pt x="10" y="76"/>
                </a:lnTo>
                <a:lnTo>
                  <a:pt x="13" y="78"/>
                </a:lnTo>
                <a:lnTo>
                  <a:pt x="20" y="80"/>
                </a:lnTo>
                <a:lnTo>
                  <a:pt x="23" y="80"/>
                </a:lnTo>
                <a:lnTo>
                  <a:pt x="30" y="83"/>
                </a:lnTo>
                <a:lnTo>
                  <a:pt x="34" y="85"/>
                </a:lnTo>
                <a:lnTo>
                  <a:pt x="37" y="85"/>
                </a:lnTo>
                <a:lnTo>
                  <a:pt x="39" y="86"/>
                </a:lnTo>
                <a:lnTo>
                  <a:pt x="41" y="87"/>
                </a:lnTo>
                <a:lnTo>
                  <a:pt x="47" y="86"/>
                </a:lnTo>
                <a:lnTo>
                  <a:pt x="50" y="86"/>
                </a:lnTo>
                <a:lnTo>
                  <a:pt x="56" y="87"/>
                </a:lnTo>
                <a:lnTo>
                  <a:pt x="60" y="88"/>
                </a:lnTo>
                <a:lnTo>
                  <a:pt x="65" y="86"/>
                </a:lnTo>
                <a:lnTo>
                  <a:pt x="67" y="85"/>
                </a:lnTo>
                <a:lnTo>
                  <a:pt x="70" y="83"/>
                </a:lnTo>
                <a:lnTo>
                  <a:pt x="72" y="80"/>
                </a:lnTo>
                <a:lnTo>
                  <a:pt x="74" y="78"/>
                </a:lnTo>
                <a:lnTo>
                  <a:pt x="74" y="76"/>
                </a:lnTo>
                <a:lnTo>
                  <a:pt x="76" y="74"/>
                </a:lnTo>
                <a:lnTo>
                  <a:pt x="77" y="71"/>
                </a:lnTo>
                <a:lnTo>
                  <a:pt x="77" y="67"/>
                </a:lnTo>
                <a:lnTo>
                  <a:pt x="78" y="66"/>
                </a:lnTo>
                <a:lnTo>
                  <a:pt x="77" y="65"/>
                </a:lnTo>
                <a:lnTo>
                  <a:pt x="77" y="64"/>
                </a:lnTo>
                <a:lnTo>
                  <a:pt x="77" y="61"/>
                </a:lnTo>
                <a:lnTo>
                  <a:pt x="76" y="56"/>
                </a:lnTo>
                <a:lnTo>
                  <a:pt x="76" y="54"/>
                </a:lnTo>
                <a:lnTo>
                  <a:pt x="77" y="52"/>
                </a:lnTo>
                <a:lnTo>
                  <a:pt x="78" y="52"/>
                </a:lnTo>
                <a:lnTo>
                  <a:pt x="78" y="50"/>
                </a:lnTo>
                <a:lnTo>
                  <a:pt x="79" y="50"/>
                </a:lnTo>
                <a:lnTo>
                  <a:pt x="80" y="48"/>
                </a:lnTo>
                <a:lnTo>
                  <a:pt x="78" y="46"/>
                </a:lnTo>
                <a:lnTo>
                  <a:pt x="71" y="42"/>
                </a:lnTo>
                <a:lnTo>
                  <a:pt x="70" y="41"/>
                </a:lnTo>
                <a:lnTo>
                  <a:pt x="69" y="36"/>
                </a:lnTo>
                <a:lnTo>
                  <a:pt x="67" y="34"/>
                </a:lnTo>
                <a:lnTo>
                  <a:pt x="62" y="32"/>
                </a:lnTo>
                <a:lnTo>
                  <a:pt x="61" y="32"/>
                </a:lnTo>
                <a:lnTo>
                  <a:pt x="59" y="31"/>
                </a:lnTo>
                <a:lnTo>
                  <a:pt x="57" y="28"/>
                </a:lnTo>
                <a:lnTo>
                  <a:pt x="55" y="25"/>
                </a:lnTo>
                <a:lnTo>
                  <a:pt x="54" y="25"/>
                </a:lnTo>
                <a:lnTo>
                  <a:pt x="50" y="24"/>
                </a:lnTo>
                <a:lnTo>
                  <a:pt x="48" y="22"/>
                </a:lnTo>
                <a:lnTo>
                  <a:pt x="46" y="22"/>
                </a:lnTo>
                <a:lnTo>
                  <a:pt x="45" y="22"/>
                </a:lnTo>
                <a:lnTo>
                  <a:pt x="44" y="21"/>
                </a:lnTo>
                <a:lnTo>
                  <a:pt x="41" y="18"/>
                </a:lnTo>
                <a:lnTo>
                  <a:pt x="39" y="16"/>
                </a:lnTo>
                <a:lnTo>
                  <a:pt x="38" y="14"/>
                </a:lnTo>
                <a:lnTo>
                  <a:pt x="37" y="13"/>
                </a:lnTo>
                <a:lnTo>
                  <a:pt x="34" y="16"/>
                </a:lnTo>
                <a:lnTo>
                  <a:pt x="33" y="17"/>
                </a:lnTo>
                <a:lnTo>
                  <a:pt x="30" y="16"/>
                </a:lnTo>
                <a:lnTo>
                  <a:pt x="29" y="14"/>
                </a:lnTo>
                <a:lnTo>
                  <a:pt x="27" y="10"/>
                </a:lnTo>
                <a:lnTo>
                  <a:pt x="25" y="7"/>
                </a:lnTo>
                <a:lnTo>
                  <a:pt x="21" y="5"/>
                </a:lnTo>
                <a:lnTo>
                  <a:pt x="20" y="3"/>
                </a:lnTo>
                <a:lnTo>
                  <a:pt x="16" y="1"/>
                </a:lnTo>
                <a:lnTo>
                  <a:pt x="14" y="0"/>
                </a:lnTo>
                <a:lnTo>
                  <a:pt x="13" y="0"/>
                </a:lnTo>
                <a:lnTo>
                  <a:pt x="11" y="1"/>
                </a:lnTo>
                <a:lnTo>
                  <a:pt x="10" y="2"/>
                </a:lnTo>
                <a:lnTo>
                  <a:pt x="8" y="3"/>
                </a:lnTo>
                <a:lnTo>
                  <a:pt x="4" y="3"/>
                </a:lnTo>
                <a:lnTo>
                  <a:pt x="4" y="4"/>
                </a:lnTo>
                <a:lnTo>
                  <a:pt x="0" y="6"/>
                </a:lnTo>
                <a:lnTo>
                  <a:pt x="0" y="7"/>
                </a:lnTo>
                <a:lnTo>
                  <a:pt x="3" y="14"/>
                </a:lnTo>
                <a:lnTo>
                  <a:pt x="3" y="21"/>
                </a:lnTo>
                <a:lnTo>
                  <a:pt x="3" y="25"/>
                </a:lnTo>
                <a:lnTo>
                  <a:pt x="3" y="27"/>
                </a:lnTo>
                <a:lnTo>
                  <a:pt x="1" y="34"/>
                </a:lnTo>
                <a:lnTo>
                  <a:pt x="4" y="48"/>
                </a:lnTo>
                <a:lnTo>
                  <a:pt x="4" y="52"/>
                </a:lnTo>
                <a:lnTo>
                  <a:pt x="4" y="53"/>
                </a:lnTo>
                <a:lnTo>
                  <a:pt x="3" y="56"/>
                </a:lnTo>
                <a:lnTo>
                  <a:pt x="1" y="60"/>
                </a:lnTo>
                <a:lnTo>
                  <a:pt x="3" y="66"/>
                </a:lnTo>
                <a:lnTo>
                  <a:pt x="3" y="7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03" name="Freeform 703"/>
          <p:cNvSpPr>
            <a:spLocks/>
          </p:cNvSpPr>
          <p:nvPr/>
        </p:nvSpPr>
        <p:spPr bwMode="auto">
          <a:xfrm>
            <a:off x="2790825" y="3336890"/>
            <a:ext cx="122237" cy="204788"/>
          </a:xfrm>
          <a:custGeom>
            <a:avLst/>
            <a:gdLst>
              <a:gd name="T0" fmla="*/ 28 w 77"/>
              <a:gd name="T1" fmla="*/ 0 h 129"/>
              <a:gd name="T2" fmla="*/ 43 w 77"/>
              <a:gd name="T3" fmla="*/ 15 h 129"/>
              <a:gd name="T4" fmla="*/ 46 w 77"/>
              <a:gd name="T5" fmla="*/ 28 h 129"/>
              <a:gd name="T6" fmla="*/ 51 w 77"/>
              <a:gd name="T7" fmla="*/ 28 h 129"/>
              <a:gd name="T8" fmla="*/ 58 w 77"/>
              <a:gd name="T9" fmla="*/ 32 h 129"/>
              <a:gd name="T10" fmla="*/ 62 w 77"/>
              <a:gd name="T11" fmla="*/ 38 h 129"/>
              <a:gd name="T12" fmla="*/ 68 w 77"/>
              <a:gd name="T13" fmla="*/ 47 h 129"/>
              <a:gd name="T14" fmla="*/ 64 w 77"/>
              <a:gd name="T15" fmla="*/ 54 h 129"/>
              <a:gd name="T16" fmla="*/ 65 w 77"/>
              <a:gd name="T17" fmla="*/ 55 h 129"/>
              <a:gd name="T18" fmla="*/ 62 w 77"/>
              <a:gd name="T19" fmla="*/ 62 h 129"/>
              <a:gd name="T20" fmla="*/ 56 w 77"/>
              <a:gd name="T21" fmla="*/ 63 h 129"/>
              <a:gd name="T22" fmla="*/ 54 w 77"/>
              <a:gd name="T23" fmla="*/ 65 h 129"/>
              <a:gd name="T24" fmla="*/ 50 w 77"/>
              <a:gd name="T25" fmla="*/ 76 h 129"/>
              <a:gd name="T26" fmla="*/ 55 w 77"/>
              <a:gd name="T27" fmla="*/ 85 h 129"/>
              <a:gd name="T28" fmla="*/ 58 w 77"/>
              <a:gd name="T29" fmla="*/ 89 h 129"/>
              <a:gd name="T30" fmla="*/ 62 w 77"/>
              <a:gd name="T31" fmla="*/ 91 h 129"/>
              <a:gd name="T32" fmla="*/ 66 w 77"/>
              <a:gd name="T33" fmla="*/ 97 h 129"/>
              <a:gd name="T34" fmla="*/ 68 w 77"/>
              <a:gd name="T35" fmla="*/ 104 h 129"/>
              <a:gd name="T36" fmla="*/ 76 w 77"/>
              <a:gd name="T37" fmla="*/ 116 h 129"/>
              <a:gd name="T38" fmla="*/ 74 w 77"/>
              <a:gd name="T39" fmla="*/ 117 h 129"/>
              <a:gd name="T40" fmla="*/ 68 w 77"/>
              <a:gd name="T41" fmla="*/ 116 h 129"/>
              <a:gd name="T42" fmla="*/ 61 w 77"/>
              <a:gd name="T43" fmla="*/ 118 h 129"/>
              <a:gd name="T44" fmla="*/ 52 w 77"/>
              <a:gd name="T45" fmla="*/ 123 h 129"/>
              <a:gd name="T46" fmla="*/ 46 w 77"/>
              <a:gd name="T47" fmla="*/ 125 h 129"/>
              <a:gd name="T48" fmla="*/ 38 w 77"/>
              <a:gd name="T49" fmla="*/ 129 h 129"/>
              <a:gd name="T50" fmla="*/ 29 w 77"/>
              <a:gd name="T51" fmla="*/ 124 h 129"/>
              <a:gd name="T52" fmla="*/ 26 w 77"/>
              <a:gd name="T53" fmla="*/ 119 h 129"/>
              <a:gd name="T54" fmla="*/ 26 w 77"/>
              <a:gd name="T55" fmla="*/ 111 h 129"/>
              <a:gd name="T56" fmla="*/ 23 w 77"/>
              <a:gd name="T57" fmla="*/ 96 h 129"/>
              <a:gd name="T58" fmla="*/ 25 w 77"/>
              <a:gd name="T59" fmla="*/ 86 h 129"/>
              <a:gd name="T60" fmla="*/ 28 w 77"/>
              <a:gd name="T61" fmla="*/ 78 h 129"/>
              <a:gd name="T62" fmla="*/ 24 w 77"/>
              <a:gd name="T63" fmla="*/ 70 h 129"/>
              <a:gd name="T64" fmla="*/ 21 w 77"/>
              <a:gd name="T65" fmla="*/ 65 h 129"/>
              <a:gd name="T66" fmla="*/ 20 w 77"/>
              <a:gd name="T67" fmla="*/ 57 h 129"/>
              <a:gd name="T68" fmla="*/ 10 w 77"/>
              <a:gd name="T69" fmla="*/ 58 h 129"/>
              <a:gd name="T70" fmla="*/ 8 w 77"/>
              <a:gd name="T71" fmla="*/ 55 h 129"/>
              <a:gd name="T72" fmla="*/ 0 w 77"/>
              <a:gd name="T73" fmla="*/ 43 h 129"/>
              <a:gd name="T74" fmla="*/ 1 w 77"/>
              <a:gd name="T75" fmla="*/ 40 h 129"/>
              <a:gd name="T76" fmla="*/ 5 w 77"/>
              <a:gd name="T77" fmla="*/ 32 h 129"/>
              <a:gd name="T78" fmla="*/ 14 w 77"/>
              <a:gd name="T79" fmla="*/ 26 h 129"/>
              <a:gd name="T80" fmla="*/ 13 w 77"/>
              <a:gd name="T81" fmla="*/ 22 h 129"/>
              <a:gd name="T82" fmla="*/ 8 w 77"/>
              <a:gd name="T83" fmla="*/ 18 h 129"/>
              <a:gd name="T84" fmla="*/ 10 w 77"/>
              <a:gd name="T85" fmla="*/ 13 h 129"/>
              <a:gd name="T86" fmla="*/ 16 w 77"/>
              <a:gd name="T87" fmla="*/ 9 h 129"/>
              <a:gd name="T88" fmla="*/ 23 w 77"/>
              <a:gd name="T89" fmla="*/ 5 h 129"/>
              <a:gd name="T90" fmla="*/ 26 w 77"/>
              <a:gd name="T91" fmla="*/ 2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7" h="129">
                <a:moveTo>
                  <a:pt x="26" y="2"/>
                </a:moveTo>
                <a:lnTo>
                  <a:pt x="27" y="2"/>
                </a:lnTo>
                <a:lnTo>
                  <a:pt x="28" y="0"/>
                </a:lnTo>
                <a:lnTo>
                  <a:pt x="29" y="2"/>
                </a:lnTo>
                <a:lnTo>
                  <a:pt x="34" y="4"/>
                </a:lnTo>
                <a:lnTo>
                  <a:pt x="43" y="15"/>
                </a:lnTo>
                <a:lnTo>
                  <a:pt x="45" y="18"/>
                </a:lnTo>
                <a:lnTo>
                  <a:pt x="46" y="20"/>
                </a:lnTo>
                <a:lnTo>
                  <a:pt x="46" y="28"/>
                </a:lnTo>
                <a:lnTo>
                  <a:pt x="47" y="28"/>
                </a:lnTo>
                <a:lnTo>
                  <a:pt x="48" y="28"/>
                </a:lnTo>
                <a:lnTo>
                  <a:pt x="51" y="28"/>
                </a:lnTo>
                <a:lnTo>
                  <a:pt x="54" y="29"/>
                </a:lnTo>
                <a:lnTo>
                  <a:pt x="55" y="29"/>
                </a:lnTo>
                <a:lnTo>
                  <a:pt x="58" y="32"/>
                </a:lnTo>
                <a:lnTo>
                  <a:pt x="59" y="33"/>
                </a:lnTo>
                <a:lnTo>
                  <a:pt x="60" y="35"/>
                </a:lnTo>
                <a:lnTo>
                  <a:pt x="62" y="38"/>
                </a:lnTo>
                <a:lnTo>
                  <a:pt x="66" y="40"/>
                </a:lnTo>
                <a:lnTo>
                  <a:pt x="67" y="46"/>
                </a:lnTo>
                <a:lnTo>
                  <a:pt x="68" y="47"/>
                </a:lnTo>
                <a:lnTo>
                  <a:pt x="68" y="48"/>
                </a:lnTo>
                <a:lnTo>
                  <a:pt x="66" y="49"/>
                </a:lnTo>
                <a:lnTo>
                  <a:pt x="64" y="54"/>
                </a:lnTo>
                <a:lnTo>
                  <a:pt x="64" y="55"/>
                </a:lnTo>
                <a:lnTo>
                  <a:pt x="64" y="55"/>
                </a:lnTo>
                <a:lnTo>
                  <a:pt x="65" y="55"/>
                </a:lnTo>
                <a:lnTo>
                  <a:pt x="65" y="58"/>
                </a:lnTo>
                <a:lnTo>
                  <a:pt x="62" y="59"/>
                </a:lnTo>
                <a:lnTo>
                  <a:pt x="62" y="62"/>
                </a:lnTo>
                <a:lnTo>
                  <a:pt x="60" y="62"/>
                </a:lnTo>
                <a:lnTo>
                  <a:pt x="58" y="62"/>
                </a:lnTo>
                <a:lnTo>
                  <a:pt x="56" y="63"/>
                </a:lnTo>
                <a:lnTo>
                  <a:pt x="55" y="64"/>
                </a:lnTo>
                <a:lnTo>
                  <a:pt x="54" y="64"/>
                </a:lnTo>
                <a:lnTo>
                  <a:pt x="54" y="65"/>
                </a:lnTo>
                <a:lnTo>
                  <a:pt x="54" y="69"/>
                </a:lnTo>
                <a:lnTo>
                  <a:pt x="51" y="73"/>
                </a:lnTo>
                <a:lnTo>
                  <a:pt x="50" y="76"/>
                </a:lnTo>
                <a:lnTo>
                  <a:pt x="50" y="78"/>
                </a:lnTo>
                <a:lnTo>
                  <a:pt x="52" y="80"/>
                </a:lnTo>
                <a:lnTo>
                  <a:pt x="55" y="85"/>
                </a:lnTo>
                <a:lnTo>
                  <a:pt x="56" y="86"/>
                </a:lnTo>
                <a:lnTo>
                  <a:pt x="58" y="88"/>
                </a:lnTo>
                <a:lnTo>
                  <a:pt x="58" y="89"/>
                </a:lnTo>
                <a:lnTo>
                  <a:pt x="59" y="90"/>
                </a:lnTo>
                <a:lnTo>
                  <a:pt x="59" y="91"/>
                </a:lnTo>
                <a:lnTo>
                  <a:pt x="62" y="91"/>
                </a:lnTo>
                <a:lnTo>
                  <a:pt x="64" y="93"/>
                </a:lnTo>
                <a:lnTo>
                  <a:pt x="64" y="95"/>
                </a:lnTo>
                <a:lnTo>
                  <a:pt x="66" y="97"/>
                </a:lnTo>
                <a:lnTo>
                  <a:pt x="66" y="100"/>
                </a:lnTo>
                <a:lnTo>
                  <a:pt x="67" y="103"/>
                </a:lnTo>
                <a:lnTo>
                  <a:pt x="68" y="104"/>
                </a:lnTo>
                <a:lnTo>
                  <a:pt x="69" y="107"/>
                </a:lnTo>
                <a:lnTo>
                  <a:pt x="74" y="113"/>
                </a:lnTo>
                <a:lnTo>
                  <a:pt x="76" y="116"/>
                </a:lnTo>
                <a:lnTo>
                  <a:pt x="77" y="116"/>
                </a:lnTo>
                <a:lnTo>
                  <a:pt x="77" y="117"/>
                </a:lnTo>
                <a:lnTo>
                  <a:pt x="74" y="117"/>
                </a:lnTo>
                <a:lnTo>
                  <a:pt x="69" y="118"/>
                </a:lnTo>
                <a:lnTo>
                  <a:pt x="68" y="117"/>
                </a:lnTo>
                <a:lnTo>
                  <a:pt x="68" y="116"/>
                </a:lnTo>
                <a:lnTo>
                  <a:pt x="67" y="116"/>
                </a:lnTo>
                <a:lnTo>
                  <a:pt x="65" y="116"/>
                </a:lnTo>
                <a:lnTo>
                  <a:pt x="61" y="118"/>
                </a:lnTo>
                <a:lnTo>
                  <a:pt x="59" y="121"/>
                </a:lnTo>
                <a:lnTo>
                  <a:pt x="55" y="121"/>
                </a:lnTo>
                <a:lnTo>
                  <a:pt x="52" y="123"/>
                </a:lnTo>
                <a:lnTo>
                  <a:pt x="51" y="124"/>
                </a:lnTo>
                <a:lnTo>
                  <a:pt x="48" y="124"/>
                </a:lnTo>
                <a:lnTo>
                  <a:pt x="46" y="125"/>
                </a:lnTo>
                <a:lnTo>
                  <a:pt x="44" y="128"/>
                </a:lnTo>
                <a:lnTo>
                  <a:pt x="41" y="129"/>
                </a:lnTo>
                <a:lnTo>
                  <a:pt x="38" y="129"/>
                </a:lnTo>
                <a:lnTo>
                  <a:pt x="35" y="128"/>
                </a:lnTo>
                <a:lnTo>
                  <a:pt x="30" y="125"/>
                </a:lnTo>
                <a:lnTo>
                  <a:pt x="29" y="124"/>
                </a:lnTo>
                <a:lnTo>
                  <a:pt x="28" y="121"/>
                </a:lnTo>
                <a:lnTo>
                  <a:pt x="27" y="120"/>
                </a:lnTo>
                <a:lnTo>
                  <a:pt x="26" y="119"/>
                </a:lnTo>
                <a:lnTo>
                  <a:pt x="26" y="118"/>
                </a:lnTo>
                <a:lnTo>
                  <a:pt x="26" y="114"/>
                </a:lnTo>
                <a:lnTo>
                  <a:pt x="26" y="111"/>
                </a:lnTo>
                <a:lnTo>
                  <a:pt x="23" y="108"/>
                </a:lnTo>
                <a:lnTo>
                  <a:pt x="21" y="107"/>
                </a:lnTo>
                <a:lnTo>
                  <a:pt x="23" y="96"/>
                </a:lnTo>
                <a:lnTo>
                  <a:pt x="24" y="91"/>
                </a:lnTo>
                <a:lnTo>
                  <a:pt x="25" y="89"/>
                </a:lnTo>
                <a:lnTo>
                  <a:pt x="25" y="86"/>
                </a:lnTo>
                <a:lnTo>
                  <a:pt x="28" y="81"/>
                </a:lnTo>
                <a:lnTo>
                  <a:pt x="28" y="80"/>
                </a:lnTo>
                <a:lnTo>
                  <a:pt x="28" y="78"/>
                </a:lnTo>
                <a:lnTo>
                  <a:pt x="27" y="76"/>
                </a:lnTo>
                <a:lnTo>
                  <a:pt x="27" y="71"/>
                </a:lnTo>
                <a:lnTo>
                  <a:pt x="24" y="70"/>
                </a:lnTo>
                <a:lnTo>
                  <a:pt x="23" y="69"/>
                </a:lnTo>
                <a:lnTo>
                  <a:pt x="20" y="69"/>
                </a:lnTo>
                <a:lnTo>
                  <a:pt x="21" y="65"/>
                </a:lnTo>
                <a:lnTo>
                  <a:pt x="21" y="63"/>
                </a:lnTo>
                <a:lnTo>
                  <a:pt x="21" y="60"/>
                </a:lnTo>
                <a:lnTo>
                  <a:pt x="20" y="57"/>
                </a:lnTo>
                <a:lnTo>
                  <a:pt x="17" y="57"/>
                </a:lnTo>
                <a:lnTo>
                  <a:pt x="14" y="59"/>
                </a:lnTo>
                <a:lnTo>
                  <a:pt x="10" y="58"/>
                </a:lnTo>
                <a:lnTo>
                  <a:pt x="10" y="57"/>
                </a:lnTo>
                <a:lnTo>
                  <a:pt x="10" y="57"/>
                </a:lnTo>
                <a:lnTo>
                  <a:pt x="8" y="55"/>
                </a:lnTo>
                <a:lnTo>
                  <a:pt x="7" y="53"/>
                </a:lnTo>
                <a:lnTo>
                  <a:pt x="4" y="48"/>
                </a:lnTo>
                <a:lnTo>
                  <a:pt x="0" y="43"/>
                </a:lnTo>
                <a:lnTo>
                  <a:pt x="0" y="43"/>
                </a:lnTo>
                <a:lnTo>
                  <a:pt x="0" y="42"/>
                </a:lnTo>
                <a:lnTo>
                  <a:pt x="1" y="40"/>
                </a:lnTo>
                <a:lnTo>
                  <a:pt x="3" y="38"/>
                </a:lnTo>
                <a:lnTo>
                  <a:pt x="4" y="36"/>
                </a:lnTo>
                <a:lnTo>
                  <a:pt x="5" y="32"/>
                </a:lnTo>
                <a:lnTo>
                  <a:pt x="5" y="30"/>
                </a:lnTo>
                <a:lnTo>
                  <a:pt x="9" y="28"/>
                </a:lnTo>
                <a:lnTo>
                  <a:pt x="14" y="26"/>
                </a:lnTo>
                <a:lnTo>
                  <a:pt x="15" y="24"/>
                </a:lnTo>
                <a:lnTo>
                  <a:pt x="13" y="23"/>
                </a:lnTo>
                <a:lnTo>
                  <a:pt x="13" y="22"/>
                </a:lnTo>
                <a:lnTo>
                  <a:pt x="10" y="23"/>
                </a:lnTo>
                <a:lnTo>
                  <a:pt x="9" y="22"/>
                </a:lnTo>
                <a:lnTo>
                  <a:pt x="8" y="18"/>
                </a:lnTo>
                <a:lnTo>
                  <a:pt x="9" y="15"/>
                </a:lnTo>
                <a:lnTo>
                  <a:pt x="9" y="14"/>
                </a:lnTo>
                <a:lnTo>
                  <a:pt x="10" y="13"/>
                </a:lnTo>
                <a:lnTo>
                  <a:pt x="14" y="12"/>
                </a:lnTo>
                <a:lnTo>
                  <a:pt x="14" y="10"/>
                </a:lnTo>
                <a:lnTo>
                  <a:pt x="16" y="9"/>
                </a:lnTo>
                <a:lnTo>
                  <a:pt x="20" y="7"/>
                </a:lnTo>
                <a:lnTo>
                  <a:pt x="21" y="6"/>
                </a:lnTo>
                <a:lnTo>
                  <a:pt x="23" y="5"/>
                </a:lnTo>
                <a:lnTo>
                  <a:pt x="25" y="5"/>
                </a:lnTo>
                <a:lnTo>
                  <a:pt x="26" y="4"/>
                </a:lnTo>
                <a:lnTo>
                  <a:pt x="26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04" name="Freeform 704"/>
          <p:cNvSpPr>
            <a:spLocks/>
          </p:cNvSpPr>
          <p:nvPr/>
        </p:nvSpPr>
        <p:spPr bwMode="auto">
          <a:xfrm>
            <a:off x="2790825" y="3336890"/>
            <a:ext cx="122237" cy="204788"/>
          </a:xfrm>
          <a:custGeom>
            <a:avLst/>
            <a:gdLst>
              <a:gd name="T0" fmla="*/ 28 w 77"/>
              <a:gd name="T1" fmla="*/ 0 h 129"/>
              <a:gd name="T2" fmla="*/ 43 w 77"/>
              <a:gd name="T3" fmla="*/ 15 h 129"/>
              <a:gd name="T4" fmla="*/ 46 w 77"/>
              <a:gd name="T5" fmla="*/ 28 h 129"/>
              <a:gd name="T6" fmla="*/ 51 w 77"/>
              <a:gd name="T7" fmla="*/ 28 h 129"/>
              <a:gd name="T8" fmla="*/ 58 w 77"/>
              <a:gd name="T9" fmla="*/ 32 h 129"/>
              <a:gd name="T10" fmla="*/ 62 w 77"/>
              <a:gd name="T11" fmla="*/ 38 h 129"/>
              <a:gd name="T12" fmla="*/ 68 w 77"/>
              <a:gd name="T13" fmla="*/ 47 h 129"/>
              <a:gd name="T14" fmla="*/ 64 w 77"/>
              <a:gd name="T15" fmla="*/ 54 h 129"/>
              <a:gd name="T16" fmla="*/ 65 w 77"/>
              <a:gd name="T17" fmla="*/ 55 h 129"/>
              <a:gd name="T18" fmla="*/ 62 w 77"/>
              <a:gd name="T19" fmla="*/ 62 h 129"/>
              <a:gd name="T20" fmla="*/ 56 w 77"/>
              <a:gd name="T21" fmla="*/ 63 h 129"/>
              <a:gd name="T22" fmla="*/ 54 w 77"/>
              <a:gd name="T23" fmla="*/ 65 h 129"/>
              <a:gd name="T24" fmla="*/ 50 w 77"/>
              <a:gd name="T25" fmla="*/ 76 h 129"/>
              <a:gd name="T26" fmla="*/ 55 w 77"/>
              <a:gd name="T27" fmla="*/ 85 h 129"/>
              <a:gd name="T28" fmla="*/ 58 w 77"/>
              <a:gd name="T29" fmla="*/ 89 h 129"/>
              <a:gd name="T30" fmla="*/ 62 w 77"/>
              <a:gd name="T31" fmla="*/ 91 h 129"/>
              <a:gd name="T32" fmla="*/ 66 w 77"/>
              <a:gd name="T33" fmla="*/ 97 h 129"/>
              <a:gd name="T34" fmla="*/ 68 w 77"/>
              <a:gd name="T35" fmla="*/ 104 h 129"/>
              <a:gd name="T36" fmla="*/ 76 w 77"/>
              <a:gd name="T37" fmla="*/ 116 h 129"/>
              <a:gd name="T38" fmla="*/ 74 w 77"/>
              <a:gd name="T39" fmla="*/ 117 h 129"/>
              <a:gd name="T40" fmla="*/ 68 w 77"/>
              <a:gd name="T41" fmla="*/ 116 h 129"/>
              <a:gd name="T42" fmla="*/ 61 w 77"/>
              <a:gd name="T43" fmla="*/ 118 h 129"/>
              <a:gd name="T44" fmla="*/ 52 w 77"/>
              <a:gd name="T45" fmla="*/ 123 h 129"/>
              <a:gd name="T46" fmla="*/ 46 w 77"/>
              <a:gd name="T47" fmla="*/ 125 h 129"/>
              <a:gd name="T48" fmla="*/ 38 w 77"/>
              <a:gd name="T49" fmla="*/ 129 h 129"/>
              <a:gd name="T50" fmla="*/ 29 w 77"/>
              <a:gd name="T51" fmla="*/ 124 h 129"/>
              <a:gd name="T52" fmla="*/ 26 w 77"/>
              <a:gd name="T53" fmla="*/ 119 h 129"/>
              <a:gd name="T54" fmla="*/ 26 w 77"/>
              <a:gd name="T55" fmla="*/ 111 h 129"/>
              <a:gd name="T56" fmla="*/ 23 w 77"/>
              <a:gd name="T57" fmla="*/ 96 h 129"/>
              <a:gd name="T58" fmla="*/ 25 w 77"/>
              <a:gd name="T59" fmla="*/ 86 h 129"/>
              <a:gd name="T60" fmla="*/ 28 w 77"/>
              <a:gd name="T61" fmla="*/ 78 h 129"/>
              <a:gd name="T62" fmla="*/ 24 w 77"/>
              <a:gd name="T63" fmla="*/ 70 h 129"/>
              <a:gd name="T64" fmla="*/ 21 w 77"/>
              <a:gd name="T65" fmla="*/ 65 h 129"/>
              <a:gd name="T66" fmla="*/ 20 w 77"/>
              <a:gd name="T67" fmla="*/ 57 h 129"/>
              <a:gd name="T68" fmla="*/ 10 w 77"/>
              <a:gd name="T69" fmla="*/ 58 h 129"/>
              <a:gd name="T70" fmla="*/ 8 w 77"/>
              <a:gd name="T71" fmla="*/ 55 h 129"/>
              <a:gd name="T72" fmla="*/ 0 w 77"/>
              <a:gd name="T73" fmla="*/ 43 h 129"/>
              <a:gd name="T74" fmla="*/ 1 w 77"/>
              <a:gd name="T75" fmla="*/ 40 h 129"/>
              <a:gd name="T76" fmla="*/ 5 w 77"/>
              <a:gd name="T77" fmla="*/ 32 h 129"/>
              <a:gd name="T78" fmla="*/ 14 w 77"/>
              <a:gd name="T79" fmla="*/ 26 h 129"/>
              <a:gd name="T80" fmla="*/ 13 w 77"/>
              <a:gd name="T81" fmla="*/ 22 h 129"/>
              <a:gd name="T82" fmla="*/ 8 w 77"/>
              <a:gd name="T83" fmla="*/ 18 h 129"/>
              <a:gd name="T84" fmla="*/ 10 w 77"/>
              <a:gd name="T85" fmla="*/ 13 h 129"/>
              <a:gd name="T86" fmla="*/ 16 w 77"/>
              <a:gd name="T87" fmla="*/ 9 h 129"/>
              <a:gd name="T88" fmla="*/ 23 w 77"/>
              <a:gd name="T89" fmla="*/ 5 h 129"/>
              <a:gd name="T90" fmla="*/ 26 w 77"/>
              <a:gd name="T91" fmla="*/ 2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7" h="129">
                <a:moveTo>
                  <a:pt x="26" y="2"/>
                </a:moveTo>
                <a:lnTo>
                  <a:pt x="27" y="2"/>
                </a:lnTo>
                <a:lnTo>
                  <a:pt x="28" y="0"/>
                </a:lnTo>
                <a:lnTo>
                  <a:pt x="29" y="2"/>
                </a:lnTo>
                <a:lnTo>
                  <a:pt x="34" y="4"/>
                </a:lnTo>
                <a:lnTo>
                  <a:pt x="43" y="15"/>
                </a:lnTo>
                <a:lnTo>
                  <a:pt x="45" y="18"/>
                </a:lnTo>
                <a:lnTo>
                  <a:pt x="46" y="20"/>
                </a:lnTo>
                <a:lnTo>
                  <a:pt x="46" y="28"/>
                </a:lnTo>
                <a:lnTo>
                  <a:pt x="47" y="28"/>
                </a:lnTo>
                <a:lnTo>
                  <a:pt x="48" y="28"/>
                </a:lnTo>
                <a:lnTo>
                  <a:pt x="51" y="28"/>
                </a:lnTo>
                <a:lnTo>
                  <a:pt x="54" y="29"/>
                </a:lnTo>
                <a:lnTo>
                  <a:pt x="55" y="29"/>
                </a:lnTo>
                <a:lnTo>
                  <a:pt x="58" y="32"/>
                </a:lnTo>
                <a:lnTo>
                  <a:pt x="59" y="33"/>
                </a:lnTo>
                <a:lnTo>
                  <a:pt x="60" y="35"/>
                </a:lnTo>
                <a:lnTo>
                  <a:pt x="62" y="38"/>
                </a:lnTo>
                <a:lnTo>
                  <a:pt x="66" y="40"/>
                </a:lnTo>
                <a:lnTo>
                  <a:pt x="67" y="46"/>
                </a:lnTo>
                <a:lnTo>
                  <a:pt x="68" y="47"/>
                </a:lnTo>
                <a:lnTo>
                  <a:pt x="68" y="48"/>
                </a:lnTo>
                <a:lnTo>
                  <a:pt x="66" y="49"/>
                </a:lnTo>
                <a:lnTo>
                  <a:pt x="64" y="54"/>
                </a:lnTo>
                <a:lnTo>
                  <a:pt x="64" y="55"/>
                </a:lnTo>
                <a:lnTo>
                  <a:pt x="64" y="55"/>
                </a:lnTo>
                <a:lnTo>
                  <a:pt x="65" y="55"/>
                </a:lnTo>
                <a:lnTo>
                  <a:pt x="65" y="58"/>
                </a:lnTo>
                <a:lnTo>
                  <a:pt x="62" y="59"/>
                </a:lnTo>
                <a:lnTo>
                  <a:pt x="62" y="62"/>
                </a:lnTo>
                <a:lnTo>
                  <a:pt x="60" y="62"/>
                </a:lnTo>
                <a:lnTo>
                  <a:pt x="58" y="62"/>
                </a:lnTo>
                <a:lnTo>
                  <a:pt x="56" y="63"/>
                </a:lnTo>
                <a:lnTo>
                  <a:pt x="55" y="64"/>
                </a:lnTo>
                <a:lnTo>
                  <a:pt x="54" y="64"/>
                </a:lnTo>
                <a:lnTo>
                  <a:pt x="54" y="65"/>
                </a:lnTo>
                <a:lnTo>
                  <a:pt x="54" y="69"/>
                </a:lnTo>
                <a:lnTo>
                  <a:pt x="51" y="73"/>
                </a:lnTo>
                <a:lnTo>
                  <a:pt x="50" y="76"/>
                </a:lnTo>
                <a:lnTo>
                  <a:pt x="50" y="78"/>
                </a:lnTo>
                <a:lnTo>
                  <a:pt x="52" y="80"/>
                </a:lnTo>
                <a:lnTo>
                  <a:pt x="55" y="85"/>
                </a:lnTo>
                <a:lnTo>
                  <a:pt x="56" y="86"/>
                </a:lnTo>
                <a:lnTo>
                  <a:pt x="58" y="88"/>
                </a:lnTo>
                <a:lnTo>
                  <a:pt x="58" y="89"/>
                </a:lnTo>
                <a:lnTo>
                  <a:pt x="59" y="90"/>
                </a:lnTo>
                <a:lnTo>
                  <a:pt x="59" y="91"/>
                </a:lnTo>
                <a:lnTo>
                  <a:pt x="62" y="91"/>
                </a:lnTo>
                <a:lnTo>
                  <a:pt x="64" y="93"/>
                </a:lnTo>
                <a:lnTo>
                  <a:pt x="64" y="95"/>
                </a:lnTo>
                <a:lnTo>
                  <a:pt x="66" y="97"/>
                </a:lnTo>
                <a:lnTo>
                  <a:pt x="66" y="100"/>
                </a:lnTo>
                <a:lnTo>
                  <a:pt x="67" y="103"/>
                </a:lnTo>
                <a:lnTo>
                  <a:pt x="68" y="104"/>
                </a:lnTo>
                <a:lnTo>
                  <a:pt x="69" y="107"/>
                </a:lnTo>
                <a:lnTo>
                  <a:pt x="74" y="113"/>
                </a:lnTo>
                <a:lnTo>
                  <a:pt x="76" y="116"/>
                </a:lnTo>
                <a:lnTo>
                  <a:pt x="77" y="116"/>
                </a:lnTo>
                <a:lnTo>
                  <a:pt x="77" y="117"/>
                </a:lnTo>
                <a:lnTo>
                  <a:pt x="74" y="117"/>
                </a:lnTo>
                <a:lnTo>
                  <a:pt x="69" y="118"/>
                </a:lnTo>
                <a:lnTo>
                  <a:pt x="68" y="117"/>
                </a:lnTo>
                <a:lnTo>
                  <a:pt x="68" y="116"/>
                </a:lnTo>
                <a:lnTo>
                  <a:pt x="67" y="116"/>
                </a:lnTo>
                <a:lnTo>
                  <a:pt x="65" y="116"/>
                </a:lnTo>
                <a:lnTo>
                  <a:pt x="61" y="118"/>
                </a:lnTo>
                <a:lnTo>
                  <a:pt x="59" y="121"/>
                </a:lnTo>
                <a:lnTo>
                  <a:pt x="55" y="121"/>
                </a:lnTo>
                <a:lnTo>
                  <a:pt x="52" y="123"/>
                </a:lnTo>
                <a:lnTo>
                  <a:pt x="51" y="124"/>
                </a:lnTo>
                <a:lnTo>
                  <a:pt x="48" y="124"/>
                </a:lnTo>
                <a:lnTo>
                  <a:pt x="46" y="125"/>
                </a:lnTo>
                <a:lnTo>
                  <a:pt x="44" y="128"/>
                </a:lnTo>
                <a:lnTo>
                  <a:pt x="41" y="129"/>
                </a:lnTo>
                <a:lnTo>
                  <a:pt x="38" y="129"/>
                </a:lnTo>
                <a:lnTo>
                  <a:pt x="35" y="128"/>
                </a:lnTo>
                <a:lnTo>
                  <a:pt x="30" y="125"/>
                </a:lnTo>
                <a:lnTo>
                  <a:pt x="29" y="124"/>
                </a:lnTo>
                <a:lnTo>
                  <a:pt x="28" y="121"/>
                </a:lnTo>
                <a:lnTo>
                  <a:pt x="27" y="120"/>
                </a:lnTo>
                <a:lnTo>
                  <a:pt x="26" y="119"/>
                </a:lnTo>
                <a:lnTo>
                  <a:pt x="26" y="118"/>
                </a:lnTo>
                <a:lnTo>
                  <a:pt x="26" y="114"/>
                </a:lnTo>
                <a:lnTo>
                  <a:pt x="26" y="111"/>
                </a:lnTo>
                <a:lnTo>
                  <a:pt x="23" y="108"/>
                </a:lnTo>
                <a:lnTo>
                  <a:pt x="21" y="107"/>
                </a:lnTo>
                <a:lnTo>
                  <a:pt x="23" y="96"/>
                </a:lnTo>
                <a:lnTo>
                  <a:pt x="24" y="91"/>
                </a:lnTo>
                <a:lnTo>
                  <a:pt x="25" y="89"/>
                </a:lnTo>
                <a:lnTo>
                  <a:pt x="25" y="86"/>
                </a:lnTo>
                <a:lnTo>
                  <a:pt x="28" y="81"/>
                </a:lnTo>
                <a:lnTo>
                  <a:pt x="28" y="80"/>
                </a:lnTo>
                <a:lnTo>
                  <a:pt x="28" y="78"/>
                </a:lnTo>
                <a:lnTo>
                  <a:pt x="27" y="76"/>
                </a:lnTo>
                <a:lnTo>
                  <a:pt x="27" y="71"/>
                </a:lnTo>
                <a:lnTo>
                  <a:pt x="24" y="70"/>
                </a:lnTo>
                <a:lnTo>
                  <a:pt x="23" y="69"/>
                </a:lnTo>
                <a:lnTo>
                  <a:pt x="20" y="69"/>
                </a:lnTo>
                <a:lnTo>
                  <a:pt x="21" y="65"/>
                </a:lnTo>
                <a:lnTo>
                  <a:pt x="21" y="63"/>
                </a:lnTo>
                <a:lnTo>
                  <a:pt x="21" y="60"/>
                </a:lnTo>
                <a:lnTo>
                  <a:pt x="20" y="57"/>
                </a:lnTo>
                <a:lnTo>
                  <a:pt x="17" y="57"/>
                </a:lnTo>
                <a:lnTo>
                  <a:pt x="14" y="59"/>
                </a:lnTo>
                <a:lnTo>
                  <a:pt x="10" y="58"/>
                </a:lnTo>
                <a:lnTo>
                  <a:pt x="10" y="57"/>
                </a:lnTo>
                <a:lnTo>
                  <a:pt x="10" y="57"/>
                </a:lnTo>
                <a:lnTo>
                  <a:pt x="8" y="55"/>
                </a:lnTo>
                <a:lnTo>
                  <a:pt x="7" y="53"/>
                </a:lnTo>
                <a:lnTo>
                  <a:pt x="4" y="48"/>
                </a:lnTo>
                <a:lnTo>
                  <a:pt x="0" y="43"/>
                </a:lnTo>
                <a:lnTo>
                  <a:pt x="0" y="43"/>
                </a:lnTo>
                <a:lnTo>
                  <a:pt x="0" y="42"/>
                </a:lnTo>
                <a:lnTo>
                  <a:pt x="1" y="40"/>
                </a:lnTo>
                <a:lnTo>
                  <a:pt x="3" y="38"/>
                </a:lnTo>
                <a:lnTo>
                  <a:pt x="4" y="36"/>
                </a:lnTo>
                <a:lnTo>
                  <a:pt x="5" y="32"/>
                </a:lnTo>
                <a:lnTo>
                  <a:pt x="5" y="30"/>
                </a:lnTo>
                <a:lnTo>
                  <a:pt x="9" y="28"/>
                </a:lnTo>
                <a:lnTo>
                  <a:pt x="14" y="26"/>
                </a:lnTo>
                <a:lnTo>
                  <a:pt x="15" y="24"/>
                </a:lnTo>
                <a:lnTo>
                  <a:pt x="13" y="23"/>
                </a:lnTo>
                <a:lnTo>
                  <a:pt x="13" y="22"/>
                </a:lnTo>
                <a:lnTo>
                  <a:pt x="10" y="23"/>
                </a:lnTo>
                <a:lnTo>
                  <a:pt x="9" y="22"/>
                </a:lnTo>
                <a:lnTo>
                  <a:pt x="8" y="18"/>
                </a:lnTo>
                <a:lnTo>
                  <a:pt x="9" y="15"/>
                </a:lnTo>
                <a:lnTo>
                  <a:pt x="9" y="14"/>
                </a:lnTo>
                <a:lnTo>
                  <a:pt x="10" y="13"/>
                </a:lnTo>
                <a:lnTo>
                  <a:pt x="14" y="12"/>
                </a:lnTo>
                <a:lnTo>
                  <a:pt x="14" y="10"/>
                </a:lnTo>
                <a:lnTo>
                  <a:pt x="16" y="9"/>
                </a:lnTo>
                <a:lnTo>
                  <a:pt x="20" y="7"/>
                </a:lnTo>
                <a:lnTo>
                  <a:pt x="21" y="6"/>
                </a:lnTo>
                <a:lnTo>
                  <a:pt x="23" y="5"/>
                </a:lnTo>
                <a:lnTo>
                  <a:pt x="25" y="5"/>
                </a:lnTo>
                <a:lnTo>
                  <a:pt x="26" y="4"/>
                </a:lnTo>
                <a:lnTo>
                  <a:pt x="26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05" name="Freeform 705"/>
          <p:cNvSpPr>
            <a:spLocks/>
          </p:cNvSpPr>
          <p:nvPr/>
        </p:nvSpPr>
        <p:spPr bwMode="auto">
          <a:xfrm>
            <a:off x="2963863" y="3414678"/>
            <a:ext cx="74612" cy="106363"/>
          </a:xfrm>
          <a:custGeom>
            <a:avLst/>
            <a:gdLst>
              <a:gd name="T0" fmla="*/ 0 w 47"/>
              <a:gd name="T1" fmla="*/ 61 h 67"/>
              <a:gd name="T2" fmla="*/ 5 w 47"/>
              <a:gd name="T3" fmla="*/ 57 h 67"/>
              <a:gd name="T4" fmla="*/ 5 w 47"/>
              <a:gd name="T5" fmla="*/ 56 h 67"/>
              <a:gd name="T6" fmla="*/ 6 w 47"/>
              <a:gd name="T7" fmla="*/ 50 h 67"/>
              <a:gd name="T8" fmla="*/ 7 w 47"/>
              <a:gd name="T9" fmla="*/ 42 h 67"/>
              <a:gd name="T10" fmla="*/ 8 w 47"/>
              <a:gd name="T11" fmla="*/ 37 h 67"/>
              <a:gd name="T12" fmla="*/ 7 w 47"/>
              <a:gd name="T13" fmla="*/ 35 h 67"/>
              <a:gd name="T14" fmla="*/ 6 w 47"/>
              <a:gd name="T15" fmla="*/ 35 h 67"/>
              <a:gd name="T16" fmla="*/ 6 w 47"/>
              <a:gd name="T17" fmla="*/ 34 h 67"/>
              <a:gd name="T18" fmla="*/ 3 w 47"/>
              <a:gd name="T19" fmla="*/ 29 h 67"/>
              <a:gd name="T20" fmla="*/ 2 w 47"/>
              <a:gd name="T21" fmla="*/ 26 h 67"/>
              <a:gd name="T22" fmla="*/ 2 w 47"/>
              <a:gd name="T23" fmla="*/ 19 h 67"/>
              <a:gd name="T24" fmla="*/ 2 w 47"/>
              <a:gd name="T25" fmla="*/ 13 h 67"/>
              <a:gd name="T26" fmla="*/ 3 w 47"/>
              <a:gd name="T27" fmla="*/ 9 h 67"/>
              <a:gd name="T28" fmla="*/ 6 w 47"/>
              <a:gd name="T29" fmla="*/ 7 h 67"/>
              <a:gd name="T30" fmla="*/ 7 w 47"/>
              <a:gd name="T31" fmla="*/ 5 h 67"/>
              <a:gd name="T32" fmla="*/ 7 w 47"/>
              <a:gd name="T33" fmla="*/ 4 h 67"/>
              <a:gd name="T34" fmla="*/ 8 w 47"/>
              <a:gd name="T35" fmla="*/ 3 h 67"/>
              <a:gd name="T36" fmla="*/ 10 w 47"/>
              <a:gd name="T37" fmla="*/ 3 h 67"/>
              <a:gd name="T38" fmla="*/ 11 w 47"/>
              <a:gd name="T39" fmla="*/ 1 h 67"/>
              <a:gd name="T40" fmla="*/ 12 w 47"/>
              <a:gd name="T41" fmla="*/ 0 h 67"/>
              <a:gd name="T42" fmla="*/ 16 w 47"/>
              <a:gd name="T43" fmla="*/ 4 h 67"/>
              <a:gd name="T44" fmla="*/ 19 w 47"/>
              <a:gd name="T45" fmla="*/ 5 h 67"/>
              <a:gd name="T46" fmla="*/ 23 w 47"/>
              <a:gd name="T47" fmla="*/ 7 h 67"/>
              <a:gd name="T48" fmla="*/ 26 w 47"/>
              <a:gd name="T49" fmla="*/ 8 h 67"/>
              <a:gd name="T50" fmla="*/ 30 w 47"/>
              <a:gd name="T51" fmla="*/ 10 h 67"/>
              <a:gd name="T52" fmla="*/ 34 w 47"/>
              <a:gd name="T53" fmla="*/ 14 h 67"/>
              <a:gd name="T54" fmla="*/ 36 w 47"/>
              <a:gd name="T55" fmla="*/ 15 h 67"/>
              <a:gd name="T56" fmla="*/ 39 w 47"/>
              <a:gd name="T57" fmla="*/ 18 h 67"/>
              <a:gd name="T58" fmla="*/ 41 w 47"/>
              <a:gd name="T59" fmla="*/ 20 h 67"/>
              <a:gd name="T60" fmla="*/ 43 w 47"/>
              <a:gd name="T61" fmla="*/ 22 h 67"/>
              <a:gd name="T62" fmla="*/ 47 w 47"/>
              <a:gd name="T63" fmla="*/ 26 h 67"/>
              <a:gd name="T64" fmla="*/ 47 w 47"/>
              <a:gd name="T65" fmla="*/ 29 h 67"/>
              <a:gd name="T66" fmla="*/ 47 w 47"/>
              <a:gd name="T67" fmla="*/ 29 h 67"/>
              <a:gd name="T68" fmla="*/ 43 w 47"/>
              <a:gd name="T69" fmla="*/ 34 h 67"/>
              <a:gd name="T70" fmla="*/ 42 w 47"/>
              <a:gd name="T71" fmla="*/ 36 h 67"/>
              <a:gd name="T72" fmla="*/ 38 w 47"/>
              <a:gd name="T73" fmla="*/ 42 h 67"/>
              <a:gd name="T74" fmla="*/ 36 w 47"/>
              <a:gd name="T75" fmla="*/ 47 h 67"/>
              <a:gd name="T76" fmla="*/ 34 w 47"/>
              <a:gd name="T77" fmla="*/ 48 h 67"/>
              <a:gd name="T78" fmla="*/ 31 w 47"/>
              <a:gd name="T79" fmla="*/ 56 h 67"/>
              <a:gd name="T80" fmla="*/ 23 w 47"/>
              <a:gd name="T81" fmla="*/ 64 h 67"/>
              <a:gd name="T82" fmla="*/ 22 w 47"/>
              <a:gd name="T83" fmla="*/ 65 h 67"/>
              <a:gd name="T84" fmla="*/ 21 w 47"/>
              <a:gd name="T85" fmla="*/ 66 h 67"/>
              <a:gd name="T86" fmla="*/ 18 w 47"/>
              <a:gd name="T87" fmla="*/ 66 h 67"/>
              <a:gd name="T88" fmla="*/ 17 w 47"/>
              <a:gd name="T89" fmla="*/ 65 h 67"/>
              <a:gd name="T90" fmla="*/ 15 w 47"/>
              <a:gd name="T91" fmla="*/ 65 h 67"/>
              <a:gd name="T92" fmla="*/ 13 w 47"/>
              <a:gd name="T93" fmla="*/ 65 h 67"/>
              <a:gd name="T94" fmla="*/ 9 w 47"/>
              <a:gd name="T95" fmla="*/ 67 h 67"/>
              <a:gd name="T96" fmla="*/ 7 w 47"/>
              <a:gd name="T97" fmla="*/ 67 h 67"/>
              <a:gd name="T98" fmla="*/ 6 w 47"/>
              <a:gd name="T99" fmla="*/ 67 h 67"/>
              <a:gd name="T100" fmla="*/ 3 w 47"/>
              <a:gd name="T101" fmla="*/ 65 h 67"/>
              <a:gd name="T102" fmla="*/ 0 w 47"/>
              <a:gd name="T103" fmla="*/ 61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7" h="67">
                <a:moveTo>
                  <a:pt x="0" y="61"/>
                </a:moveTo>
                <a:lnTo>
                  <a:pt x="5" y="57"/>
                </a:lnTo>
                <a:lnTo>
                  <a:pt x="5" y="56"/>
                </a:lnTo>
                <a:lnTo>
                  <a:pt x="6" y="50"/>
                </a:lnTo>
                <a:lnTo>
                  <a:pt x="7" y="42"/>
                </a:lnTo>
                <a:lnTo>
                  <a:pt x="8" y="37"/>
                </a:lnTo>
                <a:lnTo>
                  <a:pt x="7" y="35"/>
                </a:lnTo>
                <a:lnTo>
                  <a:pt x="6" y="35"/>
                </a:lnTo>
                <a:lnTo>
                  <a:pt x="6" y="34"/>
                </a:lnTo>
                <a:lnTo>
                  <a:pt x="3" y="29"/>
                </a:lnTo>
                <a:lnTo>
                  <a:pt x="2" y="26"/>
                </a:lnTo>
                <a:lnTo>
                  <a:pt x="2" y="19"/>
                </a:lnTo>
                <a:lnTo>
                  <a:pt x="2" y="13"/>
                </a:lnTo>
                <a:lnTo>
                  <a:pt x="3" y="9"/>
                </a:lnTo>
                <a:lnTo>
                  <a:pt x="6" y="7"/>
                </a:lnTo>
                <a:lnTo>
                  <a:pt x="7" y="5"/>
                </a:lnTo>
                <a:lnTo>
                  <a:pt x="7" y="4"/>
                </a:lnTo>
                <a:lnTo>
                  <a:pt x="8" y="3"/>
                </a:lnTo>
                <a:lnTo>
                  <a:pt x="10" y="3"/>
                </a:lnTo>
                <a:lnTo>
                  <a:pt x="11" y="1"/>
                </a:lnTo>
                <a:lnTo>
                  <a:pt x="12" y="0"/>
                </a:lnTo>
                <a:lnTo>
                  <a:pt x="16" y="4"/>
                </a:lnTo>
                <a:lnTo>
                  <a:pt x="19" y="5"/>
                </a:lnTo>
                <a:lnTo>
                  <a:pt x="23" y="7"/>
                </a:lnTo>
                <a:lnTo>
                  <a:pt x="26" y="8"/>
                </a:lnTo>
                <a:lnTo>
                  <a:pt x="30" y="10"/>
                </a:lnTo>
                <a:lnTo>
                  <a:pt x="34" y="14"/>
                </a:lnTo>
                <a:lnTo>
                  <a:pt x="36" y="15"/>
                </a:lnTo>
                <a:lnTo>
                  <a:pt x="39" y="18"/>
                </a:lnTo>
                <a:lnTo>
                  <a:pt x="41" y="20"/>
                </a:lnTo>
                <a:lnTo>
                  <a:pt x="43" y="22"/>
                </a:lnTo>
                <a:lnTo>
                  <a:pt x="47" y="26"/>
                </a:lnTo>
                <a:lnTo>
                  <a:pt x="47" y="29"/>
                </a:lnTo>
                <a:lnTo>
                  <a:pt x="47" y="29"/>
                </a:lnTo>
                <a:lnTo>
                  <a:pt x="43" y="34"/>
                </a:lnTo>
                <a:lnTo>
                  <a:pt x="42" y="36"/>
                </a:lnTo>
                <a:lnTo>
                  <a:pt x="38" y="42"/>
                </a:lnTo>
                <a:lnTo>
                  <a:pt x="36" y="47"/>
                </a:lnTo>
                <a:lnTo>
                  <a:pt x="34" y="48"/>
                </a:lnTo>
                <a:lnTo>
                  <a:pt x="31" y="56"/>
                </a:lnTo>
                <a:lnTo>
                  <a:pt x="23" y="64"/>
                </a:lnTo>
                <a:lnTo>
                  <a:pt x="22" y="65"/>
                </a:lnTo>
                <a:lnTo>
                  <a:pt x="21" y="66"/>
                </a:lnTo>
                <a:lnTo>
                  <a:pt x="18" y="66"/>
                </a:lnTo>
                <a:lnTo>
                  <a:pt x="17" y="65"/>
                </a:lnTo>
                <a:lnTo>
                  <a:pt x="15" y="65"/>
                </a:lnTo>
                <a:lnTo>
                  <a:pt x="13" y="65"/>
                </a:lnTo>
                <a:lnTo>
                  <a:pt x="9" y="67"/>
                </a:lnTo>
                <a:lnTo>
                  <a:pt x="7" y="67"/>
                </a:lnTo>
                <a:lnTo>
                  <a:pt x="6" y="67"/>
                </a:lnTo>
                <a:lnTo>
                  <a:pt x="3" y="65"/>
                </a:lnTo>
                <a:lnTo>
                  <a:pt x="0" y="6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06" name="Freeform 706"/>
          <p:cNvSpPr>
            <a:spLocks/>
          </p:cNvSpPr>
          <p:nvPr/>
        </p:nvSpPr>
        <p:spPr bwMode="auto">
          <a:xfrm>
            <a:off x="2963863" y="3414678"/>
            <a:ext cx="74612" cy="106363"/>
          </a:xfrm>
          <a:custGeom>
            <a:avLst/>
            <a:gdLst>
              <a:gd name="T0" fmla="*/ 0 w 47"/>
              <a:gd name="T1" fmla="*/ 61 h 67"/>
              <a:gd name="T2" fmla="*/ 5 w 47"/>
              <a:gd name="T3" fmla="*/ 57 h 67"/>
              <a:gd name="T4" fmla="*/ 5 w 47"/>
              <a:gd name="T5" fmla="*/ 56 h 67"/>
              <a:gd name="T6" fmla="*/ 6 w 47"/>
              <a:gd name="T7" fmla="*/ 50 h 67"/>
              <a:gd name="T8" fmla="*/ 7 w 47"/>
              <a:gd name="T9" fmla="*/ 42 h 67"/>
              <a:gd name="T10" fmla="*/ 8 w 47"/>
              <a:gd name="T11" fmla="*/ 37 h 67"/>
              <a:gd name="T12" fmla="*/ 7 w 47"/>
              <a:gd name="T13" fmla="*/ 35 h 67"/>
              <a:gd name="T14" fmla="*/ 6 w 47"/>
              <a:gd name="T15" fmla="*/ 35 h 67"/>
              <a:gd name="T16" fmla="*/ 6 w 47"/>
              <a:gd name="T17" fmla="*/ 34 h 67"/>
              <a:gd name="T18" fmla="*/ 3 w 47"/>
              <a:gd name="T19" fmla="*/ 29 h 67"/>
              <a:gd name="T20" fmla="*/ 2 w 47"/>
              <a:gd name="T21" fmla="*/ 26 h 67"/>
              <a:gd name="T22" fmla="*/ 2 w 47"/>
              <a:gd name="T23" fmla="*/ 19 h 67"/>
              <a:gd name="T24" fmla="*/ 2 w 47"/>
              <a:gd name="T25" fmla="*/ 13 h 67"/>
              <a:gd name="T26" fmla="*/ 3 w 47"/>
              <a:gd name="T27" fmla="*/ 9 h 67"/>
              <a:gd name="T28" fmla="*/ 6 w 47"/>
              <a:gd name="T29" fmla="*/ 7 h 67"/>
              <a:gd name="T30" fmla="*/ 7 w 47"/>
              <a:gd name="T31" fmla="*/ 5 h 67"/>
              <a:gd name="T32" fmla="*/ 7 w 47"/>
              <a:gd name="T33" fmla="*/ 4 h 67"/>
              <a:gd name="T34" fmla="*/ 8 w 47"/>
              <a:gd name="T35" fmla="*/ 3 h 67"/>
              <a:gd name="T36" fmla="*/ 10 w 47"/>
              <a:gd name="T37" fmla="*/ 3 h 67"/>
              <a:gd name="T38" fmla="*/ 11 w 47"/>
              <a:gd name="T39" fmla="*/ 1 h 67"/>
              <a:gd name="T40" fmla="*/ 12 w 47"/>
              <a:gd name="T41" fmla="*/ 0 h 67"/>
              <a:gd name="T42" fmla="*/ 16 w 47"/>
              <a:gd name="T43" fmla="*/ 4 h 67"/>
              <a:gd name="T44" fmla="*/ 19 w 47"/>
              <a:gd name="T45" fmla="*/ 5 h 67"/>
              <a:gd name="T46" fmla="*/ 23 w 47"/>
              <a:gd name="T47" fmla="*/ 7 h 67"/>
              <a:gd name="T48" fmla="*/ 26 w 47"/>
              <a:gd name="T49" fmla="*/ 8 h 67"/>
              <a:gd name="T50" fmla="*/ 30 w 47"/>
              <a:gd name="T51" fmla="*/ 10 h 67"/>
              <a:gd name="T52" fmla="*/ 34 w 47"/>
              <a:gd name="T53" fmla="*/ 14 h 67"/>
              <a:gd name="T54" fmla="*/ 36 w 47"/>
              <a:gd name="T55" fmla="*/ 15 h 67"/>
              <a:gd name="T56" fmla="*/ 39 w 47"/>
              <a:gd name="T57" fmla="*/ 18 h 67"/>
              <a:gd name="T58" fmla="*/ 41 w 47"/>
              <a:gd name="T59" fmla="*/ 20 h 67"/>
              <a:gd name="T60" fmla="*/ 43 w 47"/>
              <a:gd name="T61" fmla="*/ 22 h 67"/>
              <a:gd name="T62" fmla="*/ 47 w 47"/>
              <a:gd name="T63" fmla="*/ 26 h 67"/>
              <a:gd name="T64" fmla="*/ 47 w 47"/>
              <a:gd name="T65" fmla="*/ 29 h 67"/>
              <a:gd name="T66" fmla="*/ 47 w 47"/>
              <a:gd name="T67" fmla="*/ 29 h 67"/>
              <a:gd name="T68" fmla="*/ 43 w 47"/>
              <a:gd name="T69" fmla="*/ 34 h 67"/>
              <a:gd name="T70" fmla="*/ 42 w 47"/>
              <a:gd name="T71" fmla="*/ 36 h 67"/>
              <a:gd name="T72" fmla="*/ 38 w 47"/>
              <a:gd name="T73" fmla="*/ 42 h 67"/>
              <a:gd name="T74" fmla="*/ 36 w 47"/>
              <a:gd name="T75" fmla="*/ 47 h 67"/>
              <a:gd name="T76" fmla="*/ 34 w 47"/>
              <a:gd name="T77" fmla="*/ 48 h 67"/>
              <a:gd name="T78" fmla="*/ 31 w 47"/>
              <a:gd name="T79" fmla="*/ 56 h 67"/>
              <a:gd name="T80" fmla="*/ 23 w 47"/>
              <a:gd name="T81" fmla="*/ 64 h 67"/>
              <a:gd name="T82" fmla="*/ 22 w 47"/>
              <a:gd name="T83" fmla="*/ 65 h 67"/>
              <a:gd name="T84" fmla="*/ 21 w 47"/>
              <a:gd name="T85" fmla="*/ 66 h 67"/>
              <a:gd name="T86" fmla="*/ 18 w 47"/>
              <a:gd name="T87" fmla="*/ 66 h 67"/>
              <a:gd name="T88" fmla="*/ 17 w 47"/>
              <a:gd name="T89" fmla="*/ 65 h 67"/>
              <a:gd name="T90" fmla="*/ 15 w 47"/>
              <a:gd name="T91" fmla="*/ 65 h 67"/>
              <a:gd name="T92" fmla="*/ 13 w 47"/>
              <a:gd name="T93" fmla="*/ 65 h 67"/>
              <a:gd name="T94" fmla="*/ 9 w 47"/>
              <a:gd name="T95" fmla="*/ 67 h 67"/>
              <a:gd name="T96" fmla="*/ 7 w 47"/>
              <a:gd name="T97" fmla="*/ 67 h 67"/>
              <a:gd name="T98" fmla="*/ 6 w 47"/>
              <a:gd name="T99" fmla="*/ 67 h 67"/>
              <a:gd name="T100" fmla="*/ 3 w 47"/>
              <a:gd name="T101" fmla="*/ 65 h 67"/>
              <a:gd name="T102" fmla="*/ 0 w 47"/>
              <a:gd name="T103" fmla="*/ 61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7" h="67">
                <a:moveTo>
                  <a:pt x="0" y="61"/>
                </a:moveTo>
                <a:lnTo>
                  <a:pt x="5" y="57"/>
                </a:lnTo>
                <a:lnTo>
                  <a:pt x="5" y="56"/>
                </a:lnTo>
                <a:lnTo>
                  <a:pt x="6" y="50"/>
                </a:lnTo>
                <a:lnTo>
                  <a:pt x="7" y="42"/>
                </a:lnTo>
                <a:lnTo>
                  <a:pt x="8" y="37"/>
                </a:lnTo>
                <a:lnTo>
                  <a:pt x="7" y="35"/>
                </a:lnTo>
                <a:lnTo>
                  <a:pt x="6" y="35"/>
                </a:lnTo>
                <a:lnTo>
                  <a:pt x="6" y="34"/>
                </a:lnTo>
                <a:lnTo>
                  <a:pt x="3" y="29"/>
                </a:lnTo>
                <a:lnTo>
                  <a:pt x="2" y="26"/>
                </a:lnTo>
                <a:lnTo>
                  <a:pt x="2" y="19"/>
                </a:lnTo>
                <a:lnTo>
                  <a:pt x="2" y="13"/>
                </a:lnTo>
                <a:lnTo>
                  <a:pt x="3" y="9"/>
                </a:lnTo>
                <a:lnTo>
                  <a:pt x="6" y="7"/>
                </a:lnTo>
                <a:lnTo>
                  <a:pt x="7" y="5"/>
                </a:lnTo>
                <a:lnTo>
                  <a:pt x="7" y="4"/>
                </a:lnTo>
                <a:lnTo>
                  <a:pt x="8" y="3"/>
                </a:lnTo>
                <a:lnTo>
                  <a:pt x="10" y="3"/>
                </a:lnTo>
                <a:lnTo>
                  <a:pt x="11" y="1"/>
                </a:lnTo>
                <a:lnTo>
                  <a:pt x="12" y="0"/>
                </a:lnTo>
                <a:lnTo>
                  <a:pt x="16" y="4"/>
                </a:lnTo>
                <a:lnTo>
                  <a:pt x="19" y="5"/>
                </a:lnTo>
                <a:lnTo>
                  <a:pt x="23" y="7"/>
                </a:lnTo>
                <a:lnTo>
                  <a:pt x="26" y="8"/>
                </a:lnTo>
                <a:lnTo>
                  <a:pt x="30" y="10"/>
                </a:lnTo>
                <a:lnTo>
                  <a:pt x="34" y="14"/>
                </a:lnTo>
                <a:lnTo>
                  <a:pt x="36" y="15"/>
                </a:lnTo>
                <a:lnTo>
                  <a:pt x="39" y="18"/>
                </a:lnTo>
                <a:lnTo>
                  <a:pt x="41" y="20"/>
                </a:lnTo>
                <a:lnTo>
                  <a:pt x="43" y="22"/>
                </a:lnTo>
                <a:lnTo>
                  <a:pt x="47" y="26"/>
                </a:lnTo>
                <a:lnTo>
                  <a:pt x="47" y="29"/>
                </a:lnTo>
                <a:lnTo>
                  <a:pt x="47" y="29"/>
                </a:lnTo>
                <a:lnTo>
                  <a:pt x="43" y="34"/>
                </a:lnTo>
                <a:lnTo>
                  <a:pt x="42" y="36"/>
                </a:lnTo>
                <a:lnTo>
                  <a:pt x="38" y="42"/>
                </a:lnTo>
                <a:lnTo>
                  <a:pt x="36" y="47"/>
                </a:lnTo>
                <a:lnTo>
                  <a:pt x="34" y="48"/>
                </a:lnTo>
                <a:lnTo>
                  <a:pt x="31" y="56"/>
                </a:lnTo>
                <a:lnTo>
                  <a:pt x="23" y="64"/>
                </a:lnTo>
                <a:lnTo>
                  <a:pt x="22" y="65"/>
                </a:lnTo>
                <a:lnTo>
                  <a:pt x="21" y="66"/>
                </a:lnTo>
                <a:lnTo>
                  <a:pt x="18" y="66"/>
                </a:lnTo>
                <a:lnTo>
                  <a:pt x="17" y="65"/>
                </a:lnTo>
                <a:lnTo>
                  <a:pt x="15" y="65"/>
                </a:lnTo>
                <a:lnTo>
                  <a:pt x="13" y="65"/>
                </a:lnTo>
                <a:lnTo>
                  <a:pt x="9" y="67"/>
                </a:lnTo>
                <a:lnTo>
                  <a:pt x="7" y="67"/>
                </a:lnTo>
                <a:lnTo>
                  <a:pt x="6" y="67"/>
                </a:lnTo>
                <a:lnTo>
                  <a:pt x="3" y="65"/>
                </a:lnTo>
                <a:lnTo>
                  <a:pt x="0" y="6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07" name="Freeform 707"/>
          <p:cNvSpPr>
            <a:spLocks/>
          </p:cNvSpPr>
          <p:nvPr/>
        </p:nvSpPr>
        <p:spPr bwMode="auto">
          <a:xfrm>
            <a:off x="4957763" y="2366928"/>
            <a:ext cx="71437" cy="53975"/>
          </a:xfrm>
          <a:custGeom>
            <a:avLst/>
            <a:gdLst>
              <a:gd name="T0" fmla="*/ 27 w 45"/>
              <a:gd name="T1" fmla="*/ 1 h 34"/>
              <a:gd name="T2" fmla="*/ 25 w 45"/>
              <a:gd name="T3" fmla="*/ 1 h 34"/>
              <a:gd name="T4" fmla="*/ 19 w 45"/>
              <a:gd name="T5" fmla="*/ 2 h 34"/>
              <a:gd name="T6" fmla="*/ 13 w 45"/>
              <a:gd name="T7" fmla="*/ 0 h 34"/>
              <a:gd name="T8" fmla="*/ 9 w 45"/>
              <a:gd name="T9" fmla="*/ 1 h 34"/>
              <a:gd name="T10" fmla="*/ 5 w 45"/>
              <a:gd name="T11" fmla="*/ 2 h 34"/>
              <a:gd name="T12" fmla="*/ 2 w 45"/>
              <a:gd name="T13" fmla="*/ 4 h 34"/>
              <a:gd name="T14" fmla="*/ 3 w 45"/>
              <a:gd name="T15" fmla="*/ 5 h 34"/>
              <a:gd name="T16" fmla="*/ 6 w 45"/>
              <a:gd name="T17" fmla="*/ 8 h 34"/>
              <a:gd name="T18" fmla="*/ 6 w 45"/>
              <a:gd name="T19" fmla="*/ 10 h 34"/>
              <a:gd name="T20" fmla="*/ 3 w 45"/>
              <a:gd name="T21" fmla="*/ 12 h 34"/>
              <a:gd name="T22" fmla="*/ 3 w 45"/>
              <a:gd name="T23" fmla="*/ 15 h 34"/>
              <a:gd name="T24" fmla="*/ 2 w 45"/>
              <a:gd name="T25" fmla="*/ 20 h 34"/>
              <a:gd name="T26" fmla="*/ 0 w 45"/>
              <a:gd name="T27" fmla="*/ 23 h 34"/>
              <a:gd name="T28" fmla="*/ 1 w 45"/>
              <a:gd name="T29" fmla="*/ 24 h 34"/>
              <a:gd name="T30" fmla="*/ 3 w 45"/>
              <a:gd name="T31" fmla="*/ 25 h 34"/>
              <a:gd name="T32" fmla="*/ 12 w 45"/>
              <a:gd name="T33" fmla="*/ 24 h 34"/>
              <a:gd name="T34" fmla="*/ 10 w 45"/>
              <a:gd name="T35" fmla="*/ 27 h 34"/>
              <a:gd name="T36" fmla="*/ 7 w 45"/>
              <a:gd name="T37" fmla="*/ 28 h 34"/>
              <a:gd name="T38" fmla="*/ 3 w 45"/>
              <a:gd name="T39" fmla="*/ 29 h 34"/>
              <a:gd name="T40" fmla="*/ 3 w 45"/>
              <a:gd name="T41" fmla="*/ 31 h 34"/>
              <a:gd name="T42" fmla="*/ 5 w 45"/>
              <a:gd name="T43" fmla="*/ 34 h 34"/>
              <a:gd name="T44" fmla="*/ 6 w 45"/>
              <a:gd name="T45" fmla="*/ 33 h 34"/>
              <a:gd name="T46" fmla="*/ 8 w 45"/>
              <a:gd name="T47" fmla="*/ 31 h 34"/>
              <a:gd name="T48" fmla="*/ 10 w 45"/>
              <a:gd name="T49" fmla="*/ 29 h 34"/>
              <a:gd name="T50" fmla="*/ 17 w 45"/>
              <a:gd name="T51" fmla="*/ 24 h 34"/>
              <a:gd name="T52" fmla="*/ 21 w 45"/>
              <a:gd name="T53" fmla="*/ 21 h 34"/>
              <a:gd name="T54" fmla="*/ 22 w 45"/>
              <a:gd name="T55" fmla="*/ 19 h 34"/>
              <a:gd name="T56" fmla="*/ 26 w 45"/>
              <a:gd name="T57" fmla="*/ 18 h 34"/>
              <a:gd name="T58" fmla="*/ 29 w 45"/>
              <a:gd name="T59" fmla="*/ 18 h 34"/>
              <a:gd name="T60" fmla="*/ 33 w 45"/>
              <a:gd name="T61" fmla="*/ 18 h 34"/>
              <a:gd name="T62" fmla="*/ 37 w 45"/>
              <a:gd name="T63" fmla="*/ 18 h 34"/>
              <a:gd name="T64" fmla="*/ 39 w 45"/>
              <a:gd name="T65" fmla="*/ 19 h 34"/>
              <a:gd name="T66" fmla="*/ 42 w 45"/>
              <a:gd name="T67" fmla="*/ 18 h 34"/>
              <a:gd name="T68" fmla="*/ 45 w 45"/>
              <a:gd name="T69" fmla="*/ 15 h 34"/>
              <a:gd name="T70" fmla="*/ 43 w 45"/>
              <a:gd name="T71" fmla="*/ 13 h 34"/>
              <a:gd name="T72" fmla="*/ 41 w 45"/>
              <a:gd name="T73" fmla="*/ 13 h 34"/>
              <a:gd name="T74" fmla="*/ 37 w 45"/>
              <a:gd name="T75" fmla="*/ 11 h 34"/>
              <a:gd name="T76" fmla="*/ 32 w 45"/>
              <a:gd name="T77" fmla="*/ 10 h 34"/>
              <a:gd name="T78" fmla="*/ 30 w 45"/>
              <a:gd name="T79" fmla="*/ 9 h 34"/>
              <a:gd name="T80" fmla="*/ 28 w 45"/>
              <a:gd name="T81" fmla="*/ 7 h 34"/>
              <a:gd name="T82" fmla="*/ 27 w 45"/>
              <a:gd name="T83" fmla="*/ 3 h 34"/>
              <a:gd name="T84" fmla="*/ 27 w 45"/>
              <a:gd name="T85" fmla="*/ 1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45" h="34">
                <a:moveTo>
                  <a:pt x="27" y="1"/>
                </a:moveTo>
                <a:lnTo>
                  <a:pt x="25" y="1"/>
                </a:lnTo>
                <a:lnTo>
                  <a:pt x="19" y="2"/>
                </a:lnTo>
                <a:lnTo>
                  <a:pt x="13" y="0"/>
                </a:lnTo>
                <a:lnTo>
                  <a:pt x="9" y="1"/>
                </a:lnTo>
                <a:lnTo>
                  <a:pt x="5" y="2"/>
                </a:lnTo>
                <a:lnTo>
                  <a:pt x="2" y="4"/>
                </a:lnTo>
                <a:lnTo>
                  <a:pt x="3" y="5"/>
                </a:lnTo>
                <a:lnTo>
                  <a:pt x="6" y="8"/>
                </a:lnTo>
                <a:lnTo>
                  <a:pt x="6" y="10"/>
                </a:lnTo>
                <a:lnTo>
                  <a:pt x="3" y="12"/>
                </a:lnTo>
                <a:lnTo>
                  <a:pt x="3" y="15"/>
                </a:lnTo>
                <a:lnTo>
                  <a:pt x="2" y="20"/>
                </a:lnTo>
                <a:lnTo>
                  <a:pt x="0" y="23"/>
                </a:lnTo>
                <a:lnTo>
                  <a:pt x="1" y="24"/>
                </a:lnTo>
                <a:lnTo>
                  <a:pt x="3" y="25"/>
                </a:lnTo>
                <a:lnTo>
                  <a:pt x="12" y="24"/>
                </a:lnTo>
                <a:lnTo>
                  <a:pt x="10" y="27"/>
                </a:lnTo>
                <a:lnTo>
                  <a:pt x="7" y="28"/>
                </a:lnTo>
                <a:lnTo>
                  <a:pt x="3" y="29"/>
                </a:lnTo>
                <a:lnTo>
                  <a:pt x="3" y="31"/>
                </a:lnTo>
                <a:lnTo>
                  <a:pt x="5" y="34"/>
                </a:lnTo>
                <a:lnTo>
                  <a:pt x="6" y="33"/>
                </a:lnTo>
                <a:lnTo>
                  <a:pt x="8" y="31"/>
                </a:lnTo>
                <a:lnTo>
                  <a:pt x="10" y="29"/>
                </a:lnTo>
                <a:lnTo>
                  <a:pt x="17" y="24"/>
                </a:lnTo>
                <a:lnTo>
                  <a:pt x="21" y="21"/>
                </a:lnTo>
                <a:lnTo>
                  <a:pt x="22" y="19"/>
                </a:lnTo>
                <a:lnTo>
                  <a:pt x="26" y="18"/>
                </a:lnTo>
                <a:lnTo>
                  <a:pt x="29" y="18"/>
                </a:lnTo>
                <a:lnTo>
                  <a:pt x="33" y="18"/>
                </a:lnTo>
                <a:lnTo>
                  <a:pt x="37" y="18"/>
                </a:lnTo>
                <a:lnTo>
                  <a:pt x="39" y="19"/>
                </a:lnTo>
                <a:lnTo>
                  <a:pt x="42" y="18"/>
                </a:lnTo>
                <a:lnTo>
                  <a:pt x="45" y="15"/>
                </a:lnTo>
                <a:lnTo>
                  <a:pt x="43" y="13"/>
                </a:lnTo>
                <a:lnTo>
                  <a:pt x="41" y="13"/>
                </a:lnTo>
                <a:lnTo>
                  <a:pt x="37" y="11"/>
                </a:lnTo>
                <a:lnTo>
                  <a:pt x="32" y="10"/>
                </a:lnTo>
                <a:lnTo>
                  <a:pt x="30" y="9"/>
                </a:lnTo>
                <a:lnTo>
                  <a:pt x="28" y="7"/>
                </a:lnTo>
                <a:lnTo>
                  <a:pt x="27" y="3"/>
                </a:lnTo>
                <a:lnTo>
                  <a:pt x="27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08" name="Freeform 708"/>
          <p:cNvSpPr>
            <a:spLocks/>
          </p:cNvSpPr>
          <p:nvPr/>
        </p:nvSpPr>
        <p:spPr bwMode="auto">
          <a:xfrm>
            <a:off x="4957763" y="2366928"/>
            <a:ext cx="71437" cy="53975"/>
          </a:xfrm>
          <a:custGeom>
            <a:avLst/>
            <a:gdLst>
              <a:gd name="T0" fmla="*/ 27 w 45"/>
              <a:gd name="T1" fmla="*/ 1 h 34"/>
              <a:gd name="T2" fmla="*/ 25 w 45"/>
              <a:gd name="T3" fmla="*/ 1 h 34"/>
              <a:gd name="T4" fmla="*/ 19 w 45"/>
              <a:gd name="T5" fmla="*/ 2 h 34"/>
              <a:gd name="T6" fmla="*/ 13 w 45"/>
              <a:gd name="T7" fmla="*/ 0 h 34"/>
              <a:gd name="T8" fmla="*/ 9 w 45"/>
              <a:gd name="T9" fmla="*/ 1 h 34"/>
              <a:gd name="T10" fmla="*/ 5 w 45"/>
              <a:gd name="T11" fmla="*/ 2 h 34"/>
              <a:gd name="T12" fmla="*/ 2 w 45"/>
              <a:gd name="T13" fmla="*/ 4 h 34"/>
              <a:gd name="T14" fmla="*/ 3 w 45"/>
              <a:gd name="T15" fmla="*/ 5 h 34"/>
              <a:gd name="T16" fmla="*/ 6 w 45"/>
              <a:gd name="T17" fmla="*/ 8 h 34"/>
              <a:gd name="T18" fmla="*/ 6 w 45"/>
              <a:gd name="T19" fmla="*/ 10 h 34"/>
              <a:gd name="T20" fmla="*/ 3 w 45"/>
              <a:gd name="T21" fmla="*/ 12 h 34"/>
              <a:gd name="T22" fmla="*/ 3 w 45"/>
              <a:gd name="T23" fmla="*/ 15 h 34"/>
              <a:gd name="T24" fmla="*/ 2 w 45"/>
              <a:gd name="T25" fmla="*/ 20 h 34"/>
              <a:gd name="T26" fmla="*/ 0 w 45"/>
              <a:gd name="T27" fmla="*/ 23 h 34"/>
              <a:gd name="T28" fmla="*/ 1 w 45"/>
              <a:gd name="T29" fmla="*/ 24 h 34"/>
              <a:gd name="T30" fmla="*/ 3 w 45"/>
              <a:gd name="T31" fmla="*/ 25 h 34"/>
              <a:gd name="T32" fmla="*/ 12 w 45"/>
              <a:gd name="T33" fmla="*/ 24 h 34"/>
              <a:gd name="T34" fmla="*/ 10 w 45"/>
              <a:gd name="T35" fmla="*/ 27 h 34"/>
              <a:gd name="T36" fmla="*/ 7 w 45"/>
              <a:gd name="T37" fmla="*/ 28 h 34"/>
              <a:gd name="T38" fmla="*/ 3 w 45"/>
              <a:gd name="T39" fmla="*/ 29 h 34"/>
              <a:gd name="T40" fmla="*/ 3 w 45"/>
              <a:gd name="T41" fmla="*/ 31 h 34"/>
              <a:gd name="T42" fmla="*/ 5 w 45"/>
              <a:gd name="T43" fmla="*/ 34 h 34"/>
              <a:gd name="T44" fmla="*/ 6 w 45"/>
              <a:gd name="T45" fmla="*/ 33 h 34"/>
              <a:gd name="T46" fmla="*/ 8 w 45"/>
              <a:gd name="T47" fmla="*/ 31 h 34"/>
              <a:gd name="T48" fmla="*/ 10 w 45"/>
              <a:gd name="T49" fmla="*/ 29 h 34"/>
              <a:gd name="T50" fmla="*/ 17 w 45"/>
              <a:gd name="T51" fmla="*/ 24 h 34"/>
              <a:gd name="T52" fmla="*/ 21 w 45"/>
              <a:gd name="T53" fmla="*/ 21 h 34"/>
              <a:gd name="T54" fmla="*/ 22 w 45"/>
              <a:gd name="T55" fmla="*/ 19 h 34"/>
              <a:gd name="T56" fmla="*/ 26 w 45"/>
              <a:gd name="T57" fmla="*/ 18 h 34"/>
              <a:gd name="T58" fmla="*/ 29 w 45"/>
              <a:gd name="T59" fmla="*/ 18 h 34"/>
              <a:gd name="T60" fmla="*/ 33 w 45"/>
              <a:gd name="T61" fmla="*/ 18 h 34"/>
              <a:gd name="T62" fmla="*/ 37 w 45"/>
              <a:gd name="T63" fmla="*/ 18 h 34"/>
              <a:gd name="T64" fmla="*/ 39 w 45"/>
              <a:gd name="T65" fmla="*/ 19 h 34"/>
              <a:gd name="T66" fmla="*/ 42 w 45"/>
              <a:gd name="T67" fmla="*/ 18 h 34"/>
              <a:gd name="T68" fmla="*/ 45 w 45"/>
              <a:gd name="T69" fmla="*/ 15 h 34"/>
              <a:gd name="T70" fmla="*/ 43 w 45"/>
              <a:gd name="T71" fmla="*/ 13 h 34"/>
              <a:gd name="T72" fmla="*/ 41 w 45"/>
              <a:gd name="T73" fmla="*/ 13 h 34"/>
              <a:gd name="T74" fmla="*/ 37 w 45"/>
              <a:gd name="T75" fmla="*/ 11 h 34"/>
              <a:gd name="T76" fmla="*/ 32 w 45"/>
              <a:gd name="T77" fmla="*/ 10 h 34"/>
              <a:gd name="T78" fmla="*/ 30 w 45"/>
              <a:gd name="T79" fmla="*/ 9 h 34"/>
              <a:gd name="T80" fmla="*/ 28 w 45"/>
              <a:gd name="T81" fmla="*/ 7 h 34"/>
              <a:gd name="T82" fmla="*/ 27 w 45"/>
              <a:gd name="T83" fmla="*/ 3 h 34"/>
              <a:gd name="T84" fmla="*/ 27 w 45"/>
              <a:gd name="T85" fmla="*/ 1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45" h="34">
                <a:moveTo>
                  <a:pt x="27" y="1"/>
                </a:moveTo>
                <a:lnTo>
                  <a:pt x="25" y="1"/>
                </a:lnTo>
                <a:lnTo>
                  <a:pt x="19" y="2"/>
                </a:lnTo>
                <a:lnTo>
                  <a:pt x="13" y="0"/>
                </a:lnTo>
                <a:lnTo>
                  <a:pt x="9" y="1"/>
                </a:lnTo>
                <a:lnTo>
                  <a:pt x="5" y="2"/>
                </a:lnTo>
                <a:lnTo>
                  <a:pt x="2" y="4"/>
                </a:lnTo>
                <a:lnTo>
                  <a:pt x="3" y="5"/>
                </a:lnTo>
                <a:lnTo>
                  <a:pt x="6" y="8"/>
                </a:lnTo>
                <a:lnTo>
                  <a:pt x="6" y="10"/>
                </a:lnTo>
                <a:lnTo>
                  <a:pt x="3" y="12"/>
                </a:lnTo>
                <a:lnTo>
                  <a:pt x="3" y="15"/>
                </a:lnTo>
                <a:lnTo>
                  <a:pt x="2" y="20"/>
                </a:lnTo>
                <a:lnTo>
                  <a:pt x="0" y="23"/>
                </a:lnTo>
                <a:lnTo>
                  <a:pt x="1" y="24"/>
                </a:lnTo>
                <a:lnTo>
                  <a:pt x="3" y="25"/>
                </a:lnTo>
                <a:lnTo>
                  <a:pt x="12" y="24"/>
                </a:lnTo>
                <a:lnTo>
                  <a:pt x="10" y="27"/>
                </a:lnTo>
                <a:lnTo>
                  <a:pt x="7" y="28"/>
                </a:lnTo>
                <a:lnTo>
                  <a:pt x="3" y="29"/>
                </a:lnTo>
                <a:lnTo>
                  <a:pt x="3" y="31"/>
                </a:lnTo>
                <a:lnTo>
                  <a:pt x="5" y="34"/>
                </a:lnTo>
                <a:lnTo>
                  <a:pt x="6" y="33"/>
                </a:lnTo>
                <a:lnTo>
                  <a:pt x="8" y="31"/>
                </a:lnTo>
                <a:lnTo>
                  <a:pt x="10" y="29"/>
                </a:lnTo>
                <a:lnTo>
                  <a:pt x="17" y="24"/>
                </a:lnTo>
                <a:lnTo>
                  <a:pt x="21" y="21"/>
                </a:lnTo>
                <a:lnTo>
                  <a:pt x="22" y="19"/>
                </a:lnTo>
                <a:lnTo>
                  <a:pt x="26" y="18"/>
                </a:lnTo>
                <a:lnTo>
                  <a:pt x="29" y="18"/>
                </a:lnTo>
                <a:lnTo>
                  <a:pt x="33" y="18"/>
                </a:lnTo>
                <a:lnTo>
                  <a:pt x="37" y="18"/>
                </a:lnTo>
                <a:lnTo>
                  <a:pt x="39" y="19"/>
                </a:lnTo>
                <a:lnTo>
                  <a:pt x="42" y="18"/>
                </a:lnTo>
                <a:lnTo>
                  <a:pt x="45" y="15"/>
                </a:lnTo>
                <a:lnTo>
                  <a:pt x="43" y="13"/>
                </a:lnTo>
                <a:lnTo>
                  <a:pt x="41" y="13"/>
                </a:lnTo>
                <a:lnTo>
                  <a:pt x="37" y="11"/>
                </a:lnTo>
                <a:lnTo>
                  <a:pt x="32" y="10"/>
                </a:lnTo>
                <a:lnTo>
                  <a:pt x="30" y="9"/>
                </a:lnTo>
                <a:lnTo>
                  <a:pt x="28" y="7"/>
                </a:lnTo>
                <a:lnTo>
                  <a:pt x="27" y="3"/>
                </a:lnTo>
                <a:lnTo>
                  <a:pt x="27" y="1"/>
                </a:lnTo>
              </a:path>
            </a:pathLst>
          </a:custGeom>
          <a:solidFill>
            <a:srgbClr val="00A6D3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09" name="Freeform 709"/>
          <p:cNvSpPr>
            <a:spLocks/>
          </p:cNvSpPr>
          <p:nvPr/>
        </p:nvSpPr>
        <p:spPr bwMode="auto">
          <a:xfrm>
            <a:off x="6653213" y="2762215"/>
            <a:ext cx="219075" cy="522288"/>
          </a:xfrm>
          <a:custGeom>
            <a:avLst/>
            <a:gdLst>
              <a:gd name="T0" fmla="*/ 46 w 138"/>
              <a:gd name="T1" fmla="*/ 202 h 329"/>
              <a:gd name="T2" fmla="*/ 41 w 138"/>
              <a:gd name="T3" fmla="*/ 180 h 329"/>
              <a:gd name="T4" fmla="*/ 31 w 138"/>
              <a:gd name="T5" fmla="*/ 170 h 329"/>
              <a:gd name="T6" fmla="*/ 28 w 138"/>
              <a:gd name="T7" fmla="*/ 163 h 329"/>
              <a:gd name="T8" fmla="*/ 25 w 138"/>
              <a:gd name="T9" fmla="*/ 156 h 329"/>
              <a:gd name="T10" fmla="*/ 7 w 138"/>
              <a:gd name="T11" fmla="*/ 143 h 329"/>
              <a:gd name="T12" fmla="*/ 1 w 138"/>
              <a:gd name="T13" fmla="*/ 135 h 329"/>
              <a:gd name="T14" fmla="*/ 4 w 138"/>
              <a:gd name="T15" fmla="*/ 126 h 329"/>
              <a:gd name="T16" fmla="*/ 5 w 138"/>
              <a:gd name="T17" fmla="*/ 114 h 329"/>
              <a:gd name="T18" fmla="*/ 10 w 138"/>
              <a:gd name="T19" fmla="*/ 111 h 329"/>
              <a:gd name="T20" fmla="*/ 7 w 138"/>
              <a:gd name="T21" fmla="*/ 98 h 329"/>
              <a:gd name="T22" fmla="*/ 10 w 138"/>
              <a:gd name="T23" fmla="*/ 83 h 329"/>
              <a:gd name="T24" fmla="*/ 21 w 138"/>
              <a:gd name="T25" fmla="*/ 81 h 329"/>
              <a:gd name="T26" fmla="*/ 26 w 138"/>
              <a:gd name="T27" fmla="*/ 58 h 329"/>
              <a:gd name="T28" fmla="*/ 32 w 138"/>
              <a:gd name="T29" fmla="*/ 46 h 329"/>
              <a:gd name="T30" fmla="*/ 37 w 138"/>
              <a:gd name="T31" fmla="*/ 27 h 329"/>
              <a:gd name="T32" fmla="*/ 49 w 138"/>
              <a:gd name="T33" fmla="*/ 18 h 329"/>
              <a:gd name="T34" fmla="*/ 54 w 138"/>
              <a:gd name="T35" fmla="*/ 10 h 329"/>
              <a:gd name="T36" fmla="*/ 59 w 138"/>
              <a:gd name="T37" fmla="*/ 2 h 329"/>
              <a:gd name="T38" fmla="*/ 69 w 138"/>
              <a:gd name="T39" fmla="*/ 6 h 329"/>
              <a:gd name="T40" fmla="*/ 82 w 138"/>
              <a:gd name="T41" fmla="*/ 23 h 329"/>
              <a:gd name="T42" fmla="*/ 84 w 138"/>
              <a:gd name="T43" fmla="*/ 48 h 329"/>
              <a:gd name="T44" fmla="*/ 77 w 138"/>
              <a:gd name="T45" fmla="*/ 59 h 329"/>
              <a:gd name="T46" fmla="*/ 78 w 138"/>
              <a:gd name="T47" fmla="*/ 76 h 329"/>
              <a:gd name="T48" fmla="*/ 84 w 138"/>
              <a:gd name="T49" fmla="*/ 77 h 329"/>
              <a:gd name="T50" fmla="*/ 97 w 138"/>
              <a:gd name="T51" fmla="*/ 84 h 329"/>
              <a:gd name="T52" fmla="*/ 107 w 138"/>
              <a:gd name="T53" fmla="*/ 104 h 329"/>
              <a:gd name="T54" fmla="*/ 118 w 138"/>
              <a:gd name="T55" fmla="*/ 117 h 329"/>
              <a:gd name="T56" fmla="*/ 137 w 138"/>
              <a:gd name="T57" fmla="*/ 118 h 329"/>
              <a:gd name="T58" fmla="*/ 130 w 138"/>
              <a:gd name="T59" fmla="*/ 129 h 329"/>
              <a:gd name="T60" fmla="*/ 128 w 138"/>
              <a:gd name="T61" fmla="*/ 134 h 329"/>
              <a:gd name="T62" fmla="*/ 124 w 138"/>
              <a:gd name="T63" fmla="*/ 140 h 329"/>
              <a:gd name="T64" fmla="*/ 113 w 138"/>
              <a:gd name="T65" fmla="*/ 150 h 329"/>
              <a:gd name="T66" fmla="*/ 98 w 138"/>
              <a:gd name="T67" fmla="*/ 158 h 329"/>
              <a:gd name="T68" fmla="*/ 94 w 138"/>
              <a:gd name="T69" fmla="*/ 177 h 329"/>
              <a:gd name="T70" fmla="*/ 98 w 138"/>
              <a:gd name="T71" fmla="*/ 195 h 329"/>
              <a:gd name="T72" fmla="*/ 111 w 138"/>
              <a:gd name="T73" fmla="*/ 214 h 329"/>
              <a:gd name="T74" fmla="*/ 114 w 138"/>
              <a:gd name="T75" fmla="*/ 223 h 329"/>
              <a:gd name="T76" fmla="*/ 112 w 138"/>
              <a:gd name="T77" fmla="*/ 235 h 329"/>
              <a:gd name="T78" fmla="*/ 112 w 138"/>
              <a:gd name="T79" fmla="*/ 249 h 329"/>
              <a:gd name="T80" fmla="*/ 125 w 138"/>
              <a:gd name="T81" fmla="*/ 265 h 329"/>
              <a:gd name="T82" fmla="*/ 132 w 138"/>
              <a:gd name="T83" fmla="*/ 287 h 329"/>
              <a:gd name="T84" fmla="*/ 129 w 138"/>
              <a:gd name="T85" fmla="*/ 313 h 329"/>
              <a:gd name="T86" fmla="*/ 125 w 138"/>
              <a:gd name="T87" fmla="*/ 328 h 329"/>
              <a:gd name="T88" fmla="*/ 123 w 138"/>
              <a:gd name="T89" fmla="*/ 318 h 329"/>
              <a:gd name="T90" fmla="*/ 122 w 138"/>
              <a:gd name="T91" fmla="*/ 299 h 329"/>
              <a:gd name="T92" fmla="*/ 122 w 138"/>
              <a:gd name="T93" fmla="*/ 291 h 329"/>
              <a:gd name="T94" fmla="*/ 113 w 138"/>
              <a:gd name="T95" fmla="*/ 264 h 329"/>
              <a:gd name="T96" fmla="*/ 107 w 138"/>
              <a:gd name="T97" fmla="*/ 254 h 329"/>
              <a:gd name="T98" fmla="*/ 98 w 138"/>
              <a:gd name="T99" fmla="*/ 223 h 329"/>
              <a:gd name="T100" fmla="*/ 92 w 138"/>
              <a:gd name="T101" fmla="*/ 212 h 329"/>
              <a:gd name="T102" fmla="*/ 82 w 138"/>
              <a:gd name="T103" fmla="*/ 200 h 329"/>
              <a:gd name="T104" fmla="*/ 76 w 138"/>
              <a:gd name="T105" fmla="*/ 214 h 329"/>
              <a:gd name="T106" fmla="*/ 64 w 138"/>
              <a:gd name="T107" fmla="*/ 224 h 329"/>
              <a:gd name="T108" fmla="*/ 56 w 138"/>
              <a:gd name="T109" fmla="*/ 225 h 329"/>
              <a:gd name="T110" fmla="*/ 47 w 138"/>
              <a:gd name="T111" fmla="*/ 224 h 329"/>
              <a:gd name="T112" fmla="*/ 44 w 138"/>
              <a:gd name="T113" fmla="*/ 217 h 3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38" h="329">
                <a:moveTo>
                  <a:pt x="44" y="217"/>
                </a:moveTo>
                <a:lnTo>
                  <a:pt x="44" y="213"/>
                </a:lnTo>
                <a:lnTo>
                  <a:pt x="45" y="207"/>
                </a:lnTo>
                <a:lnTo>
                  <a:pt x="46" y="202"/>
                </a:lnTo>
                <a:lnTo>
                  <a:pt x="45" y="195"/>
                </a:lnTo>
                <a:lnTo>
                  <a:pt x="42" y="186"/>
                </a:lnTo>
                <a:lnTo>
                  <a:pt x="41" y="184"/>
                </a:lnTo>
                <a:lnTo>
                  <a:pt x="41" y="180"/>
                </a:lnTo>
                <a:lnTo>
                  <a:pt x="38" y="177"/>
                </a:lnTo>
                <a:lnTo>
                  <a:pt x="33" y="169"/>
                </a:lnTo>
                <a:lnTo>
                  <a:pt x="31" y="166"/>
                </a:lnTo>
                <a:lnTo>
                  <a:pt x="31" y="170"/>
                </a:lnTo>
                <a:lnTo>
                  <a:pt x="27" y="168"/>
                </a:lnTo>
                <a:lnTo>
                  <a:pt x="25" y="164"/>
                </a:lnTo>
                <a:lnTo>
                  <a:pt x="25" y="162"/>
                </a:lnTo>
                <a:lnTo>
                  <a:pt x="28" y="163"/>
                </a:lnTo>
                <a:lnTo>
                  <a:pt x="28" y="162"/>
                </a:lnTo>
                <a:lnTo>
                  <a:pt x="25" y="159"/>
                </a:lnTo>
                <a:lnTo>
                  <a:pt x="26" y="158"/>
                </a:lnTo>
                <a:lnTo>
                  <a:pt x="25" y="156"/>
                </a:lnTo>
                <a:lnTo>
                  <a:pt x="13" y="149"/>
                </a:lnTo>
                <a:lnTo>
                  <a:pt x="13" y="146"/>
                </a:lnTo>
                <a:lnTo>
                  <a:pt x="10" y="146"/>
                </a:lnTo>
                <a:lnTo>
                  <a:pt x="7" y="143"/>
                </a:lnTo>
                <a:lnTo>
                  <a:pt x="7" y="144"/>
                </a:lnTo>
                <a:lnTo>
                  <a:pt x="5" y="142"/>
                </a:lnTo>
                <a:lnTo>
                  <a:pt x="4" y="139"/>
                </a:lnTo>
                <a:lnTo>
                  <a:pt x="1" y="135"/>
                </a:lnTo>
                <a:lnTo>
                  <a:pt x="0" y="128"/>
                </a:lnTo>
                <a:lnTo>
                  <a:pt x="0" y="126"/>
                </a:lnTo>
                <a:lnTo>
                  <a:pt x="1" y="125"/>
                </a:lnTo>
                <a:lnTo>
                  <a:pt x="4" y="126"/>
                </a:lnTo>
                <a:lnTo>
                  <a:pt x="3" y="117"/>
                </a:lnTo>
                <a:lnTo>
                  <a:pt x="3" y="116"/>
                </a:lnTo>
                <a:lnTo>
                  <a:pt x="4" y="115"/>
                </a:lnTo>
                <a:lnTo>
                  <a:pt x="5" y="114"/>
                </a:lnTo>
                <a:lnTo>
                  <a:pt x="7" y="114"/>
                </a:lnTo>
                <a:lnTo>
                  <a:pt x="8" y="114"/>
                </a:lnTo>
                <a:lnTo>
                  <a:pt x="11" y="112"/>
                </a:lnTo>
                <a:lnTo>
                  <a:pt x="10" y="111"/>
                </a:lnTo>
                <a:lnTo>
                  <a:pt x="10" y="111"/>
                </a:lnTo>
                <a:lnTo>
                  <a:pt x="8" y="107"/>
                </a:lnTo>
                <a:lnTo>
                  <a:pt x="7" y="102"/>
                </a:lnTo>
                <a:lnTo>
                  <a:pt x="7" y="98"/>
                </a:lnTo>
                <a:lnTo>
                  <a:pt x="11" y="98"/>
                </a:lnTo>
                <a:lnTo>
                  <a:pt x="11" y="97"/>
                </a:lnTo>
                <a:lnTo>
                  <a:pt x="11" y="91"/>
                </a:lnTo>
                <a:lnTo>
                  <a:pt x="10" y="83"/>
                </a:lnTo>
                <a:lnTo>
                  <a:pt x="11" y="81"/>
                </a:lnTo>
                <a:lnTo>
                  <a:pt x="15" y="79"/>
                </a:lnTo>
                <a:lnTo>
                  <a:pt x="18" y="81"/>
                </a:lnTo>
                <a:lnTo>
                  <a:pt x="21" y="81"/>
                </a:lnTo>
                <a:lnTo>
                  <a:pt x="22" y="78"/>
                </a:lnTo>
                <a:lnTo>
                  <a:pt x="23" y="73"/>
                </a:lnTo>
                <a:lnTo>
                  <a:pt x="26" y="62"/>
                </a:lnTo>
                <a:lnTo>
                  <a:pt x="26" y="58"/>
                </a:lnTo>
                <a:lnTo>
                  <a:pt x="26" y="56"/>
                </a:lnTo>
                <a:lnTo>
                  <a:pt x="26" y="53"/>
                </a:lnTo>
                <a:lnTo>
                  <a:pt x="31" y="49"/>
                </a:lnTo>
                <a:lnTo>
                  <a:pt x="32" y="46"/>
                </a:lnTo>
                <a:lnTo>
                  <a:pt x="30" y="37"/>
                </a:lnTo>
                <a:lnTo>
                  <a:pt x="31" y="33"/>
                </a:lnTo>
                <a:lnTo>
                  <a:pt x="34" y="29"/>
                </a:lnTo>
                <a:lnTo>
                  <a:pt x="37" y="27"/>
                </a:lnTo>
                <a:lnTo>
                  <a:pt x="40" y="25"/>
                </a:lnTo>
                <a:lnTo>
                  <a:pt x="42" y="21"/>
                </a:lnTo>
                <a:lnTo>
                  <a:pt x="46" y="19"/>
                </a:lnTo>
                <a:lnTo>
                  <a:pt x="49" y="18"/>
                </a:lnTo>
                <a:lnTo>
                  <a:pt x="54" y="19"/>
                </a:lnTo>
                <a:lnTo>
                  <a:pt x="55" y="18"/>
                </a:lnTo>
                <a:lnTo>
                  <a:pt x="53" y="14"/>
                </a:lnTo>
                <a:lnTo>
                  <a:pt x="54" y="10"/>
                </a:lnTo>
                <a:lnTo>
                  <a:pt x="56" y="8"/>
                </a:lnTo>
                <a:lnTo>
                  <a:pt x="57" y="6"/>
                </a:lnTo>
                <a:lnTo>
                  <a:pt x="57" y="3"/>
                </a:lnTo>
                <a:lnTo>
                  <a:pt x="59" y="2"/>
                </a:lnTo>
                <a:lnTo>
                  <a:pt x="59" y="0"/>
                </a:lnTo>
                <a:lnTo>
                  <a:pt x="61" y="1"/>
                </a:lnTo>
                <a:lnTo>
                  <a:pt x="65" y="2"/>
                </a:lnTo>
                <a:lnTo>
                  <a:pt x="69" y="6"/>
                </a:lnTo>
                <a:lnTo>
                  <a:pt x="72" y="11"/>
                </a:lnTo>
                <a:lnTo>
                  <a:pt x="73" y="14"/>
                </a:lnTo>
                <a:lnTo>
                  <a:pt x="77" y="14"/>
                </a:lnTo>
                <a:lnTo>
                  <a:pt x="82" y="23"/>
                </a:lnTo>
                <a:lnTo>
                  <a:pt x="84" y="29"/>
                </a:lnTo>
                <a:lnTo>
                  <a:pt x="85" y="37"/>
                </a:lnTo>
                <a:lnTo>
                  <a:pt x="85" y="41"/>
                </a:lnTo>
                <a:lnTo>
                  <a:pt x="84" y="48"/>
                </a:lnTo>
                <a:lnTo>
                  <a:pt x="82" y="52"/>
                </a:lnTo>
                <a:lnTo>
                  <a:pt x="81" y="53"/>
                </a:lnTo>
                <a:lnTo>
                  <a:pt x="79" y="56"/>
                </a:lnTo>
                <a:lnTo>
                  <a:pt x="77" y="59"/>
                </a:lnTo>
                <a:lnTo>
                  <a:pt x="77" y="65"/>
                </a:lnTo>
                <a:lnTo>
                  <a:pt x="76" y="69"/>
                </a:lnTo>
                <a:lnTo>
                  <a:pt x="78" y="74"/>
                </a:lnTo>
                <a:lnTo>
                  <a:pt x="78" y="76"/>
                </a:lnTo>
                <a:lnTo>
                  <a:pt x="76" y="82"/>
                </a:lnTo>
                <a:lnTo>
                  <a:pt x="78" y="83"/>
                </a:lnTo>
                <a:lnTo>
                  <a:pt x="82" y="79"/>
                </a:lnTo>
                <a:lnTo>
                  <a:pt x="84" y="77"/>
                </a:lnTo>
                <a:lnTo>
                  <a:pt x="89" y="77"/>
                </a:lnTo>
                <a:lnTo>
                  <a:pt x="95" y="77"/>
                </a:lnTo>
                <a:lnTo>
                  <a:pt x="95" y="79"/>
                </a:lnTo>
                <a:lnTo>
                  <a:pt x="97" y="84"/>
                </a:lnTo>
                <a:lnTo>
                  <a:pt x="98" y="91"/>
                </a:lnTo>
                <a:lnTo>
                  <a:pt x="103" y="94"/>
                </a:lnTo>
                <a:lnTo>
                  <a:pt x="108" y="96"/>
                </a:lnTo>
                <a:lnTo>
                  <a:pt x="107" y="104"/>
                </a:lnTo>
                <a:lnTo>
                  <a:pt x="107" y="111"/>
                </a:lnTo>
                <a:lnTo>
                  <a:pt x="112" y="111"/>
                </a:lnTo>
                <a:lnTo>
                  <a:pt x="117" y="113"/>
                </a:lnTo>
                <a:lnTo>
                  <a:pt x="118" y="117"/>
                </a:lnTo>
                <a:lnTo>
                  <a:pt x="125" y="122"/>
                </a:lnTo>
                <a:lnTo>
                  <a:pt x="130" y="122"/>
                </a:lnTo>
                <a:lnTo>
                  <a:pt x="134" y="117"/>
                </a:lnTo>
                <a:lnTo>
                  <a:pt x="137" y="118"/>
                </a:lnTo>
                <a:lnTo>
                  <a:pt x="138" y="120"/>
                </a:lnTo>
                <a:lnTo>
                  <a:pt x="138" y="122"/>
                </a:lnTo>
                <a:lnTo>
                  <a:pt x="137" y="124"/>
                </a:lnTo>
                <a:lnTo>
                  <a:pt x="130" y="129"/>
                </a:lnTo>
                <a:lnTo>
                  <a:pt x="130" y="132"/>
                </a:lnTo>
                <a:lnTo>
                  <a:pt x="132" y="134"/>
                </a:lnTo>
                <a:lnTo>
                  <a:pt x="129" y="134"/>
                </a:lnTo>
                <a:lnTo>
                  <a:pt x="128" y="134"/>
                </a:lnTo>
                <a:lnTo>
                  <a:pt x="127" y="136"/>
                </a:lnTo>
                <a:lnTo>
                  <a:pt x="126" y="137"/>
                </a:lnTo>
                <a:lnTo>
                  <a:pt x="125" y="138"/>
                </a:lnTo>
                <a:lnTo>
                  <a:pt x="124" y="140"/>
                </a:lnTo>
                <a:lnTo>
                  <a:pt x="123" y="145"/>
                </a:lnTo>
                <a:lnTo>
                  <a:pt x="118" y="146"/>
                </a:lnTo>
                <a:lnTo>
                  <a:pt x="116" y="147"/>
                </a:lnTo>
                <a:lnTo>
                  <a:pt x="113" y="150"/>
                </a:lnTo>
                <a:lnTo>
                  <a:pt x="111" y="153"/>
                </a:lnTo>
                <a:lnTo>
                  <a:pt x="107" y="156"/>
                </a:lnTo>
                <a:lnTo>
                  <a:pt x="104" y="157"/>
                </a:lnTo>
                <a:lnTo>
                  <a:pt x="98" y="158"/>
                </a:lnTo>
                <a:lnTo>
                  <a:pt x="95" y="158"/>
                </a:lnTo>
                <a:lnTo>
                  <a:pt x="93" y="170"/>
                </a:lnTo>
                <a:lnTo>
                  <a:pt x="93" y="175"/>
                </a:lnTo>
                <a:lnTo>
                  <a:pt x="94" y="177"/>
                </a:lnTo>
                <a:lnTo>
                  <a:pt x="92" y="179"/>
                </a:lnTo>
                <a:lnTo>
                  <a:pt x="92" y="182"/>
                </a:lnTo>
                <a:lnTo>
                  <a:pt x="95" y="187"/>
                </a:lnTo>
                <a:lnTo>
                  <a:pt x="98" y="195"/>
                </a:lnTo>
                <a:lnTo>
                  <a:pt x="106" y="200"/>
                </a:lnTo>
                <a:lnTo>
                  <a:pt x="108" y="204"/>
                </a:lnTo>
                <a:lnTo>
                  <a:pt x="111" y="208"/>
                </a:lnTo>
                <a:lnTo>
                  <a:pt x="111" y="214"/>
                </a:lnTo>
                <a:lnTo>
                  <a:pt x="112" y="217"/>
                </a:lnTo>
                <a:lnTo>
                  <a:pt x="115" y="217"/>
                </a:lnTo>
                <a:lnTo>
                  <a:pt x="116" y="220"/>
                </a:lnTo>
                <a:lnTo>
                  <a:pt x="114" y="223"/>
                </a:lnTo>
                <a:lnTo>
                  <a:pt x="113" y="227"/>
                </a:lnTo>
                <a:lnTo>
                  <a:pt x="113" y="229"/>
                </a:lnTo>
                <a:lnTo>
                  <a:pt x="113" y="234"/>
                </a:lnTo>
                <a:lnTo>
                  <a:pt x="112" y="235"/>
                </a:lnTo>
                <a:lnTo>
                  <a:pt x="109" y="237"/>
                </a:lnTo>
                <a:lnTo>
                  <a:pt x="109" y="239"/>
                </a:lnTo>
                <a:lnTo>
                  <a:pt x="109" y="244"/>
                </a:lnTo>
                <a:lnTo>
                  <a:pt x="112" y="249"/>
                </a:lnTo>
                <a:lnTo>
                  <a:pt x="117" y="254"/>
                </a:lnTo>
                <a:lnTo>
                  <a:pt x="124" y="260"/>
                </a:lnTo>
                <a:lnTo>
                  <a:pt x="125" y="261"/>
                </a:lnTo>
                <a:lnTo>
                  <a:pt x="125" y="265"/>
                </a:lnTo>
                <a:lnTo>
                  <a:pt x="127" y="276"/>
                </a:lnTo>
                <a:lnTo>
                  <a:pt x="129" y="281"/>
                </a:lnTo>
                <a:lnTo>
                  <a:pt x="130" y="281"/>
                </a:lnTo>
                <a:lnTo>
                  <a:pt x="132" y="287"/>
                </a:lnTo>
                <a:lnTo>
                  <a:pt x="137" y="298"/>
                </a:lnTo>
                <a:lnTo>
                  <a:pt x="137" y="300"/>
                </a:lnTo>
                <a:lnTo>
                  <a:pt x="133" y="310"/>
                </a:lnTo>
                <a:lnTo>
                  <a:pt x="129" y="313"/>
                </a:lnTo>
                <a:lnTo>
                  <a:pt x="128" y="317"/>
                </a:lnTo>
                <a:lnTo>
                  <a:pt x="127" y="321"/>
                </a:lnTo>
                <a:lnTo>
                  <a:pt x="126" y="326"/>
                </a:lnTo>
                <a:lnTo>
                  <a:pt x="125" y="328"/>
                </a:lnTo>
                <a:lnTo>
                  <a:pt x="125" y="329"/>
                </a:lnTo>
                <a:lnTo>
                  <a:pt x="122" y="327"/>
                </a:lnTo>
                <a:lnTo>
                  <a:pt x="122" y="323"/>
                </a:lnTo>
                <a:lnTo>
                  <a:pt x="123" y="318"/>
                </a:lnTo>
                <a:lnTo>
                  <a:pt x="125" y="310"/>
                </a:lnTo>
                <a:lnTo>
                  <a:pt x="124" y="307"/>
                </a:lnTo>
                <a:lnTo>
                  <a:pt x="125" y="300"/>
                </a:lnTo>
                <a:lnTo>
                  <a:pt x="122" y="299"/>
                </a:lnTo>
                <a:lnTo>
                  <a:pt x="119" y="297"/>
                </a:lnTo>
                <a:lnTo>
                  <a:pt x="119" y="295"/>
                </a:lnTo>
                <a:lnTo>
                  <a:pt x="122" y="295"/>
                </a:lnTo>
                <a:lnTo>
                  <a:pt x="122" y="291"/>
                </a:lnTo>
                <a:lnTo>
                  <a:pt x="122" y="287"/>
                </a:lnTo>
                <a:lnTo>
                  <a:pt x="119" y="279"/>
                </a:lnTo>
                <a:lnTo>
                  <a:pt x="115" y="270"/>
                </a:lnTo>
                <a:lnTo>
                  <a:pt x="113" y="264"/>
                </a:lnTo>
                <a:lnTo>
                  <a:pt x="112" y="265"/>
                </a:lnTo>
                <a:lnTo>
                  <a:pt x="112" y="267"/>
                </a:lnTo>
                <a:lnTo>
                  <a:pt x="109" y="261"/>
                </a:lnTo>
                <a:lnTo>
                  <a:pt x="107" y="254"/>
                </a:lnTo>
                <a:lnTo>
                  <a:pt x="105" y="249"/>
                </a:lnTo>
                <a:lnTo>
                  <a:pt x="103" y="243"/>
                </a:lnTo>
                <a:lnTo>
                  <a:pt x="101" y="235"/>
                </a:lnTo>
                <a:lnTo>
                  <a:pt x="98" y="223"/>
                </a:lnTo>
                <a:lnTo>
                  <a:pt x="97" y="214"/>
                </a:lnTo>
                <a:lnTo>
                  <a:pt x="96" y="214"/>
                </a:lnTo>
                <a:lnTo>
                  <a:pt x="95" y="214"/>
                </a:lnTo>
                <a:lnTo>
                  <a:pt x="92" y="212"/>
                </a:lnTo>
                <a:lnTo>
                  <a:pt x="88" y="209"/>
                </a:lnTo>
                <a:lnTo>
                  <a:pt x="85" y="206"/>
                </a:lnTo>
                <a:lnTo>
                  <a:pt x="84" y="207"/>
                </a:lnTo>
                <a:lnTo>
                  <a:pt x="82" y="200"/>
                </a:lnTo>
                <a:lnTo>
                  <a:pt x="79" y="197"/>
                </a:lnTo>
                <a:lnTo>
                  <a:pt x="81" y="204"/>
                </a:lnTo>
                <a:lnTo>
                  <a:pt x="79" y="210"/>
                </a:lnTo>
                <a:lnTo>
                  <a:pt x="76" y="214"/>
                </a:lnTo>
                <a:lnTo>
                  <a:pt x="72" y="216"/>
                </a:lnTo>
                <a:lnTo>
                  <a:pt x="69" y="218"/>
                </a:lnTo>
                <a:lnTo>
                  <a:pt x="66" y="221"/>
                </a:lnTo>
                <a:lnTo>
                  <a:pt x="64" y="224"/>
                </a:lnTo>
                <a:lnTo>
                  <a:pt x="62" y="227"/>
                </a:lnTo>
                <a:lnTo>
                  <a:pt x="59" y="226"/>
                </a:lnTo>
                <a:lnTo>
                  <a:pt x="58" y="226"/>
                </a:lnTo>
                <a:lnTo>
                  <a:pt x="56" y="225"/>
                </a:lnTo>
                <a:lnTo>
                  <a:pt x="55" y="228"/>
                </a:lnTo>
                <a:lnTo>
                  <a:pt x="52" y="226"/>
                </a:lnTo>
                <a:lnTo>
                  <a:pt x="48" y="225"/>
                </a:lnTo>
                <a:lnTo>
                  <a:pt x="47" y="224"/>
                </a:lnTo>
                <a:lnTo>
                  <a:pt x="48" y="221"/>
                </a:lnTo>
                <a:lnTo>
                  <a:pt x="45" y="223"/>
                </a:lnTo>
                <a:lnTo>
                  <a:pt x="44" y="223"/>
                </a:lnTo>
                <a:lnTo>
                  <a:pt x="44" y="217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10" name="Freeform 710"/>
          <p:cNvSpPr>
            <a:spLocks/>
          </p:cNvSpPr>
          <p:nvPr/>
        </p:nvSpPr>
        <p:spPr bwMode="auto">
          <a:xfrm>
            <a:off x="6653213" y="2762215"/>
            <a:ext cx="219075" cy="522288"/>
          </a:xfrm>
          <a:custGeom>
            <a:avLst/>
            <a:gdLst>
              <a:gd name="T0" fmla="*/ 46 w 138"/>
              <a:gd name="T1" fmla="*/ 202 h 329"/>
              <a:gd name="T2" fmla="*/ 41 w 138"/>
              <a:gd name="T3" fmla="*/ 180 h 329"/>
              <a:gd name="T4" fmla="*/ 31 w 138"/>
              <a:gd name="T5" fmla="*/ 170 h 329"/>
              <a:gd name="T6" fmla="*/ 28 w 138"/>
              <a:gd name="T7" fmla="*/ 163 h 329"/>
              <a:gd name="T8" fmla="*/ 25 w 138"/>
              <a:gd name="T9" fmla="*/ 156 h 329"/>
              <a:gd name="T10" fmla="*/ 7 w 138"/>
              <a:gd name="T11" fmla="*/ 143 h 329"/>
              <a:gd name="T12" fmla="*/ 1 w 138"/>
              <a:gd name="T13" fmla="*/ 135 h 329"/>
              <a:gd name="T14" fmla="*/ 4 w 138"/>
              <a:gd name="T15" fmla="*/ 126 h 329"/>
              <a:gd name="T16" fmla="*/ 5 w 138"/>
              <a:gd name="T17" fmla="*/ 114 h 329"/>
              <a:gd name="T18" fmla="*/ 10 w 138"/>
              <a:gd name="T19" fmla="*/ 111 h 329"/>
              <a:gd name="T20" fmla="*/ 7 w 138"/>
              <a:gd name="T21" fmla="*/ 98 h 329"/>
              <a:gd name="T22" fmla="*/ 10 w 138"/>
              <a:gd name="T23" fmla="*/ 83 h 329"/>
              <a:gd name="T24" fmla="*/ 21 w 138"/>
              <a:gd name="T25" fmla="*/ 81 h 329"/>
              <a:gd name="T26" fmla="*/ 26 w 138"/>
              <a:gd name="T27" fmla="*/ 58 h 329"/>
              <a:gd name="T28" fmla="*/ 32 w 138"/>
              <a:gd name="T29" fmla="*/ 46 h 329"/>
              <a:gd name="T30" fmla="*/ 37 w 138"/>
              <a:gd name="T31" fmla="*/ 27 h 329"/>
              <a:gd name="T32" fmla="*/ 49 w 138"/>
              <a:gd name="T33" fmla="*/ 18 h 329"/>
              <a:gd name="T34" fmla="*/ 54 w 138"/>
              <a:gd name="T35" fmla="*/ 10 h 329"/>
              <a:gd name="T36" fmla="*/ 59 w 138"/>
              <a:gd name="T37" fmla="*/ 2 h 329"/>
              <a:gd name="T38" fmla="*/ 69 w 138"/>
              <a:gd name="T39" fmla="*/ 6 h 329"/>
              <a:gd name="T40" fmla="*/ 82 w 138"/>
              <a:gd name="T41" fmla="*/ 23 h 329"/>
              <a:gd name="T42" fmla="*/ 84 w 138"/>
              <a:gd name="T43" fmla="*/ 48 h 329"/>
              <a:gd name="T44" fmla="*/ 77 w 138"/>
              <a:gd name="T45" fmla="*/ 59 h 329"/>
              <a:gd name="T46" fmla="*/ 78 w 138"/>
              <a:gd name="T47" fmla="*/ 76 h 329"/>
              <a:gd name="T48" fmla="*/ 84 w 138"/>
              <a:gd name="T49" fmla="*/ 77 h 329"/>
              <a:gd name="T50" fmla="*/ 97 w 138"/>
              <a:gd name="T51" fmla="*/ 84 h 329"/>
              <a:gd name="T52" fmla="*/ 107 w 138"/>
              <a:gd name="T53" fmla="*/ 104 h 329"/>
              <a:gd name="T54" fmla="*/ 118 w 138"/>
              <a:gd name="T55" fmla="*/ 117 h 329"/>
              <a:gd name="T56" fmla="*/ 137 w 138"/>
              <a:gd name="T57" fmla="*/ 118 h 329"/>
              <a:gd name="T58" fmla="*/ 130 w 138"/>
              <a:gd name="T59" fmla="*/ 129 h 329"/>
              <a:gd name="T60" fmla="*/ 128 w 138"/>
              <a:gd name="T61" fmla="*/ 134 h 329"/>
              <a:gd name="T62" fmla="*/ 124 w 138"/>
              <a:gd name="T63" fmla="*/ 140 h 329"/>
              <a:gd name="T64" fmla="*/ 113 w 138"/>
              <a:gd name="T65" fmla="*/ 150 h 329"/>
              <a:gd name="T66" fmla="*/ 98 w 138"/>
              <a:gd name="T67" fmla="*/ 158 h 329"/>
              <a:gd name="T68" fmla="*/ 94 w 138"/>
              <a:gd name="T69" fmla="*/ 177 h 329"/>
              <a:gd name="T70" fmla="*/ 98 w 138"/>
              <a:gd name="T71" fmla="*/ 195 h 329"/>
              <a:gd name="T72" fmla="*/ 111 w 138"/>
              <a:gd name="T73" fmla="*/ 214 h 329"/>
              <a:gd name="T74" fmla="*/ 114 w 138"/>
              <a:gd name="T75" fmla="*/ 223 h 329"/>
              <a:gd name="T76" fmla="*/ 112 w 138"/>
              <a:gd name="T77" fmla="*/ 235 h 329"/>
              <a:gd name="T78" fmla="*/ 112 w 138"/>
              <a:gd name="T79" fmla="*/ 249 h 329"/>
              <a:gd name="T80" fmla="*/ 125 w 138"/>
              <a:gd name="T81" fmla="*/ 265 h 329"/>
              <a:gd name="T82" fmla="*/ 132 w 138"/>
              <a:gd name="T83" fmla="*/ 287 h 329"/>
              <a:gd name="T84" fmla="*/ 129 w 138"/>
              <a:gd name="T85" fmla="*/ 313 h 329"/>
              <a:gd name="T86" fmla="*/ 125 w 138"/>
              <a:gd name="T87" fmla="*/ 328 h 329"/>
              <a:gd name="T88" fmla="*/ 123 w 138"/>
              <a:gd name="T89" fmla="*/ 318 h 329"/>
              <a:gd name="T90" fmla="*/ 122 w 138"/>
              <a:gd name="T91" fmla="*/ 299 h 329"/>
              <a:gd name="T92" fmla="*/ 122 w 138"/>
              <a:gd name="T93" fmla="*/ 291 h 329"/>
              <a:gd name="T94" fmla="*/ 113 w 138"/>
              <a:gd name="T95" fmla="*/ 264 h 329"/>
              <a:gd name="T96" fmla="*/ 107 w 138"/>
              <a:gd name="T97" fmla="*/ 254 h 329"/>
              <a:gd name="T98" fmla="*/ 98 w 138"/>
              <a:gd name="T99" fmla="*/ 223 h 329"/>
              <a:gd name="T100" fmla="*/ 92 w 138"/>
              <a:gd name="T101" fmla="*/ 212 h 329"/>
              <a:gd name="T102" fmla="*/ 82 w 138"/>
              <a:gd name="T103" fmla="*/ 200 h 329"/>
              <a:gd name="T104" fmla="*/ 76 w 138"/>
              <a:gd name="T105" fmla="*/ 214 h 329"/>
              <a:gd name="T106" fmla="*/ 64 w 138"/>
              <a:gd name="T107" fmla="*/ 224 h 329"/>
              <a:gd name="T108" fmla="*/ 56 w 138"/>
              <a:gd name="T109" fmla="*/ 225 h 329"/>
              <a:gd name="T110" fmla="*/ 47 w 138"/>
              <a:gd name="T111" fmla="*/ 224 h 329"/>
              <a:gd name="T112" fmla="*/ 44 w 138"/>
              <a:gd name="T113" fmla="*/ 217 h 3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38" h="329">
                <a:moveTo>
                  <a:pt x="44" y="217"/>
                </a:moveTo>
                <a:lnTo>
                  <a:pt x="44" y="213"/>
                </a:lnTo>
                <a:lnTo>
                  <a:pt x="45" y="207"/>
                </a:lnTo>
                <a:lnTo>
                  <a:pt x="46" y="202"/>
                </a:lnTo>
                <a:lnTo>
                  <a:pt x="45" y="195"/>
                </a:lnTo>
                <a:lnTo>
                  <a:pt x="42" y="186"/>
                </a:lnTo>
                <a:lnTo>
                  <a:pt x="41" y="184"/>
                </a:lnTo>
                <a:lnTo>
                  <a:pt x="41" y="180"/>
                </a:lnTo>
                <a:lnTo>
                  <a:pt x="38" y="177"/>
                </a:lnTo>
                <a:lnTo>
                  <a:pt x="33" y="169"/>
                </a:lnTo>
                <a:lnTo>
                  <a:pt x="31" y="166"/>
                </a:lnTo>
                <a:lnTo>
                  <a:pt x="31" y="170"/>
                </a:lnTo>
                <a:lnTo>
                  <a:pt x="27" y="168"/>
                </a:lnTo>
                <a:lnTo>
                  <a:pt x="25" y="164"/>
                </a:lnTo>
                <a:lnTo>
                  <a:pt x="25" y="162"/>
                </a:lnTo>
                <a:lnTo>
                  <a:pt x="28" y="163"/>
                </a:lnTo>
                <a:lnTo>
                  <a:pt x="28" y="162"/>
                </a:lnTo>
                <a:lnTo>
                  <a:pt x="25" y="159"/>
                </a:lnTo>
                <a:lnTo>
                  <a:pt x="26" y="158"/>
                </a:lnTo>
                <a:lnTo>
                  <a:pt x="25" y="156"/>
                </a:lnTo>
                <a:lnTo>
                  <a:pt x="13" y="149"/>
                </a:lnTo>
                <a:lnTo>
                  <a:pt x="13" y="146"/>
                </a:lnTo>
                <a:lnTo>
                  <a:pt x="10" y="146"/>
                </a:lnTo>
                <a:lnTo>
                  <a:pt x="7" y="143"/>
                </a:lnTo>
                <a:lnTo>
                  <a:pt x="7" y="144"/>
                </a:lnTo>
                <a:lnTo>
                  <a:pt x="5" y="142"/>
                </a:lnTo>
                <a:lnTo>
                  <a:pt x="4" y="139"/>
                </a:lnTo>
                <a:lnTo>
                  <a:pt x="1" y="135"/>
                </a:lnTo>
                <a:lnTo>
                  <a:pt x="0" y="128"/>
                </a:lnTo>
                <a:lnTo>
                  <a:pt x="0" y="126"/>
                </a:lnTo>
                <a:lnTo>
                  <a:pt x="1" y="125"/>
                </a:lnTo>
                <a:lnTo>
                  <a:pt x="4" y="126"/>
                </a:lnTo>
                <a:lnTo>
                  <a:pt x="3" y="117"/>
                </a:lnTo>
                <a:lnTo>
                  <a:pt x="3" y="116"/>
                </a:lnTo>
                <a:lnTo>
                  <a:pt x="4" y="115"/>
                </a:lnTo>
                <a:lnTo>
                  <a:pt x="5" y="114"/>
                </a:lnTo>
                <a:lnTo>
                  <a:pt x="7" y="114"/>
                </a:lnTo>
                <a:lnTo>
                  <a:pt x="8" y="114"/>
                </a:lnTo>
                <a:lnTo>
                  <a:pt x="11" y="112"/>
                </a:lnTo>
                <a:lnTo>
                  <a:pt x="10" y="111"/>
                </a:lnTo>
                <a:lnTo>
                  <a:pt x="10" y="111"/>
                </a:lnTo>
                <a:lnTo>
                  <a:pt x="8" y="107"/>
                </a:lnTo>
                <a:lnTo>
                  <a:pt x="7" y="102"/>
                </a:lnTo>
                <a:lnTo>
                  <a:pt x="7" y="98"/>
                </a:lnTo>
                <a:lnTo>
                  <a:pt x="11" y="98"/>
                </a:lnTo>
                <a:lnTo>
                  <a:pt x="11" y="97"/>
                </a:lnTo>
                <a:lnTo>
                  <a:pt x="11" y="91"/>
                </a:lnTo>
                <a:lnTo>
                  <a:pt x="10" y="83"/>
                </a:lnTo>
                <a:lnTo>
                  <a:pt x="11" y="81"/>
                </a:lnTo>
                <a:lnTo>
                  <a:pt x="15" y="79"/>
                </a:lnTo>
                <a:lnTo>
                  <a:pt x="18" y="81"/>
                </a:lnTo>
                <a:lnTo>
                  <a:pt x="21" y="81"/>
                </a:lnTo>
                <a:lnTo>
                  <a:pt x="22" y="78"/>
                </a:lnTo>
                <a:lnTo>
                  <a:pt x="23" y="73"/>
                </a:lnTo>
                <a:lnTo>
                  <a:pt x="26" y="62"/>
                </a:lnTo>
                <a:lnTo>
                  <a:pt x="26" y="58"/>
                </a:lnTo>
                <a:lnTo>
                  <a:pt x="26" y="56"/>
                </a:lnTo>
                <a:lnTo>
                  <a:pt x="26" y="53"/>
                </a:lnTo>
                <a:lnTo>
                  <a:pt x="31" y="49"/>
                </a:lnTo>
                <a:lnTo>
                  <a:pt x="32" y="46"/>
                </a:lnTo>
                <a:lnTo>
                  <a:pt x="30" y="37"/>
                </a:lnTo>
                <a:lnTo>
                  <a:pt x="31" y="33"/>
                </a:lnTo>
                <a:lnTo>
                  <a:pt x="34" y="29"/>
                </a:lnTo>
                <a:lnTo>
                  <a:pt x="37" y="27"/>
                </a:lnTo>
                <a:lnTo>
                  <a:pt x="40" y="25"/>
                </a:lnTo>
                <a:lnTo>
                  <a:pt x="42" y="21"/>
                </a:lnTo>
                <a:lnTo>
                  <a:pt x="46" y="19"/>
                </a:lnTo>
                <a:lnTo>
                  <a:pt x="49" y="18"/>
                </a:lnTo>
                <a:lnTo>
                  <a:pt x="54" y="19"/>
                </a:lnTo>
                <a:lnTo>
                  <a:pt x="55" y="18"/>
                </a:lnTo>
                <a:lnTo>
                  <a:pt x="53" y="14"/>
                </a:lnTo>
                <a:lnTo>
                  <a:pt x="54" y="10"/>
                </a:lnTo>
                <a:lnTo>
                  <a:pt x="56" y="8"/>
                </a:lnTo>
                <a:lnTo>
                  <a:pt x="57" y="6"/>
                </a:lnTo>
                <a:lnTo>
                  <a:pt x="57" y="3"/>
                </a:lnTo>
                <a:lnTo>
                  <a:pt x="59" y="2"/>
                </a:lnTo>
                <a:lnTo>
                  <a:pt x="59" y="0"/>
                </a:lnTo>
                <a:lnTo>
                  <a:pt x="61" y="1"/>
                </a:lnTo>
                <a:lnTo>
                  <a:pt x="65" y="2"/>
                </a:lnTo>
                <a:lnTo>
                  <a:pt x="69" y="6"/>
                </a:lnTo>
                <a:lnTo>
                  <a:pt x="72" y="11"/>
                </a:lnTo>
                <a:lnTo>
                  <a:pt x="73" y="14"/>
                </a:lnTo>
                <a:lnTo>
                  <a:pt x="77" y="14"/>
                </a:lnTo>
                <a:lnTo>
                  <a:pt x="82" y="23"/>
                </a:lnTo>
                <a:lnTo>
                  <a:pt x="84" y="29"/>
                </a:lnTo>
                <a:lnTo>
                  <a:pt x="85" y="37"/>
                </a:lnTo>
                <a:lnTo>
                  <a:pt x="85" y="41"/>
                </a:lnTo>
                <a:lnTo>
                  <a:pt x="84" y="48"/>
                </a:lnTo>
                <a:lnTo>
                  <a:pt x="82" y="52"/>
                </a:lnTo>
                <a:lnTo>
                  <a:pt x="81" y="53"/>
                </a:lnTo>
                <a:lnTo>
                  <a:pt x="79" y="56"/>
                </a:lnTo>
                <a:lnTo>
                  <a:pt x="77" y="59"/>
                </a:lnTo>
                <a:lnTo>
                  <a:pt x="77" y="65"/>
                </a:lnTo>
                <a:lnTo>
                  <a:pt x="76" y="69"/>
                </a:lnTo>
                <a:lnTo>
                  <a:pt x="78" y="74"/>
                </a:lnTo>
                <a:lnTo>
                  <a:pt x="78" y="76"/>
                </a:lnTo>
                <a:lnTo>
                  <a:pt x="76" y="82"/>
                </a:lnTo>
                <a:lnTo>
                  <a:pt x="78" y="83"/>
                </a:lnTo>
                <a:lnTo>
                  <a:pt x="82" y="79"/>
                </a:lnTo>
                <a:lnTo>
                  <a:pt x="84" y="77"/>
                </a:lnTo>
                <a:lnTo>
                  <a:pt x="89" y="77"/>
                </a:lnTo>
                <a:lnTo>
                  <a:pt x="95" y="77"/>
                </a:lnTo>
                <a:lnTo>
                  <a:pt x="95" y="79"/>
                </a:lnTo>
                <a:lnTo>
                  <a:pt x="97" y="84"/>
                </a:lnTo>
                <a:lnTo>
                  <a:pt x="98" y="91"/>
                </a:lnTo>
                <a:lnTo>
                  <a:pt x="103" y="94"/>
                </a:lnTo>
                <a:lnTo>
                  <a:pt x="108" y="96"/>
                </a:lnTo>
                <a:lnTo>
                  <a:pt x="107" y="104"/>
                </a:lnTo>
                <a:lnTo>
                  <a:pt x="107" y="111"/>
                </a:lnTo>
                <a:lnTo>
                  <a:pt x="112" y="111"/>
                </a:lnTo>
                <a:lnTo>
                  <a:pt x="117" y="113"/>
                </a:lnTo>
                <a:lnTo>
                  <a:pt x="118" y="117"/>
                </a:lnTo>
                <a:lnTo>
                  <a:pt x="125" y="122"/>
                </a:lnTo>
                <a:lnTo>
                  <a:pt x="130" y="122"/>
                </a:lnTo>
                <a:lnTo>
                  <a:pt x="134" y="117"/>
                </a:lnTo>
                <a:lnTo>
                  <a:pt x="137" y="118"/>
                </a:lnTo>
                <a:lnTo>
                  <a:pt x="138" y="120"/>
                </a:lnTo>
                <a:lnTo>
                  <a:pt x="138" y="122"/>
                </a:lnTo>
                <a:lnTo>
                  <a:pt x="137" y="124"/>
                </a:lnTo>
                <a:lnTo>
                  <a:pt x="130" y="129"/>
                </a:lnTo>
                <a:lnTo>
                  <a:pt x="130" y="132"/>
                </a:lnTo>
                <a:lnTo>
                  <a:pt x="132" y="134"/>
                </a:lnTo>
                <a:lnTo>
                  <a:pt x="129" y="134"/>
                </a:lnTo>
                <a:lnTo>
                  <a:pt x="128" y="134"/>
                </a:lnTo>
                <a:lnTo>
                  <a:pt x="127" y="136"/>
                </a:lnTo>
                <a:lnTo>
                  <a:pt x="126" y="137"/>
                </a:lnTo>
                <a:lnTo>
                  <a:pt x="125" y="138"/>
                </a:lnTo>
                <a:lnTo>
                  <a:pt x="124" y="140"/>
                </a:lnTo>
                <a:lnTo>
                  <a:pt x="123" y="145"/>
                </a:lnTo>
                <a:lnTo>
                  <a:pt x="118" y="146"/>
                </a:lnTo>
                <a:lnTo>
                  <a:pt x="116" y="147"/>
                </a:lnTo>
                <a:lnTo>
                  <a:pt x="113" y="150"/>
                </a:lnTo>
                <a:lnTo>
                  <a:pt x="111" y="153"/>
                </a:lnTo>
                <a:lnTo>
                  <a:pt x="107" y="156"/>
                </a:lnTo>
                <a:lnTo>
                  <a:pt x="104" y="157"/>
                </a:lnTo>
                <a:lnTo>
                  <a:pt x="98" y="158"/>
                </a:lnTo>
                <a:lnTo>
                  <a:pt x="95" y="158"/>
                </a:lnTo>
                <a:lnTo>
                  <a:pt x="93" y="170"/>
                </a:lnTo>
                <a:lnTo>
                  <a:pt x="93" y="175"/>
                </a:lnTo>
                <a:lnTo>
                  <a:pt x="94" y="177"/>
                </a:lnTo>
                <a:lnTo>
                  <a:pt x="92" y="179"/>
                </a:lnTo>
                <a:lnTo>
                  <a:pt x="92" y="182"/>
                </a:lnTo>
                <a:lnTo>
                  <a:pt x="95" y="187"/>
                </a:lnTo>
                <a:lnTo>
                  <a:pt x="98" y="195"/>
                </a:lnTo>
                <a:lnTo>
                  <a:pt x="106" y="200"/>
                </a:lnTo>
                <a:lnTo>
                  <a:pt x="108" y="204"/>
                </a:lnTo>
                <a:lnTo>
                  <a:pt x="111" y="208"/>
                </a:lnTo>
                <a:lnTo>
                  <a:pt x="111" y="214"/>
                </a:lnTo>
                <a:lnTo>
                  <a:pt x="112" y="217"/>
                </a:lnTo>
                <a:lnTo>
                  <a:pt x="115" y="217"/>
                </a:lnTo>
                <a:lnTo>
                  <a:pt x="116" y="220"/>
                </a:lnTo>
                <a:lnTo>
                  <a:pt x="114" y="223"/>
                </a:lnTo>
                <a:lnTo>
                  <a:pt x="113" y="227"/>
                </a:lnTo>
                <a:lnTo>
                  <a:pt x="113" y="229"/>
                </a:lnTo>
                <a:lnTo>
                  <a:pt x="113" y="234"/>
                </a:lnTo>
                <a:lnTo>
                  <a:pt x="112" y="235"/>
                </a:lnTo>
                <a:lnTo>
                  <a:pt x="109" y="237"/>
                </a:lnTo>
                <a:lnTo>
                  <a:pt x="109" y="239"/>
                </a:lnTo>
                <a:lnTo>
                  <a:pt x="109" y="244"/>
                </a:lnTo>
                <a:lnTo>
                  <a:pt x="112" y="249"/>
                </a:lnTo>
                <a:lnTo>
                  <a:pt x="117" y="254"/>
                </a:lnTo>
                <a:lnTo>
                  <a:pt x="124" y="260"/>
                </a:lnTo>
                <a:lnTo>
                  <a:pt x="125" y="261"/>
                </a:lnTo>
                <a:lnTo>
                  <a:pt x="125" y="265"/>
                </a:lnTo>
                <a:lnTo>
                  <a:pt x="127" y="276"/>
                </a:lnTo>
                <a:lnTo>
                  <a:pt x="129" y="281"/>
                </a:lnTo>
                <a:lnTo>
                  <a:pt x="130" y="281"/>
                </a:lnTo>
                <a:lnTo>
                  <a:pt x="132" y="287"/>
                </a:lnTo>
                <a:lnTo>
                  <a:pt x="137" y="298"/>
                </a:lnTo>
                <a:lnTo>
                  <a:pt x="137" y="300"/>
                </a:lnTo>
                <a:lnTo>
                  <a:pt x="133" y="310"/>
                </a:lnTo>
                <a:lnTo>
                  <a:pt x="129" y="313"/>
                </a:lnTo>
                <a:lnTo>
                  <a:pt x="128" y="317"/>
                </a:lnTo>
                <a:lnTo>
                  <a:pt x="127" y="321"/>
                </a:lnTo>
                <a:lnTo>
                  <a:pt x="126" y="326"/>
                </a:lnTo>
                <a:lnTo>
                  <a:pt x="125" y="328"/>
                </a:lnTo>
                <a:lnTo>
                  <a:pt x="125" y="329"/>
                </a:lnTo>
                <a:lnTo>
                  <a:pt x="122" y="327"/>
                </a:lnTo>
                <a:lnTo>
                  <a:pt x="122" y="323"/>
                </a:lnTo>
                <a:lnTo>
                  <a:pt x="123" y="318"/>
                </a:lnTo>
                <a:lnTo>
                  <a:pt x="125" y="310"/>
                </a:lnTo>
                <a:lnTo>
                  <a:pt x="124" y="307"/>
                </a:lnTo>
                <a:lnTo>
                  <a:pt x="125" y="300"/>
                </a:lnTo>
                <a:lnTo>
                  <a:pt x="122" y="299"/>
                </a:lnTo>
                <a:lnTo>
                  <a:pt x="119" y="297"/>
                </a:lnTo>
                <a:lnTo>
                  <a:pt x="119" y="295"/>
                </a:lnTo>
                <a:lnTo>
                  <a:pt x="122" y="295"/>
                </a:lnTo>
                <a:lnTo>
                  <a:pt x="122" y="291"/>
                </a:lnTo>
                <a:lnTo>
                  <a:pt x="122" y="287"/>
                </a:lnTo>
                <a:lnTo>
                  <a:pt x="119" y="279"/>
                </a:lnTo>
                <a:lnTo>
                  <a:pt x="115" y="270"/>
                </a:lnTo>
                <a:lnTo>
                  <a:pt x="113" y="264"/>
                </a:lnTo>
                <a:lnTo>
                  <a:pt x="112" y="265"/>
                </a:lnTo>
                <a:lnTo>
                  <a:pt x="112" y="267"/>
                </a:lnTo>
                <a:lnTo>
                  <a:pt x="109" y="261"/>
                </a:lnTo>
                <a:lnTo>
                  <a:pt x="107" y="254"/>
                </a:lnTo>
                <a:lnTo>
                  <a:pt x="105" y="249"/>
                </a:lnTo>
                <a:lnTo>
                  <a:pt x="103" y="243"/>
                </a:lnTo>
                <a:lnTo>
                  <a:pt x="101" y="235"/>
                </a:lnTo>
                <a:lnTo>
                  <a:pt x="98" y="223"/>
                </a:lnTo>
                <a:lnTo>
                  <a:pt x="97" y="214"/>
                </a:lnTo>
                <a:lnTo>
                  <a:pt x="96" y="214"/>
                </a:lnTo>
                <a:lnTo>
                  <a:pt x="95" y="214"/>
                </a:lnTo>
                <a:lnTo>
                  <a:pt x="92" y="212"/>
                </a:lnTo>
                <a:lnTo>
                  <a:pt x="88" y="209"/>
                </a:lnTo>
                <a:lnTo>
                  <a:pt x="85" y="206"/>
                </a:lnTo>
                <a:lnTo>
                  <a:pt x="84" y="207"/>
                </a:lnTo>
                <a:lnTo>
                  <a:pt x="82" y="200"/>
                </a:lnTo>
                <a:lnTo>
                  <a:pt x="79" y="197"/>
                </a:lnTo>
                <a:lnTo>
                  <a:pt x="81" y="204"/>
                </a:lnTo>
                <a:lnTo>
                  <a:pt x="79" y="210"/>
                </a:lnTo>
                <a:lnTo>
                  <a:pt x="76" y="214"/>
                </a:lnTo>
                <a:lnTo>
                  <a:pt x="72" y="216"/>
                </a:lnTo>
                <a:lnTo>
                  <a:pt x="69" y="218"/>
                </a:lnTo>
                <a:lnTo>
                  <a:pt x="66" y="221"/>
                </a:lnTo>
                <a:lnTo>
                  <a:pt x="64" y="224"/>
                </a:lnTo>
                <a:lnTo>
                  <a:pt x="62" y="227"/>
                </a:lnTo>
                <a:lnTo>
                  <a:pt x="59" y="226"/>
                </a:lnTo>
                <a:lnTo>
                  <a:pt x="58" y="226"/>
                </a:lnTo>
                <a:lnTo>
                  <a:pt x="56" y="225"/>
                </a:lnTo>
                <a:lnTo>
                  <a:pt x="55" y="228"/>
                </a:lnTo>
                <a:lnTo>
                  <a:pt x="52" y="226"/>
                </a:lnTo>
                <a:lnTo>
                  <a:pt x="48" y="225"/>
                </a:lnTo>
                <a:lnTo>
                  <a:pt x="47" y="224"/>
                </a:lnTo>
                <a:lnTo>
                  <a:pt x="48" y="221"/>
                </a:lnTo>
                <a:lnTo>
                  <a:pt x="45" y="223"/>
                </a:lnTo>
                <a:lnTo>
                  <a:pt x="44" y="223"/>
                </a:lnTo>
                <a:lnTo>
                  <a:pt x="44" y="217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11" name="Freeform 711"/>
          <p:cNvSpPr>
            <a:spLocks/>
          </p:cNvSpPr>
          <p:nvPr/>
        </p:nvSpPr>
        <p:spPr bwMode="auto">
          <a:xfrm>
            <a:off x="6934200" y="3154328"/>
            <a:ext cx="136525" cy="122238"/>
          </a:xfrm>
          <a:custGeom>
            <a:avLst/>
            <a:gdLst>
              <a:gd name="T0" fmla="*/ 38 w 86"/>
              <a:gd name="T1" fmla="*/ 77 h 77"/>
              <a:gd name="T2" fmla="*/ 36 w 86"/>
              <a:gd name="T3" fmla="*/ 74 h 77"/>
              <a:gd name="T4" fmla="*/ 28 w 86"/>
              <a:gd name="T5" fmla="*/ 76 h 77"/>
              <a:gd name="T6" fmla="*/ 25 w 86"/>
              <a:gd name="T7" fmla="*/ 71 h 77"/>
              <a:gd name="T8" fmla="*/ 26 w 86"/>
              <a:gd name="T9" fmla="*/ 66 h 77"/>
              <a:gd name="T10" fmla="*/ 22 w 86"/>
              <a:gd name="T11" fmla="*/ 66 h 77"/>
              <a:gd name="T12" fmla="*/ 18 w 86"/>
              <a:gd name="T13" fmla="*/ 69 h 77"/>
              <a:gd name="T14" fmla="*/ 16 w 86"/>
              <a:gd name="T15" fmla="*/ 60 h 77"/>
              <a:gd name="T16" fmla="*/ 16 w 86"/>
              <a:gd name="T17" fmla="*/ 59 h 77"/>
              <a:gd name="T18" fmla="*/ 13 w 86"/>
              <a:gd name="T19" fmla="*/ 56 h 77"/>
              <a:gd name="T20" fmla="*/ 13 w 86"/>
              <a:gd name="T21" fmla="*/ 51 h 77"/>
              <a:gd name="T22" fmla="*/ 9 w 86"/>
              <a:gd name="T23" fmla="*/ 41 h 77"/>
              <a:gd name="T24" fmla="*/ 1 w 86"/>
              <a:gd name="T25" fmla="*/ 31 h 77"/>
              <a:gd name="T26" fmla="*/ 0 w 86"/>
              <a:gd name="T27" fmla="*/ 21 h 77"/>
              <a:gd name="T28" fmla="*/ 3 w 86"/>
              <a:gd name="T29" fmla="*/ 17 h 77"/>
              <a:gd name="T30" fmla="*/ 9 w 86"/>
              <a:gd name="T31" fmla="*/ 9 h 77"/>
              <a:gd name="T32" fmla="*/ 12 w 86"/>
              <a:gd name="T33" fmla="*/ 6 h 77"/>
              <a:gd name="T34" fmla="*/ 26 w 86"/>
              <a:gd name="T35" fmla="*/ 7 h 77"/>
              <a:gd name="T36" fmla="*/ 39 w 86"/>
              <a:gd name="T37" fmla="*/ 6 h 77"/>
              <a:gd name="T38" fmla="*/ 44 w 86"/>
              <a:gd name="T39" fmla="*/ 8 h 77"/>
              <a:gd name="T40" fmla="*/ 52 w 86"/>
              <a:gd name="T41" fmla="*/ 11 h 77"/>
              <a:gd name="T42" fmla="*/ 58 w 86"/>
              <a:gd name="T43" fmla="*/ 12 h 77"/>
              <a:gd name="T44" fmla="*/ 62 w 86"/>
              <a:gd name="T45" fmla="*/ 4 h 77"/>
              <a:gd name="T46" fmla="*/ 68 w 86"/>
              <a:gd name="T47" fmla="*/ 3 h 77"/>
              <a:gd name="T48" fmla="*/ 72 w 86"/>
              <a:gd name="T49" fmla="*/ 6 h 77"/>
              <a:gd name="T50" fmla="*/ 78 w 86"/>
              <a:gd name="T51" fmla="*/ 1 h 77"/>
              <a:gd name="T52" fmla="*/ 80 w 86"/>
              <a:gd name="T53" fmla="*/ 11 h 77"/>
              <a:gd name="T54" fmla="*/ 83 w 86"/>
              <a:gd name="T55" fmla="*/ 21 h 77"/>
              <a:gd name="T56" fmla="*/ 84 w 86"/>
              <a:gd name="T57" fmla="*/ 41 h 77"/>
              <a:gd name="T58" fmla="*/ 81 w 86"/>
              <a:gd name="T59" fmla="*/ 43 h 77"/>
              <a:gd name="T60" fmla="*/ 77 w 86"/>
              <a:gd name="T61" fmla="*/ 48 h 77"/>
              <a:gd name="T62" fmla="*/ 69 w 86"/>
              <a:gd name="T63" fmla="*/ 50 h 77"/>
              <a:gd name="T64" fmla="*/ 63 w 86"/>
              <a:gd name="T65" fmla="*/ 54 h 77"/>
              <a:gd name="T66" fmla="*/ 60 w 86"/>
              <a:gd name="T67" fmla="*/ 60 h 77"/>
              <a:gd name="T68" fmla="*/ 61 w 86"/>
              <a:gd name="T69" fmla="*/ 66 h 77"/>
              <a:gd name="T70" fmla="*/ 58 w 86"/>
              <a:gd name="T71" fmla="*/ 67 h 77"/>
              <a:gd name="T72" fmla="*/ 51 w 86"/>
              <a:gd name="T73" fmla="*/ 70 h 77"/>
              <a:gd name="T74" fmla="*/ 48 w 86"/>
              <a:gd name="T75" fmla="*/ 70 h 77"/>
              <a:gd name="T76" fmla="*/ 46 w 86"/>
              <a:gd name="T77" fmla="*/ 74 h 77"/>
              <a:gd name="T78" fmla="*/ 41 w 86"/>
              <a:gd name="T79" fmla="*/ 77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86" h="77">
                <a:moveTo>
                  <a:pt x="40" y="77"/>
                </a:moveTo>
                <a:lnTo>
                  <a:pt x="38" y="77"/>
                </a:lnTo>
                <a:lnTo>
                  <a:pt x="37" y="76"/>
                </a:lnTo>
                <a:lnTo>
                  <a:pt x="36" y="74"/>
                </a:lnTo>
                <a:lnTo>
                  <a:pt x="30" y="73"/>
                </a:lnTo>
                <a:lnTo>
                  <a:pt x="28" y="76"/>
                </a:lnTo>
                <a:lnTo>
                  <a:pt x="26" y="76"/>
                </a:lnTo>
                <a:lnTo>
                  <a:pt x="25" y="71"/>
                </a:lnTo>
                <a:lnTo>
                  <a:pt x="27" y="69"/>
                </a:lnTo>
                <a:lnTo>
                  <a:pt x="26" y="66"/>
                </a:lnTo>
                <a:lnTo>
                  <a:pt x="23" y="64"/>
                </a:lnTo>
                <a:lnTo>
                  <a:pt x="22" y="66"/>
                </a:lnTo>
                <a:lnTo>
                  <a:pt x="21" y="69"/>
                </a:lnTo>
                <a:lnTo>
                  <a:pt x="18" y="69"/>
                </a:lnTo>
                <a:lnTo>
                  <a:pt x="16" y="61"/>
                </a:lnTo>
                <a:lnTo>
                  <a:pt x="16" y="60"/>
                </a:lnTo>
                <a:lnTo>
                  <a:pt x="17" y="61"/>
                </a:lnTo>
                <a:lnTo>
                  <a:pt x="16" y="59"/>
                </a:lnTo>
                <a:lnTo>
                  <a:pt x="13" y="56"/>
                </a:lnTo>
                <a:lnTo>
                  <a:pt x="13" y="56"/>
                </a:lnTo>
                <a:lnTo>
                  <a:pt x="13" y="53"/>
                </a:lnTo>
                <a:lnTo>
                  <a:pt x="13" y="51"/>
                </a:lnTo>
                <a:lnTo>
                  <a:pt x="11" y="46"/>
                </a:lnTo>
                <a:lnTo>
                  <a:pt x="9" y="41"/>
                </a:lnTo>
                <a:lnTo>
                  <a:pt x="5" y="38"/>
                </a:lnTo>
                <a:lnTo>
                  <a:pt x="1" y="31"/>
                </a:lnTo>
                <a:lnTo>
                  <a:pt x="0" y="27"/>
                </a:lnTo>
                <a:lnTo>
                  <a:pt x="0" y="21"/>
                </a:lnTo>
                <a:lnTo>
                  <a:pt x="2" y="20"/>
                </a:lnTo>
                <a:lnTo>
                  <a:pt x="3" y="17"/>
                </a:lnTo>
                <a:lnTo>
                  <a:pt x="6" y="16"/>
                </a:lnTo>
                <a:lnTo>
                  <a:pt x="9" y="9"/>
                </a:lnTo>
                <a:lnTo>
                  <a:pt x="10" y="7"/>
                </a:lnTo>
                <a:lnTo>
                  <a:pt x="12" y="6"/>
                </a:lnTo>
                <a:lnTo>
                  <a:pt x="20" y="7"/>
                </a:lnTo>
                <a:lnTo>
                  <a:pt x="26" y="7"/>
                </a:lnTo>
                <a:lnTo>
                  <a:pt x="30" y="7"/>
                </a:lnTo>
                <a:lnTo>
                  <a:pt x="39" y="6"/>
                </a:lnTo>
                <a:lnTo>
                  <a:pt x="41" y="9"/>
                </a:lnTo>
                <a:lnTo>
                  <a:pt x="44" y="8"/>
                </a:lnTo>
                <a:lnTo>
                  <a:pt x="47" y="10"/>
                </a:lnTo>
                <a:lnTo>
                  <a:pt x="52" y="11"/>
                </a:lnTo>
                <a:lnTo>
                  <a:pt x="56" y="12"/>
                </a:lnTo>
                <a:lnTo>
                  <a:pt x="58" y="12"/>
                </a:lnTo>
                <a:lnTo>
                  <a:pt x="58" y="7"/>
                </a:lnTo>
                <a:lnTo>
                  <a:pt x="62" y="4"/>
                </a:lnTo>
                <a:lnTo>
                  <a:pt x="66" y="3"/>
                </a:lnTo>
                <a:lnTo>
                  <a:pt x="68" y="3"/>
                </a:lnTo>
                <a:lnTo>
                  <a:pt x="70" y="6"/>
                </a:lnTo>
                <a:lnTo>
                  <a:pt x="72" y="6"/>
                </a:lnTo>
                <a:lnTo>
                  <a:pt x="76" y="4"/>
                </a:lnTo>
                <a:lnTo>
                  <a:pt x="78" y="1"/>
                </a:lnTo>
                <a:lnTo>
                  <a:pt x="79" y="0"/>
                </a:lnTo>
                <a:lnTo>
                  <a:pt x="80" y="11"/>
                </a:lnTo>
                <a:lnTo>
                  <a:pt x="81" y="17"/>
                </a:lnTo>
                <a:lnTo>
                  <a:pt x="83" y="21"/>
                </a:lnTo>
                <a:lnTo>
                  <a:pt x="86" y="38"/>
                </a:lnTo>
                <a:lnTo>
                  <a:pt x="84" y="41"/>
                </a:lnTo>
                <a:lnTo>
                  <a:pt x="83" y="44"/>
                </a:lnTo>
                <a:lnTo>
                  <a:pt x="81" y="43"/>
                </a:lnTo>
                <a:lnTo>
                  <a:pt x="78" y="47"/>
                </a:lnTo>
                <a:lnTo>
                  <a:pt x="77" y="48"/>
                </a:lnTo>
                <a:lnTo>
                  <a:pt x="73" y="48"/>
                </a:lnTo>
                <a:lnTo>
                  <a:pt x="69" y="50"/>
                </a:lnTo>
                <a:lnTo>
                  <a:pt x="69" y="53"/>
                </a:lnTo>
                <a:lnTo>
                  <a:pt x="63" y="54"/>
                </a:lnTo>
                <a:lnTo>
                  <a:pt x="61" y="54"/>
                </a:lnTo>
                <a:lnTo>
                  <a:pt x="60" y="60"/>
                </a:lnTo>
                <a:lnTo>
                  <a:pt x="61" y="62"/>
                </a:lnTo>
                <a:lnTo>
                  <a:pt x="61" y="66"/>
                </a:lnTo>
                <a:lnTo>
                  <a:pt x="60" y="66"/>
                </a:lnTo>
                <a:lnTo>
                  <a:pt x="58" y="67"/>
                </a:lnTo>
                <a:lnTo>
                  <a:pt x="54" y="69"/>
                </a:lnTo>
                <a:lnTo>
                  <a:pt x="51" y="70"/>
                </a:lnTo>
                <a:lnTo>
                  <a:pt x="49" y="70"/>
                </a:lnTo>
                <a:lnTo>
                  <a:pt x="48" y="70"/>
                </a:lnTo>
                <a:lnTo>
                  <a:pt x="47" y="72"/>
                </a:lnTo>
                <a:lnTo>
                  <a:pt x="46" y="74"/>
                </a:lnTo>
                <a:lnTo>
                  <a:pt x="44" y="76"/>
                </a:lnTo>
                <a:lnTo>
                  <a:pt x="41" y="77"/>
                </a:lnTo>
                <a:lnTo>
                  <a:pt x="40" y="77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12" name="Freeform 712"/>
          <p:cNvSpPr>
            <a:spLocks/>
          </p:cNvSpPr>
          <p:nvPr/>
        </p:nvSpPr>
        <p:spPr bwMode="auto">
          <a:xfrm>
            <a:off x="6934200" y="3154328"/>
            <a:ext cx="136525" cy="122238"/>
          </a:xfrm>
          <a:custGeom>
            <a:avLst/>
            <a:gdLst>
              <a:gd name="T0" fmla="*/ 38 w 86"/>
              <a:gd name="T1" fmla="*/ 77 h 77"/>
              <a:gd name="T2" fmla="*/ 36 w 86"/>
              <a:gd name="T3" fmla="*/ 74 h 77"/>
              <a:gd name="T4" fmla="*/ 28 w 86"/>
              <a:gd name="T5" fmla="*/ 76 h 77"/>
              <a:gd name="T6" fmla="*/ 25 w 86"/>
              <a:gd name="T7" fmla="*/ 71 h 77"/>
              <a:gd name="T8" fmla="*/ 26 w 86"/>
              <a:gd name="T9" fmla="*/ 66 h 77"/>
              <a:gd name="T10" fmla="*/ 22 w 86"/>
              <a:gd name="T11" fmla="*/ 66 h 77"/>
              <a:gd name="T12" fmla="*/ 18 w 86"/>
              <a:gd name="T13" fmla="*/ 69 h 77"/>
              <a:gd name="T14" fmla="*/ 16 w 86"/>
              <a:gd name="T15" fmla="*/ 60 h 77"/>
              <a:gd name="T16" fmla="*/ 16 w 86"/>
              <a:gd name="T17" fmla="*/ 59 h 77"/>
              <a:gd name="T18" fmla="*/ 13 w 86"/>
              <a:gd name="T19" fmla="*/ 56 h 77"/>
              <a:gd name="T20" fmla="*/ 13 w 86"/>
              <a:gd name="T21" fmla="*/ 51 h 77"/>
              <a:gd name="T22" fmla="*/ 9 w 86"/>
              <a:gd name="T23" fmla="*/ 41 h 77"/>
              <a:gd name="T24" fmla="*/ 1 w 86"/>
              <a:gd name="T25" fmla="*/ 31 h 77"/>
              <a:gd name="T26" fmla="*/ 0 w 86"/>
              <a:gd name="T27" fmla="*/ 21 h 77"/>
              <a:gd name="T28" fmla="*/ 3 w 86"/>
              <a:gd name="T29" fmla="*/ 17 h 77"/>
              <a:gd name="T30" fmla="*/ 9 w 86"/>
              <a:gd name="T31" fmla="*/ 9 h 77"/>
              <a:gd name="T32" fmla="*/ 12 w 86"/>
              <a:gd name="T33" fmla="*/ 6 h 77"/>
              <a:gd name="T34" fmla="*/ 26 w 86"/>
              <a:gd name="T35" fmla="*/ 7 h 77"/>
              <a:gd name="T36" fmla="*/ 39 w 86"/>
              <a:gd name="T37" fmla="*/ 6 h 77"/>
              <a:gd name="T38" fmla="*/ 44 w 86"/>
              <a:gd name="T39" fmla="*/ 8 h 77"/>
              <a:gd name="T40" fmla="*/ 52 w 86"/>
              <a:gd name="T41" fmla="*/ 11 h 77"/>
              <a:gd name="T42" fmla="*/ 58 w 86"/>
              <a:gd name="T43" fmla="*/ 12 h 77"/>
              <a:gd name="T44" fmla="*/ 62 w 86"/>
              <a:gd name="T45" fmla="*/ 4 h 77"/>
              <a:gd name="T46" fmla="*/ 68 w 86"/>
              <a:gd name="T47" fmla="*/ 3 h 77"/>
              <a:gd name="T48" fmla="*/ 72 w 86"/>
              <a:gd name="T49" fmla="*/ 6 h 77"/>
              <a:gd name="T50" fmla="*/ 78 w 86"/>
              <a:gd name="T51" fmla="*/ 1 h 77"/>
              <a:gd name="T52" fmla="*/ 80 w 86"/>
              <a:gd name="T53" fmla="*/ 11 h 77"/>
              <a:gd name="T54" fmla="*/ 83 w 86"/>
              <a:gd name="T55" fmla="*/ 21 h 77"/>
              <a:gd name="T56" fmla="*/ 84 w 86"/>
              <a:gd name="T57" fmla="*/ 41 h 77"/>
              <a:gd name="T58" fmla="*/ 81 w 86"/>
              <a:gd name="T59" fmla="*/ 43 h 77"/>
              <a:gd name="T60" fmla="*/ 77 w 86"/>
              <a:gd name="T61" fmla="*/ 48 h 77"/>
              <a:gd name="T62" fmla="*/ 69 w 86"/>
              <a:gd name="T63" fmla="*/ 50 h 77"/>
              <a:gd name="T64" fmla="*/ 63 w 86"/>
              <a:gd name="T65" fmla="*/ 54 h 77"/>
              <a:gd name="T66" fmla="*/ 60 w 86"/>
              <a:gd name="T67" fmla="*/ 60 h 77"/>
              <a:gd name="T68" fmla="*/ 61 w 86"/>
              <a:gd name="T69" fmla="*/ 66 h 77"/>
              <a:gd name="T70" fmla="*/ 58 w 86"/>
              <a:gd name="T71" fmla="*/ 67 h 77"/>
              <a:gd name="T72" fmla="*/ 51 w 86"/>
              <a:gd name="T73" fmla="*/ 70 h 77"/>
              <a:gd name="T74" fmla="*/ 48 w 86"/>
              <a:gd name="T75" fmla="*/ 70 h 77"/>
              <a:gd name="T76" fmla="*/ 46 w 86"/>
              <a:gd name="T77" fmla="*/ 74 h 77"/>
              <a:gd name="T78" fmla="*/ 41 w 86"/>
              <a:gd name="T79" fmla="*/ 77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86" h="77">
                <a:moveTo>
                  <a:pt x="40" y="77"/>
                </a:moveTo>
                <a:lnTo>
                  <a:pt x="38" y="77"/>
                </a:lnTo>
                <a:lnTo>
                  <a:pt x="37" y="76"/>
                </a:lnTo>
                <a:lnTo>
                  <a:pt x="36" y="74"/>
                </a:lnTo>
                <a:lnTo>
                  <a:pt x="30" y="73"/>
                </a:lnTo>
                <a:lnTo>
                  <a:pt x="28" y="76"/>
                </a:lnTo>
                <a:lnTo>
                  <a:pt x="26" y="76"/>
                </a:lnTo>
                <a:lnTo>
                  <a:pt x="25" y="71"/>
                </a:lnTo>
                <a:lnTo>
                  <a:pt x="27" y="69"/>
                </a:lnTo>
                <a:lnTo>
                  <a:pt x="26" y="66"/>
                </a:lnTo>
                <a:lnTo>
                  <a:pt x="23" y="64"/>
                </a:lnTo>
                <a:lnTo>
                  <a:pt x="22" y="66"/>
                </a:lnTo>
                <a:lnTo>
                  <a:pt x="21" y="69"/>
                </a:lnTo>
                <a:lnTo>
                  <a:pt x="18" y="69"/>
                </a:lnTo>
                <a:lnTo>
                  <a:pt x="16" y="61"/>
                </a:lnTo>
                <a:lnTo>
                  <a:pt x="16" y="60"/>
                </a:lnTo>
                <a:lnTo>
                  <a:pt x="17" y="61"/>
                </a:lnTo>
                <a:lnTo>
                  <a:pt x="16" y="59"/>
                </a:lnTo>
                <a:lnTo>
                  <a:pt x="13" y="56"/>
                </a:lnTo>
                <a:lnTo>
                  <a:pt x="13" y="56"/>
                </a:lnTo>
                <a:lnTo>
                  <a:pt x="13" y="53"/>
                </a:lnTo>
                <a:lnTo>
                  <a:pt x="13" y="51"/>
                </a:lnTo>
                <a:lnTo>
                  <a:pt x="11" y="46"/>
                </a:lnTo>
                <a:lnTo>
                  <a:pt x="9" y="41"/>
                </a:lnTo>
                <a:lnTo>
                  <a:pt x="5" y="38"/>
                </a:lnTo>
                <a:lnTo>
                  <a:pt x="1" y="31"/>
                </a:lnTo>
                <a:lnTo>
                  <a:pt x="0" y="27"/>
                </a:lnTo>
                <a:lnTo>
                  <a:pt x="0" y="21"/>
                </a:lnTo>
                <a:lnTo>
                  <a:pt x="2" y="20"/>
                </a:lnTo>
                <a:lnTo>
                  <a:pt x="3" y="17"/>
                </a:lnTo>
                <a:lnTo>
                  <a:pt x="6" y="16"/>
                </a:lnTo>
                <a:lnTo>
                  <a:pt x="9" y="9"/>
                </a:lnTo>
                <a:lnTo>
                  <a:pt x="10" y="7"/>
                </a:lnTo>
                <a:lnTo>
                  <a:pt x="12" y="6"/>
                </a:lnTo>
                <a:lnTo>
                  <a:pt x="20" y="7"/>
                </a:lnTo>
                <a:lnTo>
                  <a:pt x="26" y="7"/>
                </a:lnTo>
                <a:lnTo>
                  <a:pt x="30" y="7"/>
                </a:lnTo>
                <a:lnTo>
                  <a:pt x="39" y="6"/>
                </a:lnTo>
                <a:lnTo>
                  <a:pt x="41" y="9"/>
                </a:lnTo>
                <a:lnTo>
                  <a:pt x="44" y="8"/>
                </a:lnTo>
                <a:lnTo>
                  <a:pt x="47" y="10"/>
                </a:lnTo>
                <a:lnTo>
                  <a:pt x="52" y="11"/>
                </a:lnTo>
                <a:lnTo>
                  <a:pt x="56" y="12"/>
                </a:lnTo>
                <a:lnTo>
                  <a:pt x="58" y="12"/>
                </a:lnTo>
                <a:lnTo>
                  <a:pt x="58" y="7"/>
                </a:lnTo>
                <a:lnTo>
                  <a:pt x="62" y="4"/>
                </a:lnTo>
                <a:lnTo>
                  <a:pt x="66" y="3"/>
                </a:lnTo>
                <a:lnTo>
                  <a:pt x="68" y="3"/>
                </a:lnTo>
                <a:lnTo>
                  <a:pt x="70" y="6"/>
                </a:lnTo>
                <a:lnTo>
                  <a:pt x="72" y="6"/>
                </a:lnTo>
                <a:lnTo>
                  <a:pt x="76" y="4"/>
                </a:lnTo>
                <a:lnTo>
                  <a:pt x="78" y="1"/>
                </a:lnTo>
                <a:lnTo>
                  <a:pt x="79" y="0"/>
                </a:lnTo>
                <a:lnTo>
                  <a:pt x="80" y="11"/>
                </a:lnTo>
                <a:lnTo>
                  <a:pt x="81" y="17"/>
                </a:lnTo>
                <a:lnTo>
                  <a:pt x="83" y="21"/>
                </a:lnTo>
                <a:lnTo>
                  <a:pt x="86" y="38"/>
                </a:lnTo>
                <a:lnTo>
                  <a:pt x="84" y="41"/>
                </a:lnTo>
                <a:lnTo>
                  <a:pt x="83" y="44"/>
                </a:lnTo>
                <a:lnTo>
                  <a:pt x="81" y="43"/>
                </a:lnTo>
                <a:lnTo>
                  <a:pt x="78" y="47"/>
                </a:lnTo>
                <a:lnTo>
                  <a:pt x="77" y="48"/>
                </a:lnTo>
                <a:lnTo>
                  <a:pt x="73" y="48"/>
                </a:lnTo>
                <a:lnTo>
                  <a:pt x="69" y="50"/>
                </a:lnTo>
                <a:lnTo>
                  <a:pt x="69" y="53"/>
                </a:lnTo>
                <a:lnTo>
                  <a:pt x="63" y="54"/>
                </a:lnTo>
                <a:lnTo>
                  <a:pt x="61" y="54"/>
                </a:lnTo>
                <a:lnTo>
                  <a:pt x="60" y="60"/>
                </a:lnTo>
                <a:lnTo>
                  <a:pt x="61" y="62"/>
                </a:lnTo>
                <a:lnTo>
                  <a:pt x="61" y="66"/>
                </a:lnTo>
                <a:lnTo>
                  <a:pt x="60" y="66"/>
                </a:lnTo>
                <a:lnTo>
                  <a:pt x="58" y="67"/>
                </a:lnTo>
                <a:lnTo>
                  <a:pt x="54" y="69"/>
                </a:lnTo>
                <a:lnTo>
                  <a:pt x="51" y="70"/>
                </a:lnTo>
                <a:lnTo>
                  <a:pt x="49" y="70"/>
                </a:lnTo>
                <a:lnTo>
                  <a:pt x="48" y="70"/>
                </a:lnTo>
                <a:lnTo>
                  <a:pt x="47" y="72"/>
                </a:lnTo>
                <a:lnTo>
                  <a:pt x="46" y="74"/>
                </a:lnTo>
                <a:lnTo>
                  <a:pt x="44" y="76"/>
                </a:lnTo>
                <a:lnTo>
                  <a:pt x="41" y="77"/>
                </a:lnTo>
                <a:lnTo>
                  <a:pt x="40" y="77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13" name="Freeform 713"/>
          <p:cNvSpPr>
            <a:spLocks/>
          </p:cNvSpPr>
          <p:nvPr/>
        </p:nvSpPr>
        <p:spPr bwMode="auto">
          <a:xfrm>
            <a:off x="7250113" y="3430553"/>
            <a:ext cx="34925" cy="30163"/>
          </a:xfrm>
          <a:custGeom>
            <a:avLst/>
            <a:gdLst>
              <a:gd name="T0" fmla="*/ 19 w 22"/>
              <a:gd name="T1" fmla="*/ 4 h 19"/>
              <a:gd name="T2" fmla="*/ 21 w 22"/>
              <a:gd name="T3" fmla="*/ 5 h 19"/>
              <a:gd name="T4" fmla="*/ 22 w 22"/>
              <a:gd name="T5" fmla="*/ 7 h 19"/>
              <a:gd name="T6" fmla="*/ 22 w 22"/>
              <a:gd name="T7" fmla="*/ 9 h 19"/>
              <a:gd name="T8" fmla="*/ 22 w 22"/>
              <a:gd name="T9" fmla="*/ 11 h 19"/>
              <a:gd name="T10" fmla="*/ 22 w 22"/>
              <a:gd name="T11" fmla="*/ 12 h 19"/>
              <a:gd name="T12" fmla="*/ 20 w 22"/>
              <a:gd name="T13" fmla="*/ 12 h 19"/>
              <a:gd name="T14" fmla="*/ 19 w 22"/>
              <a:gd name="T15" fmla="*/ 11 h 19"/>
              <a:gd name="T16" fmla="*/ 17 w 22"/>
              <a:gd name="T17" fmla="*/ 9 h 19"/>
              <a:gd name="T18" fmla="*/ 16 w 22"/>
              <a:gd name="T19" fmla="*/ 7 h 19"/>
              <a:gd name="T20" fmla="*/ 15 w 22"/>
              <a:gd name="T21" fmla="*/ 6 h 19"/>
              <a:gd name="T22" fmla="*/ 14 w 22"/>
              <a:gd name="T23" fmla="*/ 6 h 19"/>
              <a:gd name="T24" fmla="*/ 13 w 22"/>
              <a:gd name="T25" fmla="*/ 7 h 19"/>
              <a:gd name="T26" fmla="*/ 12 w 22"/>
              <a:gd name="T27" fmla="*/ 8 h 19"/>
              <a:gd name="T28" fmla="*/ 12 w 22"/>
              <a:gd name="T29" fmla="*/ 16 h 19"/>
              <a:gd name="T30" fmla="*/ 11 w 22"/>
              <a:gd name="T31" fmla="*/ 19 h 19"/>
              <a:gd name="T32" fmla="*/ 10 w 22"/>
              <a:gd name="T33" fmla="*/ 19 h 19"/>
              <a:gd name="T34" fmla="*/ 9 w 22"/>
              <a:gd name="T35" fmla="*/ 19 h 19"/>
              <a:gd name="T36" fmla="*/ 7 w 22"/>
              <a:gd name="T37" fmla="*/ 18 h 19"/>
              <a:gd name="T38" fmla="*/ 5 w 22"/>
              <a:gd name="T39" fmla="*/ 16 h 19"/>
              <a:gd name="T40" fmla="*/ 4 w 22"/>
              <a:gd name="T41" fmla="*/ 15 h 19"/>
              <a:gd name="T42" fmla="*/ 2 w 22"/>
              <a:gd name="T43" fmla="*/ 11 h 19"/>
              <a:gd name="T44" fmla="*/ 1 w 22"/>
              <a:gd name="T45" fmla="*/ 10 h 19"/>
              <a:gd name="T46" fmla="*/ 0 w 22"/>
              <a:gd name="T47" fmla="*/ 9 h 19"/>
              <a:gd name="T48" fmla="*/ 0 w 22"/>
              <a:gd name="T49" fmla="*/ 9 h 19"/>
              <a:gd name="T50" fmla="*/ 2 w 22"/>
              <a:gd name="T51" fmla="*/ 8 h 19"/>
              <a:gd name="T52" fmla="*/ 6 w 22"/>
              <a:gd name="T53" fmla="*/ 7 h 19"/>
              <a:gd name="T54" fmla="*/ 9 w 22"/>
              <a:gd name="T55" fmla="*/ 6 h 19"/>
              <a:gd name="T56" fmla="*/ 14 w 22"/>
              <a:gd name="T57" fmla="*/ 0 h 19"/>
              <a:gd name="T58" fmla="*/ 15 w 22"/>
              <a:gd name="T59" fmla="*/ 3 h 19"/>
              <a:gd name="T60" fmla="*/ 19 w 22"/>
              <a:gd name="T61" fmla="*/ 4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2" h="19">
                <a:moveTo>
                  <a:pt x="19" y="4"/>
                </a:moveTo>
                <a:lnTo>
                  <a:pt x="21" y="5"/>
                </a:lnTo>
                <a:lnTo>
                  <a:pt x="22" y="7"/>
                </a:lnTo>
                <a:lnTo>
                  <a:pt x="22" y="9"/>
                </a:lnTo>
                <a:lnTo>
                  <a:pt x="22" y="11"/>
                </a:lnTo>
                <a:lnTo>
                  <a:pt x="22" y="12"/>
                </a:lnTo>
                <a:lnTo>
                  <a:pt x="20" y="12"/>
                </a:lnTo>
                <a:lnTo>
                  <a:pt x="19" y="11"/>
                </a:lnTo>
                <a:lnTo>
                  <a:pt x="17" y="9"/>
                </a:lnTo>
                <a:lnTo>
                  <a:pt x="16" y="7"/>
                </a:lnTo>
                <a:lnTo>
                  <a:pt x="15" y="6"/>
                </a:lnTo>
                <a:lnTo>
                  <a:pt x="14" y="6"/>
                </a:lnTo>
                <a:lnTo>
                  <a:pt x="13" y="7"/>
                </a:lnTo>
                <a:lnTo>
                  <a:pt x="12" y="8"/>
                </a:lnTo>
                <a:lnTo>
                  <a:pt x="12" y="16"/>
                </a:lnTo>
                <a:lnTo>
                  <a:pt x="11" y="19"/>
                </a:lnTo>
                <a:lnTo>
                  <a:pt x="10" y="19"/>
                </a:lnTo>
                <a:lnTo>
                  <a:pt x="9" y="19"/>
                </a:lnTo>
                <a:lnTo>
                  <a:pt x="7" y="18"/>
                </a:lnTo>
                <a:lnTo>
                  <a:pt x="5" y="16"/>
                </a:lnTo>
                <a:lnTo>
                  <a:pt x="4" y="15"/>
                </a:lnTo>
                <a:lnTo>
                  <a:pt x="2" y="11"/>
                </a:lnTo>
                <a:lnTo>
                  <a:pt x="1" y="10"/>
                </a:lnTo>
                <a:lnTo>
                  <a:pt x="0" y="9"/>
                </a:lnTo>
                <a:lnTo>
                  <a:pt x="0" y="9"/>
                </a:lnTo>
                <a:lnTo>
                  <a:pt x="2" y="8"/>
                </a:lnTo>
                <a:lnTo>
                  <a:pt x="6" y="7"/>
                </a:lnTo>
                <a:lnTo>
                  <a:pt x="9" y="6"/>
                </a:lnTo>
                <a:lnTo>
                  <a:pt x="14" y="0"/>
                </a:lnTo>
                <a:lnTo>
                  <a:pt x="15" y="3"/>
                </a:lnTo>
                <a:lnTo>
                  <a:pt x="19" y="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14" name="Freeform 714"/>
          <p:cNvSpPr>
            <a:spLocks/>
          </p:cNvSpPr>
          <p:nvPr/>
        </p:nvSpPr>
        <p:spPr bwMode="auto">
          <a:xfrm>
            <a:off x="7250113" y="3430553"/>
            <a:ext cx="34925" cy="30163"/>
          </a:xfrm>
          <a:custGeom>
            <a:avLst/>
            <a:gdLst>
              <a:gd name="T0" fmla="*/ 19 w 22"/>
              <a:gd name="T1" fmla="*/ 4 h 19"/>
              <a:gd name="T2" fmla="*/ 21 w 22"/>
              <a:gd name="T3" fmla="*/ 5 h 19"/>
              <a:gd name="T4" fmla="*/ 22 w 22"/>
              <a:gd name="T5" fmla="*/ 7 h 19"/>
              <a:gd name="T6" fmla="*/ 22 w 22"/>
              <a:gd name="T7" fmla="*/ 9 h 19"/>
              <a:gd name="T8" fmla="*/ 22 w 22"/>
              <a:gd name="T9" fmla="*/ 11 h 19"/>
              <a:gd name="T10" fmla="*/ 22 w 22"/>
              <a:gd name="T11" fmla="*/ 12 h 19"/>
              <a:gd name="T12" fmla="*/ 20 w 22"/>
              <a:gd name="T13" fmla="*/ 12 h 19"/>
              <a:gd name="T14" fmla="*/ 19 w 22"/>
              <a:gd name="T15" fmla="*/ 11 h 19"/>
              <a:gd name="T16" fmla="*/ 17 w 22"/>
              <a:gd name="T17" fmla="*/ 9 h 19"/>
              <a:gd name="T18" fmla="*/ 16 w 22"/>
              <a:gd name="T19" fmla="*/ 7 h 19"/>
              <a:gd name="T20" fmla="*/ 15 w 22"/>
              <a:gd name="T21" fmla="*/ 6 h 19"/>
              <a:gd name="T22" fmla="*/ 14 w 22"/>
              <a:gd name="T23" fmla="*/ 6 h 19"/>
              <a:gd name="T24" fmla="*/ 13 w 22"/>
              <a:gd name="T25" fmla="*/ 7 h 19"/>
              <a:gd name="T26" fmla="*/ 12 w 22"/>
              <a:gd name="T27" fmla="*/ 8 h 19"/>
              <a:gd name="T28" fmla="*/ 12 w 22"/>
              <a:gd name="T29" fmla="*/ 16 h 19"/>
              <a:gd name="T30" fmla="*/ 11 w 22"/>
              <a:gd name="T31" fmla="*/ 19 h 19"/>
              <a:gd name="T32" fmla="*/ 10 w 22"/>
              <a:gd name="T33" fmla="*/ 19 h 19"/>
              <a:gd name="T34" fmla="*/ 9 w 22"/>
              <a:gd name="T35" fmla="*/ 19 h 19"/>
              <a:gd name="T36" fmla="*/ 7 w 22"/>
              <a:gd name="T37" fmla="*/ 18 h 19"/>
              <a:gd name="T38" fmla="*/ 5 w 22"/>
              <a:gd name="T39" fmla="*/ 16 h 19"/>
              <a:gd name="T40" fmla="*/ 4 w 22"/>
              <a:gd name="T41" fmla="*/ 15 h 19"/>
              <a:gd name="T42" fmla="*/ 2 w 22"/>
              <a:gd name="T43" fmla="*/ 11 h 19"/>
              <a:gd name="T44" fmla="*/ 1 w 22"/>
              <a:gd name="T45" fmla="*/ 10 h 19"/>
              <a:gd name="T46" fmla="*/ 0 w 22"/>
              <a:gd name="T47" fmla="*/ 9 h 19"/>
              <a:gd name="T48" fmla="*/ 0 w 22"/>
              <a:gd name="T49" fmla="*/ 9 h 19"/>
              <a:gd name="T50" fmla="*/ 2 w 22"/>
              <a:gd name="T51" fmla="*/ 8 h 19"/>
              <a:gd name="T52" fmla="*/ 6 w 22"/>
              <a:gd name="T53" fmla="*/ 7 h 19"/>
              <a:gd name="T54" fmla="*/ 9 w 22"/>
              <a:gd name="T55" fmla="*/ 6 h 19"/>
              <a:gd name="T56" fmla="*/ 14 w 22"/>
              <a:gd name="T57" fmla="*/ 0 h 19"/>
              <a:gd name="T58" fmla="*/ 15 w 22"/>
              <a:gd name="T59" fmla="*/ 3 h 19"/>
              <a:gd name="T60" fmla="*/ 19 w 22"/>
              <a:gd name="T61" fmla="*/ 4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2" h="19">
                <a:moveTo>
                  <a:pt x="19" y="4"/>
                </a:moveTo>
                <a:lnTo>
                  <a:pt x="21" y="5"/>
                </a:lnTo>
                <a:lnTo>
                  <a:pt x="22" y="7"/>
                </a:lnTo>
                <a:lnTo>
                  <a:pt x="22" y="9"/>
                </a:lnTo>
                <a:lnTo>
                  <a:pt x="22" y="11"/>
                </a:lnTo>
                <a:lnTo>
                  <a:pt x="22" y="12"/>
                </a:lnTo>
                <a:lnTo>
                  <a:pt x="20" y="12"/>
                </a:lnTo>
                <a:lnTo>
                  <a:pt x="19" y="11"/>
                </a:lnTo>
                <a:lnTo>
                  <a:pt x="17" y="9"/>
                </a:lnTo>
                <a:lnTo>
                  <a:pt x="16" y="7"/>
                </a:lnTo>
                <a:lnTo>
                  <a:pt x="15" y="6"/>
                </a:lnTo>
                <a:lnTo>
                  <a:pt x="14" y="6"/>
                </a:lnTo>
                <a:lnTo>
                  <a:pt x="13" y="7"/>
                </a:lnTo>
                <a:lnTo>
                  <a:pt x="12" y="8"/>
                </a:lnTo>
                <a:lnTo>
                  <a:pt x="12" y="16"/>
                </a:lnTo>
                <a:lnTo>
                  <a:pt x="11" y="19"/>
                </a:lnTo>
                <a:lnTo>
                  <a:pt x="10" y="19"/>
                </a:lnTo>
                <a:lnTo>
                  <a:pt x="9" y="19"/>
                </a:lnTo>
                <a:lnTo>
                  <a:pt x="7" y="18"/>
                </a:lnTo>
                <a:lnTo>
                  <a:pt x="5" y="16"/>
                </a:lnTo>
                <a:lnTo>
                  <a:pt x="4" y="15"/>
                </a:lnTo>
                <a:lnTo>
                  <a:pt x="2" y="11"/>
                </a:lnTo>
                <a:lnTo>
                  <a:pt x="1" y="10"/>
                </a:lnTo>
                <a:lnTo>
                  <a:pt x="0" y="9"/>
                </a:lnTo>
                <a:lnTo>
                  <a:pt x="0" y="9"/>
                </a:lnTo>
                <a:lnTo>
                  <a:pt x="2" y="8"/>
                </a:lnTo>
                <a:lnTo>
                  <a:pt x="6" y="7"/>
                </a:lnTo>
                <a:lnTo>
                  <a:pt x="9" y="6"/>
                </a:lnTo>
                <a:lnTo>
                  <a:pt x="14" y="0"/>
                </a:lnTo>
                <a:lnTo>
                  <a:pt x="15" y="3"/>
                </a:lnTo>
                <a:lnTo>
                  <a:pt x="19" y="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15" name="Freeform 715"/>
          <p:cNvSpPr>
            <a:spLocks/>
          </p:cNvSpPr>
          <p:nvPr/>
        </p:nvSpPr>
        <p:spPr bwMode="auto">
          <a:xfrm>
            <a:off x="5103813" y="3605178"/>
            <a:ext cx="273050" cy="311150"/>
          </a:xfrm>
          <a:custGeom>
            <a:avLst/>
            <a:gdLst>
              <a:gd name="T0" fmla="*/ 132 w 172"/>
              <a:gd name="T1" fmla="*/ 48 h 196"/>
              <a:gd name="T2" fmla="*/ 152 w 172"/>
              <a:gd name="T3" fmla="*/ 79 h 196"/>
              <a:gd name="T4" fmla="*/ 148 w 172"/>
              <a:gd name="T5" fmla="*/ 97 h 196"/>
              <a:gd name="T6" fmla="*/ 157 w 172"/>
              <a:gd name="T7" fmla="*/ 108 h 196"/>
              <a:gd name="T8" fmla="*/ 157 w 172"/>
              <a:gd name="T9" fmla="*/ 117 h 196"/>
              <a:gd name="T10" fmla="*/ 156 w 172"/>
              <a:gd name="T11" fmla="*/ 127 h 196"/>
              <a:gd name="T12" fmla="*/ 153 w 172"/>
              <a:gd name="T13" fmla="*/ 133 h 196"/>
              <a:gd name="T14" fmla="*/ 157 w 172"/>
              <a:gd name="T15" fmla="*/ 143 h 196"/>
              <a:gd name="T16" fmla="*/ 159 w 172"/>
              <a:gd name="T17" fmla="*/ 156 h 196"/>
              <a:gd name="T18" fmla="*/ 162 w 172"/>
              <a:gd name="T19" fmla="*/ 162 h 196"/>
              <a:gd name="T20" fmla="*/ 170 w 172"/>
              <a:gd name="T21" fmla="*/ 171 h 196"/>
              <a:gd name="T22" fmla="*/ 171 w 172"/>
              <a:gd name="T23" fmla="*/ 174 h 196"/>
              <a:gd name="T24" fmla="*/ 156 w 172"/>
              <a:gd name="T25" fmla="*/ 184 h 196"/>
              <a:gd name="T26" fmla="*/ 137 w 172"/>
              <a:gd name="T27" fmla="*/ 187 h 196"/>
              <a:gd name="T28" fmla="*/ 125 w 172"/>
              <a:gd name="T29" fmla="*/ 193 h 196"/>
              <a:gd name="T30" fmla="*/ 108 w 172"/>
              <a:gd name="T31" fmla="*/ 194 h 196"/>
              <a:gd name="T32" fmla="*/ 101 w 172"/>
              <a:gd name="T33" fmla="*/ 192 h 196"/>
              <a:gd name="T34" fmla="*/ 95 w 172"/>
              <a:gd name="T35" fmla="*/ 193 h 196"/>
              <a:gd name="T36" fmla="*/ 80 w 172"/>
              <a:gd name="T37" fmla="*/ 188 h 196"/>
              <a:gd name="T38" fmla="*/ 77 w 172"/>
              <a:gd name="T39" fmla="*/ 176 h 196"/>
              <a:gd name="T40" fmla="*/ 71 w 172"/>
              <a:gd name="T41" fmla="*/ 158 h 196"/>
              <a:gd name="T42" fmla="*/ 66 w 172"/>
              <a:gd name="T43" fmla="*/ 158 h 196"/>
              <a:gd name="T44" fmla="*/ 59 w 172"/>
              <a:gd name="T45" fmla="*/ 158 h 196"/>
              <a:gd name="T46" fmla="*/ 51 w 172"/>
              <a:gd name="T47" fmla="*/ 152 h 196"/>
              <a:gd name="T48" fmla="*/ 36 w 172"/>
              <a:gd name="T49" fmla="*/ 147 h 196"/>
              <a:gd name="T50" fmla="*/ 27 w 172"/>
              <a:gd name="T51" fmla="*/ 139 h 196"/>
              <a:gd name="T52" fmla="*/ 18 w 172"/>
              <a:gd name="T53" fmla="*/ 129 h 196"/>
              <a:gd name="T54" fmla="*/ 15 w 172"/>
              <a:gd name="T55" fmla="*/ 109 h 196"/>
              <a:gd name="T56" fmla="*/ 4 w 172"/>
              <a:gd name="T57" fmla="*/ 92 h 196"/>
              <a:gd name="T58" fmla="*/ 2 w 172"/>
              <a:gd name="T59" fmla="*/ 77 h 196"/>
              <a:gd name="T60" fmla="*/ 0 w 172"/>
              <a:gd name="T61" fmla="*/ 62 h 196"/>
              <a:gd name="T62" fmla="*/ 12 w 172"/>
              <a:gd name="T63" fmla="*/ 53 h 196"/>
              <a:gd name="T64" fmla="*/ 19 w 172"/>
              <a:gd name="T65" fmla="*/ 40 h 196"/>
              <a:gd name="T66" fmla="*/ 16 w 172"/>
              <a:gd name="T67" fmla="*/ 35 h 196"/>
              <a:gd name="T68" fmla="*/ 15 w 172"/>
              <a:gd name="T69" fmla="*/ 28 h 196"/>
              <a:gd name="T70" fmla="*/ 20 w 172"/>
              <a:gd name="T71" fmla="*/ 16 h 196"/>
              <a:gd name="T72" fmla="*/ 20 w 172"/>
              <a:gd name="T73" fmla="*/ 2 h 196"/>
              <a:gd name="T74" fmla="*/ 36 w 172"/>
              <a:gd name="T75" fmla="*/ 2 h 196"/>
              <a:gd name="T76" fmla="*/ 35 w 172"/>
              <a:gd name="T77" fmla="*/ 28 h 196"/>
              <a:gd name="T78" fmla="*/ 40 w 172"/>
              <a:gd name="T79" fmla="*/ 29 h 196"/>
              <a:gd name="T80" fmla="*/ 44 w 172"/>
              <a:gd name="T81" fmla="*/ 25 h 196"/>
              <a:gd name="T82" fmla="*/ 51 w 172"/>
              <a:gd name="T83" fmla="*/ 29 h 196"/>
              <a:gd name="T84" fmla="*/ 55 w 172"/>
              <a:gd name="T85" fmla="*/ 28 h 196"/>
              <a:gd name="T86" fmla="*/ 63 w 172"/>
              <a:gd name="T87" fmla="*/ 27 h 196"/>
              <a:gd name="T88" fmla="*/ 61 w 172"/>
              <a:gd name="T89" fmla="*/ 22 h 196"/>
              <a:gd name="T90" fmla="*/ 61 w 172"/>
              <a:gd name="T91" fmla="*/ 17 h 196"/>
              <a:gd name="T92" fmla="*/ 67 w 172"/>
              <a:gd name="T93" fmla="*/ 11 h 196"/>
              <a:gd name="T94" fmla="*/ 70 w 172"/>
              <a:gd name="T95" fmla="*/ 7 h 196"/>
              <a:gd name="T96" fmla="*/ 75 w 172"/>
              <a:gd name="T97" fmla="*/ 0 h 1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72" h="196">
                <a:moveTo>
                  <a:pt x="130" y="38"/>
                </a:moveTo>
                <a:lnTo>
                  <a:pt x="130" y="39"/>
                </a:lnTo>
                <a:lnTo>
                  <a:pt x="131" y="41"/>
                </a:lnTo>
                <a:lnTo>
                  <a:pt x="132" y="48"/>
                </a:lnTo>
                <a:lnTo>
                  <a:pt x="133" y="51"/>
                </a:lnTo>
                <a:lnTo>
                  <a:pt x="156" y="67"/>
                </a:lnTo>
                <a:lnTo>
                  <a:pt x="154" y="69"/>
                </a:lnTo>
                <a:lnTo>
                  <a:pt x="152" y="79"/>
                </a:lnTo>
                <a:lnTo>
                  <a:pt x="151" y="81"/>
                </a:lnTo>
                <a:lnTo>
                  <a:pt x="150" y="86"/>
                </a:lnTo>
                <a:lnTo>
                  <a:pt x="148" y="93"/>
                </a:lnTo>
                <a:lnTo>
                  <a:pt x="148" y="97"/>
                </a:lnTo>
                <a:lnTo>
                  <a:pt x="148" y="99"/>
                </a:lnTo>
                <a:lnTo>
                  <a:pt x="152" y="102"/>
                </a:lnTo>
                <a:lnTo>
                  <a:pt x="154" y="106"/>
                </a:lnTo>
                <a:lnTo>
                  <a:pt x="157" y="108"/>
                </a:lnTo>
                <a:lnTo>
                  <a:pt x="159" y="112"/>
                </a:lnTo>
                <a:lnTo>
                  <a:pt x="159" y="113"/>
                </a:lnTo>
                <a:lnTo>
                  <a:pt x="158" y="113"/>
                </a:lnTo>
                <a:lnTo>
                  <a:pt x="157" y="117"/>
                </a:lnTo>
                <a:lnTo>
                  <a:pt x="156" y="120"/>
                </a:lnTo>
                <a:lnTo>
                  <a:pt x="156" y="122"/>
                </a:lnTo>
                <a:lnTo>
                  <a:pt x="156" y="124"/>
                </a:lnTo>
                <a:lnTo>
                  <a:pt x="156" y="127"/>
                </a:lnTo>
                <a:lnTo>
                  <a:pt x="157" y="128"/>
                </a:lnTo>
                <a:lnTo>
                  <a:pt x="156" y="131"/>
                </a:lnTo>
                <a:lnTo>
                  <a:pt x="154" y="131"/>
                </a:lnTo>
                <a:lnTo>
                  <a:pt x="153" y="133"/>
                </a:lnTo>
                <a:lnTo>
                  <a:pt x="154" y="137"/>
                </a:lnTo>
                <a:lnTo>
                  <a:pt x="156" y="141"/>
                </a:lnTo>
                <a:lnTo>
                  <a:pt x="157" y="142"/>
                </a:lnTo>
                <a:lnTo>
                  <a:pt x="157" y="143"/>
                </a:lnTo>
                <a:lnTo>
                  <a:pt x="156" y="144"/>
                </a:lnTo>
                <a:lnTo>
                  <a:pt x="160" y="151"/>
                </a:lnTo>
                <a:lnTo>
                  <a:pt x="160" y="153"/>
                </a:lnTo>
                <a:lnTo>
                  <a:pt x="159" y="156"/>
                </a:lnTo>
                <a:lnTo>
                  <a:pt x="161" y="157"/>
                </a:lnTo>
                <a:lnTo>
                  <a:pt x="161" y="159"/>
                </a:lnTo>
                <a:lnTo>
                  <a:pt x="161" y="161"/>
                </a:lnTo>
                <a:lnTo>
                  <a:pt x="162" y="162"/>
                </a:lnTo>
                <a:lnTo>
                  <a:pt x="162" y="164"/>
                </a:lnTo>
                <a:lnTo>
                  <a:pt x="166" y="167"/>
                </a:lnTo>
                <a:lnTo>
                  <a:pt x="167" y="170"/>
                </a:lnTo>
                <a:lnTo>
                  <a:pt x="170" y="171"/>
                </a:lnTo>
                <a:lnTo>
                  <a:pt x="171" y="172"/>
                </a:lnTo>
                <a:lnTo>
                  <a:pt x="172" y="172"/>
                </a:lnTo>
                <a:lnTo>
                  <a:pt x="172" y="174"/>
                </a:lnTo>
                <a:lnTo>
                  <a:pt x="171" y="174"/>
                </a:lnTo>
                <a:lnTo>
                  <a:pt x="167" y="178"/>
                </a:lnTo>
                <a:lnTo>
                  <a:pt x="162" y="182"/>
                </a:lnTo>
                <a:lnTo>
                  <a:pt x="161" y="182"/>
                </a:lnTo>
                <a:lnTo>
                  <a:pt x="156" y="184"/>
                </a:lnTo>
                <a:lnTo>
                  <a:pt x="146" y="189"/>
                </a:lnTo>
                <a:lnTo>
                  <a:pt x="143" y="189"/>
                </a:lnTo>
                <a:lnTo>
                  <a:pt x="140" y="189"/>
                </a:lnTo>
                <a:lnTo>
                  <a:pt x="137" y="187"/>
                </a:lnTo>
                <a:lnTo>
                  <a:pt x="134" y="188"/>
                </a:lnTo>
                <a:lnTo>
                  <a:pt x="130" y="188"/>
                </a:lnTo>
                <a:lnTo>
                  <a:pt x="126" y="192"/>
                </a:lnTo>
                <a:lnTo>
                  <a:pt x="125" y="193"/>
                </a:lnTo>
                <a:lnTo>
                  <a:pt x="123" y="193"/>
                </a:lnTo>
                <a:lnTo>
                  <a:pt x="113" y="192"/>
                </a:lnTo>
                <a:lnTo>
                  <a:pt x="110" y="194"/>
                </a:lnTo>
                <a:lnTo>
                  <a:pt x="108" y="194"/>
                </a:lnTo>
                <a:lnTo>
                  <a:pt x="106" y="196"/>
                </a:lnTo>
                <a:lnTo>
                  <a:pt x="105" y="196"/>
                </a:lnTo>
                <a:lnTo>
                  <a:pt x="103" y="194"/>
                </a:lnTo>
                <a:lnTo>
                  <a:pt x="101" y="192"/>
                </a:lnTo>
                <a:lnTo>
                  <a:pt x="99" y="191"/>
                </a:lnTo>
                <a:lnTo>
                  <a:pt x="97" y="191"/>
                </a:lnTo>
                <a:lnTo>
                  <a:pt x="96" y="193"/>
                </a:lnTo>
                <a:lnTo>
                  <a:pt x="95" y="193"/>
                </a:lnTo>
                <a:lnTo>
                  <a:pt x="82" y="193"/>
                </a:lnTo>
                <a:lnTo>
                  <a:pt x="82" y="191"/>
                </a:lnTo>
                <a:lnTo>
                  <a:pt x="81" y="189"/>
                </a:lnTo>
                <a:lnTo>
                  <a:pt x="80" y="188"/>
                </a:lnTo>
                <a:lnTo>
                  <a:pt x="78" y="186"/>
                </a:lnTo>
                <a:lnTo>
                  <a:pt x="78" y="184"/>
                </a:lnTo>
                <a:lnTo>
                  <a:pt x="78" y="179"/>
                </a:lnTo>
                <a:lnTo>
                  <a:pt x="77" y="176"/>
                </a:lnTo>
                <a:lnTo>
                  <a:pt x="77" y="170"/>
                </a:lnTo>
                <a:lnTo>
                  <a:pt x="76" y="164"/>
                </a:lnTo>
                <a:lnTo>
                  <a:pt x="75" y="162"/>
                </a:lnTo>
                <a:lnTo>
                  <a:pt x="71" y="158"/>
                </a:lnTo>
                <a:lnTo>
                  <a:pt x="68" y="157"/>
                </a:lnTo>
                <a:lnTo>
                  <a:pt x="67" y="159"/>
                </a:lnTo>
                <a:lnTo>
                  <a:pt x="66" y="158"/>
                </a:lnTo>
                <a:lnTo>
                  <a:pt x="66" y="158"/>
                </a:lnTo>
                <a:lnTo>
                  <a:pt x="65" y="157"/>
                </a:lnTo>
                <a:lnTo>
                  <a:pt x="63" y="157"/>
                </a:lnTo>
                <a:lnTo>
                  <a:pt x="60" y="158"/>
                </a:lnTo>
                <a:lnTo>
                  <a:pt x="59" y="158"/>
                </a:lnTo>
                <a:lnTo>
                  <a:pt x="58" y="156"/>
                </a:lnTo>
                <a:lnTo>
                  <a:pt x="56" y="156"/>
                </a:lnTo>
                <a:lnTo>
                  <a:pt x="52" y="153"/>
                </a:lnTo>
                <a:lnTo>
                  <a:pt x="51" y="152"/>
                </a:lnTo>
                <a:lnTo>
                  <a:pt x="50" y="151"/>
                </a:lnTo>
                <a:lnTo>
                  <a:pt x="47" y="151"/>
                </a:lnTo>
                <a:lnTo>
                  <a:pt x="44" y="150"/>
                </a:lnTo>
                <a:lnTo>
                  <a:pt x="36" y="147"/>
                </a:lnTo>
                <a:lnTo>
                  <a:pt x="34" y="146"/>
                </a:lnTo>
                <a:lnTo>
                  <a:pt x="31" y="144"/>
                </a:lnTo>
                <a:lnTo>
                  <a:pt x="29" y="142"/>
                </a:lnTo>
                <a:lnTo>
                  <a:pt x="27" y="139"/>
                </a:lnTo>
                <a:lnTo>
                  <a:pt x="25" y="138"/>
                </a:lnTo>
                <a:lnTo>
                  <a:pt x="22" y="139"/>
                </a:lnTo>
                <a:lnTo>
                  <a:pt x="20" y="132"/>
                </a:lnTo>
                <a:lnTo>
                  <a:pt x="18" y="129"/>
                </a:lnTo>
                <a:lnTo>
                  <a:pt x="17" y="124"/>
                </a:lnTo>
                <a:lnTo>
                  <a:pt x="15" y="117"/>
                </a:lnTo>
                <a:lnTo>
                  <a:pt x="15" y="112"/>
                </a:lnTo>
                <a:lnTo>
                  <a:pt x="15" y="109"/>
                </a:lnTo>
                <a:lnTo>
                  <a:pt x="9" y="103"/>
                </a:lnTo>
                <a:lnTo>
                  <a:pt x="2" y="99"/>
                </a:lnTo>
                <a:lnTo>
                  <a:pt x="1" y="95"/>
                </a:lnTo>
                <a:lnTo>
                  <a:pt x="4" y="92"/>
                </a:lnTo>
                <a:lnTo>
                  <a:pt x="5" y="90"/>
                </a:lnTo>
                <a:lnTo>
                  <a:pt x="4" y="87"/>
                </a:lnTo>
                <a:lnTo>
                  <a:pt x="2" y="82"/>
                </a:lnTo>
                <a:lnTo>
                  <a:pt x="2" y="77"/>
                </a:lnTo>
                <a:lnTo>
                  <a:pt x="1" y="76"/>
                </a:lnTo>
                <a:lnTo>
                  <a:pt x="0" y="75"/>
                </a:lnTo>
                <a:lnTo>
                  <a:pt x="0" y="69"/>
                </a:lnTo>
                <a:lnTo>
                  <a:pt x="0" y="62"/>
                </a:lnTo>
                <a:lnTo>
                  <a:pt x="1" y="62"/>
                </a:lnTo>
                <a:lnTo>
                  <a:pt x="5" y="61"/>
                </a:lnTo>
                <a:lnTo>
                  <a:pt x="9" y="59"/>
                </a:lnTo>
                <a:lnTo>
                  <a:pt x="12" y="53"/>
                </a:lnTo>
                <a:lnTo>
                  <a:pt x="14" y="51"/>
                </a:lnTo>
                <a:lnTo>
                  <a:pt x="15" y="47"/>
                </a:lnTo>
                <a:lnTo>
                  <a:pt x="18" y="42"/>
                </a:lnTo>
                <a:lnTo>
                  <a:pt x="19" y="40"/>
                </a:lnTo>
                <a:lnTo>
                  <a:pt x="19" y="38"/>
                </a:lnTo>
                <a:lnTo>
                  <a:pt x="19" y="36"/>
                </a:lnTo>
                <a:lnTo>
                  <a:pt x="18" y="35"/>
                </a:lnTo>
                <a:lnTo>
                  <a:pt x="16" y="35"/>
                </a:lnTo>
                <a:lnTo>
                  <a:pt x="15" y="32"/>
                </a:lnTo>
                <a:lnTo>
                  <a:pt x="15" y="31"/>
                </a:lnTo>
                <a:lnTo>
                  <a:pt x="15" y="30"/>
                </a:lnTo>
                <a:lnTo>
                  <a:pt x="15" y="28"/>
                </a:lnTo>
                <a:lnTo>
                  <a:pt x="17" y="26"/>
                </a:lnTo>
                <a:lnTo>
                  <a:pt x="20" y="21"/>
                </a:lnTo>
                <a:lnTo>
                  <a:pt x="20" y="18"/>
                </a:lnTo>
                <a:lnTo>
                  <a:pt x="20" y="16"/>
                </a:lnTo>
                <a:lnTo>
                  <a:pt x="19" y="10"/>
                </a:lnTo>
                <a:lnTo>
                  <a:pt x="16" y="4"/>
                </a:lnTo>
                <a:lnTo>
                  <a:pt x="14" y="1"/>
                </a:lnTo>
                <a:lnTo>
                  <a:pt x="20" y="2"/>
                </a:lnTo>
                <a:lnTo>
                  <a:pt x="22" y="1"/>
                </a:lnTo>
                <a:lnTo>
                  <a:pt x="22" y="0"/>
                </a:lnTo>
                <a:lnTo>
                  <a:pt x="36" y="0"/>
                </a:lnTo>
                <a:lnTo>
                  <a:pt x="36" y="2"/>
                </a:lnTo>
                <a:lnTo>
                  <a:pt x="36" y="9"/>
                </a:lnTo>
                <a:lnTo>
                  <a:pt x="35" y="13"/>
                </a:lnTo>
                <a:lnTo>
                  <a:pt x="34" y="20"/>
                </a:lnTo>
                <a:lnTo>
                  <a:pt x="35" y="28"/>
                </a:lnTo>
                <a:lnTo>
                  <a:pt x="35" y="30"/>
                </a:lnTo>
                <a:lnTo>
                  <a:pt x="36" y="33"/>
                </a:lnTo>
                <a:lnTo>
                  <a:pt x="39" y="31"/>
                </a:lnTo>
                <a:lnTo>
                  <a:pt x="40" y="29"/>
                </a:lnTo>
                <a:lnTo>
                  <a:pt x="41" y="29"/>
                </a:lnTo>
                <a:lnTo>
                  <a:pt x="41" y="26"/>
                </a:lnTo>
                <a:lnTo>
                  <a:pt x="42" y="23"/>
                </a:lnTo>
                <a:lnTo>
                  <a:pt x="44" y="25"/>
                </a:lnTo>
                <a:lnTo>
                  <a:pt x="47" y="29"/>
                </a:lnTo>
                <a:lnTo>
                  <a:pt x="48" y="30"/>
                </a:lnTo>
                <a:lnTo>
                  <a:pt x="50" y="29"/>
                </a:lnTo>
                <a:lnTo>
                  <a:pt x="51" y="29"/>
                </a:lnTo>
                <a:lnTo>
                  <a:pt x="52" y="36"/>
                </a:lnTo>
                <a:lnTo>
                  <a:pt x="55" y="33"/>
                </a:lnTo>
                <a:lnTo>
                  <a:pt x="53" y="31"/>
                </a:lnTo>
                <a:lnTo>
                  <a:pt x="55" y="28"/>
                </a:lnTo>
                <a:lnTo>
                  <a:pt x="56" y="28"/>
                </a:lnTo>
                <a:lnTo>
                  <a:pt x="59" y="28"/>
                </a:lnTo>
                <a:lnTo>
                  <a:pt x="61" y="28"/>
                </a:lnTo>
                <a:lnTo>
                  <a:pt x="63" y="27"/>
                </a:lnTo>
                <a:lnTo>
                  <a:pt x="67" y="23"/>
                </a:lnTo>
                <a:lnTo>
                  <a:pt x="67" y="23"/>
                </a:lnTo>
                <a:lnTo>
                  <a:pt x="66" y="21"/>
                </a:lnTo>
                <a:lnTo>
                  <a:pt x="61" y="22"/>
                </a:lnTo>
                <a:lnTo>
                  <a:pt x="59" y="20"/>
                </a:lnTo>
                <a:lnTo>
                  <a:pt x="60" y="19"/>
                </a:lnTo>
                <a:lnTo>
                  <a:pt x="62" y="17"/>
                </a:lnTo>
                <a:lnTo>
                  <a:pt x="61" y="17"/>
                </a:lnTo>
                <a:lnTo>
                  <a:pt x="62" y="16"/>
                </a:lnTo>
                <a:lnTo>
                  <a:pt x="65" y="16"/>
                </a:lnTo>
                <a:lnTo>
                  <a:pt x="65" y="13"/>
                </a:lnTo>
                <a:lnTo>
                  <a:pt x="67" y="11"/>
                </a:lnTo>
                <a:lnTo>
                  <a:pt x="67" y="10"/>
                </a:lnTo>
                <a:lnTo>
                  <a:pt x="68" y="10"/>
                </a:lnTo>
                <a:lnTo>
                  <a:pt x="69" y="7"/>
                </a:lnTo>
                <a:lnTo>
                  <a:pt x="70" y="7"/>
                </a:lnTo>
                <a:lnTo>
                  <a:pt x="71" y="6"/>
                </a:lnTo>
                <a:lnTo>
                  <a:pt x="70" y="4"/>
                </a:lnTo>
                <a:lnTo>
                  <a:pt x="71" y="1"/>
                </a:lnTo>
                <a:lnTo>
                  <a:pt x="75" y="0"/>
                </a:lnTo>
                <a:lnTo>
                  <a:pt x="130" y="38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16" name="Freeform 716"/>
          <p:cNvSpPr>
            <a:spLocks/>
          </p:cNvSpPr>
          <p:nvPr/>
        </p:nvSpPr>
        <p:spPr bwMode="auto">
          <a:xfrm>
            <a:off x="5103813" y="3605178"/>
            <a:ext cx="273050" cy="311150"/>
          </a:xfrm>
          <a:custGeom>
            <a:avLst/>
            <a:gdLst>
              <a:gd name="T0" fmla="*/ 132 w 172"/>
              <a:gd name="T1" fmla="*/ 48 h 196"/>
              <a:gd name="T2" fmla="*/ 152 w 172"/>
              <a:gd name="T3" fmla="*/ 79 h 196"/>
              <a:gd name="T4" fmla="*/ 148 w 172"/>
              <a:gd name="T5" fmla="*/ 97 h 196"/>
              <a:gd name="T6" fmla="*/ 157 w 172"/>
              <a:gd name="T7" fmla="*/ 108 h 196"/>
              <a:gd name="T8" fmla="*/ 157 w 172"/>
              <a:gd name="T9" fmla="*/ 117 h 196"/>
              <a:gd name="T10" fmla="*/ 156 w 172"/>
              <a:gd name="T11" fmla="*/ 127 h 196"/>
              <a:gd name="T12" fmla="*/ 153 w 172"/>
              <a:gd name="T13" fmla="*/ 133 h 196"/>
              <a:gd name="T14" fmla="*/ 157 w 172"/>
              <a:gd name="T15" fmla="*/ 143 h 196"/>
              <a:gd name="T16" fmla="*/ 159 w 172"/>
              <a:gd name="T17" fmla="*/ 156 h 196"/>
              <a:gd name="T18" fmla="*/ 162 w 172"/>
              <a:gd name="T19" fmla="*/ 162 h 196"/>
              <a:gd name="T20" fmla="*/ 170 w 172"/>
              <a:gd name="T21" fmla="*/ 171 h 196"/>
              <a:gd name="T22" fmla="*/ 171 w 172"/>
              <a:gd name="T23" fmla="*/ 174 h 196"/>
              <a:gd name="T24" fmla="*/ 156 w 172"/>
              <a:gd name="T25" fmla="*/ 184 h 196"/>
              <a:gd name="T26" fmla="*/ 137 w 172"/>
              <a:gd name="T27" fmla="*/ 187 h 196"/>
              <a:gd name="T28" fmla="*/ 125 w 172"/>
              <a:gd name="T29" fmla="*/ 193 h 196"/>
              <a:gd name="T30" fmla="*/ 108 w 172"/>
              <a:gd name="T31" fmla="*/ 194 h 196"/>
              <a:gd name="T32" fmla="*/ 101 w 172"/>
              <a:gd name="T33" fmla="*/ 192 h 196"/>
              <a:gd name="T34" fmla="*/ 95 w 172"/>
              <a:gd name="T35" fmla="*/ 193 h 196"/>
              <a:gd name="T36" fmla="*/ 80 w 172"/>
              <a:gd name="T37" fmla="*/ 188 h 196"/>
              <a:gd name="T38" fmla="*/ 77 w 172"/>
              <a:gd name="T39" fmla="*/ 176 h 196"/>
              <a:gd name="T40" fmla="*/ 71 w 172"/>
              <a:gd name="T41" fmla="*/ 158 h 196"/>
              <a:gd name="T42" fmla="*/ 66 w 172"/>
              <a:gd name="T43" fmla="*/ 158 h 196"/>
              <a:gd name="T44" fmla="*/ 59 w 172"/>
              <a:gd name="T45" fmla="*/ 158 h 196"/>
              <a:gd name="T46" fmla="*/ 51 w 172"/>
              <a:gd name="T47" fmla="*/ 152 h 196"/>
              <a:gd name="T48" fmla="*/ 36 w 172"/>
              <a:gd name="T49" fmla="*/ 147 h 196"/>
              <a:gd name="T50" fmla="*/ 27 w 172"/>
              <a:gd name="T51" fmla="*/ 139 h 196"/>
              <a:gd name="T52" fmla="*/ 18 w 172"/>
              <a:gd name="T53" fmla="*/ 129 h 196"/>
              <a:gd name="T54" fmla="*/ 15 w 172"/>
              <a:gd name="T55" fmla="*/ 109 h 196"/>
              <a:gd name="T56" fmla="*/ 4 w 172"/>
              <a:gd name="T57" fmla="*/ 92 h 196"/>
              <a:gd name="T58" fmla="*/ 2 w 172"/>
              <a:gd name="T59" fmla="*/ 77 h 196"/>
              <a:gd name="T60" fmla="*/ 0 w 172"/>
              <a:gd name="T61" fmla="*/ 62 h 196"/>
              <a:gd name="T62" fmla="*/ 12 w 172"/>
              <a:gd name="T63" fmla="*/ 53 h 196"/>
              <a:gd name="T64" fmla="*/ 19 w 172"/>
              <a:gd name="T65" fmla="*/ 40 h 196"/>
              <a:gd name="T66" fmla="*/ 16 w 172"/>
              <a:gd name="T67" fmla="*/ 35 h 196"/>
              <a:gd name="T68" fmla="*/ 15 w 172"/>
              <a:gd name="T69" fmla="*/ 28 h 196"/>
              <a:gd name="T70" fmla="*/ 20 w 172"/>
              <a:gd name="T71" fmla="*/ 16 h 196"/>
              <a:gd name="T72" fmla="*/ 20 w 172"/>
              <a:gd name="T73" fmla="*/ 2 h 196"/>
              <a:gd name="T74" fmla="*/ 36 w 172"/>
              <a:gd name="T75" fmla="*/ 2 h 196"/>
              <a:gd name="T76" fmla="*/ 35 w 172"/>
              <a:gd name="T77" fmla="*/ 28 h 196"/>
              <a:gd name="T78" fmla="*/ 40 w 172"/>
              <a:gd name="T79" fmla="*/ 29 h 196"/>
              <a:gd name="T80" fmla="*/ 44 w 172"/>
              <a:gd name="T81" fmla="*/ 25 h 196"/>
              <a:gd name="T82" fmla="*/ 51 w 172"/>
              <a:gd name="T83" fmla="*/ 29 h 196"/>
              <a:gd name="T84" fmla="*/ 55 w 172"/>
              <a:gd name="T85" fmla="*/ 28 h 196"/>
              <a:gd name="T86" fmla="*/ 63 w 172"/>
              <a:gd name="T87" fmla="*/ 27 h 196"/>
              <a:gd name="T88" fmla="*/ 61 w 172"/>
              <a:gd name="T89" fmla="*/ 22 h 196"/>
              <a:gd name="T90" fmla="*/ 61 w 172"/>
              <a:gd name="T91" fmla="*/ 17 h 196"/>
              <a:gd name="T92" fmla="*/ 67 w 172"/>
              <a:gd name="T93" fmla="*/ 11 h 196"/>
              <a:gd name="T94" fmla="*/ 70 w 172"/>
              <a:gd name="T95" fmla="*/ 7 h 196"/>
              <a:gd name="T96" fmla="*/ 75 w 172"/>
              <a:gd name="T97" fmla="*/ 0 h 1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72" h="196">
                <a:moveTo>
                  <a:pt x="130" y="38"/>
                </a:moveTo>
                <a:lnTo>
                  <a:pt x="130" y="39"/>
                </a:lnTo>
                <a:lnTo>
                  <a:pt x="131" y="41"/>
                </a:lnTo>
                <a:lnTo>
                  <a:pt x="132" y="48"/>
                </a:lnTo>
                <a:lnTo>
                  <a:pt x="133" y="51"/>
                </a:lnTo>
                <a:lnTo>
                  <a:pt x="156" y="67"/>
                </a:lnTo>
                <a:lnTo>
                  <a:pt x="154" y="69"/>
                </a:lnTo>
                <a:lnTo>
                  <a:pt x="152" y="79"/>
                </a:lnTo>
                <a:lnTo>
                  <a:pt x="151" y="81"/>
                </a:lnTo>
                <a:lnTo>
                  <a:pt x="150" y="86"/>
                </a:lnTo>
                <a:lnTo>
                  <a:pt x="148" y="93"/>
                </a:lnTo>
                <a:lnTo>
                  <a:pt x="148" y="97"/>
                </a:lnTo>
                <a:lnTo>
                  <a:pt x="148" y="99"/>
                </a:lnTo>
                <a:lnTo>
                  <a:pt x="152" y="102"/>
                </a:lnTo>
                <a:lnTo>
                  <a:pt x="154" y="106"/>
                </a:lnTo>
                <a:lnTo>
                  <a:pt x="157" y="108"/>
                </a:lnTo>
                <a:lnTo>
                  <a:pt x="159" y="112"/>
                </a:lnTo>
                <a:lnTo>
                  <a:pt x="159" y="113"/>
                </a:lnTo>
                <a:lnTo>
                  <a:pt x="158" y="113"/>
                </a:lnTo>
                <a:lnTo>
                  <a:pt x="157" y="117"/>
                </a:lnTo>
                <a:lnTo>
                  <a:pt x="156" y="120"/>
                </a:lnTo>
                <a:lnTo>
                  <a:pt x="156" y="122"/>
                </a:lnTo>
                <a:lnTo>
                  <a:pt x="156" y="124"/>
                </a:lnTo>
                <a:lnTo>
                  <a:pt x="156" y="127"/>
                </a:lnTo>
                <a:lnTo>
                  <a:pt x="157" y="128"/>
                </a:lnTo>
                <a:lnTo>
                  <a:pt x="156" y="131"/>
                </a:lnTo>
                <a:lnTo>
                  <a:pt x="154" y="131"/>
                </a:lnTo>
                <a:lnTo>
                  <a:pt x="153" y="133"/>
                </a:lnTo>
                <a:lnTo>
                  <a:pt x="154" y="137"/>
                </a:lnTo>
                <a:lnTo>
                  <a:pt x="156" y="141"/>
                </a:lnTo>
                <a:lnTo>
                  <a:pt x="157" y="142"/>
                </a:lnTo>
                <a:lnTo>
                  <a:pt x="157" y="143"/>
                </a:lnTo>
                <a:lnTo>
                  <a:pt x="156" y="144"/>
                </a:lnTo>
                <a:lnTo>
                  <a:pt x="160" y="151"/>
                </a:lnTo>
                <a:lnTo>
                  <a:pt x="160" y="153"/>
                </a:lnTo>
                <a:lnTo>
                  <a:pt x="159" y="156"/>
                </a:lnTo>
                <a:lnTo>
                  <a:pt x="161" y="157"/>
                </a:lnTo>
                <a:lnTo>
                  <a:pt x="161" y="159"/>
                </a:lnTo>
                <a:lnTo>
                  <a:pt x="161" y="161"/>
                </a:lnTo>
                <a:lnTo>
                  <a:pt x="162" y="162"/>
                </a:lnTo>
                <a:lnTo>
                  <a:pt x="162" y="164"/>
                </a:lnTo>
                <a:lnTo>
                  <a:pt x="166" y="167"/>
                </a:lnTo>
                <a:lnTo>
                  <a:pt x="167" y="170"/>
                </a:lnTo>
                <a:lnTo>
                  <a:pt x="170" y="171"/>
                </a:lnTo>
                <a:lnTo>
                  <a:pt x="171" y="172"/>
                </a:lnTo>
                <a:lnTo>
                  <a:pt x="172" y="172"/>
                </a:lnTo>
                <a:lnTo>
                  <a:pt x="172" y="174"/>
                </a:lnTo>
                <a:lnTo>
                  <a:pt x="171" y="174"/>
                </a:lnTo>
                <a:lnTo>
                  <a:pt x="167" y="178"/>
                </a:lnTo>
                <a:lnTo>
                  <a:pt x="162" y="182"/>
                </a:lnTo>
                <a:lnTo>
                  <a:pt x="161" y="182"/>
                </a:lnTo>
                <a:lnTo>
                  <a:pt x="156" y="184"/>
                </a:lnTo>
                <a:lnTo>
                  <a:pt x="146" y="189"/>
                </a:lnTo>
                <a:lnTo>
                  <a:pt x="143" y="189"/>
                </a:lnTo>
                <a:lnTo>
                  <a:pt x="140" y="189"/>
                </a:lnTo>
                <a:lnTo>
                  <a:pt x="137" y="187"/>
                </a:lnTo>
                <a:lnTo>
                  <a:pt x="134" y="188"/>
                </a:lnTo>
                <a:lnTo>
                  <a:pt x="130" y="188"/>
                </a:lnTo>
                <a:lnTo>
                  <a:pt x="126" y="192"/>
                </a:lnTo>
                <a:lnTo>
                  <a:pt x="125" y="193"/>
                </a:lnTo>
                <a:lnTo>
                  <a:pt x="123" y="193"/>
                </a:lnTo>
                <a:lnTo>
                  <a:pt x="113" y="192"/>
                </a:lnTo>
                <a:lnTo>
                  <a:pt x="110" y="194"/>
                </a:lnTo>
                <a:lnTo>
                  <a:pt x="108" y="194"/>
                </a:lnTo>
                <a:lnTo>
                  <a:pt x="106" y="196"/>
                </a:lnTo>
                <a:lnTo>
                  <a:pt x="105" y="196"/>
                </a:lnTo>
                <a:lnTo>
                  <a:pt x="103" y="194"/>
                </a:lnTo>
                <a:lnTo>
                  <a:pt x="101" y="192"/>
                </a:lnTo>
                <a:lnTo>
                  <a:pt x="99" y="191"/>
                </a:lnTo>
                <a:lnTo>
                  <a:pt x="97" y="191"/>
                </a:lnTo>
                <a:lnTo>
                  <a:pt x="96" y="193"/>
                </a:lnTo>
                <a:lnTo>
                  <a:pt x="95" y="193"/>
                </a:lnTo>
                <a:lnTo>
                  <a:pt x="82" y="193"/>
                </a:lnTo>
                <a:lnTo>
                  <a:pt x="82" y="191"/>
                </a:lnTo>
                <a:lnTo>
                  <a:pt x="81" y="189"/>
                </a:lnTo>
                <a:lnTo>
                  <a:pt x="80" y="188"/>
                </a:lnTo>
                <a:lnTo>
                  <a:pt x="78" y="186"/>
                </a:lnTo>
                <a:lnTo>
                  <a:pt x="78" y="184"/>
                </a:lnTo>
                <a:lnTo>
                  <a:pt x="78" y="179"/>
                </a:lnTo>
                <a:lnTo>
                  <a:pt x="77" y="176"/>
                </a:lnTo>
                <a:lnTo>
                  <a:pt x="77" y="170"/>
                </a:lnTo>
                <a:lnTo>
                  <a:pt x="76" y="164"/>
                </a:lnTo>
                <a:lnTo>
                  <a:pt x="75" y="162"/>
                </a:lnTo>
                <a:lnTo>
                  <a:pt x="71" y="158"/>
                </a:lnTo>
                <a:lnTo>
                  <a:pt x="68" y="157"/>
                </a:lnTo>
                <a:lnTo>
                  <a:pt x="67" y="159"/>
                </a:lnTo>
                <a:lnTo>
                  <a:pt x="66" y="158"/>
                </a:lnTo>
                <a:lnTo>
                  <a:pt x="66" y="158"/>
                </a:lnTo>
                <a:lnTo>
                  <a:pt x="65" y="157"/>
                </a:lnTo>
                <a:lnTo>
                  <a:pt x="63" y="157"/>
                </a:lnTo>
                <a:lnTo>
                  <a:pt x="60" y="158"/>
                </a:lnTo>
                <a:lnTo>
                  <a:pt x="59" y="158"/>
                </a:lnTo>
                <a:lnTo>
                  <a:pt x="58" y="156"/>
                </a:lnTo>
                <a:lnTo>
                  <a:pt x="56" y="156"/>
                </a:lnTo>
                <a:lnTo>
                  <a:pt x="52" y="153"/>
                </a:lnTo>
                <a:lnTo>
                  <a:pt x="51" y="152"/>
                </a:lnTo>
                <a:lnTo>
                  <a:pt x="50" y="151"/>
                </a:lnTo>
                <a:lnTo>
                  <a:pt x="47" y="151"/>
                </a:lnTo>
                <a:lnTo>
                  <a:pt x="44" y="150"/>
                </a:lnTo>
                <a:lnTo>
                  <a:pt x="36" y="147"/>
                </a:lnTo>
                <a:lnTo>
                  <a:pt x="34" y="146"/>
                </a:lnTo>
                <a:lnTo>
                  <a:pt x="31" y="144"/>
                </a:lnTo>
                <a:lnTo>
                  <a:pt x="29" y="142"/>
                </a:lnTo>
                <a:lnTo>
                  <a:pt x="27" y="139"/>
                </a:lnTo>
                <a:lnTo>
                  <a:pt x="25" y="138"/>
                </a:lnTo>
                <a:lnTo>
                  <a:pt x="22" y="139"/>
                </a:lnTo>
                <a:lnTo>
                  <a:pt x="20" y="132"/>
                </a:lnTo>
                <a:lnTo>
                  <a:pt x="18" y="129"/>
                </a:lnTo>
                <a:lnTo>
                  <a:pt x="17" y="124"/>
                </a:lnTo>
                <a:lnTo>
                  <a:pt x="15" y="117"/>
                </a:lnTo>
                <a:lnTo>
                  <a:pt x="15" y="112"/>
                </a:lnTo>
                <a:lnTo>
                  <a:pt x="15" y="109"/>
                </a:lnTo>
                <a:lnTo>
                  <a:pt x="9" y="103"/>
                </a:lnTo>
                <a:lnTo>
                  <a:pt x="2" y="99"/>
                </a:lnTo>
                <a:lnTo>
                  <a:pt x="1" y="95"/>
                </a:lnTo>
                <a:lnTo>
                  <a:pt x="4" y="92"/>
                </a:lnTo>
                <a:lnTo>
                  <a:pt x="5" y="90"/>
                </a:lnTo>
                <a:lnTo>
                  <a:pt x="4" y="87"/>
                </a:lnTo>
                <a:lnTo>
                  <a:pt x="2" y="82"/>
                </a:lnTo>
                <a:lnTo>
                  <a:pt x="2" y="77"/>
                </a:lnTo>
                <a:lnTo>
                  <a:pt x="1" y="76"/>
                </a:lnTo>
                <a:lnTo>
                  <a:pt x="0" y="75"/>
                </a:lnTo>
                <a:lnTo>
                  <a:pt x="0" y="69"/>
                </a:lnTo>
                <a:lnTo>
                  <a:pt x="0" y="62"/>
                </a:lnTo>
                <a:lnTo>
                  <a:pt x="1" y="62"/>
                </a:lnTo>
                <a:lnTo>
                  <a:pt x="5" y="61"/>
                </a:lnTo>
                <a:lnTo>
                  <a:pt x="9" y="59"/>
                </a:lnTo>
                <a:lnTo>
                  <a:pt x="12" y="53"/>
                </a:lnTo>
                <a:lnTo>
                  <a:pt x="14" y="51"/>
                </a:lnTo>
                <a:lnTo>
                  <a:pt x="15" y="47"/>
                </a:lnTo>
                <a:lnTo>
                  <a:pt x="18" y="42"/>
                </a:lnTo>
                <a:lnTo>
                  <a:pt x="19" y="40"/>
                </a:lnTo>
                <a:lnTo>
                  <a:pt x="19" y="38"/>
                </a:lnTo>
                <a:lnTo>
                  <a:pt x="19" y="36"/>
                </a:lnTo>
                <a:lnTo>
                  <a:pt x="18" y="35"/>
                </a:lnTo>
                <a:lnTo>
                  <a:pt x="16" y="35"/>
                </a:lnTo>
                <a:lnTo>
                  <a:pt x="15" y="32"/>
                </a:lnTo>
                <a:lnTo>
                  <a:pt x="15" y="31"/>
                </a:lnTo>
                <a:lnTo>
                  <a:pt x="15" y="30"/>
                </a:lnTo>
                <a:lnTo>
                  <a:pt x="15" y="28"/>
                </a:lnTo>
                <a:lnTo>
                  <a:pt x="17" y="26"/>
                </a:lnTo>
                <a:lnTo>
                  <a:pt x="20" y="21"/>
                </a:lnTo>
                <a:lnTo>
                  <a:pt x="20" y="18"/>
                </a:lnTo>
                <a:lnTo>
                  <a:pt x="20" y="16"/>
                </a:lnTo>
                <a:lnTo>
                  <a:pt x="19" y="10"/>
                </a:lnTo>
                <a:lnTo>
                  <a:pt x="16" y="4"/>
                </a:lnTo>
                <a:lnTo>
                  <a:pt x="14" y="1"/>
                </a:lnTo>
                <a:lnTo>
                  <a:pt x="20" y="2"/>
                </a:lnTo>
                <a:lnTo>
                  <a:pt x="22" y="1"/>
                </a:lnTo>
                <a:lnTo>
                  <a:pt x="22" y="0"/>
                </a:lnTo>
                <a:lnTo>
                  <a:pt x="36" y="0"/>
                </a:lnTo>
                <a:lnTo>
                  <a:pt x="36" y="2"/>
                </a:lnTo>
                <a:lnTo>
                  <a:pt x="36" y="9"/>
                </a:lnTo>
                <a:lnTo>
                  <a:pt x="35" y="13"/>
                </a:lnTo>
                <a:lnTo>
                  <a:pt x="34" y="20"/>
                </a:lnTo>
                <a:lnTo>
                  <a:pt x="35" y="28"/>
                </a:lnTo>
                <a:lnTo>
                  <a:pt x="35" y="30"/>
                </a:lnTo>
                <a:lnTo>
                  <a:pt x="36" y="33"/>
                </a:lnTo>
                <a:lnTo>
                  <a:pt x="39" y="31"/>
                </a:lnTo>
                <a:lnTo>
                  <a:pt x="40" y="29"/>
                </a:lnTo>
                <a:lnTo>
                  <a:pt x="41" y="29"/>
                </a:lnTo>
                <a:lnTo>
                  <a:pt x="41" y="26"/>
                </a:lnTo>
                <a:lnTo>
                  <a:pt x="42" y="23"/>
                </a:lnTo>
                <a:lnTo>
                  <a:pt x="44" y="25"/>
                </a:lnTo>
                <a:lnTo>
                  <a:pt x="47" y="29"/>
                </a:lnTo>
                <a:lnTo>
                  <a:pt x="48" y="30"/>
                </a:lnTo>
                <a:lnTo>
                  <a:pt x="50" y="29"/>
                </a:lnTo>
                <a:lnTo>
                  <a:pt x="51" y="29"/>
                </a:lnTo>
                <a:lnTo>
                  <a:pt x="52" y="36"/>
                </a:lnTo>
                <a:lnTo>
                  <a:pt x="55" y="33"/>
                </a:lnTo>
                <a:lnTo>
                  <a:pt x="53" y="31"/>
                </a:lnTo>
                <a:lnTo>
                  <a:pt x="55" y="28"/>
                </a:lnTo>
                <a:lnTo>
                  <a:pt x="56" y="28"/>
                </a:lnTo>
                <a:lnTo>
                  <a:pt x="59" y="28"/>
                </a:lnTo>
                <a:lnTo>
                  <a:pt x="61" y="28"/>
                </a:lnTo>
                <a:lnTo>
                  <a:pt x="63" y="27"/>
                </a:lnTo>
                <a:lnTo>
                  <a:pt x="67" y="23"/>
                </a:lnTo>
                <a:lnTo>
                  <a:pt x="67" y="23"/>
                </a:lnTo>
                <a:lnTo>
                  <a:pt x="66" y="21"/>
                </a:lnTo>
                <a:lnTo>
                  <a:pt x="61" y="22"/>
                </a:lnTo>
                <a:lnTo>
                  <a:pt x="59" y="20"/>
                </a:lnTo>
                <a:lnTo>
                  <a:pt x="60" y="19"/>
                </a:lnTo>
                <a:lnTo>
                  <a:pt x="62" y="17"/>
                </a:lnTo>
                <a:lnTo>
                  <a:pt x="61" y="17"/>
                </a:lnTo>
                <a:lnTo>
                  <a:pt x="62" y="16"/>
                </a:lnTo>
                <a:lnTo>
                  <a:pt x="65" y="16"/>
                </a:lnTo>
                <a:lnTo>
                  <a:pt x="65" y="13"/>
                </a:lnTo>
                <a:lnTo>
                  <a:pt x="67" y="11"/>
                </a:lnTo>
                <a:lnTo>
                  <a:pt x="67" y="10"/>
                </a:lnTo>
                <a:lnTo>
                  <a:pt x="68" y="10"/>
                </a:lnTo>
                <a:lnTo>
                  <a:pt x="69" y="7"/>
                </a:lnTo>
                <a:lnTo>
                  <a:pt x="70" y="7"/>
                </a:lnTo>
                <a:lnTo>
                  <a:pt x="71" y="6"/>
                </a:lnTo>
                <a:lnTo>
                  <a:pt x="70" y="4"/>
                </a:lnTo>
                <a:lnTo>
                  <a:pt x="71" y="1"/>
                </a:lnTo>
                <a:lnTo>
                  <a:pt x="75" y="0"/>
                </a:lnTo>
                <a:lnTo>
                  <a:pt x="130" y="38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17" name="Freeform 717"/>
          <p:cNvSpPr>
            <a:spLocks/>
          </p:cNvSpPr>
          <p:nvPr/>
        </p:nvSpPr>
        <p:spPr bwMode="auto">
          <a:xfrm>
            <a:off x="4030663" y="2543140"/>
            <a:ext cx="295275" cy="234950"/>
          </a:xfrm>
          <a:custGeom>
            <a:avLst/>
            <a:gdLst>
              <a:gd name="T0" fmla="*/ 57 w 186"/>
              <a:gd name="T1" fmla="*/ 148 h 148"/>
              <a:gd name="T2" fmla="*/ 23 w 186"/>
              <a:gd name="T3" fmla="*/ 148 h 148"/>
              <a:gd name="T4" fmla="*/ 0 w 186"/>
              <a:gd name="T5" fmla="*/ 148 h 148"/>
              <a:gd name="T6" fmla="*/ 7 w 186"/>
              <a:gd name="T7" fmla="*/ 144 h 148"/>
              <a:gd name="T8" fmla="*/ 25 w 186"/>
              <a:gd name="T9" fmla="*/ 136 h 148"/>
              <a:gd name="T10" fmla="*/ 33 w 186"/>
              <a:gd name="T11" fmla="*/ 130 h 148"/>
              <a:gd name="T12" fmla="*/ 42 w 186"/>
              <a:gd name="T13" fmla="*/ 122 h 148"/>
              <a:gd name="T14" fmla="*/ 48 w 186"/>
              <a:gd name="T15" fmla="*/ 114 h 148"/>
              <a:gd name="T16" fmla="*/ 53 w 186"/>
              <a:gd name="T17" fmla="*/ 100 h 148"/>
              <a:gd name="T18" fmla="*/ 52 w 186"/>
              <a:gd name="T19" fmla="*/ 84 h 148"/>
              <a:gd name="T20" fmla="*/ 57 w 186"/>
              <a:gd name="T21" fmla="*/ 72 h 148"/>
              <a:gd name="T22" fmla="*/ 63 w 186"/>
              <a:gd name="T23" fmla="*/ 64 h 148"/>
              <a:gd name="T24" fmla="*/ 72 w 186"/>
              <a:gd name="T25" fmla="*/ 50 h 148"/>
              <a:gd name="T26" fmla="*/ 87 w 186"/>
              <a:gd name="T27" fmla="*/ 42 h 148"/>
              <a:gd name="T28" fmla="*/ 100 w 186"/>
              <a:gd name="T29" fmla="*/ 32 h 148"/>
              <a:gd name="T30" fmla="*/ 108 w 186"/>
              <a:gd name="T31" fmla="*/ 14 h 148"/>
              <a:gd name="T32" fmla="*/ 120 w 186"/>
              <a:gd name="T33" fmla="*/ 0 h 148"/>
              <a:gd name="T34" fmla="*/ 133 w 186"/>
              <a:gd name="T35" fmla="*/ 12 h 148"/>
              <a:gd name="T36" fmla="*/ 145 w 186"/>
              <a:gd name="T37" fmla="*/ 11 h 148"/>
              <a:gd name="T38" fmla="*/ 156 w 186"/>
              <a:gd name="T39" fmla="*/ 10 h 148"/>
              <a:gd name="T40" fmla="*/ 164 w 186"/>
              <a:gd name="T41" fmla="*/ 13 h 148"/>
              <a:gd name="T42" fmla="*/ 171 w 186"/>
              <a:gd name="T43" fmla="*/ 14 h 148"/>
              <a:gd name="T44" fmla="*/ 171 w 186"/>
              <a:gd name="T45" fmla="*/ 17 h 148"/>
              <a:gd name="T46" fmla="*/ 175 w 186"/>
              <a:gd name="T47" fmla="*/ 21 h 148"/>
              <a:gd name="T48" fmla="*/ 177 w 186"/>
              <a:gd name="T49" fmla="*/ 22 h 148"/>
              <a:gd name="T50" fmla="*/ 177 w 186"/>
              <a:gd name="T51" fmla="*/ 25 h 148"/>
              <a:gd name="T52" fmla="*/ 178 w 186"/>
              <a:gd name="T53" fmla="*/ 32 h 148"/>
              <a:gd name="T54" fmla="*/ 177 w 186"/>
              <a:gd name="T55" fmla="*/ 39 h 148"/>
              <a:gd name="T56" fmla="*/ 179 w 186"/>
              <a:gd name="T57" fmla="*/ 43 h 148"/>
              <a:gd name="T58" fmla="*/ 178 w 186"/>
              <a:gd name="T59" fmla="*/ 49 h 148"/>
              <a:gd name="T60" fmla="*/ 181 w 186"/>
              <a:gd name="T61" fmla="*/ 56 h 148"/>
              <a:gd name="T62" fmla="*/ 186 w 186"/>
              <a:gd name="T63" fmla="*/ 60 h 148"/>
              <a:gd name="T64" fmla="*/ 182 w 186"/>
              <a:gd name="T65" fmla="*/ 64 h 148"/>
              <a:gd name="T66" fmla="*/ 182 w 186"/>
              <a:gd name="T67" fmla="*/ 66 h 148"/>
              <a:gd name="T68" fmla="*/ 175 w 186"/>
              <a:gd name="T69" fmla="*/ 65 h 148"/>
              <a:gd name="T70" fmla="*/ 161 w 186"/>
              <a:gd name="T71" fmla="*/ 66 h 148"/>
              <a:gd name="T72" fmla="*/ 158 w 186"/>
              <a:gd name="T73" fmla="*/ 68 h 148"/>
              <a:gd name="T74" fmla="*/ 157 w 186"/>
              <a:gd name="T75" fmla="*/ 71 h 148"/>
              <a:gd name="T76" fmla="*/ 151 w 186"/>
              <a:gd name="T77" fmla="*/ 74 h 148"/>
              <a:gd name="T78" fmla="*/ 146 w 186"/>
              <a:gd name="T79" fmla="*/ 74 h 148"/>
              <a:gd name="T80" fmla="*/ 143 w 186"/>
              <a:gd name="T81" fmla="*/ 78 h 148"/>
              <a:gd name="T82" fmla="*/ 144 w 186"/>
              <a:gd name="T83" fmla="*/ 80 h 148"/>
              <a:gd name="T84" fmla="*/ 143 w 186"/>
              <a:gd name="T85" fmla="*/ 84 h 148"/>
              <a:gd name="T86" fmla="*/ 145 w 186"/>
              <a:gd name="T87" fmla="*/ 84 h 148"/>
              <a:gd name="T88" fmla="*/ 146 w 186"/>
              <a:gd name="T89" fmla="*/ 88 h 148"/>
              <a:gd name="T90" fmla="*/ 133 w 186"/>
              <a:gd name="T91" fmla="*/ 94 h 148"/>
              <a:gd name="T92" fmla="*/ 124 w 186"/>
              <a:gd name="T93" fmla="*/ 99 h 148"/>
              <a:gd name="T94" fmla="*/ 121 w 186"/>
              <a:gd name="T95" fmla="*/ 103 h 148"/>
              <a:gd name="T96" fmla="*/ 114 w 186"/>
              <a:gd name="T97" fmla="*/ 108 h 148"/>
              <a:gd name="T98" fmla="*/ 105 w 186"/>
              <a:gd name="T99" fmla="*/ 109 h 148"/>
              <a:gd name="T100" fmla="*/ 100 w 186"/>
              <a:gd name="T101" fmla="*/ 112 h 148"/>
              <a:gd name="T102" fmla="*/ 96 w 186"/>
              <a:gd name="T103" fmla="*/ 112 h 148"/>
              <a:gd name="T104" fmla="*/ 90 w 186"/>
              <a:gd name="T105" fmla="*/ 113 h 148"/>
              <a:gd name="T106" fmla="*/ 85 w 186"/>
              <a:gd name="T107" fmla="*/ 118 h 148"/>
              <a:gd name="T108" fmla="*/ 68 w 186"/>
              <a:gd name="T109" fmla="*/ 128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86" h="148">
                <a:moveTo>
                  <a:pt x="68" y="128"/>
                </a:moveTo>
                <a:lnTo>
                  <a:pt x="68" y="148"/>
                </a:lnTo>
                <a:lnTo>
                  <a:pt x="57" y="148"/>
                </a:lnTo>
                <a:lnTo>
                  <a:pt x="45" y="148"/>
                </a:lnTo>
                <a:lnTo>
                  <a:pt x="34" y="148"/>
                </a:lnTo>
                <a:lnTo>
                  <a:pt x="23" y="148"/>
                </a:lnTo>
                <a:lnTo>
                  <a:pt x="12" y="148"/>
                </a:lnTo>
                <a:lnTo>
                  <a:pt x="3" y="148"/>
                </a:lnTo>
                <a:lnTo>
                  <a:pt x="0" y="148"/>
                </a:lnTo>
                <a:lnTo>
                  <a:pt x="2" y="144"/>
                </a:lnTo>
                <a:lnTo>
                  <a:pt x="4" y="144"/>
                </a:lnTo>
                <a:lnTo>
                  <a:pt x="7" y="144"/>
                </a:lnTo>
                <a:lnTo>
                  <a:pt x="13" y="142"/>
                </a:lnTo>
                <a:lnTo>
                  <a:pt x="22" y="139"/>
                </a:lnTo>
                <a:lnTo>
                  <a:pt x="25" y="136"/>
                </a:lnTo>
                <a:lnTo>
                  <a:pt x="28" y="133"/>
                </a:lnTo>
                <a:lnTo>
                  <a:pt x="29" y="132"/>
                </a:lnTo>
                <a:lnTo>
                  <a:pt x="33" y="130"/>
                </a:lnTo>
                <a:lnTo>
                  <a:pt x="37" y="128"/>
                </a:lnTo>
                <a:lnTo>
                  <a:pt x="40" y="124"/>
                </a:lnTo>
                <a:lnTo>
                  <a:pt x="42" y="122"/>
                </a:lnTo>
                <a:lnTo>
                  <a:pt x="43" y="122"/>
                </a:lnTo>
                <a:lnTo>
                  <a:pt x="44" y="121"/>
                </a:lnTo>
                <a:lnTo>
                  <a:pt x="48" y="114"/>
                </a:lnTo>
                <a:lnTo>
                  <a:pt x="53" y="106"/>
                </a:lnTo>
                <a:lnTo>
                  <a:pt x="53" y="105"/>
                </a:lnTo>
                <a:lnTo>
                  <a:pt x="53" y="100"/>
                </a:lnTo>
                <a:lnTo>
                  <a:pt x="50" y="94"/>
                </a:lnTo>
                <a:lnTo>
                  <a:pt x="50" y="92"/>
                </a:lnTo>
                <a:lnTo>
                  <a:pt x="52" y="84"/>
                </a:lnTo>
                <a:lnTo>
                  <a:pt x="52" y="82"/>
                </a:lnTo>
                <a:lnTo>
                  <a:pt x="57" y="73"/>
                </a:lnTo>
                <a:lnTo>
                  <a:pt x="57" y="72"/>
                </a:lnTo>
                <a:lnTo>
                  <a:pt x="60" y="70"/>
                </a:lnTo>
                <a:lnTo>
                  <a:pt x="59" y="71"/>
                </a:lnTo>
                <a:lnTo>
                  <a:pt x="63" y="64"/>
                </a:lnTo>
                <a:lnTo>
                  <a:pt x="63" y="61"/>
                </a:lnTo>
                <a:lnTo>
                  <a:pt x="68" y="53"/>
                </a:lnTo>
                <a:lnTo>
                  <a:pt x="72" y="50"/>
                </a:lnTo>
                <a:lnTo>
                  <a:pt x="74" y="48"/>
                </a:lnTo>
                <a:lnTo>
                  <a:pt x="78" y="45"/>
                </a:lnTo>
                <a:lnTo>
                  <a:pt x="87" y="42"/>
                </a:lnTo>
                <a:lnTo>
                  <a:pt x="90" y="40"/>
                </a:lnTo>
                <a:lnTo>
                  <a:pt x="97" y="35"/>
                </a:lnTo>
                <a:lnTo>
                  <a:pt x="100" y="32"/>
                </a:lnTo>
                <a:lnTo>
                  <a:pt x="103" y="28"/>
                </a:lnTo>
                <a:lnTo>
                  <a:pt x="106" y="23"/>
                </a:lnTo>
                <a:lnTo>
                  <a:pt x="108" y="14"/>
                </a:lnTo>
                <a:lnTo>
                  <a:pt x="114" y="2"/>
                </a:lnTo>
                <a:lnTo>
                  <a:pt x="115" y="1"/>
                </a:lnTo>
                <a:lnTo>
                  <a:pt x="120" y="0"/>
                </a:lnTo>
                <a:lnTo>
                  <a:pt x="124" y="4"/>
                </a:lnTo>
                <a:lnTo>
                  <a:pt x="127" y="8"/>
                </a:lnTo>
                <a:lnTo>
                  <a:pt x="133" y="12"/>
                </a:lnTo>
                <a:lnTo>
                  <a:pt x="136" y="13"/>
                </a:lnTo>
                <a:lnTo>
                  <a:pt x="143" y="11"/>
                </a:lnTo>
                <a:lnTo>
                  <a:pt x="145" y="11"/>
                </a:lnTo>
                <a:lnTo>
                  <a:pt x="149" y="11"/>
                </a:lnTo>
                <a:lnTo>
                  <a:pt x="154" y="11"/>
                </a:lnTo>
                <a:lnTo>
                  <a:pt x="156" y="10"/>
                </a:lnTo>
                <a:lnTo>
                  <a:pt x="158" y="11"/>
                </a:lnTo>
                <a:lnTo>
                  <a:pt x="160" y="13"/>
                </a:lnTo>
                <a:lnTo>
                  <a:pt x="164" y="13"/>
                </a:lnTo>
                <a:lnTo>
                  <a:pt x="165" y="13"/>
                </a:lnTo>
                <a:lnTo>
                  <a:pt x="166" y="13"/>
                </a:lnTo>
                <a:lnTo>
                  <a:pt x="171" y="14"/>
                </a:lnTo>
                <a:lnTo>
                  <a:pt x="171" y="14"/>
                </a:lnTo>
                <a:lnTo>
                  <a:pt x="171" y="15"/>
                </a:lnTo>
                <a:lnTo>
                  <a:pt x="171" y="17"/>
                </a:lnTo>
                <a:lnTo>
                  <a:pt x="174" y="19"/>
                </a:lnTo>
                <a:lnTo>
                  <a:pt x="174" y="19"/>
                </a:lnTo>
                <a:lnTo>
                  <a:pt x="175" y="21"/>
                </a:lnTo>
                <a:lnTo>
                  <a:pt x="176" y="21"/>
                </a:lnTo>
                <a:lnTo>
                  <a:pt x="177" y="22"/>
                </a:lnTo>
                <a:lnTo>
                  <a:pt x="177" y="22"/>
                </a:lnTo>
                <a:lnTo>
                  <a:pt x="176" y="22"/>
                </a:lnTo>
                <a:lnTo>
                  <a:pt x="176" y="23"/>
                </a:lnTo>
                <a:lnTo>
                  <a:pt x="177" y="25"/>
                </a:lnTo>
                <a:lnTo>
                  <a:pt x="176" y="28"/>
                </a:lnTo>
                <a:lnTo>
                  <a:pt x="177" y="30"/>
                </a:lnTo>
                <a:lnTo>
                  <a:pt x="178" y="32"/>
                </a:lnTo>
                <a:lnTo>
                  <a:pt x="177" y="35"/>
                </a:lnTo>
                <a:lnTo>
                  <a:pt x="177" y="38"/>
                </a:lnTo>
                <a:lnTo>
                  <a:pt x="177" y="39"/>
                </a:lnTo>
                <a:lnTo>
                  <a:pt x="178" y="41"/>
                </a:lnTo>
                <a:lnTo>
                  <a:pt x="179" y="42"/>
                </a:lnTo>
                <a:lnTo>
                  <a:pt x="179" y="43"/>
                </a:lnTo>
                <a:lnTo>
                  <a:pt x="178" y="44"/>
                </a:lnTo>
                <a:lnTo>
                  <a:pt x="178" y="46"/>
                </a:lnTo>
                <a:lnTo>
                  <a:pt x="178" y="49"/>
                </a:lnTo>
                <a:lnTo>
                  <a:pt x="179" y="50"/>
                </a:lnTo>
                <a:lnTo>
                  <a:pt x="179" y="52"/>
                </a:lnTo>
                <a:lnTo>
                  <a:pt x="181" y="56"/>
                </a:lnTo>
                <a:lnTo>
                  <a:pt x="184" y="59"/>
                </a:lnTo>
                <a:lnTo>
                  <a:pt x="186" y="60"/>
                </a:lnTo>
                <a:lnTo>
                  <a:pt x="186" y="60"/>
                </a:lnTo>
                <a:lnTo>
                  <a:pt x="185" y="61"/>
                </a:lnTo>
                <a:lnTo>
                  <a:pt x="184" y="63"/>
                </a:lnTo>
                <a:lnTo>
                  <a:pt x="182" y="64"/>
                </a:lnTo>
                <a:lnTo>
                  <a:pt x="184" y="66"/>
                </a:lnTo>
                <a:lnTo>
                  <a:pt x="184" y="66"/>
                </a:lnTo>
                <a:lnTo>
                  <a:pt x="182" y="66"/>
                </a:lnTo>
                <a:lnTo>
                  <a:pt x="181" y="66"/>
                </a:lnTo>
                <a:lnTo>
                  <a:pt x="177" y="66"/>
                </a:lnTo>
                <a:lnTo>
                  <a:pt x="175" y="65"/>
                </a:lnTo>
                <a:lnTo>
                  <a:pt x="174" y="66"/>
                </a:lnTo>
                <a:lnTo>
                  <a:pt x="165" y="66"/>
                </a:lnTo>
                <a:lnTo>
                  <a:pt x="161" y="66"/>
                </a:lnTo>
                <a:lnTo>
                  <a:pt x="160" y="68"/>
                </a:lnTo>
                <a:lnTo>
                  <a:pt x="159" y="68"/>
                </a:lnTo>
                <a:lnTo>
                  <a:pt x="158" y="68"/>
                </a:lnTo>
                <a:lnTo>
                  <a:pt x="157" y="68"/>
                </a:lnTo>
                <a:lnTo>
                  <a:pt x="156" y="69"/>
                </a:lnTo>
                <a:lnTo>
                  <a:pt x="157" y="71"/>
                </a:lnTo>
                <a:lnTo>
                  <a:pt x="156" y="72"/>
                </a:lnTo>
                <a:lnTo>
                  <a:pt x="156" y="73"/>
                </a:lnTo>
                <a:lnTo>
                  <a:pt x="151" y="74"/>
                </a:lnTo>
                <a:lnTo>
                  <a:pt x="149" y="75"/>
                </a:lnTo>
                <a:lnTo>
                  <a:pt x="147" y="75"/>
                </a:lnTo>
                <a:lnTo>
                  <a:pt x="146" y="74"/>
                </a:lnTo>
                <a:lnTo>
                  <a:pt x="144" y="74"/>
                </a:lnTo>
                <a:lnTo>
                  <a:pt x="143" y="75"/>
                </a:lnTo>
                <a:lnTo>
                  <a:pt x="143" y="78"/>
                </a:lnTo>
                <a:lnTo>
                  <a:pt x="143" y="79"/>
                </a:lnTo>
                <a:lnTo>
                  <a:pt x="143" y="80"/>
                </a:lnTo>
                <a:lnTo>
                  <a:pt x="144" y="80"/>
                </a:lnTo>
                <a:lnTo>
                  <a:pt x="145" y="80"/>
                </a:lnTo>
                <a:lnTo>
                  <a:pt x="144" y="82"/>
                </a:lnTo>
                <a:lnTo>
                  <a:pt x="143" y="84"/>
                </a:lnTo>
                <a:lnTo>
                  <a:pt x="144" y="85"/>
                </a:lnTo>
                <a:lnTo>
                  <a:pt x="144" y="84"/>
                </a:lnTo>
                <a:lnTo>
                  <a:pt x="145" y="84"/>
                </a:lnTo>
                <a:lnTo>
                  <a:pt x="145" y="85"/>
                </a:lnTo>
                <a:lnTo>
                  <a:pt x="146" y="86"/>
                </a:lnTo>
                <a:lnTo>
                  <a:pt x="146" y="88"/>
                </a:lnTo>
                <a:lnTo>
                  <a:pt x="146" y="89"/>
                </a:lnTo>
                <a:lnTo>
                  <a:pt x="140" y="90"/>
                </a:lnTo>
                <a:lnTo>
                  <a:pt x="133" y="94"/>
                </a:lnTo>
                <a:lnTo>
                  <a:pt x="130" y="94"/>
                </a:lnTo>
                <a:lnTo>
                  <a:pt x="127" y="96"/>
                </a:lnTo>
                <a:lnTo>
                  <a:pt x="124" y="99"/>
                </a:lnTo>
                <a:lnTo>
                  <a:pt x="123" y="100"/>
                </a:lnTo>
                <a:lnTo>
                  <a:pt x="123" y="101"/>
                </a:lnTo>
                <a:lnTo>
                  <a:pt x="121" y="103"/>
                </a:lnTo>
                <a:lnTo>
                  <a:pt x="120" y="104"/>
                </a:lnTo>
                <a:lnTo>
                  <a:pt x="118" y="105"/>
                </a:lnTo>
                <a:lnTo>
                  <a:pt x="114" y="108"/>
                </a:lnTo>
                <a:lnTo>
                  <a:pt x="109" y="109"/>
                </a:lnTo>
                <a:lnTo>
                  <a:pt x="107" y="109"/>
                </a:lnTo>
                <a:lnTo>
                  <a:pt x="105" y="109"/>
                </a:lnTo>
                <a:lnTo>
                  <a:pt x="100" y="109"/>
                </a:lnTo>
                <a:lnTo>
                  <a:pt x="100" y="110"/>
                </a:lnTo>
                <a:lnTo>
                  <a:pt x="100" y="112"/>
                </a:lnTo>
                <a:lnTo>
                  <a:pt x="99" y="113"/>
                </a:lnTo>
                <a:lnTo>
                  <a:pt x="97" y="113"/>
                </a:lnTo>
                <a:lnTo>
                  <a:pt x="96" y="112"/>
                </a:lnTo>
                <a:lnTo>
                  <a:pt x="94" y="112"/>
                </a:lnTo>
                <a:lnTo>
                  <a:pt x="91" y="112"/>
                </a:lnTo>
                <a:lnTo>
                  <a:pt x="90" y="113"/>
                </a:lnTo>
                <a:lnTo>
                  <a:pt x="89" y="115"/>
                </a:lnTo>
                <a:lnTo>
                  <a:pt x="87" y="115"/>
                </a:lnTo>
                <a:lnTo>
                  <a:pt x="85" y="118"/>
                </a:lnTo>
                <a:lnTo>
                  <a:pt x="81" y="118"/>
                </a:lnTo>
                <a:lnTo>
                  <a:pt x="76" y="122"/>
                </a:lnTo>
                <a:lnTo>
                  <a:pt x="68" y="128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18" name="Freeform 718"/>
          <p:cNvSpPr>
            <a:spLocks/>
          </p:cNvSpPr>
          <p:nvPr/>
        </p:nvSpPr>
        <p:spPr bwMode="auto">
          <a:xfrm>
            <a:off x="4030663" y="2543140"/>
            <a:ext cx="295275" cy="234950"/>
          </a:xfrm>
          <a:custGeom>
            <a:avLst/>
            <a:gdLst>
              <a:gd name="T0" fmla="*/ 57 w 186"/>
              <a:gd name="T1" fmla="*/ 148 h 148"/>
              <a:gd name="T2" fmla="*/ 23 w 186"/>
              <a:gd name="T3" fmla="*/ 148 h 148"/>
              <a:gd name="T4" fmla="*/ 0 w 186"/>
              <a:gd name="T5" fmla="*/ 148 h 148"/>
              <a:gd name="T6" fmla="*/ 7 w 186"/>
              <a:gd name="T7" fmla="*/ 144 h 148"/>
              <a:gd name="T8" fmla="*/ 25 w 186"/>
              <a:gd name="T9" fmla="*/ 136 h 148"/>
              <a:gd name="T10" fmla="*/ 33 w 186"/>
              <a:gd name="T11" fmla="*/ 130 h 148"/>
              <a:gd name="T12" fmla="*/ 42 w 186"/>
              <a:gd name="T13" fmla="*/ 122 h 148"/>
              <a:gd name="T14" fmla="*/ 48 w 186"/>
              <a:gd name="T15" fmla="*/ 114 h 148"/>
              <a:gd name="T16" fmla="*/ 53 w 186"/>
              <a:gd name="T17" fmla="*/ 100 h 148"/>
              <a:gd name="T18" fmla="*/ 52 w 186"/>
              <a:gd name="T19" fmla="*/ 84 h 148"/>
              <a:gd name="T20" fmla="*/ 57 w 186"/>
              <a:gd name="T21" fmla="*/ 72 h 148"/>
              <a:gd name="T22" fmla="*/ 63 w 186"/>
              <a:gd name="T23" fmla="*/ 64 h 148"/>
              <a:gd name="T24" fmla="*/ 72 w 186"/>
              <a:gd name="T25" fmla="*/ 50 h 148"/>
              <a:gd name="T26" fmla="*/ 87 w 186"/>
              <a:gd name="T27" fmla="*/ 42 h 148"/>
              <a:gd name="T28" fmla="*/ 100 w 186"/>
              <a:gd name="T29" fmla="*/ 32 h 148"/>
              <a:gd name="T30" fmla="*/ 108 w 186"/>
              <a:gd name="T31" fmla="*/ 14 h 148"/>
              <a:gd name="T32" fmla="*/ 120 w 186"/>
              <a:gd name="T33" fmla="*/ 0 h 148"/>
              <a:gd name="T34" fmla="*/ 133 w 186"/>
              <a:gd name="T35" fmla="*/ 12 h 148"/>
              <a:gd name="T36" fmla="*/ 145 w 186"/>
              <a:gd name="T37" fmla="*/ 11 h 148"/>
              <a:gd name="T38" fmla="*/ 156 w 186"/>
              <a:gd name="T39" fmla="*/ 10 h 148"/>
              <a:gd name="T40" fmla="*/ 164 w 186"/>
              <a:gd name="T41" fmla="*/ 13 h 148"/>
              <a:gd name="T42" fmla="*/ 171 w 186"/>
              <a:gd name="T43" fmla="*/ 14 h 148"/>
              <a:gd name="T44" fmla="*/ 171 w 186"/>
              <a:gd name="T45" fmla="*/ 17 h 148"/>
              <a:gd name="T46" fmla="*/ 175 w 186"/>
              <a:gd name="T47" fmla="*/ 21 h 148"/>
              <a:gd name="T48" fmla="*/ 177 w 186"/>
              <a:gd name="T49" fmla="*/ 22 h 148"/>
              <a:gd name="T50" fmla="*/ 177 w 186"/>
              <a:gd name="T51" fmla="*/ 25 h 148"/>
              <a:gd name="T52" fmla="*/ 178 w 186"/>
              <a:gd name="T53" fmla="*/ 32 h 148"/>
              <a:gd name="T54" fmla="*/ 177 w 186"/>
              <a:gd name="T55" fmla="*/ 39 h 148"/>
              <a:gd name="T56" fmla="*/ 179 w 186"/>
              <a:gd name="T57" fmla="*/ 43 h 148"/>
              <a:gd name="T58" fmla="*/ 178 w 186"/>
              <a:gd name="T59" fmla="*/ 49 h 148"/>
              <a:gd name="T60" fmla="*/ 181 w 186"/>
              <a:gd name="T61" fmla="*/ 56 h 148"/>
              <a:gd name="T62" fmla="*/ 186 w 186"/>
              <a:gd name="T63" fmla="*/ 60 h 148"/>
              <a:gd name="T64" fmla="*/ 182 w 186"/>
              <a:gd name="T65" fmla="*/ 64 h 148"/>
              <a:gd name="T66" fmla="*/ 182 w 186"/>
              <a:gd name="T67" fmla="*/ 66 h 148"/>
              <a:gd name="T68" fmla="*/ 175 w 186"/>
              <a:gd name="T69" fmla="*/ 65 h 148"/>
              <a:gd name="T70" fmla="*/ 161 w 186"/>
              <a:gd name="T71" fmla="*/ 66 h 148"/>
              <a:gd name="T72" fmla="*/ 158 w 186"/>
              <a:gd name="T73" fmla="*/ 68 h 148"/>
              <a:gd name="T74" fmla="*/ 157 w 186"/>
              <a:gd name="T75" fmla="*/ 71 h 148"/>
              <a:gd name="T76" fmla="*/ 151 w 186"/>
              <a:gd name="T77" fmla="*/ 74 h 148"/>
              <a:gd name="T78" fmla="*/ 146 w 186"/>
              <a:gd name="T79" fmla="*/ 74 h 148"/>
              <a:gd name="T80" fmla="*/ 143 w 186"/>
              <a:gd name="T81" fmla="*/ 78 h 148"/>
              <a:gd name="T82" fmla="*/ 144 w 186"/>
              <a:gd name="T83" fmla="*/ 80 h 148"/>
              <a:gd name="T84" fmla="*/ 143 w 186"/>
              <a:gd name="T85" fmla="*/ 84 h 148"/>
              <a:gd name="T86" fmla="*/ 145 w 186"/>
              <a:gd name="T87" fmla="*/ 84 h 148"/>
              <a:gd name="T88" fmla="*/ 146 w 186"/>
              <a:gd name="T89" fmla="*/ 88 h 148"/>
              <a:gd name="T90" fmla="*/ 133 w 186"/>
              <a:gd name="T91" fmla="*/ 94 h 148"/>
              <a:gd name="T92" fmla="*/ 124 w 186"/>
              <a:gd name="T93" fmla="*/ 99 h 148"/>
              <a:gd name="T94" fmla="*/ 121 w 186"/>
              <a:gd name="T95" fmla="*/ 103 h 148"/>
              <a:gd name="T96" fmla="*/ 114 w 186"/>
              <a:gd name="T97" fmla="*/ 108 h 148"/>
              <a:gd name="T98" fmla="*/ 105 w 186"/>
              <a:gd name="T99" fmla="*/ 109 h 148"/>
              <a:gd name="T100" fmla="*/ 100 w 186"/>
              <a:gd name="T101" fmla="*/ 112 h 148"/>
              <a:gd name="T102" fmla="*/ 96 w 186"/>
              <a:gd name="T103" fmla="*/ 112 h 148"/>
              <a:gd name="T104" fmla="*/ 90 w 186"/>
              <a:gd name="T105" fmla="*/ 113 h 148"/>
              <a:gd name="T106" fmla="*/ 85 w 186"/>
              <a:gd name="T107" fmla="*/ 118 h 148"/>
              <a:gd name="T108" fmla="*/ 68 w 186"/>
              <a:gd name="T109" fmla="*/ 128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86" h="148">
                <a:moveTo>
                  <a:pt x="68" y="128"/>
                </a:moveTo>
                <a:lnTo>
                  <a:pt x="68" y="148"/>
                </a:lnTo>
                <a:lnTo>
                  <a:pt x="57" y="148"/>
                </a:lnTo>
                <a:lnTo>
                  <a:pt x="45" y="148"/>
                </a:lnTo>
                <a:lnTo>
                  <a:pt x="34" y="148"/>
                </a:lnTo>
                <a:lnTo>
                  <a:pt x="23" y="148"/>
                </a:lnTo>
                <a:lnTo>
                  <a:pt x="12" y="148"/>
                </a:lnTo>
                <a:lnTo>
                  <a:pt x="3" y="148"/>
                </a:lnTo>
                <a:lnTo>
                  <a:pt x="0" y="148"/>
                </a:lnTo>
                <a:lnTo>
                  <a:pt x="2" y="144"/>
                </a:lnTo>
                <a:lnTo>
                  <a:pt x="4" y="144"/>
                </a:lnTo>
                <a:lnTo>
                  <a:pt x="7" y="144"/>
                </a:lnTo>
                <a:lnTo>
                  <a:pt x="13" y="142"/>
                </a:lnTo>
                <a:lnTo>
                  <a:pt x="22" y="139"/>
                </a:lnTo>
                <a:lnTo>
                  <a:pt x="25" y="136"/>
                </a:lnTo>
                <a:lnTo>
                  <a:pt x="28" y="133"/>
                </a:lnTo>
                <a:lnTo>
                  <a:pt x="29" y="132"/>
                </a:lnTo>
                <a:lnTo>
                  <a:pt x="33" y="130"/>
                </a:lnTo>
                <a:lnTo>
                  <a:pt x="37" y="128"/>
                </a:lnTo>
                <a:lnTo>
                  <a:pt x="40" y="124"/>
                </a:lnTo>
                <a:lnTo>
                  <a:pt x="42" y="122"/>
                </a:lnTo>
                <a:lnTo>
                  <a:pt x="43" y="122"/>
                </a:lnTo>
                <a:lnTo>
                  <a:pt x="44" y="121"/>
                </a:lnTo>
                <a:lnTo>
                  <a:pt x="48" y="114"/>
                </a:lnTo>
                <a:lnTo>
                  <a:pt x="53" y="106"/>
                </a:lnTo>
                <a:lnTo>
                  <a:pt x="53" y="105"/>
                </a:lnTo>
                <a:lnTo>
                  <a:pt x="53" y="100"/>
                </a:lnTo>
                <a:lnTo>
                  <a:pt x="50" y="94"/>
                </a:lnTo>
                <a:lnTo>
                  <a:pt x="50" y="92"/>
                </a:lnTo>
                <a:lnTo>
                  <a:pt x="52" y="84"/>
                </a:lnTo>
                <a:lnTo>
                  <a:pt x="52" y="82"/>
                </a:lnTo>
                <a:lnTo>
                  <a:pt x="57" y="73"/>
                </a:lnTo>
                <a:lnTo>
                  <a:pt x="57" y="72"/>
                </a:lnTo>
                <a:lnTo>
                  <a:pt x="60" y="70"/>
                </a:lnTo>
                <a:lnTo>
                  <a:pt x="59" y="71"/>
                </a:lnTo>
                <a:lnTo>
                  <a:pt x="63" y="64"/>
                </a:lnTo>
                <a:lnTo>
                  <a:pt x="63" y="61"/>
                </a:lnTo>
                <a:lnTo>
                  <a:pt x="68" y="53"/>
                </a:lnTo>
                <a:lnTo>
                  <a:pt x="72" y="50"/>
                </a:lnTo>
                <a:lnTo>
                  <a:pt x="74" y="48"/>
                </a:lnTo>
                <a:lnTo>
                  <a:pt x="78" y="45"/>
                </a:lnTo>
                <a:lnTo>
                  <a:pt x="87" y="42"/>
                </a:lnTo>
                <a:lnTo>
                  <a:pt x="90" y="40"/>
                </a:lnTo>
                <a:lnTo>
                  <a:pt x="97" y="35"/>
                </a:lnTo>
                <a:lnTo>
                  <a:pt x="100" y="32"/>
                </a:lnTo>
                <a:lnTo>
                  <a:pt x="103" y="28"/>
                </a:lnTo>
                <a:lnTo>
                  <a:pt x="106" y="23"/>
                </a:lnTo>
                <a:lnTo>
                  <a:pt x="108" y="14"/>
                </a:lnTo>
                <a:lnTo>
                  <a:pt x="114" y="2"/>
                </a:lnTo>
                <a:lnTo>
                  <a:pt x="115" y="1"/>
                </a:lnTo>
                <a:lnTo>
                  <a:pt x="120" y="0"/>
                </a:lnTo>
                <a:lnTo>
                  <a:pt x="124" y="4"/>
                </a:lnTo>
                <a:lnTo>
                  <a:pt x="127" y="8"/>
                </a:lnTo>
                <a:lnTo>
                  <a:pt x="133" y="12"/>
                </a:lnTo>
                <a:lnTo>
                  <a:pt x="136" y="13"/>
                </a:lnTo>
                <a:lnTo>
                  <a:pt x="143" y="11"/>
                </a:lnTo>
                <a:lnTo>
                  <a:pt x="145" y="11"/>
                </a:lnTo>
                <a:lnTo>
                  <a:pt x="149" y="11"/>
                </a:lnTo>
                <a:lnTo>
                  <a:pt x="154" y="11"/>
                </a:lnTo>
                <a:lnTo>
                  <a:pt x="156" y="10"/>
                </a:lnTo>
                <a:lnTo>
                  <a:pt x="158" y="11"/>
                </a:lnTo>
                <a:lnTo>
                  <a:pt x="160" y="13"/>
                </a:lnTo>
                <a:lnTo>
                  <a:pt x="164" y="13"/>
                </a:lnTo>
                <a:lnTo>
                  <a:pt x="165" y="13"/>
                </a:lnTo>
                <a:lnTo>
                  <a:pt x="166" y="13"/>
                </a:lnTo>
                <a:lnTo>
                  <a:pt x="171" y="14"/>
                </a:lnTo>
                <a:lnTo>
                  <a:pt x="171" y="14"/>
                </a:lnTo>
                <a:lnTo>
                  <a:pt x="171" y="15"/>
                </a:lnTo>
                <a:lnTo>
                  <a:pt x="171" y="17"/>
                </a:lnTo>
                <a:lnTo>
                  <a:pt x="174" y="19"/>
                </a:lnTo>
                <a:lnTo>
                  <a:pt x="174" y="19"/>
                </a:lnTo>
                <a:lnTo>
                  <a:pt x="175" y="21"/>
                </a:lnTo>
                <a:lnTo>
                  <a:pt x="176" y="21"/>
                </a:lnTo>
                <a:lnTo>
                  <a:pt x="177" y="22"/>
                </a:lnTo>
                <a:lnTo>
                  <a:pt x="177" y="22"/>
                </a:lnTo>
                <a:lnTo>
                  <a:pt x="176" y="22"/>
                </a:lnTo>
                <a:lnTo>
                  <a:pt x="176" y="23"/>
                </a:lnTo>
                <a:lnTo>
                  <a:pt x="177" y="25"/>
                </a:lnTo>
                <a:lnTo>
                  <a:pt x="176" y="28"/>
                </a:lnTo>
                <a:lnTo>
                  <a:pt x="177" y="30"/>
                </a:lnTo>
                <a:lnTo>
                  <a:pt x="178" y="32"/>
                </a:lnTo>
                <a:lnTo>
                  <a:pt x="177" y="35"/>
                </a:lnTo>
                <a:lnTo>
                  <a:pt x="177" y="38"/>
                </a:lnTo>
                <a:lnTo>
                  <a:pt x="177" y="39"/>
                </a:lnTo>
                <a:lnTo>
                  <a:pt x="178" y="41"/>
                </a:lnTo>
                <a:lnTo>
                  <a:pt x="179" y="42"/>
                </a:lnTo>
                <a:lnTo>
                  <a:pt x="179" y="43"/>
                </a:lnTo>
                <a:lnTo>
                  <a:pt x="178" y="44"/>
                </a:lnTo>
                <a:lnTo>
                  <a:pt x="178" y="46"/>
                </a:lnTo>
                <a:lnTo>
                  <a:pt x="178" y="49"/>
                </a:lnTo>
                <a:lnTo>
                  <a:pt x="179" y="50"/>
                </a:lnTo>
                <a:lnTo>
                  <a:pt x="179" y="52"/>
                </a:lnTo>
                <a:lnTo>
                  <a:pt x="181" y="56"/>
                </a:lnTo>
                <a:lnTo>
                  <a:pt x="184" y="59"/>
                </a:lnTo>
                <a:lnTo>
                  <a:pt x="186" y="60"/>
                </a:lnTo>
                <a:lnTo>
                  <a:pt x="186" y="60"/>
                </a:lnTo>
                <a:lnTo>
                  <a:pt x="185" y="61"/>
                </a:lnTo>
                <a:lnTo>
                  <a:pt x="184" y="63"/>
                </a:lnTo>
                <a:lnTo>
                  <a:pt x="182" y="64"/>
                </a:lnTo>
                <a:lnTo>
                  <a:pt x="184" y="66"/>
                </a:lnTo>
                <a:lnTo>
                  <a:pt x="184" y="66"/>
                </a:lnTo>
                <a:lnTo>
                  <a:pt x="182" y="66"/>
                </a:lnTo>
                <a:lnTo>
                  <a:pt x="181" y="66"/>
                </a:lnTo>
                <a:lnTo>
                  <a:pt x="177" y="66"/>
                </a:lnTo>
                <a:lnTo>
                  <a:pt x="175" y="65"/>
                </a:lnTo>
                <a:lnTo>
                  <a:pt x="174" y="66"/>
                </a:lnTo>
                <a:lnTo>
                  <a:pt x="165" y="66"/>
                </a:lnTo>
                <a:lnTo>
                  <a:pt x="161" y="66"/>
                </a:lnTo>
                <a:lnTo>
                  <a:pt x="160" y="68"/>
                </a:lnTo>
                <a:lnTo>
                  <a:pt x="159" y="68"/>
                </a:lnTo>
                <a:lnTo>
                  <a:pt x="158" y="68"/>
                </a:lnTo>
                <a:lnTo>
                  <a:pt x="157" y="68"/>
                </a:lnTo>
                <a:lnTo>
                  <a:pt x="156" y="69"/>
                </a:lnTo>
                <a:lnTo>
                  <a:pt x="157" y="71"/>
                </a:lnTo>
                <a:lnTo>
                  <a:pt x="156" y="72"/>
                </a:lnTo>
                <a:lnTo>
                  <a:pt x="156" y="73"/>
                </a:lnTo>
                <a:lnTo>
                  <a:pt x="151" y="74"/>
                </a:lnTo>
                <a:lnTo>
                  <a:pt x="149" y="75"/>
                </a:lnTo>
                <a:lnTo>
                  <a:pt x="147" y="75"/>
                </a:lnTo>
                <a:lnTo>
                  <a:pt x="146" y="74"/>
                </a:lnTo>
                <a:lnTo>
                  <a:pt x="144" y="74"/>
                </a:lnTo>
                <a:lnTo>
                  <a:pt x="143" y="75"/>
                </a:lnTo>
                <a:lnTo>
                  <a:pt x="143" y="78"/>
                </a:lnTo>
                <a:lnTo>
                  <a:pt x="143" y="79"/>
                </a:lnTo>
                <a:lnTo>
                  <a:pt x="143" y="80"/>
                </a:lnTo>
                <a:lnTo>
                  <a:pt x="144" y="80"/>
                </a:lnTo>
                <a:lnTo>
                  <a:pt x="145" y="80"/>
                </a:lnTo>
                <a:lnTo>
                  <a:pt x="144" y="82"/>
                </a:lnTo>
                <a:lnTo>
                  <a:pt x="143" y="84"/>
                </a:lnTo>
                <a:lnTo>
                  <a:pt x="144" y="85"/>
                </a:lnTo>
                <a:lnTo>
                  <a:pt x="144" y="84"/>
                </a:lnTo>
                <a:lnTo>
                  <a:pt x="145" y="84"/>
                </a:lnTo>
                <a:lnTo>
                  <a:pt x="145" y="85"/>
                </a:lnTo>
                <a:lnTo>
                  <a:pt x="146" y="86"/>
                </a:lnTo>
                <a:lnTo>
                  <a:pt x="146" y="88"/>
                </a:lnTo>
                <a:lnTo>
                  <a:pt x="146" y="89"/>
                </a:lnTo>
                <a:lnTo>
                  <a:pt x="140" y="90"/>
                </a:lnTo>
                <a:lnTo>
                  <a:pt x="133" y="94"/>
                </a:lnTo>
                <a:lnTo>
                  <a:pt x="130" y="94"/>
                </a:lnTo>
                <a:lnTo>
                  <a:pt x="127" y="96"/>
                </a:lnTo>
                <a:lnTo>
                  <a:pt x="124" y="99"/>
                </a:lnTo>
                <a:lnTo>
                  <a:pt x="123" y="100"/>
                </a:lnTo>
                <a:lnTo>
                  <a:pt x="123" y="101"/>
                </a:lnTo>
                <a:lnTo>
                  <a:pt x="121" y="103"/>
                </a:lnTo>
                <a:lnTo>
                  <a:pt x="120" y="104"/>
                </a:lnTo>
                <a:lnTo>
                  <a:pt x="118" y="105"/>
                </a:lnTo>
                <a:lnTo>
                  <a:pt x="114" y="108"/>
                </a:lnTo>
                <a:lnTo>
                  <a:pt x="109" y="109"/>
                </a:lnTo>
                <a:lnTo>
                  <a:pt x="107" y="109"/>
                </a:lnTo>
                <a:lnTo>
                  <a:pt x="105" y="109"/>
                </a:lnTo>
                <a:lnTo>
                  <a:pt x="100" y="109"/>
                </a:lnTo>
                <a:lnTo>
                  <a:pt x="100" y="110"/>
                </a:lnTo>
                <a:lnTo>
                  <a:pt x="100" y="112"/>
                </a:lnTo>
                <a:lnTo>
                  <a:pt x="99" y="113"/>
                </a:lnTo>
                <a:lnTo>
                  <a:pt x="97" y="113"/>
                </a:lnTo>
                <a:lnTo>
                  <a:pt x="96" y="112"/>
                </a:lnTo>
                <a:lnTo>
                  <a:pt x="94" y="112"/>
                </a:lnTo>
                <a:lnTo>
                  <a:pt x="91" y="112"/>
                </a:lnTo>
                <a:lnTo>
                  <a:pt x="90" y="113"/>
                </a:lnTo>
                <a:lnTo>
                  <a:pt x="89" y="115"/>
                </a:lnTo>
                <a:lnTo>
                  <a:pt x="87" y="115"/>
                </a:lnTo>
                <a:lnTo>
                  <a:pt x="85" y="118"/>
                </a:lnTo>
                <a:lnTo>
                  <a:pt x="81" y="118"/>
                </a:lnTo>
                <a:lnTo>
                  <a:pt x="76" y="122"/>
                </a:lnTo>
                <a:lnTo>
                  <a:pt x="68" y="128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19" name="Freeform 719"/>
          <p:cNvSpPr>
            <a:spLocks/>
          </p:cNvSpPr>
          <p:nvPr/>
        </p:nvSpPr>
        <p:spPr bwMode="auto">
          <a:xfrm>
            <a:off x="4011613" y="3287678"/>
            <a:ext cx="77787" cy="88900"/>
          </a:xfrm>
          <a:custGeom>
            <a:avLst/>
            <a:gdLst>
              <a:gd name="T0" fmla="*/ 3 w 49"/>
              <a:gd name="T1" fmla="*/ 18 h 56"/>
              <a:gd name="T2" fmla="*/ 5 w 49"/>
              <a:gd name="T3" fmla="*/ 17 h 56"/>
              <a:gd name="T4" fmla="*/ 7 w 49"/>
              <a:gd name="T5" fmla="*/ 14 h 56"/>
              <a:gd name="T6" fmla="*/ 9 w 49"/>
              <a:gd name="T7" fmla="*/ 13 h 56"/>
              <a:gd name="T8" fmla="*/ 11 w 49"/>
              <a:gd name="T9" fmla="*/ 10 h 56"/>
              <a:gd name="T10" fmla="*/ 14 w 49"/>
              <a:gd name="T11" fmla="*/ 6 h 56"/>
              <a:gd name="T12" fmla="*/ 15 w 49"/>
              <a:gd name="T13" fmla="*/ 3 h 56"/>
              <a:gd name="T14" fmla="*/ 18 w 49"/>
              <a:gd name="T15" fmla="*/ 4 h 56"/>
              <a:gd name="T16" fmla="*/ 20 w 49"/>
              <a:gd name="T17" fmla="*/ 3 h 56"/>
              <a:gd name="T18" fmla="*/ 22 w 49"/>
              <a:gd name="T19" fmla="*/ 0 h 56"/>
              <a:gd name="T20" fmla="*/ 34 w 49"/>
              <a:gd name="T21" fmla="*/ 1 h 56"/>
              <a:gd name="T22" fmla="*/ 37 w 49"/>
              <a:gd name="T23" fmla="*/ 5 h 56"/>
              <a:gd name="T24" fmla="*/ 39 w 49"/>
              <a:gd name="T25" fmla="*/ 7 h 56"/>
              <a:gd name="T26" fmla="*/ 40 w 49"/>
              <a:gd name="T27" fmla="*/ 9 h 56"/>
              <a:gd name="T28" fmla="*/ 39 w 49"/>
              <a:gd name="T29" fmla="*/ 11 h 56"/>
              <a:gd name="T30" fmla="*/ 42 w 49"/>
              <a:gd name="T31" fmla="*/ 13 h 56"/>
              <a:gd name="T32" fmla="*/ 42 w 49"/>
              <a:gd name="T33" fmla="*/ 14 h 56"/>
              <a:gd name="T34" fmla="*/ 42 w 49"/>
              <a:gd name="T35" fmla="*/ 16 h 56"/>
              <a:gd name="T36" fmla="*/ 42 w 49"/>
              <a:gd name="T37" fmla="*/ 18 h 56"/>
              <a:gd name="T38" fmla="*/ 45 w 49"/>
              <a:gd name="T39" fmla="*/ 20 h 56"/>
              <a:gd name="T40" fmla="*/ 45 w 49"/>
              <a:gd name="T41" fmla="*/ 25 h 56"/>
              <a:gd name="T42" fmla="*/ 42 w 49"/>
              <a:gd name="T43" fmla="*/ 28 h 56"/>
              <a:gd name="T44" fmla="*/ 41 w 49"/>
              <a:gd name="T45" fmla="*/ 31 h 56"/>
              <a:gd name="T46" fmla="*/ 47 w 49"/>
              <a:gd name="T47" fmla="*/ 28 h 56"/>
              <a:gd name="T48" fmla="*/ 48 w 49"/>
              <a:gd name="T49" fmla="*/ 29 h 56"/>
              <a:gd name="T50" fmla="*/ 48 w 49"/>
              <a:gd name="T51" fmla="*/ 31 h 56"/>
              <a:gd name="T52" fmla="*/ 49 w 49"/>
              <a:gd name="T53" fmla="*/ 34 h 56"/>
              <a:gd name="T54" fmla="*/ 45 w 49"/>
              <a:gd name="T55" fmla="*/ 36 h 56"/>
              <a:gd name="T56" fmla="*/ 44 w 49"/>
              <a:gd name="T57" fmla="*/ 41 h 56"/>
              <a:gd name="T58" fmla="*/ 42 w 49"/>
              <a:gd name="T59" fmla="*/ 43 h 56"/>
              <a:gd name="T60" fmla="*/ 39 w 49"/>
              <a:gd name="T61" fmla="*/ 46 h 56"/>
              <a:gd name="T62" fmla="*/ 36 w 49"/>
              <a:gd name="T63" fmla="*/ 49 h 56"/>
              <a:gd name="T64" fmla="*/ 32 w 49"/>
              <a:gd name="T65" fmla="*/ 50 h 56"/>
              <a:gd name="T66" fmla="*/ 32 w 49"/>
              <a:gd name="T67" fmla="*/ 53 h 56"/>
              <a:gd name="T68" fmla="*/ 31 w 49"/>
              <a:gd name="T69" fmla="*/ 55 h 56"/>
              <a:gd name="T70" fmla="*/ 29 w 49"/>
              <a:gd name="T71" fmla="*/ 56 h 56"/>
              <a:gd name="T72" fmla="*/ 18 w 49"/>
              <a:gd name="T73" fmla="*/ 49 h 56"/>
              <a:gd name="T74" fmla="*/ 15 w 49"/>
              <a:gd name="T75" fmla="*/ 47 h 56"/>
              <a:gd name="T76" fmla="*/ 9 w 49"/>
              <a:gd name="T77" fmla="*/ 41 h 56"/>
              <a:gd name="T78" fmla="*/ 7 w 49"/>
              <a:gd name="T79" fmla="*/ 39 h 56"/>
              <a:gd name="T80" fmla="*/ 6 w 49"/>
              <a:gd name="T81" fmla="*/ 37 h 56"/>
              <a:gd name="T82" fmla="*/ 5 w 49"/>
              <a:gd name="T83" fmla="*/ 35 h 56"/>
              <a:gd name="T84" fmla="*/ 1 w 49"/>
              <a:gd name="T85" fmla="*/ 31 h 56"/>
              <a:gd name="T86" fmla="*/ 3 w 49"/>
              <a:gd name="T87" fmla="*/ 29 h 56"/>
              <a:gd name="T88" fmla="*/ 4 w 49"/>
              <a:gd name="T89" fmla="*/ 29 h 56"/>
              <a:gd name="T90" fmla="*/ 4 w 49"/>
              <a:gd name="T91" fmla="*/ 28 h 56"/>
              <a:gd name="T92" fmla="*/ 1 w 49"/>
              <a:gd name="T93" fmla="*/ 27 h 56"/>
              <a:gd name="T94" fmla="*/ 1 w 49"/>
              <a:gd name="T95" fmla="*/ 23 h 56"/>
              <a:gd name="T96" fmla="*/ 0 w 49"/>
              <a:gd name="T97" fmla="*/ 20 h 56"/>
              <a:gd name="T98" fmla="*/ 1 w 49"/>
              <a:gd name="T99" fmla="*/ 17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9" h="56">
                <a:moveTo>
                  <a:pt x="1" y="17"/>
                </a:moveTo>
                <a:lnTo>
                  <a:pt x="3" y="18"/>
                </a:lnTo>
                <a:lnTo>
                  <a:pt x="5" y="18"/>
                </a:lnTo>
                <a:lnTo>
                  <a:pt x="5" y="17"/>
                </a:lnTo>
                <a:lnTo>
                  <a:pt x="6" y="17"/>
                </a:lnTo>
                <a:lnTo>
                  <a:pt x="7" y="14"/>
                </a:lnTo>
                <a:lnTo>
                  <a:pt x="8" y="14"/>
                </a:lnTo>
                <a:lnTo>
                  <a:pt x="9" y="13"/>
                </a:lnTo>
                <a:lnTo>
                  <a:pt x="9" y="11"/>
                </a:lnTo>
                <a:lnTo>
                  <a:pt x="11" y="10"/>
                </a:lnTo>
                <a:lnTo>
                  <a:pt x="12" y="8"/>
                </a:lnTo>
                <a:lnTo>
                  <a:pt x="14" y="6"/>
                </a:lnTo>
                <a:lnTo>
                  <a:pt x="14" y="4"/>
                </a:lnTo>
                <a:lnTo>
                  <a:pt x="15" y="3"/>
                </a:lnTo>
                <a:lnTo>
                  <a:pt x="17" y="3"/>
                </a:lnTo>
                <a:lnTo>
                  <a:pt x="18" y="4"/>
                </a:lnTo>
                <a:lnTo>
                  <a:pt x="19" y="4"/>
                </a:lnTo>
                <a:lnTo>
                  <a:pt x="20" y="3"/>
                </a:lnTo>
                <a:lnTo>
                  <a:pt x="22" y="3"/>
                </a:lnTo>
                <a:lnTo>
                  <a:pt x="22" y="0"/>
                </a:lnTo>
                <a:lnTo>
                  <a:pt x="30" y="0"/>
                </a:lnTo>
                <a:lnTo>
                  <a:pt x="34" y="1"/>
                </a:lnTo>
                <a:lnTo>
                  <a:pt x="35" y="4"/>
                </a:lnTo>
                <a:lnTo>
                  <a:pt x="37" y="5"/>
                </a:lnTo>
                <a:lnTo>
                  <a:pt x="38" y="7"/>
                </a:lnTo>
                <a:lnTo>
                  <a:pt x="39" y="7"/>
                </a:lnTo>
                <a:lnTo>
                  <a:pt x="39" y="8"/>
                </a:lnTo>
                <a:lnTo>
                  <a:pt x="40" y="9"/>
                </a:lnTo>
                <a:lnTo>
                  <a:pt x="39" y="10"/>
                </a:lnTo>
                <a:lnTo>
                  <a:pt x="39" y="11"/>
                </a:lnTo>
                <a:lnTo>
                  <a:pt x="41" y="11"/>
                </a:lnTo>
                <a:lnTo>
                  <a:pt x="42" y="13"/>
                </a:lnTo>
                <a:lnTo>
                  <a:pt x="42" y="14"/>
                </a:lnTo>
                <a:lnTo>
                  <a:pt x="42" y="14"/>
                </a:lnTo>
                <a:lnTo>
                  <a:pt x="42" y="16"/>
                </a:lnTo>
                <a:lnTo>
                  <a:pt x="42" y="16"/>
                </a:lnTo>
                <a:lnTo>
                  <a:pt x="42" y="17"/>
                </a:lnTo>
                <a:lnTo>
                  <a:pt x="42" y="18"/>
                </a:lnTo>
                <a:lnTo>
                  <a:pt x="45" y="19"/>
                </a:lnTo>
                <a:lnTo>
                  <a:pt x="45" y="20"/>
                </a:lnTo>
                <a:lnTo>
                  <a:pt x="45" y="24"/>
                </a:lnTo>
                <a:lnTo>
                  <a:pt x="45" y="25"/>
                </a:lnTo>
                <a:lnTo>
                  <a:pt x="44" y="25"/>
                </a:lnTo>
                <a:lnTo>
                  <a:pt x="42" y="28"/>
                </a:lnTo>
                <a:lnTo>
                  <a:pt x="41" y="30"/>
                </a:lnTo>
                <a:lnTo>
                  <a:pt x="41" y="31"/>
                </a:lnTo>
                <a:lnTo>
                  <a:pt x="46" y="29"/>
                </a:lnTo>
                <a:lnTo>
                  <a:pt x="47" y="28"/>
                </a:lnTo>
                <a:lnTo>
                  <a:pt x="48" y="28"/>
                </a:lnTo>
                <a:lnTo>
                  <a:pt x="48" y="29"/>
                </a:lnTo>
                <a:lnTo>
                  <a:pt x="48" y="30"/>
                </a:lnTo>
                <a:lnTo>
                  <a:pt x="48" y="31"/>
                </a:lnTo>
                <a:lnTo>
                  <a:pt x="49" y="33"/>
                </a:lnTo>
                <a:lnTo>
                  <a:pt x="49" y="34"/>
                </a:lnTo>
                <a:lnTo>
                  <a:pt x="46" y="34"/>
                </a:lnTo>
                <a:lnTo>
                  <a:pt x="45" y="36"/>
                </a:lnTo>
                <a:lnTo>
                  <a:pt x="44" y="36"/>
                </a:lnTo>
                <a:lnTo>
                  <a:pt x="44" y="41"/>
                </a:lnTo>
                <a:lnTo>
                  <a:pt x="42" y="41"/>
                </a:lnTo>
                <a:lnTo>
                  <a:pt x="42" y="43"/>
                </a:lnTo>
                <a:lnTo>
                  <a:pt x="40" y="44"/>
                </a:lnTo>
                <a:lnTo>
                  <a:pt x="39" y="46"/>
                </a:lnTo>
                <a:lnTo>
                  <a:pt x="38" y="46"/>
                </a:lnTo>
                <a:lnTo>
                  <a:pt x="36" y="49"/>
                </a:lnTo>
                <a:lnTo>
                  <a:pt x="35" y="50"/>
                </a:lnTo>
                <a:lnTo>
                  <a:pt x="32" y="50"/>
                </a:lnTo>
                <a:lnTo>
                  <a:pt x="32" y="50"/>
                </a:lnTo>
                <a:lnTo>
                  <a:pt x="32" y="53"/>
                </a:lnTo>
                <a:lnTo>
                  <a:pt x="31" y="53"/>
                </a:lnTo>
                <a:lnTo>
                  <a:pt x="31" y="55"/>
                </a:lnTo>
                <a:lnTo>
                  <a:pt x="30" y="56"/>
                </a:lnTo>
                <a:lnTo>
                  <a:pt x="29" y="56"/>
                </a:lnTo>
                <a:lnTo>
                  <a:pt x="26" y="55"/>
                </a:lnTo>
                <a:lnTo>
                  <a:pt x="18" y="49"/>
                </a:lnTo>
                <a:lnTo>
                  <a:pt x="15" y="49"/>
                </a:lnTo>
                <a:lnTo>
                  <a:pt x="15" y="47"/>
                </a:lnTo>
                <a:lnTo>
                  <a:pt x="14" y="46"/>
                </a:lnTo>
                <a:lnTo>
                  <a:pt x="9" y="41"/>
                </a:lnTo>
                <a:lnTo>
                  <a:pt x="7" y="40"/>
                </a:lnTo>
                <a:lnTo>
                  <a:pt x="7" y="39"/>
                </a:lnTo>
                <a:lnTo>
                  <a:pt x="7" y="38"/>
                </a:lnTo>
                <a:lnTo>
                  <a:pt x="6" y="37"/>
                </a:lnTo>
                <a:lnTo>
                  <a:pt x="6" y="36"/>
                </a:lnTo>
                <a:lnTo>
                  <a:pt x="5" y="35"/>
                </a:lnTo>
                <a:lnTo>
                  <a:pt x="3" y="34"/>
                </a:lnTo>
                <a:lnTo>
                  <a:pt x="1" y="31"/>
                </a:lnTo>
                <a:lnTo>
                  <a:pt x="1" y="29"/>
                </a:lnTo>
                <a:lnTo>
                  <a:pt x="3" y="29"/>
                </a:lnTo>
                <a:lnTo>
                  <a:pt x="3" y="29"/>
                </a:lnTo>
                <a:lnTo>
                  <a:pt x="4" y="29"/>
                </a:lnTo>
                <a:lnTo>
                  <a:pt x="4" y="29"/>
                </a:lnTo>
                <a:lnTo>
                  <a:pt x="4" y="28"/>
                </a:lnTo>
                <a:lnTo>
                  <a:pt x="3" y="28"/>
                </a:lnTo>
                <a:lnTo>
                  <a:pt x="1" y="27"/>
                </a:lnTo>
                <a:lnTo>
                  <a:pt x="1" y="24"/>
                </a:lnTo>
                <a:lnTo>
                  <a:pt x="1" y="23"/>
                </a:lnTo>
                <a:lnTo>
                  <a:pt x="1" y="21"/>
                </a:lnTo>
                <a:lnTo>
                  <a:pt x="0" y="20"/>
                </a:lnTo>
                <a:lnTo>
                  <a:pt x="0" y="19"/>
                </a:lnTo>
                <a:lnTo>
                  <a:pt x="1" y="17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20" name="Freeform 720"/>
          <p:cNvSpPr>
            <a:spLocks/>
          </p:cNvSpPr>
          <p:nvPr/>
        </p:nvSpPr>
        <p:spPr bwMode="auto">
          <a:xfrm>
            <a:off x="4011613" y="3287678"/>
            <a:ext cx="77787" cy="88900"/>
          </a:xfrm>
          <a:custGeom>
            <a:avLst/>
            <a:gdLst>
              <a:gd name="T0" fmla="*/ 3 w 49"/>
              <a:gd name="T1" fmla="*/ 18 h 56"/>
              <a:gd name="T2" fmla="*/ 5 w 49"/>
              <a:gd name="T3" fmla="*/ 17 h 56"/>
              <a:gd name="T4" fmla="*/ 7 w 49"/>
              <a:gd name="T5" fmla="*/ 14 h 56"/>
              <a:gd name="T6" fmla="*/ 9 w 49"/>
              <a:gd name="T7" fmla="*/ 13 h 56"/>
              <a:gd name="T8" fmla="*/ 11 w 49"/>
              <a:gd name="T9" fmla="*/ 10 h 56"/>
              <a:gd name="T10" fmla="*/ 14 w 49"/>
              <a:gd name="T11" fmla="*/ 6 h 56"/>
              <a:gd name="T12" fmla="*/ 15 w 49"/>
              <a:gd name="T13" fmla="*/ 3 h 56"/>
              <a:gd name="T14" fmla="*/ 18 w 49"/>
              <a:gd name="T15" fmla="*/ 4 h 56"/>
              <a:gd name="T16" fmla="*/ 20 w 49"/>
              <a:gd name="T17" fmla="*/ 3 h 56"/>
              <a:gd name="T18" fmla="*/ 22 w 49"/>
              <a:gd name="T19" fmla="*/ 0 h 56"/>
              <a:gd name="T20" fmla="*/ 34 w 49"/>
              <a:gd name="T21" fmla="*/ 1 h 56"/>
              <a:gd name="T22" fmla="*/ 37 w 49"/>
              <a:gd name="T23" fmla="*/ 5 h 56"/>
              <a:gd name="T24" fmla="*/ 39 w 49"/>
              <a:gd name="T25" fmla="*/ 7 h 56"/>
              <a:gd name="T26" fmla="*/ 40 w 49"/>
              <a:gd name="T27" fmla="*/ 9 h 56"/>
              <a:gd name="T28" fmla="*/ 39 w 49"/>
              <a:gd name="T29" fmla="*/ 11 h 56"/>
              <a:gd name="T30" fmla="*/ 42 w 49"/>
              <a:gd name="T31" fmla="*/ 13 h 56"/>
              <a:gd name="T32" fmla="*/ 42 w 49"/>
              <a:gd name="T33" fmla="*/ 14 h 56"/>
              <a:gd name="T34" fmla="*/ 42 w 49"/>
              <a:gd name="T35" fmla="*/ 16 h 56"/>
              <a:gd name="T36" fmla="*/ 42 w 49"/>
              <a:gd name="T37" fmla="*/ 18 h 56"/>
              <a:gd name="T38" fmla="*/ 45 w 49"/>
              <a:gd name="T39" fmla="*/ 20 h 56"/>
              <a:gd name="T40" fmla="*/ 45 w 49"/>
              <a:gd name="T41" fmla="*/ 25 h 56"/>
              <a:gd name="T42" fmla="*/ 42 w 49"/>
              <a:gd name="T43" fmla="*/ 28 h 56"/>
              <a:gd name="T44" fmla="*/ 41 w 49"/>
              <a:gd name="T45" fmla="*/ 31 h 56"/>
              <a:gd name="T46" fmla="*/ 47 w 49"/>
              <a:gd name="T47" fmla="*/ 28 h 56"/>
              <a:gd name="T48" fmla="*/ 48 w 49"/>
              <a:gd name="T49" fmla="*/ 29 h 56"/>
              <a:gd name="T50" fmla="*/ 48 w 49"/>
              <a:gd name="T51" fmla="*/ 31 h 56"/>
              <a:gd name="T52" fmla="*/ 49 w 49"/>
              <a:gd name="T53" fmla="*/ 34 h 56"/>
              <a:gd name="T54" fmla="*/ 45 w 49"/>
              <a:gd name="T55" fmla="*/ 36 h 56"/>
              <a:gd name="T56" fmla="*/ 44 w 49"/>
              <a:gd name="T57" fmla="*/ 41 h 56"/>
              <a:gd name="T58" fmla="*/ 42 w 49"/>
              <a:gd name="T59" fmla="*/ 43 h 56"/>
              <a:gd name="T60" fmla="*/ 39 w 49"/>
              <a:gd name="T61" fmla="*/ 46 h 56"/>
              <a:gd name="T62" fmla="*/ 36 w 49"/>
              <a:gd name="T63" fmla="*/ 49 h 56"/>
              <a:gd name="T64" fmla="*/ 32 w 49"/>
              <a:gd name="T65" fmla="*/ 50 h 56"/>
              <a:gd name="T66" fmla="*/ 32 w 49"/>
              <a:gd name="T67" fmla="*/ 53 h 56"/>
              <a:gd name="T68" fmla="*/ 31 w 49"/>
              <a:gd name="T69" fmla="*/ 55 h 56"/>
              <a:gd name="T70" fmla="*/ 29 w 49"/>
              <a:gd name="T71" fmla="*/ 56 h 56"/>
              <a:gd name="T72" fmla="*/ 18 w 49"/>
              <a:gd name="T73" fmla="*/ 49 h 56"/>
              <a:gd name="T74" fmla="*/ 15 w 49"/>
              <a:gd name="T75" fmla="*/ 47 h 56"/>
              <a:gd name="T76" fmla="*/ 9 w 49"/>
              <a:gd name="T77" fmla="*/ 41 h 56"/>
              <a:gd name="T78" fmla="*/ 7 w 49"/>
              <a:gd name="T79" fmla="*/ 39 h 56"/>
              <a:gd name="T80" fmla="*/ 6 w 49"/>
              <a:gd name="T81" fmla="*/ 37 h 56"/>
              <a:gd name="T82" fmla="*/ 5 w 49"/>
              <a:gd name="T83" fmla="*/ 35 h 56"/>
              <a:gd name="T84" fmla="*/ 1 w 49"/>
              <a:gd name="T85" fmla="*/ 31 h 56"/>
              <a:gd name="T86" fmla="*/ 3 w 49"/>
              <a:gd name="T87" fmla="*/ 29 h 56"/>
              <a:gd name="T88" fmla="*/ 4 w 49"/>
              <a:gd name="T89" fmla="*/ 29 h 56"/>
              <a:gd name="T90" fmla="*/ 4 w 49"/>
              <a:gd name="T91" fmla="*/ 28 h 56"/>
              <a:gd name="T92" fmla="*/ 1 w 49"/>
              <a:gd name="T93" fmla="*/ 27 h 56"/>
              <a:gd name="T94" fmla="*/ 1 w 49"/>
              <a:gd name="T95" fmla="*/ 23 h 56"/>
              <a:gd name="T96" fmla="*/ 0 w 49"/>
              <a:gd name="T97" fmla="*/ 20 h 56"/>
              <a:gd name="T98" fmla="*/ 1 w 49"/>
              <a:gd name="T99" fmla="*/ 17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9" h="56">
                <a:moveTo>
                  <a:pt x="1" y="17"/>
                </a:moveTo>
                <a:lnTo>
                  <a:pt x="3" y="18"/>
                </a:lnTo>
                <a:lnTo>
                  <a:pt x="5" y="18"/>
                </a:lnTo>
                <a:lnTo>
                  <a:pt x="5" y="17"/>
                </a:lnTo>
                <a:lnTo>
                  <a:pt x="6" y="17"/>
                </a:lnTo>
                <a:lnTo>
                  <a:pt x="7" y="14"/>
                </a:lnTo>
                <a:lnTo>
                  <a:pt x="8" y="14"/>
                </a:lnTo>
                <a:lnTo>
                  <a:pt x="9" y="13"/>
                </a:lnTo>
                <a:lnTo>
                  <a:pt x="9" y="11"/>
                </a:lnTo>
                <a:lnTo>
                  <a:pt x="11" y="10"/>
                </a:lnTo>
                <a:lnTo>
                  <a:pt x="12" y="8"/>
                </a:lnTo>
                <a:lnTo>
                  <a:pt x="14" y="6"/>
                </a:lnTo>
                <a:lnTo>
                  <a:pt x="14" y="4"/>
                </a:lnTo>
                <a:lnTo>
                  <a:pt x="15" y="3"/>
                </a:lnTo>
                <a:lnTo>
                  <a:pt x="17" y="3"/>
                </a:lnTo>
                <a:lnTo>
                  <a:pt x="18" y="4"/>
                </a:lnTo>
                <a:lnTo>
                  <a:pt x="19" y="4"/>
                </a:lnTo>
                <a:lnTo>
                  <a:pt x="20" y="3"/>
                </a:lnTo>
                <a:lnTo>
                  <a:pt x="22" y="3"/>
                </a:lnTo>
                <a:lnTo>
                  <a:pt x="22" y="0"/>
                </a:lnTo>
                <a:lnTo>
                  <a:pt x="30" y="0"/>
                </a:lnTo>
                <a:lnTo>
                  <a:pt x="34" y="1"/>
                </a:lnTo>
                <a:lnTo>
                  <a:pt x="35" y="4"/>
                </a:lnTo>
                <a:lnTo>
                  <a:pt x="37" y="5"/>
                </a:lnTo>
                <a:lnTo>
                  <a:pt x="38" y="7"/>
                </a:lnTo>
                <a:lnTo>
                  <a:pt x="39" y="7"/>
                </a:lnTo>
                <a:lnTo>
                  <a:pt x="39" y="8"/>
                </a:lnTo>
                <a:lnTo>
                  <a:pt x="40" y="9"/>
                </a:lnTo>
                <a:lnTo>
                  <a:pt x="39" y="10"/>
                </a:lnTo>
                <a:lnTo>
                  <a:pt x="39" y="11"/>
                </a:lnTo>
                <a:lnTo>
                  <a:pt x="41" y="11"/>
                </a:lnTo>
                <a:lnTo>
                  <a:pt x="42" y="13"/>
                </a:lnTo>
                <a:lnTo>
                  <a:pt x="42" y="14"/>
                </a:lnTo>
                <a:lnTo>
                  <a:pt x="42" y="14"/>
                </a:lnTo>
                <a:lnTo>
                  <a:pt x="42" y="16"/>
                </a:lnTo>
                <a:lnTo>
                  <a:pt x="42" y="16"/>
                </a:lnTo>
                <a:lnTo>
                  <a:pt x="42" y="17"/>
                </a:lnTo>
                <a:lnTo>
                  <a:pt x="42" y="18"/>
                </a:lnTo>
                <a:lnTo>
                  <a:pt x="45" y="19"/>
                </a:lnTo>
                <a:lnTo>
                  <a:pt x="45" y="20"/>
                </a:lnTo>
                <a:lnTo>
                  <a:pt x="45" y="24"/>
                </a:lnTo>
                <a:lnTo>
                  <a:pt x="45" y="25"/>
                </a:lnTo>
                <a:lnTo>
                  <a:pt x="44" y="25"/>
                </a:lnTo>
                <a:lnTo>
                  <a:pt x="42" y="28"/>
                </a:lnTo>
                <a:lnTo>
                  <a:pt x="41" y="30"/>
                </a:lnTo>
                <a:lnTo>
                  <a:pt x="41" y="31"/>
                </a:lnTo>
                <a:lnTo>
                  <a:pt x="46" y="29"/>
                </a:lnTo>
                <a:lnTo>
                  <a:pt x="47" y="28"/>
                </a:lnTo>
                <a:lnTo>
                  <a:pt x="48" y="28"/>
                </a:lnTo>
                <a:lnTo>
                  <a:pt x="48" y="29"/>
                </a:lnTo>
                <a:lnTo>
                  <a:pt x="48" y="30"/>
                </a:lnTo>
                <a:lnTo>
                  <a:pt x="48" y="31"/>
                </a:lnTo>
                <a:lnTo>
                  <a:pt x="49" y="33"/>
                </a:lnTo>
                <a:lnTo>
                  <a:pt x="49" y="34"/>
                </a:lnTo>
                <a:lnTo>
                  <a:pt x="46" y="34"/>
                </a:lnTo>
                <a:lnTo>
                  <a:pt x="45" y="36"/>
                </a:lnTo>
                <a:lnTo>
                  <a:pt x="44" y="36"/>
                </a:lnTo>
                <a:lnTo>
                  <a:pt x="44" y="41"/>
                </a:lnTo>
                <a:lnTo>
                  <a:pt x="42" y="41"/>
                </a:lnTo>
                <a:lnTo>
                  <a:pt x="42" y="43"/>
                </a:lnTo>
                <a:lnTo>
                  <a:pt x="40" y="44"/>
                </a:lnTo>
                <a:lnTo>
                  <a:pt x="39" y="46"/>
                </a:lnTo>
                <a:lnTo>
                  <a:pt x="38" y="46"/>
                </a:lnTo>
                <a:lnTo>
                  <a:pt x="36" y="49"/>
                </a:lnTo>
                <a:lnTo>
                  <a:pt x="35" y="50"/>
                </a:lnTo>
                <a:lnTo>
                  <a:pt x="32" y="50"/>
                </a:lnTo>
                <a:lnTo>
                  <a:pt x="32" y="50"/>
                </a:lnTo>
                <a:lnTo>
                  <a:pt x="32" y="53"/>
                </a:lnTo>
                <a:lnTo>
                  <a:pt x="31" y="53"/>
                </a:lnTo>
                <a:lnTo>
                  <a:pt x="31" y="55"/>
                </a:lnTo>
                <a:lnTo>
                  <a:pt x="30" y="56"/>
                </a:lnTo>
                <a:lnTo>
                  <a:pt x="29" y="56"/>
                </a:lnTo>
                <a:lnTo>
                  <a:pt x="26" y="55"/>
                </a:lnTo>
                <a:lnTo>
                  <a:pt x="18" y="49"/>
                </a:lnTo>
                <a:lnTo>
                  <a:pt x="15" y="49"/>
                </a:lnTo>
                <a:lnTo>
                  <a:pt x="15" y="47"/>
                </a:lnTo>
                <a:lnTo>
                  <a:pt x="14" y="46"/>
                </a:lnTo>
                <a:lnTo>
                  <a:pt x="9" y="41"/>
                </a:lnTo>
                <a:lnTo>
                  <a:pt x="7" y="40"/>
                </a:lnTo>
                <a:lnTo>
                  <a:pt x="7" y="39"/>
                </a:lnTo>
                <a:lnTo>
                  <a:pt x="7" y="38"/>
                </a:lnTo>
                <a:lnTo>
                  <a:pt x="6" y="37"/>
                </a:lnTo>
                <a:lnTo>
                  <a:pt x="6" y="36"/>
                </a:lnTo>
                <a:lnTo>
                  <a:pt x="5" y="35"/>
                </a:lnTo>
                <a:lnTo>
                  <a:pt x="3" y="34"/>
                </a:lnTo>
                <a:lnTo>
                  <a:pt x="1" y="31"/>
                </a:lnTo>
                <a:lnTo>
                  <a:pt x="1" y="29"/>
                </a:lnTo>
                <a:lnTo>
                  <a:pt x="3" y="29"/>
                </a:lnTo>
                <a:lnTo>
                  <a:pt x="3" y="29"/>
                </a:lnTo>
                <a:lnTo>
                  <a:pt x="4" y="29"/>
                </a:lnTo>
                <a:lnTo>
                  <a:pt x="4" y="29"/>
                </a:lnTo>
                <a:lnTo>
                  <a:pt x="4" y="28"/>
                </a:lnTo>
                <a:lnTo>
                  <a:pt x="3" y="28"/>
                </a:lnTo>
                <a:lnTo>
                  <a:pt x="1" y="27"/>
                </a:lnTo>
                <a:lnTo>
                  <a:pt x="1" y="24"/>
                </a:lnTo>
                <a:lnTo>
                  <a:pt x="1" y="23"/>
                </a:lnTo>
                <a:lnTo>
                  <a:pt x="1" y="21"/>
                </a:lnTo>
                <a:lnTo>
                  <a:pt x="0" y="20"/>
                </a:lnTo>
                <a:lnTo>
                  <a:pt x="0" y="19"/>
                </a:lnTo>
                <a:lnTo>
                  <a:pt x="1" y="17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21" name="Freeform 721"/>
          <p:cNvSpPr>
            <a:spLocks/>
          </p:cNvSpPr>
          <p:nvPr/>
        </p:nvSpPr>
        <p:spPr bwMode="auto">
          <a:xfrm>
            <a:off x="4132263" y="3267040"/>
            <a:ext cx="155575" cy="185738"/>
          </a:xfrm>
          <a:custGeom>
            <a:avLst/>
            <a:gdLst>
              <a:gd name="T0" fmla="*/ 29 w 98"/>
              <a:gd name="T1" fmla="*/ 113 h 117"/>
              <a:gd name="T2" fmla="*/ 50 w 98"/>
              <a:gd name="T3" fmla="*/ 106 h 117"/>
              <a:gd name="T4" fmla="*/ 75 w 98"/>
              <a:gd name="T5" fmla="*/ 101 h 117"/>
              <a:gd name="T6" fmla="*/ 87 w 98"/>
              <a:gd name="T7" fmla="*/ 103 h 117"/>
              <a:gd name="T8" fmla="*/ 92 w 98"/>
              <a:gd name="T9" fmla="*/ 102 h 117"/>
              <a:gd name="T10" fmla="*/ 93 w 98"/>
              <a:gd name="T11" fmla="*/ 92 h 117"/>
              <a:gd name="T12" fmla="*/ 86 w 98"/>
              <a:gd name="T13" fmla="*/ 79 h 117"/>
              <a:gd name="T14" fmla="*/ 90 w 98"/>
              <a:gd name="T15" fmla="*/ 66 h 117"/>
              <a:gd name="T16" fmla="*/ 93 w 98"/>
              <a:gd name="T17" fmla="*/ 53 h 117"/>
              <a:gd name="T18" fmla="*/ 96 w 98"/>
              <a:gd name="T19" fmla="*/ 48 h 117"/>
              <a:gd name="T20" fmla="*/ 95 w 98"/>
              <a:gd name="T21" fmla="*/ 31 h 117"/>
              <a:gd name="T22" fmla="*/ 95 w 98"/>
              <a:gd name="T23" fmla="*/ 27 h 117"/>
              <a:gd name="T24" fmla="*/ 94 w 98"/>
              <a:gd name="T25" fmla="*/ 23 h 117"/>
              <a:gd name="T26" fmla="*/ 90 w 98"/>
              <a:gd name="T27" fmla="*/ 18 h 117"/>
              <a:gd name="T28" fmla="*/ 84 w 98"/>
              <a:gd name="T29" fmla="*/ 16 h 117"/>
              <a:gd name="T30" fmla="*/ 73 w 98"/>
              <a:gd name="T31" fmla="*/ 16 h 117"/>
              <a:gd name="T32" fmla="*/ 67 w 98"/>
              <a:gd name="T33" fmla="*/ 20 h 117"/>
              <a:gd name="T34" fmla="*/ 64 w 98"/>
              <a:gd name="T35" fmla="*/ 19 h 117"/>
              <a:gd name="T36" fmla="*/ 60 w 98"/>
              <a:gd name="T37" fmla="*/ 17 h 117"/>
              <a:gd name="T38" fmla="*/ 57 w 98"/>
              <a:gd name="T39" fmla="*/ 13 h 117"/>
              <a:gd name="T40" fmla="*/ 55 w 98"/>
              <a:gd name="T41" fmla="*/ 10 h 117"/>
              <a:gd name="T42" fmla="*/ 51 w 98"/>
              <a:gd name="T43" fmla="*/ 8 h 117"/>
              <a:gd name="T44" fmla="*/ 45 w 98"/>
              <a:gd name="T45" fmla="*/ 6 h 117"/>
              <a:gd name="T46" fmla="*/ 41 w 98"/>
              <a:gd name="T47" fmla="*/ 9 h 117"/>
              <a:gd name="T48" fmla="*/ 37 w 98"/>
              <a:gd name="T49" fmla="*/ 3 h 117"/>
              <a:gd name="T50" fmla="*/ 36 w 98"/>
              <a:gd name="T51" fmla="*/ 1 h 117"/>
              <a:gd name="T52" fmla="*/ 32 w 98"/>
              <a:gd name="T53" fmla="*/ 2 h 117"/>
              <a:gd name="T54" fmla="*/ 31 w 98"/>
              <a:gd name="T55" fmla="*/ 6 h 117"/>
              <a:gd name="T56" fmla="*/ 25 w 98"/>
              <a:gd name="T57" fmla="*/ 9 h 117"/>
              <a:gd name="T58" fmla="*/ 21 w 98"/>
              <a:gd name="T59" fmla="*/ 8 h 117"/>
              <a:gd name="T60" fmla="*/ 19 w 98"/>
              <a:gd name="T61" fmla="*/ 9 h 117"/>
              <a:gd name="T62" fmla="*/ 15 w 98"/>
              <a:gd name="T63" fmla="*/ 6 h 117"/>
              <a:gd name="T64" fmla="*/ 12 w 98"/>
              <a:gd name="T65" fmla="*/ 8 h 117"/>
              <a:gd name="T66" fmla="*/ 8 w 98"/>
              <a:gd name="T67" fmla="*/ 13 h 117"/>
              <a:gd name="T68" fmla="*/ 6 w 98"/>
              <a:gd name="T69" fmla="*/ 23 h 117"/>
              <a:gd name="T70" fmla="*/ 11 w 98"/>
              <a:gd name="T71" fmla="*/ 30 h 117"/>
              <a:gd name="T72" fmla="*/ 12 w 98"/>
              <a:gd name="T73" fmla="*/ 32 h 117"/>
              <a:gd name="T74" fmla="*/ 12 w 98"/>
              <a:gd name="T75" fmla="*/ 37 h 117"/>
              <a:gd name="T76" fmla="*/ 13 w 98"/>
              <a:gd name="T77" fmla="*/ 41 h 117"/>
              <a:gd name="T78" fmla="*/ 12 w 98"/>
              <a:gd name="T79" fmla="*/ 42 h 117"/>
              <a:gd name="T80" fmla="*/ 5 w 98"/>
              <a:gd name="T81" fmla="*/ 42 h 117"/>
              <a:gd name="T82" fmla="*/ 5 w 98"/>
              <a:gd name="T83" fmla="*/ 46 h 117"/>
              <a:gd name="T84" fmla="*/ 9 w 98"/>
              <a:gd name="T85" fmla="*/ 48 h 117"/>
              <a:gd name="T86" fmla="*/ 9 w 98"/>
              <a:gd name="T87" fmla="*/ 50 h 117"/>
              <a:gd name="T88" fmla="*/ 6 w 98"/>
              <a:gd name="T89" fmla="*/ 58 h 117"/>
              <a:gd name="T90" fmla="*/ 2 w 98"/>
              <a:gd name="T91" fmla="*/ 63 h 117"/>
              <a:gd name="T92" fmla="*/ 4 w 98"/>
              <a:gd name="T93" fmla="*/ 67 h 117"/>
              <a:gd name="T94" fmla="*/ 0 w 98"/>
              <a:gd name="T95" fmla="*/ 77 h 117"/>
              <a:gd name="T96" fmla="*/ 2 w 98"/>
              <a:gd name="T97" fmla="*/ 78 h 117"/>
              <a:gd name="T98" fmla="*/ 6 w 98"/>
              <a:gd name="T99" fmla="*/ 81 h 117"/>
              <a:gd name="T100" fmla="*/ 11 w 98"/>
              <a:gd name="T101" fmla="*/ 84 h 117"/>
              <a:gd name="T102" fmla="*/ 14 w 98"/>
              <a:gd name="T103" fmla="*/ 88 h 117"/>
              <a:gd name="T104" fmla="*/ 19 w 98"/>
              <a:gd name="T105" fmla="*/ 92 h 117"/>
              <a:gd name="T106" fmla="*/ 19 w 98"/>
              <a:gd name="T107" fmla="*/ 99 h 117"/>
              <a:gd name="T108" fmla="*/ 16 w 98"/>
              <a:gd name="T109" fmla="*/ 103 h 117"/>
              <a:gd name="T110" fmla="*/ 16 w 98"/>
              <a:gd name="T111" fmla="*/ 115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98" h="117">
                <a:moveTo>
                  <a:pt x="16" y="115"/>
                </a:moveTo>
                <a:lnTo>
                  <a:pt x="16" y="117"/>
                </a:lnTo>
                <a:lnTo>
                  <a:pt x="21" y="117"/>
                </a:lnTo>
                <a:lnTo>
                  <a:pt x="29" y="113"/>
                </a:lnTo>
                <a:lnTo>
                  <a:pt x="35" y="110"/>
                </a:lnTo>
                <a:lnTo>
                  <a:pt x="40" y="108"/>
                </a:lnTo>
                <a:lnTo>
                  <a:pt x="46" y="106"/>
                </a:lnTo>
                <a:lnTo>
                  <a:pt x="50" y="106"/>
                </a:lnTo>
                <a:lnTo>
                  <a:pt x="61" y="102"/>
                </a:lnTo>
                <a:lnTo>
                  <a:pt x="63" y="102"/>
                </a:lnTo>
                <a:lnTo>
                  <a:pt x="70" y="101"/>
                </a:lnTo>
                <a:lnTo>
                  <a:pt x="75" y="101"/>
                </a:lnTo>
                <a:lnTo>
                  <a:pt x="80" y="103"/>
                </a:lnTo>
                <a:lnTo>
                  <a:pt x="85" y="104"/>
                </a:lnTo>
                <a:lnTo>
                  <a:pt x="86" y="104"/>
                </a:lnTo>
                <a:lnTo>
                  <a:pt x="87" y="103"/>
                </a:lnTo>
                <a:lnTo>
                  <a:pt x="89" y="102"/>
                </a:lnTo>
                <a:lnTo>
                  <a:pt x="90" y="101"/>
                </a:lnTo>
                <a:lnTo>
                  <a:pt x="91" y="102"/>
                </a:lnTo>
                <a:lnTo>
                  <a:pt x="92" y="102"/>
                </a:lnTo>
                <a:lnTo>
                  <a:pt x="94" y="102"/>
                </a:lnTo>
                <a:lnTo>
                  <a:pt x="94" y="97"/>
                </a:lnTo>
                <a:lnTo>
                  <a:pt x="93" y="93"/>
                </a:lnTo>
                <a:lnTo>
                  <a:pt x="93" y="92"/>
                </a:lnTo>
                <a:lnTo>
                  <a:pt x="91" y="92"/>
                </a:lnTo>
                <a:lnTo>
                  <a:pt x="90" y="90"/>
                </a:lnTo>
                <a:lnTo>
                  <a:pt x="89" y="86"/>
                </a:lnTo>
                <a:lnTo>
                  <a:pt x="86" y="79"/>
                </a:lnTo>
                <a:lnTo>
                  <a:pt x="86" y="76"/>
                </a:lnTo>
                <a:lnTo>
                  <a:pt x="86" y="70"/>
                </a:lnTo>
                <a:lnTo>
                  <a:pt x="87" y="68"/>
                </a:lnTo>
                <a:lnTo>
                  <a:pt x="90" y="66"/>
                </a:lnTo>
                <a:lnTo>
                  <a:pt x="91" y="63"/>
                </a:lnTo>
                <a:lnTo>
                  <a:pt x="91" y="60"/>
                </a:lnTo>
                <a:lnTo>
                  <a:pt x="91" y="58"/>
                </a:lnTo>
                <a:lnTo>
                  <a:pt x="93" y="53"/>
                </a:lnTo>
                <a:lnTo>
                  <a:pt x="94" y="50"/>
                </a:lnTo>
                <a:lnTo>
                  <a:pt x="95" y="50"/>
                </a:lnTo>
                <a:lnTo>
                  <a:pt x="95" y="48"/>
                </a:lnTo>
                <a:lnTo>
                  <a:pt x="96" y="48"/>
                </a:lnTo>
                <a:lnTo>
                  <a:pt x="96" y="46"/>
                </a:lnTo>
                <a:lnTo>
                  <a:pt x="98" y="46"/>
                </a:lnTo>
                <a:lnTo>
                  <a:pt x="97" y="40"/>
                </a:lnTo>
                <a:lnTo>
                  <a:pt x="95" y="31"/>
                </a:lnTo>
                <a:lnTo>
                  <a:pt x="94" y="30"/>
                </a:lnTo>
                <a:lnTo>
                  <a:pt x="93" y="30"/>
                </a:lnTo>
                <a:lnTo>
                  <a:pt x="94" y="29"/>
                </a:lnTo>
                <a:lnTo>
                  <a:pt x="95" y="27"/>
                </a:lnTo>
                <a:lnTo>
                  <a:pt x="94" y="26"/>
                </a:lnTo>
                <a:lnTo>
                  <a:pt x="95" y="24"/>
                </a:lnTo>
                <a:lnTo>
                  <a:pt x="94" y="22"/>
                </a:lnTo>
                <a:lnTo>
                  <a:pt x="94" y="23"/>
                </a:lnTo>
                <a:lnTo>
                  <a:pt x="92" y="23"/>
                </a:lnTo>
                <a:lnTo>
                  <a:pt x="91" y="22"/>
                </a:lnTo>
                <a:lnTo>
                  <a:pt x="90" y="19"/>
                </a:lnTo>
                <a:lnTo>
                  <a:pt x="90" y="18"/>
                </a:lnTo>
                <a:lnTo>
                  <a:pt x="89" y="18"/>
                </a:lnTo>
                <a:lnTo>
                  <a:pt x="86" y="14"/>
                </a:lnTo>
                <a:lnTo>
                  <a:pt x="86" y="14"/>
                </a:lnTo>
                <a:lnTo>
                  <a:pt x="84" y="16"/>
                </a:lnTo>
                <a:lnTo>
                  <a:pt x="81" y="14"/>
                </a:lnTo>
                <a:lnTo>
                  <a:pt x="80" y="14"/>
                </a:lnTo>
                <a:lnTo>
                  <a:pt x="76" y="16"/>
                </a:lnTo>
                <a:lnTo>
                  <a:pt x="73" y="16"/>
                </a:lnTo>
                <a:lnTo>
                  <a:pt x="71" y="17"/>
                </a:lnTo>
                <a:lnTo>
                  <a:pt x="69" y="18"/>
                </a:lnTo>
                <a:lnTo>
                  <a:pt x="69" y="19"/>
                </a:lnTo>
                <a:lnTo>
                  <a:pt x="67" y="20"/>
                </a:lnTo>
                <a:lnTo>
                  <a:pt x="65" y="19"/>
                </a:lnTo>
                <a:lnTo>
                  <a:pt x="64" y="18"/>
                </a:lnTo>
                <a:lnTo>
                  <a:pt x="64" y="18"/>
                </a:lnTo>
                <a:lnTo>
                  <a:pt x="64" y="19"/>
                </a:lnTo>
                <a:lnTo>
                  <a:pt x="62" y="19"/>
                </a:lnTo>
                <a:lnTo>
                  <a:pt x="62" y="19"/>
                </a:lnTo>
                <a:lnTo>
                  <a:pt x="60" y="18"/>
                </a:lnTo>
                <a:lnTo>
                  <a:pt x="60" y="17"/>
                </a:lnTo>
                <a:lnTo>
                  <a:pt x="59" y="16"/>
                </a:lnTo>
                <a:lnTo>
                  <a:pt x="57" y="16"/>
                </a:lnTo>
                <a:lnTo>
                  <a:pt x="57" y="13"/>
                </a:lnTo>
                <a:lnTo>
                  <a:pt x="57" y="13"/>
                </a:lnTo>
                <a:lnTo>
                  <a:pt x="56" y="12"/>
                </a:lnTo>
                <a:lnTo>
                  <a:pt x="55" y="10"/>
                </a:lnTo>
                <a:lnTo>
                  <a:pt x="55" y="10"/>
                </a:lnTo>
                <a:lnTo>
                  <a:pt x="55" y="10"/>
                </a:lnTo>
                <a:lnTo>
                  <a:pt x="54" y="8"/>
                </a:lnTo>
                <a:lnTo>
                  <a:pt x="54" y="8"/>
                </a:lnTo>
                <a:lnTo>
                  <a:pt x="54" y="8"/>
                </a:lnTo>
                <a:lnTo>
                  <a:pt x="51" y="8"/>
                </a:lnTo>
                <a:lnTo>
                  <a:pt x="50" y="8"/>
                </a:lnTo>
                <a:lnTo>
                  <a:pt x="49" y="6"/>
                </a:lnTo>
                <a:lnTo>
                  <a:pt x="47" y="6"/>
                </a:lnTo>
                <a:lnTo>
                  <a:pt x="45" y="6"/>
                </a:lnTo>
                <a:lnTo>
                  <a:pt x="44" y="6"/>
                </a:lnTo>
                <a:lnTo>
                  <a:pt x="43" y="8"/>
                </a:lnTo>
                <a:lnTo>
                  <a:pt x="42" y="8"/>
                </a:lnTo>
                <a:lnTo>
                  <a:pt x="41" y="9"/>
                </a:lnTo>
                <a:lnTo>
                  <a:pt x="39" y="9"/>
                </a:lnTo>
                <a:lnTo>
                  <a:pt x="39" y="8"/>
                </a:lnTo>
                <a:lnTo>
                  <a:pt x="39" y="5"/>
                </a:lnTo>
                <a:lnTo>
                  <a:pt x="37" y="3"/>
                </a:lnTo>
                <a:lnTo>
                  <a:pt x="37" y="3"/>
                </a:lnTo>
                <a:lnTo>
                  <a:pt x="37" y="1"/>
                </a:lnTo>
                <a:lnTo>
                  <a:pt x="37" y="0"/>
                </a:lnTo>
                <a:lnTo>
                  <a:pt x="36" y="1"/>
                </a:lnTo>
                <a:lnTo>
                  <a:pt x="34" y="1"/>
                </a:lnTo>
                <a:lnTo>
                  <a:pt x="34" y="3"/>
                </a:lnTo>
                <a:lnTo>
                  <a:pt x="33" y="3"/>
                </a:lnTo>
                <a:lnTo>
                  <a:pt x="32" y="2"/>
                </a:lnTo>
                <a:lnTo>
                  <a:pt x="31" y="2"/>
                </a:lnTo>
                <a:lnTo>
                  <a:pt x="31" y="2"/>
                </a:lnTo>
                <a:lnTo>
                  <a:pt x="31" y="5"/>
                </a:lnTo>
                <a:lnTo>
                  <a:pt x="31" y="6"/>
                </a:lnTo>
                <a:lnTo>
                  <a:pt x="30" y="7"/>
                </a:lnTo>
                <a:lnTo>
                  <a:pt x="26" y="7"/>
                </a:lnTo>
                <a:lnTo>
                  <a:pt x="25" y="8"/>
                </a:lnTo>
                <a:lnTo>
                  <a:pt x="25" y="9"/>
                </a:lnTo>
                <a:lnTo>
                  <a:pt x="24" y="10"/>
                </a:lnTo>
                <a:lnTo>
                  <a:pt x="23" y="10"/>
                </a:lnTo>
                <a:lnTo>
                  <a:pt x="22" y="10"/>
                </a:lnTo>
                <a:lnTo>
                  <a:pt x="21" y="8"/>
                </a:lnTo>
                <a:lnTo>
                  <a:pt x="21" y="8"/>
                </a:lnTo>
                <a:lnTo>
                  <a:pt x="20" y="9"/>
                </a:lnTo>
                <a:lnTo>
                  <a:pt x="20" y="9"/>
                </a:lnTo>
                <a:lnTo>
                  <a:pt x="19" y="9"/>
                </a:lnTo>
                <a:lnTo>
                  <a:pt x="19" y="7"/>
                </a:lnTo>
                <a:lnTo>
                  <a:pt x="17" y="6"/>
                </a:lnTo>
                <a:lnTo>
                  <a:pt x="16" y="5"/>
                </a:lnTo>
                <a:lnTo>
                  <a:pt x="15" y="6"/>
                </a:lnTo>
                <a:lnTo>
                  <a:pt x="14" y="6"/>
                </a:lnTo>
                <a:lnTo>
                  <a:pt x="13" y="6"/>
                </a:lnTo>
                <a:lnTo>
                  <a:pt x="13" y="7"/>
                </a:lnTo>
                <a:lnTo>
                  <a:pt x="12" y="8"/>
                </a:lnTo>
                <a:lnTo>
                  <a:pt x="11" y="9"/>
                </a:lnTo>
                <a:lnTo>
                  <a:pt x="10" y="10"/>
                </a:lnTo>
                <a:lnTo>
                  <a:pt x="10" y="11"/>
                </a:lnTo>
                <a:lnTo>
                  <a:pt x="8" y="13"/>
                </a:lnTo>
                <a:lnTo>
                  <a:pt x="8" y="13"/>
                </a:lnTo>
                <a:lnTo>
                  <a:pt x="6" y="14"/>
                </a:lnTo>
                <a:lnTo>
                  <a:pt x="8" y="18"/>
                </a:lnTo>
                <a:lnTo>
                  <a:pt x="6" y="23"/>
                </a:lnTo>
                <a:lnTo>
                  <a:pt x="6" y="23"/>
                </a:lnTo>
                <a:lnTo>
                  <a:pt x="9" y="26"/>
                </a:lnTo>
                <a:lnTo>
                  <a:pt x="11" y="24"/>
                </a:lnTo>
                <a:lnTo>
                  <a:pt x="11" y="30"/>
                </a:lnTo>
                <a:lnTo>
                  <a:pt x="12" y="29"/>
                </a:lnTo>
                <a:lnTo>
                  <a:pt x="13" y="31"/>
                </a:lnTo>
                <a:lnTo>
                  <a:pt x="13" y="31"/>
                </a:lnTo>
                <a:lnTo>
                  <a:pt x="12" y="32"/>
                </a:lnTo>
                <a:lnTo>
                  <a:pt x="11" y="33"/>
                </a:lnTo>
                <a:lnTo>
                  <a:pt x="10" y="37"/>
                </a:lnTo>
                <a:lnTo>
                  <a:pt x="11" y="36"/>
                </a:lnTo>
                <a:lnTo>
                  <a:pt x="12" y="37"/>
                </a:lnTo>
                <a:lnTo>
                  <a:pt x="13" y="37"/>
                </a:lnTo>
                <a:lnTo>
                  <a:pt x="13" y="39"/>
                </a:lnTo>
                <a:lnTo>
                  <a:pt x="14" y="40"/>
                </a:lnTo>
                <a:lnTo>
                  <a:pt x="13" y="41"/>
                </a:lnTo>
                <a:lnTo>
                  <a:pt x="14" y="44"/>
                </a:lnTo>
                <a:lnTo>
                  <a:pt x="13" y="44"/>
                </a:lnTo>
                <a:lnTo>
                  <a:pt x="13" y="42"/>
                </a:lnTo>
                <a:lnTo>
                  <a:pt x="12" y="42"/>
                </a:lnTo>
                <a:lnTo>
                  <a:pt x="11" y="42"/>
                </a:lnTo>
                <a:lnTo>
                  <a:pt x="10" y="41"/>
                </a:lnTo>
                <a:lnTo>
                  <a:pt x="8" y="41"/>
                </a:lnTo>
                <a:lnTo>
                  <a:pt x="5" y="42"/>
                </a:lnTo>
                <a:lnTo>
                  <a:pt x="5" y="42"/>
                </a:lnTo>
                <a:lnTo>
                  <a:pt x="5" y="42"/>
                </a:lnTo>
                <a:lnTo>
                  <a:pt x="5" y="44"/>
                </a:lnTo>
                <a:lnTo>
                  <a:pt x="5" y="46"/>
                </a:lnTo>
                <a:lnTo>
                  <a:pt x="5" y="47"/>
                </a:lnTo>
                <a:lnTo>
                  <a:pt x="8" y="47"/>
                </a:lnTo>
                <a:lnTo>
                  <a:pt x="9" y="47"/>
                </a:lnTo>
                <a:lnTo>
                  <a:pt x="9" y="48"/>
                </a:lnTo>
                <a:lnTo>
                  <a:pt x="9" y="49"/>
                </a:lnTo>
                <a:lnTo>
                  <a:pt x="9" y="49"/>
                </a:lnTo>
                <a:lnTo>
                  <a:pt x="10" y="49"/>
                </a:lnTo>
                <a:lnTo>
                  <a:pt x="9" y="50"/>
                </a:lnTo>
                <a:lnTo>
                  <a:pt x="8" y="52"/>
                </a:lnTo>
                <a:lnTo>
                  <a:pt x="8" y="54"/>
                </a:lnTo>
                <a:lnTo>
                  <a:pt x="6" y="57"/>
                </a:lnTo>
                <a:lnTo>
                  <a:pt x="6" y="58"/>
                </a:lnTo>
                <a:lnTo>
                  <a:pt x="2" y="58"/>
                </a:lnTo>
                <a:lnTo>
                  <a:pt x="1" y="59"/>
                </a:lnTo>
                <a:lnTo>
                  <a:pt x="2" y="60"/>
                </a:lnTo>
                <a:lnTo>
                  <a:pt x="2" y="63"/>
                </a:lnTo>
                <a:lnTo>
                  <a:pt x="3" y="63"/>
                </a:lnTo>
                <a:lnTo>
                  <a:pt x="3" y="64"/>
                </a:lnTo>
                <a:lnTo>
                  <a:pt x="3" y="66"/>
                </a:lnTo>
                <a:lnTo>
                  <a:pt x="4" y="67"/>
                </a:lnTo>
                <a:lnTo>
                  <a:pt x="4" y="72"/>
                </a:lnTo>
                <a:lnTo>
                  <a:pt x="3" y="72"/>
                </a:lnTo>
                <a:lnTo>
                  <a:pt x="1" y="76"/>
                </a:lnTo>
                <a:lnTo>
                  <a:pt x="0" y="77"/>
                </a:lnTo>
                <a:lnTo>
                  <a:pt x="0" y="78"/>
                </a:lnTo>
                <a:lnTo>
                  <a:pt x="1" y="78"/>
                </a:lnTo>
                <a:lnTo>
                  <a:pt x="1" y="78"/>
                </a:lnTo>
                <a:lnTo>
                  <a:pt x="2" y="78"/>
                </a:lnTo>
                <a:lnTo>
                  <a:pt x="2" y="79"/>
                </a:lnTo>
                <a:lnTo>
                  <a:pt x="3" y="79"/>
                </a:lnTo>
                <a:lnTo>
                  <a:pt x="4" y="79"/>
                </a:lnTo>
                <a:lnTo>
                  <a:pt x="6" y="81"/>
                </a:lnTo>
                <a:lnTo>
                  <a:pt x="9" y="81"/>
                </a:lnTo>
                <a:lnTo>
                  <a:pt x="10" y="81"/>
                </a:lnTo>
                <a:lnTo>
                  <a:pt x="11" y="83"/>
                </a:lnTo>
                <a:lnTo>
                  <a:pt x="11" y="84"/>
                </a:lnTo>
                <a:lnTo>
                  <a:pt x="12" y="84"/>
                </a:lnTo>
                <a:lnTo>
                  <a:pt x="13" y="87"/>
                </a:lnTo>
                <a:lnTo>
                  <a:pt x="13" y="88"/>
                </a:lnTo>
                <a:lnTo>
                  <a:pt x="14" y="88"/>
                </a:lnTo>
                <a:lnTo>
                  <a:pt x="16" y="90"/>
                </a:lnTo>
                <a:lnTo>
                  <a:pt x="17" y="89"/>
                </a:lnTo>
                <a:lnTo>
                  <a:pt x="17" y="91"/>
                </a:lnTo>
                <a:lnTo>
                  <a:pt x="19" y="92"/>
                </a:lnTo>
                <a:lnTo>
                  <a:pt x="19" y="94"/>
                </a:lnTo>
                <a:lnTo>
                  <a:pt x="19" y="97"/>
                </a:lnTo>
                <a:lnTo>
                  <a:pt x="19" y="99"/>
                </a:lnTo>
                <a:lnTo>
                  <a:pt x="19" y="99"/>
                </a:lnTo>
                <a:lnTo>
                  <a:pt x="17" y="99"/>
                </a:lnTo>
                <a:lnTo>
                  <a:pt x="17" y="100"/>
                </a:lnTo>
                <a:lnTo>
                  <a:pt x="17" y="102"/>
                </a:lnTo>
                <a:lnTo>
                  <a:pt x="16" y="103"/>
                </a:lnTo>
                <a:lnTo>
                  <a:pt x="16" y="103"/>
                </a:lnTo>
                <a:lnTo>
                  <a:pt x="16" y="106"/>
                </a:lnTo>
                <a:lnTo>
                  <a:pt x="16" y="107"/>
                </a:lnTo>
                <a:lnTo>
                  <a:pt x="16" y="11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22" name="Freeform 722"/>
          <p:cNvSpPr>
            <a:spLocks/>
          </p:cNvSpPr>
          <p:nvPr/>
        </p:nvSpPr>
        <p:spPr bwMode="auto">
          <a:xfrm>
            <a:off x="4132263" y="3267040"/>
            <a:ext cx="155575" cy="185738"/>
          </a:xfrm>
          <a:custGeom>
            <a:avLst/>
            <a:gdLst>
              <a:gd name="T0" fmla="*/ 29 w 98"/>
              <a:gd name="T1" fmla="*/ 113 h 117"/>
              <a:gd name="T2" fmla="*/ 50 w 98"/>
              <a:gd name="T3" fmla="*/ 106 h 117"/>
              <a:gd name="T4" fmla="*/ 75 w 98"/>
              <a:gd name="T5" fmla="*/ 101 h 117"/>
              <a:gd name="T6" fmla="*/ 87 w 98"/>
              <a:gd name="T7" fmla="*/ 103 h 117"/>
              <a:gd name="T8" fmla="*/ 92 w 98"/>
              <a:gd name="T9" fmla="*/ 102 h 117"/>
              <a:gd name="T10" fmla="*/ 93 w 98"/>
              <a:gd name="T11" fmla="*/ 92 h 117"/>
              <a:gd name="T12" fmla="*/ 86 w 98"/>
              <a:gd name="T13" fmla="*/ 79 h 117"/>
              <a:gd name="T14" fmla="*/ 90 w 98"/>
              <a:gd name="T15" fmla="*/ 66 h 117"/>
              <a:gd name="T16" fmla="*/ 93 w 98"/>
              <a:gd name="T17" fmla="*/ 53 h 117"/>
              <a:gd name="T18" fmla="*/ 96 w 98"/>
              <a:gd name="T19" fmla="*/ 48 h 117"/>
              <a:gd name="T20" fmla="*/ 95 w 98"/>
              <a:gd name="T21" fmla="*/ 31 h 117"/>
              <a:gd name="T22" fmla="*/ 95 w 98"/>
              <a:gd name="T23" fmla="*/ 27 h 117"/>
              <a:gd name="T24" fmla="*/ 94 w 98"/>
              <a:gd name="T25" fmla="*/ 23 h 117"/>
              <a:gd name="T26" fmla="*/ 90 w 98"/>
              <a:gd name="T27" fmla="*/ 18 h 117"/>
              <a:gd name="T28" fmla="*/ 84 w 98"/>
              <a:gd name="T29" fmla="*/ 16 h 117"/>
              <a:gd name="T30" fmla="*/ 73 w 98"/>
              <a:gd name="T31" fmla="*/ 16 h 117"/>
              <a:gd name="T32" fmla="*/ 67 w 98"/>
              <a:gd name="T33" fmla="*/ 20 h 117"/>
              <a:gd name="T34" fmla="*/ 64 w 98"/>
              <a:gd name="T35" fmla="*/ 19 h 117"/>
              <a:gd name="T36" fmla="*/ 60 w 98"/>
              <a:gd name="T37" fmla="*/ 17 h 117"/>
              <a:gd name="T38" fmla="*/ 57 w 98"/>
              <a:gd name="T39" fmla="*/ 13 h 117"/>
              <a:gd name="T40" fmla="*/ 55 w 98"/>
              <a:gd name="T41" fmla="*/ 10 h 117"/>
              <a:gd name="T42" fmla="*/ 51 w 98"/>
              <a:gd name="T43" fmla="*/ 8 h 117"/>
              <a:gd name="T44" fmla="*/ 45 w 98"/>
              <a:gd name="T45" fmla="*/ 6 h 117"/>
              <a:gd name="T46" fmla="*/ 41 w 98"/>
              <a:gd name="T47" fmla="*/ 9 h 117"/>
              <a:gd name="T48" fmla="*/ 37 w 98"/>
              <a:gd name="T49" fmla="*/ 3 h 117"/>
              <a:gd name="T50" fmla="*/ 36 w 98"/>
              <a:gd name="T51" fmla="*/ 1 h 117"/>
              <a:gd name="T52" fmla="*/ 32 w 98"/>
              <a:gd name="T53" fmla="*/ 2 h 117"/>
              <a:gd name="T54" fmla="*/ 31 w 98"/>
              <a:gd name="T55" fmla="*/ 6 h 117"/>
              <a:gd name="T56" fmla="*/ 25 w 98"/>
              <a:gd name="T57" fmla="*/ 9 h 117"/>
              <a:gd name="T58" fmla="*/ 21 w 98"/>
              <a:gd name="T59" fmla="*/ 8 h 117"/>
              <a:gd name="T60" fmla="*/ 19 w 98"/>
              <a:gd name="T61" fmla="*/ 9 h 117"/>
              <a:gd name="T62" fmla="*/ 15 w 98"/>
              <a:gd name="T63" fmla="*/ 6 h 117"/>
              <a:gd name="T64" fmla="*/ 12 w 98"/>
              <a:gd name="T65" fmla="*/ 8 h 117"/>
              <a:gd name="T66" fmla="*/ 8 w 98"/>
              <a:gd name="T67" fmla="*/ 13 h 117"/>
              <a:gd name="T68" fmla="*/ 6 w 98"/>
              <a:gd name="T69" fmla="*/ 23 h 117"/>
              <a:gd name="T70" fmla="*/ 11 w 98"/>
              <a:gd name="T71" fmla="*/ 30 h 117"/>
              <a:gd name="T72" fmla="*/ 12 w 98"/>
              <a:gd name="T73" fmla="*/ 32 h 117"/>
              <a:gd name="T74" fmla="*/ 12 w 98"/>
              <a:gd name="T75" fmla="*/ 37 h 117"/>
              <a:gd name="T76" fmla="*/ 13 w 98"/>
              <a:gd name="T77" fmla="*/ 41 h 117"/>
              <a:gd name="T78" fmla="*/ 12 w 98"/>
              <a:gd name="T79" fmla="*/ 42 h 117"/>
              <a:gd name="T80" fmla="*/ 5 w 98"/>
              <a:gd name="T81" fmla="*/ 42 h 117"/>
              <a:gd name="T82" fmla="*/ 5 w 98"/>
              <a:gd name="T83" fmla="*/ 46 h 117"/>
              <a:gd name="T84" fmla="*/ 9 w 98"/>
              <a:gd name="T85" fmla="*/ 48 h 117"/>
              <a:gd name="T86" fmla="*/ 9 w 98"/>
              <a:gd name="T87" fmla="*/ 50 h 117"/>
              <a:gd name="T88" fmla="*/ 6 w 98"/>
              <a:gd name="T89" fmla="*/ 58 h 117"/>
              <a:gd name="T90" fmla="*/ 2 w 98"/>
              <a:gd name="T91" fmla="*/ 63 h 117"/>
              <a:gd name="T92" fmla="*/ 4 w 98"/>
              <a:gd name="T93" fmla="*/ 67 h 117"/>
              <a:gd name="T94" fmla="*/ 0 w 98"/>
              <a:gd name="T95" fmla="*/ 77 h 117"/>
              <a:gd name="T96" fmla="*/ 2 w 98"/>
              <a:gd name="T97" fmla="*/ 78 h 117"/>
              <a:gd name="T98" fmla="*/ 6 w 98"/>
              <a:gd name="T99" fmla="*/ 81 h 117"/>
              <a:gd name="T100" fmla="*/ 11 w 98"/>
              <a:gd name="T101" fmla="*/ 84 h 117"/>
              <a:gd name="T102" fmla="*/ 14 w 98"/>
              <a:gd name="T103" fmla="*/ 88 h 117"/>
              <a:gd name="T104" fmla="*/ 19 w 98"/>
              <a:gd name="T105" fmla="*/ 92 h 117"/>
              <a:gd name="T106" fmla="*/ 19 w 98"/>
              <a:gd name="T107" fmla="*/ 99 h 117"/>
              <a:gd name="T108" fmla="*/ 16 w 98"/>
              <a:gd name="T109" fmla="*/ 103 h 117"/>
              <a:gd name="T110" fmla="*/ 16 w 98"/>
              <a:gd name="T111" fmla="*/ 115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98" h="117">
                <a:moveTo>
                  <a:pt x="16" y="115"/>
                </a:moveTo>
                <a:lnTo>
                  <a:pt x="16" y="117"/>
                </a:lnTo>
                <a:lnTo>
                  <a:pt x="21" y="117"/>
                </a:lnTo>
                <a:lnTo>
                  <a:pt x="29" y="113"/>
                </a:lnTo>
                <a:lnTo>
                  <a:pt x="35" y="110"/>
                </a:lnTo>
                <a:lnTo>
                  <a:pt x="40" y="108"/>
                </a:lnTo>
                <a:lnTo>
                  <a:pt x="46" y="106"/>
                </a:lnTo>
                <a:lnTo>
                  <a:pt x="50" y="106"/>
                </a:lnTo>
                <a:lnTo>
                  <a:pt x="61" y="102"/>
                </a:lnTo>
                <a:lnTo>
                  <a:pt x="63" y="102"/>
                </a:lnTo>
                <a:lnTo>
                  <a:pt x="70" y="101"/>
                </a:lnTo>
                <a:lnTo>
                  <a:pt x="75" y="101"/>
                </a:lnTo>
                <a:lnTo>
                  <a:pt x="80" y="103"/>
                </a:lnTo>
                <a:lnTo>
                  <a:pt x="85" y="104"/>
                </a:lnTo>
                <a:lnTo>
                  <a:pt x="86" y="104"/>
                </a:lnTo>
                <a:lnTo>
                  <a:pt x="87" y="103"/>
                </a:lnTo>
                <a:lnTo>
                  <a:pt x="89" y="102"/>
                </a:lnTo>
                <a:lnTo>
                  <a:pt x="90" y="101"/>
                </a:lnTo>
                <a:lnTo>
                  <a:pt x="91" y="102"/>
                </a:lnTo>
                <a:lnTo>
                  <a:pt x="92" y="102"/>
                </a:lnTo>
                <a:lnTo>
                  <a:pt x="94" y="102"/>
                </a:lnTo>
                <a:lnTo>
                  <a:pt x="94" y="97"/>
                </a:lnTo>
                <a:lnTo>
                  <a:pt x="93" y="93"/>
                </a:lnTo>
                <a:lnTo>
                  <a:pt x="93" y="92"/>
                </a:lnTo>
                <a:lnTo>
                  <a:pt x="91" y="92"/>
                </a:lnTo>
                <a:lnTo>
                  <a:pt x="90" y="90"/>
                </a:lnTo>
                <a:lnTo>
                  <a:pt x="89" y="86"/>
                </a:lnTo>
                <a:lnTo>
                  <a:pt x="86" y="79"/>
                </a:lnTo>
                <a:lnTo>
                  <a:pt x="86" y="76"/>
                </a:lnTo>
                <a:lnTo>
                  <a:pt x="86" y="70"/>
                </a:lnTo>
                <a:lnTo>
                  <a:pt x="87" y="68"/>
                </a:lnTo>
                <a:lnTo>
                  <a:pt x="90" y="66"/>
                </a:lnTo>
                <a:lnTo>
                  <a:pt x="91" y="63"/>
                </a:lnTo>
                <a:lnTo>
                  <a:pt x="91" y="60"/>
                </a:lnTo>
                <a:lnTo>
                  <a:pt x="91" y="58"/>
                </a:lnTo>
                <a:lnTo>
                  <a:pt x="93" y="53"/>
                </a:lnTo>
                <a:lnTo>
                  <a:pt x="94" y="50"/>
                </a:lnTo>
                <a:lnTo>
                  <a:pt x="95" y="50"/>
                </a:lnTo>
                <a:lnTo>
                  <a:pt x="95" y="48"/>
                </a:lnTo>
                <a:lnTo>
                  <a:pt x="96" y="48"/>
                </a:lnTo>
                <a:lnTo>
                  <a:pt x="96" y="46"/>
                </a:lnTo>
                <a:lnTo>
                  <a:pt x="98" y="46"/>
                </a:lnTo>
                <a:lnTo>
                  <a:pt x="97" y="40"/>
                </a:lnTo>
                <a:lnTo>
                  <a:pt x="95" y="31"/>
                </a:lnTo>
                <a:lnTo>
                  <a:pt x="94" y="30"/>
                </a:lnTo>
                <a:lnTo>
                  <a:pt x="93" y="30"/>
                </a:lnTo>
                <a:lnTo>
                  <a:pt x="94" y="29"/>
                </a:lnTo>
                <a:lnTo>
                  <a:pt x="95" y="27"/>
                </a:lnTo>
                <a:lnTo>
                  <a:pt x="94" y="26"/>
                </a:lnTo>
                <a:lnTo>
                  <a:pt x="95" y="24"/>
                </a:lnTo>
                <a:lnTo>
                  <a:pt x="94" y="22"/>
                </a:lnTo>
                <a:lnTo>
                  <a:pt x="94" y="23"/>
                </a:lnTo>
                <a:lnTo>
                  <a:pt x="92" y="23"/>
                </a:lnTo>
                <a:lnTo>
                  <a:pt x="91" y="22"/>
                </a:lnTo>
                <a:lnTo>
                  <a:pt x="90" y="19"/>
                </a:lnTo>
                <a:lnTo>
                  <a:pt x="90" y="18"/>
                </a:lnTo>
                <a:lnTo>
                  <a:pt x="89" y="18"/>
                </a:lnTo>
                <a:lnTo>
                  <a:pt x="86" y="14"/>
                </a:lnTo>
                <a:lnTo>
                  <a:pt x="86" y="14"/>
                </a:lnTo>
                <a:lnTo>
                  <a:pt x="84" y="16"/>
                </a:lnTo>
                <a:lnTo>
                  <a:pt x="81" y="14"/>
                </a:lnTo>
                <a:lnTo>
                  <a:pt x="80" y="14"/>
                </a:lnTo>
                <a:lnTo>
                  <a:pt x="76" y="16"/>
                </a:lnTo>
                <a:lnTo>
                  <a:pt x="73" y="16"/>
                </a:lnTo>
                <a:lnTo>
                  <a:pt x="71" y="17"/>
                </a:lnTo>
                <a:lnTo>
                  <a:pt x="69" y="18"/>
                </a:lnTo>
                <a:lnTo>
                  <a:pt x="69" y="19"/>
                </a:lnTo>
                <a:lnTo>
                  <a:pt x="67" y="20"/>
                </a:lnTo>
                <a:lnTo>
                  <a:pt x="65" y="19"/>
                </a:lnTo>
                <a:lnTo>
                  <a:pt x="64" y="18"/>
                </a:lnTo>
                <a:lnTo>
                  <a:pt x="64" y="18"/>
                </a:lnTo>
                <a:lnTo>
                  <a:pt x="64" y="19"/>
                </a:lnTo>
                <a:lnTo>
                  <a:pt x="62" y="19"/>
                </a:lnTo>
                <a:lnTo>
                  <a:pt x="62" y="19"/>
                </a:lnTo>
                <a:lnTo>
                  <a:pt x="60" y="18"/>
                </a:lnTo>
                <a:lnTo>
                  <a:pt x="60" y="17"/>
                </a:lnTo>
                <a:lnTo>
                  <a:pt x="59" y="16"/>
                </a:lnTo>
                <a:lnTo>
                  <a:pt x="57" y="16"/>
                </a:lnTo>
                <a:lnTo>
                  <a:pt x="57" y="13"/>
                </a:lnTo>
                <a:lnTo>
                  <a:pt x="57" y="13"/>
                </a:lnTo>
                <a:lnTo>
                  <a:pt x="56" y="12"/>
                </a:lnTo>
                <a:lnTo>
                  <a:pt x="55" y="10"/>
                </a:lnTo>
                <a:lnTo>
                  <a:pt x="55" y="10"/>
                </a:lnTo>
                <a:lnTo>
                  <a:pt x="55" y="10"/>
                </a:lnTo>
                <a:lnTo>
                  <a:pt x="54" y="8"/>
                </a:lnTo>
                <a:lnTo>
                  <a:pt x="54" y="8"/>
                </a:lnTo>
                <a:lnTo>
                  <a:pt x="54" y="8"/>
                </a:lnTo>
                <a:lnTo>
                  <a:pt x="51" y="8"/>
                </a:lnTo>
                <a:lnTo>
                  <a:pt x="50" y="8"/>
                </a:lnTo>
                <a:lnTo>
                  <a:pt x="49" y="6"/>
                </a:lnTo>
                <a:lnTo>
                  <a:pt x="47" y="6"/>
                </a:lnTo>
                <a:lnTo>
                  <a:pt x="45" y="6"/>
                </a:lnTo>
                <a:lnTo>
                  <a:pt x="44" y="6"/>
                </a:lnTo>
                <a:lnTo>
                  <a:pt x="43" y="8"/>
                </a:lnTo>
                <a:lnTo>
                  <a:pt x="42" y="8"/>
                </a:lnTo>
                <a:lnTo>
                  <a:pt x="41" y="9"/>
                </a:lnTo>
                <a:lnTo>
                  <a:pt x="39" y="9"/>
                </a:lnTo>
                <a:lnTo>
                  <a:pt x="39" y="8"/>
                </a:lnTo>
                <a:lnTo>
                  <a:pt x="39" y="5"/>
                </a:lnTo>
                <a:lnTo>
                  <a:pt x="37" y="3"/>
                </a:lnTo>
                <a:lnTo>
                  <a:pt x="37" y="3"/>
                </a:lnTo>
                <a:lnTo>
                  <a:pt x="37" y="1"/>
                </a:lnTo>
                <a:lnTo>
                  <a:pt x="37" y="0"/>
                </a:lnTo>
                <a:lnTo>
                  <a:pt x="36" y="1"/>
                </a:lnTo>
                <a:lnTo>
                  <a:pt x="34" y="1"/>
                </a:lnTo>
                <a:lnTo>
                  <a:pt x="34" y="3"/>
                </a:lnTo>
                <a:lnTo>
                  <a:pt x="33" y="3"/>
                </a:lnTo>
                <a:lnTo>
                  <a:pt x="32" y="2"/>
                </a:lnTo>
                <a:lnTo>
                  <a:pt x="31" y="2"/>
                </a:lnTo>
                <a:lnTo>
                  <a:pt x="31" y="2"/>
                </a:lnTo>
                <a:lnTo>
                  <a:pt x="31" y="5"/>
                </a:lnTo>
                <a:lnTo>
                  <a:pt x="31" y="6"/>
                </a:lnTo>
                <a:lnTo>
                  <a:pt x="30" y="7"/>
                </a:lnTo>
                <a:lnTo>
                  <a:pt x="26" y="7"/>
                </a:lnTo>
                <a:lnTo>
                  <a:pt x="25" y="8"/>
                </a:lnTo>
                <a:lnTo>
                  <a:pt x="25" y="9"/>
                </a:lnTo>
                <a:lnTo>
                  <a:pt x="24" y="10"/>
                </a:lnTo>
                <a:lnTo>
                  <a:pt x="23" y="10"/>
                </a:lnTo>
                <a:lnTo>
                  <a:pt x="22" y="10"/>
                </a:lnTo>
                <a:lnTo>
                  <a:pt x="21" y="8"/>
                </a:lnTo>
                <a:lnTo>
                  <a:pt x="21" y="8"/>
                </a:lnTo>
                <a:lnTo>
                  <a:pt x="20" y="9"/>
                </a:lnTo>
                <a:lnTo>
                  <a:pt x="20" y="9"/>
                </a:lnTo>
                <a:lnTo>
                  <a:pt x="19" y="9"/>
                </a:lnTo>
                <a:lnTo>
                  <a:pt x="19" y="7"/>
                </a:lnTo>
                <a:lnTo>
                  <a:pt x="17" y="6"/>
                </a:lnTo>
                <a:lnTo>
                  <a:pt x="16" y="5"/>
                </a:lnTo>
                <a:lnTo>
                  <a:pt x="15" y="6"/>
                </a:lnTo>
                <a:lnTo>
                  <a:pt x="14" y="6"/>
                </a:lnTo>
                <a:lnTo>
                  <a:pt x="13" y="6"/>
                </a:lnTo>
                <a:lnTo>
                  <a:pt x="13" y="7"/>
                </a:lnTo>
                <a:lnTo>
                  <a:pt x="12" y="8"/>
                </a:lnTo>
                <a:lnTo>
                  <a:pt x="11" y="9"/>
                </a:lnTo>
                <a:lnTo>
                  <a:pt x="10" y="10"/>
                </a:lnTo>
                <a:lnTo>
                  <a:pt x="10" y="11"/>
                </a:lnTo>
                <a:lnTo>
                  <a:pt x="8" y="13"/>
                </a:lnTo>
                <a:lnTo>
                  <a:pt x="8" y="13"/>
                </a:lnTo>
                <a:lnTo>
                  <a:pt x="6" y="14"/>
                </a:lnTo>
                <a:lnTo>
                  <a:pt x="8" y="18"/>
                </a:lnTo>
                <a:lnTo>
                  <a:pt x="6" y="23"/>
                </a:lnTo>
                <a:lnTo>
                  <a:pt x="6" y="23"/>
                </a:lnTo>
                <a:lnTo>
                  <a:pt x="9" y="26"/>
                </a:lnTo>
                <a:lnTo>
                  <a:pt x="11" y="24"/>
                </a:lnTo>
                <a:lnTo>
                  <a:pt x="11" y="30"/>
                </a:lnTo>
                <a:lnTo>
                  <a:pt x="12" y="29"/>
                </a:lnTo>
                <a:lnTo>
                  <a:pt x="13" y="31"/>
                </a:lnTo>
                <a:lnTo>
                  <a:pt x="13" y="31"/>
                </a:lnTo>
                <a:lnTo>
                  <a:pt x="12" y="32"/>
                </a:lnTo>
                <a:lnTo>
                  <a:pt x="11" y="33"/>
                </a:lnTo>
                <a:lnTo>
                  <a:pt x="10" y="37"/>
                </a:lnTo>
                <a:lnTo>
                  <a:pt x="11" y="36"/>
                </a:lnTo>
                <a:lnTo>
                  <a:pt x="12" y="37"/>
                </a:lnTo>
                <a:lnTo>
                  <a:pt x="13" y="37"/>
                </a:lnTo>
                <a:lnTo>
                  <a:pt x="13" y="39"/>
                </a:lnTo>
                <a:lnTo>
                  <a:pt x="14" y="40"/>
                </a:lnTo>
                <a:lnTo>
                  <a:pt x="13" y="41"/>
                </a:lnTo>
                <a:lnTo>
                  <a:pt x="14" y="44"/>
                </a:lnTo>
                <a:lnTo>
                  <a:pt x="13" y="44"/>
                </a:lnTo>
                <a:lnTo>
                  <a:pt x="13" y="42"/>
                </a:lnTo>
                <a:lnTo>
                  <a:pt x="12" y="42"/>
                </a:lnTo>
                <a:lnTo>
                  <a:pt x="11" y="42"/>
                </a:lnTo>
                <a:lnTo>
                  <a:pt x="10" y="41"/>
                </a:lnTo>
                <a:lnTo>
                  <a:pt x="8" y="41"/>
                </a:lnTo>
                <a:lnTo>
                  <a:pt x="5" y="42"/>
                </a:lnTo>
                <a:lnTo>
                  <a:pt x="5" y="42"/>
                </a:lnTo>
                <a:lnTo>
                  <a:pt x="5" y="42"/>
                </a:lnTo>
                <a:lnTo>
                  <a:pt x="5" y="44"/>
                </a:lnTo>
                <a:lnTo>
                  <a:pt x="5" y="46"/>
                </a:lnTo>
                <a:lnTo>
                  <a:pt x="5" y="47"/>
                </a:lnTo>
                <a:lnTo>
                  <a:pt x="8" y="47"/>
                </a:lnTo>
                <a:lnTo>
                  <a:pt x="9" y="47"/>
                </a:lnTo>
                <a:lnTo>
                  <a:pt x="9" y="48"/>
                </a:lnTo>
                <a:lnTo>
                  <a:pt x="9" y="49"/>
                </a:lnTo>
                <a:lnTo>
                  <a:pt x="9" y="49"/>
                </a:lnTo>
                <a:lnTo>
                  <a:pt x="10" y="49"/>
                </a:lnTo>
                <a:lnTo>
                  <a:pt x="9" y="50"/>
                </a:lnTo>
                <a:lnTo>
                  <a:pt x="8" y="52"/>
                </a:lnTo>
                <a:lnTo>
                  <a:pt x="8" y="54"/>
                </a:lnTo>
                <a:lnTo>
                  <a:pt x="6" y="57"/>
                </a:lnTo>
                <a:lnTo>
                  <a:pt x="6" y="58"/>
                </a:lnTo>
                <a:lnTo>
                  <a:pt x="2" y="58"/>
                </a:lnTo>
                <a:lnTo>
                  <a:pt x="1" y="59"/>
                </a:lnTo>
                <a:lnTo>
                  <a:pt x="2" y="60"/>
                </a:lnTo>
                <a:lnTo>
                  <a:pt x="2" y="63"/>
                </a:lnTo>
                <a:lnTo>
                  <a:pt x="3" y="63"/>
                </a:lnTo>
                <a:lnTo>
                  <a:pt x="3" y="64"/>
                </a:lnTo>
                <a:lnTo>
                  <a:pt x="3" y="66"/>
                </a:lnTo>
                <a:lnTo>
                  <a:pt x="4" y="67"/>
                </a:lnTo>
                <a:lnTo>
                  <a:pt x="4" y="72"/>
                </a:lnTo>
                <a:lnTo>
                  <a:pt x="3" y="72"/>
                </a:lnTo>
                <a:lnTo>
                  <a:pt x="1" y="76"/>
                </a:lnTo>
                <a:lnTo>
                  <a:pt x="0" y="77"/>
                </a:lnTo>
                <a:lnTo>
                  <a:pt x="0" y="78"/>
                </a:lnTo>
                <a:lnTo>
                  <a:pt x="1" y="78"/>
                </a:lnTo>
                <a:lnTo>
                  <a:pt x="1" y="78"/>
                </a:lnTo>
                <a:lnTo>
                  <a:pt x="2" y="78"/>
                </a:lnTo>
                <a:lnTo>
                  <a:pt x="2" y="79"/>
                </a:lnTo>
                <a:lnTo>
                  <a:pt x="3" y="79"/>
                </a:lnTo>
                <a:lnTo>
                  <a:pt x="4" y="79"/>
                </a:lnTo>
                <a:lnTo>
                  <a:pt x="6" y="81"/>
                </a:lnTo>
                <a:lnTo>
                  <a:pt x="9" y="81"/>
                </a:lnTo>
                <a:lnTo>
                  <a:pt x="10" y="81"/>
                </a:lnTo>
                <a:lnTo>
                  <a:pt x="11" y="83"/>
                </a:lnTo>
                <a:lnTo>
                  <a:pt x="11" y="84"/>
                </a:lnTo>
                <a:lnTo>
                  <a:pt x="12" y="84"/>
                </a:lnTo>
                <a:lnTo>
                  <a:pt x="13" y="87"/>
                </a:lnTo>
                <a:lnTo>
                  <a:pt x="13" y="88"/>
                </a:lnTo>
                <a:lnTo>
                  <a:pt x="14" y="88"/>
                </a:lnTo>
                <a:lnTo>
                  <a:pt x="16" y="90"/>
                </a:lnTo>
                <a:lnTo>
                  <a:pt x="17" y="89"/>
                </a:lnTo>
                <a:lnTo>
                  <a:pt x="17" y="91"/>
                </a:lnTo>
                <a:lnTo>
                  <a:pt x="19" y="92"/>
                </a:lnTo>
                <a:lnTo>
                  <a:pt x="19" y="94"/>
                </a:lnTo>
                <a:lnTo>
                  <a:pt x="19" y="97"/>
                </a:lnTo>
                <a:lnTo>
                  <a:pt x="19" y="99"/>
                </a:lnTo>
                <a:lnTo>
                  <a:pt x="19" y="99"/>
                </a:lnTo>
                <a:lnTo>
                  <a:pt x="17" y="99"/>
                </a:lnTo>
                <a:lnTo>
                  <a:pt x="17" y="100"/>
                </a:lnTo>
                <a:lnTo>
                  <a:pt x="17" y="102"/>
                </a:lnTo>
                <a:lnTo>
                  <a:pt x="16" y="103"/>
                </a:lnTo>
                <a:lnTo>
                  <a:pt x="16" y="103"/>
                </a:lnTo>
                <a:lnTo>
                  <a:pt x="16" y="106"/>
                </a:lnTo>
                <a:lnTo>
                  <a:pt x="16" y="107"/>
                </a:lnTo>
                <a:lnTo>
                  <a:pt x="16" y="11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23" name="Freeform 723"/>
          <p:cNvSpPr>
            <a:spLocks/>
          </p:cNvSpPr>
          <p:nvPr/>
        </p:nvSpPr>
        <p:spPr bwMode="auto">
          <a:xfrm>
            <a:off x="4344988" y="3255928"/>
            <a:ext cx="53975" cy="147638"/>
          </a:xfrm>
          <a:custGeom>
            <a:avLst/>
            <a:gdLst>
              <a:gd name="T0" fmla="*/ 23 w 34"/>
              <a:gd name="T1" fmla="*/ 93 h 93"/>
              <a:gd name="T2" fmla="*/ 22 w 34"/>
              <a:gd name="T3" fmla="*/ 93 h 93"/>
              <a:gd name="T4" fmla="*/ 17 w 34"/>
              <a:gd name="T5" fmla="*/ 87 h 93"/>
              <a:gd name="T6" fmla="*/ 14 w 34"/>
              <a:gd name="T7" fmla="*/ 84 h 93"/>
              <a:gd name="T8" fmla="*/ 13 w 34"/>
              <a:gd name="T9" fmla="*/ 79 h 93"/>
              <a:gd name="T10" fmla="*/ 13 w 34"/>
              <a:gd name="T11" fmla="*/ 77 h 93"/>
              <a:gd name="T12" fmla="*/ 12 w 34"/>
              <a:gd name="T13" fmla="*/ 69 h 93"/>
              <a:gd name="T14" fmla="*/ 13 w 34"/>
              <a:gd name="T15" fmla="*/ 63 h 93"/>
              <a:gd name="T16" fmla="*/ 12 w 34"/>
              <a:gd name="T17" fmla="*/ 48 h 93"/>
              <a:gd name="T18" fmla="*/ 12 w 34"/>
              <a:gd name="T19" fmla="*/ 38 h 93"/>
              <a:gd name="T20" fmla="*/ 11 w 34"/>
              <a:gd name="T21" fmla="*/ 34 h 93"/>
              <a:gd name="T22" fmla="*/ 10 w 34"/>
              <a:gd name="T23" fmla="*/ 31 h 93"/>
              <a:gd name="T24" fmla="*/ 9 w 34"/>
              <a:gd name="T25" fmla="*/ 29 h 93"/>
              <a:gd name="T26" fmla="*/ 9 w 34"/>
              <a:gd name="T27" fmla="*/ 23 h 93"/>
              <a:gd name="T28" fmla="*/ 8 w 34"/>
              <a:gd name="T29" fmla="*/ 18 h 93"/>
              <a:gd name="T30" fmla="*/ 7 w 34"/>
              <a:gd name="T31" fmla="*/ 16 h 93"/>
              <a:gd name="T32" fmla="*/ 4 w 34"/>
              <a:gd name="T33" fmla="*/ 14 h 93"/>
              <a:gd name="T34" fmla="*/ 3 w 34"/>
              <a:gd name="T35" fmla="*/ 12 h 93"/>
              <a:gd name="T36" fmla="*/ 1 w 34"/>
              <a:gd name="T37" fmla="*/ 9 h 93"/>
              <a:gd name="T38" fmla="*/ 1 w 34"/>
              <a:gd name="T39" fmla="*/ 7 h 93"/>
              <a:gd name="T40" fmla="*/ 2 w 34"/>
              <a:gd name="T41" fmla="*/ 5 h 93"/>
              <a:gd name="T42" fmla="*/ 2 w 34"/>
              <a:gd name="T43" fmla="*/ 4 h 93"/>
              <a:gd name="T44" fmla="*/ 2 w 34"/>
              <a:gd name="T45" fmla="*/ 3 h 93"/>
              <a:gd name="T46" fmla="*/ 2 w 34"/>
              <a:gd name="T47" fmla="*/ 2 h 93"/>
              <a:gd name="T48" fmla="*/ 0 w 34"/>
              <a:gd name="T49" fmla="*/ 2 h 93"/>
              <a:gd name="T50" fmla="*/ 0 w 34"/>
              <a:gd name="T51" fmla="*/ 2 h 93"/>
              <a:gd name="T52" fmla="*/ 0 w 34"/>
              <a:gd name="T53" fmla="*/ 0 h 93"/>
              <a:gd name="T54" fmla="*/ 0 w 34"/>
              <a:gd name="T55" fmla="*/ 0 h 93"/>
              <a:gd name="T56" fmla="*/ 9 w 34"/>
              <a:gd name="T57" fmla="*/ 3 h 93"/>
              <a:gd name="T58" fmla="*/ 11 w 34"/>
              <a:gd name="T59" fmla="*/ 4 h 93"/>
              <a:gd name="T60" fmla="*/ 12 w 34"/>
              <a:gd name="T61" fmla="*/ 4 h 93"/>
              <a:gd name="T62" fmla="*/ 12 w 34"/>
              <a:gd name="T63" fmla="*/ 3 h 93"/>
              <a:gd name="T64" fmla="*/ 17 w 34"/>
              <a:gd name="T65" fmla="*/ 3 h 93"/>
              <a:gd name="T66" fmla="*/ 17 w 34"/>
              <a:gd name="T67" fmla="*/ 3 h 93"/>
              <a:gd name="T68" fmla="*/ 17 w 34"/>
              <a:gd name="T69" fmla="*/ 4 h 93"/>
              <a:gd name="T70" fmla="*/ 16 w 34"/>
              <a:gd name="T71" fmla="*/ 6 h 93"/>
              <a:gd name="T72" fmla="*/ 14 w 34"/>
              <a:gd name="T73" fmla="*/ 8 h 93"/>
              <a:gd name="T74" fmla="*/ 14 w 34"/>
              <a:gd name="T75" fmla="*/ 12 h 93"/>
              <a:gd name="T76" fmla="*/ 14 w 34"/>
              <a:gd name="T77" fmla="*/ 15 h 93"/>
              <a:gd name="T78" fmla="*/ 16 w 34"/>
              <a:gd name="T79" fmla="*/ 16 h 93"/>
              <a:gd name="T80" fmla="*/ 18 w 34"/>
              <a:gd name="T81" fmla="*/ 17 h 93"/>
              <a:gd name="T82" fmla="*/ 19 w 34"/>
              <a:gd name="T83" fmla="*/ 17 h 93"/>
              <a:gd name="T84" fmla="*/ 20 w 34"/>
              <a:gd name="T85" fmla="*/ 18 h 93"/>
              <a:gd name="T86" fmla="*/ 24 w 34"/>
              <a:gd name="T87" fmla="*/ 23 h 93"/>
              <a:gd name="T88" fmla="*/ 27 w 34"/>
              <a:gd name="T89" fmla="*/ 29 h 93"/>
              <a:gd name="T90" fmla="*/ 28 w 34"/>
              <a:gd name="T91" fmla="*/ 36 h 93"/>
              <a:gd name="T92" fmla="*/ 29 w 34"/>
              <a:gd name="T93" fmla="*/ 39 h 93"/>
              <a:gd name="T94" fmla="*/ 30 w 34"/>
              <a:gd name="T95" fmla="*/ 41 h 93"/>
              <a:gd name="T96" fmla="*/ 30 w 34"/>
              <a:gd name="T97" fmla="*/ 45 h 93"/>
              <a:gd name="T98" fmla="*/ 31 w 34"/>
              <a:gd name="T99" fmla="*/ 48 h 93"/>
              <a:gd name="T100" fmla="*/ 31 w 34"/>
              <a:gd name="T101" fmla="*/ 54 h 93"/>
              <a:gd name="T102" fmla="*/ 31 w 34"/>
              <a:gd name="T103" fmla="*/ 71 h 93"/>
              <a:gd name="T104" fmla="*/ 30 w 34"/>
              <a:gd name="T105" fmla="*/ 79 h 93"/>
              <a:gd name="T106" fmla="*/ 30 w 34"/>
              <a:gd name="T107" fmla="*/ 81 h 93"/>
              <a:gd name="T108" fmla="*/ 31 w 34"/>
              <a:gd name="T109" fmla="*/ 86 h 93"/>
              <a:gd name="T110" fmla="*/ 32 w 34"/>
              <a:gd name="T111" fmla="*/ 88 h 93"/>
              <a:gd name="T112" fmla="*/ 32 w 34"/>
              <a:gd name="T113" fmla="*/ 89 h 93"/>
              <a:gd name="T114" fmla="*/ 34 w 34"/>
              <a:gd name="T115" fmla="*/ 89 h 93"/>
              <a:gd name="T116" fmla="*/ 28 w 34"/>
              <a:gd name="T117" fmla="*/ 91 h 93"/>
              <a:gd name="T118" fmla="*/ 23 w 34"/>
              <a:gd name="T119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4" h="93">
                <a:moveTo>
                  <a:pt x="23" y="93"/>
                </a:moveTo>
                <a:lnTo>
                  <a:pt x="22" y="93"/>
                </a:lnTo>
                <a:lnTo>
                  <a:pt x="17" y="87"/>
                </a:lnTo>
                <a:lnTo>
                  <a:pt x="14" y="84"/>
                </a:lnTo>
                <a:lnTo>
                  <a:pt x="13" y="79"/>
                </a:lnTo>
                <a:lnTo>
                  <a:pt x="13" y="77"/>
                </a:lnTo>
                <a:lnTo>
                  <a:pt x="12" y="69"/>
                </a:lnTo>
                <a:lnTo>
                  <a:pt x="13" y="63"/>
                </a:lnTo>
                <a:lnTo>
                  <a:pt x="12" y="48"/>
                </a:lnTo>
                <a:lnTo>
                  <a:pt x="12" y="38"/>
                </a:lnTo>
                <a:lnTo>
                  <a:pt x="11" y="34"/>
                </a:lnTo>
                <a:lnTo>
                  <a:pt x="10" y="31"/>
                </a:lnTo>
                <a:lnTo>
                  <a:pt x="9" y="29"/>
                </a:lnTo>
                <a:lnTo>
                  <a:pt x="9" y="23"/>
                </a:lnTo>
                <a:lnTo>
                  <a:pt x="8" y="18"/>
                </a:lnTo>
                <a:lnTo>
                  <a:pt x="7" y="16"/>
                </a:lnTo>
                <a:lnTo>
                  <a:pt x="4" y="14"/>
                </a:lnTo>
                <a:lnTo>
                  <a:pt x="3" y="12"/>
                </a:lnTo>
                <a:lnTo>
                  <a:pt x="1" y="9"/>
                </a:lnTo>
                <a:lnTo>
                  <a:pt x="1" y="7"/>
                </a:lnTo>
                <a:lnTo>
                  <a:pt x="2" y="5"/>
                </a:lnTo>
                <a:lnTo>
                  <a:pt x="2" y="4"/>
                </a:lnTo>
                <a:lnTo>
                  <a:pt x="2" y="3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9" y="3"/>
                </a:lnTo>
                <a:lnTo>
                  <a:pt x="11" y="4"/>
                </a:lnTo>
                <a:lnTo>
                  <a:pt x="12" y="4"/>
                </a:lnTo>
                <a:lnTo>
                  <a:pt x="12" y="3"/>
                </a:lnTo>
                <a:lnTo>
                  <a:pt x="17" y="3"/>
                </a:lnTo>
                <a:lnTo>
                  <a:pt x="17" y="3"/>
                </a:lnTo>
                <a:lnTo>
                  <a:pt x="17" y="4"/>
                </a:lnTo>
                <a:lnTo>
                  <a:pt x="16" y="6"/>
                </a:lnTo>
                <a:lnTo>
                  <a:pt x="14" y="8"/>
                </a:lnTo>
                <a:lnTo>
                  <a:pt x="14" y="12"/>
                </a:lnTo>
                <a:lnTo>
                  <a:pt x="14" y="15"/>
                </a:lnTo>
                <a:lnTo>
                  <a:pt x="16" y="16"/>
                </a:lnTo>
                <a:lnTo>
                  <a:pt x="18" y="17"/>
                </a:lnTo>
                <a:lnTo>
                  <a:pt x="19" y="17"/>
                </a:lnTo>
                <a:lnTo>
                  <a:pt x="20" y="18"/>
                </a:lnTo>
                <a:lnTo>
                  <a:pt x="24" y="23"/>
                </a:lnTo>
                <a:lnTo>
                  <a:pt x="27" y="29"/>
                </a:lnTo>
                <a:lnTo>
                  <a:pt x="28" y="36"/>
                </a:lnTo>
                <a:lnTo>
                  <a:pt x="29" y="39"/>
                </a:lnTo>
                <a:lnTo>
                  <a:pt x="30" y="41"/>
                </a:lnTo>
                <a:lnTo>
                  <a:pt x="30" y="45"/>
                </a:lnTo>
                <a:lnTo>
                  <a:pt x="31" y="48"/>
                </a:lnTo>
                <a:lnTo>
                  <a:pt x="31" y="54"/>
                </a:lnTo>
                <a:lnTo>
                  <a:pt x="31" y="71"/>
                </a:lnTo>
                <a:lnTo>
                  <a:pt x="30" y="79"/>
                </a:lnTo>
                <a:lnTo>
                  <a:pt x="30" y="81"/>
                </a:lnTo>
                <a:lnTo>
                  <a:pt x="31" y="86"/>
                </a:lnTo>
                <a:lnTo>
                  <a:pt x="32" y="88"/>
                </a:lnTo>
                <a:lnTo>
                  <a:pt x="32" y="89"/>
                </a:lnTo>
                <a:lnTo>
                  <a:pt x="34" y="89"/>
                </a:lnTo>
                <a:lnTo>
                  <a:pt x="28" y="91"/>
                </a:lnTo>
                <a:lnTo>
                  <a:pt x="23" y="9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24" name="Freeform 724"/>
          <p:cNvSpPr>
            <a:spLocks/>
          </p:cNvSpPr>
          <p:nvPr/>
        </p:nvSpPr>
        <p:spPr bwMode="auto">
          <a:xfrm>
            <a:off x="4344988" y="3255928"/>
            <a:ext cx="53975" cy="147638"/>
          </a:xfrm>
          <a:custGeom>
            <a:avLst/>
            <a:gdLst>
              <a:gd name="T0" fmla="*/ 23 w 34"/>
              <a:gd name="T1" fmla="*/ 93 h 93"/>
              <a:gd name="T2" fmla="*/ 22 w 34"/>
              <a:gd name="T3" fmla="*/ 93 h 93"/>
              <a:gd name="T4" fmla="*/ 17 w 34"/>
              <a:gd name="T5" fmla="*/ 87 h 93"/>
              <a:gd name="T6" fmla="*/ 14 w 34"/>
              <a:gd name="T7" fmla="*/ 84 h 93"/>
              <a:gd name="T8" fmla="*/ 13 w 34"/>
              <a:gd name="T9" fmla="*/ 79 h 93"/>
              <a:gd name="T10" fmla="*/ 13 w 34"/>
              <a:gd name="T11" fmla="*/ 77 h 93"/>
              <a:gd name="T12" fmla="*/ 12 w 34"/>
              <a:gd name="T13" fmla="*/ 69 h 93"/>
              <a:gd name="T14" fmla="*/ 13 w 34"/>
              <a:gd name="T15" fmla="*/ 63 h 93"/>
              <a:gd name="T16" fmla="*/ 12 w 34"/>
              <a:gd name="T17" fmla="*/ 48 h 93"/>
              <a:gd name="T18" fmla="*/ 12 w 34"/>
              <a:gd name="T19" fmla="*/ 38 h 93"/>
              <a:gd name="T20" fmla="*/ 11 w 34"/>
              <a:gd name="T21" fmla="*/ 34 h 93"/>
              <a:gd name="T22" fmla="*/ 10 w 34"/>
              <a:gd name="T23" fmla="*/ 31 h 93"/>
              <a:gd name="T24" fmla="*/ 9 w 34"/>
              <a:gd name="T25" fmla="*/ 29 h 93"/>
              <a:gd name="T26" fmla="*/ 9 w 34"/>
              <a:gd name="T27" fmla="*/ 23 h 93"/>
              <a:gd name="T28" fmla="*/ 8 w 34"/>
              <a:gd name="T29" fmla="*/ 18 h 93"/>
              <a:gd name="T30" fmla="*/ 7 w 34"/>
              <a:gd name="T31" fmla="*/ 16 h 93"/>
              <a:gd name="T32" fmla="*/ 4 w 34"/>
              <a:gd name="T33" fmla="*/ 14 h 93"/>
              <a:gd name="T34" fmla="*/ 3 w 34"/>
              <a:gd name="T35" fmla="*/ 12 h 93"/>
              <a:gd name="T36" fmla="*/ 1 w 34"/>
              <a:gd name="T37" fmla="*/ 9 h 93"/>
              <a:gd name="T38" fmla="*/ 1 w 34"/>
              <a:gd name="T39" fmla="*/ 7 h 93"/>
              <a:gd name="T40" fmla="*/ 2 w 34"/>
              <a:gd name="T41" fmla="*/ 5 h 93"/>
              <a:gd name="T42" fmla="*/ 2 w 34"/>
              <a:gd name="T43" fmla="*/ 4 h 93"/>
              <a:gd name="T44" fmla="*/ 2 w 34"/>
              <a:gd name="T45" fmla="*/ 3 h 93"/>
              <a:gd name="T46" fmla="*/ 2 w 34"/>
              <a:gd name="T47" fmla="*/ 2 h 93"/>
              <a:gd name="T48" fmla="*/ 0 w 34"/>
              <a:gd name="T49" fmla="*/ 2 h 93"/>
              <a:gd name="T50" fmla="*/ 0 w 34"/>
              <a:gd name="T51" fmla="*/ 2 h 93"/>
              <a:gd name="T52" fmla="*/ 0 w 34"/>
              <a:gd name="T53" fmla="*/ 0 h 93"/>
              <a:gd name="T54" fmla="*/ 0 w 34"/>
              <a:gd name="T55" fmla="*/ 0 h 93"/>
              <a:gd name="T56" fmla="*/ 9 w 34"/>
              <a:gd name="T57" fmla="*/ 3 h 93"/>
              <a:gd name="T58" fmla="*/ 11 w 34"/>
              <a:gd name="T59" fmla="*/ 4 h 93"/>
              <a:gd name="T60" fmla="*/ 12 w 34"/>
              <a:gd name="T61" fmla="*/ 4 h 93"/>
              <a:gd name="T62" fmla="*/ 12 w 34"/>
              <a:gd name="T63" fmla="*/ 3 h 93"/>
              <a:gd name="T64" fmla="*/ 17 w 34"/>
              <a:gd name="T65" fmla="*/ 3 h 93"/>
              <a:gd name="T66" fmla="*/ 17 w 34"/>
              <a:gd name="T67" fmla="*/ 3 h 93"/>
              <a:gd name="T68" fmla="*/ 17 w 34"/>
              <a:gd name="T69" fmla="*/ 4 h 93"/>
              <a:gd name="T70" fmla="*/ 16 w 34"/>
              <a:gd name="T71" fmla="*/ 6 h 93"/>
              <a:gd name="T72" fmla="*/ 14 w 34"/>
              <a:gd name="T73" fmla="*/ 8 h 93"/>
              <a:gd name="T74" fmla="*/ 14 w 34"/>
              <a:gd name="T75" fmla="*/ 12 h 93"/>
              <a:gd name="T76" fmla="*/ 14 w 34"/>
              <a:gd name="T77" fmla="*/ 15 h 93"/>
              <a:gd name="T78" fmla="*/ 16 w 34"/>
              <a:gd name="T79" fmla="*/ 16 h 93"/>
              <a:gd name="T80" fmla="*/ 18 w 34"/>
              <a:gd name="T81" fmla="*/ 17 h 93"/>
              <a:gd name="T82" fmla="*/ 19 w 34"/>
              <a:gd name="T83" fmla="*/ 17 h 93"/>
              <a:gd name="T84" fmla="*/ 20 w 34"/>
              <a:gd name="T85" fmla="*/ 18 h 93"/>
              <a:gd name="T86" fmla="*/ 24 w 34"/>
              <a:gd name="T87" fmla="*/ 23 h 93"/>
              <a:gd name="T88" fmla="*/ 27 w 34"/>
              <a:gd name="T89" fmla="*/ 29 h 93"/>
              <a:gd name="T90" fmla="*/ 28 w 34"/>
              <a:gd name="T91" fmla="*/ 36 h 93"/>
              <a:gd name="T92" fmla="*/ 29 w 34"/>
              <a:gd name="T93" fmla="*/ 39 h 93"/>
              <a:gd name="T94" fmla="*/ 30 w 34"/>
              <a:gd name="T95" fmla="*/ 41 h 93"/>
              <a:gd name="T96" fmla="*/ 30 w 34"/>
              <a:gd name="T97" fmla="*/ 45 h 93"/>
              <a:gd name="T98" fmla="*/ 31 w 34"/>
              <a:gd name="T99" fmla="*/ 48 h 93"/>
              <a:gd name="T100" fmla="*/ 31 w 34"/>
              <a:gd name="T101" fmla="*/ 54 h 93"/>
              <a:gd name="T102" fmla="*/ 31 w 34"/>
              <a:gd name="T103" fmla="*/ 71 h 93"/>
              <a:gd name="T104" fmla="*/ 30 w 34"/>
              <a:gd name="T105" fmla="*/ 79 h 93"/>
              <a:gd name="T106" fmla="*/ 30 w 34"/>
              <a:gd name="T107" fmla="*/ 81 h 93"/>
              <a:gd name="T108" fmla="*/ 31 w 34"/>
              <a:gd name="T109" fmla="*/ 86 h 93"/>
              <a:gd name="T110" fmla="*/ 32 w 34"/>
              <a:gd name="T111" fmla="*/ 88 h 93"/>
              <a:gd name="T112" fmla="*/ 32 w 34"/>
              <a:gd name="T113" fmla="*/ 89 h 93"/>
              <a:gd name="T114" fmla="*/ 34 w 34"/>
              <a:gd name="T115" fmla="*/ 89 h 93"/>
              <a:gd name="T116" fmla="*/ 28 w 34"/>
              <a:gd name="T117" fmla="*/ 91 h 93"/>
              <a:gd name="T118" fmla="*/ 23 w 34"/>
              <a:gd name="T119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4" h="93">
                <a:moveTo>
                  <a:pt x="23" y="93"/>
                </a:moveTo>
                <a:lnTo>
                  <a:pt x="22" y="93"/>
                </a:lnTo>
                <a:lnTo>
                  <a:pt x="17" y="87"/>
                </a:lnTo>
                <a:lnTo>
                  <a:pt x="14" y="84"/>
                </a:lnTo>
                <a:lnTo>
                  <a:pt x="13" y="79"/>
                </a:lnTo>
                <a:lnTo>
                  <a:pt x="13" y="77"/>
                </a:lnTo>
                <a:lnTo>
                  <a:pt x="12" y="69"/>
                </a:lnTo>
                <a:lnTo>
                  <a:pt x="13" y="63"/>
                </a:lnTo>
                <a:lnTo>
                  <a:pt x="12" y="48"/>
                </a:lnTo>
                <a:lnTo>
                  <a:pt x="12" y="38"/>
                </a:lnTo>
                <a:lnTo>
                  <a:pt x="11" y="34"/>
                </a:lnTo>
                <a:lnTo>
                  <a:pt x="10" y="31"/>
                </a:lnTo>
                <a:lnTo>
                  <a:pt x="9" y="29"/>
                </a:lnTo>
                <a:lnTo>
                  <a:pt x="9" y="23"/>
                </a:lnTo>
                <a:lnTo>
                  <a:pt x="8" y="18"/>
                </a:lnTo>
                <a:lnTo>
                  <a:pt x="7" y="16"/>
                </a:lnTo>
                <a:lnTo>
                  <a:pt x="4" y="14"/>
                </a:lnTo>
                <a:lnTo>
                  <a:pt x="3" y="12"/>
                </a:lnTo>
                <a:lnTo>
                  <a:pt x="1" y="9"/>
                </a:lnTo>
                <a:lnTo>
                  <a:pt x="1" y="7"/>
                </a:lnTo>
                <a:lnTo>
                  <a:pt x="2" y="5"/>
                </a:lnTo>
                <a:lnTo>
                  <a:pt x="2" y="4"/>
                </a:lnTo>
                <a:lnTo>
                  <a:pt x="2" y="3"/>
                </a:lnTo>
                <a:lnTo>
                  <a:pt x="2" y="2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lnTo>
                  <a:pt x="0" y="0"/>
                </a:lnTo>
                <a:lnTo>
                  <a:pt x="9" y="3"/>
                </a:lnTo>
                <a:lnTo>
                  <a:pt x="11" y="4"/>
                </a:lnTo>
                <a:lnTo>
                  <a:pt x="12" y="4"/>
                </a:lnTo>
                <a:lnTo>
                  <a:pt x="12" y="3"/>
                </a:lnTo>
                <a:lnTo>
                  <a:pt x="17" y="3"/>
                </a:lnTo>
                <a:lnTo>
                  <a:pt x="17" y="3"/>
                </a:lnTo>
                <a:lnTo>
                  <a:pt x="17" y="4"/>
                </a:lnTo>
                <a:lnTo>
                  <a:pt x="16" y="6"/>
                </a:lnTo>
                <a:lnTo>
                  <a:pt x="14" y="8"/>
                </a:lnTo>
                <a:lnTo>
                  <a:pt x="14" y="12"/>
                </a:lnTo>
                <a:lnTo>
                  <a:pt x="14" y="15"/>
                </a:lnTo>
                <a:lnTo>
                  <a:pt x="16" y="16"/>
                </a:lnTo>
                <a:lnTo>
                  <a:pt x="18" y="17"/>
                </a:lnTo>
                <a:lnTo>
                  <a:pt x="19" y="17"/>
                </a:lnTo>
                <a:lnTo>
                  <a:pt x="20" y="18"/>
                </a:lnTo>
                <a:lnTo>
                  <a:pt x="24" y="23"/>
                </a:lnTo>
                <a:lnTo>
                  <a:pt x="27" y="29"/>
                </a:lnTo>
                <a:lnTo>
                  <a:pt x="28" y="36"/>
                </a:lnTo>
                <a:lnTo>
                  <a:pt x="29" y="39"/>
                </a:lnTo>
                <a:lnTo>
                  <a:pt x="30" y="41"/>
                </a:lnTo>
                <a:lnTo>
                  <a:pt x="30" y="45"/>
                </a:lnTo>
                <a:lnTo>
                  <a:pt x="31" y="48"/>
                </a:lnTo>
                <a:lnTo>
                  <a:pt x="31" y="54"/>
                </a:lnTo>
                <a:lnTo>
                  <a:pt x="31" y="71"/>
                </a:lnTo>
                <a:lnTo>
                  <a:pt x="30" y="79"/>
                </a:lnTo>
                <a:lnTo>
                  <a:pt x="30" y="81"/>
                </a:lnTo>
                <a:lnTo>
                  <a:pt x="31" y="86"/>
                </a:lnTo>
                <a:lnTo>
                  <a:pt x="32" y="88"/>
                </a:lnTo>
                <a:lnTo>
                  <a:pt x="32" y="89"/>
                </a:lnTo>
                <a:lnTo>
                  <a:pt x="34" y="89"/>
                </a:lnTo>
                <a:lnTo>
                  <a:pt x="28" y="91"/>
                </a:lnTo>
                <a:lnTo>
                  <a:pt x="23" y="9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25" name="Freeform 725"/>
          <p:cNvSpPr>
            <a:spLocks/>
          </p:cNvSpPr>
          <p:nvPr/>
        </p:nvSpPr>
        <p:spPr bwMode="auto">
          <a:xfrm>
            <a:off x="5392738" y="3235290"/>
            <a:ext cx="255587" cy="388938"/>
          </a:xfrm>
          <a:custGeom>
            <a:avLst/>
            <a:gdLst>
              <a:gd name="T0" fmla="*/ 2 w 161"/>
              <a:gd name="T1" fmla="*/ 235 h 245"/>
              <a:gd name="T2" fmla="*/ 1 w 161"/>
              <a:gd name="T3" fmla="*/ 200 h 245"/>
              <a:gd name="T4" fmla="*/ 1 w 161"/>
              <a:gd name="T5" fmla="*/ 164 h 245"/>
              <a:gd name="T6" fmla="*/ 15 w 161"/>
              <a:gd name="T7" fmla="*/ 144 h 245"/>
              <a:gd name="T8" fmla="*/ 30 w 161"/>
              <a:gd name="T9" fmla="*/ 137 h 245"/>
              <a:gd name="T10" fmla="*/ 43 w 161"/>
              <a:gd name="T11" fmla="*/ 127 h 245"/>
              <a:gd name="T12" fmla="*/ 88 w 161"/>
              <a:gd name="T13" fmla="*/ 98 h 245"/>
              <a:gd name="T14" fmla="*/ 111 w 161"/>
              <a:gd name="T15" fmla="*/ 70 h 245"/>
              <a:gd name="T16" fmla="*/ 47 w 161"/>
              <a:gd name="T17" fmla="*/ 51 h 245"/>
              <a:gd name="T18" fmla="*/ 37 w 161"/>
              <a:gd name="T19" fmla="*/ 40 h 245"/>
              <a:gd name="T20" fmla="*/ 32 w 161"/>
              <a:gd name="T21" fmla="*/ 34 h 245"/>
              <a:gd name="T22" fmla="*/ 28 w 161"/>
              <a:gd name="T23" fmla="*/ 29 h 245"/>
              <a:gd name="T24" fmla="*/ 28 w 161"/>
              <a:gd name="T25" fmla="*/ 18 h 245"/>
              <a:gd name="T26" fmla="*/ 32 w 161"/>
              <a:gd name="T27" fmla="*/ 8 h 245"/>
              <a:gd name="T28" fmla="*/ 35 w 161"/>
              <a:gd name="T29" fmla="*/ 10 h 245"/>
              <a:gd name="T30" fmla="*/ 41 w 161"/>
              <a:gd name="T31" fmla="*/ 19 h 245"/>
              <a:gd name="T32" fmla="*/ 52 w 161"/>
              <a:gd name="T33" fmla="*/ 28 h 245"/>
              <a:gd name="T34" fmla="*/ 62 w 161"/>
              <a:gd name="T35" fmla="*/ 26 h 245"/>
              <a:gd name="T36" fmla="*/ 70 w 161"/>
              <a:gd name="T37" fmla="*/ 21 h 245"/>
              <a:gd name="T38" fmla="*/ 72 w 161"/>
              <a:gd name="T39" fmla="*/ 19 h 245"/>
              <a:gd name="T40" fmla="*/ 76 w 161"/>
              <a:gd name="T41" fmla="*/ 20 h 245"/>
              <a:gd name="T42" fmla="*/ 82 w 161"/>
              <a:gd name="T43" fmla="*/ 22 h 245"/>
              <a:gd name="T44" fmla="*/ 90 w 161"/>
              <a:gd name="T45" fmla="*/ 20 h 245"/>
              <a:gd name="T46" fmla="*/ 96 w 161"/>
              <a:gd name="T47" fmla="*/ 16 h 245"/>
              <a:gd name="T48" fmla="*/ 103 w 161"/>
              <a:gd name="T49" fmla="*/ 16 h 245"/>
              <a:gd name="T50" fmla="*/ 111 w 161"/>
              <a:gd name="T51" fmla="*/ 15 h 245"/>
              <a:gd name="T52" fmla="*/ 119 w 161"/>
              <a:gd name="T53" fmla="*/ 11 h 245"/>
              <a:gd name="T54" fmla="*/ 128 w 161"/>
              <a:gd name="T55" fmla="*/ 9 h 245"/>
              <a:gd name="T56" fmla="*/ 134 w 161"/>
              <a:gd name="T57" fmla="*/ 8 h 245"/>
              <a:gd name="T58" fmla="*/ 142 w 161"/>
              <a:gd name="T59" fmla="*/ 6 h 245"/>
              <a:gd name="T60" fmla="*/ 150 w 161"/>
              <a:gd name="T61" fmla="*/ 0 h 245"/>
              <a:gd name="T62" fmla="*/ 158 w 161"/>
              <a:gd name="T63" fmla="*/ 2 h 245"/>
              <a:gd name="T64" fmla="*/ 159 w 161"/>
              <a:gd name="T65" fmla="*/ 7 h 245"/>
              <a:gd name="T66" fmla="*/ 157 w 161"/>
              <a:gd name="T67" fmla="*/ 13 h 245"/>
              <a:gd name="T68" fmla="*/ 158 w 161"/>
              <a:gd name="T69" fmla="*/ 19 h 245"/>
              <a:gd name="T70" fmla="*/ 158 w 161"/>
              <a:gd name="T71" fmla="*/ 26 h 245"/>
              <a:gd name="T72" fmla="*/ 158 w 161"/>
              <a:gd name="T73" fmla="*/ 28 h 245"/>
              <a:gd name="T74" fmla="*/ 160 w 161"/>
              <a:gd name="T75" fmla="*/ 28 h 245"/>
              <a:gd name="T76" fmla="*/ 161 w 161"/>
              <a:gd name="T77" fmla="*/ 30 h 245"/>
              <a:gd name="T78" fmla="*/ 157 w 161"/>
              <a:gd name="T79" fmla="*/ 29 h 245"/>
              <a:gd name="T80" fmla="*/ 154 w 161"/>
              <a:gd name="T81" fmla="*/ 32 h 245"/>
              <a:gd name="T82" fmla="*/ 153 w 161"/>
              <a:gd name="T83" fmla="*/ 48 h 245"/>
              <a:gd name="T84" fmla="*/ 150 w 161"/>
              <a:gd name="T85" fmla="*/ 54 h 245"/>
              <a:gd name="T86" fmla="*/ 143 w 161"/>
              <a:gd name="T87" fmla="*/ 67 h 245"/>
              <a:gd name="T88" fmla="*/ 140 w 161"/>
              <a:gd name="T89" fmla="*/ 70 h 245"/>
              <a:gd name="T90" fmla="*/ 139 w 161"/>
              <a:gd name="T91" fmla="*/ 78 h 245"/>
              <a:gd name="T92" fmla="*/ 129 w 161"/>
              <a:gd name="T93" fmla="*/ 100 h 245"/>
              <a:gd name="T94" fmla="*/ 123 w 161"/>
              <a:gd name="T95" fmla="*/ 116 h 245"/>
              <a:gd name="T96" fmla="*/ 120 w 161"/>
              <a:gd name="T97" fmla="*/ 118 h 245"/>
              <a:gd name="T98" fmla="*/ 113 w 161"/>
              <a:gd name="T99" fmla="*/ 129 h 245"/>
              <a:gd name="T100" fmla="*/ 112 w 161"/>
              <a:gd name="T101" fmla="*/ 133 h 245"/>
              <a:gd name="T102" fmla="*/ 107 w 161"/>
              <a:gd name="T103" fmla="*/ 143 h 245"/>
              <a:gd name="T104" fmla="*/ 98 w 161"/>
              <a:gd name="T105" fmla="*/ 152 h 245"/>
              <a:gd name="T106" fmla="*/ 88 w 161"/>
              <a:gd name="T107" fmla="*/ 163 h 245"/>
              <a:gd name="T108" fmla="*/ 81 w 161"/>
              <a:gd name="T109" fmla="*/ 172 h 245"/>
              <a:gd name="T110" fmla="*/ 72 w 161"/>
              <a:gd name="T111" fmla="*/ 180 h 245"/>
              <a:gd name="T112" fmla="*/ 63 w 161"/>
              <a:gd name="T113" fmla="*/ 183 h 245"/>
              <a:gd name="T114" fmla="*/ 36 w 161"/>
              <a:gd name="T115" fmla="*/ 212 h 245"/>
              <a:gd name="T116" fmla="*/ 28 w 161"/>
              <a:gd name="T117" fmla="*/ 220 h 245"/>
              <a:gd name="T118" fmla="*/ 27 w 161"/>
              <a:gd name="T119" fmla="*/ 221 h 245"/>
              <a:gd name="T120" fmla="*/ 26 w 161"/>
              <a:gd name="T121" fmla="*/ 223 h 245"/>
              <a:gd name="T122" fmla="*/ 19 w 161"/>
              <a:gd name="T123" fmla="*/ 233 h 245"/>
              <a:gd name="T124" fmla="*/ 10 w 161"/>
              <a:gd name="T125" fmla="*/ 245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1" h="245">
                <a:moveTo>
                  <a:pt x="9" y="245"/>
                </a:moveTo>
                <a:lnTo>
                  <a:pt x="9" y="244"/>
                </a:lnTo>
                <a:lnTo>
                  <a:pt x="2" y="235"/>
                </a:lnTo>
                <a:lnTo>
                  <a:pt x="1" y="232"/>
                </a:lnTo>
                <a:lnTo>
                  <a:pt x="1" y="218"/>
                </a:lnTo>
                <a:lnTo>
                  <a:pt x="1" y="200"/>
                </a:lnTo>
                <a:lnTo>
                  <a:pt x="0" y="182"/>
                </a:lnTo>
                <a:lnTo>
                  <a:pt x="0" y="164"/>
                </a:lnTo>
                <a:lnTo>
                  <a:pt x="1" y="164"/>
                </a:lnTo>
                <a:lnTo>
                  <a:pt x="8" y="157"/>
                </a:lnTo>
                <a:lnTo>
                  <a:pt x="14" y="147"/>
                </a:lnTo>
                <a:lnTo>
                  <a:pt x="15" y="144"/>
                </a:lnTo>
                <a:lnTo>
                  <a:pt x="16" y="143"/>
                </a:lnTo>
                <a:lnTo>
                  <a:pt x="19" y="141"/>
                </a:lnTo>
                <a:lnTo>
                  <a:pt x="30" y="137"/>
                </a:lnTo>
                <a:lnTo>
                  <a:pt x="33" y="132"/>
                </a:lnTo>
                <a:lnTo>
                  <a:pt x="37" y="130"/>
                </a:lnTo>
                <a:lnTo>
                  <a:pt x="43" y="127"/>
                </a:lnTo>
                <a:lnTo>
                  <a:pt x="46" y="126"/>
                </a:lnTo>
                <a:lnTo>
                  <a:pt x="65" y="126"/>
                </a:lnTo>
                <a:lnTo>
                  <a:pt x="88" y="98"/>
                </a:lnTo>
                <a:lnTo>
                  <a:pt x="108" y="74"/>
                </a:lnTo>
                <a:lnTo>
                  <a:pt x="111" y="71"/>
                </a:lnTo>
                <a:lnTo>
                  <a:pt x="111" y="70"/>
                </a:lnTo>
                <a:lnTo>
                  <a:pt x="96" y="70"/>
                </a:lnTo>
                <a:lnTo>
                  <a:pt x="70" y="60"/>
                </a:lnTo>
                <a:lnTo>
                  <a:pt x="47" y="51"/>
                </a:lnTo>
                <a:lnTo>
                  <a:pt x="45" y="48"/>
                </a:lnTo>
                <a:lnTo>
                  <a:pt x="39" y="43"/>
                </a:lnTo>
                <a:lnTo>
                  <a:pt x="37" y="40"/>
                </a:lnTo>
                <a:lnTo>
                  <a:pt x="35" y="38"/>
                </a:lnTo>
                <a:lnTo>
                  <a:pt x="35" y="37"/>
                </a:lnTo>
                <a:lnTo>
                  <a:pt x="32" y="34"/>
                </a:lnTo>
                <a:lnTo>
                  <a:pt x="31" y="33"/>
                </a:lnTo>
                <a:lnTo>
                  <a:pt x="30" y="31"/>
                </a:lnTo>
                <a:lnTo>
                  <a:pt x="28" y="29"/>
                </a:lnTo>
                <a:lnTo>
                  <a:pt x="26" y="21"/>
                </a:lnTo>
                <a:lnTo>
                  <a:pt x="26" y="20"/>
                </a:lnTo>
                <a:lnTo>
                  <a:pt x="28" y="18"/>
                </a:lnTo>
                <a:lnTo>
                  <a:pt x="28" y="16"/>
                </a:lnTo>
                <a:lnTo>
                  <a:pt x="31" y="12"/>
                </a:lnTo>
                <a:lnTo>
                  <a:pt x="32" y="8"/>
                </a:lnTo>
                <a:lnTo>
                  <a:pt x="32" y="8"/>
                </a:lnTo>
                <a:lnTo>
                  <a:pt x="33" y="9"/>
                </a:lnTo>
                <a:lnTo>
                  <a:pt x="35" y="10"/>
                </a:lnTo>
                <a:lnTo>
                  <a:pt x="37" y="12"/>
                </a:lnTo>
                <a:lnTo>
                  <a:pt x="38" y="13"/>
                </a:lnTo>
                <a:lnTo>
                  <a:pt x="41" y="19"/>
                </a:lnTo>
                <a:lnTo>
                  <a:pt x="46" y="25"/>
                </a:lnTo>
                <a:lnTo>
                  <a:pt x="50" y="27"/>
                </a:lnTo>
                <a:lnTo>
                  <a:pt x="52" y="28"/>
                </a:lnTo>
                <a:lnTo>
                  <a:pt x="53" y="27"/>
                </a:lnTo>
                <a:lnTo>
                  <a:pt x="60" y="28"/>
                </a:lnTo>
                <a:lnTo>
                  <a:pt x="62" y="26"/>
                </a:lnTo>
                <a:lnTo>
                  <a:pt x="65" y="23"/>
                </a:lnTo>
                <a:lnTo>
                  <a:pt x="67" y="23"/>
                </a:lnTo>
                <a:lnTo>
                  <a:pt x="70" y="21"/>
                </a:lnTo>
                <a:lnTo>
                  <a:pt x="71" y="21"/>
                </a:lnTo>
                <a:lnTo>
                  <a:pt x="71" y="20"/>
                </a:lnTo>
                <a:lnTo>
                  <a:pt x="72" y="19"/>
                </a:lnTo>
                <a:lnTo>
                  <a:pt x="73" y="19"/>
                </a:lnTo>
                <a:lnTo>
                  <a:pt x="75" y="20"/>
                </a:lnTo>
                <a:lnTo>
                  <a:pt x="76" y="20"/>
                </a:lnTo>
                <a:lnTo>
                  <a:pt x="77" y="20"/>
                </a:lnTo>
                <a:lnTo>
                  <a:pt x="80" y="20"/>
                </a:lnTo>
                <a:lnTo>
                  <a:pt x="82" y="22"/>
                </a:lnTo>
                <a:lnTo>
                  <a:pt x="86" y="22"/>
                </a:lnTo>
                <a:lnTo>
                  <a:pt x="88" y="21"/>
                </a:lnTo>
                <a:lnTo>
                  <a:pt x="90" y="20"/>
                </a:lnTo>
                <a:lnTo>
                  <a:pt x="91" y="19"/>
                </a:lnTo>
                <a:lnTo>
                  <a:pt x="93" y="18"/>
                </a:lnTo>
                <a:lnTo>
                  <a:pt x="96" y="16"/>
                </a:lnTo>
                <a:lnTo>
                  <a:pt x="97" y="15"/>
                </a:lnTo>
                <a:lnTo>
                  <a:pt x="100" y="13"/>
                </a:lnTo>
                <a:lnTo>
                  <a:pt x="103" y="16"/>
                </a:lnTo>
                <a:lnTo>
                  <a:pt x="106" y="15"/>
                </a:lnTo>
                <a:lnTo>
                  <a:pt x="108" y="15"/>
                </a:lnTo>
                <a:lnTo>
                  <a:pt x="111" y="15"/>
                </a:lnTo>
                <a:lnTo>
                  <a:pt x="113" y="13"/>
                </a:lnTo>
                <a:lnTo>
                  <a:pt x="117" y="11"/>
                </a:lnTo>
                <a:lnTo>
                  <a:pt x="119" y="11"/>
                </a:lnTo>
                <a:lnTo>
                  <a:pt x="122" y="12"/>
                </a:lnTo>
                <a:lnTo>
                  <a:pt x="127" y="10"/>
                </a:lnTo>
                <a:lnTo>
                  <a:pt x="128" y="9"/>
                </a:lnTo>
                <a:lnTo>
                  <a:pt x="130" y="9"/>
                </a:lnTo>
                <a:lnTo>
                  <a:pt x="131" y="8"/>
                </a:lnTo>
                <a:lnTo>
                  <a:pt x="134" y="8"/>
                </a:lnTo>
                <a:lnTo>
                  <a:pt x="137" y="8"/>
                </a:lnTo>
                <a:lnTo>
                  <a:pt x="141" y="7"/>
                </a:lnTo>
                <a:lnTo>
                  <a:pt x="142" y="6"/>
                </a:lnTo>
                <a:lnTo>
                  <a:pt x="147" y="3"/>
                </a:lnTo>
                <a:lnTo>
                  <a:pt x="148" y="1"/>
                </a:lnTo>
                <a:lnTo>
                  <a:pt x="150" y="0"/>
                </a:lnTo>
                <a:lnTo>
                  <a:pt x="152" y="0"/>
                </a:lnTo>
                <a:lnTo>
                  <a:pt x="156" y="2"/>
                </a:lnTo>
                <a:lnTo>
                  <a:pt x="158" y="2"/>
                </a:lnTo>
                <a:lnTo>
                  <a:pt x="159" y="2"/>
                </a:lnTo>
                <a:lnTo>
                  <a:pt x="158" y="5"/>
                </a:lnTo>
                <a:lnTo>
                  <a:pt x="159" y="7"/>
                </a:lnTo>
                <a:lnTo>
                  <a:pt x="157" y="9"/>
                </a:lnTo>
                <a:lnTo>
                  <a:pt x="157" y="11"/>
                </a:lnTo>
                <a:lnTo>
                  <a:pt x="157" y="13"/>
                </a:lnTo>
                <a:lnTo>
                  <a:pt x="159" y="16"/>
                </a:lnTo>
                <a:lnTo>
                  <a:pt x="158" y="17"/>
                </a:lnTo>
                <a:lnTo>
                  <a:pt x="158" y="19"/>
                </a:lnTo>
                <a:lnTo>
                  <a:pt x="158" y="21"/>
                </a:lnTo>
                <a:lnTo>
                  <a:pt x="159" y="25"/>
                </a:lnTo>
                <a:lnTo>
                  <a:pt x="158" y="26"/>
                </a:lnTo>
                <a:lnTo>
                  <a:pt x="157" y="28"/>
                </a:lnTo>
                <a:lnTo>
                  <a:pt x="157" y="28"/>
                </a:lnTo>
                <a:lnTo>
                  <a:pt x="158" y="28"/>
                </a:lnTo>
                <a:lnTo>
                  <a:pt x="159" y="27"/>
                </a:lnTo>
                <a:lnTo>
                  <a:pt x="159" y="27"/>
                </a:lnTo>
                <a:lnTo>
                  <a:pt x="160" y="28"/>
                </a:lnTo>
                <a:lnTo>
                  <a:pt x="161" y="28"/>
                </a:lnTo>
                <a:lnTo>
                  <a:pt x="161" y="29"/>
                </a:lnTo>
                <a:lnTo>
                  <a:pt x="161" y="30"/>
                </a:lnTo>
                <a:lnTo>
                  <a:pt x="160" y="30"/>
                </a:lnTo>
                <a:lnTo>
                  <a:pt x="159" y="29"/>
                </a:lnTo>
                <a:lnTo>
                  <a:pt x="157" y="29"/>
                </a:lnTo>
                <a:lnTo>
                  <a:pt x="156" y="30"/>
                </a:lnTo>
                <a:lnTo>
                  <a:pt x="154" y="30"/>
                </a:lnTo>
                <a:lnTo>
                  <a:pt x="154" y="32"/>
                </a:lnTo>
                <a:lnTo>
                  <a:pt x="153" y="41"/>
                </a:lnTo>
                <a:lnTo>
                  <a:pt x="153" y="47"/>
                </a:lnTo>
                <a:lnTo>
                  <a:pt x="153" y="48"/>
                </a:lnTo>
                <a:lnTo>
                  <a:pt x="152" y="51"/>
                </a:lnTo>
                <a:lnTo>
                  <a:pt x="151" y="52"/>
                </a:lnTo>
                <a:lnTo>
                  <a:pt x="150" y="54"/>
                </a:lnTo>
                <a:lnTo>
                  <a:pt x="148" y="60"/>
                </a:lnTo>
                <a:lnTo>
                  <a:pt x="146" y="62"/>
                </a:lnTo>
                <a:lnTo>
                  <a:pt x="143" y="67"/>
                </a:lnTo>
                <a:lnTo>
                  <a:pt x="143" y="67"/>
                </a:lnTo>
                <a:lnTo>
                  <a:pt x="142" y="69"/>
                </a:lnTo>
                <a:lnTo>
                  <a:pt x="140" y="70"/>
                </a:lnTo>
                <a:lnTo>
                  <a:pt x="140" y="72"/>
                </a:lnTo>
                <a:lnTo>
                  <a:pt x="139" y="74"/>
                </a:lnTo>
                <a:lnTo>
                  <a:pt x="139" y="78"/>
                </a:lnTo>
                <a:lnTo>
                  <a:pt x="134" y="89"/>
                </a:lnTo>
                <a:lnTo>
                  <a:pt x="130" y="98"/>
                </a:lnTo>
                <a:lnTo>
                  <a:pt x="129" y="100"/>
                </a:lnTo>
                <a:lnTo>
                  <a:pt x="128" y="108"/>
                </a:lnTo>
                <a:lnTo>
                  <a:pt x="126" y="113"/>
                </a:lnTo>
                <a:lnTo>
                  <a:pt x="123" y="116"/>
                </a:lnTo>
                <a:lnTo>
                  <a:pt x="122" y="117"/>
                </a:lnTo>
                <a:lnTo>
                  <a:pt x="121" y="118"/>
                </a:lnTo>
                <a:lnTo>
                  <a:pt x="120" y="118"/>
                </a:lnTo>
                <a:lnTo>
                  <a:pt x="119" y="120"/>
                </a:lnTo>
                <a:lnTo>
                  <a:pt x="116" y="124"/>
                </a:lnTo>
                <a:lnTo>
                  <a:pt x="113" y="129"/>
                </a:lnTo>
                <a:lnTo>
                  <a:pt x="113" y="129"/>
                </a:lnTo>
                <a:lnTo>
                  <a:pt x="113" y="130"/>
                </a:lnTo>
                <a:lnTo>
                  <a:pt x="112" y="133"/>
                </a:lnTo>
                <a:lnTo>
                  <a:pt x="109" y="139"/>
                </a:lnTo>
                <a:lnTo>
                  <a:pt x="107" y="142"/>
                </a:lnTo>
                <a:lnTo>
                  <a:pt x="107" y="143"/>
                </a:lnTo>
                <a:lnTo>
                  <a:pt x="103" y="147"/>
                </a:lnTo>
                <a:lnTo>
                  <a:pt x="100" y="150"/>
                </a:lnTo>
                <a:lnTo>
                  <a:pt x="98" y="152"/>
                </a:lnTo>
                <a:lnTo>
                  <a:pt x="95" y="157"/>
                </a:lnTo>
                <a:lnTo>
                  <a:pt x="90" y="161"/>
                </a:lnTo>
                <a:lnTo>
                  <a:pt x="88" y="163"/>
                </a:lnTo>
                <a:lnTo>
                  <a:pt x="87" y="163"/>
                </a:lnTo>
                <a:lnTo>
                  <a:pt x="86" y="168"/>
                </a:lnTo>
                <a:lnTo>
                  <a:pt x="81" y="172"/>
                </a:lnTo>
                <a:lnTo>
                  <a:pt x="78" y="177"/>
                </a:lnTo>
                <a:lnTo>
                  <a:pt x="73" y="179"/>
                </a:lnTo>
                <a:lnTo>
                  <a:pt x="72" y="180"/>
                </a:lnTo>
                <a:lnTo>
                  <a:pt x="68" y="182"/>
                </a:lnTo>
                <a:lnTo>
                  <a:pt x="66" y="182"/>
                </a:lnTo>
                <a:lnTo>
                  <a:pt x="63" y="183"/>
                </a:lnTo>
                <a:lnTo>
                  <a:pt x="57" y="189"/>
                </a:lnTo>
                <a:lnTo>
                  <a:pt x="41" y="205"/>
                </a:lnTo>
                <a:lnTo>
                  <a:pt x="36" y="212"/>
                </a:lnTo>
                <a:lnTo>
                  <a:pt x="35" y="214"/>
                </a:lnTo>
                <a:lnTo>
                  <a:pt x="31" y="219"/>
                </a:lnTo>
                <a:lnTo>
                  <a:pt x="28" y="220"/>
                </a:lnTo>
                <a:lnTo>
                  <a:pt x="27" y="219"/>
                </a:lnTo>
                <a:lnTo>
                  <a:pt x="26" y="221"/>
                </a:lnTo>
                <a:lnTo>
                  <a:pt x="27" y="221"/>
                </a:lnTo>
                <a:lnTo>
                  <a:pt x="27" y="222"/>
                </a:lnTo>
                <a:lnTo>
                  <a:pt x="27" y="223"/>
                </a:lnTo>
                <a:lnTo>
                  <a:pt x="26" y="223"/>
                </a:lnTo>
                <a:lnTo>
                  <a:pt x="25" y="227"/>
                </a:lnTo>
                <a:lnTo>
                  <a:pt x="22" y="229"/>
                </a:lnTo>
                <a:lnTo>
                  <a:pt x="19" y="233"/>
                </a:lnTo>
                <a:lnTo>
                  <a:pt x="16" y="239"/>
                </a:lnTo>
                <a:lnTo>
                  <a:pt x="11" y="242"/>
                </a:lnTo>
                <a:lnTo>
                  <a:pt x="10" y="245"/>
                </a:lnTo>
                <a:lnTo>
                  <a:pt x="9" y="24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26" name="Freeform 726"/>
          <p:cNvSpPr>
            <a:spLocks/>
          </p:cNvSpPr>
          <p:nvPr/>
        </p:nvSpPr>
        <p:spPr bwMode="auto">
          <a:xfrm>
            <a:off x="5392738" y="3235290"/>
            <a:ext cx="255587" cy="388938"/>
          </a:xfrm>
          <a:custGeom>
            <a:avLst/>
            <a:gdLst>
              <a:gd name="T0" fmla="*/ 2 w 161"/>
              <a:gd name="T1" fmla="*/ 235 h 245"/>
              <a:gd name="T2" fmla="*/ 1 w 161"/>
              <a:gd name="T3" fmla="*/ 200 h 245"/>
              <a:gd name="T4" fmla="*/ 1 w 161"/>
              <a:gd name="T5" fmla="*/ 164 h 245"/>
              <a:gd name="T6" fmla="*/ 15 w 161"/>
              <a:gd name="T7" fmla="*/ 144 h 245"/>
              <a:gd name="T8" fmla="*/ 30 w 161"/>
              <a:gd name="T9" fmla="*/ 137 h 245"/>
              <a:gd name="T10" fmla="*/ 43 w 161"/>
              <a:gd name="T11" fmla="*/ 127 h 245"/>
              <a:gd name="T12" fmla="*/ 88 w 161"/>
              <a:gd name="T13" fmla="*/ 98 h 245"/>
              <a:gd name="T14" fmla="*/ 111 w 161"/>
              <a:gd name="T15" fmla="*/ 70 h 245"/>
              <a:gd name="T16" fmla="*/ 47 w 161"/>
              <a:gd name="T17" fmla="*/ 51 h 245"/>
              <a:gd name="T18" fmla="*/ 37 w 161"/>
              <a:gd name="T19" fmla="*/ 40 h 245"/>
              <a:gd name="T20" fmla="*/ 32 w 161"/>
              <a:gd name="T21" fmla="*/ 34 h 245"/>
              <a:gd name="T22" fmla="*/ 28 w 161"/>
              <a:gd name="T23" fmla="*/ 29 h 245"/>
              <a:gd name="T24" fmla="*/ 28 w 161"/>
              <a:gd name="T25" fmla="*/ 18 h 245"/>
              <a:gd name="T26" fmla="*/ 32 w 161"/>
              <a:gd name="T27" fmla="*/ 8 h 245"/>
              <a:gd name="T28" fmla="*/ 35 w 161"/>
              <a:gd name="T29" fmla="*/ 10 h 245"/>
              <a:gd name="T30" fmla="*/ 41 w 161"/>
              <a:gd name="T31" fmla="*/ 19 h 245"/>
              <a:gd name="T32" fmla="*/ 52 w 161"/>
              <a:gd name="T33" fmla="*/ 28 h 245"/>
              <a:gd name="T34" fmla="*/ 62 w 161"/>
              <a:gd name="T35" fmla="*/ 26 h 245"/>
              <a:gd name="T36" fmla="*/ 70 w 161"/>
              <a:gd name="T37" fmla="*/ 21 h 245"/>
              <a:gd name="T38" fmla="*/ 72 w 161"/>
              <a:gd name="T39" fmla="*/ 19 h 245"/>
              <a:gd name="T40" fmla="*/ 76 w 161"/>
              <a:gd name="T41" fmla="*/ 20 h 245"/>
              <a:gd name="T42" fmla="*/ 82 w 161"/>
              <a:gd name="T43" fmla="*/ 22 h 245"/>
              <a:gd name="T44" fmla="*/ 90 w 161"/>
              <a:gd name="T45" fmla="*/ 20 h 245"/>
              <a:gd name="T46" fmla="*/ 96 w 161"/>
              <a:gd name="T47" fmla="*/ 16 h 245"/>
              <a:gd name="T48" fmla="*/ 103 w 161"/>
              <a:gd name="T49" fmla="*/ 16 h 245"/>
              <a:gd name="T50" fmla="*/ 111 w 161"/>
              <a:gd name="T51" fmla="*/ 15 h 245"/>
              <a:gd name="T52" fmla="*/ 119 w 161"/>
              <a:gd name="T53" fmla="*/ 11 h 245"/>
              <a:gd name="T54" fmla="*/ 128 w 161"/>
              <a:gd name="T55" fmla="*/ 9 h 245"/>
              <a:gd name="T56" fmla="*/ 134 w 161"/>
              <a:gd name="T57" fmla="*/ 8 h 245"/>
              <a:gd name="T58" fmla="*/ 142 w 161"/>
              <a:gd name="T59" fmla="*/ 6 h 245"/>
              <a:gd name="T60" fmla="*/ 150 w 161"/>
              <a:gd name="T61" fmla="*/ 0 h 245"/>
              <a:gd name="T62" fmla="*/ 158 w 161"/>
              <a:gd name="T63" fmla="*/ 2 h 245"/>
              <a:gd name="T64" fmla="*/ 159 w 161"/>
              <a:gd name="T65" fmla="*/ 7 h 245"/>
              <a:gd name="T66" fmla="*/ 157 w 161"/>
              <a:gd name="T67" fmla="*/ 13 h 245"/>
              <a:gd name="T68" fmla="*/ 158 w 161"/>
              <a:gd name="T69" fmla="*/ 19 h 245"/>
              <a:gd name="T70" fmla="*/ 158 w 161"/>
              <a:gd name="T71" fmla="*/ 26 h 245"/>
              <a:gd name="T72" fmla="*/ 158 w 161"/>
              <a:gd name="T73" fmla="*/ 28 h 245"/>
              <a:gd name="T74" fmla="*/ 160 w 161"/>
              <a:gd name="T75" fmla="*/ 28 h 245"/>
              <a:gd name="T76" fmla="*/ 161 w 161"/>
              <a:gd name="T77" fmla="*/ 30 h 245"/>
              <a:gd name="T78" fmla="*/ 157 w 161"/>
              <a:gd name="T79" fmla="*/ 29 h 245"/>
              <a:gd name="T80" fmla="*/ 154 w 161"/>
              <a:gd name="T81" fmla="*/ 32 h 245"/>
              <a:gd name="T82" fmla="*/ 153 w 161"/>
              <a:gd name="T83" fmla="*/ 48 h 245"/>
              <a:gd name="T84" fmla="*/ 150 w 161"/>
              <a:gd name="T85" fmla="*/ 54 h 245"/>
              <a:gd name="T86" fmla="*/ 143 w 161"/>
              <a:gd name="T87" fmla="*/ 67 h 245"/>
              <a:gd name="T88" fmla="*/ 140 w 161"/>
              <a:gd name="T89" fmla="*/ 70 h 245"/>
              <a:gd name="T90" fmla="*/ 139 w 161"/>
              <a:gd name="T91" fmla="*/ 78 h 245"/>
              <a:gd name="T92" fmla="*/ 129 w 161"/>
              <a:gd name="T93" fmla="*/ 100 h 245"/>
              <a:gd name="T94" fmla="*/ 123 w 161"/>
              <a:gd name="T95" fmla="*/ 116 h 245"/>
              <a:gd name="T96" fmla="*/ 120 w 161"/>
              <a:gd name="T97" fmla="*/ 118 h 245"/>
              <a:gd name="T98" fmla="*/ 113 w 161"/>
              <a:gd name="T99" fmla="*/ 129 h 245"/>
              <a:gd name="T100" fmla="*/ 112 w 161"/>
              <a:gd name="T101" fmla="*/ 133 h 245"/>
              <a:gd name="T102" fmla="*/ 107 w 161"/>
              <a:gd name="T103" fmla="*/ 143 h 245"/>
              <a:gd name="T104" fmla="*/ 98 w 161"/>
              <a:gd name="T105" fmla="*/ 152 h 245"/>
              <a:gd name="T106" fmla="*/ 88 w 161"/>
              <a:gd name="T107" fmla="*/ 163 h 245"/>
              <a:gd name="T108" fmla="*/ 81 w 161"/>
              <a:gd name="T109" fmla="*/ 172 h 245"/>
              <a:gd name="T110" fmla="*/ 72 w 161"/>
              <a:gd name="T111" fmla="*/ 180 h 245"/>
              <a:gd name="T112" fmla="*/ 63 w 161"/>
              <a:gd name="T113" fmla="*/ 183 h 245"/>
              <a:gd name="T114" fmla="*/ 36 w 161"/>
              <a:gd name="T115" fmla="*/ 212 h 245"/>
              <a:gd name="T116" fmla="*/ 28 w 161"/>
              <a:gd name="T117" fmla="*/ 220 h 245"/>
              <a:gd name="T118" fmla="*/ 27 w 161"/>
              <a:gd name="T119" fmla="*/ 221 h 245"/>
              <a:gd name="T120" fmla="*/ 26 w 161"/>
              <a:gd name="T121" fmla="*/ 223 h 245"/>
              <a:gd name="T122" fmla="*/ 19 w 161"/>
              <a:gd name="T123" fmla="*/ 233 h 245"/>
              <a:gd name="T124" fmla="*/ 10 w 161"/>
              <a:gd name="T125" fmla="*/ 245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1" h="245">
                <a:moveTo>
                  <a:pt x="9" y="245"/>
                </a:moveTo>
                <a:lnTo>
                  <a:pt x="9" y="244"/>
                </a:lnTo>
                <a:lnTo>
                  <a:pt x="2" y="235"/>
                </a:lnTo>
                <a:lnTo>
                  <a:pt x="1" y="232"/>
                </a:lnTo>
                <a:lnTo>
                  <a:pt x="1" y="218"/>
                </a:lnTo>
                <a:lnTo>
                  <a:pt x="1" y="200"/>
                </a:lnTo>
                <a:lnTo>
                  <a:pt x="0" y="182"/>
                </a:lnTo>
                <a:lnTo>
                  <a:pt x="0" y="164"/>
                </a:lnTo>
                <a:lnTo>
                  <a:pt x="1" y="164"/>
                </a:lnTo>
                <a:lnTo>
                  <a:pt x="8" y="157"/>
                </a:lnTo>
                <a:lnTo>
                  <a:pt x="14" y="147"/>
                </a:lnTo>
                <a:lnTo>
                  <a:pt x="15" y="144"/>
                </a:lnTo>
                <a:lnTo>
                  <a:pt x="16" y="143"/>
                </a:lnTo>
                <a:lnTo>
                  <a:pt x="19" y="141"/>
                </a:lnTo>
                <a:lnTo>
                  <a:pt x="30" y="137"/>
                </a:lnTo>
                <a:lnTo>
                  <a:pt x="33" y="132"/>
                </a:lnTo>
                <a:lnTo>
                  <a:pt x="37" y="130"/>
                </a:lnTo>
                <a:lnTo>
                  <a:pt x="43" y="127"/>
                </a:lnTo>
                <a:lnTo>
                  <a:pt x="46" y="126"/>
                </a:lnTo>
                <a:lnTo>
                  <a:pt x="65" y="126"/>
                </a:lnTo>
                <a:lnTo>
                  <a:pt x="88" y="98"/>
                </a:lnTo>
                <a:lnTo>
                  <a:pt x="108" y="74"/>
                </a:lnTo>
                <a:lnTo>
                  <a:pt x="111" y="71"/>
                </a:lnTo>
                <a:lnTo>
                  <a:pt x="111" y="70"/>
                </a:lnTo>
                <a:lnTo>
                  <a:pt x="96" y="70"/>
                </a:lnTo>
                <a:lnTo>
                  <a:pt x="70" y="60"/>
                </a:lnTo>
                <a:lnTo>
                  <a:pt x="47" y="51"/>
                </a:lnTo>
                <a:lnTo>
                  <a:pt x="45" y="48"/>
                </a:lnTo>
                <a:lnTo>
                  <a:pt x="39" y="43"/>
                </a:lnTo>
                <a:lnTo>
                  <a:pt x="37" y="40"/>
                </a:lnTo>
                <a:lnTo>
                  <a:pt x="35" y="38"/>
                </a:lnTo>
                <a:lnTo>
                  <a:pt x="35" y="37"/>
                </a:lnTo>
                <a:lnTo>
                  <a:pt x="32" y="34"/>
                </a:lnTo>
                <a:lnTo>
                  <a:pt x="31" y="33"/>
                </a:lnTo>
                <a:lnTo>
                  <a:pt x="30" y="31"/>
                </a:lnTo>
                <a:lnTo>
                  <a:pt x="28" y="29"/>
                </a:lnTo>
                <a:lnTo>
                  <a:pt x="26" y="21"/>
                </a:lnTo>
                <a:lnTo>
                  <a:pt x="26" y="20"/>
                </a:lnTo>
                <a:lnTo>
                  <a:pt x="28" y="18"/>
                </a:lnTo>
                <a:lnTo>
                  <a:pt x="28" y="16"/>
                </a:lnTo>
                <a:lnTo>
                  <a:pt x="31" y="12"/>
                </a:lnTo>
                <a:lnTo>
                  <a:pt x="32" y="8"/>
                </a:lnTo>
                <a:lnTo>
                  <a:pt x="32" y="8"/>
                </a:lnTo>
                <a:lnTo>
                  <a:pt x="33" y="9"/>
                </a:lnTo>
                <a:lnTo>
                  <a:pt x="35" y="10"/>
                </a:lnTo>
                <a:lnTo>
                  <a:pt x="37" y="12"/>
                </a:lnTo>
                <a:lnTo>
                  <a:pt x="38" y="13"/>
                </a:lnTo>
                <a:lnTo>
                  <a:pt x="41" y="19"/>
                </a:lnTo>
                <a:lnTo>
                  <a:pt x="46" y="25"/>
                </a:lnTo>
                <a:lnTo>
                  <a:pt x="50" y="27"/>
                </a:lnTo>
                <a:lnTo>
                  <a:pt x="52" y="28"/>
                </a:lnTo>
                <a:lnTo>
                  <a:pt x="53" y="27"/>
                </a:lnTo>
                <a:lnTo>
                  <a:pt x="60" y="28"/>
                </a:lnTo>
                <a:lnTo>
                  <a:pt x="62" y="26"/>
                </a:lnTo>
                <a:lnTo>
                  <a:pt x="65" y="23"/>
                </a:lnTo>
                <a:lnTo>
                  <a:pt x="67" y="23"/>
                </a:lnTo>
                <a:lnTo>
                  <a:pt x="70" y="21"/>
                </a:lnTo>
                <a:lnTo>
                  <a:pt x="71" y="21"/>
                </a:lnTo>
                <a:lnTo>
                  <a:pt x="71" y="20"/>
                </a:lnTo>
                <a:lnTo>
                  <a:pt x="72" y="19"/>
                </a:lnTo>
                <a:lnTo>
                  <a:pt x="73" y="19"/>
                </a:lnTo>
                <a:lnTo>
                  <a:pt x="75" y="20"/>
                </a:lnTo>
                <a:lnTo>
                  <a:pt x="76" y="20"/>
                </a:lnTo>
                <a:lnTo>
                  <a:pt x="77" y="20"/>
                </a:lnTo>
                <a:lnTo>
                  <a:pt x="80" y="20"/>
                </a:lnTo>
                <a:lnTo>
                  <a:pt x="82" y="22"/>
                </a:lnTo>
                <a:lnTo>
                  <a:pt x="86" y="22"/>
                </a:lnTo>
                <a:lnTo>
                  <a:pt x="88" y="21"/>
                </a:lnTo>
                <a:lnTo>
                  <a:pt x="90" y="20"/>
                </a:lnTo>
                <a:lnTo>
                  <a:pt x="91" y="19"/>
                </a:lnTo>
                <a:lnTo>
                  <a:pt x="93" y="18"/>
                </a:lnTo>
                <a:lnTo>
                  <a:pt x="96" y="16"/>
                </a:lnTo>
                <a:lnTo>
                  <a:pt x="97" y="15"/>
                </a:lnTo>
                <a:lnTo>
                  <a:pt x="100" y="13"/>
                </a:lnTo>
                <a:lnTo>
                  <a:pt x="103" y="16"/>
                </a:lnTo>
                <a:lnTo>
                  <a:pt x="106" y="15"/>
                </a:lnTo>
                <a:lnTo>
                  <a:pt x="108" y="15"/>
                </a:lnTo>
                <a:lnTo>
                  <a:pt x="111" y="15"/>
                </a:lnTo>
                <a:lnTo>
                  <a:pt x="113" y="13"/>
                </a:lnTo>
                <a:lnTo>
                  <a:pt x="117" y="11"/>
                </a:lnTo>
                <a:lnTo>
                  <a:pt x="119" y="11"/>
                </a:lnTo>
                <a:lnTo>
                  <a:pt x="122" y="12"/>
                </a:lnTo>
                <a:lnTo>
                  <a:pt x="127" y="10"/>
                </a:lnTo>
                <a:lnTo>
                  <a:pt x="128" y="9"/>
                </a:lnTo>
                <a:lnTo>
                  <a:pt x="130" y="9"/>
                </a:lnTo>
                <a:lnTo>
                  <a:pt x="131" y="8"/>
                </a:lnTo>
                <a:lnTo>
                  <a:pt x="134" y="8"/>
                </a:lnTo>
                <a:lnTo>
                  <a:pt x="137" y="8"/>
                </a:lnTo>
                <a:lnTo>
                  <a:pt x="141" y="7"/>
                </a:lnTo>
                <a:lnTo>
                  <a:pt x="142" y="6"/>
                </a:lnTo>
                <a:lnTo>
                  <a:pt x="147" y="3"/>
                </a:lnTo>
                <a:lnTo>
                  <a:pt x="148" y="1"/>
                </a:lnTo>
                <a:lnTo>
                  <a:pt x="150" y="0"/>
                </a:lnTo>
                <a:lnTo>
                  <a:pt x="152" y="0"/>
                </a:lnTo>
                <a:lnTo>
                  <a:pt x="156" y="2"/>
                </a:lnTo>
                <a:lnTo>
                  <a:pt x="158" y="2"/>
                </a:lnTo>
                <a:lnTo>
                  <a:pt x="159" y="2"/>
                </a:lnTo>
                <a:lnTo>
                  <a:pt x="158" y="5"/>
                </a:lnTo>
                <a:lnTo>
                  <a:pt x="159" y="7"/>
                </a:lnTo>
                <a:lnTo>
                  <a:pt x="157" y="9"/>
                </a:lnTo>
                <a:lnTo>
                  <a:pt x="157" y="11"/>
                </a:lnTo>
                <a:lnTo>
                  <a:pt x="157" y="13"/>
                </a:lnTo>
                <a:lnTo>
                  <a:pt x="159" y="16"/>
                </a:lnTo>
                <a:lnTo>
                  <a:pt x="158" y="17"/>
                </a:lnTo>
                <a:lnTo>
                  <a:pt x="158" y="19"/>
                </a:lnTo>
                <a:lnTo>
                  <a:pt x="158" y="21"/>
                </a:lnTo>
                <a:lnTo>
                  <a:pt x="159" y="25"/>
                </a:lnTo>
                <a:lnTo>
                  <a:pt x="158" y="26"/>
                </a:lnTo>
                <a:lnTo>
                  <a:pt x="157" y="28"/>
                </a:lnTo>
                <a:lnTo>
                  <a:pt x="157" y="28"/>
                </a:lnTo>
                <a:lnTo>
                  <a:pt x="158" y="28"/>
                </a:lnTo>
                <a:lnTo>
                  <a:pt x="159" y="27"/>
                </a:lnTo>
                <a:lnTo>
                  <a:pt x="159" y="27"/>
                </a:lnTo>
                <a:lnTo>
                  <a:pt x="160" y="28"/>
                </a:lnTo>
                <a:lnTo>
                  <a:pt x="161" y="28"/>
                </a:lnTo>
                <a:lnTo>
                  <a:pt x="161" y="29"/>
                </a:lnTo>
                <a:lnTo>
                  <a:pt x="161" y="30"/>
                </a:lnTo>
                <a:lnTo>
                  <a:pt x="160" y="30"/>
                </a:lnTo>
                <a:lnTo>
                  <a:pt x="159" y="29"/>
                </a:lnTo>
                <a:lnTo>
                  <a:pt x="157" y="29"/>
                </a:lnTo>
                <a:lnTo>
                  <a:pt x="156" y="30"/>
                </a:lnTo>
                <a:lnTo>
                  <a:pt x="154" y="30"/>
                </a:lnTo>
                <a:lnTo>
                  <a:pt x="154" y="32"/>
                </a:lnTo>
                <a:lnTo>
                  <a:pt x="153" y="41"/>
                </a:lnTo>
                <a:lnTo>
                  <a:pt x="153" y="47"/>
                </a:lnTo>
                <a:lnTo>
                  <a:pt x="153" y="48"/>
                </a:lnTo>
                <a:lnTo>
                  <a:pt x="152" y="51"/>
                </a:lnTo>
                <a:lnTo>
                  <a:pt x="151" y="52"/>
                </a:lnTo>
                <a:lnTo>
                  <a:pt x="150" y="54"/>
                </a:lnTo>
                <a:lnTo>
                  <a:pt x="148" y="60"/>
                </a:lnTo>
                <a:lnTo>
                  <a:pt x="146" y="62"/>
                </a:lnTo>
                <a:lnTo>
                  <a:pt x="143" y="67"/>
                </a:lnTo>
                <a:lnTo>
                  <a:pt x="143" y="67"/>
                </a:lnTo>
                <a:lnTo>
                  <a:pt x="142" y="69"/>
                </a:lnTo>
                <a:lnTo>
                  <a:pt x="140" y="70"/>
                </a:lnTo>
                <a:lnTo>
                  <a:pt x="140" y="72"/>
                </a:lnTo>
                <a:lnTo>
                  <a:pt x="139" y="74"/>
                </a:lnTo>
                <a:lnTo>
                  <a:pt x="139" y="78"/>
                </a:lnTo>
                <a:lnTo>
                  <a:pt x="134" y="89"/>
                </a:lnTo>
                <a:lnTo>
                  <a:pt x="130" y="98"/>
                </a:lnTo>
                <a:lnTo>
                  <a:pt x="129" y="100"/>
                </a:lnTo>
                <a:lnTo>
                  <a:pt x="128" y="108"/>
                </a:lnTo>
                <a:lnTo>
                  <a:pt x="126" y="113"/>
                </a:lnTo>
                <a:lnTo>
                  <a:pt x="123" y="116"/>
                </a:lnTo>
                <a:lnTo>
                  <a:pt x="122" y="117"/>
                </a:lnTo>
                <a:lnTo>
                  <a:pt x="121" y="118"/>
                </a:lnTo>
                <a:lnTo>
                  <a:pt x="120" y="118"/>
                </a:lnTo>
                <a:lnTo>
                  <a:pt x="119" y="120"/>
                </a:lnTo>
                <a:lnTo>
                  <a:pt x="116" y="124"/>
                </a:lnTo>
                <a:lnTo>
                  <a:pt x="113" y="129"/>
                </a:lnTo>
                <a:lnTo>
                  <a:pt x="113" y="129"/>
                </a:lnTo>
                <a:lnTo>
                  <a:pt x="113" y="130"/>
                </a:lnTo>
                <a:lnTo>
                  <a:pt x="112" y="133"/>
                </a:lnTo>
                <a:lnTo>
                  <a:pt x="109" y="139"/>
                </a:lnTo>
                <a:lnTo>
                  <a:pt x="107" y="142"/>
                </a:lnTo>
                <a:lnTo>
                  <a:pt x="107" y="143"/>
                </a:lnTo>
                <a:lnTo>
                  <a:pt x="103" y="147"/>
                </a:lnTo>
                <a:lnTo>
                  <a:pt x="100" y="150"/>
                </a:lnTo>
                <a:lnTo>
                  <a:pt x="98" y="152"/>
                </a:lnTo>
                <a:lnTo>
                  <a:pt x="95" y="157"/>
                </a:lnTo>
                <a:lnTo>
                  <a:pt x="90" y="161"/>
                </a:lnTo>
                <a:lnTo>
                  <a:pt x="88" y="163"/>
                </a:lnTo>
                <a:lnTo>
                  <a:pt x="87" y="163"/>
                </a:lnTo>
                <a:lnTo>
                  <a:pt x="86" y="168"/>
                </a:lnTo>
                <a:lnTo>
                  <a:pt x="81" y="172"/>
                </a:lnTo>
                <a:lnTo>
                  <a:pt x="78" y="177"/>
                </a:lnTo>
                <a:lnTo>
                  <a:pt x="73" y="179"/>
                </a:lnTo>
                <a:lnTo>
                  <a:pt x="72" y="180"/>
                </a:lnTo>
                <a:lnTo>
                  <a:pt x="68" y="182"/>
                </a:lnTo>
                <a:lnTo>
                  <a:pt x="66" y="182"/>
                </a:lnTo>
                <a:lnTo>
                  <a:pt x="63" y="183"/>
                </a:lnTo>
                <a:lnTo>
                  <a:pt x="57" y="189"/>
                </a:lnTo>
                <a:lnTo>
                  <a:pt x="41" y="205"/>
                </a:lnTo>
                <a:lnTo>
                  <a:pt x="36" y="212"/>
                </a:lnTo>
                <a:lnTo>
                  <a:pt x="35" y="214"/>
                </a:lnTo>
                <a:lnTo>
                  <a:pt x="31" y="219"/>
                </a:lnTo>
                <a:lnTo>
                  <a:pt x="28" y="220"/>
                </a:lnTo>
                <a:lnTo>
                  <a:pt x="27" y="219"/>
                </a:lnTo>
                <a:lnTo>
                  <a:pt x="26" y="221"/>
                </a:lnTo>
                <a:lnTo>
                  <a:pt x="27" y="221"/>
                </a:lnTo>
                <a:lnTo>
                  <a:pt x="27" y="222"/>
                </a:lnTo>
                <a:lnTo>
                  <a:pt x="27" y="223"/>
                </a:lnTo>
                <a:lnTo>
                  <a:pt x="26" y="223"/>
                </a:lnTo>
                <a:lnTo>
                  <a:pt x="25" y="227"/>
                </a:lnTo>
                <a:lnTo>
                  <a:pt x="22" y="229"/>
                </a:lnTo>
                <a:lnTo>
                  <a:pt x="19" y="233"/>
                </a:lnTo>
                <a:lnTo>
                  <a:pt x="16" y="239"/>
                </a:lnTo>
                <a:lnTo>
                  <a:pt x="11" y="242"/>
                </a:lnTo>
                <a:lnTo>
                  <a:pt x="10" y="245"/>
                </a:lnTo>
                <a:lnTo>
                  <a:pt x="9" y="24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27" name="Freeform 727"/>
          <p:cNvSpPr>
            <a:spLocks/>
          </p:cNvSpPr>
          <p:nvPr/>
        </p:nvSpPr>
        <p:spPr bwMode="auto">
          <a:xfrm>
            <a:off x="4981575" y="4029040"/>
            <a:ext cx="196850" cy="201613"/>
          </a:xfrm>
          <a:custGeom>
            <a:avLst/>
            <a:gdLst>
              <a:gd name="T0" fmla="*/ 58 w 124"/>
              <a:gd name="T1" fmla="*/ 18 h 127"/>
              <a:gd name="T2" fmla="*/ 57 w 124"/>
              <a:gd name="T3" fmla="*/ 21 h 127"/>
              <a:gd name="T4" fmla="*/ 55 w 124"/>
              <a:gd name="T5" fmla="*/ 22 h 127"/>
              <a:gd name="T6" fmla="*/ 52 w 124"/>
              <a:gd name="T7" fmla="*/ 21 h 127"/>
              <a:gd name="T8" fmla="*/ 51 w 124"/>
              <a:gd name="T9" fmla="*/ 22 h 127"/>
              <a:gd name="T10" fmla="*/ 49 w 124"/>
              <a:gd name="T11" fmla="*/ 22 h 127"/>
              <a:gd name="T12" fmla="*/ 47 w 124"/>
              <a:gd name="T13" fmla="*/ 23 h 127"/>
              <a:gd name="T14" fmla="*/ 45 w 124"/>
              <a:gd name="T15" fmla="*/ 24 h 127"/>
              <a:gd name="T16" fmla="*/ 45 w 124"/>
              <a:gd name="T17" fmla="*/ 26 h 127"/>
              <a:gd name="T18" fmla="*/ 44 w 124"/>
              <a:gd name="T19" fmla="*/ 26 h 127"/>
              <a:gd name="T20" fmla="*/ 42 w 124"/>
              <a:gd name="T21" fmla="*/ 27 h 127"/>
              <a:gd name="T22" fmla="*/ 40 w 124"/>
              <a:gd name="T23" fmla="*/ 30 h 127"/>
              <a:gd name="T24" fmla="*/ 37 w 124"/>
              <a:gd name="T25" fmla="*/ 32 h 127"/>
              <a:gd name="T26" fmla="*/ 35 w 124"/>
              <a:gd name="T27" fmla="*/ 34 h 127"/>
              <a:gd name="T28" fmla="*/ 33 w 124"/>
              <a:gd name="T29" fmla="*/ 36 h 127"/>
              <a:gd name="T30" fmla="*/ 30 w 124"/>
              <a:gd name="T31" fmla="*/ 41 h 127"/>
              <a:gd name="T32" fmla="*/ 26 w 124"/>
              <a:gd name="T33" fmla="*/ 43 h 127"/>
              <a:gd name="T34" fmla="*/ 22 w 124"/>
              <a:gd name="T35" fmla="*/ 44 h 127"/>
              <a:gd name="T36" fmla="*/ 21 w 124"/>
              <a:gd name="T37" fmla="*/ 42 h 127"/>
              <a:gd name="T38" fmla="*/ 17 w 124"/>
              <a:gd name="T39" fmla="*/ 41 h 127"/>
              <a:gd name="T40" fmla="*/ 11 w 124"/>
              <a:gd name="T41" fmla="*/ 42 h 127"/>
              <a:gd name="T42" fmla="*/ 2 w 124"/>
              <a:gd name="T43" fmla="*/ 41 h 127"/>
              <a:gd name="T44" fmla="*/ 0 w 124"/>
              <a:gd name="T45" fmla="*/ 40 h 127"/>
              <a:gd name="T46" fmla="*/ 1 w 124"/>
              <a:gd name="T47" fmla="*/ 44 h 127"/>
              <a:gd name="T48" fmla="*/ 6 w 124"/>
              <a:gd name="T49" fmla="*/ 54 h 127"/>
              <a:gd name="T50" fmla="*/ 8 w 124"/>
              <a:gd name="T51" fmla="*/ 62 h 127"/>
              <a:gd name="T52" fmla="*/ 21 w 124"/>
              <a:gd name="T53" fmla="*/ 77 h 127"/>
              <a:gd name="T54" fmla="*/ 28 w 124"/>
              <a:gd name="T55" fmla="*/ 82 h 127"/>
              <a:gd name="T56" fmla="*/ 35 w 124"/>
              <a:gd name="T57" fmla="*/ 87 h 127"/>
              <a:gd name="T58" fmla="*/ 37 w 124"/>
              <a:gd name="T59" fmla="*/ 96 h 127"/>
              <a:gd name="T60" fmla="*/ 40 w 124"/>
              <a:gd name="T61" fmla="*/ 107 h 127"/>
              <a:gd name="T62" fmla="*/ 45 w 124"/>
              <a:gd name="T63" fmla="*/ 112 h 127"/>
              <a:gd name="T64" fmla="*/ 52 w 124"/>
              <a:gd name="T65" fmla="*/ 112 h 127"/>
              <a:gd name="T66" fmla="*/ 58 w 124"/>
              <a:gd name="T67" fmla="*/ 115 h 127"/>
              <a:gd name="T68" fmla="*/ 65 w 124"/>
              <a:gd name="T69" fmla="*/ 116 h 127"/>
              <a:gd name="T70" fmla="*/ 74 w 124"/>
              <a:gd name="T71" fmla="*/ 119 h 127"/>
              <a:gd name="T72" fmla="*/ 81 w 124"/>
              <a:gd name="T73" fmla="*/ 119 h 127"/>
              <a:gd name="T74" fmla="*/ 91 w 124"/>
              <a:gd name="T75" fmla="*/ 122 h 127"/>
              <a:gd name="T76" fmla="*/ 96 w 124"/>
              <a:gd name="T77" fmla="*/ 126 h 127"/>
              <a:gd name="T78" fmla="*/ 96 w 124"/>
              <a:gd name="T79" fmla="*/ 126 h 127"/>
              <a:gd name="T80" fmla="*/ 98 w 124"/>
              <a:gd name="T81" fmla="*/ 118 h 127"/>
              <a:gd name="T82" fmla="*/ 103 w 124"/>
              <a:gd name="T83" fmla="*/ 113 h 127"/>
              <a:gd name="T84" fmla="*/ 111 w 124"/>
              <a:gd name="T85" fmla="*/ 99 h 127"/>
              <a:gd name="T86" fmla="*/ 119 w 124"/>
              <a:gd name="T87" fmla="*/ 79 h 127"/>
              <a:gd name="T88" fmla="*/ 117 w 124"/>
              <a:gd name="T89" fmla="*/ 66 h 127"/>
              <a:gd name="T90" fmla="*/ 121 w 124"/>
              <a:gd name="T91" fmla="*/ 55 h 127"/>
              <a:gd name="T92" fmla="*/ 123 w 124"/>
              <a:gd name="T93" fmla="*/ 47 h 127"/>
              <a:gd name="T94" fmla="*/ 124 w 124"/>
              <a:gd name="T95" fmla="*/ 33 h 127"/>
              <a:gd name="T96" fmla="*/ 122 w 124"/>
              <a:gd name="T97" fmla="*/ 23 h 127"/>
              <a:gd name="T98" fmla="*/ 119 w 124"/>
              <a:gd name="T99" fmla="*/ 15 h 127"/>
              <a:gd name="T100" fmla="*/ 102 w 124"/>
              <a:gd name="T101" fmla="*/ 8 h 127"/>
              <a:gd name="T102" fmla="*/ 94 w 124"/>
              <a:gd name="T103" fmla="*/ 5 h 127"/>
              <a:gd name="T104" fmla="*/ 82 w 124"/>
              <a:gd name="T105" fmla="*/ 5 h 127"/>
              <a:gd name="T106" fmla="*/ 82 w 124"/>
              <a:gd name="T107" fmla="*/ 0 h 127"/>
              <a:gd name="T108" fmla="*/ 77 w 124"/>
              <a:gd name="T109" fmla="*/ 1 h 127"/>
              <a:gd name="T110" fmla="*/ 74 w 124"/>
              <a:gd name="T111" fmla="*/ 0 h 127"/>
              <a:gd name="T112" fmla="*/ 69 w 124"/>
              <a:gd name="T113" fmla="*/ 1 h 127"/>
              <a:gd name="T114" fmla="*/ 63 w 124"/>
              <a:gd name="T115" fmla="*/ 3 h 127"/>
              <a:gd name="T116" fmla="*/ 58 w 124"/>
              <a:gd name="T117" fmla="*/ 5 h 127"/>
              <a:gd name="T118" fmla="*/ 56 w 124"/>
              <a:gd name="T119" fmla="*/ 8 h 127"/>
              <a:gd name="T120" fmla="*/ 56 w 124"/>
              <a:gd name="T121" fmla="*/ 13 h 127"/>
              <a:gd name="T122" fmla="*/ 55 w 124"/>
              <a:gd name="T123" fmla="*/ 15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24" h="127">
                <a:moveTo>
                  <a:pt x="55" y="16"/>
                </a:moveTo>
                <a:lnTo>
                  <a:pt x="58" y="18"/>
                </a:lnTo>
                <a:lnTo>
                  <a:pt x="58" y="20"/>
                </a:lnTo>
                <a:lnTo>
                  <a:pt x="57" y="21"/>
                </a:lnTo>
                <a:lnTo>
                  <a:pt x="56" y="22"/>
                </a:lnTo>
                <a:lnTo>
                  <a:pt x="55" y="22"/>
                </a:lnTo>
                <a:lnTo>
                  <a:pt x="53" y="21"/>
                </a:lnTo>
                <a:lnTo>
                  <a:pt x="52" y="21"/>
                </a:lnTo>
                <a:lnTo>
                  <a:pt x="51" y="21"/>
                </a:lnTo>
                <a:lnTo>
                  <a:pt x="51" y="22"/>
                </a:lnTo>
                <a:lnTo>
                  <a:pt x="49" y="22"/>
                </a:lnTo>
                <a:lnTo>
                  <a:pt x="49" y="22"/>
                </a:lnTo>
                <a:lnTo>
                  <a:pt x="48" y="22"/>
                </a:lnTo>
                <a:lnTo>
                  <a:pt x="47" y="23"/>
                </a:lnTo>
                <a:lnTo>
                  <a:pt x="46" y="23"/>
                </a:lnTo>
                <a:lnTo>
                  <a:pt x="45" y="24"/>
                </a:lnTo>
                <a:lnTo>
                  <a:pt x="45" y="25"/>
                </a:lnTo>
                <a:lnTo>
                  <a:pt x="45" y="26"/>
                </a:lnTo>
                <a:lnTo>
                  <a:pt x="45" y="26"/>
                </a:lnTo>
                <a:lnTo>
                  <a:pt x="44" y="26"/>
                </a:lnTo>
                <a:lnTo>
                  <a:pt x="44" y="26"/>
                </a:lnTo>
                <a:lnTo>
                  <a:pt x="42" y="27"/>
                </a:lnTo>
                <a:lnTo>
                  <a:pt x="41" y="28"/>
                </a:lnTo>
                <a:lnTo>
                  <a:pt x="40" y="30"/>
                </a:lnTo>
                <a:lnTo>
                  <a:pt x="38" y="30"/>
                </a:lnTo>
                <a:lnTo>
                  <a:pt x="37" y="32"/>
                </a:lnTo>
                <a:lnTo>
                  <a:pt x="36" y="33"/>
                </a:lnTo>
                <a:lnTo>
                  <a:pt x="35" y="34"/>
                </a:lnTo>
                <a:lnTo>
                  <a:pt x="34" y="35"/>
                </a:lnTo>
                <a:lnTo>
                  <a:pt x="33" y="36"/>
                </a:lnTo>
                <a:lnTo>
                  <a:pt x="32" y="38"/>
                </a:lnTo>
                <a:lnTo>
                  <a:pt x="30" y="41"/>
                </a:lnTo>
                <a:lnTo>
                  <a:pt x="27" y="40"/>
                </a:lnTo>
                <a:lnTo>
                  <a:pt x="26" y="43"/>
                </a:lnTo>
                <a:lnTo>
                  <a:pt x="24" y="42"/>
                </a:lnTo>
                <a:lnTo>
                  <a:pt x="22" y="44"/>
                </a:lnTo>
                <a:lnTo>
                  <a:pt x="21" y="43"/>
                </a:lnTo>
                <a:lnTo>
                  <a:pt x="21" y="42"/>
                </a:lnTo>
                <a:lnTo>
                  <a:pt x="20" y="41"/>
                </a:lnTo>
                <a:lnTo>
                  <a:pt x="17" y="41"/>
                </a:lnTo>
                <a:lnTo>
                  <a:pt x="15" y="41"/>
                </a:lnTo>
                <a:lnTo>
                  <a:pt x="11" y="42"/>
                </a:lnTo>
                <a:lnTo>
                  <a:pt x="6" y="40"/>
                </a:lnTo>
                <a:lnTo>
                  <a:pt x="2" y="41"/>
                </a:lnTo>
                <a:lnTo>
                  <a:pt x="1" y="41"/>
                </a:lnTo>
                <a:lnTo>
                  <a:pt x="0" y="40"/>
                </a:lnTo>
                <a:lnTo>
                  <a:pt x="0" y="42"/>
                </a:lnTo>
                <a:lnTo>
                  <a:pt x="1" y="44"/>
                </a:lnTo>
                <a:lnTo>
                  <a:pt x="4" y="51"/>
                </a:lnTo>
                <a:lnTo>
                  <a:pt x="6" y="54"/>
                </a:lnTo>
                <a:lnTo>
                  <a:pt x="7" y="57"/>
                </a:lnTo>
                <a:lnTo>
                  <a:pt x="8" y="62"/>
                </a:lnTo>
                <a:lnTo>
                  <a:pt x="12" y="68"/>
                </a:lnTo>
                <a:lnTo>
                  <a:pt x="21" y="77"/>
                </a:lnTo>
                <a:lnTo>
                  <a:pt x="25" y="79"/>
                </a:lnTo>
                <a:lnTo>
                  <a:pt x="28" y="82"/>
                </a:lnTo>
                <a:lnTo>
                  <a:pt x="31" y="86"/>
                </a:lnTo>
                <a:lnTo>
                  <a:pt x="35" y="87"/>
                </a:lnTo>
                <a:lnTo>
                  <a:pt x="37" y="91"/>
                </a:lnTo>
                <a:lnTo>
                  <a:pt x="37" y="96"/>
                </a:lnTo>
                <a:lnTo>
                  <a:pt x="38" y="103"/>
                </a:lnTo>
                <a:lnTo>
                  <a:pt x="40" y="107"/>
                </a:lnTo>
                <a:lnTo>
                  <a:pt x="42" y="109"/>
                </a:lnTo>
                <a:lnTo>
                  <a:pt x="45" y="112"/>
                </a:lnTo>
                <a:lnTo>
                  <a:pt x="48" y="112"/>
                </a:lnTo>
                <a:lnTo>
                  <a:pt x="52" y="112"/>
                </a:lnTo>
                <a:lnTo>
                  <a:pt x="56" y="114"/>
                </a:lnTo>
                <a:lnTo>
                  <a:pt x="58" y="115"/>
                </a:lnTo>
                <a:lnTo>
                  <a:pt x="62" y="117"/>
                </a:lnTo>
                <a:lnTo>
                  <a:pt x="65" y="116"/>
                </a:lnTo>
                <a:lnTo>
                  <a:pt x="67" y="117"/>
                </a:lnTo>
                <a:lnTo>
                  <a:pt x="74" y="119"/>
                </a:lnTo>
                <a:lnTo>
                  <a:pt x="77" y="119"/>
                </a:lnTo>
                <a:lnTo>
                  <a:pt x="81" y="119"/>
                </a:lnTo>
                <a:lnTo>
                  <a:pt x="85" y="119"/>
                </a:lnTo>
                <a:lnTo>
                  <a:pt x="91" y="122"/>
                </a:lnTo>
                <a:lnTo>
                  <a:pt x="95" y="126"/>
                </a:lnTo>
                <a:lnTo>
                  <a:pt x="96" y="126"/>
                </a:lnTo>
                <a:lnTo>
                  <a:pt x="96" y="127"/>
                </a:lnTo>
                <a:lnTo>
                  <a:pt x="96" y="126"/>
                </a:lnTo>
                <a:lnTo>
                  <a:pt x="96" y="122"/>
                </a:lnTo>
                <a:lnTo>
                  <a:pt x="98" y="118"/>
                </a:lnTo>
                <a:lnTo>
                  <a:pt x="99" y="115"/>
                </a:lnTo>
                <a:lnTo>
                  <a:pt x="103" y="113"/>
                </a:lnTo>
                <a:lnTo>
                  <a:pt x="105" y="111"/>
                </a:lnTo>
                <a:lnTo>
                  <a:pt x="111" y="99"/>
                </a:lnTo>
                <a:lnTo>
                  <a:pt x="114" y="91"/>
                </a:lnTo>
                <a:lnTo>
                  <a:pt x="119" y="79"/>
                </a:lnTo>
                <a:lnTo>
                  <a:pt x="118" y="71"/>
                </a:lnTo>
                <a:lnTo>
                  <a:pt x="117" y="66"/>
                </a:lnTo>
                <a:lnTo>
                  <a:pt x="117" y="61"/>
                </a:lnTo>
                <a:lnTo>
                  <a:pt x="121" y="55"/>
                </a:lnTo>
                <a:lnTo>
                  <a:pt x="121" y="53"/>
                </a:lnTo>
                <a:lnTo>
                  <a:pt x="123" y="47"/>
                </a:lnTo>
                <a:lnTo>
                  <a:pt x="123" y="44"/>
                </a:lnTo>
                <a:lnTo>
                  <a:pt x="124" y="33"/>
                </a:lnTo>
                <a:lnTo>
                  <a:pt x="123" y="26"/>
                </a:lnTo>
                <a:lnTo>
                  <a:pt x="122" y="23"/>
                </a:lnTo>
                <a:lnTo>
                  <a:pt x="122" y="18"/>
                </a:lnTo>
                <a:lnTo>
                  <a:pt x="119" y="15"/>
                </a:lnTo>
                <a:lnTo>
                  <a:pt x="111" y="12"/>
                </a:lnTo>
                <a:lnTo>
                  <a:pt x="102" y="8"/>
                </a:lnTo>
                <a:lnTo>
                  <a:pt x="98" y="6"/>
                </a:lnTo>
                <a:lnTo>
                  <a:pt x="94" y="5"/>
                </a:lnTo>
                <a:lnTo>
                  <a:pt x="87" y="6"/>
                </a:lnTo>
                <a:lnTo>
                  <a:pt x="82" y="5"/>
                </a:lnTo>
                <a:lnTo>
                  <a:pt x="82" y="0"/>
                </a:lnTo>
                <a:lnTo>
                  <a:pt x="82" y="0"/>
                </a:lnTo>
                <a:lnTo>
                  <a:pt x="79" y="0"/>
                </a:lnTo>
                <a:lnTo>
                  <a:pt x="77" y="1"/>
                </a:lnTo>
                <a:lnTo>
                  <a:pt x="75" y="0"/>
                </a:lnTo>
                <a:lnTo>
                  <a:pt x="74" y="0"/>
                </a:lnTo>
                <a:lnTo>
                  <a:pt x="73" y="0"/>
                </a:lnTo>
                <a:lnTo>
                  <a:pt x="69" y="1"/>
                </a:lnTo>
                <a:lnTo>
                  <a:pt x="64" y="2"/>
                </a:lnTo>
                <a:lnTo>
                  <a:pt x="63" y="3"/>
                </a:lnTo>
                <a:lnTo>
                  <a:pt x="61" y="5"/>
                </a:lnTo>
                <a:lnTo>
                  <a:pt x="58" y="5"/>
                </a:lnTo>
                <a:lnTo>
                  <a:pt x="56" y="6"/>
                </a:lnTo>
                <a:lnTo>
                  <a:pt x="56" y="8"/>
                </a:lnTo>
                <a:lnTo>
                  <a:pt x="56" y="11"/>
                </a:lnTo>
                <a:lnTo>
                  <a:pt x="56" y="13"/>
                </a:lnTo>
                <a:lnTo>
                  <a:pt x="56" y="14"/>
                </a:lnTo>
                <a:lnTo>
                  <a:pt x="55" y="15"/>
                </a:lnTo>
                <a:lnTo>
                  <a:pt x="55" y="16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28" name="Freeform 728"/>
          <p:cNvSpPr>
            <a:spLocks/>
          </p:cNvSpPr>
          <p:nvPr/>
        </p:nvSpPr>
        <p:spPr bwMode="auto">
          <a:xfrm>
            <a:off x="4981575" y="4029040"/>
            <a:ext cx="196850" cy="201613"/>
          </a:xfrm>
          <a:custGeom>
            <a:avLst/>
            <a:gdLst>
              <a:gd name="T0" fmla="*/ 58 w 124"/>
              <a:gd name="T1" fmla="*/ 18 h 127"/>
              <a:gd name="T2" fmla="*/ 57 w 124"/>
              <a:gd name="T3" fmla="*/ 21 h 127"/>
              <a:gd name="T4" fmla="*/ 55 w 124"/>
              <a:gd name="T5" fmla="*/ 22 h 127"/>
              <a:gd name="T6" fmla="*/ 52 w 124"/>
              <a:gd name="T7" fmla="*/ 21 h 127"/>
              <a:gd name="T8" fmla="*/ 51 w 124"/>
              <a:gd name="T9" fmla="*/ 22 h 127"/>
              <a:gd name="T10" fmla="*/ 49 w 124"/>
              <a:gd name="T11" fmla="*/ 22 h 127"/>
              <a:gd name="T12" fmla="*/ 47 w 124"/>
              <a:gd name="T13" fmla="*/ 23 h 127"/>
              <a:gd name="T14" fmla="*/ 45 w 124"/>
              <a:gd name="T15" fmla="*/ 24 h 127"/>
              <a:gd name="T16" fmla="*/ 45 w 124"/>
              <a:gd name="T17" fmla="*/ 26 h 127"/>
              <a:gd name="T18" fmla="*/ 44 w 124"/>
              <a:gd name="T19" fmla="*/ 26 h 127"/>
              <a:gd name="T20" fmla="*/ 42 w 124"/>
              <a:gd name="T21" fmla="*/ 27 h 127"/>
              <a:gd name="T22" fmla="*/ 40 w 124"/>
              <a:gd name="T23" fmla="*/ 30 h 127"/>
              <a:gd name="T24" fmla="*/ 37 w 124"/>
              <a:gd name="T25" fmla="*/ 32 h 127"/>
              <a:gd name="T26" fmla="*/ 35 w 124"/>
              <a:gd name="T27" fmla="*/ 34 h 127"/>
              <a:gd name="T28" fmla="*/ 33 w 124"/>
              <a:gd name="T29" fmla="*/ 36 h 127"/>
              <a:gd name="T30" fmla="*/ 30 w 124"/>
              <a:gd name="T31" fmla="*/ 41 h 127"/>
              <a:gd name="T32" fmla="*/ 26 w 124"/>
              <a:gd name="T33" fmla="*/ 43 h 127"/>
              <a:gd name="T34" fmla="*/ 22 w 124"/>
              <a:gd name="T35" fmla="*/ 44 h 127"/>
              <a:gd name="T36" fmla="*/ 21 w 124"/>
              <a:gd name="T37" fmla="*/ 42 h 127"/>
              <a:gd name="T38" fmla="*/ 17 w 124"/>
              <a:gd name="T39" fmla="*/ 41 h 127"/>
              <a:gd name="T40" fmla="*/ 11 w 124"/>
              <a:gd name="T41" fmla="*/ 42 h 127"/>
              <a:gd name="T42" fmla="*/ 2 w 124"/>
              <a:gd name="T43" fmla="*/ 41 h 127"/>
              <a:gd name="T44" fmla="*/ 0 w 124"/>
              <a:gd name="T45" fmla="*/ 40 h 127"/>
              <a:gd name="T46" fmla="*/ 1 w 124"/>
              <a:gd name="T47" fmla="*/ 44 h 127"/>
              <a:gd name="T48" fmla="*/ 6 w 124"/>
              <a:gd name="T49" fmla="*/ 54 h 127"/>
              <a:gd name="T50" fmla="*/ 8 w 124"/>
              <a:gd name="T51" fmla="*/ 62 h 127"/>
              <a:gd name="T52" fmla="*/ 21 w 124"/>
              <a:gd name="T53" fmla="*/ 77 h 127"/>
              <a:gd name="T54" fmla="*/ 28 w 124"/>
              <a:gd name="T55" fmla="*/ 82 h 127"/>
              <a:gd name="T56" fmla="*/ 35 w 124"/>
              <a:gd name="T57" fmla="*/ 87 h 127"/>
              <a:gd name="T58" fmla="*/ 37 w 124"/>
              <a:gd name="T59" fmla="*/ 96 h 127"/>
              <a:gd name="T60" fmla="*/ 40 w 124"/>
              <a:gd name="T61" fmla="*/ 107 h 127"/>
              <a:gd name="T62" fmla="*/ 45 w 124"/>
              <a:gd name="T63" fmla="*/ 112 h 127"/>
              <a:gd name="T64" fmla="*/ 52 w 124"/>
              <a:gd name="T65" fmla="*/ 112 h 127"/>
              <a:gd name="T66" fmla="*/ 58 w 124"/>
              <a:gd name="T67" fmla="*/ 115 h 127"/>
              <a:gd name="T68" fmla="*/ 65 w 124"/>
              <a:gd name="T69" fmla="*/ 116 h 127"/>
              <a:gd name="T70" fmla="*/ 74 w 124"/>
              <a:gd name="T71" fmla="*/ 119 h 127"/>
              <a:gd name="T72" fmla="*/ 81 w 124"/>
              <a:gd name="T73" fmla="*/ 119 h 127"/>
              <a:gd name="T74" fmla="*/ 91 w 124"/>
              <a:gd name="T75" fmla="*/ 122 h 127"/>
              <a:gd name="T76" fmla="*/ 96 w 124"/>
              <a:gd name="T77" fmla="*/ 126 h 127"/>
              <a:gd name="T78" fmla="*/ 96 w 124"/>
              <a:gd name="T79" fmla="*/ 126 h 127"/>
              <a:gd name="T80" fmla="*/ 98 w 124"/>
              <a:gd name="T81" fmla="*/ 118 h 127"/>
              <a:gd name="T82" fmla="*/ 103 w 124"/>
              <a:gd name="T83" fmla="*/ 113 h 127"/>
              <a:gd name="T84" fmla="*/ 111 w 124"/>
              <a:gd name="T85" fmla="*/ 99 h 127"/>
              <a:gd name="T86" fmla="*/ 119 w 124"/>
              <a:gd name="T87" fmla="*/ 79 h 127"/>
              <a:gd name="T88" fmla="*/ 117 w 124"/>
              <a:gd name="T89" fmla="*/ 66 h 127"/>
              <a:gd name="T90" fmla="*/ 121 w 124"/>
              <a:gd name="T91" fmla="*/ 55 h 127"/>
              <a:gd name="T92" fmla="*/ 123 w 124"/>
              <a:gd name="T93" fmla="*/ 47 h 127"/>
              <a:gd name="T94" fmla="*/ 124 w 124"/>
              <a:gd name="T95" fmla="*/ 33 h 127"/>
              <a:gd name="T96" fmla="*/ 122 w 124"/>
              <a:gd name="T97" fmla="*/ 23 h 127"/>
              <a:gd name="T98" fmla="*/ 119 w 124"/>
              <a:gd name="T99" fmla="*/ 15 h 127"/>
              <a:gd name="T100" fmla="*/ 102 w 124"/>
              <a:gd name="T101" fmla="*/ 8 h 127"/>
              <a:gd name="T102" fmla="*/ 94 w 124"/>
              <a:gd name="T103" fmla="*/ 5 h 127"/>
              <a:gd name="T104" fmla="*/ 82 w 124"/>
              <a:gd name="T105" fmla="*/ 5 h 127"/>
              <a:gd name="T106" fmla="*/ 82 w 124"/>
              <a:gd name="T107" fmla="*/ 0 h 127"/>
              <a:gd name="T108" fmla="*/ 77 w 124"/>
              <a:gd name="T109" fmla="*/ 1 h 127"/>
              <a:gd name="T110" fmla="*/ 74 w 124"/>
              <a:gd name="T111" fmla="*/ 0 h 127"/>
              <a:gd name="T112" fmla="*/ 69 w 124"/>
              <a:gd name="T113" fmla="*/ 1 h 127"/>
              <a:gd name="T114" fmla="*/ 63 w 124"/>
              <a:gd name="T115" fmla="*/ 3 h 127"/>
              <a:gd name="T116" fmla="*/ 58 w 124"/>
              <a:gd name="T117" fmla="*/ 5 h 127"/>
              <a:gd name="T118" fmla="*/ 56 w 124"/>
              <a:gd name="T119" fmla="*/ 8 h 127"/>
              <a:gd name="T120" fmla="*/ 56 w 124"/>
              <a:gd name="T121" fmla="*/ 13 h 127"/>
              <a:gd name="T122" fmla="*/ 55 w 124"/>
              <a:gd name="T123" fmla="*/ 15 h 1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24" h="127">
                <a:moveTo>
                  <a:pt x="55" y="16"/>
                </a:moveTo>
                <a:lnTo>
                  <a:pt x="58" y="18"/>
                </a:lnTo>
                <a:lnTo>
                  <a:pt x="58" y="20"/>
                </a:lnTo>
                <a:lnTo>
                  <a:pt x="57" y="21"/>
                </a:lnTo>
                <a:lnTo>
                  <a:pt x="56" y="22"/>
                </a:lnTo>
                <a:lnTo>
                  <a:pt x="55" y="22"/>
                </a:lnTo>
                <a:lnTo>
                  <a:pt x="53" y="21"/>
                </a:lnTo>
                <a:lnTo>
                  <a:pt x="52" y="21"/>
                </a:lnTo>
                <a:lnTo>
                  <a:pt x="51" y="21"/>
                </a:lnTo>
                <a:lnTo>
                  <a:pt x="51" y="22"/>
                </a:lnTo>
                <a:lnTo>
                  <a:pt x="49" y="22"/>
                </a:lnTo>
                <a:lnTo>
                  <a:pt x="49" y="22"/>
                </a:lnTo>
                <a:lnTo>
                  <a:pt x="48" y="22"/>
                </a:lnTo>
                <a:lnTo>
                  <a:pt x="47" y="23"/>
                </a:lnTo>
                <a:lnTo>
                  <a:pt x="46" y="23"/>
                </a:lnTo>
                <a:lnTo>
                  <a:pt x="45" y="24"/>
                </a:lnTo>
                <a:lnTo>
                  <a:pt x="45" y="25"/>
                </a:lnTo>
                <a:lnTo>
                  <a:pt x="45" y="26"/>
                </a:lnTo>
                <a:lnTo>
                  <a:pt x="45" y="26"/>
                </a:lnTo>
                <a:lnTo>
                  <a:pt x="44" y="26"/>
                </a:lnTo>
                <a:lnTo>
                  <a:pt x="44" y="26"/>
                </a:lnTo>
                <a:lnTo>
                  <a:pt x="42" y="27"/>
                </a:lnTo>
                <a:lnTo>
                  <a:pt x="41" y="28"/>
                </a:lnTo>
                <a:lnTo>
                  <a:pt x="40" y="30"/>
                </a:lnTo>
                <a:lnTo>
                  <a:pt x="38" y="30"/>
                </a:lnTo>
                <a:lnTo>
                  <a:pt x="37" y="32"/>
                </a:lnTo>
                <a:lnTo>
                  <a:pt x="36" y="33"/>
                </a:lnTo>
                <a:lnTo>
                  <a:pt x="35" y="34"/>
                </a:lnTo>
                <a:lnTo>
                  <a:pt x="34" y="35"/>
                </a:lnTo>
                <a:lnTo>
                  <a:pt x="33" y="36"/>
                </a:lnTo>
                <a:lnTo>
                  <a:pt x="32" y="38"/>
                </a:lnTo>
                <a:lnTo>
                  <a:pt x="30" y="41"/>
                </a:lnTo>
                <a:lnTo>
                  <a:pt x="27" y="40"/>
                </a:lnTo>
                <a:lnTo>
                  <a:pt x="26" y="43"/>
                </a:lnTo>
                <a:lnTo>
                  <a:pt x="24" y="42"/>
                </a:lnTo>
                <a:lnTo>
                  <a:pt x="22" y="44"/>
                </a:lnTo>
                <a:lnTo>
                  <a:pt x="21" y="43"/>
                </a:lnTo>
                <a:lnTo>
                  <a:pt x="21" y="42"/>
                </a:lnTo>
                <a:lnTo>
                  <a:pt x="20" y="41"/>
                </a:lnTo>
                <a:lnTo>
                  <a:pt x="17" y="41"/>
                </a:lnTo>
                <a:lnTo>
                  <a:pt x="15" y="41"/>
                </a:lnTo>
                <a:lnTo>
                  <a:pt x="11" y="42"/>
                </a:lnTo>
                <a:lnTo>
                  <a:pt x="6" y="40"/>
                </a:lnTo>
                <a:lnTo>
                  <a:pt x="2" y="41"/>
                </a:lnTo>
                <a:lnTo>
                  <a:pt x="1" y="41"/>
                </a:lnTo>
                <a:lnTo>
                  <a:pt x="0" y="40"/>
                </a:lnTo>
                <a:lnTo>
                  <a:pt x="0" y="42"/>
                </a:lnTo>
                <a:lnTo>
                  <a:pt x="1" y="44"/>
                </a:lnTo>
                <a:lnTo>
                  <a:pt x="4" y="51"/>
                </a:lnTo>
                <a:lnTo>
                  <a:pt x="6" y="54"/>
                </a:lnTo>
                <a:lnTo>
                  <a:pt x="7" y="57"/>
                </a:lnTo>
                <a:lnTo>
                  <a:pt x="8" y="62"/>
                </a:lnTo>
                <a:lnTo>
                  <a:pt x="12" y="68"/>
                </a:lnTo>
                <a:lnTo>
                  <a:pt x="21" y="77"/>
                </a:lnTo>
                <a:lnTo>
                  <a:pt x="25" y="79"/>
                </a:lnTo>
                <a:lnTo>
                  <a:pt x="28" y="82"/>
                </a:lnTo>
                <a:lnTo>
                  <a:pt x="31" y="86"/>
                </a:lnTo>
                <a:lnTo>
                  <a:pt x="35" y="87"/>
                </a:lnTo>
                <a:lnTo>
                  <a:pt x="37" y="91"/>
                </a:lnTo>
                <a:lnTo>
                  <a:pt x="37" y="96"/>
                </a:lnTo>
                <a:lnTo>
                  <a:pt x="38" y="103"/>
                </a:lnTo>
                <a:lnTo>
                  <a:pt x="40" y="107"/>
                </a:lnTo>
                <a:lnTo>
                  <a:pt x="42" y="109"/>
                </a:lnTo>
                <a:lnTo>
                  <a:pt x="45" y="112"/>
                </a:lnTo>
                <a:lnTo>
                  <a:pt x="48" y="112"/>
                </a:lnTo>
                <a:lnTo>
                  <a:pt x="52" y="112"/>
                </a:lnTo>
                <a:lnTo>
                  <a:pt x="56" y="114"/>
                </a:lnTo>
                <a:lnTo>
                  <a:pt x="58" y="115"/>
                </a:lnTo>
                <a:lnTo>
                  <a:pt x="62" y="117"/>
                </a:lnTo>
                <a:lnTo>
                  <a:pt x="65" y="116"/>
                </a:lnTo>
                <a:lnTo>
                  <a:pt x="67" y="117"/>
                </a:lnTo>
                <a:lnTo>
                  <a:pt x="74" y="119"/>
                </a:lnTo>
                <a:lnTo>
                  <a:pt x="77" y="119"/>
                </a:lnTo>
                <a:lnTo>
                  <a:pt x="81" y="119"/>
                </a:lnTo>
                <a:lnTo>
                  <a:pt x="85" y="119"/>
                </a:lnTo>
                <a:lnTo>
                  <a:pt x="91" y="122"/>
                </a:lnTo>
                <a:lnTo>
                  <a:pt x="95" y="126"/>
                </a:lnTo>
                <a:lnTo>
                  <a:pt x="96" y="126"/>
                </a:lnTo>
                <a:lnTo>
                  <a:pt x="96" y="127"/>
                </a:lnTo>
                <a:lnTo>
                  <a:pt x="96" y="126"/>
                </a:lnTo>
                <a:lnTo>
                  <a:pt x="96" y="122"/>
                </a:lnTo>
                <a:lnTo>
                  <a:pt x="98" y="118"/>
                </a:lnTo>
                <a:lnTo>
                  <a:pt x="99" y="115"/>
                </a:lnTo>
                <a:lnTo>
                  <a:pt x="103" y="113"/>
                </a:lnTo>
                <a:lnTo>
                  <a:pt x="105" y="111"/>
                </a:lnTo>
                <a:lnTo>
                  <a:pt x="111" y="99"/>
                </a:lnTo>
                <a:lnTo>
                  <a:pt x="114" y="91"/>
                </a:lnTo>
                <a:lnTo>
                  <a:pt x="119" y="79"/>
                </a:lnTo>
                <a:lnTo>
                  <a:pt x="118" y="71"/>
                </a:lnTo>
                <a:lnTo>
                  <a:pt x="117" y="66"/>
                </a:lnTo>
                <a:lnTo>
                  <a:pt x="117" y="61"/>
                </a:lnTo>
                <a:lnTo>
                  <a:pt x="121" y="55"/>
                </a:lnTo>
                <a:lnTo>
                  <a:pt x="121" y="53"/>
                </a:lnTo>
                <a:lnTo>
                  <a:pt x="123" y="47"/>
                </a:lnTo>
                <a:lnTo>
                  <a:pt x="123" y="44"/>
                </a:lnTo>
                <a:lnTo>
                  <a:pt x="124" y="33"/>
                </a:lnTo>
                <a:lnTo>
                  <a:pt x="123" y="26"/>
                </a:lnTo>
                <a:lnTo>
                  <a:pt x="122" y="23"/>
                </a:lnTo>
                <a:lnTo>
                  <a:pt x="122" y="18"/>
                </a:lnTo>
                <a:lnTo>
                  <a:pt x="119" y="15"/>
                </a:lnTo>
                <a:lnTo>
                  <a:pt x="111" y="12"/>
                </a:lnTo>
                <a:lnTo>
                  <a:pt x="102" y="8"/>
                </a:lnTo>
                <a:lnTo>
                  <a:pt x="98" y="6"/>
                </a:lnTo>
                <a:lnTo>
                  <a:pt x="94" y="5"/>
                </a:lnTo>
                <a:lnTo>
                  <a:pt x="87" y="6"/>
                </a:lnTo>
                <a:lnTo>
                  <a:pt x="82" y="5"/>
                </a:lnTo>
                <a:lnTo>
                  <a:pt x="82" y="0"/>
                </a:lnTo>
                <a:lnTo>
                  <a:pt x="82" y="0"/>
                </a:lnTo>
                <a:lnTo>
                  <a:pt x="79" y="0"/>
                </a:lnTo>
                <a:lnTo>
                  <a:pt x="77" y="1"/>
                </a:lnTo>
                <a:lnTo>
                  <a:pt x="75" y="0"/>
                </a:lnTo>
                <a:lnTo>
                  <a:pt x="74" y="0"/>
                </a:lnTo>
                <a:lnTo>
                  <a:pt x="73" y="0"/>
                </a:lnTo>
                <a:lnTo>
                  <a:pt x="69" y="1"/>
                </a:lnTo>
                <a:lnTo>
                  <a:pt x="64" y="2"/>
                </a:lnTo>
                <a:lnTo>
                  <a:pt x="63" y="3"/>
                </a:lnTo>
                <a:lnTo>
                  <a:pt x="61" y="5"/>
                </a:lnTo>
                <a:lnTo>
                  <a:pt x="58" y="5"/>
                </a:lnTo>
                <a:lnTo>
                  <a:pt x="56" y="6"/>
                </a:lnTo>
                <a:lnTo>
                  <a:pt x="56" y="8"/>
                </a:lnTo>
                <a:lnTo>
                  <a:pt x="56" y="11"/>
                </a:lnTo>
                <a:lnTo>
                  <a:pt x="56" y="13"/>
                </a:lnTo>
                <a:lnTo>
                  <a:pt x="56" y="14"/>
                </a:lnTo>
                <a:lnTo>
                  <a:pt x="55" y="15"/>
                </a:lnTo>
                <a:lnTo>
                  <a:pt x="55" y="16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29" name="Freeform 729"/>
          <p:cNvSpPr>
            <a:spLocks/>
          </p:cNvSpPr>
          <p:nvPr/>
        </p:nvSpPr>
        <p:spPr bwMode="auto">
          <a:xfrm>
            <a:off x="4903788" y="2911440"/>
            <a:ext cx="409575" cy="561975"/>
          </a:xfrm>
          <a:custGeom>
            <a:avLst/>
            <a:gdLst>
              <a:gd name="T0" fmla="*/ 32 w 258"/>
              <a:gd name="T1" fmla="*/ 118 h 354"/>
              <a:gd name="T2" fmla="*/ 19 w 258"/>
              <a:gd name="T3" fmla="*/ 134 h 354"/>
              <a:gd name="T4" fmla="*/ 14 w 258"/>
              <a:gd name="T5" fmla="*/ 141 h 354"/>
              <a:gd name="T6" fmla="*/ 5 w 258"/>
              <a:gd name="T7" fmla="*/ 160 h 354"/>
              <a:gd name="T8" fmla="*/ 3 w 258"/>
              <a:gd name="T9" fmla="*/ 166 h 354"/>
              <a:gd name="T10" fmla="*/ 1 w 258"/>
              <a:gd name="T11" fmla="*/ 179 h 354"/>
              <a:gd name="T12" fmla="*/ 1 w 258"/>
              <a:gd name="T13" fmla="*/ 189 h 354"/>
              <a:gd name="T14" fmla="*/ 8 w 258"/>
              <a:gd name="T15" fmla="*/ 197 h 354"/>
              <a:gd name="T16" fmla="*/ 14 w 258"/>
              <a:gd name="T17" fmla="*/ 212 h 354"/>
              <a:gd name="T18" fmla="*/ 16 w 258"/>
              <a:gd name="T19" fmla="*/ 224 h 354"/>
              <a:gd name="T20" fmla="*/ 26 w 258"/>
              <a:gd name="T21" fmla="*/ 247 h 354"/>
              <a:gd name="T22" fmla="*/ 33 w 258"/>
              <a:gd name="T23" fmla="*/ 262 h 354"/>
              <a:gd name="T24" fmla="*/ 47 w 258"/>
              <a:gd name="T25" fmla="*/ 270 h 354"/>
              <a:gd name="T26" fmla="*/ 53 w 258"/>
              <a:gd name="T27" fmla="*/ 278 h 354"/>
              <a:gd name="T28" fmla="*/ 69 w 258"/>
              <a:gd name="T29" fmla="*/ 293 h 354"/>
              <a:gd name="T30" fmla="*/ 76 w 258"/>
              <a:gd name="T31" fmla="*/ 305 h 354"/>
              <a:gd name="T32" fmla="*/ 90 w 258"/>
              <a:gd name="T33" fmla="*/ 320 h 354"/>
              <a:gd name="T34" fmla="*/ 97 w 258"/>
              <a:gd name="T35" fmla="*/ 332 h 354"/>
              <a:gd name="T36" fmla="*/ 110 w 258"/>
              <a:gd name="T37" fmla="*/ 341 h 354"/>
              <a:gd name="T38" fmla="*/ 126 w 258"/>
              <a:gd name="T39" fmla="*/ 335 h 354"/>
              <a:gd name="T40" fmla="*/ 143 w 258"/>
              <a:gd name="T41" fmla="*/ 352 h 354"/>
              <a:gd name="T42" fmla="*/ 153 w 258"/>
              <a:gd name="T43" fmla="*/ 352 h 354"/>
              <a:gd name="T44" fmla="*/ 164 w 258"/>
              <a:gd name="T45" fmla="*/ 354 h 354"/>
              <a:gd name="T46" fmla="*/ 182 w 258"/>
              <a:gd name="T47" fmla="*/ 352 h 354"/>
              <a:gd name="T48" fmla="*/ 195 w 258"/>
              <a:gd name="T49" fmla="*/ 346 h 354"/>
              <a:gd name="T50" fmla="*/ 215 w 258"/>
              <a:gd name="T51" fmla="*/ 337 h 354"/>
              <a:gd name="T52" fmla="*/ 226 w 258"/>
              <a:gd name="T53" fmla="*/ 325 h 354"/>
              <a:gd name="T54" fmla="*/ 214 w 258"/>
              <a:gd name="T55" fmla="*/ 318 h 354"/>
              <a:gd name="T56" fmla="*/ 206 w 258"/>
              <a:gd name="T57" fmla="*/ 298 h 354"/>
              <a:gd name="T58" fmla="*/ 195 w 258"/>
              <a:gd name="T59" fmla="*/ 285 h 354"/>
              <a:gd name="T60" fmla="*/ 185 w 258"/>
              <a:gd name="T61" fmla="*/ 280 h 354"/>
              <a:gd name="T62" fmla="*/ 179 w 258"/>
              <a:gd name="T63" fmla="*/ 274 h 354"/>
              <a:gd name="T64" fmla="*/ 191 w 258"/>
              <a:gd name="T65" fmla="*/ 267 h 354"/>
              <a:gd name="T66" fmla="*/ 196 w 258"/>
              <a:gd name="T67" fmla="*/ 243 h 354"/>
              <a:gd name="T68" fmla="*/ 197 w 258"/>
              <a:gd name="T69" fmla="*/ 229 h 354"/>
              <a:gd name="T70" fmla="*/ 203 w 258"/>
              <a:gd name="T71" fmla="*/ 222 h 354"/>
              <a:gd name="T72" fmla="*/ 209 w 258"/>
              <a:gd name="T73" fmla="*/ 207 h 354"/>
              <a:gd name="T74" fmla="*/ 227 w 258"/>
              <a:gd name="T75" fmla="*/ 184 h 354"/>
              <a:gd name="T76" fmla="*/ 229 w 258"/>
              <a:gd name="T77" fmla="*/ 149 h 354"/>
              <a:gd name="T78" fmla="*/ 235 w 258"/>
              <a:gd name="T79" fmla="*/ 121 h 354"/>
              <a:gd name="T80" fmla="*/ 241 w 258"/>
              <a:gd name="T81" fmla="*/ 109 h 354"/>
              <a:gd name="T82" fmla="*/ 253 w 258"/>
              <a:gd name="T83" fmla="*/ 101 h 354"/>
              <a:gd name="T84" fmla="*/ 257 w 258"/>
              <a:gd name="T85" fmla="*/ 89 h 354"/>
              <a:gd name="T86" fmla="*/ 252 w 258"/>
              <a:gd name="T87" fmla="*/ 84 h 354"/>
              <a:gd name="T88" fmla="*/ 242 w 258"/>
              <a:gd name="T89" fmla="*/ 79 h 354"/>
              <a:gd name="T90" fmla="*/ 236 w 258"/>
              <a:gd name="T91" fmla="*/ 49 h 354"/>
              <a:gd name="T92" fmla="*/ 231 w 258"/>
              <a:gd name="T93" fmla="*/ 29 h 354"/>
              <a:gd name="T94" fmla="*/ 223 w 258"/>
              <a:gd name="T95" fmla="*/ 13 h 354"/>
              <a:gd name="T96" fmla="*/ 208 w 258"/>
              <a:gd name="T97" fmla="*/ 0 h 354"/>
              <a:gd name="T98" fmla="*/ 186 w 258"/>
              <a:gd name="T99" fmla="*/ 17 h 354"/>
              <a:gd name="T100" fmla="*/ 144 w 258"/>
              <a:gd name="T101" fmla="*/ 20 h 354"/>
              <a:gd name="T102" fmla="*/ 143 w 258"/>
              <a:gd name="T103" fmla="*/ 17 h 354"/>
              <a:gd name="T104" fmla="*/ 103 w 258"/>
              <a:gd name="T105" fmla="*/ 20 h 354"/>
              <a:gd name="T106" fmla="*/ 43 w 258"/>
              <a:gd name="T107" fmla="*/ 20 h 354"/>
              <a:gd name="T108" fmla="*/ 30 w 258"/>
              <a:gd name="T109" fmla="*/ 55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58" h="354">
                <a:moveTo>
                  <a:pt x="30" y="65"/>
                </a:moveTo>
                <a:lnTo>
                  <a:pt x="31" y="83"/>
                </a:lnTo>
                <a:lnTo>
                  <a:pt x="31" y="100"/>
                </a:lnTo>
                <a:lnTo>
                  <a:pt x="32" y="118"/>
                </a:lnTo>
                <a:lnTo>
                  <a:pt x="32" y="133"/>
                </a:lnTo>
                <a:lnTo>
                  <a:pt x="30" y="133"/>
                </a:lnTo>
                <a:lnTo>
                  <a:pt x="22" y="133"/>
                </a:lnTo>
                <a:lnTo>
                  <a:pt x="19" y="134"/>
                </a:lnTo>
                <a:lnTo>
                  <a:pt x="15" y="134"/>
                </a:lnTo>
                <a:lnTo>
                  <a:pt x="15" y="135"/>
                </a:lnTo>
                <a:lnTo>
                  <a:pt x="14" y="137"/>
                </a:lnTo>
                <a:lnTo>
                  <a:pt x="14" y="141"/>
                </a:lnTo>
                <a:lnTo>
                  <a:pt x="13" y="144"/>
                </a:lnTo>
                <a:lnTo>
                  <a:pt x="10" y="150"/>
                </a:lnTo>
                <a:lnTo>
                  <a:pt x="5" y="156"/>
                </a:lnTo>
                <a:lnTo>
                  <a:pt x="5" y="160"/>
                </a:lnTo>
                <a:lnTo>
                  <a:pt x="6" y="163"/>
                </a:lnTo>
                <a:lnTo>
                  <a:pt x="5" y="164"/>
                </a:lnTo>
                <a:lnTo>
                  <a:pt x="5" y="165"/>
                </a:lnTo>
                <a:lnTo>
                  <a:pt x="3" y="166"/>
                </a:lnTo>
                <a:lnTo>
                  <a:pt x="2" y="167"/>
                </a:lnTo>
                <a:lnTo>
                  <a:pt x="2" y="171"/>
                </a:lnTo>
                <a:lnTo>
                  <a:pt x="2" y="175"/>
                </a:lnTo>
                <a:lnTo>
                  <a:pt x="1" y="179"/>
                </a:lnTo>
                <a:lnTo>
                  <a:pt x="0" y="182"/>
                </a:lnTo>
                <a:lnTo>
                  <a:pt x="0" y="184"/>
                </a:lnTo>
                <a:lnTo>
                  <a:pt x="0" y="189"/>
                </a:lnTo>
                <a:lnTo>
                  <a:pt x="1" y="189"/>
                </a:lnTo>
                <a:lnTo>
                  <a:pt x="2" y="189"/>
                </a:lnTo>
                <a:lnTo>
                  <a:pt x="6" y="187"/>
                </a:lnTo>
                <a:lnTo>
                  <a:pt x="6" y="192"/>
                </a:lnTo>
                <a:lnTo>
                  <a:pt x="8" y="197"/>
                </a:lnTo>
                <a:lnTo>
                  <a:pt x="12" y="209"/>
                </a:lnTo>
                <a:lnTo>
                  <a:pt x="12" y="210"/>
                </a:lnTo>
                <a:lnTo>
                  <a:pt x="13" y="211"/>
                </a:lnTo>
                <a:lnTo>
                  <a:pt x="14" y="212"/>
                </a:lnTo>
                <a:lnTo>
                  <a:pt x="15" y="215"/>
                </a:lnTo>
                <a:lnTo>
                  <a:pt x="15" y="217"/>
                </a:lnTo>
                <a:lnTo>
                  <a:pt x="13" y="219"/>
                </a:lnTo>
                <a:lnTo>
                  <a:pt x="16" y="224"/>
                </a:lnTo>
                <a:lnTo>
                  <a:pt x="21" y="230"/>
                </a:lnTo>
                <a:lnTo>
                  <a:pt x="26" y="237"/>
                </a:lnTo>
                <a:lnTo>
                  <a:pt x="27" y="242"/>
                </a:lnTo>
                <a:lnTo>
                  <a:pt x="26" y="247"/>
                </a:lnTo>
                <a:lnTo>
                  <a:pt x="25" y="253"/>
                </a:lnTo>
                <a:lnTo>
                  <a:pt x="26" y="257"/>
                </a:lnTo>
                <a:lnTo>
                  <a:pt x="30" y="261"/>
                </a:lnTo>
                <a:lnTo>
                  <a:pt x="33" y="262"/>
                </a:lnTo>
                <a:lnTo>
                  <a:pt x="36" y="263"/>
                </a:lnTo>
                <a:lnTo>
                  <a:pt x="39" y="267"/>
                </a:lnTo>
                <a:lnTo>
                  <a:pt x="42" y="268"/>
                </a:lnTo>
                <a:lnTo>
                  <a:pt x="47" y="270"/>
                </a:lnTo>
                <a:lnTo>
                  <a:pt x="51" y="271"/>
                </a:lnTo>
                <a:lnTo>
                  <a:pt x="53" y="274"/>
                </a:lnTo>
                <a:lnTo>
                  <a:pt x="54" y="275"/>
                </a:lnTo>
                <a:lnTo>
                  <a:pt x="53" y="278"/>
                </a:lnTo>
                <a:lnTo>
                  <a:pt x="55" y="282"/>
                </a:lnTo>
                <a:lnTo>
                  <a:pt x="61" y="286"/>
                </a:lnTo>
                <a:lnTo>
                  <a:pt x="66" y="290"/>
                </a:lnTo>
                <a:lnTo>
                  <a:pt x="69" y="293"/>
                </a:lnTo>
                <a:lnTo>
                  <a:pt x="72" y="295"/>
                </a:lnTo>
                <a:lnTo>
                  <a:pt x="73" y="298"/>
                </a:lnTo>
                <a:lnTo>
                  <a:pt x="74" y="302"/>
                </a:lnTo>
                <a:lnTo>
                  <a:pt x="76" y="305"/>
                </a:lnTo>
                <a:lnTo>
                  <a:pt x="76" y="308"/>
                </a:lnTo>
                <a:lnTo>
                  <a:pt x="80" y="310"/>
                </a:lnTo>
                <a:lnTo>
                  <a:pt x="89" y="316"/>
                </a:lnTo>
                <a:lnTo>
                  <a:pt x="90" y="320"/>
                </a:lnTo>
                <a:lnTo>
                  <a:pt x="91" y="323"/>
                </a:lnTo>
                <a:lnTo>
                  <a:pt x="92" y="325"/>
                </a:lnTo>
                <a:lnTo>
                  <a:pt x="94" y="330"/>
                </a:lnTo>
                <a:lnTo>
                  <a:pt x="97" y="332"/>
                </a:lnTo>
                <a:lnTo>
                  <a:pt x="100" y="335"/>
                </a:lnTo>
                <a:lnTo>
                  <a:pt x="101" y="338"/>
                </a:lnTo>
                <a:lnTo>
                  <a:pt x="107" y="342"/>
                </a:lnTo>
                <a:lnTo>
                  <a:pt x="110" y="341"/>
                </a:lnTo>
                <a:lnTo>
                  <a:pt x="112" y="337"/>
                </a:lnTo>
                <a:lnTo>
                  <a:pt x="120" y="339"/>
                </a:lnTo>
                <a:lnTo>
                  <a:pt x="123" y="339"/>
                </a:lnTo>
                <a:lnTo>
                  <a:pt x="126" y="335"/>
                </a:lnTo>
                <a:lnTo>
                  <a:pt x="130" y="337"/>
                </a:lnTo>
                <a:lnTo>
                  <a:pt x="136" y="346"/>
                </a:lnTo>
                <a:lnTo>
                  <a:pt x="141" y="349"/>
                </a:lnTo>
                <a:lnTo>
                  <a:pt x="143" y="352"/>
                </a:lnTo>
                <a:lnTo>
                  <a:pt x="145" y="354"/>
                </a:lnTo>
                <a:lnTo>
                  <a:pt x="147" y="354"/>
                </a:lnTo>
                <a:lnTo>
                  <a:pt x="148" y="352"/>
                </a:lnTo>
                <a:lnTo>
                  <a:pt x="153" y="352"/>
                </a:lnTo>
                <a:lnTo>
                  <a:pt x="156" y="353"/>
                </a:lnTo>
                <a:lnTo>
                  <a:pt x="158" y="352"/>
                </a:lnTo>
                <a:lnTo>
                  <a:pt x="163" y="352"/>
                </a:lnTo>
                <a:lnTo>
                  <a:pt x="164" y="354"/>
                </a:lnTo>
                <a:lnTo>
                  <a:pt x="170" y="353"/>
                </a:lnTo>
                <a:lnTo>
                  <a:pt x="174" y="353"/>
                </a:lnTo>
                <a:lnTo>
                  <a:pt x="177" y="351"/>
                </a:lnTo>
                <a:lnTo>
                  <a:pt x="182" y="352"/>
                </a:lnTo>
                <a:lnTo>
                  <a:pt x="187" y="351"/>
                </a:lnTo>
                <a:lnTo>
                  <a:pt x="195" y="345"/>
                </a:lnTo>
                <a:lnTo>
                  <a:pt x="195" y="344"/>
                </a:lnTo>
                <a:lnTo>
                  <a:pt x="195" y="346"/>
                </a:lnTo>
                <a:lnTo>
                  <a:pt x="199" y="338"/>
                </a:lnTo>
                <a:lnTo>
                  <a:pt x="203" y="336"/>
                </a:lnTo>
                <a:lnTo>
                  <a:pt x="206" y="336"/>
                </a:lnTo>
                <a:lnTo>
                  <a:pt x="215" y="337"/>
                </a:lnTo>
                <a:lnTo>
                  <a:pt x="219" y="337"/>
                </a:lnTo>
                <a:lnTo>
                  <a:pt x="225" y="336"/>
                </a:lnTo>
                <a:lnTo>
                  <a:pt x="225" y="328"/>
                </a:lnTo>
                <a:lnTo>
                  <a:pt x="226" y="325"/>
                </a:lnTo>
                <a:lnTo>
                  <a:pt x="225" y="323"/>
                </a:lnTo>
                <a:lnTo>
                  <a:pt x="223" y="322"/>
                </a:lnTo>
                <a:lnTo>
                  <a:pt x="216" y="320"/>
                </a:lnTo>
                <a:lnTo>
                  <a:pt x="214" y="318"/>
                </a:lnTo>
                <a:lnTo>
                  <a:pt x="213" y="315"/>
                </a:lnTo>
                <a:lnTo>
                  <a:pt x="209" y="306"/>
                </a:lnTo>
                <a:lnTo>
                  <a:pt x="208" y="302"/>
                </a:lnTo>
                <a:lnTo>
                  <a:pt x="206" y="298"/>
                </a:lnTo>
                <a:lnTo>
                  <a:pt x="199" y="294"/>
                </a:lnTo>
                <a:lnTo>
                  <a:pt x="197" y="292"/>
                </a:lnTo>
                <a:lnTo>
                  <a:pt x="196" y="288"/>
                </a:lnTo>
                <a:lnTo>
                  <a:pt x="195" y="285"/>
                </a:lnTo>
                <a:lnTo>
                  <a:pt x="193" y="283"/>
                </a:lnTo>
                <a:lnTo>
                  <a:pt x="191" y="281"/>
                </a:lnTo>
                <a:lnTo>
                  <a:pt x="187" y="280"/>
                </a:lnTo>
                <a:lnTo>
                  <a:pt x="185" y="280"/>
                </a:lnTo>
                <a:lnTo>
                  <a:pt x="182" y="278"/>
                </a:lnTo>
                <a:lnTo>
                  <a:pt x="181" y="277"/>
                </a:lnTo>
                <a:lnTo>
                  <a:pt x="178" y="276"/>
                </a:lnTo>
                <a:lnTo>
                  <a:pt x="179" y="274"/>
                </a:lnTo>
                <a:lnTo>
                  <a:pt x="182" y="273"/>
                </a:lnTo>
                <a:lnTo>
                  <a:pt x="182" y="267"/>
                </a:lnTo>
                <a:lnTo>
                  <a:pt x="184" y="266"/>
                </a:lnTo>
                <a:lnTo>
                  <a:pt x="191" y="267"/>
                </a:lnTo>
                <a:lnTo>
                  <a:pt x="194" y="265"/>
                </a:lnTo>
                <a:lnTo>
                  <a:pt x="196" y="263"/>
                </a:lnTo>
                <a:lnTo>
                  <a:pt x="196" y="258"/>
                </a:lnTo>
                <a:lnTo>
                  <a:pt x="196" y="243"/>
                </a:lnTo>
                <a:lnTo>
                  <a:pt x="197" y="238"/>
                </a:lnTo>
                <a:lnTo>
                  <a:pt x="197" y="234"/>
                </a:lnTo>
                <a:lnTo>
                  <a:pt x="197" y="233"/>
                </a:lnTo>
                <a:lnTo>
                  <a:pt x="197" y="229"/>
                </a:lnTo>
                <a:lnTo>
                  <a:pt x="198" y="230"/>
                </a:lnTo>
                <a:lnTo>
                  <a:pt x="199" y="227"/>
                </a:lnTo>
                <a:lnTo>
                  <a:pt x="201" y="223"/>
                </a:lnTo>
                <a:lnTo>
                  <a:pt x="203" y="222"/>
                </a:lnTo>
                <a:lnTo>
                  <a:pt x="206" y="222"/>
                </a:lnTo>
                <a:lnTo>
                  <a:pt x="207" y="220"/>
                </a:lnTo>
                <a:lnTo>
                  <a:pt x="209" y="211"/>
                </a:lnTo>
                <a:lnTo>
                  <a:pt x="209" y="207"/>
                </a:lnTo>
                <a:lnTo>
                  <a:pt x="219" y="191"/>
                </a:lnTo>
                <a:lnTo>
                  <a:pt x="223" y="187"/>
                </a:lnTo>
                <a:lnTo>
                  <a:pt x="225" y="186"/>
                </a:lnTo>
                <a:lnTo>
                  <a:pt x="227" y="184"/>
                </a:lnTo>
                <a:lnTo>
                  <a:pt x="231" y="165"/>
                </a:lnTo>
                <a:lnTo>
                  <a:pt x="231" y="161"/>
                </a:lnTo>
                <a:lnTo>
                  <a:pt x="229" y="155"/>
                </a:lnTo>
                <a:lnTo>
                  <a:pt x="229" y="149"/>
                </a:lnTo>
                <a:lnTo>
                  <a:pt x="231" y="143"/>
                </a:lnTo>
                <a:lnTo>
                  <a:pt x="233" y="139"/>
                </a:lnTo>
                <a:lnTo>
                  <a:pt x="235" y="129"/>
                </a:lnTo>
                <a:lnTo>
                  <a:pt x="235" y="121"/>
                </a:lnTo>
                <a:lnTo>
                  <a:pt x="235" y="119"/>
                </a:lnTo>
                <a:lnTo>
                  <a:pt x="236" y="112"/>
                </a:lnTo>
                <a:lnTo>
                  <a:pt x="237" y="110"/>
                </a:lnTo>
                <a:lnTo>
                  <a:pt x="241" y="109"/>
                </a:lnTo>
                <a:lnTo>
                  <a:pt x="243" y="108"/>
                </a:lnTo>
                <a:lnTo>
                  <a:pt x="245" y="105"/>
                </a:lnTo>
                <a:lnTo>
                  <a:pt x="251" y="102"/>
                </a:lnTo>
                <a:lnTo>
                  <a:pt x="253" y="101"/>
                </a:lnTo>
                <a:lnTo>
                  <a:pt x="256" y="99"/>
                </a:lnTo>
                <a:lnTo>
                  <a:pt x="258" y="94"/>
                </a:lnTo>
                <a:lnTo>
                  <a:pt x="258" y="91"/>
                </a:lnTo>
                <a:lnTo>
                  <a:pt x="257" y="89"/>
                </a:lnTo>
                <a:lnTo>
                  <a:pt x="256" y="89"/>
                </a:lnTo>
                <a:lnTo>
                  <a:pt x="255" y="88"/>
                </a:lnTo>
                <a:lnTo>
                  <a:pt x="254" y="88"/>
                </a:lnTo>
                <a:lnTo>
                  <a:pt x="252" y="84"/>
                </a:lnTo>
                <a:lnTo>
                  <a:pt x="251" y="82"/>
                </a:lnTo>
                <a:lnTo>
                  <a:pt x="248" y="82"/>
                </a:lnTo>
                <a:lnTo>
                  <a:pt x="244" y="80"/>
                </a:lnTo>
                <a:lnTo>
                  <a:pt x="242" y="79"/>
                </a:lnTo>
                <a:lnTo>
                  <a:pt x="241" y="76"/>
                </a:lnTo>
                <a:lnTo>
                  <a:pt x="238" y="66"/>
                </a:lnTo>
                <a:lnTo>
                  <a:pt x="236" y="59"/>
                </a:lnTo>
                <a:lnTo>
                  <a:pt x="236" y="49"/>
                </a:lnTo>
                <a:lnTo>
                  <a:pt x="235" y="36"/>
                </a:lnTo>
                <a:lnTo>
                  <a:pt x="236" y="36"/>
                </a:lnTo>
                <a:lnTo>
                  <a:pt x="235" y="34"/>
                </a:lnTo>
                <a:lnTo>
                  <a:pt x="231" y="29"/>
                </a:lnTo>
                <a:lnTo>
                  <a:pt x="229" y="25"/>
                </a:lnTo>
                <a:lnTo>
                  <a:pt x="228" y="20"/>
                </a:lnTo>
                <a:lnTo>
                  <a:pt x="225" y="15"/>
                </a:lnTo>
                <a:lnTo>
                  <a:pt x="223" y="13"/>
                </a:lnTo>
                <a:lnTo>
                  <a:pt x="219" y="10"/>
                </a:lnTo>
                <a:lnTo>
                  <a:pt x="216" y="8"/>
                </a:lnTo>
                <a:lnTo>
                  <a:pt x="212" y="5"/>
                </a:lnTo>
                <a:lnTo>
                  <a:pt x="208" y="0"/>
                </a:lnTo>
                <a:lnTo>
                  <a:pt x="202" y="7"/>
                </a:lnTo>
                <a:lnTo>
                  <a:pt x="198" y="4"/>
                </a:lnTo>
                <a:lnTo>
                  <a:pt x="195" y="14"/>
                </a:lnTo>
                <a:lnTo>
                  <a:pt x="186" y="17"/>
                </a:lnTo>
                <a:lnTo>
                  <a:pt x="185" y="24"/>
                </a:lnTo>
                <a:lnTo>
                  <a:pt x="177" y="24"/>
                </a:lnTo>
                <a:lnTo>
                  <a:pt x="172" y="20"/>
                </a:lnTo>
                <a:lnTo>
                  <a:pt x="144" y="20"/>
                </a:lnTo>
                <a:lnTo>
                  <a:pt x="145" y="17"/>
                </a:lnTo>
                <a:lnTo>
                  <a:pt x="144" y="17"/>
                </a:lnTo>
                <a:lnTo>
                  <a:pt x="144" y="17"/>
                </a:lnTo>
                <a:lnTo>
                  <a:pt x="143" y="17"/>
                </a:lnTo>
                <a:lnTo>
                  <a:pt x="141" y="20"/>
                </a:lnTo>
                <a:lnTo>
                  <a:pt x="133" y="20"/>
                </a:lnTo>
                <a:lnTo>
                  <a:pt x="118" y="20"/>
                </a:lnTo>
                <a:lnTo>
                  <a:pt x="103" y="20"/>
                </a:lnTo>
                <a:lnTo>
                  <a:pt x="89" y="20"/>
                </a:lnTo>
                <a:lnTo>
                  <a:pt x="73" y="20"/>
                </a:lnTo>
                <a:lnTo>
                  <a:pt x="59" y="20"/>
                </a:lnTo>
                <a:lnTo>
                  <a:pt x="43" y="20"/>
                </a:lnTo>
                <a:lnTo>
                  <a:pt x="43" y="20"/>
                </a:lnTo>
                <a:lnTo>
                  <a:pt x="44" y="36"/>
                </a:lnTo>
                <a:lnTo>
                  <a:pt x="45" y="55"/>
                </a:lnTo>
                <a:lnTo>
                  <a:pt x="30" y="55"/>
                </a:lnTo>
                <a:lnTo>
                  <a:pt x="30" y="6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30" name="Freeform 730"/>
          <p:cNvSpPr>
            <a:spLocks/>
          </p:cNvSpPr>
          <p:nvPr/>
        </p:nvSpPr>
        <p:spPr bwMode="auto">
          <a:xfrm>
            <a:off x="4903788" y="2911440"/>
            <a:ext cx="409575" cy="561975"/>
          </a:xfrm>
          <a:custGeom>
            <a:avLst/>
            <a:gdLst>
              <a:gd name="T0" fmla="*/ 32 w 258"/>
              <a:gd name="T1" fmla="*/ 118 h 354"/>
              <a:gd name="T2" fmla="*/ 19 w 258"/>
              <a:gd name="T3" fmla="*/ 134 h 354"/>
              <a:gd name="T4" fmla="*/ 14 w 258"/>
              <a:gd name="T5" fmla="*/ 141 h 354"/>
              <a:gd name="T6" fmla="*/ 5 w 258"/>
              <a:gd name="T7" fmla="*/ 160 h 354"/>
              <a:gd name="T8" fmla="*/ 3 w 258"/>
              <a:gd name="T9" fmla="*/ 166 h 354"/>
              <a:gd name="T10" fmla="*/ 1 w 258"/>
              <a:gd name="T11" fmla="*/ 179 h 354"/>
              <a:gd name="T12" fmla="*/ 1 w 258"/>
              <a:gd name="T13" fmla="*/ 189 h 354"/>
              <a:gd name="T14" fmla="*/ 8 w 258"/>
              <a:gd name="T15" fmla="*/ 197 h 354"/>
              <a:gd name="T16" fmla="*/ 14 w 258"/>
              <a:gd name="T17" fmla="*/ 212 h 354"/>
              <a:gd name="T18" fmla="*/ 16 w 258"/>
              <a:gd name="T19" fmla="*/ 224 h 354"/>
              <a:gd name="T20" fmla="*/ 26 w 258"/>
              <a:gd name="T21" fmla="*/ 247 h 354"/>
              <a:gd name="T22" fmla="*/ 33 w 258"/>
              <a:gd name="T23" fmla="*/ 262 h 354"/>
              <a:gd name="T24" fmla="*/ 47 w 258"/>
              <a:gd name="T25" fmla="*/ 270 h 354"/>
              <a:gd name="T26" fmla="*/ 53 w 258"/>
              <a:gd name="T27" fmla="*/ 278 h 354"/>
              <a:gd name="T28" fmla="*/ 69 w 258"/>
              <a:gd name="T29" fmla="*/ 293 h 354"/>
              <a:gd name="T30" fmla="*/ 76 w 258"/>
              <a:gd name="T31" fmla="*/ 305 h 354"/>
              <a:gd name="T32" fmla="*/ 90 w 258"/>
              <a:gd name="T33" fmla="*/ 320 h 354"/>
              <a:gd name="T34" fmla="*/ 97 w 258"/>
              <a:gd name="T35" fmla="*/ 332 h 354"/>
              <a:gd name="T36" fmla="*/ 110 w 258"/>
              <a:gd name="T37" fmla="*/ 341 h 354"/>
              <a:gd name="T38" fmla="*/ 126 w 258"/>
              <a:gd name="T39" fmla="*/ 335 h 354"/>
              <a:gd name="T40" fmla="*/ 143 w 258"/>
              <a:gd name="T41" fmla="*/ 352 h 354"/>
              <a:gd name="T42" fmla="*/ 153 w 258"/>
              <a:gd name="T43" fmla="*/ 352 h 354"/>
              <a:gd name="T44" fmla="*/ 164 w 258"/>
              <a:gd name="T45" fmla="*/ 354 h 354"/>
              <a:gd name="T46" fmla="*/ 182 w 258"/>
              <a:gd name="T47" fmla="*/ 352 h 354"/>
              <a:gd name="T48" fmla="*/ 195 w 258"/>
              <a:gd name="T49" fmla="*/ 346 h 354"/>
              <a:gd name="T50" fmla="*/ 215 w 258"/>
              <a:gd name="T51" fmla="*/ 337 h 354"/>
              <a:gd name="T52" fmla="*/ 226 w 258"/>
              <a:gd name="T53" fmla="*/ 325 h 354"/>
              <a:gd name="T54" fmla="*/ 214 w 258"/>
              <a:gd name="T55" fmla="*/ 318 h 354"/>
              <a:gd name="T56" fmla="*/ 206 w 258"/>
              <a:gd name="T57" fmla="*/ 298 h 354"/>
              <a:gd name="T58" fmla="*/ 195 w 258"/>
              <a:gd name="T59" fmla="*/ 285 h 354"/>
              <a:gd name="T60" fmla="*/ 185 w 258"/>
              <a:gd name="T61" fmla="*/ 280 h 354"/>
              <a:gd name="T62" fmla="*/ 179 w 258"/>
              <a:gd name="T63" fmla="*/ 274 h 354"/>
              <a:gd name="T64" fmla="*/ 191 w 258"/>
              <a:gd name="T65" fmla="*/ 267 h 354"/>
              <a:gd name="T66" fmla="*/ 196 w 258"/>
              <a:gd name="T67" fmla="*/ 243 h 354"/>
              <a:gd name="T68" fmla="*/ 197 w 258"/>
              <a:gd name="T69" fmla="*/ 229 h 354"/>
              <a:gd name="T70" fmla="*/ 203 w 258"/>
              <a:gd name="T71" fmla="*/ 222 h 354"/>
              <a:gd name="T72" fmla="*/ 209 w 258"/>
              <a:gd name="T73" fmla="*/ 207 h 354"/>
              <a:gd name="T74" fmla="*/ 227 w 258"/>
              <a:gd name="T75" fmla="*/ 184 h 354"/>
              <a:gd name="T76" fmla="*/ 229 w 258"/>
              <a:gd name="T77" fmla="*/ 149 h 354"/>
              <a:gd name="T78" fmla="*/ 235 w 258"/>
              <a:gd name="T79" fmla="*/ 121 h 354"/>
              <a:gd name="T80" fmla="*/ 241 w 258"/>
              <a:gd name="T81" fmla="*/ 109 h 354"/>
              <a:gd name="T82" fmla="*/ 253 w 258"/>
              <a:gd name="T83" fmla="*/ 101 h 354"/>
              <a:gd name="T84" fmla="*/ 257 w 258"/>
              <a:gd name="T85" fmla="*/ 89 h 354"/>
              <a:gd name="T86" fmla="*/ 252 w 258"/>
              <a:gd name="T87" fmla="*/ 84 h 354"/>
              <a:gd name="T88" fmla="*/ 242 w 258"/>
              <a:gd name="T89" fmla="*/ 79 h 354"/>
              <a:gd name="T90" fmla="*/ 236 w 258"/>
              <a:gd name="T91" fmla="*/ 49 h 354"/>
              <a:gd name="T92" fmla="*/ 231 w 258"/>
              <a:gd name="T93" fmla="*/ 29 h 354"/>
              <a:gd name="T94" fmla="*/ 223 w 258"/>
              <a:gd name="T95" fmla="*/ 13 h 354"/>
              <a:gd name="T96" fmla="*/ 208 w 258"/>
              <a:gd name="T97" fmla="*/ 0 h 354"/>
              <a:gd name="T98" fmla="*/ 186 w 258"/>
              <a:gd name="T99" fmla="*/ 17 h 354"/>
              <a:gd name="T100" fmla="*/ 144 w 258"/>
              <a:gd name="T101" fmla="*/ 20 h 354"/>
              <a:gd name="T102" fmla="*/ 143 w 258"/>
              <a:gd name="T103" fmla="*/ 17 h 354"/>
              <a:gd name="T104" fmla="*/ 103 w 258"/>
              <a:gd name="T105" fmla="*/ 20 h 354"/>
              <a:gd name="T106" fmla="*/ 43 w 258"/>
              <a:gd name="T107" fmla="*/ 20 h 354"/>
              <a:gd name="T108" fmla="*/ 30 w 258"/>
              <a:gd name="T109" fmla="*/ 55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58" h="354">
                <a:moveTo>
                  <a:pt x="30" y="65"/>
                </a:moveTo>
                <a:lnTo>
                  <a:pt x="31" y="83"/>
                </a:lnTo>
                <a:lnTo>
                  <a:pt x="31" y="100"/>
                </a:lnTo>
                <a:lnTo>
                  <a:pt x="32" y="118"/>
                </a:lnTo>
                <a:lnTo>
                  <a:pt x="32" y="133"/>
                </a:lnTo>
                <a:lnTo>
                  <a:pt x="30" y="133"/>
                </a:lnTo>
                <a:lnTo>
                  <a:pt x="22" y="133"/>
                </a:lnTo>
                <a:lnTo>
                  <a:pt x="19" y="134"/>
                </a:lnTo>
                <a:lnTo>
                  <a:pt x="15" y="134"/>
                </a:lnTo>
                <a:lnTo>
                  <a:pt x="15" y="135"/>
                </a:lnTo>
                <a:lnTo>
                  <a:pt x="14" y="137"/>
                </a:lnTo>
                <a:lnTo>
                  <a:pt x="14" y="141"/>
                </a:lnTo>
                <a:lnTo>
                  <a:pt x="13" y="144"/>
                </a:lnTo>
                <a:lnTo>
                  <a:pt x="10" y="150"/>
                </a:lnTo>
                <a:lnTo>
                  <a:pt x="5" y="156"/>
                </a:lnTo>
                <a:lnTo>
                  <a:pt x="5" y="160"/>
                </a:lnTo>
                <a:lnTo>
                  <a:pt x="6" y="163"/>
                </a:lnTo>
                <a:lnTo>
                  <a:pt x="5" y="164"/>
                </a:lnTo>
                <a:lnTo>
                  <a:pt x="5" y="165"/>
                </a:lnTo>
                <a:lnTo>
                  <a:pt x="3" y="166"/>
                </a:lnTo>
                <a:lnTo>
                  <a:pt x="2" y="167"/>
                </a:lnTo>
                <a:lnTo>
                  <a:pt x="2" y="171"/>
                </a:lnTo>
                <a:lnTo>
                  <a:pt x="2" y="175"/>
                </a:lnTo>
                <a:lnTo>
                  <a:pt x="1" y="179"/>
                </a:lnTo>
                <a:lnTo>
                  <a:pt x="0" y="182"/>
                </a:lnTo>
                <a:lnTo>
                  <a:pt x="0" y="184"/>
                </a:lnTo>
                <a:lnTo>
                  <a:pt x="0" y="189"/>
                </a:lnTo>
                <a:lnTo>
                  <a:pt x="1" y="189"/>
                </a:lnTo>
                <a:lnTo>
                  <a:pt x="2" y="189"/>
                </a:lnTo>
                <a:lnTo>
                  <a:pt x="6" y="187"/>
                </a:lnTo>
                <a:lnTo>
                  <a:pt x="6" y="192"/>
                </a:lnTo>
                <a:lnTo>
                  <a:pt x="8" y="197"/>
                </a:lnTo>
                <a:lnTo>
                  <a:pt x="12" y="209"/>
                </a:lnTo>
                <a:lnTo>
                  <a:pt x="12" y="210"/>
                </a:lnTo>
                <a:lnTo>
                  <a:pt x="13" y="211"/>
                </a:lnTo>
                <a:lnTo>
                  <a:pt x="14" y="212"/>
                </a:lnTo>
                <a:lnTo>
                  <a:pt x="15" y="215"/>
                </a:lnTo>
                <a:lnTo>
                  <a:pt x="15" y="217"/>
                </a:lnTo>
                <a:lnTo>
                  <a:pt x="13" y="219"/>
                </a:lnTo>
                <a:lnTo>
                  <a:pt x="16" y="224"/>
                </a:lnTo>
                <a:lnTo>
                  <a:pt x="21" y="230"/>
                </a:lnTo>
                <a:lnTo>
                  <a:pt x="26" y="237"/>
                </a:lnTo>
                <a:lnTo>
                  <a:pt x="27" y="242"/>
                </a:lnTo>
                <a:lnTo>
                  <a:pt x="26" y="247"/>
                </a:lnTo>
                <a:lnTo>
                  <a:pt x="25" y="253"/>
                </a:lnTo>
                <a:lnTo>
                  <a:pt x="26" y="257"/>
                </a:lnTo>
                <a:lnTo>
                  <a:pt x="30" y="261"/>
                </a:lnTo>
                <a:lnTo>
                  <a:pt x="33" y="262"/>
                </a:lnTo>
                <a:lnTo>
                  <a:pt x="36" y="263"/>
                </a:lnTo>
                <a:lnTo>
                  <a:pt x="39" y="267"/>
                </a:lnTo>
                <a:lnTo>
                  <a:pt x="42" y="268"/>
                </a:lnTo>
                <a:lnTo>
                  <a:pt x="47" y="270"/>
                </a:lnTo>
                <a:lnTo>
                  <a:pt x="51" y="271"/>
                </a:lnTo>
                <a:lnTo>
                  <a:pt x="53" y="274"/>
                </a:lnTo>
                <a:lnTo>
                  <a:pt x="54" y="275"/>
                </a:lnTo>
                <a:lnTo>
                  <a:pt x="53" y="278"/>
                </a:lnTo>
                <a:lnTo>
                  <a:pt x="55" y="282"/>
                </a:lnTo>
                <a:lnTo>
                  <a:pt x="61" y="286"/>
                </a:lnTo>
                <a:lnTo>
                  <a:pt x="66" y="290"/>
                </a:lnTo>
                <a:lnTo>
                  <a:pt x="69" y="293"/>
                </a:lnTo>
                <a:lnTo>
                  <a:pt x="72" y="295"/>
                </a:lnTo>
                <a:lnTo>
                  <a:pt x="73" y="298"/>
                </a:lnTo>
                <a:lnTo>
                  <a:pt x="74" y="302"/>
                </a:lnTo>
                <a:lnTo>
                  <a:pt x="76" y="305"/>
                </a:lnTo>
                <a:lnTo>
                  <a:pt x="76" y="308"/>
                </a:lnTo>
                <a:lnTo>
                  <a:pt x="80" y="310"/>
                </a:lnTo>
                <a:lnTo>
                  <a:pt x="89" y="316"/>
                </a:lnTo>
                <a:lnTo>
                  <a:pt x="90" y="320"/>
                </a:lnTo>
                <a:lnTo>
                  <a:pt x="91" y="323"/>
                </a:lnTo>
                <a:lnTo>
                  <a:pt x="92" y="325"/>
                </a:lnTo>
                <a:lnTo>
                  <a:pt x="94" y="330"/>
                </a:lnTo>
                <a:lnTo>
                  <a:pt x="97" y="332"/>
                </a:lnTo>
                <a:lnTo>
                  <a:pt x="100" y="335"/>
                </a:lnTo>
                <a:lnTo>
                  <a:pt x="101" y="338"/>
                </a:lnTo>
                <a:lnTo>
                  <a:pt x="107" y="342"/>
                </a:lnTo>
                <a:lnTo>
                  <a:pt x="110" y="341"/>
                </a:lnTo>
                <a:lnTo>
                  <a:pt x="112" y="337"/>
                </a:lnTo>
                <a:lnTo>
                  <a:pt x="120" y="339"/>
                </a:lnTo>
                <a:lnTo>
                  <a:pt x="123" y="339"/>
                </a:lnTo>
                <a:lnTo>
                  <a:pt x="126" y="335"/>
                </a:lnTo>
                <a:lnTo>
                  <a:pt x="130" y="337"/>
                </a:lnTo>
                <a:lnTo>
                  <a:pt x="136" y="346"/>
                </a:lnTo>
                <a:lnTo>
                  <a:pt x="141" y="349"/>
                </a:lnTo>
                <a:lnTo>
                  <a:pt x="143" y="352"/>
                </a:lnTo>
                <a:lnTo>
                  <a:pt x="145" y="354"/>
                </a:lnTo>
                <a:lnTo>
                  <a:pt x="147" y="354"/>
                </a:lnTo>
                <a:lnTo>
                  <a:pt x="148" y="352"/>
                </a:lnTo>
                <a:lnTo>
                  <a:pt x="153" y="352"/>
                </a:lnTo>
                <a:lnTo>
                  <a:pt x="156" y="353"/>
                </a:lnTo>
                <a:lnTo>
                  <a:pt x="158" y="352"/>
                </a:lnTo>
                <a:lnTo>
                  <a:pt x="163" y="352"/>
                </a:lnTo>
                <a:lnTo>
                  <a:pt x="164" y="354"/>
                </a:lnTo>
                <a:lnTo>
                  <a:pt x="170" y="353"/>
                </a:lnTo>
                <a:lnTo>
                  <a:pt x="174" y="353"/>
                </a:lnTo>
                <a:lnTo>
                  <a:pt x="177" y="351"/>
                </a:lnTo>
                <a:lnTo>
                  <a:pt x="182" y="352"/>
                </a:lnTo>
                <a:lnTo>
                  <a:pt x="187" y="351"/>
                </a:lnTo>
                <a:lnTo>
                  <a:pt x="195" y="345"/>
                </a:lnTo>
                <a:lnTo>
                  <a:pt x="195" y="344"/>
                </a:lnTo>
                <a:lnTo>
                  <a:pt x="195" y="346"/>
                </a:lnTo>
                <a:lnTo>
                  <a:pt x="199" y="338"/>
                </a:lnTo>
                <a:lnTo>
                  <a:pt x="203" y="336"/>
                </a:lnTo>
                <a:lnTo>
                  <a:pt x="206" y="336"/>
                </a:lnTo>
                <a:lnTo>
                  <a:pt x="215" y="337"/>
                </a:lnTo>
                <a:lnTo>
                  <a:pt x="219" y="337"/>
                </a:lnTo>
                <a:lnTo>
                  <a:pt x="225" y="336"/>
                </a:lnTo>
                <a:lnTo>
                  <a:pt x="225" y="328"/>
                </a:lnTo>
                <a:lnTo>
                  <a:pt x="226" y="325"/>
                </a:lnTo>
                <a:lnTo>
                  <a:pt x="225" y="323"/>
                </a:lnTo>
                <a:lnTo>
                  <a:pt x="223" y="322"/>
                </a:lnTo>
                <a:lnTo>
                  <a:pt x="216" y="320"/>
                </a:lnTo>
                <a:lnTo>
                  <a:pt x="214" y="318"/>
                </a:lnTo>
                <a:lnTo>
                  <a:pt x="213" y="315"/>
                </a:lnTo>
                <a:lnTo>
                  <a:pt x="209" y="306"/>
                </a:lnTo>
                <a:lnTo>
                  <a:pt x="208" y="302"/>
                </a:lnTo>
                <a:lnTo>
                  <a:pt x="206" y="298"/>
                </a:lnTo>
                <a:lnTo>
                  <a:pt x="199" y="294"/>
                </a:lnTo>
                <a:lnTo>
                  <a:pt x="197" y="292"/>
                </a:lnTo>
                <a:lnTo>
                  <a:pt x="196" y="288"/>
                </a:lnTo>
                <a:lnTo>
                  <a:pt x="195" y="285"/>
                </a:lnTo>
                <a:lnTo>
                  <a:pt x="193" y="283"/>
                </a:lnTo>
                <a:lnTo>
                  <a:pt x="191" y="281"/>
                </a:lnTo>
                <a:lnTo>
                  <a:pt x="187" y="280"/>
                </a:lnTo>
                <a:lnTo>
                  <a:pt x="185" y="280"/>
                </a:lnTo>
                <a:lnTo>
                  <a:pt x="182" y="278"/>
                </a:lnTo>
                <a:lnTo>
                  <a:pt x="181" y="277"/>
                </a:lnTo>
                <a:lnTo>
                  <a:pt x="178" y="276"/>
                </a:lnTo>
                <a:lnTo>
                  <a:pt x="179" y="274"/>
                </a:lnTo>
                <a:lnTo>
                  <a:pt x="182" y="273"/>
                </a:lnTo>
                <a:lnTo>
                  <a:pt x="182" y="267"/>
                </a:lnTo>
                <a:lnTo>
                  <a:pt x="184" y="266"/>
                </a:lnTo>
                <a:lnTo>
                  <a:pt x="191" y="267"/>
                </a:lnTo>
                <a:lnTo>
                  <a:pt x="194" y="265"/>
                </a:lnTo>
                <a:lnTo>
                  <a:pt x="196" y="263"/>
                </a:lnTo>
                <a:lnTo>
                  <a:pt x="196" y="258"/>
                </a:lnTo>
                <a:lnTo>
                  <a:pt x="196" y="243"/>
                </a:lnTo>
                <a:lnTo>
                  <a:pt x="197" y="238"/>
                </a:lnTo>
                <a:lnTo>
                  <a:pt x="197" y="234"/>
                </a:lnTo>
                <a:lnTo>
                  <a:pt x="197" y="233"/>
                </a:lnTo>
                <a:lnTo>
                  <a:pt x="197" y="229"/>
                </a:lnTo>
                <a:lnTo>
                  <a:pt x="198" y="230"/>
                </a:lnTo>
                <a:lnTo>
                  <a:pt x="199" y="227"/>
                </a:lnTo>
                <a:lnTo>
                  <a:pt x="201" y="223"/>
                </a:lnTo>
                <a:lnTo>
                  <a:pt x="203" y="222"/>
                </a:lnTo>
                <a:lnTo>
                  <a:pt x="206" y="222"/>
                </a:lnTo>
                <a:lnTo>
                  <a:pt x="207" y="220"/>
                </a:lnTo>
                <a:lnTo>
                  <a:pt x="209" y="211"/>
                </a:lnTo>
                <a:lnTo>
                  <a:pt x="209" y="207"/>
                </a:lnTo>
                <a:lnTo>
                  <a:pt x="219" y="191"/>
                </a:lnTo>
                <a:lnTo>
                  <a:pt x="223" y="187"/>
                </a:lnTo>
                <a:lnTo>
                  <a:pt x="225" y="186"/>
                </a:lnTo>
                <a:lnTo>
                  <a:pt x="227" y="184"/>
                </a:lnTo>
                <a:lnTo>
                  <a:pt x="231" y="165"/>
                </a:lnTo>
                <a:lnTo>
                  <a:pt x="231" y="161"/>
                </a:lnTo>
                <a:lnTo>
                  <a:pt x="229" y="155"/>
                </a:lnTo>
                <a:lnTo>
                  <a:pt x="229" y="149"/>
                </a:lnTo>
                <a:lnTo>
                  <a:pt x="231" y="143"/>
                </a:lnTo>
                <a:lnTo>
                  <a:pt x="233" y="139"/>
                </a:lnTo>
                <a:lnTo>
                  <a:pt x="235" y="129"/>
                </a:lnTo>
                <a:lnTo>
                  <a:pt x="235" y="121"/>
                </a:lnTo>
                <a:lnTo>
                  <a:pt x="235" y="119"/>
                </a:lnTo>
                <a:lnTo>
                  <a:pt x="236" y="112"/>
                </a:lnTo>
                <a:lnTo>
                  <a:pt x="237" y="110"/>
                </a:lnTo>
                <a:lnTo>
                  <a:pt x="241" y="109"/>
                </a:lnTo>
                <a:lnTo>
                  <a:pt x="243" y="108"/>
                </a:lnTo>
                <a:lnTo>
                  <a:pt x="245" y="105"/>
                </a:lnTo>
                <a:lnTo>
                  <a:pt x="251" y="102"/>
                </a:lnTo>
                <a:lnTo>
                  <a:pt x="253" y="101"/>
                </a:lnTo>
                <a:lnTo>
                  <a:pt x="256" y="99"/>
                </a:lnTo>
                <a:lnTo>
                  <a:pt x="258" y="94"/>
                </a:lnTo>
                <a:lnTo>
                  <a:pt x="258" y="91"/>
                </a:lnTo>
                <a:lnTo>
                  <a:pt x="257" y="89"/>
                </a:lnTo>
                <a:lnTo>
                  <a:pt x="256" y="89"/>
                </a:lnTo>
                <a:lnTo>
                  <a:pt x="255" y="88"/>
                </a:lnTo>
                <a:lnTo>
                  <a:pt x="254" y="88"/>
                </a:lnTo>
                <a:lnTo>
                  <a:pt x="252" y="84"/>
                </a:lnTo>
                <a:lnTo>
                  <a:pt x="251" y="82"/>
                </a:lnTo>
                <a:lnTo>
                  <a:pt x="248" y="82"/>
                </a:lnTo>
                <a:lnTo>
                  <a:pt x="244" y="80"/>
                </a:lnTo>
                <a:lnTo>
                  <a:pt x="242" y="79"/>
                </a:lnTo>
                <a:lnTo>
                  <a:pt x="241" y="76"/>
                </a:lnTo>
                <a:lnTo>
                  <a:pt x="238" y="66"/>
                </a:lnTo>
                <a:lnTo>
                  <a:pt x="236" y="59"/>
                </a:lnTo>
                <a:lnTo>
                  <a:pt x="236" y="49"/>
                </a:lnTo>
                <a:lnTo>
                  <a:pt x="235" y="36"/>
                </a:lnTo>
                <a:lnTo>
                  <a:pt x="236" y="36"/>
                </a:lnTo>
                <a:lnTo>
                  <a:pt x="235" y="34"/>
                </a:lnTo>
                <a:lnTo>
                  <a:pt x="231" y="29"/>
                </a:lnTo>
                <a:lnTo>
                  <a:pt x="229" y="25"/>
                </a:lnTo>
                <a:lnTo>
                  <a:pt x="228" y="20"/>
                </a:lnTo>
                <a:lnTo>
                  <a:pt x="225" y="15"/>
                </a:lnTo>
                <a:lnTo>
                  <a:pt x="223" y="13"/>
                </a:lnTo>
                <a:lnTo>
                  <a:pt x="219" y="10"/>
                </a:lnTo>
                <a:lnTo>
                  <a:pt x="216" y="8"/>
                </a:lnTo>
                <a:lnTo>
                  <a:pt x="212" y="5"/>
                </a:lnTo>
                <a:lnTo>
                  <a:pt x="208" y="0"/>
                </a:lnTo>
                <a:lnTo>
                  <a:pt x="202" y="7"/>
                </a:lnTo>
                <a:lnTo>
                  <a:pt x="198" y="4"/>
                </a:lnTo>
                <a:lnTo>
                  <a:pt x="195" y="14"/>
                </a:lnTo>
                <a:lnTo>
                  <a:pt x="186" y="17"/>
                </a:lnTo>
                <a:lnTo>
                  <a:pt x="185" y="24"/>
                </a:lnTo>
                <a:lnTo>
                  <a:pt x="177" y="24"/>
                </a:lnTo>
                <a:lnTo>
                  <a:pt x="172" y="20"/>
                </a:lnTo>
                <a:lnTo>
                  <a:pt x="144" y="20"/>
                </a:lnTo>
                <a:lnTo>
                  <a:pt x="145" y="17"/>
                </a:lnTo>
                <a:lnTo>
                  <a:pt x="144" y="17"/>
                </a:lnTo>
                <a:lnTo>
                  <a:pt x="144" y="17"/>
                </a:lnTo>
                <a:lnTo>
                  <a:pt x="143" y="17"/>
                </a:lnTo>
                <a:lnTo>
                  <a:pt x="141" y="20"/>
                </a:lnTo>
                <a:lnTo>
                  <a:pt x="133" y="20"/>
                </a:lnTo>
                <a:lnTo>
                  <a:pt x="118" y="20"/>
                </a:lnTo>
                <a:lnTo>
                  <a:pt x="103" y="20"/>
                </a:lnTo>
                <a:lnTo>
                  <a:pt x="89" y="20"/>
                </a:lnTo>
                <a:lnTo>
                  <a:pt x="73" y="20"/>
                </a:lnTo>
                <a:lnTo>
                  <a:pt x="59" y="20"/>
                </a:lnTo>
                <a:lnTo>
                  <a:pt x="43" y="20"/>
                </a:lnTo>
                <a:lnTo>
                  <a:pt x="43" y="20"/>
                </a:lnTo>
                <a:lnTo>
                  <a:pt x="44" y="36"/>
                </a:lnTo>
                <a:lnTo>
                  <a:pt x="45" y="55"/>
                </a:lnTo>
                <a:lnTo>
                  <a:pt x="30" y="55"/>
                </a:lnTo>
                <a:lnTo>
                  <a:pt x="30" y="6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31" name="Freeform 731"/>
          <p:cNvSpPr>
            <a:spLocks/>
          </p:cNvSpPr>
          <p:nvPr/>
        </p:nvSpPr>
        <p:spPr bwMode="auto">
          <a:xfrm>
            <a:off x="4349750" y="2898740"/>
            <a:ext cx="398462" cy="339725"/>
          </a:xfrm>
          <a:custGeom>
            <a:avLst/>
            <a:gdLst>
              <a:gd name="T0" fmla="*/ 65 w 251"/>
              <a:gd name="T1" fmla="*/ 119 h 214"/>
              <a:gd name="T2" fmla="*/ 61 w 251"/>
              <a:gd name="T3" fmla="*/ 138 h 214"/>
              <a:gd name="T4" fmla="*/ 56 w 251"/>
              <a:gd name="T5" fmla="*/ 144 h 214"/>
              <a:gd name="T6" fmla="*/ 55 w 251"/>
              <a:gd name="T7" fmla="*/ 149 h 214"/>
              <a:gd name="T8" fmla="*/ 47 w 251"/>
              <a:gd name="T9" fmla="*/ 149 h 214"/>
              <a:gd name="T10" fmla="*/ 13 w 251"/>
              <a:gd name="T11" fmla="*/ 155 h 214"/>
              <a:gd name="T12" fmla="*/ 1 w 251"/>
              <a:gd name="T13" fmla="*/ 160 h 214"/>
              <a:gd name="T14" fmla="*/ 4 w 251"/>
              <a:gd name="T15" fmla="*/ 167 h 214"/>
              <a:gd name="T16" fmla="*/ 5 w 251"/>
              <a:gd name="T17" fmla="*/ 173 h 214"/>
              <a:gd name="T18" fmla="*/ 15 w 251"/>
              <a:gd name="T19" fmla="*/ 185 h 214"/>
              <a:gd name="T20" fmla="*/ 21 w 251"/>
              <a:gd name="T21" fmla="*/ 197 h 214"/>
              <a:gd name="T22" fmla="*/ 28 w 251"/>
              <a:gd name="T23" fmla="*/ 199 h 214"/>
              <a:gd name="T24" fmla="*/ 31 w 251"/>
              <a:gd name="T25" fmla="*/ 197 h 214"/>
              <a:gd name="T26" fmla="*/ 36 w 251"/>
              <a:gd name="T27" fmla="*/ 201 h 214"/>
              <a:gd name="T28" fmla="*/ 33 w 251"/>
              <a:gd name="T29" fmla="*/ 202 h 214"/>
              <a:gd name="T30" fmla="*/ 35 w 251"/>
              <a:gd name="T31" fmla="*/ 208 h 214"/>
              <a:gd name="T32" fmla="*/ 38 w 251"/>
              <a:gd name="T33" fmla="*/ 207 h 214"/>
              <a:gd name="T34" fmla="*/ 42 w 251"/>
              <a:gd name="T35" fmla="*/ 203 h 214"/>
              <a:gd name="T36" fmla="*/ 49 w 251"/>
              <a:gd name="T37" fmla="*/ 207 h 214"/>
              <a:gd name="T38" fmla="*/ 57 w 251"/>
              <a:gd name="T39" fmla="*/ 214 h 214"/>
              <a:gd name="T40" fmla="*/ 57 w 251"/>
              <a:gd name="T41" fmla="*/ 201 h 214"/>
              <a:gd name="T42" fmla="*/ 60 w 251"/>
              <a:gd name="T43" fmla="*/ 197 h 214"/>
              <a:gd name="T44" fmla="*/ 65 w 251"/>
              <a:gd name="T45" fmla="*/ 184 h 214"/>
              <a:gd name="T46" fmla="*/ 76 w 251"/>
              <a:gd name="T47" fmla="*/ 178 h 214"/>
              <a:gd name="T48" fmla="*/ 85 w 251"/>
              <a:gd name="T49" fmla="*/ 177 h 214"/>
              <a:gd name="T50" fmla="*/ 107 w 251"/>
              <a:gd name="T51" fmla="*/ 190 h 214"/>
              <a:gd name="T52" fmla="*/ 112 w 251"/>
              <a:gd name="T53" fmla="*/ 192 h 214"/>
              <a:gd name="T54" fmla="*/ 122 w 251"/>
              <a:gd name="T55" fmla="*/ 185 h 214"/>
              <a:gd name="T56" fmla="*/ 138 w 251"/>
              <a:gd name="T57" fmla="*/ 193 h 214"/>
              <a:gd name="T58" fmla="*/ 151 w 251"/>
              <a:gd name="T59" fmla="*/ 194 h 214"/>
              <a:gd name="T60" fmla="*/ 163 w 251"/>
              <a:gd name="T61" fmla="*/ 185 h 214"/>
              <a:gd name="T62" fmla="*/ 179 w 251"/>
              <a:gd name="T63" fmla="*/ 184 h 214"/>
              <a:gd name="T64" fmla="*/ 189 w 251"/>
              <a:gd name="T65" fmla="*/ 187 h 214"/>
              <a:gd name="T66" fmla="*/ 196 w 251"/>
              <a:gd name="T67" fmla="*/ 188 h 214"/>
              <a:gd name="T68" fmla="*/ 200 w 251"/>
              <a:gd name="T69" fmla="*/ 183 h 214"/>
              <a:gd name="T70" fmla="*/ 207 w 251"/>
              <a:gd name="T71" fmla="*/ 181 h 214"/>
              <a:gd name="T72" fmla="*/ 209 w 251"/>
              <a:gd name="T73" fmla="*/ 177 h 214"/>
              <a:gd name="T74" fmla="*/ 207 w 251"/>
              <a:gd name="T75" fmla="*/ 171 h 214"/>
              <a:gd name="T76" fmla="*/ 211 w 251"/>
              <a:gd name="T77" fmla="*/ 168 h 214"/>
              <a:gd name="T78" fmla="*/ 213 w 251"/>
              <a:gd name="T79" fmla="*/ 161 h 214"/>
              <a:gd name="T80" fmla="*/ 217 w 251"/>
              <a:gd name="T81" fmla="*/ 157 h 214"/>
              <a:gd name="T82" fmla="*/ 242 w 251"/>
              <a:gd name="T83" fmla="*/ 120 h 214"/>
              <a:gd name="T84" fmla="*/ 251 w 251"/>
              <a:gd name="T85" fmla="*/ 57 h 214"/>
              <a:gd name="T86" fmla="*/ 241 w 251"/>
              <a:gd name="T87" fmla="*/ 49 h 214"/>
              <a:gd name="T88" fmla="*/ 238 w 251"/>
              <a:gd name="T89" fmla="*/ 41 h 214"/>
              <a:gd name="T90" fmla="*/ 236 w 251"/>
              <a:gd name="T91" fmla="*/ 36 h 214"/>
              <a:gd name="T92" fmla="*/ 228 w 251"/>
              <a:gd name="T93" fmla="*/ 8 h 214"/>
              <a:gd name="T94" fmla="*/ 221 w 251"/>
              <a:gd name="T95" fmla="*/ 2 h 214"/>
              <a:gd name="T96" fmla="*/ 207 w 251"/>
              <a:gd name="T97" fmla="*/ 0 h 214"/>
              <a:gd name="T98" fmla="*/ 185 w 251"/>
              <a:gd name="T99" fmla="*/ 0 h 214"/>
              <a:gd name="T100" fmla="*/ 163 w 251"/>
              <a:gd name="T101" fmla="*/ 16 h 214"/>
              <a:gd name="T102" fmla="*/ 126 w 251"/>
              <a:gd name="T103" fmla="*/ 44 h 214"/>
              <a:gd name="T104" fmla="*/ 89 w 251"/>
              <a:gd name="T105" fmla="*/ 72 h 214"/>
              <a:gd name="T106" fmla="*/ 65 w 251"/>
              <a:gd name="T107" fmla="*/ 79 h 214"/>
              <a:gd name="T108" fmla="*/ 65 w 251"/>
              <a:gd name="T109" fmla="*/ 84 h 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51" h="214">
                <a:moveTo>
                  <a:pt x="65" y="84"/>
                </a:moveTo>
                <a:lnTo>
                  <a:pt x="65" y="101"/>
                </a:lnTo>
                <a:lnTo>
                  <a:pt x="65" y="119"/>
                </a:lnTo>
                <a:lnTo>
                  <a:pt x="66" y="135"/>
                </a:lnTo>
                <a:lnTo>
                  <a:pt x="64" y="137"/>
                </a:lnTo>
                <a:lnTo>
                  <a:pt x="61" y="138"/>
                </a:lnTo>
                <a:lnTo>
                  <a:pt x="60" y="140"/>
                </a:lnTo>
                <a:lnTo>
                  <a:pt x="60" y="142"/>
                </a:lnTo>
                <a:lnTo>
                  <a:pt x="56" y="144"/>
                </a:lnTo>
                <a:lnTo>
                  <a:pt x="55" y="145"/>
                </a:lnTo>
                <a:lnTo>
                  <a:pt x="55" y="147"/>
                </a:lnTo>
                <a:lnTo>
                  <a:pt x="55" y="149"/>
                </a:lnTo>
                <a:lnTo>
                  <a:pt x="51" y="148"/>
                </a:lnTo>
                <a:lnTo>
                  <a:pt x="47" y="148"/>
                </a:lnTo>
                <a:lnTo>
                  <a:pt x="47" y="149"/>
                </a:lnTo>
                <a:lnTo>
                  <a:pt x="46" y="149"/>
                </a:lnTo>
                <a:lnTo>
                  <a:pt x="20" y="149"/>
                </a:lnTo>
                <a:lnTo>
                  <a:pt x="13" y="155"/>
                </a:lnTo>
                <a:lnTo>
                  <a:pt x="3" y="155"/>
                </a:lnTo>
                <a:lnTo>
                  <a:pt x="1" y="157"/>
                </a:lnTo>
                <a:lnTo>
                  <a:pt x="1" y="160"/>
                </a:lnTo>
                <a:lnTo>
                  <a:pt x="0" y="163"/>
                </a:lnTo>
                <a:lnTo>
                  <a:pt x="1" y="164"/>
                </a:lnTo>
                <a:lnTo>
                  <a:pt x="4" y="167"/>
                </a:lnTo>
                <a:lnTo>
                  <a:pt x="5" y="168"/>
                </a:lnTo>
                <a:lnTo>
                  <a:pt x="4" y="171"/>
                </a:lnTo>
                <a:lnTo>
                  <a:pt x="5" y="173"/>
                </a:lnTo>
                <a:lnTo>
                  <a:pt x="8" y="178"/>
                </a:lnTo>
                <a:lnTo>
                  <a:pt x="14" y="182"/>
                </a:lnTo>
                <a:lnTo>
                  <a:pt x="15" y="185"/>
                </a:lnTo>
                <a:lnTo>
                  <a:pt x="17" y="190"/>
                </a:lnTo>
                <a:lnTo>
                  <a:pt x="18" y="192"/>
                </a:lnTo>
                <a:lnTo>
                  <a:pt x="21" y="197"/>
                </a:lnTo>
                <a:lnTo>
                  <a:pt x="24" y="198"/>
                </a:lnTo>
                <a:lnTo>
                  <a:pt x="26" y="199"/>
                </a:lnTo>
                <a:lnTo>
                  <a:pt x="28" y="199"/>
                </a:lnTo>
                <a:lnTo>
                  <a:pt x="29" y="198"/>
                </a:lnTo>
                <a:lnTo>
                  <a:pt x="30" y="197"/>
                </a:lnTo>
                <a:lnTo>
                  <a:pt x="31" y="197"/>
                </a:lnTo>
                <a:lnTo>
                  <a:pt x="34" y="197"/>
                </a:lnTo>
                <a:lnTo>
                  <a:pt x="35" y="201"/>
                </a:lnTo>
                <a:lnTo>
                  <a:pt x="36" y="201"/>
                </a:lnTo>
                <a:lnTo>
                  <a:pt x="35" y="202"/>
                </a:lnTo>
                <a:lnTo>
                  <a:pt x="34" y="202"/>
                </a:lnTo>
                <a:lnTo>
                  <a:pt x="33" y="202"/>
                </a:lnTo>
                <a:lnTo>
                  <a:pt x="33" y="203"/>
                </a:lnTo>
                <a:lnTo>
                  <a:pt x="33" y="204"/>
                </a:lnTo>
                <a:lnTo>
                  <a:pt x="35" y="208"/>
                </a:lnTo>
                <a:lnTo>
                  <a:pt x="38" y="211"/>
                </a:lnTo>
                <a:lnTo>
                  <a:pt x="39" y="209"/>
                </a:lnTo>
                <a:lnTo>
                  <a:pt x="38" y="207"/>
                </a:lnTo>
                <a:lnTo>
                  <a:pt x="38" y="204"/>
                </a:lnTo>
                <a:lnTo>
                  <a:pt x="41" y="204"/>
                </a:lnTo>
                <a:lnTo>
                  <a:pt x="42" y="203"/>
                </a:lnTo>
                <a:lnTo>
                  <a:pt x="45" y="202"/>
                </a:lnTo>
                <a:lnTo>
                  <a:pt x="46" y="203"/>
                </a:lnTo>
                <a:lnTo>
                  <a:pt x="49" y="207"/>
                </a:lnTo>
                <a:lnTo>
                  <a:pt x="52" y="211"/>
                </a:lnTo>
                <a:lnTo>
                  <a:pt x="55" y="212"/>
                </a:lnTo>
                <a:lnTo>
                  <a:pt x="57" y="214"/>
                </a:lnTo>
                <a:lnTo>
                  <a:pt x="57" y="212"/>
                </a:lnTo>
                <a:lnTo>
                  <a:pt x="56" y="204"/>
                </a:lnTo>
                <a:lnTo>
                  <a:pt x="57" y="201"/>
                </a:lnTo>
                <a:lnTo>
                  <a:pt x="57" y="200"/>
                </a:lnTo>
                <a:lnTo>
                  <a:pt x="58" y="198"/>
                </a:lnTo>
                <a:lnTo>
                  <a:pt x="60" y="197"/>
                </a:lnTo>
                <a:lnTo>
                  <a:pt x="62" y="195"/>
                </a:lnTo>
                <a:lnTo>
                  <a:pt x="65" y="190"/>
                </a:lnTo>
                <a:lnTo>
                  <a:pt x="65" y="184"/>
                </a:lnTo>
                <a:lnTo>
                  <a:pt x="66" y="183"/>
                </a:lnTo>
                <a:lnTo>
                  <a:pt x="70" y="179"/>
                </a:lnTo>
                <a:lnTo>
                  <a:pt x="76" y="178"/>
                </a:lnTo>
                <a:lnTo>
                  <a:pt x="81" y="178"/>
                </a:lnTo>
                <a:lnTo>
                  <a:pt x="82" y="178"/>
                </a:lnTo>
                <a:lnTo>
                  <a:pt x="85" y="177"/>
                </a:lnTo>
                <a:lnTo>
                  <a:pt x="89" y="177"/>
                </a:lnTo>
                <a:lnTo>
                  <a:pt x="100" y="183"/>
                </a:lnTo>
                <a:lnTo>
                  <a:pt x="107" y="190"/>
                </a:lnTo>
                <a:lnTo>
                  <a:pt x="109" y="191"/>
                </a:lnTo>
                <a:lnTo>
                  <a:pt x="110" y="192"/>
                </a:lnTo>
                <a:lnTo>
                  <a:pt x="112" y="192"/>
                </a:lnTo>
                <a:lnTo>
                  <a:pt x="115" y="189"/>
                </a:lnTo>
                <a:lnTo>
                  <a:pt x="119" y="187"/>
                </a:lnTo>
                <a:lnTo>
                  <a:pt x="122" y="185"/>
                </a:lnTo>
                <a:lnTo>
                  <a:pt x="126" y="185"/>
                </a:lnTo>
                <a:lnTo>
                  <a:pt x="131" y="189"/>
                </a:lnTo>
                <a:lnTo>
                  <a:pt x="138" y="193"/>
                </a:lnTo>
                <a:lnTo>
                  <a:pt x="141" y="194"/>
                </a:lnTo>
                <a:lnTo>
                  <a:pt x="148" y="195"/>
                </a:lnTo>
                <a:lnTo>
                  <a:pt x="151" y="194"/>
                </a:lnTo>
                <a:lnTo>
                  <a:pt x="156" y="191"/>
                </a:lnTo>
                <a:lnTo>
                  <a:pt x="160" y="187"/>
                </a:lnTo>
                <a:lnTo>
                  <a:pt x="163" y="185"/>
                </a:lnTo>
                <a:lnTo>
                  <a:pt x="170" y="185"/>
                </a:lnTo>
                <a:lnTo>
                  <a:pt x="176" y="185"/>
                </a:lnTo>
                <a:lnTo>
                  <a:pt x="179" y="184"/>
                </a:lnTo>
                <a:lnTo>
                  <a:pt x="185" y="184"/>
                </a:lnTo>
                <a:lnTo>
                  <a:pt x="187" y="184"/>
                </a:lnTo>
                <a:lnTo>
                  <a:pt x="189" y="187"/>
                </a:lnTo>
                <a:lnTo>
                  <a:pt x="191" y="187"/>
                </a:lnTo>
                <a:lnTo>
                  <a:pt x="192" y="188"/>
                </a:lnTo>
                <a:lnTo>
                  <a:pt x="196" y="188"/>
                </a:lnTo>
                <a:lnTo>
                  <a:pt x="198" y="187"/>
                </a:lnTo>
                <a:lnTo>
                  <a:pt x="200" y="183"/>
                </a:lnTo>
                <a:lnTo>
                  <a:pt x="200" y="183"/>
                </a:lnTo>
                <a:lnTo>
                  <a:pt x="202" y="182"/>
                </a:lnTo>
                <a:lnTo>
                  <a:pt x="204" y="181"/>
                </a:lnTo>
                <a:lnTo>
                  <a:pt x="207" y="181"/>
                </a:lnTo>
                <a:lnTo>
                  <a:pt x="208" y="178"/>
                </a:lnTo>
                <a:lnTo>
                  <a:pt x="208" y="178"/>
                </a:lnTo>
                <a:lnTo>
                  <a:pt x="209" y="177"/>
                </a:lnTo>
                <a:lnTo>
                  <a:pt x="208" y="175"/>
                </a:lnTo>
                <a:lnTo>
                  <a:pt x="207" y="173"/>
                </a:lnTo>
                <a:lnTo>
                  <a:pt x="207" y="171"/>
                </a:lnTo>
                <a:lnTo>
                  <a:pt x="208" y="169"/>
                </a:lnTo>
                <a:lnTo>
                  <a:pt x="210" y="168"/>
                </a:lnTo>
                <a:lnTo>
                  <a:pt x="211" y="168"/>
                </a:lnTo>
                <a:lnTo>
                  <a:pt x="212" y="167"/>
                </a:lnTo>
                <a:lnTo>
                  <a:pt x="211" y="163"/>
                </a:lnTo>
                <a:lnTo>
                  <a:pt x="213" y="161"/>
                </a:lnTo>
                <a:lnTo>
                  <a:pt x="216" y="161"/>
                </a:lnTo>
                <a:lnTo>
                  <a:pt x="216" y="158"/>
                </a:lnTo>
                <a:lnTo>
                  <a:pt x="217" y="157"/>
                </a:lnTo>
                <a:lnTo>
                  <a:pt x="217" y="153"/>
                </a:lnTo>
                <a:lnTo>
                  <a:pt x="242" y="122"/>
                </a:lnTo>
                <a:lnTo>
                  <a:pt x="242" y="120"/>
                </a:lnTo>
                <a:lnTo>
                  <a:pt x="243" y="89"/>
                </a:lnTo>
                <a:lnTo>
                  <a:pt x="248" y="63"/>
                </a:lnTo>
                <a:lnTo>
                  <a:pt x="251" y="57"/>
                </a:lnTo>
                <a:lnTo>
                  <a:pt x="244" y="52"/>
                </a:lnTo>
                <a:lnTo>
                  <a:pt x="242" y="51"/>
                </a:lnTo>
                <a:lnTo>
                  <a:pt x="241" y="49"/>
                </a:lnTo>
                <a:lnTo>
                  <a:pt x="240" y="47"/>
                </a:lnTo>
                <a:lnTo>
                  <a:pt x="239" y="43"/>
                </a:lnTo>
                <a:lnTo>
                  <a:pt x="238" y="41"/>
                </a:lnTo>
                <a:lnTo>
                  <a:pt x="238" y="40"/>
                </a:lnTo>
                <a:lnTo>
                  <a:pt x="236" y="37"/>
                </a:lnTo>
                <a:lnTo>
                  <a:pt x="236" y="36"/>
                </a:lnTo>
                <a:lnTo>
                  <a:pt x="234" y="9"/>
                </a:lnTo>
                <a:lnTo>
                  <a:pt x="230" y="10"/>
                </a:lnTo>
                <a:lnTo>
                  <a:pt x="228" y="8"/>
                </a:lnTo>
                <a:lnTo>
                  <a:pt x="227" y="7"/>
                </a:lnTo>
                <a:lnTo>
                  <a:pt x="222" y="5"/>
                </a:lnTo>
                <a:lnTo>
                  <a:pt x="221" y="2"/>
                </a:lnTo>
                <a:lnTo>
                  <a:pt x="220" y="1"/>
                </a:lnTo>
                <a:lnTo>
                  <a:pt x="218" y="1"/>
                </a:lnTo>
                <a:lnTo>
                  <a:pt x="207" y="0"/>
                </a:lnTo>
                <a:lnTo>
                  <a:pt x="195" y="0"/>
                </a:lnTo>
                <a:lnTo>
                  <a:pt x="186" y="0"/>
                </a:lnTo>
                <a:lnTo>
                  <a:pt x="185" y="0"/>
                </a:lnTo>
                <a:lnTo>
                  <a:pt x="183" y="0"/>
                </a:lnTo>
                <a:lnTo>
                  <a:pt x="176" y="7"/>
                </a:lnTo>
                <a:lnTo>
                  <a:pt x="163" y="16"/>
                </a:lnTo>
                <a:lnTo>
                  <a:pt x="151" y="26"/>
                </a:lnTo>
                <a:lnTo>
                  <a:pt x="139" y="34"/>
                </a:lnTo>
                <a:lnTo>
                  <a:pt x="126" y="44"/>
                </a:lnTo>
                <a:lnTo>
                  <a:pt x="114" y="53"/>
                </a:lnTo>
                <a:lnTo>
                  <a:pt x="101" y="63"/>
                </a:lnTo>
                <a:lnTo>
                  <a:pt x="89" y="72"/>
                </a:lnTo>
                <a:lnTo>
                  <a:pt x="85" y="74"/>
                </a:lnTo>
                <a:lnTo>
                  <a:pt x="67" y="79"/>
                </a:lnTo>
                <a:lnTo>
                  <a:pt x="65" y="79"/>
                </a:lnTo>
                <a:lnTo>
                  <a:pt x="65" y="80"/>
                </a:lnTo>
                <a:lnTo>
                  <a:pt x="65" y="80"/>
                </a:lnTo>
                <a:lnTo>
                  <a:pt x="65" y="8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32" name="Freeform 732"/>
          <p:cNvSpPr>
            <a:spLocks/>
          </p:cNvSpPr>
          <p:nvPr/>
        </p:nvSpPr>
        <p:spPr bwMode="auto">
          <a:xfrm>
            <a:off x="4349750" y="2898740"/>
            <a:ext cx="398462" cy="339725"/>
          </a:xfrm>
          <a:custGeom>
            <a:avLst/>
            <a:gdLst>
              <a:gd name="T0" fmla="*/ 65 w 251"/>
              <a:gd name="T1" fmla="*/ 119 h 214"/>
              <a:gd name="T2" fmla="*/ 61 w 251"/>
              <a:gd name="T3" fmla="*/ 138 h 214"/>
              <a:gd name="T4" fmla="*/ 56 w 251"/>
              <a:gd name="T5" fmla="*/ 144 h 214"/>
              <a:gd name="T6" fmla="*/ 55 w 251"/>
              <a:gd name="T7" fmla="*/ 149 h 214"/>
              <a:gd name="T8" fmla="*/ 47 w 251"/>
              <a:gd name="T9" fmla="*/ 149 h 214"/>
              <a:gd name="T10" fmla="*/ 13 w 251"/>
              <a:gd name="T11" fmla="*/ 155 h 214"/>
              <a:gd name="T12" fmla="*/ 1 w 251"/>
              <a:gd name="T13" fmla="*/ 160 h 214"/>
              <a:gd name="T14" fmla="*/ 4 w 251"/>
              <a:gd name="T15" fmla="*/ 167 h 214"/>
              <a:gd name="T16" fmla="*/ 5 w 251"/>
              <a:gd name="T17" fmla="*/ 173 h 214"/>
              <a:gd name="T18" fmla="*/ 15 w 251"/>
              <a:gd name="T19" fmla="*/ 185 h 214"/>
              <a:gd name="T20" fmla="*/ 21 w 251"/>
              <a:gd name="T21" fmla="*/ 197 h 214"/>
              <a:gd name="T22" fmla="*/ 28 w 251"/>
              <a:gd name="T23" fmla="*/ 199 h 214"/>
              <a:gd name="T24" fmla="*/ 31 w 251"/>
              <a:gd name="T25" fmla="*/ 197 h 214"/>
              <a:gd name="T26" fmla="*/ 36 w 251"/>
              <a:gd name="T27" fmla="*/ 201 h 214"/>
              <a:gd name="T28" fmla="*/ 33 w 251"/>
              <a:gd name="T29" fmla="*/ 202 h 214"/>
              <a:gd name="T30" fmla="*/ 35 w 251"/>
              <a:gd name="T31" fmla="*/ 208 h 214"/>
              <a:gd name="T32" fmla="*/ 38 w 251"/>
              <a:gd name="T33" fmla="*/ 207 h 214"/>
              <a:gd name="T34" fmla="*/ 42 w 251"/>
              <a:gd name="T35" fmla="*/ 203 h 214"/>
              <a:gd name="T36" fmla="*/ 49 w 251"/>
              <a:gd name="T37" fmla="*/ 207 h 214"/>
              <a:gd name="T38" fmla="*/ 57 w 251"/>
              <a:gd name="T39" fmla="*/ 214 h 214"/>
              <a:gd name="T40" fmla="*/ 57 w 251"/>
              <a:gd name="T41" fmla="*/ 201 h 214"/>
              <a:gd name="T42" fmla="*/ 60 w 251"/>
              <a:gd name="T43" fmla="*/ 197 h 214"/>
              <a:gd name="T44" fmla="*/ 65 w 251"/>
              <a:gd name="T45" fmla="*/ 184 h 214"/>
              <a:gd name="T46" fmla="*/ 76 w 251"/>
              <a:gd name="T47" fmla="*/ 178 h 214"/>
              <a:gd name="T48" fmla="*/ 85 w 251"/>
              <a:gd name="T49" fmla="*/ 177 h 214"/>
              <a:gd name="T50" fmla="*/ 107 w 251"/>
              <a:gd name="T51" fmla="*/ 190 h 214"/>
              <a:gd name="T52" fmla="*/ 112 w 251"/>
              <a:gd name="T53" fmla="*/ 192 h 214"/>
              <a:gd name="T54" fmla="*/ 122 w 251"/>
              <a:gd name="T55" fmla="*/ 185 h 214"/>
              <a:gd name="T56" fmla="*/ 138 w 251"/>
              <a:gd name="T57" fmla="*/ 193 h 214"/>
              <a:gd name="T58" fmla="*/ 151 w 251"/>
              <a:gd name="T59" fmla="*/ 194 h 214"/>
              <a:gd name="T60" fmla="*/ 163 w 251"/>
              <a:gd name="T61" fmla="*/ 185 h 214"/>
              <a:gd name="T62" fmla="*/ 179 w 251"/>
              <a:gd name="T63" fmla="*/ 184 h 214"/>
              <a:gd name="T64" fmla="*/ 189 w 251"/>
              <a:gd name="T65" fmla="*/ 187 h 214"/>
              <a:gd name="T66" fmla="*/ 196 w 251"/>
              <a:gd name="T67" fmla="*/ 188 h 214"/>
              <a:gd name="T68" fmla="*/ 200 w 251"/>
              <a:gd name="T69" fmla="*/ 183 h 214"/>
              <a:gd name="T70" fmla="*/ 207 w 251"/>
              <a:gd name="T71" fmla="*/ 181 h 214"/>
              <a:gd name="T72" fmla="*/ 209 w 251"/>
              <a:gd name="T73" fmla="*/ 177 h 214"/>
              <a:gd name="T74" fmla="*/ 207 w 251"/>
              <a:gd name="T75" fmla="*/ 171 h 214"/>
              <a:gd name="T76" fmla="*/ 211 w 251"/>
              <a:gd name="T77" fmla="*/ 168 h 214"/>
              <a:gd name="T78" fmla="*/ 213 w 251"/>
              <a:gd name="T79" fmla="*/ 161 h 214"/>
              <a:gd name="T80" fmla="*/ 217 w 251"/>
              <a:gd name="T81" fmla="*/ 157 h 214"/>
              <a:gd name="T82" fmla="*/ 242 w 251"/>
              <a:gd name="T83" fmla="*/ 120 h 214"/>
              <a:gd name="T84" fmla="*/ 251 w 251"/>
              <a:gd name="T85" fmla="*/ 57 h 214"/>
              <a:gd name="T86" fmla="*/ 241 w 251"/>
              <a:gd name="T87" fmla="*/ 49 h 214"/>
              <a:gd name="T88" fmla="*/ 238 w 251"/>
              <a:gd name="T89" fmla="*/ 41 h 214"/>
              <a:gd name="T90" fmla="*/ 236 w 251"/>
              <a:gd name="T91" fmla="*/ 36 h 214"/>
              <a:gd name="T92" fmla="*/ 228 w 251"/>
              <a:gd name="T93" fmla="*/ 8 h 214"/>
              <a:gd name="T94" fmla="*/ 221 w 251"/>
              <a:gd name="T95" fmla="*/ 2 h 214"/>
              <a:gd name="T96" fmla="*/ 207 w 251"/>
              <a:gd name="T97" fmla="*/ 0 h 214"/>
              <a:gd name="T98" fmla="*/ 185 w 251"/>
              <a:gd name="T99" fmla="*/ 0 h 214"/>
              <a:gd name="T100" fmla="*/ 163 w 251"/>
              <a:gd name="T101" fmla="*/ 16 h 214"/>
              <a:gd name="T102" fmla="*/ 126 w 251"/>
              <a:gd name="T103" fmla="*/ 44 h 214"/>
              <a:gd name="T104" fmla="*/ 89 w 251"/>
              <a:gd name="T105" fmla="*/ 72 h 214"/>
              <a:gd name="T106" fmla="*/ 65 w 251"/>
              <a:gd name="T107" fmla="*/ 79 h 214"/>
              <a:gd name="T108" fmla="*/ 65 w 251"/>
              <a:gd name="T109" fmla="*/ 84 h 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51" h="214">
                <a:moveTo>
                  <a:pt x="65" y="84"/>
                </a:moveTo>
                <a:lnTo>
                  <a:pt x="65" y="101"/>
                </a:lnTo>
                <a:lnTo>
                  <a:pt x="65" y="119"/>
                </a:lnTo>
                <a:lnTo>
                  <a:pt x="66" y="135"/>
                </a:lnTo>
                <a:lnTo>
                  <a:pt x="64" y="137"/>
                </a:lnTo>
                <a:lnTo>
                  <a:pt x="61" y="138"/>
                </a:lnTo>
                <a:lnTo>
                  <a:pt x="60" y="140"/>
                </a:lnTo>
                <a:lnTo>
                  <a:pt x="60" y="142"/>
                </a:lnTo>
                <a:lnTo>
                  <a:pt x="56" y="144"/>
                </a:lnTo>
                <a:lnTo>
                  <a:pt x="55" y="145"/>
                </a:lnTo>
                <a:lnTo>
                  <a:pt x="55" y="147"/>
                </a:lnTo>
                <a:lnTo>
                  <a:pt x="55" y="149"/>
                </a:lnTo>
                <a:lnTo>
                  <a:pt x="51" y="148"/>
                </a:lnTo>
                <a:lnTo>
                  <a:pt x="47" y="148"/>
                </a:lnTo>
                <a:lnTo>
                  <a:pt x="47" y="149"/>
                </a:lnTo>
                <a:lnTo>
                  <a:pt x="46" y="149"/>
                </a:lnTo>
                <a:lnTo>
                  <a:pt x="20" y="149"/>
                </a:lnTo>
                <a:lnTo>
                  <a:pt x="13" y="155"/>
                </a:lnTo>
                <a:lnTo>
                  <a:pt x="3" y="155"/>
                </a:lnTo>
                <a:lnTo>
                  <a:pt x="1" y="157"/>
                </a:lnTo>
                <a:lnTo>
                  <a:pt x="1" y="160"/>
                </a:lnTo>
                <a:lnTo>
                  <a:pt x="0" y="163"/>
                </a:lnTo>
                <a:lnTo>
                  <a:pt x="1" y="164"/>
                </a:lnTo>
                <a:lnTo>
                  <a:pt x="4" y="167"/>
                </a:lnTo>
                <a:lnTo>
                  <a:pt x="5" y="168"/>
                </a:lnTo>
                <a:lnTo>
                  <a:pt x="4" y="171"/>
                </a:lnTo>
                <a:lnTo>
                  <a:pt x="5" y="173"/>
                </a:lnTo>
                <a:lnTo>
                  <a:pt x="8" y="178"/>
                </a:lnTo>
                <a:lnTo>
                  <a:pt x="14" y="182"/>
                </a:lnTo>
                <a:lnTo>
                  <a:pt x="15" y="185"/>
                </a:lnTo>
                <a:lnTo>
                  <a:pt x="17" y="190"/>
                </a:lnTo>
                <a:lnTo>
                  <a:pt x="18" y="192"/>
                </a:lnTo>
                <a:lnTo>
                  <a:pt x="21" y="197"/>
                </a:lnTo>
                <a:lnTo>
                  <a:pt x="24" y="198"/>
                </a:lnTo>
                <a:lnTo>
                  <a:pt x="26" y="199"/>
                </a:lnTo>
                <a:lnTo>
                  <a:pt x="28" y="199"/>
                </a:lnTo>
                <a:lnTo>
                  <a:pt x="29" y="198"/>
                </a:lnTo>
                <a:lnTo>
                  <a:pt x="30" y="197"/>
                </a:lnTo>
                <a:lnTo>
                  <a:pt x="31" y="197"/>
                </a:lnTo>
                <a:lnTo>
                  <a:pt x="34" y="197"/>
                </a:lnTo>
                <a:lnTo>
                  <a:pt x="35" y="201"/>
                </a:lnTo>
                <a:lnTo>
                  <a:pt x="36" y="201"/>
                </a:lnTo>
                <a:lnTo>
                  <a:pt x="35" y="202"/>
                </a:lnTo>
                <a:lnTo>
                  <a:pt x="34" y="202"/>
                </a:lnTo>
                <a:lnTo>
                  <a:pt x="33" y="202"/>
                </a:lnTo>
                <a:lnTo>
                  <a:pt x="33" y="203"/>
                </a:lnTo>
                <a:lnTo>
                  <a:pt x="33" y="204"/>
                </a:lnTo>
                <a:lnTo>
                  <a:pt x="35" y="208"/>
                </a:lnTo>
                <a:lnTo>
                  <a:pt x="38" y="211"/>
                </a:lnTo>
                <a:lnTo>
                  <a:pt x="39" y="209"/>
                </a:lnTo>
                <a:lnTo>
                  <a:pt x="38" y="207"/>
                </a:lnTo>
                <a:lnTo>
                  <a:pt x="38" y="204"/>
                </a:lnTo>
                <a:lnTo>
                  <a:pt x="41" y="204"/>
                </a:lnTo>
                <a:lnTo>
                  <a:pt x="42" y="203"/>
                </a:lnTo>
                <a:lnTo>
                  <a:pt x="45" y="202"/>
                </a:lnTo>
                <a:lnTo>
                  <a:pt x="46" y="203"/>
                </a:lnTo>
                <a:lnTo>
                  <a:pt x="49" y="207"/>
                </a:lnTo>
                <a:lnTo>
                  <a:pt x="52" y="211"/>
                </a:lnTo>
                <a:lnTo>
                  <a:pt x="55" y="212"/>
                </a:lnTo>
                <a:lnTo>
                  <a:pt x="57" y="214"/>
                </a:lnTo>
                <a:lnTo>
                  <a:pt x="57" y="212"/>
                </a:lnTo>
                <a:lnTo>
                  <a:pt x="56" y="204"/>
                </a:lnTo>
                <a:lnTo>
                  <a:pt x="57" y="201"/>
                </a:lnTo>
                <a:lnTo>
                  <a:pt x="57" y="200"/>
                </a:lnTo>
                <a:lnTo>
                  <a:pt x="58" y="198"/>
                </a:lnTo>
                <a:lnTo>
                  <a:pt x="60" y="197"/>
                </a:lnTo>
                <a:lnTo>
                  <a:pt x="62" y="195"/>
                </a:lnTo>
                <a:lnTo>
                  <a:pt x="65" y="190"/>
                </a:lnTo>
                <a:lnTo>
                  <a:pt x="65" y="184"/>
                </a:lnTo>
                <a:lnTo>
                  <a:pt x="66" y="183"/>
                </a:lnTo>
                <a:lnTo>
                  <a:pt x="70" y="179"/>
                </a:lnTo>
                <a:lnTo>
                  <a:pt x="76" y="178"/>
                </a:lnTo>
                <a:lnTo>
                  <a:pt x="81" y="178"/>
                </a:lnTo>
                <a:lnTo>
                  <a:pt x="82" y="178"/>
                </a:lnTo>
                <a:lnTo>
                  <a:pt x="85" y="177"/>
                </a:lnTo>
                <a:lnTo>
                  <a:pt x="89" y="177"/>
                </a:lnTo>
                <a:lnTo>
                  <a:pt x="100" y="183"/>
                </a:lnTo>
                <a:lnTo>
                  <a:pt x="107" y="190"/>
                </a:lnTo>
                <a:lnTo>
                  <a:pt x="109" y="191"/>
                </a:lnTo>
                <a:lnTo>
                  <a:pt x="110" y="192"/>
                </a:lnTo>
                <a:lnTo>
                  <a:pt x="112" y="192"/>
                </a:lnTo>
                <a:lnTo>
                  <a:pt x="115" y="189"/>
                </a:lnTo>
                <a:lnTo>
                  <a:pt x="119" y="187"/>
                </a:lnTo>
                <a:lnTo>
                  <a:pt x="122" y="185"/>
                </a:lnTo>
                <a:lnTo>
                  <a:pt x="126" y="185"/>
                </a:lnTo>
                <a:lnTo>
                  <a:pt x="131" y="189"/>
                </a:lnTo>
                <a:lnTo>
                  <a:pt x="138" y="193"/>
                </a:lnTo>
                <a:lnTo>
                  <a:pt x="141" y="194"/>
                </a:lnTo>
                <a:lnTo>
                  <a:pt x="148" y="195"/>
                </a:lnTo>
                <a:lnTo>
                  <a:pt x="151" y="194"/>
                </a:lnTo>
                <a:lnTo>
                  <a:pt x="156" y="191"/>
                </a:lnTo>
                <a:lnTo>
                  <a:pt x="160" y="187"/>
                </a:lnTo>
                <a:lnTo>
                  <a:pt x="163" y="185"/>
                </a:lnTo>
                <a:lnTo>
                  <a:pt x="170" y="185"/>
                </a:lnTo>
                <a:lnTo>
                  <a:pt x="176" y="185"/>
                </a:lnTo>
                <a:lnTo>
                  <a:pt x="179" y="184"/>
                </a:lnTo>
                <a:lnTo>
                  <a:pt x="185" y="184"/>
                </a:lnTo>
                <a:lnTo>
                  <a:pt x="187" y="184"/>
                </a:lnTo>
                <a:lnTo>
                  <a:pt x="189" y="187"/>
                </a:lnTo>
                <a:lnTo>
                  <a:pt x="191" y="187"/>
                </a:lnTo>
                <a:lnTo>
                  <a:pt x="192" y="188"/>
                </a:lnTo>
                <a:lnTo>
                  <a:pt x="196" y="188"/>
                </a:lnTo>
                <a:lnTo>
                  <a:pt x="198" y="187"/>
                </a:lnTo>
                <a:lnTo>
                  <a:pt x="200" y="183"/>
                </a:lnTo>
                <a:lnTo>
                  <a:pt x="200" y="183"/>
                </a:lnTo>
                <a:lnTo>
                  <a:pt x="202" y="182"/>
                </a:lnTo>
                <a:lnTo>
                  <a:pt x="204" y="181"/>
                </a:lnTo>
                <a:lnTo>
                  <a:pt x="207" y="181"/>
                </a:lnTo>
                <a:lnTo>
                  <a:pt x="208" y="178"/>
                </a:lnTo>
                <a:lnTo>
                  <a:pt x="208" y="178"/>
                </a:lnTo>
                <a:lnTo>
                  <a:pt x="209" y="177"/>
                </a:lnTo>
                <a:lnTo>
                  <a:pt x="208" y="175"/>
                </a:lnTo>
                <a:lnTo>
                  <a:pt x="207" y="173"/>
                </a:lnTo>
                <a:lnTo>
                  <a:pt x="207" y="171"/>
                </a:lnTo>
                <a:lnTo>
                  <a:pt x="208" y="169"/>
                </a:lnTo>
                <a:lnTo>
                  <a:pt x="210" y="168"/>
                </a:lnTo>
                <a:lnTo>
                  <a:pt x="211" y="168"/>
                </a:lnTo>
                <a:lnTo>
                  <a:pt x="212" y="167"/>
                </a:lnTo>
                <a:lnTo>
                  <a:pt x="211" y="163"/>
                </a:lnTo>
                <a:lnTo>
                  <a:pt x="213" y="161"/>
                </a:lnTo>
                <a:lnTo>
                  <a:pt x="216" y="161"/>
                </a:lnTo>
                <a:lnTo>
                  <a:pt x="216" y="158"/>
                </a:lnTo>
                <a:lnTo>
                  <a:pt x="217" y="157"/>
                </a:lnTo>
                <a:lnTo>
                  <a:pt x="217" y="153"/>
                </a:lnTo>
                <a:lnTo>
                  <a:pt x="242" y="122"/>
                </a:lnTo>
                <a:lnTo>
                  <a:pt x="242" y="120"/>
                </a:lnTo>
                <a:lnTo>
                  <a:pt x="243" y="89"/>
                </a:lnTo>
                <a:lnTo>
                  <a:pt x="248" y="63"/>
                </a:lnTo>
                <a:lnTo>
                  <a:pt x="251" y="57"/>
                </a:lnTo>
                <a:lnTo>
                  <a:pt x="244" y="52"/>
                </a:lnTo>
                <a:lnTo>
                  <a:pt x="242" y="51"/>
                </a:lnTo>
                <a:lnTo>
                  <a:pt x="241" y="49"/>
                </a:lnTo>
                <a:lnTo>
                  <a:pt x="240" y="47"/>
                </a:lnTo>
                <a:lnTo>
                  <a:pt x="239" y="43"/>
                </a:lnTo>
                <a:lnTo>
                  <a:pt x="238" y="41"/>
                </a:lnTo>
                <a:lnTo>
                  <a:pt x="238" y="40"/>
                </a:lnTo>
                <a:lnTo>
                  <a:pt x="236" y="37"/>
                </a:lnTo>
                <a:lnTo>
                  <a:pt x="236" y="36"/>
                </a:lnTo>
                <a:lnTo>
                  <a:pt x="234" y="9"/>
                </a:lnTo>
                <a:lnTo>
                  <a:pt x="230" y="10"/>
                </a:lnTo>
                <a:lnTo>
                  <a:pt x="228" y="8"/>
                </a:lnTo>
                <a:lnTo>
                  <a:pt x="227" y="7"/>
                </a:lnTo>
                <a:lnTo>
                  <a:pt x="222" y="5"/>
                </a:lnTo>
                <a:lnTo>
                  <a:pt x="221" y="2"/>
                </a:lnTo>
                <a:lnTo>
                  <a:pt x="220" y="1"/>
                </a:lnTo>
                <a:lnTo>
                  <a:pt x="218" y="1"/>
                </a:lnTo>
                <a:lnTo>
                  <a:pt x="207" y="0"/>
                </a:lnTo>
                <a:lnTo>
                  <a:pt x="195" y="0"/>
                </a:lnTo>
                <a:lnTo>
                  <a:pt x="186" y="0"/>
                </a:lnTo>
                <a:lnTo>
                  <a:pt x="185" y="0"/>
                </a:lnTo>
                <a:lnTo>
                  <a:pt x="183" y="0"/>
                </a:lnTo>
                <a:lnTo>
                  <a:pt x="176" y="7"/>
                </a:lnTo>
                <a:lnTo>
                  <a:pt x="163" y="16"/>
                </a:lnTo>
                <a:lnTo>
                  <a:pt x="151" y="26"/>
                </a:lnTo>
                <a:lnTo>
                  <a:pt x="139" y="34"/>
                </a:lnTo>
                <a:lnTo>
                  <a:pt x="126" y="44"/>
                </a:lnTo>
                <a:lnTo>
                  <a:pt x="114" y="53"/>
                </a:lnTo>
                <a:lnTo>
                  <a:pt x="101" y="63"/>
                </a:lnTo>
                <a:lnTo>
                  <a:pt x="89" y="72"/>
                </a:lnTo>
                <a:lnTo>
                  <a:pt x="85" y="74"/>
                </a:lnTo>
                <a:lnTo>
                  <a:pt x="67" y="79"/>
                </a:lnTo>
                <a:lnTo>
                  <a:pt x="65" y="79"/>
                </a:lnTo>
                <a:lnTo>
                  <a:pt x="65" y="80"/>
                </a:lnTo>
                <a:lnTo>
                  <a:pt x="65" y="80"/>
                </a:lnTo>
                <a:lnTo>
                  <a:pt x="65" y="8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33" name="Freeform 733"/>
          <p:cNvSpPr>
            <a:spLocks/>
          </p:cNvSpPr>
          <p:nvPr/>
        </p:nvSpPr>
        <p:spPr bwMode="auto">
          <a:xfrm>
            <a:off x="4640263" y="4065553"/>
            <a:ext cx="336550" cy="350838"/>
          </a:xfrm>
          <a:custGeom>
            <a:avLst/>
            <a:gdLst>
              <a:gd name="T0" fmla="*/ 73 w 212"/>
              <a:gd name="T1" fmla="*/ 8 h 221"/>
              <a:gd name="T2" fmla="*/ 38 w 212"/>
              <a:gd name="T3" fmla="*/ 8 h 221"/>
              <a:gd name="T4" fmla="*/ 28 w 212"/>
              <a:gd name="T5" fmla="*/ 3 h 221"/>
              <a:gd name="T6" fmla="*/ 17 w 212"/>
              <a:gd name="T7" fmla="*/ 0 h 221"/>
              <a:gd name="T8" fmla="*/ 10 w 212"/>
              <a:gd name="T9" fmla="*/ 4 h 221"/>
              <a:gd name="T10" fmla="*/ 0 w 212"/>
              <a:gd name="T11" fmla="*/ 8 h 221"/>
              <a:gd name="T12" fmla="*/ 2 w 212"/>
              <a:gd name="T13" fmla="*/ 20 h 221"/>
              <a:gd name="T14" fmla="*/ 5 w 212"/>
              <a:gd name="T15" fmla="*/ 31 h 221"/>
              <a:gd name="T16" fmla="*/ 9 w 212"/>
              <a:gd name="T17" fmla="*/ 36 h 221"/>
              <a:gd name="T18" fmla="*/ 14 w 212"/>
              <a:gd name="T19" fmla="*/ 43 h 221"/>
              <a:gd name="T20" fmla="*/ 18 w 212"/>
              <a:gd name="T21" fmla="*/ 53 h 221"/>
              <a:gd name="T22" fmla="*/ 24 w 212"/>
              <a:gd name="T23" fmla="*/ 65 h 221"/>
              <a:gd name="T24" fmla="*/ 27 w 212"/>
              <a:gd name="T25" fmla="*/ 74 h 221"/>
              <a:gd name="T26" fmla="*/ 33 w 212"/>
              <a:gd name="T27" fmla="*/ 86 h 221"/>
              <a:gd name="T28" fmla="*/ 41 w 212"/>
              <a:gd name="T29" fmla="*/ 103 h 221"/>
              <a:gd name="T30" fmla="*/ 41 w 212"/>
              <a:gd name="T31" fmla="*/ 114 h 221"/>
              <a:gd name="T32" fmla="*/ 41 w 212"/>
              <a:gd name="T33" fmla="*/ 135 h 221"/>
              <a:gd name="T34" fmla="*/ 47 w 212"/>
              <a:gd name="T35" fmla="*/ 147 h 221"/>
              <a:gd name="T36" fmla="*/ 47 w 212"/>
              <a:gd name="T37" fmla="*/ 161 h 221"/>
              <a:gd name="T38" fmla="*/ 48 w 212"/>
              <a:gd name="T39" fmla="*/ 171 h 221"/>
              <a:gd name="T40" fmla="*/ 50 w 212"/>
              <a:gd name="T41" fmla="*/ 181 h 221"/>
              <a:gd name="T42" fmla="*/ 57 w 212"/>
              <a:gd name="T43" fmla="*/ 199 h 221"/>
              <a:gd name="T44" fmla="*/ 65 w 212"/>
              <a:gd name="T45" fmla="*/ 209 h 221"/>
              <a:gd name="T46" fmla="*/ 70 w 212"/>
              <a:gd name="T47" fmla="*/ 214 h 221"/>
              <a:gd name="T48" fmla="*/ 75 w 212"/>
              <a:gd name="T49" fmla="*/ 211 h 221"/>
              <a:gd name="T50" fmla="*/ 87 w 212"/>
              <a:gd name="T51" fmla="*/ 213 h 221"/>
              <a:gd name="T52" fmla="*/ 95 w 212"/>
              <a:gd name="T53" fmla="*/ 221 h 221"/>
              <a:gd name="T54" fmla="*/ 107 w 212"/>
              <a:gd name="T55" fmla="*/ 220 h 221"/>
              <a:gd name="T56" fmla="*/ 119 w 212"/>
              <a:gd name="T57" fmla="*/ 213 h 221"/>
              <a:gd name="T58" fmla="*/ 125 w 212"/>
              <a:gd name="T59" fmla="*/ 194 h 221"/>
              <a:gd name="T60" fmla="*/ 127 w 212"/>
              <a:gd name="T61" fmla="*/ 142 h 221"/>
              <a:gd name="T62" fmla="*/ 128 w 212"/>
              <a:gd name="T63" fmla="*/ 92 h 221"/>
              <a:gd name="T64" fmla="*/ 145 w 212"/>
              <a:gd name="T65" fmla="*/ 63 h 221"/>
              <a:gd name="T66" fmla="*/ 148 w 212"/>
              <a:gd name="T67" fmla="*/ 27 h 221"/>
              <a:gd name="T68" fmla="*/ 178 w 212"/>
              <a:gd name="T69" fmla="*/ 21 h 221"/>
              <a:gd name="T70" fmla="*/ 188 w 212"/>
              <a:gd name="T71" fmla="*/ 27 h 221"/>
              <a:gd name="T72" fmla="*/ 192 w 212"/>
              <a:gd name="T73" fmla="*/ 25 h 221"/>
              <a:gd name="T74" fmla="*/ 207 w 212"/>
              <a:gd name="T75" fmla="*/ 18 h 221"/>
              <a:gd name="T76" fmla="*/ 210 w 212"/>
              <a:gd name="T77" fmla="*/ 12 h 221"/>
              <a:gd name="T78" fmla="*/ 199 w 212"/>
              <a:gd name="T79" fmla="*/ 10 h 221"/>
              <a:gd name="T80" fmla="*/ 183 w 212"/>
              <a:gd name="T81" fmla="*/ 12 h 221"/>
              <a:gd name="T82" fmla="*/ 158 w 212"/>
              <a:gd name="T83" fmla="*/ 20 h 221"/>
              <a:gd name="T84" fmla="*/ 150 w 212"/>
              <a:gd name="T85" fmla="*/ 19 h 221"/>
              <a:gd name="T86" fmla="*/ 134 w 212"/>
              <a:gd name="T87" fmla="*/ 15 h 221"/>
              <a:gd name="T88" fmla="*/ 117 w 212"/>
              <a:gd name="T89" fmla="*/ 17 h 221"/>
              <a:gd name="T90" fmla="*/ 106 w 212"/>
              <a:gd name="T91" fmla="*/ 8 h 2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12" h="221">
                <a:moveTo>
                  <a:pt x="100" y="8"/>
                </a:moveTo>
                <a:lnTo>
                  <a:pt x="87" y="8"/>
                </a:lnTo>
                <a:lnTo>
                  <a:pt x="73" y="8"/>
                </a:lnTo>
                <a:lnTo>
                  <a:pt x="58" y="8"/>
                </a:lnTo>
                <a:lnTo>
                  <a:pt x="44" y="8"/>
                </a:lnTo>
                <a:lnTo>
                  <a:pt x="38" y="8"/>
                </a:lnTo>
                <a:lnTo>
                  <a:pt x="36" y="9"/>
                </a:lnTo>
                <a:lnTo>
                  <a:pt x="33" y="4"/>
                </a:lnTo>
                <a:lnTo>
                  <a:pt x="28" y="3"/>
                </a:lnTo>
                <a:lnTo>
                  <a:pt x="27" y="0"/>
                </a:lnTo>
                <a:lnTo>
                  <a:pt x="24" y="0"/>
                </a:lnTo>
                <a:lnTo>
                  <a:pt x="17" y="0"/>
                </a:lnTo>
                <a:lnTo>
                  <a:pt x="15" y="1"/>
                </a:lnTo>
                <a:lnTo>
                  <a:pt x="12" y="4"/>
                </a:lnTo>
                <a:lnTo>
                  <a:pt x="10" y="4"/>
                </a:lnTo>
                <a:lnTo>
                  <a:pt x="7" y="3"/>
                </a:lnTo>
                <a:lnTo>
                  <a:pt x="4" y="5"/>
                </a:lnTo>
                <a:lnTo>
                  <a:pt x="0" y="8"/>
                </a:lnTo>
                <a:lnTo>
                  <a:pt x="0" y="15"/>
                </a:lnTo>
                <a:lnTo>
                  <a:pt x="0" y="17"/>
                </a:lnTo>
                <a:lnTo>
                  <a:pt x="2" y="20"/>
                </a:lnTo>
                <a:lnTo>
                  <a:pt x="2" y="23"/>
                </a:lnTo>
                <a:lnTo>
                  <a:pt x="4" y="29"/>
                </a:lnTo>
                <a:lnTo>
                  <a:pt x="5" y="31"/>
                </a:lnTo>
                <a:lnTo>
                  <a:pt x="6" y="32"/>
                </a:lnTo>
                <a:lnTo>
                  <a:pt x="8" y="34"/>
                </a:lnTo>
                <a:lnTo>
                  <a:pt x="9" y="36"/>
                </a:lnTo>
                <a:lnTo>
                  <a:pt x="10" y="40"/>
                </a:lnTo>
                <a:lnTo>
                  <a:pt x="13" y="42"/>
                </a:lnTo>
                <a:lnTo>
                  <a:pt x="14" y="43"/>
                </a:lnTo>
                <a:lnTo>
                  <a:pt x="16" y="46"/>
                </a:lnTo>
                <a:lnTo>
                  <a:pt x="16" y="50"/>
                </a:lnTo>
                <a:lnTo>
                  <a:pt x="18" y="53"/>
                </a:lnTo>
                <a:lnTo>
                  <a:pt x="18" y="55"/>
                </a:lnTo>
                <a:lnTo>
                  <a:pt x="23" y="63"/>
                </a:lnTo>
                <a:lnTo>
                  <a:pt x="24" y="65"/>
                </a:lnTo>
                <a:lnTo>
                  <a:pt x="24" y="68"/>
                </a:lnTo>
                <a:lnTo>
                  <a:pt x="25" y="70"/>
                </a:lnTo>
                <a:lnTo>
                  <a:pt x="27" y="74"/>
                </a:lnTo>
                <a:lnTo>
                  <a:pt x="30" y="82"/>
                </a:lnTo>
                <a:lnTo>
                  <a:pt x="33" y="85"/>
                </a:lnTo>
                <a:lnTo>
                  <a:pt x="33" y="86"/>
                </a:lnTo>
                <a:lnTo>
                  <a:pt x="34" y="90"/>
                </a:lnTo>
                <a:lnTo>
                  <a:pt x="39" y="98"/>
                </a:lnTo>
                <a:lnTo>
                  <a:pt x="41" y="103"/>
                </a:lnTo>
                <a:lnTo>
                  <a:pt x="41" y="104"/>
                </a:lnTo>
                <a:lnTo>
                  <a:pt x="43" y="110"/>
                </a:lnTo>
                <a:lnTo>
                  <a:pt x="41" y="114"/>
                </a:lnTo>
                <a:lnTo>
                  <a:pt x="41" y="126"/>
                </a:lnTo>
                <a:lnTo>
                  <a:pt x="41" y="132"/>
                </a:lnTo>
                <a:lnTo>
                  <a:pt x="41" y="135"/>
                </a:lnTo>
                <a:lnTo>
                  <a:pt x="43" y="137"/>
                </a:lnTo>
                <a:lnTo>
                  <a:pt x="45" y="142"/>
                </a:lnTo>
                <a:lnTo>
                  <a:pt x="47" y="147"/>
                </a:lnTo>
                <a:lnTo>
                  <a:pt x="47" y="150"/>
                </a:lnTo>
                <a:lnTo>
                  <a:pt x="46" y="154"/>
                </a:lnTo>
                <a:lnTo>
                  <a:pt x="47" y="161"/>
                </a:lnTo>
                <a:lnTo>
                  <a:pt x="47" y="164"/>
                </a:lnTo>
                <a:lnTo>
                  <a:pt x="49" y="169"/>
                </a:lnTo>
                <a:lnTo>
                  <a:pt x="48" y="171"/>
                </a:lnTo>
                <a:lnTo>
                  <a:pt x="49" y="172"/>
                </a:lnTo>
                <a:lnTo>
                  <a:pt x="50" y="175"/>
                </a:lnTo>
                <a:lnTo>
                  <a:pt x="50" y="181"/>
                </a:lnTo>
                <a:lnTo>
                  <a:pt x="51" y="184"/>
                </a:lnTo>
                <a:lnTo>
                  <a:pt x="51" y="191"/>
                </a:lnTo>
                <a:lnTo>
                  <a:pt x="57" y="199"/>
                </a:lnTo>
                <a:lnTo>
                  <a:pt x="59" y="204"/>
                </a:lnTo>
                <a:lnTo>
                  <a:pt x="63" y="207"/>
                </a:lnTo>
                <a:lnTo>
                  <a:pt x="65" y="209"/>
                </a:lnTo>
                <a:lnTo>
                  <a:pt x="68" y="213"/>
                </a:lnTo>
                <a:lnTo>
                  <a:pt x="70" y="213"/>
                </a:lnTo>
                <a:lnTo>
                  <a:pt x="70" y="214"/>
                </a:lnTo>
                <a:lnTo>
                  <a:pt x="73" y="214"/>
                </a:lnTo>
                <a:lnTo>
                  <a:pt x="74" y="213"/>
                </a:lnTo>
                <a:lnTo>
                  <a:pt x="75" y="211"/>
                </a:lnTo>
                <a:lnTo>
                  <a:pt x="77" y="207"/>
                </a:lnTo>
                <a:lnTo>
                  <a:pt x="80" y="207"/>
                </a:lnTo>
                <a:lnTo>
                  <a:pt x="87" y="213"/>
                </a:lnTo>
                <a:lnTo>
                  <a:pt x="87" y="216"/>
                </a:lnTo>
                <a:lnTo>
                  <a:pt x="90" y="220"/>
                </a:lnTo>
                <a:lnTo>
                  <a:pt x="95" y="221"/>
                </a:lnTo>
                <a:lnTo>
                  <a:pt x="99" y="219"/>
                </a:lnTo>
                <a:lnTo>
                  <a:pt x="105" y="219"/>
                </a:lnTo>
                <a:lnTo>
                  <a:pt x="107" y="220"/>
                </a:lnTo>
                <a:lnTo>
                  <a:pt x="110" y="220"/>
                </a:lnTo>
                <a:lnTo>
                  <a:pt x="115" y="215"/>
                </a:lnTo>
                <a:lnTo>
                  <a:pt x="119" y="213"/>
                </a:lnTo>
                <a:lnTo>
                  <a:pt x="122" y="212"/>
                </a:lnTo>
                <a:lnTo>
                  <a:pt x="124" y="211"/>
                </a:lnTo>
                <a:lnTo>
                  <a:pt x="125" y="194"/>
                </a:lnTo>
                <a:lnTo>
                  <a:pt x="125" y="176"/>
                </a:lnTo>
                <a:lnTo>
                  <a:pt x="126" y="159"/>
                </a:lnTo>
                <a:lnTo>
                  <a:pt x="127" y="142"/>
                </a:lnTo>
                <a:lnTo>
                  <a:pt x="127" y="126"/>
                </a:lnTo>
                <a:lnTo>
                  <a:pt x="128" y="109"/>
                </a:lnTo>
                <a:lnTo>
                  <a:pt x="128" y="92"/>
                </a:lnTo>
                <a:lnTo>
                  <a:pt x="145" y="92"/>
                </a:lnTo>
                <a:lnTo>
                  <a:pt x="145" y="80"/>
                </a:lnTo>
                <a:lnTo>
                  <a:pt x="145" y="63"/>
                </a:lnTo>
                <a:lnTo>
                  <a:pt x="146" y="45"/>
                </a:lnTo>
                <a:lnTo>
                  <a:pt x="146" y="29"/>
                </a:lnTo>
                <a:lnTo>
                  <a:pt x="148" y="27"/>
                </a:lnTo>
                <a:lnTo>
                  <a:pt x="171" y="22"/>
                </a:lnTo>
                <a:lnTo>
                  <a:pt x="176" y="21"/>
                </a:lnTo>
                <a:lnTo>
                  <a:pt x="178" y="21"/>
                </a:lnTo>
                <a:lnTo>
                  <a:pt x="182" y="21"/>
                </a:lnTo>
                <a:lnTo>
                  <a:pt x="186" y="22"/>
                </a:lnTo>
                <a:lnTo>
                  <a:pt x="188" y="27"/>
                </a:lnTo>
                <a:lnTo>
                  <a:pt x="188" y="31"/>
                </a:lnTo>
                <a:lnTo>
                  <a:pt x="190" y="29"/>
                </a:lnTo>
                <a:lnTo>
                  <a:pt x="192" y="25"/>
                </a:lnTo>
                <a:lnTo>
                  <a:pt x="198" y="21"/>
                </a:lnTo>
                <a:lnTo>
                  <a:pt x="206" y="19"/>
                </a:lnTo>
                <a:lnTo>
                  <a:pt x="207" y="18"/>
                </a:lnTo>
                <a:lnTo>
                  <a:pt x="209" y="15"/>
                </a:lnTo>
                <a:lnTo>
                  <a:pt x="212" y="15"/>
                </a:lnTo>
                <a:lnTo>
                  <a:pt x="210" y="12"/>
                </a:lnTo>
                <a:lnTo>
                  <a:pt x="209" y="11"/>
                </a:lnTo>
                <a:lnTo>
                  <a:pt x="205" y="10"/>
                </a:lnTo>
                <a:lnTo>
                  <a:pt x="199" y="10"/>
                </a:lnTo>
                <a:lnTo>
                  <a:pt x="198" y="9"/>
                </a:lnTo>
                <a:lnTo>
                  <a:pt x="186" y="12"/>
                </a:lnTo>
                <a:lnTo>
                  <a:pt x="183" y="12"/>
                </a:lnTo>
                <a:lnTo>
                  <a:pt x="183" y="13"/>
                </a:lnTo>
                <a:lnTo>
                  <a:pt x="180" y="14"/>
                </a:lnTo>
                <a:lnTo>
                  <a:pt x="158" y="20"/>
                </a:lnTo>
                <a:lnTo>
                  <a:pt x="156" y="21"/>
                </a:lnTo>
                <a:lnTo>
                  <a:pt x="155" y="20"/>
                </a:lnTo>
                <a:lnTo>
                  <a:pt x="150" y="19"/>
                </a:lnTo>
                <a:lnTo>
                  <a:pt x="147" y="19"/>
                </a:lnTo>
                <a:lnTo>
                  <a:pt x="142" y="18"/>
                </a:lnTo>
                <a:lnTo>
                  <a:pt x="134" y="15"/>
                </a:lnTo>
                <a:lnTo>
                  <a:pt x="126" y="15"/>
                </a:lnTo>
                <a:lnTo>
                  <a:pt x="119" y="17"/>
                </a:lnTo>
                <a:lnTo>
                  <a:pt x="117" y="17"/>
                </a:lnTo>
                <a:lnTo>
                  <a:pt x="112" y="14"/>
                </a:lnTo>
                <a:lnTo>
                  <a:pt x="110" y="11"/>
                </a:lnTo>
                <a:lnTo>
                  <a:pt x="106" y="8"/>
                </a:lnTo>
                <a:lnTo>
                  <a:pt x="100" y="8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34" name="Freeform 734"/>
          <p:cNvSpPr>
            <a:spLocks/>
          </p:cNvSpPr>
          <p:nvPr/>
        </p:nvSpPr>
        <p:spPr bwMode="auto">
          <a:xfrm>
            <a:off x="4640263" y="4065553"/>
            <a:ext cx="336550" cy="350838"/>
          </a:xfrm>
          <a:custGeom>
            <a:avLst/>
            <a:gdLst>
              <a:gd name="T0" fmla="*/ 73 w 212"/>
              <a:gd name="T1" fmla="*/ 8 h 221"/>
              <a:gd name="T2" fmla="*/ 38 w 212"/>
              <a:gd name="T3" fmla="*/ 8 h 221"/>
              <a:gd name="T4" fmla="*/ 28 w 212"/>
              <a:gd name="T5" fmla="*/ 3 h 221"/>
              <a:gd name="T6" fmla="*/ 17 w 212"/>
              <a:gd name="T7" fmla="*/ 0 h 221"/>
              <a:gd name="T8" fmla="*/ 10 w 212"/>
              <a:gd name="T9" fmla="*/ 4 h 221"/>
              <a:gd name="T10" fmla="*/ 0 w 212"/>
              <a:gd name="T11" fmla="*/ 8 h 221"/>
              <a:gd name="T12" fmla="*/ 2 w 212"/>
              <a:gd name="T13" fmla="*/ 20 h 221"/>
              <a:gd name="T14" fmla="*/ 5 w 212"/>
              <a:gd name="T15" fmla="*/ 31 h 221"/>
              <a:gd name="T16" fmla="*/ 9 w 212"/>
              <a:gd name="T17" fmla="*/ 36 h 221"/>
              <a:gd name="T18" fmla="*/ 14 w 212"/>
              <a:gd name="T19" fmla="*/ 43 h 221"/>
              <a:gd name="T20" fmla="*/ 18 w 212"/>
              <a:gd name="T21" fmla="*/ 53 h 221"/>
              <a:gd name="T22" fmla="*/ 24 w 212"/>
              <a:gd name="T23" fmla="*/ 65 h 221"/>
              <a:gd name="T24" fmla="*/ 27 w 212"/>
              <a:gd name="T25" fmla="*/ 74 h 221"/>
              <a:gd name="T26" fmla="*/ 33 w 212"/>
              <a:gd name="T27" fmla="*/ 86 h 221"/>
              <a:gd name="T28" fmla="*/ 41 w 212"/>
              <a:gd name="T29" fmla="*/ 103 h 221"/>
              <a:gd name="T30" fmla="*/ 41 w 212"/>
              <a:gd name="T31" fmla="*/ 114 h 221"/>
              <a:gd name="T32" fmla="*/ 41 w 212"/>
              <a:gd name="T33" fmla="*/ 135 h 221"/>
              <a:gd name="T34" fmla="*/ 47 w 212"/>
              <a:gd name="T35" fmla="*/ 147 h 221"/>
              <a:gd name="T36" fmla="*/ 47 w 212"/>
              <a:gd name="T37" fmla="*/ 161 h 221"/>
              <a:gd name="T38" fmla="*/ 48 w 212"/>
              <a:gd name="T39" fmla="*/ 171 h 221"/>
              <a:gd name="T40" fmla="*/ 50 w 212"/>
              <a:gd name="T41" fmla="*/ 181 h 221"/>
              <a:gd name="T42" fmla="*/ 57 w 212"/>
              <a:gd name="T43" fmla="*/ 199 h 221"/>
              <a:gd name="T44" fmla="*/ 65 w 212"/>
              <a:gd name="T45" fmla="*/ 209 h 221"/>
              <a:gd name="T46" fmla="*/ 70 w 212"/>
              <a:gd name="T47" fmla="*/ 214 h 221"/>
              <a:gd name="T48" fmla="*/ 75 w 212"/>
              <a:gd name="T49" fmla="*/ 211 h 221"/>
              <a:gd name="T50" fmla="*/ 87 w 212"/>
              <a:gd name="T51" fmla="*/ 213 h 221"/>
              <a:gd name="T52" fmla="*/ 95 w 212"/>
              <a:gd name="T53" fmla="*/ 221 h 221"/>
              <a:gd name="T54" fmla="*/ 107 w 212"/>
              <a:gd name="T55" fmla="*/ 220 h 221"/>
              <a:gd name="T56" fmla="*/ 119 w 212"/>
              <a:gd name="T57" fmla="*/ 213 h 221"/>
              <a:gd name="T58" fmla="*/ 125 w 212"/>
              <a:gd name="T59" fmla="*/ 194 h 221"/>
              <a:gd name="T60" fmla="*/ 127 w 212"/>
              <a:gd name="T61" fmla="*/ 142 h 221"/>
              <a:gd name="T62" fmla="*/ 128 w 212"/>
              <a:gd name="T63" fmla="*/ 92 h 221"/>
              <a:gd name="T64" fmla="*/ 145 w 212"/>
              <a:gd name="T65" fmla="*/ 63 h 221"/>
              <a:gd name="T66" fmla="*/ 148 w 212"/>
              <a:gd name="T67" fmla="*/ 27 h 221"/>
              <a:gd name="T68" fmla="*/ 178 w 212"/>
              <a:gd name="T69" fmla="*/ 21 h 221"/>
              <a:gd name="T70" fmla="*/ 188 w 212"/>
              <a:gd name="T71" fmla="*/ 27 h 221"/>
              <a:gd name="T72" fmla="*/ 192 w 212"/>
              <a:gd name="T73" fmla="*/ 25 h 221"/>
              <a:gd name="T74" fmla="*/ 207 w 212"/>
              <a:gd name="T75" fmla="*/ 18 h 221"/>
              <a:gd name="T76" fmla="*/ 210 w 212"/>
              <a:gd name="T77" fmla="*/ 12 h 221"/>
              <a:gd name="T78" fmla="*/ 199 w 212"/>
              <a:gd name="T79" fmla="*/ 10 h 221"/>
              <a:gd name="T80" fmla="*/ 183 w 212"/>
              <a:gd name="T81" fmla="*/ 12 h 221"/>
              <a:gd name="T82" fmla="*/ 158 w 212"/>
              <a:gd name="T83" fmla="*/ 20 h 221"/>
              <a:gd name="T84" fmla="*/ 150 w 212"/>
              <a:gd name="T85" fmla="*/ 19 h 221"/>
              <a:gd name="T86" fmla="*/ 134 w 212"/>
              <a:gd name="T87" fmla="*/ 15 h 221"/>
              <a:gd name="T88" fmla="*/ 117 w 212"/>
              <a:gd name="T89" fmla="*/ 17 h 221"/>
              <a:gd name="T90" fmla="*/ 106 w 212"/>
              <a:gd name="T91" fmla="*/ 8 h 2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12" h="221">
                <a:moveTo>
                  <a:pt x="100" y="8"/>
                </a:moveTo>
                <a:lnTo>
                  <a:pt x="87" y="8"/>
                </a:lnTo>
                <a:lnTo>
                  <a:pt x="73" y="8"/>
                </a:lnTo>
                <a:lnTo>
                  <a:pt x="58" y="8"/>
                </a:lnTo>
                <a:lnTo>
                  <a:pt x="44" y="8"/>
                </a:lnTo>
                <a:lnTo>
                  <a:pt x="38" y="8"/>
                </a:lnTo>
                <a:lnTo>
                  <a:pt x="36" y="9"/>
                </a:lnTo>
                <a:lnTo>
                  <a:pt x="33" y="4"/>
                </a:lnTo>
                <a:lnTo>
                  <a:pt x="28" y="3"/>
                </a:lnTo>
                <a:lnTo>
                  <a:pt x="27" y="0"/>
                </a:lnTo>
                <a:lnTo>
                  <a:pt x="24" y="0"/>
                </a:lnTo>
                <a:lnTo>
                  <a:pt x="17" y="0"/>
                </a:lnTo>
                <a:lnTo>
                  <a:pt x="15" y="1"/>
                </a:lnTo>
                <a:lnTo>
                  <a:pt x="12" y="4"/>
                </a:lnTo>
                <a:lnTo>
                  <a:pt x="10" y="4"/>
                </a:lnTo>
                <a:lnTo>
                  <a:pt x="7" y="3"/>
                </a:lnTo>
                <a:lnTo>
                  <a:pt x="4" y="5"/>
                </a:lnTo>
                <a:lnTo>
                  <a:pt x="0" y="8"/>
                </a:lnTo>
                <a:lnTo>
                  <a:pt x="0" y="15"/>
                </a:lnTo>
                <a:lnTo>
                  <a:pt x="0" y="17"/>
                </a:lnTo>
                <a:lnTo>
                  <a:pt x="2" y="20"/>
                </a:lnTo>
                <a:lnTo>
                  <a:pt x="2" y="23"/>
                </a:lnTo>
                <a:lnTo>
                  <a:pt x="4" y="29"/>
                </a:lnTo>
                <a:lnTo>
                  <a:pt x="5" y="31"/>
                </a:lnTo>
                <a:lnTo>
                  <a:pt x="6" y="32"/>
                </a:lnTo>
                <a:lnTo>
                  <a:pt x="8" y="34"/>
                </a:lnTo>
                <a:lnTo>
                  <a:pt x="9" y="36"/>
                </a:lnTo>
                <a:lnTo>
                  <a:pt x="10" y="40"/>
                </a:lnTo>
                <a:lnTo>
                  <a:pt x="13" y="42"/>
                </a:lnTo>
                <a:lnTo>
                  <a:pt x="14" y="43"/>
                </a:lnTo>
                <a:lnTo>
                  <a:pt x="16" y="46"/>
                </a:lnTo>
                <a:lnTo>
                  <a:pt x="16" y="50"/>
                </a:lnTo>
                <a:lnTo>
                  <a:pt x="18" y="53"/>
                </a:lnTo>
                <a:lnTo>
                  <a:pt x="18" y="55"/>
                </a:lnTo>
                <a:lnTo>
                  <a:pt x="23" y="63"/>
                </a:lnTo>
                <a:lnTo>
                  <a:pt x="24" y="65"/>
                </a:lnTo>
                <a:lnTo>
                  <a:pt x="24" y="68"/>
                </a:lnTo>
                <a:lnTo>
                  <a:pt x="25" y="70"/>
                </a:lnTo>
                <a:lnTo>
                  <a:pt x="27" y="74"/>
                </a:lnTo>
                <a:lnTo>
                  <a:pt x="30" y="82"/>
                </a:lnTo>
                <a:lnTo>
                  <a:pt x="33" y="85"/>
                </a:lnTo>
                <a:lnTo>
                  <a:pt x="33" y="86"/>
                </a:lnTo>
                <a:lnTo>
                  <a:pt x="34" y="90"/>
                </a:lnTo>
                <a:lnTo>
                  <a:pt x="39" y="98"/>
                </a:lnTo>
                <a:lnTo>
                  <a:pt x="41" y="103"/>
                </a:lnTo>
                <a:lnTo>
                  <a:pt x="41" y="104"/>
                </a:lnTo>
                <a:lnTo>
                  <a:pt x="43" y="110"/>
                </a:lnTo>
                <a:lnTo>
                  <a:pt x="41" y="114"/>
                </a:lnTo>
                <a:lnTo>
                  <a:pt x="41" y="126"/>
                </a:lnTo>
                <a:lnTo>
                  <a:pt x="41" y="132"/>
                </a:lnTo>
                <a:lnTo>
                  <a:pt x="41" y="135"/>
                </a:lnTo>
                <a:lnTo>
                  <a:pt x="43" y="137"/>
                </a:lnTo>
                <a:lnTo>
                  <a:pt x="45" y="142"/>
                </a:lnTo>
                <a:lnTo>
                  <a:pt x="47" y="147"/>
                </a:lnTo>
                <a:lnTo>
                  <a:pt x="47" y="150"/>
                </a:lnTo>
                <a:lnTo>
                  <a:pt x="46" y="154"/>
                </a:lnTo>
                <a:lnTo>
                  <a:pt x="47" y="161"/>
                </a:lnTo>
                <a:lnTo>
                  <a:pt x="47" y="164"/>
                </a:lnTo>
                <a:lnTo>
                  <a:pt x="49" y="169"/>
                </a:lnTo>
                <a:lnTo>
                  <a:pt x="48" y="171"/>
                </a:lnTo>
                <a:lnTo>
                  <a:pt x="49" y="172"/>
                </a:lnTo>
                <a:lnTo>
                  <a:pt x="50" y="175"/>
                </a:lnTo>
                <a:lnTo>
                  <a:pt x="50" y="181"/>
                </a:lnTo>
                <a:lnTo>
                  <a:pt x="51" y="184"/>
                </a:lnTo>
                <a:lnTo>
                  <a:pt x="51" y="191"/>
                </a:lnTo>
                <a:lnTo>
                  <a:pt x="57" y="199"/>
                </a:lnTo>
                <a:lnTo>
                  <a:pt x="59" y="204"/>
                </a:lnTo>
                <a:lnTo>
                  <a:pt x="63" y="207"/>
                </a:lnTo>
                <a:lnTo>
                  <a:pt x="65" y="209"/>
                </a:lnTo>
                <a:lnTo>
                  <a:pt x="68" y="213"/>
                </a:lnTo>
                <a:lnTo>
                  <a:pt x="70" y="213"/>
                </a:lnTo>
                <a:lnTo>
                  <a:pt x="70" y="214"/>
                </a:lnTo>
                <a:lnTo>
                  <a:pt x="73" y="214"/>
                </a:lnTo>
                <a:lnTo>
                  <a:pt x="74" y="213"/>
                </a:lnTo>
                <a:lnTo>
                  <a:pt x="75" y="211"/>
                </a:lnTo>
                <a:lnTo>
                  <a:pt x="77" y="207"/>
                </a:lnTo>
                <a:lnTo>
                  <a:pt x="80" y="207"/>
                </a:lnTo>
                <a:lnTo>
                  <a:pt x="87" y="213"/>
                </a:lnTo>
                <a:lnTo>
                  <a:pt x="87" y="216"/>
                </a:lnTo>
                <a:lnTo>
                  <a:pt x="90" y="220"/>
                </a:lnTo>
                <a:lnTo>
                  <a:pt x="95" y="221"/>
                </a:lnTo>
                <a:lnTo>
                  <a:pt x="99" y="219"/>
                </a:lnTo>
                <a:lnTo>
                  <a:pt x="105" y="219"/>
                </a:lnTo>
                <a:lnTo>
                  <a:pt x="107" y="220"/>
                </a:lnTo>
                <a:lnTo>
                  <a:pt x="110" y="220"/>
                </a:lnTo>
                <a:lnTo>
                  <a:pt x="115" y="215"/>
                </a:lnTo>
                <a:lnTo>
                  <a:pt x="119" y="213"/>
                </a:lnTo>
                <a:lnTo>
                  <a:pt x="122" y="212"/>
                </a:lnTo>
                <a:lnTo>
                  <a:pt x="124" y="211"/>
                </a:lnTo>
                <a:lnTo>
                  <a:pt x="125" y="194"/>
                </a:lnTo>
                <a:lnTo>
                  <a:pt x="125" y="176"/>
                </a:lnTo>
                <a:lnTo>
                  <a:pt x="126" y="159"/>
                </a:lnTo>
                <a:lnTo>
                  <a:pt x="127" y="142"/>
                </a:lnTo>
                <a:lnTo>
                  <a:pt x="127" y="126"/>
                </a:lnTo>
                <a:lnTo>
                  <a:pt x="128" y="109"/>
                </a:lnTo>
                <a:lnTo>
                  <a:pt x="128" y="92"/>
                </a:lnTo>
                <a:lnTo>
                  <a:pt x="145" y="92"/>
                </a:lnTo>
                <a:lnTo>
                  <a:pt x="145" y="80"/>
                </a:lnTo>
                <a:lnTo>
                  <a:pt x="145" y="63"/>
                </a:lnTo>
                <a:lnTo>
                  <a:pt x="146" y="45"/>
                </a:lnTo>
                <a:lnTo>
                  <a:pt x="146" y="29"/>
                </a:lnTo>
                <a:lnTo>
                  <a:pt x="148" y="27"/>
                </a:lnTo>
                <a:lnTo>
                  <a:pt x="171" y="22"/>
                </a:lnTo>
                <a:lnTo>
                  <a:pt x="176" y="21"/>
                </a:lnTo>
                <a:lnTo>
                  <a:pt x="178" y="21"/>
                </a:lnTo>
                <a:lnTo>
                  <a:pt x="182" y="21"/>
                </a:lnTo>
                <a:lnTo>
                  <a:pt x="186" y="22"/>
                </a:lnTo>
                <a:lnTo>
                  <a:pt x="188" y="27"/>
                </a:lnTo>
                <a:lnTo>
                  <a:pt x="188" y="31"/>
                </a:lnTo>
                <a:lnTo>
                  <a:pt x="190" y="29"/>
                </a:lnTo>
                <a:lnTo>
                  <a:pt x="192" y="25"/>
                </a:lnTo>
                <a:lnTo>
                  <a:pt x="198" y="21"/>
                </a:lnTo>
                <a:lnTo>
                  <a:pt x="206" y="19"/>
                </a:lnTo>
                <a:lnTo>
                  <a:pt x="207" y="18"/>
                </a:lnTo>
                <a:lnTo>
                  <a:pt x="209" y="15"/>
                </a:lnTo>
                <a:lnTo>
                  <a:pt x="212" y="15"/>
                </a:lnTo>
                <a:lnTo>
                  <a:pt x="210" y="12"/>
                </a:lnTo>
                <a:lnTo>
                  <a:pt x="209" y="11"/>
                </a:lnTo>
                <a:lnTo>
                  <a:pt x="205" y="10"/>
                </a:lnTo>
                <a:lnTo>
                  <a:pt x="199" y="10"/>
                </a:lnTo>
                <a:lnTo>
                  <a:pt x="198" y="9"/>
                </a:lnTo>
                <a:lnTo>
                  <a:pt x="186" y="12"/>
                </a:lnTo>
                <a:lnTo>
                  <a:pt x="183" y="12"/>
                </a:lnTo>
                <a:lnTo>
                  <a:pt x="183" y="13"/>
                </a:lnTo>
                <a:lnTo>
                  <a:pt x="180" y="14"/>
                </a:lnTo>
                <a:lnTo>
                  <a:pt x="158" y="20"/>
                </a:lnTo>
                <a:lnTo>
                  <a:pt x="156" y="21"/>
                </a:lnTo>
                <a:lnTo>
                  <a:pt x="155" y="20"/>
                </a:lnTo>
                <a:lnTo>
                  <a:pt x="150" y="19"/>
                </a:lnTo>
                <a:lnTo>
                  <a:pt x="147" y="19"/>
                </a:lnTo>
                <a:lnTo>
                  <a:pt x="142" y="18"/>
                </a:lnTo>
                <a:lnTo>
                  <a:pt x="134" y="15"/>
                </a:lnTo>
                <a:lnTo>
                  <a:pt x="126" y="15"/>
                </a:lnTo>
                <a:lnTo>
                  <a:pt x="119" y="17"/>
                </a:lnTo>
                <a:lnTo>
                  <a:pt x="117" y="17"/>
                </a:lnTo>
                <a:lnTo>
                  <a:pt x="112" y="14"/>
                </a:lnTo>
                <a:lnTo>
                  <a:pt x="110" y="11"/>
                </a:lnTo>
                <a:lnTo>
                  <a:pt x="106" y="8"/>
                </a:lnTo>
                <a:lnTo>
                  <a:pt x="100" y="8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35" name="Freeform 735"/>
          <p:cNvSpPr>
            <a:spLocks/>
          </p:cNvSpPr>
          <p:nvPr/>
        </p:nvSpPr>
        <p:spPr bwMode="auto">
          <a:xfrm>
            <a:off x="4692650" y="2539965"/>
            <a:ext cx="4762" cy="4763"/>
          </a:xfrm>
          <a:custGeom>
            <a:avLst/>
            <a:gdLst>
              <a:gd name="T0" fmla="*/ 0 w 3"/>
              <a:gd name="T1" fmla="*/ 1 h 3"/>
              <a:gd name="T2" fmla="*/ 0 w 3"/>
              <a:gd name="T3" fmla="*/ 0 h 3"/>
              <a:gd name="T4" fmla="*/ 2 w 3"/>
              <a:gd name="T5" fmla="*/ 1 h 3"/>
              <a:gd name="T6" fmla="*/ 2 w 3"/>
              <a:gd name="T7" fmla="*/ 2 h 3"/>
              <a:gd name="T8" fmla="*/ 3 w 3"/>
              <a:gd name="T9" fmla="*/ 3 h 3"/>
              <a:gd name="T10" fmla="*/ 3 w 3"/>
              <a:gd name="T11" fmla="*/ 3 h 3"/>
              <a:gd name="T12" fmla="*/ 2 w 3"/>
              <a:gd name="T13" fmla="*/ 3 h 3"/>
              <a:gd name="T14" fmla="*/ 0 w 3"/>
              <a:gd name="T15" fmla="*/ 2 h 3"/>
              <a:gd name="T16" fmla="*/ 0 w 3"/>
              <a:gd name="T17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3">
                <a:moveTo>
                  <a:pt x="0" y="1"/>
                </a:moveTo>
                <a:lnTo>
                  <a:pt x="0" y="0"/>
                </a:lnTo>
                <a:lnTo>
                  <a:pt x="2" y="1"/>
                </a:lnTo>
                <a:lnTo>
                  <a:pt x="2" y="2"/>
                </a:lnTo>
                <a:lnTo>
                  <a:pt x="3" y="3"/>
                </a:lnTo>
                <a:lnTo>
                  <a:pt x="3" y="3"/>
                </a:lnTo>
                <a:lnTo>
                  <a:pt x="2" y="3"/>
                </a:lnTo>
                <a:lnTo>
                  <a:pt x="0" y="2"/>
                </a:lnTo>
                <a:lnTo>
                  <a:pt x="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36" name="Freeform 736"/>
          <p:cNvSpPr>
            <a:spLocks/>
          </p:cNvSpPr>
          <p:nvPr/>
        </p:nvSpPr>
        <p:spPr bwMode="auto">
          <a:xfrm>
            <a:off x="4692650" y="2539965"/>
            <a:ext cx="4762" cy="4763"/>
          </a:xfrm>
          <a:custGeom>
            <a:avLst/>
            <a:gdLst>
              <a:gd name="T0" fmla="*/ 0 w 3"/>
              <a:gd name="T1" fmla="*/ 1 h 3"/>
              <a:gd name="T2" fmla="*/ 0 w 3"/>
              <a:gd name="T3" fmla="*/ 0 h 3"/>
              <a:gd name="T4" fmla="*/ 2 w 3"/>
              <a:gd name="T5" fmla="*/ 1 h 3"/>
              <a:gd name="T6" fmla="*/ 2 w 3"/>
              <a:gd name="T7" fmla="*/ 2 h 3"/>
              <a:gd name="T8" fmla="*/ 3 w 3"/>
              <a:gd name="T9" fmla="*/ 3 h 3"/>
              <a:gd name="T10" fmla="*/ 3 w 3"/>
              <a:gd name="T11" fmla="*/ 3 h 3"/>
              <a:gd name="T12" fmla="*/ 2 w 3"/>
              <a:gd name="T13" fmla="*/ 3 h 3"/>
              <a:gd name="T14" fmla="*/ 0 w 3"/>
              <a:gd name="T15" fmla="*/ 2 h 3"/>
              <a:gd name="T16" fmla="*/ 0 w 3"/>
              <a:gd name="T17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3">
                <a:moveTo>
                  <a:pt x="0" y="1"/>
                </a:moveTo>
                <a:lnTo>
                  <a:pt x="0" y="0"/>
                </a:lnTo>
                <a:lnTo>
                  <a:pt x="2" y="1"/>
                </a:lnTo>
                <a:lnTo>
                  <a:pt x="2" y="2"/>
                </a:lnTo>
                <a:lnTo>
                  <a:pt x="3" y="3"/>
                </a:lnTo>
                <a:lnTo>
                  <a:pt x="3" y="3"/>
                </a:lnTo>
                <a:lnTo>
                  <a:pt x="2" y="3"/>
                </a:lnTo>
                <a:lnTo>
                  <a:pt x="0" y="2"/>
                </a:lnTo>
                <a:lnTo>
                  <a:pt x="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37" name="Freeform 737"/>
          <p:cNvSpPr>
            <a:spLocks/>
          </p:cNvSpPr>
          <p:nvPr/>
        </p:nvSpPr>
        <p:spPr bwMode="auto">
          <a:xfrm>
            <a:off x="5595938" y="2819365"/>
            <a:ext cx="3175" cy="9525"/>
          </a:xfrm>
          <a:custGeom>
            <a:avLst/>
            <a:gdLst>
              <a:gd name="T0" fmla="*/ 2 w 2"/>
              <a:gd name="T1" fmla="*/ 1 h 6"/>
              <a:gd name="T2" fmla="*/ 0 w 2"/>
              <a:gd name="T3" fmla="*/ 0 h 6"/>
              <a:gd name="T4" fmla="*/ 0 w 2"/>
              <a:gd name="T5" fmla="*/ 3 h 6"/>
              <a:gd name="T6" fmla="*/ 1 w 2"/>
              <a:gd name="T7" fmla="*/ 6 h 6"/>
              <a:gd name="T8" fmla="*/ 2 w 2"/>
              <a:gd name="T9" fmla="*/ 6 h 6"/>
              <a:gd name="T10" fmla="*/ 2 w 2"/>
              <a:gd name="T11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6">
                <a:moveTo>
                  <a:pt x="2" y="1"/>
                </a:moveTo>
                <a:lnTo>
                  <a:pt x="0" y="0"/>
                </a:lnTo>
                <a:lnTo>
                  <a:pt x="0" y="3"/>
                </a:lnTo>
                <a:lnTo>
                  <a:pt x="1" y="6"/>
                </a:lnTo>
                <a:lnTo>
                  <a:pt x="2" y="6"/>
                </a:lnTo>
                <a:lnTo>
                  <a:pt x="2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38" name="Freeform 738"/>
          <p:cNvSpPr>
            <a:spLocks/>
          </p:cNvSpPr>
          <p:nvPr/>
        </p:nvSpPr>
        <p:spPr bwMode="auto">
          <a:xfrm>
            <a:off x="5595938" y="2819365"/>
            <a:ext cx="3175" cy="9525"/>
          </a:xfrm>
          <a:custGeom>
            <a:avLst/>
            <a:gdLst>
              <a:gd name="T0" fmla="*/ 2 w 2"/>
              <a:gd name="T1" fmla="*/ 1 h 6"/>
              <a:gd name="T2" fmla="*/ 0 w 2"/>
              <a:gd name="T3" fmla="*/ 0 h 6"/>
              <a:gd name="T4" fmla="*/ 0 w 2"/>
              <a:gd name="T5" fmla="*/ 3 h 6"/>
              <a:gd name="T6" fmla="*/ 1 w 2"/>
              <a:gd name="T7" fmla="*/ 6 h 6"/>
              <a:gd name="T8" fmla="*/ 2 w 2"/>
              <a:gd name="T9" fmla="*/ 6 h 6"/>
              <a:gd name="T10" fmla="*/ 2 w 2"/>
              <a:gd name="T11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6">
                <a:moveTo>
                  <a:pt x="2" y="1"/>
                </a:moveTo>
                <a:lnTo>
                  <a:pt x="0" y="0"/>
                </a:lnTo>
                <a:lnTo>
                  <a:pt x="0" y="3"/>
                </a:lnTo>
                <a:lnTo>
                  <a:pt x="1" y="6"/>
                </a:lnTo>
                <a:lnTo>
                  <a:pt x="2" y="6"/>
                </a:lnTo>
                <a:lnTo>
                  <a:pt x="2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39" name="Freeform 739"/>
          <p:cNvSpPr>
            <a:spLocks/>
          </p:cNvSpPr>
          <p:nvPr/>
        </p:nvSpPr>
        <p:spPr bwMode="auto">
          <a:xfrm>
            <a:off x="2817813" y="2287553"/>
            <a:ext cx="4762" cy="4763"/>
          </a:xfrm>
          <a:custGeom>
            <a:avLst/>
            <a:gdLst>
              <a:gd name="T0" fmla="*/ 2 w 3"/>
              <a:gd name="T1" fmla="*/ 0 h 3"/>
              <a:gd name="T2" fmla="*/ 1 w 3"/>
              <a:gd name="T3" fmla="*/ 1 h 3"/>
              <a:gd name="T4" fmla="*/ 1 w 3"/>
              <a:gd name="T5" fmla="*/ 2 h 3"/>
              <a:gd name="T6" fmla="*/ 0 w 3"/>
              <a:gd name="T7" fmla="*/ 3 h 3"/>
              <a:gd name="T8" fmla="*/ 1 w 3"/>
              <a:gd name="T9" fmla="*/ 2 h 3"/>
              <a:gd name="T10" fmla="*/ 2 w 3"/>
              <a:gd name="T11" fmla="*/ 2 h 3"/>
              <a:gd name="T12" fmla="*/ 3 w 3"/>
              <a:gd name="T13" fmla="*/ 1 h 3"/>
              <a:gd name="T14" fmla="*/ 3 w 3"/>
              <a:gd name="T15" fmla="*/ 0 h 3"/>
              <a:gd name="T16" fmla="*/ 2 w 3"/>
              <a:gd name="T17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3">
                <a:moveTo>
                  <a:pt x="2" y="0"/>
                </a:moveTo>
                <a:lnTo>
                  <a:pt x="1" y="1"/>
                </a:lnTo>
                <a:lnTo>
                  <a:pt x="1" y="2"/>
                </a:lnTo>
                <a:lnTo>
                  <a:pt x="0" y="3"/>
                </a:lnTo>
                <a:lnTo>
                  <a:pt x="1" y="2"/>
                </a:lnTo>
                <a:lnTo>
                  <a:pt x="2" y="2"/>
                </a:lnTo>
                <a:lnTo>
                  <a:pt x="3" y="1"/>
                </a:lnTo>
                <a:lnTo>
                  <a:pt x="3" y="0"/>
                </a:lnTo>
                <a:lnTo>
                  <a:pt x="2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40" name="Freeform 740"/>
          <p:cNvSpPr>
            <a:spLocks/>
          </p:cNvSpPr>
          <p:nvPr/>
        </p:nvSpPr>
        <p:spPr bwMode="auto">
          <a:xfrm>
            <a:off x="2817813" y="2287553"/>
            <a:ext cx="4762" cy="4763"/>
          </a:xfrm>
          <a:custGeom>
            <a:avLst/>
            <a:gdLst>
              <a:gd name="T0" fmla="*/ 2 w 3"/>
              <a:gd name="T1" fmla="*/ 0 h 3"/>
              <a:gd name="T2" fmla="*/ 1 w 3"/>
              <a:gd name="T3" fmla="*/ 1 h 3"/>
              <a:gd name="T4" fmla="*/ 1 w 3"/>
              <a:gd name="T5" fmla="*/ 2 h 3"/>
              <a:gd name="T6" fmla="*/ 0 w 3"/>
              <a:gd name="T7" fmla="*/ 3 h 3"/>
              <a:gd name="T8" fmla="*/ 1 w 3"/>
              <a:gd name="T9" fmla="*/ 2 h 3"/>
              <a:gd name="T10" fmla="*/ 2 w 3"/>
              <a:gd name="T11" fmla="*/ 2 h 3"/>
              <a:gd name="T12" fmla="*/ 3 w 3"/>
              <a:gd name="T13" fmla="*/ 1 h 3"/>
              <a:gd name="T14" fmla="*/ 3 w 3"/>
              <a:gd name="T15" fmla="*/ 0 h 3"/>
              <a:gd name="T16" fmla="*/ 2 w 3"/>
              <a:gd name="T17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3">
                <a:moveTo>
                  <a:pt x="2" y="0"/>
                </a:moveTo>
                <a:lnTo>
                  <a:pt x="1" y="1"/>
                </a:lnTo>
                <a:lnTo>
                  <a:pt x="1" y="2"/>
                </a:lnTo>
                <a:lnTo>
                  <a:pt x="0" y="3"/>
                </a:lnTo>
                <a:lnTo>
                  <a:pt x="1" y="2"/>
                </a:lnTo>
                <a:lnTo>
                  <a:pt x="2" y="2"/>
                </a:lnTo>
                <a:lnTo>
                  <a:pt x="3" y="1"/>
                </a:lnTo>
                <a:lnTo>
                  <a:pt x="3" y="0"/>
                </a:lnTo>
                <a:lnTo>
                  <a:pt x="2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41" name="Freeform 741"/>
          <p:cNvSpPr>
            <a:spLocks/>
          </p:cNvSpPr>
          <p:nvPr/>
        </p:nvSpPr>
        <p:spPr bwMode="auto">
          <a:xfrm>
            <a:off x="4564063" y="3208303"/>
            <a:ext cx="195262" cy="323850"/>
          </a:xfrm>
          <a:custGeom>
            <a:avLst/>
            <a:gdLst>
              <a:gd name="T0" fmla="*/ 64 w 123"/>
              <a:gd name="T1" fmla="*/ 192 h 204"/>
              <a:gd name="T2" fmla="*/ 50 w 123"/>
              <a:gd name="T3" fmla="*/ 191 h 204"/>
              <a:gd name="T4" fmla="*/ 21 w 123"/>
              <a:gd name="T5" fmla="*/ 194 h 204"/>
              <a:gd name="T6" fmla="*/ 23 w 123"/>
              <a:gd name="T7" fmla="*/ 177 h 204"/>
              <a:gd name="T8" fmla="*/ 22 w 123"/>
              <a:gd name="T9" fmla="*/ 171 h 204"/>
              <a:gd name="T10" fmla="*/ 17 w 123"/>
              <a:gd name="T11" fmla="*/ 166 h 204"/>
              <a:gd name="T12" fmla="*/ 20 w 123"/>
              <a:gd name="T13" fmla="*/ 162 h 204"/>
              <a:gd name="T14" fmla="*/ 16 w 123"/>
              <a:gd name="T15" fmla="*/ 159 h 204"/>
              <a:gd name="T16" fmla="*/ 8 w 123"/>
              <a:gd name="T17" fmla="*/ 158 h 204"/>
              <a:gd name="T18" fmla="*/ 3 w 123"/>
              <a:gd name="T19" fmla="*/ 150 h 204"/>
              <a:gd name="T20" fmla="*/ 0 w 123"/>
              <a:gd name="T21" fmla="*/ 148 h 204"/>
              <a:gd name="T22" fmla="*/ 2 w 123"/>
              <a:gd name="T23" fmla="*/ 143 h 204"/>
              <a:gd name="T24" fmla="*/ 5 w 123"/>
              <a:gd name="T25" fmla="*/ 131 h 204"/>
              <a:gd name="T26" fmla="*/ 11 w 123"/>
              <a:gd name="T27" fmla="*/ 118 h 204"/>
              <a:gd name="T28" fmla="*/ 17 w 123"/>
              <a:gd name="T29" fmla="*/ 108 h 204"/>
              <a:gd name="T30" fmla="*/ 28 w 123"/>
              <a:gd name="T31" fmla="*/ 107 h 204"/>
              <a:gd name="T32" fmla="*/ 37 w 123"/>
              <a:gd name="T33" fmla="*/ 111 h 204"/>
              <a:gd name="T34" fmla="*/ 41 w 123"/>
              <a:gd name="T35" fmla="*/ 115 h 204"/>
              <a:gd name="T36" fmla="*/ 48 w 123"/>
              <a:gd name="T37" fmla="*/ 113 h 204"/>
              <a:gd name="T38" fmla="*/ 57 w 123"/>
              <a:gd name="T39" fmla="*/ 91 h 204"/>
              <a:gd name="T40" fmla="*/ 61 w 123"/>
              <a:gd name="T41" fmla="*/ 79 h 204"/>
              <a:gd name="T42" fmla="*/ 68 w 123"/>
              <a:gd name="T43" fmla="*/ 71 h 204"/>
              <a:gd name="T44" fmla="*/ 72 w 123"/>
              <a:gd name="T45" fmla="*/ 56 h 204"/>
              <a:gd name="T46" fmla="*/ 76 w 123"/>
              <a:gd name="T47" fmla="*/ 44 h 204"/>
              <a:gd name="T48" fmla="*/ 79 w 123"/>
              <a:gd name="T49" fmla="*/ 32 h 204"/>
              <a:gd name="T50" fmla="*/ 88 w 123"/>
              <a:gd name="T51" fmla="*/ 26 h 204"/>
              <a:gd name="T52" fmla="*/ 94 w 123"/>
              <a:gd name="T53" fmla="*/ 16 h 204"/>
              <a:gd name="T54" fmla="*/ 93 w 123"/>
              <a:gd name="T55" fmla="*/ 8 h 204"/>
              <a:gd name="T56" fmla="*/ 88 w 123"/>
              <a:gd name="T57" fmla="*/ 5 h 204"/>
              <a:gd name="T58" fmla="*/ 93 w 123"/>
              <a:gd name="T59" fmla="*/ 2 h 204"/>
              <a:gd name="T60" fmla="*/ 97 w 123"/>
              <a:gd name="T61" fmla="*/ 0 h 204"/>
              <a:gd name="T62" fmla="*/ 101 w 123"/>
              <a:gd name="T63" fmla="*/ 14 h 204"/>
              <a:gd name="T64" fmla="*/ 102 w 123"/>
              <a:gd name="T65" fmla="*/ 26 h 204"/>
              <a:gd name="T66" fmla="*/ 103 w 123"/>
              <a:gd name="T67" fmla="*/ 39 h 204"/>
              <a:gd name="T68" fmla="*/ 108 w 123"/>
              <a:gd name="T69" fmla="*/ 50 h 204"/>
              <a:gd name="T70" fmla="*/ 102 w 123"/>
              <a:gd name="T71" fmla="*/ 51 h 204"/>
              <a:gd name="T72" fmla="*/ 92 w 123"/>
              <a:gd name="T73" fmla="*/ 51 h 204"/>
              <a:gd name="T74" fmla="*/ 89 w 123"/>
              <a:gd name="T75" fmla="*/ 59 h 204"/>
              <a:gd name="T76" fmla="*/ 95 w 123"/>
              <a:gd name="T77" fmla="*/ 69 h 204"/>
              <a:gd name="T78" fmla="*/ 102 w 123"/>
              <a:gd name="T79" fmla="*/ 73 h 204"/>
              <a:gd name="T80" fmla="*/ 108 w 123"/>
              <a:gd name="T81" fmla="*/ 90 h 204"/>
              <a:gd name="T82" fmla="*/ 111 w 123"/>
              <a:gd name="T83" fmla="*/ 98 h 204"/>
              <a:gd name="T84" fmla="*/ 102 w 123"/>
              <a:gd name="T85" fmla="*/ 117 h 204"/>
              <a:gd name="T86" fmla="*/ 96 w 123"/>
              <a:gd name="T87" fmla="*/ 129 h 204"/>
              <a:gd name="T88" fmla="*/ 97 w 123"/>
              <a:gd name="T89" fmla="*/ 145 h 204"/>
              <a:gd name="T90" fmla="*/ 111 w 123"/>
              <a:gd name="T91" fmla="*/ 170 h 204"/>
              <a:gd name="T92" fmla="*/ 123 w 123"/>
              <a:gd name="T93" fmla="*/ 181 h 204"/>
              <a:gd name="T94" fmla="*/ 122 w 123"/>
              <a:gd name="T95" fmla="*/ 202 h 204"/>
              <a:gd name="T96" fmla="*/ 111 w 123"/>
              <a:gd name="T97" fmla="*/ 198 h 204"/>
              <a:gd name="T98" fmla="*/ 99 w 123"/>
              <a:gd name="T99" fmla="*/ 194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23" h="204">
                <a:moveTo>
                  <a:pt x="77" y="194"/>
                </a:moveTo>
                <a:lnTo>
                  <a:pt x="74" y="192"/>
                </a:lnTo>
                <a:lnTo>
                  <a:pt x="64" y="192"/>
                </a:lnTo>
                <a:lnTo>
                  <a:pt x="60" y="191"/>
                </a:lnTo>
                <a:lnTo>
                  <a:pt x="54" y="192"/>
                </a:lnTo>
                <a:lnTo>
                  <a:pt x="50" y="191"/>
                </a:lnTo>
                <a:lnTo>
                  <a:pt x="45" y="192"/>
                </a:lnTo>
                <a:lnTo>
                  <a:pt x="33" y="192"/>
                </a:lnTo>
                <a:lnTo>
                  <a:pt x="21" y="194"/>
                </a:lnTo>
                <a:lnTo>
                  <a:pt x="20" y="194"/>
                </a:lnTo>
                <a:lnTo>
                  <a:pt x="21" y="182"/>
                </a:lnTo>
                <a:lnTo>
                  <a:pt x="23" y="177"/>
                </a:lnTo>
                <a:lnTo>
                  <a:pt x="23" y="175"/>
                </a:lnTo>
                <a:lnTo>
                  <a:pt x="23" y="174"/>
                </a:lnTo>
                <a:lnTo>
                  <a:pt x="22" y="171"/>
                </a:lnTo>
                <a:lnTo>
                  <a:pt x="20" y="169"/>
                </a:lnTo>
                <a:lnTo>
                  <a:pt x="18" y="168"/>
                </a:lnTo>
                <a:lnTo>
                  <a:pt x="17" y="166"/>
                </a:lnTo>
                <a:lnTo>
                  <a:pt x="17" y="165"/>
                </a:lnTo>
                <a:lnTo>
                  <a:pt x="18" y="165"/>
                </a:lnTo>
                <a:lnTo>
                  <a:pt x="20" y="162"/>
                </a:lnTo>
                <a:lnTo>
                  <a:pt x="20" y="160"/>
                </a:lnTo>
                <a:lnTo>
                  <a:pt x="18" y="159"/>
                </a:lnTo>
                <a:lnTo>
                  <a:pt x="16" y="159"/>
                </a:lnTo>
                <a:lnTo>
                  <a:pt x="16" y="160"/>
                </a:lnTo>
                <a:lnTo>
                  <a:pt x="14" y="161"/>
                </a:lnTo>
                <a:lnTo>
                  <a:pt x="8" y="158"/>
                </a:lnTo>
                <a:lnTo>
                  <a:pt x="7" y="156"/>
                </a:lnTo>
                <a:lnTo>
                  <a:pt x="5" y="150"/>
                </a:lnTo>
                <a:lnTo>
                  <a:pt x="3" y="150"/>
                </a:lnTo>
                <a:lnTo>
                  <a:pt x="2" y="151"/>
                </a:lnTo>
                <a:lnTo>
                  <a:pt x="0" y="150"/>
                </a:lnTo>
                <a:lnTo>
                  <a:pt x="0" y="148"/>
                </a:lnTo>
                <a:lnTo>
                  <a:pt x="0" y="147"/>
                </a:lnTo>
                <a:lnTo>
                  <a:pt x="0" y="145"/>
                </a:lnTo>
                <a:lnTo>
                  <a:pt x="2" y="143"/>
                </a:lnTo>
                <a:lnTo>
                  <a:pt x="3" y="139"/>
                </a:lnTo>
                <a:lnTo>
                  <a:pt x="4" y="137"/>
                </a:lnTo>
                <a:lnTo>
                  <a:pt x="5" y="131"/>
                </a:lnTo>
                <a:lnTo>
                  <a:pt x="6" y="127"/>
                </a:lnTo>
                <a:lnTo>
                  <a:pt x="8" y="121"/>
                </a:lnTo>
                <a:lnTo>
                  <a:pt x="11" y="118"/>
                </a:lnTo>
                <a:lnTo>
                  <a:pt x="13" y="115"/>
                </a:lnTo>
                <a:lnTo>
                  <a:pt x="16" y="114"/>
                </a:lnTo>
                <a:lnTo>
                  <a:pt x="17" y="108"/>
                </a:lnTo>
                <a:lnTo>
                  <a:pt x="17" y="108"/>
                </a:lnTo>
                <a:lnTo>
                  <a:pt x="22" y="108"/>
                </a:lnTo>
                <a:lnTo>
                  <a:pt x="28" y="107"/>
                </a:lnTo>
                <a:lnTo>
                  <a:pt x="33" y="107"/>
                </a:lnTo>
                <a:lnTo>
                  <a:pt x="36" y="110"/>
                </a:lnTo>
                <a:lnTo>
                  <a:pt x="37" y="111"/>
                </a:lnTo>
                <a:lnTo>
                  <a:pt x="37" y="113"/>
                </a:lnTo>
                <a:lnTo>
                  <a:pt x="38" y="113"/>
                </a:lnTo>
                <a:lnTo>
                  <a:pt x="41" y="115"/>
                </a:lnTo>
                <a:lnTo>
                  <a:pt x="45" y="116"/>
                </a:lnTo>
                <a:lnTo>
                  <a:pt x="47" y="115"/>
                </a:lnTo>
                <a:lnTo>
                  <a:pt x="48" y="113"/>
                </a:lnTo>
                <a:lnTo>
                  <a:pt x="48" y="109"/>
                </a:lnTo>
                <a:lnTo>
                  <a:pt x="54" y="99"/>
                </a:lnTo>
                <a:lnTo>
                  <a:pt x="57" y="91"/>
                </a:lnTo>
                <a:lnTo>
                  <a:pt x="57" y="89"/>
                </a:lnTo>
                <a:lnTo>
                  <a:pt x="58" y="84"/>
                </a:lnTo>
                <a:lnTo>
                  <a:pt x="61" y="79"/>
                </a:lnTo>
                <a:lnTo>
                  <a:pt x="63" y="75"/>
                </a:lnTo>
                <a:lnTo>
                  <a:pt x="67" y="73"/>
                </a:lnTo>
                <a:lnTo>
                  <a:pt x="68" y="71"/>
                </a:lnTo>
                <a:lnTo>
                  <a:pt x="69" y="69"/>
                </a:lnTo>
                <a:lnTo>
                  <a:pt x="69" y="66"/>
                </a:lnTo>
                <a:lnTo>
                  <a:pt x="72" y="56"/>
                </a:lnTo>
                <a:lnTo>
                  <a:pt x="72" y="53"/>
                </a:lnTo>
                <a:lnTo>
                  <a:pt x="73" y="49"/>
                </a:lnTo>
                <a:lnTo>
                  <a:pt x="76" y="44"/>
                </a:lnTo>
                <a:lnTo>
                  <a:pt x="77" y="36"/>
                </a:lnTo>
                <a:lnTo>
                  <a:pt x="78" y="33"/>
                </a:lnTo>
                <a:lnTo>
                  <a:pt x="79" y="32"/>
                </a:lnTo>
                <a:lnTo>
                  <a:pt x="83" y="28"/>
                </a:lnTo>
                <a:lnTo>
                  <a:pt x="84" y="27"/>
                </a:lnTo>
                <a:lnTo>
                  <a:pt x="88" y="26"/>
                </a:lnTo>
                <a:lnTo>
                  <a:pt x="88" y="25"/>
                </a:lnTo>
                <a:lnTo>
                  <a:pt x="94" y="20"/>
                </a:lnTo>
                <a:lnTo>
                  <a:pt x="94" y="16"/>
                </a:lnTo>
                <a:lnTo>
                  <a:pt x="94" y="10"/>
                </a:lnTo>
                <a:lnTo>
                  <a:pt x="93" y="8"/>
                </a:lnTo>
                <a:lnTo>
                  <a:pt x="93" y="8"/>
                </a:lnTo>
                <a:lnTo>
                  <a:pt x="92" y="7"/>
                </a:lnTo>
                <a:lnTo>
                  <a:pt x="89" y="6"/>
                </a:lnTo>
                <a:lnTo>
                  <a:pt x="88" y="5"/>
                </a:lnTo>
                <a:lnTo>
                  <a:pt x="89" y="5"/>
                </a:lnTo>
                <a:lnTo>
                  <a:pt x="89" y="5"/>
                </a:lnTo>
                <a:lnTo>
                  <a:pt x="93" y="2"/>
                </a:lnTo>
                <a:lnTo>
                  <a:pt x="95" y="0"/>
                </a:lnTo>
                <a:lnTo>
                  <a:pt x="97" y="0"/>
                </a:lnTo>
                <a:lnTo>
                  <a:pt x="97" y="0"/>
                </a:lnTo>
                <a:lnTo>
                  <a:pt x="97" y="2"/>
                </a:lnTo>
                <a:lnTo>
                  <a:pt x="99" y="10"/>
                </a:lnTo>
                <a:lnTo>
                  <a:pt x="101" y="14"/>
                </a:lnTo>
                <a:lnTo>
                  <a:pt x="102" y="16"/>
                </a:lnTo>
                <a:lnTo>
                  <a:pt x="102" y="23"/>
                </a:lnTo>
                <a:lnTo>
                  <a:pt x="102" y="26"/>
                </a:lnTo>
                <a:lnTo>
                  <a:pt x="101" y="29"/>
                </a:lnTo>
                <a:lnTo>
                  <a:pt x="101" y="33"/>
                </a:lnTo>
                <a:lnTo>
                  <a:pt x="103" y="39"/>
                </a:lnTo>
                <a:lnTo>
                  <a:pt x="107" y="46"/>
                </a:lnTo>
                <a:lnTo>
                  <a:pt x="108" y="48"/>
                </a:lnTo>
                <a:lnTo>
                  <a:pt x="108" y="50"/>
                </a:lnTo>
                <a:lnTo>
                  <a:pt x="108" y="51"/>
                </a:lnTo>
                <a:lnTo>
                  <a:pt x="107" y="53"/>
                </a:lnTo>
                <a:lnTo>
                  <a:pt x="102" y="51"/>
                </a:lnTo>
                <a:lnTo>
                  <a:pt x="97" y="50"/>
                </a:lnTo>
                <a:lnTo>
                  <a:pt x="93" y="50"/>
                </a:lnTo>
                <a:lnTo>
                  <a:pt x="92" y="51"/>
                </a:lnTo>
                <a:lnTo>
                  <a:pt x="91" y="51"/>
                </a:lnTo>
                <a:lnTo>
                  <a:pt x="89" y="54"/>
                </a:lnTo>
                <a:lnTo>
                  <a:pt x="89" y="59"/>
                </a:lnTo>
                <a:lnTo>
                  <a:pt x="89" y="63"/>
                </a:lnTo>
                <a:lnTo>
                  <a:pt x="93" y="67"/>
                </a:lnTo>
                <a:lnTo>
                  <a:pt x="95" y="69"/>
                </a:lnTo>
                <a:lnTo>
                  <a:pt x="97" y="70"/>
                </a:lnTo>
                <a:lnTo>
                  <a:pt x="101" y="71"/>
                </a:lnTo>
                <a:lnTo>
                  <a:pt x="102" y="73"/>
                </a:lnTo>
                <a:lnTo>
                  <a:pt x="104" y="75"/>
                </a:lnTo>
                <a:lnTo>
                  <a:pt x="107" y="85"/>
                </a:lnTo>
                <a:lnTo>
                  <a:pt x="108" y="90"/>
                </a:lnTo>
                <a:lnTo>
                  <a:pt x="108" y="96"/>
                </a:lnTo>
                <a:lnTo>
                  <a:pt x="109" y="97"/>
                </a:lnTo>
                <a:lnTo>
                  <a:pt x="111" y="98"/>
                </a:lnTo>
                <a:lnTo>
                  <a:pt x="107" y="106"/>
                </a:lnTo>
                <a:lnTo>
                  <a:pt x="104" y="111"/>
                </a:lnTo>
                <a:lnTo>
                  <a:pt x="102" y="117"/>
                </a:lnTo>
                <a:lnTo>
                  <a:pt x="99" y="121"/>
                </a:lnTo>
                <a:lnTo>
                  <a:pt x="96" y="125"/>
                </a:lnTo>
                <a:lnTo>
                  <a:pt x="96" y="129"/>
                </a:lnTo>
                <a:lnTo>
                  <a:pt x="97" y="134"/>
                </a:lnTo>
                <a:lnTo>
                  <a:pt x="97" y="140"/>
                </a:lnTo>
                <a:lnTo>
                  <a:pt x="97" y="145"/>
                </a:lnTo>
                <a:lnTo>
                  <a:pt x="101" y="151"/>
                </a:lnTo>
                <a:lnTo>
                  <a:pt x="103" y="155"/>
                </a:lnTo>
                <a:lnTo>
                  <a:pt x="111" y="170"/>
                </a:lnTo>
                <a:lnTo>
                  <a:pt x="114" y="175"/>
                </a:lnTo>
                <a:lnTo>
                  <a:pt x="121" y="181"/>
                </a:lnTo>
                <a:lnTo>
                  <a:pt x="123" y="181"/>
                </a:lnTo>
                <a:lnTo>
                  <a:pt x="122" y="185"/>
                </a:lnTo>
                <a:lnTo>
                  <a:pt x="123" y="199"/>
                </a:lnTo>
                <a:lnTo>
                  <a:pt x="122" y="202"/>
                </a:lnTo>
                <a:lnTo>
                  <a:pt x="121" y="204"/>
                </a:lnTo>
                <a:lnTo>
                  <a:pt x="114" y="197"/>
                </a:lnTo>
                <a:lnTo>
                  <a:pt x="111" y="198"/>
                </a:lnTo>
                <a:lnTo>
                  <a:pt x="106" y="196"/>
                </a:lnTo>
                <a:lnTo>
                  <a:pt x="103" y="196"/>
                </a:lnTo>
                <a:lnTo>
                  <a:pt x="99" y="194"/>
                </a:lnTo>
                <a:lnTo>
                  <a:pt x="77" y="19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42" name="Freeform 742"/>
          <p:cNvSpPr>
            <a:spLocks/>
          </p:cNvSpPr>
          <p:nvPr/>
        </p:nvSpPr>
        <p:spPr bwMode="auto">
          <a:xfrm>
            <a:off x="4564063" y="3208303"/>
            <a:ext cx="195262" cy="323850"/>
          </a:xfrm>
          <a:custGeom>
            <a:avLst/>
            <a:gdLst>
              <a:gd name="T0" fmla="*/ 64 w 123"/>
              <a:gd name="T1" fmla="*/ 192 h 204"/>
              <a:gd name="T2" fmla="*/ 50 w 123"/>
              <a:gd name="T3" fmla="*/ 191 h 204"/>
              <a:gd name="T4" fmla="*/ 21 w 123"/>
              <a:gd name="T5" fmla="*/ 194 h 204"/>
              <a:gd name="T6" fmla="*/ 23 w 123"/>
              <a:gd name="T7" fmla="*/ 177 h 204"/>
              <a:gd name="T8" fmla="*/ 22 w 123"/>
              <a:gd name="T9" fmla="*/ 171 h 204"/>
              <a:gd name="T10" fmla="*/ 17 w 123"/>
              <a:gd name="T11" fmla="*/ 166 h 204"/>
              <a:gd name="T12" fmla="*/ 20 w 123"/>
              <a:gd name="T13" fmla="*/ 162 h 204"/>
              <a:gd name="T14" fmla="*/ 16 w 123"/>
              <a:gd name="T15" fmla="*/ 159 h 204"/>
              <a:gd name="T16" fmla="*/ 8 w 123"/>
              <a:gd name="T17" fmla="*/ 158 h 204"/>
              <a:gd name="T18" fmla="*/ 3 w 123"/>
              <a:gd name="T19" fmla="*/ 150 h 204"/>
              <a:gd name="T20" fmla="*/ 0 w 123"/>
              <a:gd name="T21" fmla="*/ 148 h 204"/>
              <a:gd name="T22" fmla="*/ 2 w 123"/>
              <a:gd name="T23" fmla="*/ 143 h 204"/>
              <a:gd name="T24" fmla="*/ 5 w 123"/>
              <a:gd name="T25" fmla="*/ 131 h 204"/>
              <a:gd name="T26" fmla="*/ 11 w 123"/>
              <a:gd name="T27" fmla="*/ 118 h 204"/>
              <a:gd name="T28" fmla="*/ 17 w 123"/>
              <a:gd name="T29" fmla="*/ 108 h 204"/>
              <a:gd name="T30" fmla="*/ 28 w 123"/>
              <a:gd name="T31" fmla="*/ 107 h 204"/>
              <a:gd name="T32" fmla="*/ 37 w 123"/>
              <a:gd name="T33" fmla="*/ 111 h 204"/>
              <a:gd name="T34" fmla="*/ 41 w 123"/>
              <a:gd name="T35" fmla="*/ 115 h 204"/>
              <a:gd name="T36" fmla="*/ 48 w 123"/>
              <a:gd name="T37" fmla="*/ 113 h 204"/>
              <a:gd name="T38" fmla="*/ 57 w 123"/>
              <a:gd name="T39" fmla="*/ 91 h 204"/>
              <a:gd name="T40" fmla="*/ 61 w 123"/>
              <a:gd name="T41" fmla="*/ 79 h 204"/>
              <a:gd name="T42" fmla="*/ 68 w 123"/>
              <a:gd name="T43" fmla="*/ 71 h 204"/>
              <a:gd name="T44" fmla="*/ 72 w 123"/>
              <a:gd name="T45" fmla="*/ 56 h 204"/>
              <a:gd name="T46" fmla="*/ 76 w 123"/>
              <a:gd name="T47" fmla="*/ 44 h 204"/>
              <a:gd name="T48" fmla="*/ 79 w 123"/>
              <a:gd name="T49" fmla="*/ 32 h 204"/>
              <a:gd name="T50" fmla="*/ 88 w 123"/>
              <a:gd name="T51" fmla="*/ 26 h 204"/>
              <a:gd name="T52" fmla="*/ 94 w 123"/>
              <a:gd name="T53" fmla="*/ 16 h 204"/>
              <a:gd name="T54" fmla="*/ 93 w 123"/>
              <a:gd name="T55" fmla="*/ 8 h 204"/>
              <a:gd name="T56" fmla="*/ 88 w 123"/>
              <a:gd name="T57" fmla="*/ 5 h 204"/>
              <a:gd name="T58" fmla="*/ 93 w 123"/>
              <a:gd name="T59" fmla="*/ 2 h 204"/>
              <a:gd name="T60" fmla="*/ 97 w 123"/>
              <a:gd name="T61" fmla="*/ 0 h 204"/>
              <a:gd name="T62" fmla="*/ 101 w 123"/>
              <a:gd name="T63" fmla="*/ 14 h 204"/>
              <a:gd name="T64" fmla="*/ 102 w 123"/>
              <a:gd name="T65" fmla="*/ 26 h 204"/>
              <a:gd name="T66" fmla="*/ 103 w 123"/>
              <a:gd name="T67" fmla="*/ 39 h 204"/>
              <a:gd name="T68" fmla="*/ 108 w 123"/>
              <a:gd name="T69" fmla="*/ 50 h 204"/>
              <a:gd name="T70" fmla="*/ 102 w 123"/>
              <a:gd name="T71" fmla="*/ 51 h 204"/>
              <a:gd name="T72" fmla="*/ 92 w 123"/>
              <a:gd name="T73" fmla="*/ 51 h 204"/>
              <a:gd name="T74" fmla="*/ 89 w 123"/>
              <a:gd name="T75" fmla="*/ 59 h 204"/>
              <a:gd name="T76" fmla="*/ 95 w 123"/>
              <a:gd name="T77" fmla="*/ 69 h 204"/>
              <a:gd name="T78" fmla="*/ 102 w 123"/>
              <a:gd name="T79" fmla="*/ 73 h 204"/>
              <a:gd name="T80" fmla="*/ 108 w 123"/>
              <a:gd name="T81" fmla="*/ 90 h 204"/>
              <a:gd name="T82" fmla="*/ 111 w 123"/>
              <a:gd name="T83" fmla="*/ 98 h 204"/>
              <a:gd name="T84" fmla="*/ 102 w 123"/>
              <a:gd name="T85" fmla="*/ 117 h 204"/>
              <a:gd name="T86" fmla="*/ 96 w 123"/>
              <a:gd name="T87" fmla="*/ 129 h 204"/>
              <a:gd name="T88" fmla="*/ 97 w 123"/>
              <a:gd name="T89" fmla="*/ 145 h 204"/>
              <a:gd name="T90" fmla="*/ 111 w 123"/>
              <a:gd name="T91" fmla="*/ 170 h 204"/>
              <a:gd name="T92" fmla="*/ 123 w 123"/>
              <a:gd name="T93" fmla="*/ 181 h 204"/>
              <a:gd name="T94" fmla="*/ 122 w 123"/>
              <a:gd name="T95" fmla="*/ 202 h 204"/>
              <a:gd name="T96" fmla="*/ 111 w 123"/>
              <a:gd name="T97" fmla="*/ 198 h 204"/>
              <a:gd name="T98" fmla="*/ 99 w 123"/>
              <a:gd name="T99" fmla="*/ 194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23" h="204">
                <a:moveTo>
                  <a:pt x="77" y="194"/>
                </a:moveTo>
                <a:lnTo>
                  <a:pt x="74" y="192"/>
                </a:lnTo>
                <a:lnTo>
                  <a:pt x="64" y="192"/>
                </a:lnTo>
                <a:lnTo>
                  <a:pt x="60" y="191"/>
                </a:lnTo>
                <a:lnTo>
                  <a:pt x="54" y="192"/>
                </a:lnTo>
                <a:lnTo>
                  <a:pt x="50" y="191"/>
                </a:lnTo>
                <a:lnTo>
                  <a:pt x="45" y="192"/>
                </a:lnTo>
                <a:lnTo>
                  <a:pt x="33" y="192"/>
                </a:lnTo>
                <a:lnTo>
                  <a:pt x="21" y="194"/>
                </a:lnTo>
                <a:lnTo>
                  <a:pt x="20" y="194"/>
                </a:lnTo>
                <a:lnTo>
                  <a:pt x="21" y="182"/>
                </a:lnTo>
                <a:lnTo>
                  <a:pt x="23" y="177"/>
                </a:lnTo>
                <a:lnTo>
                  <a:pt x="23" y="175"/>
                </a:lnTo>
                <a:lnTo>
                  <a:pt x="23" y="174"/>
                </a:lnTo>
                <a:lnTo>
                  <a:pt x="22" y="171"/>
                </a:lnTo>
                <a:lnTo>
                  <a:pt x="20" y="169"/>
                </a:lnTo>
                <a:lnTo>
                  <a:pt x="18" y="168"/>
                </a:lnTo>
                <a:lnTo>
                  <a:pt x="17" y="166"/>
                </a:lnTo>
                <a:lnTo>
                  <a:pt x="17" y="165"/>
                </a:lnTo>
                <a:lnTo>
                  <a:pt x="18" y="165"/>
                </a:lnTo>
                <a:lnTo>
                  <a:pt x="20" y="162"/>
                </a:lnTo>
                <a:lnTo>
                  <a:pt x="20" y="160"/>
                </a:lnTo>
                <a:lnTo>
                  <a:pt x="18" y="159"/>
                </a:lnTo>
                <a:lnTo>
                  <a:pt x="16" y="159"/>
                </a:lnTo>
                <a:lnTo>
                  <a:pt x="16" y="160"/>
                </a:lnTo>
                <a:lnTo>
                  <a:pt x="14" y="161"/>
                </a:lnTo>
                <a:lnTo>
                  <a:pt x="8" y="158"/>
                </a:lnTo>
                <a:lnTo>
                  <a:pt x="7" y="156"/>
                </a:lnTo>
                <a:lnTo>
                  <a:pt x="5" y="150"/>
                </a:lnTo>
                <a:lnTo>
                  <a:pt x="3" y="150"/>
                </a:lnTo>
                <a:lnTo>
                  <a:pt x="2" y="151"/>
                </a:lnTo>
                <a:lnTo>
                  <a:pt x="0" y="150"/>
                </a:lnTo>
                <a:lnTo>
                  <a:pt x="0" y="148"/>
                </a:lnTo>
                <a:lnTo>
                  <a:pt x="0" y="147"/>
                </a:lnTo>
                <a:lnTo>
                  <a:pt x="0" y="145"/>
                </a:lnTo>
                <a:lnTo>
                  <a:pt x="2" y="143"/>
                </a:lnTo>
                <a:lnTo>
                  <a:pt x="3" y="139"/>
                </a:lnTo>
                <a:lnTo>
                  <a:pt x="4" y="137"/>
                </a:lnTo>
                <a:lnTo>
                  <a:pt x="5" y="131"/>
                </a:lnTo>
                <a:lnTo>
                  <a:pt x="6" y="127"/>
                </a:lnTo>
                <a:lnTo>
                  <a:pt x="8" y="121"/>
                </a:lnTo>
                <a:lnTo>
                  <a:pt x="11" y="118"/>
                </a:lnTo>
                <a:lnTo>
                  <a:pt x="13" y="115"/>
                </a:lnTo>
                <a:lnTo>
                  <a:pt x="16" y="114"/>
                </a:lnTo>
                <a:lnTo>
                  <a:pt x="17" y="108"/>
                </a:lnTo>
                <a:lnTo>
                  <a:pt x="17" y="108"/>
                </a:lnTo>
                <a:lnTo>
                  <a:pt x="22" y="108"/>
                </a:lnTo>
                <a:lnTo>
                  <a:pt x="28" y="107"/>
                </a:lnTo>
                <a:lnTo>
                  <a:pt x="33" y="107"/>
                </a:lnTo>
                <a:lnTo>
                  <a:pt x="36" y="110"/>
                </a:lnTo>
                <a:lnTo>
                  <a:pt x="37" y="111"/>
                </a:lnTo>
                <a:lnTo>
                  <a:pt x="37" y="113"/>
                </a:lnTo>
                <a:lnTo>
                  <a:pt x="38" y="113"/>
                </a:lnTo>
                <a:lnTo>
                  <a:pt x="41" y="115"/>
                </a:lnTo>
                <a:lnTo>
                  <a:pt x="45" y="116"/>
                </a:lnTo>
                <a:lnTo>
                  <a:pt x="47" y="115"/>
                </a:lnTo>
                <a:lnTo>
                  <a:pt x="48" y="113"/>
                </a:lnTo>
                <a:lnTo>
                  <a:pt x="48" y="109"/>
                </a:lnTo>
                <a:lnTo>
                  <a:pt x="54" y="99"/>
                </a:lnTo>
                <a:lnTo>
                  <a:pt x="57" y="91"/>
                </a:lnTo>
                <a:lnTo>
                  <a:pt x="57" y="89"/>
                </a:lnTo>
                <a:lnTo>
                  <a:pt x="58" y="84"/>
                </a:lnTo>
                <a:lnTo>
                  <a:pt x="61" y="79"/>
                </a:lnTo>
                <a:lnTo>
                  <a:pt x="63" y="75"/>
                </a:lnTo>
                <a:lnTo>
                  <a:pt x="67" y="73"/>
                </a:lnTo>
                <a:lnTo>
                  <a:pt x="68" y="71"/>
                </a:lnTo>
                <a:lnTo>
                  <a:pt x="69" y="69"/>
                </a:lnTo>
                <a:lnTo>
                  <a:pt x="69" y="66"/>
                </a:lnTo>
                <a:lnTo>
                  <a:pt x="72" y="56"/>
                </a:lnTo>
                <a:lnTo>
                  <a:pt x="72" y="53"/>
                </a:lnTo>
                <a:lnTo>
                  <a:pt x="73" y="49"/>
                </a:lnTo>
                <a:lnTo>
                  <a:pt x="76" y="44"/>
                </a:lnTo>
                <a:lnTo>
                  <a:pt x="77" y="36"/>
                </a:lnTo>
                <a:lnTo>
                  <a:pt x="78" y="33"/>
                </a:lnTo>
                <a:lnTo>
                  <a:pt x="79" y="32"/>
                </a:lnTo>
                <a:lnTo>
                  <a:pt x="83" y="28"/>
                </a:lnTo>
                <a:lnTo>
                  <a:pt x="84" y="27"/>
                </a:lnTo>
                <a:lnTo>
                  <a:pt x="88" y="26"/>
                </a:lnTo>
                <a:lnTo>
                  <a:pt x="88" y="25"/>
                </a:lnTo>
                <a:lnTo>
                  <a:pt x="94" y="20"/>
                </a:lnTo>
                <a:lnTo>
                  <a:pt x="94" y="16"/>
                </a:lnTo>
                <a:lnTo>
                  <a:pt x="94" y="10"/>
                </a:lnTo>
                <a:lnTo>
                  <a:pt x="93" y="8"/>
                </a:lnTo>
                <a:lnTo>
                  <a:pt x="93" y="8"/>
                </a:lnTo>
                <a:lnTo>
                  <a:pt x="92" y="7"/>
                </a:lnTo>
                <a:lnTo>
                  <a:pt x="89" y="6"/>
                </a:lnTo>
                <a:lnTo>
                  <a:pt x="88" y="5"/>
                </a:lnTo>
                <a:lnTo>
                  <a:pt x="89" y="5"/>
                </a:lnTo>
                <a:lnTo>
                  <a:pt x="89" y="5"/>
                </a:lnTo>
                <a:lnTo>
                  <a:pt x="93" y="2"/>
                </a:lnTo>
                <a:lnTo>
                  <a:pt x="95" y="0"/>
                </a:lnTo>
                <a:lnTo>
                  <a:pt x="97" y="0"/>
                </a:lnTo>
                <a:lnTo>
                  <a:pt x="97" y="0"/>
                </a:lnTo>
                <a:lnTo>
                  <a:pt x="97" y="2"/>
                </a:lnTo>
                <a:lnTo>
                  <a:pt x="99" y="10"/>
                </a:lnTo>
                <a:lnTo>
                  <a:pt x="101" y="14"/>
                </a:lnTo>
                <a:lnTo>
                  <a:pt x="102" y="16"/>
                </a:lnTo>
                <a:lnTo>
                  <a:pt x="102" y="23"/>
                </a:lnTo>
                <a:lnTo>
                  <a:pt x="102" y="26"/>
                </a:lnTo>
                <a:lnTo>
                  <a:pt x="101" y="29"/>
                </a:lnTo>
                <a:lnTo>
                  <a:pt x="101" y="33"/>
                </a:lnTo>
                <a:lnTo>
                  <a:pt x="103" y="39"/>
                </a:lnTo>
                <a:lnTo>
                  <a:pt x="107" y="46"/>
                </a:lnTo>
                <a:lnTo>
                  <a:pt x="108" y="48"/>
                </a:lnTo>
                <a:lnTo>
                  <a:pt x="108" y="50"/>
                </a:lnTo>
                <a:lnTo>
                  <a:pt x="108" y="51"/>
                </a:lnTo>
                <a:lnTo>
                  <a:pt x="107" y="53"/>
                </a:lnTo>
                <a:lnTo>
                  <a:pt x="102" y="51"/>
                </a:lnTo>
                <a:lnTo>
                  <a:pt x="97" y="50"/>
                </a:lnTo>
                <a:lnTo>
                  <a:pt x="93" y="50"/>
                </a:lnTo>
                <a:lnTo>
                  <a:pt x="92" y="51"/>
                </a:lnTo>
                <a:lnTo>
                  <a:pt x="91" y="51"/>
                </a:lnTo>
                <a:lnTo>
                  <a:pt x="89" y="54"/>
                </a:lnTo>
                <a:lnTo>
                  <a:pt x="89" y="59"/>
                </a:lnTo>
                <a:lnTo>
                  <a:pt x="89" y="63"/>
                </a:lnTo>
                <a:lnTo>
                  <a:pt x="93" y="67"/>
                </a:lnTo>
                <a:lnTo>
                  <a:pt x="95" y="69"/>
                </a:lnTo>
                <a:lnTo>
                  <a:pt x="97" y="70"/>
                </a:lnTo>
                <a:lnTo>
                  <a:pt x="101" y="71"/>
                </a:lnTo>
                <a:lnTo>
                  <a:pt x="102" y="73"/>
                </a:lnTo>
                <a:lnTo>
                  <a:pt x="104" y="75"/>
                </a:lnTo>
                <a:lnTo>
                  <a:pt x="107" y="85"/>
                </a:lnTo>
                <a:lnTo>
                  <a:pt x="108" y="90"/>
                </a:lnTo>
                <a:lnTo>
                  <a:pt x="108" y="96"/>
                </a:lnTo>
                <a:lnTo>
                  <a:pt x="109" y="97"/>
                </a:lnTo>
                <a:lnTo>
                  <a:pt x="111" y="98"/>
                </a:lnTo>
                <a:lnTo>
                  <a:pt x="107" y="106"/>
                </a:lnTo>
                <a:lnTo>
                  <a:pt x="104" y="111"/>
                </a:lnTo>
                <a:lnTo>
                  <a:pt x="102" y="117"/>
                </a:lnTo>
                <a:lnTo>
                  <a:pt x="99" y="121"/>
                </a:lnTo>
                <a:lnTo>
                  <a:pt x="96" y="125"/>
                </a:lnTo>
                <a:lnTo>
                  <a:pt x="96" y="129"/>
                </a:lnTo>
                <a:lnTo>
                  <a:pt x="97" y="134"/>
                </a:lnTo>
                <a:lnTo>
                  <a:pt x="97" y="140"/>
                </a:lnTo>
                <a:lnTo>
                  <a:pt x="97" y="145"/>
                </a:lnTo>
                <a:lnTo>
                  <a:pt x="101" y="151"/>
                </a:lnTo>
                <a:lnTo>
                  <a:pt x="103" y="155"/>
                </a:lnTo>
                <a:lnTo>
                  <a:pt x="111" y="170"/>
                </a:lnTo>
                <a:lnTo>
                  <a:pt x="114" y="175"/>
                </a:lnTo>
                <a:lnTo>
                  <a:pt x="121" y="181"/>
                </a:lnTo>
                <a:lnTo>
                  <a:pt x="123" y="181"/>
                </a:lnTo>
                <a:lnTo>
                  <a:pt x="122" y="185"/>
                </a:lnTo>
                <a:lnTo>
                  <a:pt x="123" y="199"/>
                </a:lnTo>
                <a:lnTo>
                  <a:pt x="122" y="202"/>
                </a:lnTo>
                <a:lnTo>
                  <a:pt x="121" y="204"/>
                </a:lnTo>
                <a:lnTo>
                  <a:pt x="114" y="197"/>
                </a:lnTo>
                <a:lnTo>
                  <a:pt x="111" y="198"/>
                </a:lnTo>
                <a:lnTo>
                  <a:pt x="106" y="196"/>
                </a:lnTo>
                <a:lnTo>
                  <a:pt x="103" y="196"/>
                </a:lnTo>
                <a:lnTo>
                  <a:pt x="99" y="194"/>
                </a:lnTo>
                <a:lnTo>
                  <a:pt x="77" y="19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43" name="Freeform 743"/>
          <p:cNvSpPr>
            <a:spLocks/>
          </p:cNvSpPr>
          <p:nvPr/>
        </p:nvSpPr>
        <p:spPr bwMode="auto">
          <a:xfrm>
            <a:off x="6535738" y="2763803"/>
            <a:ext cx="85725" cy="44450"/>
          </a:xfrm>
          <a:custGeom>
            <a:avLst/>
            <a:gdLst>
              <a:gd name="T0" fmla="*/ 45 w 54"/>
              <a:gd name="T1" fmla="*/ 9 h 28"/>
              <a:gd name="T2" fmla="*/ 45 w 54"/>
              <a:gd name="T3" fmla="*/ 7 h 28"/>
              <a:gd name="T4" fmla="*/ 40 w 54"/>
              <a:gd name="T5" fmla="*/ 5 h 28"/>
              <a:gd name="T6" fmla="*/ 39 w 54"/>
              <a:gd name="T7" fmla="*/ 4 h 28"/>
              <a:gd name="T8" fmla="*/ 38 w 54"/>
              <a:gd name="T9" fmla="*/ 4 h 28"/>
              <a:gd name="T10" fmla="*/ 35 w 54"/>
              <a:gd name="T11" fmla="*/ 5 h 28"/>
              <a:gd name="T12" fmla="*/ 34 w 54"/>
              <a:gd name="T13" fmla="*/ 5 h 28"/>
              <a:gd name="T14" fmla="*/ 29 w 54"/>
              <a:gd name="T15" fmla="*/ 4 h 28"/>
              <a:gd name="T16" fmla="*/ 25 w 54"/>
              <a:gd name="T17" fmla="*/ 3 h 28"/>
              <a:gd name="T18" fmla="*/ 23 w 54"/>
              <a:gd name="T19" fmla="*/ 2 h 28"/>
              <a:gd name="T20" fmla="*/ 21 w 54"/>
              <a:gd name="T21" fmla="*/ 1 h 28"/>
              <a:gd name="T22" fmla="*/ 20 w 54"/>
              <a:gd name="T23" fmla="*/ 0 h 28"/>
              <a:gd name="T24" fmla="*/ 19 w 54"/>
              <a:gd name="T25" fmla="*/ 0 h 28"/>
              <a:gd name="T26" fmla="*/ 15 w 54"/>
              <a:gd name="T27" fmla="*/ 0 h 28"/>
              <a:gd name="T28" fmla="*/ 11 w 54"/>
              <a:gd name="T29" fmla="*/ 1 h 28"/>
              <a:gd name="T30" fmla="*/ 9 w 54"/>
              <a:gd name="T31" fmla="*/ 4 h 28"/>
              <a:gd name="T32" fmla="*/ 7 w 54"/>
              <a:gd name="T33" fmla="*/ 9 h 28"/>
              <a:gd name="T34" fmla="*/ 3 w 54"/>
              <a:gd name="T35" fmla="*/ 15 h 28"/>
              <a:gd name="T36" fmla="*/ 3 w 54"/>
              <a:gd name="T37" fmla="*/ 16 h 28"/>
              <a:gd name="T38" fmla="*/ 3 w 54"/>
              <a:gd name="T39" fmla="*/ 17 h 28"/>
              <a:gd name="T40" fmla="*/ 0 w 54"/>
              <a:gd name="T41" fmla="*/ 20 h 28"/>
              <a:gd name="T42" fmla="*/ 1 w 54"/>
              <a:gd name="T43" fmla="*/ 22 h 28"/>
              <a:gd name="T44" fmla="*/ 3 w 54"/>
              <a:gd name="T45" fmla="*/ 22 h 28"/>
              <a:gd name="T46" fmla="*/ 3 w 54"/>
              <a:gd name="T47" fmla="*/ 23 h 28"/>
              <a:gd name="T48" fmla="*/ 4 w 54"/>
              <a:gd name="T49" fmla="*/ 25 h 28"/>
              <a:gd name="T50" fmla="*/ 4 w 54"/>
              <a:gd name="T51" fmla="*/ 25 h 28"/>
              <a:gd name="T52" fmla="*/ 5 w 54"/>
              <a:gd name="T53" fmla="*/ 25 h 28"/>
              <a:gd name="T54" fmla="*/ 6 w 54"/>
              <a:gd name="T55" fmla="*/ 26 h 28"/>
              <a:gd name="T56" fmla="*/ 9 w 54"/>
              <a:gd name="T57" fmla="*/ 27 h 28"/>
              <a:gd name="T58" fmla="*/ 16 w 54"/>
              <a:gd name="T59" fmla="*/ 28 h 28"/>
              <a:gd name="T60" fmla="*/ 21 w 54"/>
              <a:gd name="T61" fmla="*/ 28 h 28"/>
              <a:gd name="T62" fmla="*/ 28 w 54"/>
              <a:gd name="T63" fmla="*/ 25 h 28"/>
              <a:gd name="T64" fmla="*/ 29 w 54"/>
              <a:gd name="T65" fmla="*/ 25 h 28"/>
              <a:gd name="T66" fmla="*/ 33 w 54"/>
              <a:gd name="T67" fmla="*/ 26 h 28"/>
              <a:gd name="T68" fmla="*/ 35 w 54"/>
              <a:gd name="T69" fmla="*/ 26 h 28"/>
              <a:gd name="T70" fmla="*/ 37 w 54"/>
              <a:gd name="T71" fmla="*/ 26 h 28"/>
              <a:gd name="T72" fmla="*/ 42 w 54"/>
              <a:gd name="T73" fmla="*/ 25 h 28"/>
              <a:gd name="T74" fmla="*/ 46 w 54"/>
              <a:gd name="T75" fmla="*/ 25 h 28"/>
              <a:gd name="T76" fmla="*/ 51 w 54"/>
              <a:gd name="T77" fmla="*/ 24 h 28"/>
              <a:gd name="T78" fmla="*/ 54 w 54"/>
              <a:gd name="T79" fmla="*/ 23 h 28"/>
              <a:gd name="T80" fmla="*/ 54 w 54"/>
              <a:gd name="T81" fmla="*/ 22 h 28"/>
              <a:gd name="T82" fmla="*/ 54 w 54"/>
              <a:gd name="T83" fmla="*/ 21 h 28"/>
              <a:gd name="T84" fmla="*/ 52 w 54"/>
              <a:gd name="T85" fmla="*/ 16 h 28"/>
              <a:gd name="T86" fmla="*/ 50 w 54"/>
              <a:gd name="T87" fmla="*/ 14 h 28"/>
              <a:gd name="T88" fmla="*/ 45 w 54"/>
              <a:gd name="T89" fmla="*/ 13 h 28"/>
              <a:gd name="T90" fmla="*/ 45 w 54"/>
              <a:gd name="T91" fmla="*/ 12 h 28"/>
              <a:gd name="T92" fmla="*/ 45 w 54"/>
              <a:gd name="T93" fmla="*/ 11 h 28"/>
              <a:gd name="T94" fmla="*/ 45 w 54"/>
              <a:gd name="T95" fmla="*/ 10 h 28"/>
              <a:gd name="T96" fmla="*/ 45 w 54"/>
              <a:gd name="T97" fmla="*/ 9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4" h="28">
                <a:moveTo>
                  <a:pt x="45" y="9"/>
                </a:moveTo>
                <a:lnTo>
                  <a:pt x="45" y="7"/>
                </a:lnTo>
                <a:lnTo>
                  <a:pt x="40" y="5"/>
                </a:lnTo>
                <a:lnTo>
                  <a:pt x="39" y="4"/>
                </a:lnTo>
                <a:lnTo>
                  <a:pt x="38" y="4"/>
                </a:lnTo>
                <a:lnTo>
                  <a:pt x="35" y="5"/>
                </a:lnTo>
                <a:lnTo>
                  <a:pt x="34" y="5"/>
                </a:lnTo>
                <a:lnTo>
                  <a:pt x="29" y="4"/>
                </a:lnTo>
                <a:lnTo>
                  <a:pt x="25" y="3"/>
                </a:lnTo>
                <a:lnTo>
                  <a:pt x="23" y="2"/>
                </a:lnTo>
                <a:lnTo>
                  <a:pt x="21" y="1"/>
                </a:lnTo>
                <a:lnTo>
                  <a:pt x="20" y="0"/>
                </a:lnTo>
                <a:lnTo>
                  <a:pt x="19" y="0"/>
                </a:lnTo>
                <a:lnTo>
                  <a:pt x="15" y="0"/>
                </a:lnTo>
                <a:lnTo>
                  <a:pt x="11" y="1"/>
                </a:lnTo>
                <a:lnTo>
                  <a:pt x="9" y="4"/>
                </a:lnTo>
                <a:lnTo>
                  <a:pt x="7" y="9"/>
                </a:lnTo>
                <a:lnTo>
                  <a:pt x="3" y="15"/>
                </a:lnTo>
                <a:lnTo>
                  <a:pt x="3" y="16"/>
                </a:lnTo>
                <a:lnTo>
                  <a:pt x="3" y="17"/>
                </a:lnTo>
                <a:lnTo>
                  <a:pt x="0" y="20"/>
                </a:lnTo>
                <a:lnTo>
                  <a:pt x="1" y="22"/>
                </a:lnTo>
                <a:lnTo>
                  <a:pt x="3" y="22"/>
                </a:lnTo>
                <a:lnTo>
                  <a:pt x="3" y="23"/>
                </a:lnTo>
                <a:lnTo>
                  <a:pt x="4" y="25"/>
                </a:lnTo>
                <a:lnTo>
                  <a:pt x="4" y="25"/>
                </a:lnTo>
                <a:lnTo>
                  <a:pt x="5" y="25"/>
                </a:lnTo>
                <a:lnTo>
                  <a:pt x="6" y="26"/>
                </a:lnTo>
                <a:lnTo>
                  <a:pt x="9" y="27"/>
                </a:lnTo>
                <a:lnTo>
                  <a:pt x="16" y="28"/>
                </a:lnTo>
                <a:lnTo>
                  <a:pt x="21" y="28"/>
                </a:lnTo>
                <a:lnTo>
                  <a:pt x="28" y="25"/>
                </a:lnTo>
                <a:lnTo>
                  <a:pt x="29" y="25"/>
                </a:lnTo>
                <a:lnTo>
                  <a:pt x="33" y="26"/>
                </a:lnTo>
                <a:lnTo>
                  <a:pt x="35" y="26"/>
                </a:lnTo>
                <a:lnTo>
                  <a:pt x="37" y="26"/>
                </a:lnTo>
                <a:lnTo>
                  <a:pt x="42" y="25"/>
                </a:lnTo>
                <a:lnTo>
                  <a:pt x="46" y="25"/>
                </a:lnTo>
                <a:lnTo>
                  <a:pt x="51" y="24"/>
                </a:lnTo>
                <a:lnTo>
                  <a:pt x="54" y="23"/>
                </a:lnTo>
                <a:lnTo>
                  <a:pt x="54" y="22"/>
                </a:lnTo>
                <a:lnTo>
                  <a:pt x="54" y="21"/>
                </a:lnTo>
                <a:lnTo>
                  <a:pt x="52" y="16"/>
                </a:lnTo>
                <a:lnTo>
                  <a:pt x="50" y="14"/>
                </a:lnTo>
                <a:lnTo>
                  <a:pt x="45" y="13"/>
                </a:lnTo>
                <a:lnTo>
                  <a:pt x="45" y="12"/>
                </a:lnTo>
                <a:lnTo>
                  <a:pt x="45" y="11"/>
                </a:lnTo>
                <a:lnTo>
                  <a:pt x="45" y="10"/>
                </a:lnTo>
                <a:lnTo>
                  <a:pt x="45" y="9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44" name="Freeform 744"/>
          <p:cNvSpPr>
            <a:spLocks/>
          </p:cNvSpPr>
          <p:nvPr/>
        </p:nvSpPr>
        <p:spPr bwMode="auto">
          <a:xfrm>
            <a:off x="6535738" y="2763803"/>
            <a:ext cx="85725" cy="44450"/>
          </a:xfrm>
          <a:custGeom>
            <a:avLst/>
            <a:gdLst>
              <a:gd name="T0" fmla="*/ 45 w 54"/>
              <a:gd name="T1" fmla="*/ 9 h 28"/>
              <a:gd name="T2" fmla="*/ 45 w 54"/>
              <a:gd name="T3" fmla="*/ 7 h 28"/>
              <a:gd name="T4" fmla="*/ 40 w 54"/>
              <a:gd name="T5" fmla="*/ 5 h 28"/>
              <a:gd name="T6" fmla="*/ 39 w 54"/>
              <a:gd name="T7" fmla="*/ 4 h 28"/>
              <a:gd name="T8" fmla="*/ 38 w 54"/>
              <a:gd name="T9" fmla="*/ 4 h 28"/>
              <a:gd name="T10" fmla="*/ 35 w 54"/>
              <a:gd name="T11" fmla="*/ 5 h 28"/>
              <a:gd name="T12" fmla="*/ 34 w 54"/>
              <a:gd name="T13" fmla="*/ 5 h 28"/>
              <a:gd name="T14" fmla="*/ 29 w 54"/>
              <a:gd name="T15" fmla="*/ 4 h 28"/>
              <a:gd name="T16" fmla="*/ 25 w 54"/>
              <a:gd name="T17" fmla="*/ 3 h 28"/>
              <a:gd name="T18" fmla="*/ 23 w 54"/>
              <a:gd name="T19" fmla="*/ 2 h 28"/>
              <a:gd name="T20" fmla="*/ 21 w 54"/>
              <a:gd name="T21" fmla="*/ 1 h 28"/>
              <a:gd name="T22" fmla="*/ 20 w 54"/>
              <a:gd name="T23" fmla="*/ 0 h 28"/>
              <a:gd name="T24" fmla="*/ 19 w 54"/>
              <a:gd name="T25" fmla="*/ 0 h 28"/>
              <a:gd name="T26" fmla="*/ 15 w 54"/>
              <a:gd name="T27" fmla="*/ 0 h 28"/>
              <a:gd name="T28" fmla="*/ 11 w 54"/>
              <a:gd name="T29" fmla="*/ 1 h 28"/>
              <a:gd name="T30" fmla="*/ 9 w 54"/>
              <a:gd name="T31" fmla="*/ 4 h 28"/>
              <a:gd name="T32" fmla="*/ 7 w 54"/>
              <a:gd name="T33" fmla="*/ 9 h 28"/>
              <a:gd name="T34" fmla="*/ 3 w 54"/>
              <a:gd name="T35" fmla="*/ 15 h 28"/>
              <a:gd name="T36" fmla="*/ 3 w 54"/>
              <a:gd name="T37" fmla="*/ 16 h 28"/>
              <a:gd name="T38" fmla="*/ 3 w 54"/>
              <a:gd name="T39" fmla="*/ 17 h 28"/>
              <a:gd name="T40" fmla="*/ 0 w 54"/>
              <a:gd name="T41" fmla="*/ 20 h 28"/>
              <a:gd name="T42" fmla="*/ 1 w 54"/>
              <a:gd name="T43" fmla="*/ 22 h 28"/>
              <a:gd name="T44" fmla="*/ 3 w 54"/>
              <a:gd name="T45" fmla="*/ 22 h 28"/>
              <a:gd name="T46" fmla="*/ 3 w 54"/>
              <a:gd name="T47" fmla="*/ 23 h 28"/>
              <a:gd name="T48" fmla="*/ 4 w 54"/>
              <a:gd name="T49" fmla="*/ 25 h 28"/>
              <a:gd name="T50" fmla="*/ 4 w 54"/>
              <a:gd name="T51" fmla="*/ 25 h 28"/>
              <a:gd name="T52" fmla="*/ 5 w 54"/>
              <a:gd name="T53" fmla="*/ 25 h 28"/>
              <a:gd name="T54" fmla="*/ 6 w 54"/>
              <a:gd name="T55" fmla="*/ 26 h 28"/>
              <a:gd name="T56" fmla="*/ 9 w 54"/>
              <a:gd name="T57" fmla="*/ 27 h 28"/>
              <a:gd name="T58" fmla="*/ 16 w 54"/>
              <a:gd name="T59" fmla="*/ 28 h 28"/>
              <a:gd name="T60" fmla="*/ 21 w 54"/>
              <a:gd name="T61" fmla="*/ 28 h 28"/>
              <a:gd name="T62" fmla="*/ 28 w 54"/>
              <a:gd name="T63" fmla="*/ 25 h 28"/>
              <a:gd name="T64" fmla="*/ 29 w 54"/>
              <a:gd name="T65" fmla="*/ 25 h 28"/>
              <a:gd name="T66" fmla="*/ 33 w 54"/>
              <a:gd name="T67" fmla="*/ 26 h 28"/>
              <a:gd name="T68" fmla="*/ 35 w 54"/>
              <a:gd name="T69" fmla="*/ 26 h 28"/>
              <a:gd name="T70" fmla="*/ 37 w 54"/>
              <a:gd name="T71" fmla="*/ 26 h 28"/>
              <a:gd name="T72" fmla="*/ 42 w 54"/>
              <a:gd name="T73" fmla="*/ 25 h 28"/>
              <a:gd name="T74" fmla="*/ 46 w 54"/>
              <a:gd name="T75" fmla="*/ 25 h 28"/>
              <a:gd name="T76" fmla="*/ 51 w 54"/>
              <a:gd name="T77" fmla="*/ 24 h 28"/>
              <a:gd name="T78" fmla="*/ 54 w 54"/>
              <a:gd name="T79" fmla="*/ 23 h 28"/>
              <a:gd name="T80" fmla="*/ 54 w 54"/>
              <a:gd name="T81" fmla="*/ 22 h 28"/>
              <a:gd name="T82" fmla="*/ 54 w 54"/>
              <a:gd name="T83" fmla="*/ 21 h 28"/>
              <a:gd name="T84" fmla="*/ 52 w 54"/>
              <a:gd name="T85" fmla="*/ 16 h 28"/>
              <a:gd name="T86" fmla="*/ 50 w 54"/>
              <a:gd name="T87" fmla="*/ 14 h 28"/>
              <a:gd name="T88" fmla="*/ 45 w 54"/>
              <a:gd name="T89" fmla="*/ 13 h 28"/>
              <a:gd name="T90" fmla="*/ 45 w 54"/>
              <a:gd name="T91" fmla="*/ 12 h 28"/>
              <a:gd name="T92" fmla="*/ 45 w 54"/>
              <a:gd name="T93" fmla="*/ 11 h 28"/>
              <a:gd name="T94" fmla="*/ 45 w 54"/>
              <a:gd name="T95" fmla="*/ 10 h 28"/>
              <a:gd name="T96" fmla="*/ 45 w 54"/>
              <a:gd name="T97" fmla="*/ 9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4" h="28">
                <a:moveTo>
                  <a:pt x="45" y="9"/>
                </a:moveTo>
                <a:lnTo>
                  <a:pt x="45" y="7"/>
                </a:lnTo>
                <a:lnTo>
                  <a:pt x="40" y="5"/>
                </a:lnTo>
                <a:lnTo>
                  <a:pt x="39" y="4"/>
                </a:lnTo>
                <a:lnTo>
                  <a:pt x="38" y="4"/>
                </a:lnTo>
                <a:lnTo>
                  <a:pt x="35" y="5"/>
                </a:lnTo>
                <a:lnTo>
                  <a:pt x="34" y="5"/>
                </a:lnTo>
                <a:lnTo>
                  <a:pt x="29" y="4"/>
                </a:lnTo>
                <a:lnTo>
                  <a:pt x="25" y="3"/>
                </a:lnTo>
                <a:lnTo>
                  <a:pt x="23" y="2"/>
                </a:lnTo>
                <a:lnTo>
                  <a:pt x="21" y="1"/>
                </a:lnTo>
                <a:lnTo>
                  <a:pt x="20" y="0"/>
                </a:lnTo>
                <a:lnTo>
                  <a:pt x="19" y="0"/>
                </a:lnTo>
                <a:lnTo>
                  <a:pt x="15" y="0"/>
                </a:lnTo>
                <a:lnTo>
                  <a:pt x="11" y="1"/>
                </a:lnTo>
                <a:lnTo>
                  <a:pt x="9" y="4"/>
                </a:lnTo>
                <a:lnTo>
                  <a:pt x="7" y="9"/>
                </a:lnTo>
                <a:lnTo>
                  <a:pt x="3" y="15"/>
                </a:lnTo>
                <a:lnTo>
                  <a:pt x="3" y="16"/>
                </a:lnTo>
                <a:lnTo>
                  <a:pt x="3" y="17"/>
                </a:lnTo>
                <a:lnTo>
                  <a:pt x="0" y="20"/>
                </a:lnTo>
                <a:lnTo>
                  <a:pt x="1" y="22"/>
                </a:lnTo>
                <a:lnTo>
                  <a:pt x="3" y="22"/>
                </a:lnTo>
                <a:lnTo>
                  <a:pt x="3" y="23"/>
                </a:lnTo>
                <a:lnTo>
                  <a:pt x="4" y="25"/>
                </a:lnTo>
                <a:lnTo>
                  <a:pt x="4" y="25"/>
                </a:lnTo>
                <a:lnTo>
                  <a:pt x="5" y="25"/>
                </a:lnTo>
                <a:lnTo>
                  <a:pt x="6" y="26"/>
                </a:lnTo>
                <a:lnTo>
                  <a:pt x="9" y="27"/>
                </a:lnTo>
                <a:lnTo>
                  <a:pt x="16" y="28"/>
                </a:lnTo>
                <a:lnTo>
                  <a:pt x="21" y="28"/>
                </a:lnTo>
                <a:lnTo>
                  <a:pt x="28" y="25"/>
                </a:lnTo>
                <a:lnTo>
                  <a:pt x="29" y="25"/>
                </a:lnTo>
                <a:lnTo>
                  <a:pt x="33" y="26"/>
                </a:lnTo>
                <a:lnTo>
                  <a:pt x="35" y="26"/>
                </a:lnTo>
                <a:lnTo>
                  <a:pt x="37" y="26"/>
                </a:lnTo>
                <a:lnTo>
                  <a:pt x="42" y="25"/>
                </a:lnTo>
                <a:lnTo>
                  <a:pt x="46" y="25"/>
                </a:lnTo>
                <a:lnTo>
                  <a:pt x="51" y="24"/>
                </a:lnTo>
                <a:lnTo>
                  <a:pt x="54" y="23"/>
                </a:lnTo>
                <a:lnTo>
                  <a:pt x="54" y="22"/>
                </a:lnTo>
                <a:lnTo>
                  <a:pt x="54" y="21"/>
                </a:lnTo>
                <a:lnTo>
                  <a:pt x="52" y="16"/>
                </a:lnTo>
                <a:lnTo>
                  <a:pt x="50" y="14"/>
                </a:lnTo>
                <a:lnTo>
                  <a:pt x="45" y="13"/>
                </a:lnTo>
                <a:lnTo>
                  <a:pt x="45" y="12"/>
                </a:lnTo>
                <a:lnTo>
                  <a:pt x="45" y="11"/>
                </a:lnTo>
                <a:lnTo>
                  <a:pt x="45" y="10"/>
                </a:lnTo>
                <a:lnTo>
                  <a:pt x="45" y="9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45" name="Freeform 745"/>
          <p:cNvSpPr>
            <a:spLocks/>
          </p:cNvSpPr>
          <p:nvPr/>
        </p:nvSpPr>
        <p:spPr bwMode="auto">
          <a:xfrm>
            <a:off x="4773613" y="2246278"/>
            <a:ext cx="103187" cy="123825"/>
          </a:xfrm>
          <a:custGeom>
            <a:avLst/>
            <a:gdLst>
              <a:gd name="T0" fmla="*/ 2 w 65"/>
              <a:gd name="T1" fmla="*/ 8 h 78"/>
              <a:gd name="T2" fmla="*/ 3 w 65"/>
              <a:gd name="T3" fmla="*/ 9 h 78"/>
              <a:gd name="T4" fmla="*/ 3 w 65"/>
              <a:gd name="T5" fmla="*/ 12 h 78"/>
              <a:gd name="T6" fmla="*/ 5 w 65"/>
              <a:gd name="T7" fmla="*/ 12 h 78"/>
              <a:gd name="T8" fmla="*/ 4 w 65"/>
              <a:gd name="T9" fmla="*/ 13 h 78"/>
              <a:gd name="T10" fmla="*/ 4 w 65"/>
              <a:gd name="T11" fmla="*/ 14 h 78"/>
              <a:gd name="T12" fmla="*/ 5 w 65"/>
              <a:gd name="T13" fmla="*/ 15 h 78"/>
              <a:gd name="T14" fmla="*/ 9 w 65"/>
              <a:gd name="T15" fmla="*/ 16 h 78"/>
              <a:gd name="T16" fmla="*/ 11 w 65"/>
              <a:gd name="T17" fmla="*/ 16 h 78"/>
              <a:gd name="T18" fmla="*/ 9 w 65"/>
              <a:gd name="T19" fmla="*/ 17 h 78"/>
              <a:gd name="T20" fmla="*/ 7 w 65"/>
              <a:gd name="T21" fmla="*/ 18 h 78"/>
              <a:gd name="T22" fmla="*/ 7 w 65"/>
              <a:gd name="T23" fmla="*/ 22 h 78"/>
              <a:gd name="T24" fmla="*/ 12 w 65"/>
              <a:gd name="T25" fmla="*/ 24 h 78"/>
              <a:gd name="T26" fmla="*/ 10 w 65"/>
              <a:gd name="T27" fmla="*/ 27 h 78"/>
              <a:gd name="T28" fmla="*/ 9 w 65"/>
              <a:gd name="T29" fmla="*/ 30 h 78"/>
              <a:gd name="T30" fmla="*/ 9 w 65"/>
              <a:gd name="T31" fmla="*/ 34 h 78"/>
              <a:gd name="T32" fmla="*/ 12 w 65"/>
              <a:gd name="T33" fmla="*/ 34 h 78"/>
              <a:gd name="T34" fmla="*/ 13 w 65"/>
              <a:gd name="T35" fmla="*/ 36 h 78"/>
              <a:gd name="T36" fmla="*/ 14 w 65"/>
              <a:gd name="T37" fmla="*/ 37 h 78"/>
              <a:gd name="T38" fmla="*/ 16 w 65"/>
              <a:gd name="T39" fmla="*/ 38 h 78"/>
              <a:gd name="T40" fmla="*/ 12 w 65"/>
              <a:gd name="T41" fmla="*/ 39 h 78"/>
              <a:gd name="T42" fmla="*/ 12 w 65"/>
              <a:gd name="T43" fmla="*/ 39 h 78"/>
              <a:gd name="T44" fmla="*/ 15 w 65"/>
              <a:gd name="T45" fmla="*/ 44 h 78"/>
              <a:gd name="T46" fmla="*/ 14 w 65"/>
              <a:gd name="T47" fmla="*/ 46 h 78"/>
              <a:gd name="T48" fmla="*/ 13 w 65"/>
              <a:gd name="T49" fmla="*/ 47 h 78"/>
              <a:gd name="T50" fmla="*/ 10 w 65"/>
              <a:gd name="T51" fmla="*/ 48 h 78"/>
              <a:gd name="T52" fmla="*/ 9 w 65"/>
              <a:gd name="T53" fmla="*/ 47 h 78"/>
              <a:gd name="T54" fmla="*/ 9 w 65"/>
              <a:gd name="T55" fmla="*/ 49 h 78"/>
              <a:gd name="T56" fmla="*/ 10 w 65"/>
              <a:gd name="T57" fmla="*/ 53 h 78"/>
              <a:gd name="T58" fmla="*/ 9 w 65"/>
              <a:gd name="T59" fmla="*/ 53 h 78"/>
              <a:gd name="T60" fmla="*/ 6 w 65"/>
              <a:gd name="T61" fmla="*/ 50 h 78"/>
              <a:gd name="T62" fmla="*/ 3 w 65"/>
              <a:gd name="T63" fmla="*/ 54 h 78"/>
              <a:gd name="T64" fmla="*/ 2 w 65"/>
              <a:gd name="T65" fmla="*/ 57 h 78"/>
              <a:gd name="T66" fmla="*/ 1 w 65"/>
              <a:gd name="T67" fmla="*/ 59 h 78"/>
              <a:gd name="T68" fmla="*/ 3 w 65"/>
              <a:gd name="T69" fmla="*/ 63 h 78"/>
              <a:gd name="T70" fmla="*/ 2 w 65"/>
              <a:gd name="T71" fmla="*/ 67 h 78"/>
              <a:gd name="T72" fmla="*/ 12 w 65"/>
              <a:gd name="T73" fmla="*/ 74 h 78"/>
              <a:gd name="T74" fmla="*/ 16 w 65"/>
              <a:gd name="T75" fmla="*/ 75 h 78"/>
              <a:gd name="T76" fmla="*/ 18 w 65"/>
              <a:gd name="T77" fmla="*/ 67 h 78"/>
              <a:gd name="T78" fmla="*/ 26 w 65"/>
              <a:gd name="T79" fmla="*/ 67 h 78"/>
              <a:gd name="T80" fmla="*/ 34 w 65"/>
              <a:gd name="T81" fmla="*/ 75 h 78"/>
              <a:gd name="T82" fmla="*/ 36 w 65"/>
              <a:gd name="T83" fmla="*/ 74 h 78"/>
              <a:gd name="T84" fmla="*/ 42 w 65"/>
              <a:gd name="T85" fmla="*/ 70 h 78"/>
              <a:gd name="T86" fmla="*/ 44 w 65"/>
              <a:gd name="T87" fmla="*/ 72 h 78"/>
              <a:gd name="T88" fmla="*/ 52 w 65"/>
              <a:gd name="T89" fmla="*/ 70 h 78"/>
              <a:gd name="T90" fmla="*/ 60 w 65"/>
              <a:gd name="T91" fmla="*/ 72 h 78"/>
              <a:gd name="T92" fmla="*/ 65 w 65"/>
              <a:gd name="T93" fmla="*/ 56 h 78"/>
              <a:gd name="T94" fmla="*/ 56 w 65"/>
              <a:gd name="T95" fmla="*/ 44 h 78"/>
              <a:gd name="T96" fmla="*/ 58 w 65"/>
              <a:gd name="T97" fmla="*/ 36 h 78"/>
              <a:gd name="T98" fmla="*/ 56 w 65"/>
              <a:gd name="T99" fmla="*/ 27 h 78"/>
              <a:gd name="T100" fmla="*/ 42 w 65"/>
              <a:gd name="T101" fmla="*/ 25 h 78"/>
              <a:gd name="T102" fmla="*/ 37 w 65"/>
              <a:gd name="T103" fmla="*/ 17 h 78"/>
              <a:gd name="T104" fmla="*/ 31 w 65"/>
              <a:gd name="T105" fmla="*/ 9 h 78"/>
              <a:gd name="T106" fmla="*/ 22 w 65"/>
              <a:gd name="T107" fmla="*/ 3 h 78"/>
              <a:gd name="T108" fmla="*/ 16 w 65"/>
              <a:gd name="T109" fmla="*/ 2 h 78"/>
              <a:gd name="T110" fmla="*/ 5 w 65"/>
              <a:gd name="T111" fmla="*/ 4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5" h="78">
                <a:moveTo>
                  <a:pt x="0" y="5"/>
                </a:moveTo>
                <a:lnTo>
                  <a:pt x="2" y="7"/>
                </a:lnTo>
                <a:lnTo>
                  <a:pt x="2" y="8"/>
                </a:lnTo>
                <a:lnTo>
                  <a:pt x="2" y="8"/>
                </a:lnTo>
                <a:lnTo>
                  <a:pt x="3" y="9"/>
                </a:lnTo>
                <a:lnTo>
                  <a:pt x="3" y="9"/>
                </a:lnTo>
                <a:lnTo>
                  <a:pt x="2" y="10"/>
                </a:lnTo>
                <a:lnTo>
                  <a:pt x="2" y="12"/>
                </a:lnTo>
                <a:lnTo>
                  <a:pt x="3" y="12"/>
                </a:lnTo>
                <a:lnTo>
                  <a:pt x="4" y="10"/>
                </a:lnTo>
                <a:lnTo>
                  <a:pt x="4" y="10"/>
                </a:lnTo>
                <a:lnTo>
                  <a:pt x="5" y="12"/>
                </a:lnTo>
                <a:lnTo>
                  <a:pt x="5" y="12"/>
                </a:lnTo>
                <a:lnTo>
                  <a:pt x="5" y="13"/>
                </a:lnTo>
                <a:lnTo>
                  <a:pt x="4" y="13"/>
                </a:lnTo>
                <a:lnTo>
                  <a:pt x="4" y="13"/>
                </a:lnTo>
                <a:lnTo>
                  <a:pt x="4" y="14"/>
                </a:lnTo>
                <a:lnTo>
                  <a:pt x="4" y="14"/>
                </a:lnTo>
                <a:lnTo>
                  <a:pt x="4" y="15"/>
                </a:lnTo>
                <a:lnTo>
                  <a:pt x="4" y="15"/>
                </a:lnTo>
                <a:lnTo>
                  <a:pt x="5" y="15"/>
                </a:lnTo>
                <a:lnTo>
                  <a:pt x="6" y="15"/>
                </a:lnTo>
                <a:lnTo>
                  <a:pt x="6" y="16"/>
                </a:lnTo>
                <a:lnTo>
                  <a:pt x="9" y="16"/>
                </a:lnTo>
                <a:lnTo>
                  <a:pt x="9" y="16"/>
                </a:lnTo>
                <a:lnTo>
                  <a:pt x="10" y="16"/>
                </a:lnTo>
                <a:lnTo>
                  <a:pt x="11" y="16"/>
                </a:lnTo>
                <a:lnTo>
                  <a:pt x="11" y="17"/>
                </a:lnTo>
                <a:lnTo>
                  <a:pt x="10" y="17"/>
                </a:lnTo>
                <a:lnTo>
                  <a:pt x="9" y="17"/>
                </a:lnTo>
                <a:lnTo>
                  <a:pt x="9" y="17"/>
                </a:lnTo>
                <a:lnTo>
                  <a:pt x="7" y="17"/>
                </a:lnTo>
                <a:lnTo>
                  <a:pt x="7" y="18"/>
                </a:lnTo>
                <a:lnTo>
                  <a:pt x="6" y="19"/>
                </a:lnTo>
                <a:lnTo>
                  <a:pt x="7" y="20"/>
                </a:lnTo>
                <a:lnTo>
                  <a:pt x="7" y="22"/>
                </a:lnTo>
                <a:lnTo>
                  <a:pt x="7" y="23"/>
                </a:lnTo>
                <a:lnTo>
                  <a:pt x="11" y="23"/>
                </a:lnTo>
                <a:lnTo>
                  <a:pt x="12" y="24"/>
                </a:lnTo>
                <a:lnTo>
                  <a:pt x="11" y="24"/>
                </a:lnTo>
                <a:lnTo>
                  <a:pt x="11" y="25"/>
                </a:lnTo>
                <a:lnTo>
                  <a:pt x="10" y="27"/>
                </a:lnTo>
                <a:lnTo>
                  <a:pt x="9" y="29"/>
                </a:lnTo>
                <a:lnTo>
                  <a:pt x="9" y="29"/>
                </a:lnTo>
                <a:lnTo>
                  <a:pt x="9" y="30"/>
                </a:lnTo>
                <a:lnTo>
                  <a:pt x="9" y="30"/>
                </a:lnTo>
                <a:lnTo>
                  <a:pt x="9" y="32"/>
                </a:lnTo>
                <a:lnTo>
                  <a:pt x="9" y="34"/>
                </a:lnTo>
                <a:lnTo>
                  <a:pt x="10" y="34"/>
                </a:lnTo>
                <a:lnTo>
                  <a:pt x="11" y="34"/>
                </a:lnTo>
                <a:lnTo>
                  <a:pt x="12" y="34"/>
                </a:lnTo>
                <a:lnTo>
                  <a:pt x="12" y="35"/>
                </a:lnTo>
                <a:lnTo>
                  <a:pt x="12" y="35"/>
                </a:lnTo>
                <a:lnTo>
                  <a:pt x="13" y="36"/>
                </a:lnTo>
                <a:lnTo>
                  <a:pt x="14" y="36"/>
                </a:lnTo>
                <a:lnTo>
                  <a:pt x="14" y="36"/>
                </a:lnTo>
                <a:lnTo>
                  <a:pt x="14" y="37"/>
                </a:lnTo>
                <a:lnTo>
                  <a:pt x="15" y="38"/>
                </a:lnTo>
                <a:lnTo>
                  <a:pt x="16" y="38"/>
                </a:lnTo>
                <a:lnTo>
                  <a:pt x="16" y="38"/>
                </a:lnTo>
                <a:lnTo>
                  <a:pt x="15" y="39"/>
                </a:lnTo>
                <a:lnTo>
                  <a:pt x="13" y="39"/>
                </a:lnTo>
                <a:lnTo>
                  <a:pt x="12" y="39"/>
                </a:lnTo>
                <a:lnTo>
                  <a:pt x="11" y="39"/>
                </a:lnTo>
                <a:lnTo>
                  <a:pt x="11" y="39"/>
                </a:lnTo>
                <a:lnTo>
                  <a:pt x="12" y="39"/>
                </a:lnTo>
                <a:lnTo>
                  <a:pt x="13" y="42"/>
                </a:lnTo>
                <a:lnTo>
                  <a:pt x="15" y="44"/>
                </a:lnTo>
                <a:lnTo>
                  <a:pt x="15" y="44"/>
                </a:lnTo>
                <a:lnTo>
                  <a:pt x="15" y="46"/>
                </a:lnTo>
                <a:lnTo>
                  <a:pt x="15" y="46"/>
                </a:lnTo>
                <a:lnTo>
                  <a:pt x="14" y="46"/>
                </a:lnTo>
                <a:lnTo>
                  <a:pt x="14" y="46"/>
                </a:lnTo>
                <a:lnTo>
                  <a:pt x="13" y="46"/>
                </a:lnTo>
                <a:lnTo>
                  <a:pt x="13" y="47"/>
                </a:lnTo>
                <a:lnTo>
                  <a:pt x="12" y="47"/>
                </a:lnTo>
                <a:lnTo>
                  <a:pt x="11" y="47"/>
                </a:lnTo>
                <a:lnTo>
                  <a:pt x="10" y="48"/>
                </a:lnTo>
                <a:lnTo>
                  <a:pt x="10" y="48"/>
                </a:lnTo>
                <a:lnTo>
                  <a:pt x="9" y="47"/>
                </a:lnTo>
                <a:lnTo>
                  <a:pt x="9" y="47"/>
                </a:lnTo>
                <a:lnTo>
                  <a:pt x="7" y="48"/>
                </a:lnTo>
                <a:lnTo>
                  <a:pt x="7" y="48"/>
                </a:lnTo>
                <a:lnTo>
                  <a:pt x="9" y="49"/>
                </a:lnTo>
                <a:lnTo>
                  <a:pt x="9" y="50"/>
                </a:lnTo>
                <a:lnTo>
                  <a:pt x="10" y="50"/>
                </a:lnTo>
                <a:lnTo>
                  <a:pt x="10" y="53"/>
                </a:lnTo>
                <a:lnTo>
                  <a:pt x="10" y="53"/>
                </a:lnTo>
                <a:lnTo>
                  <a:pt x="9" y="53"/>
                </a:lnTo>
                <a:lnTo>
                  <a:pt x="9" y="53"/>
                </a:lnTo>
                <a:lnTo>
                  <a:pt x="7" y="52"/>
                </a:lnTo>
                <a:lnTo>
                  <a:pt x="7" y="50"/>
                </a:lnTo>
                <a:lnTo>
                  <a:pt x="6" y="50"/>
                </a:lnTo>
                <a:lnTo>
                  <a:pt x="4" y="53"/>
                </a:lnTo>
                <a:lnTo>
                  <a:pt x="4" y="54"/>
                </a:lnTo>
                <a:lnTo>
                  <a:pt x="3" y="54"/>
                </a:lnTo>
                <a:lnTo>
                  <a:pt x="4" y="56"/>
                </a:lnTo>
                <a:lnTo>
                  <a:pt x="3" y="57"/>
                </a:lnTo>
                <a:lnTo>
                  <a:pt x="2" y="57"/>
                </a:lnTo>
                <a:lnTo>
                  <a:pt x="1" y="57"/>
                </a:lnTo>
                <a:lnTo>
                  <a:pt x="1" y="59"/>
                </a:lnTo>
                <a:lnTo>
                  <a:pt x="1" y="59"/>
                </a:lnTo>
                <a:lnTo>
                  <a:pt x="1" y="60"/>
                </a:lnTo>
                <a:lnTo>
                  <a:pt x="2" y="62"/>
                </a:lnTo>
                <a:lnTo>
                  <a:pt x="3" y="63"/>
                </a:lnTo>
                <a:lnTo>
                  <a:pt x="3" y="64"/>
                </a:lnTo>
                <a:lnTo>
                  <a:pt x="2" y="65"/>
                </a:lnTo>
                <a:lnTo>
                  <a:pt x="2" y="67"/>
                </a:lnTo>
                <a:lnTo>
                  <a:pt x="6" y="70"/>
                </a:lnTo>
                <a:lnTo>
                  <a:pt x="10" y="73"/>
                </a:lnTo>
                <a:lnTo>
                  <a:pt x="12" y="74"/>
                </a:lnTo>
                <a:lnTo>
                  <a:pt x="14" y="77"/>
                </a:lnTo>
                <a:lnTo>
                  <a:pt x="15" y="78"/>
                </a:lnTo>
                <a:lnTo>
                  <a:pt x="16" y="75"/>
                </a:lnTo>
                <a:lnTo>
                  <a:pt x="15" y="72"/>
                </a:lnTo>
                <a:lnTo>
                  <a:pt x="16" y="68"/>
                </a:lnTo>
                <a:lnTo>
                  <a:pt x="18" y="67"/>
                </a:lnTo>
                <a:lnTo>
                  <a:pt x="20" y="65"/>
                </a:lnTo>
                <a:lnTo>
                  <a:pt x="22" y="66"/>
                </a:lnTo>
                <a:lnTo>
                  <a:pt x="26" y="67"/>
                </a:lnTo>
                <a:lnTo>
                  <a:pt x="27" y="69"/>
                </a:lnTo>
                <a:lnTo>
                  <a:pt x="31" y="70"/>
                </a:lnTo>
                <a:lnTo>
                  <a:pt x="34" y="75"/>
                </a:lnTo>
                <a:lnTo>
                  <a:pt x="35" y="75"/>
                </a:lnTo>
                <a:lnTo>
                  <a:pt x="35" y="75"/>
                </a:lnTo>
                <a:lnTo>
                  <a:pt x="36" y="74"/>
                </a:lnTo>
                <a:lnTo>
                  <a:pt x="36" y="72"/>
                </a:lnTo>
                <a:lnTo>
                  <a:pt x="41" y="70"/>
                </a:lnTo>
                <a:lnTo>
                  <a:pt x="42" y="70"/>
                </a:lnTo>
                <a:lnTo>
                  <a:pt x="44" y="73"/>
                </a:lnTo>
                <a:lnTo>
                  <a:pt x="44" y="73"/>
                </a:lnTo>
                <a:lnTo>
                  <a:pt x="44" y="72"/>
                </a:lnTo>
                <a:lnTo>
                  <a:pt x="46" y="70"/>
                </a:lnTo>
                <a:lnTo>
                  <a:pt x="51" y="72"/>
                </a:lnTo>
                <a:lnTo>
                  <a:pt x="52" y="70"/>
                </a:lnTo>
                <a:lnTo>
                  <a:pt x="55" y="70"/>
                </a:lnTo>
                <a:lnTo>
                  <a:pt x="58" y="70"/>
                </a:lnTo>
                <a:lnTo>
                  <a:pt x="60" y="72"/>
                </a:lnTo>
                <a:lnTo>
                  <a:pt x="60" y="65"/>
                </a:lnTo>
                <a:lnTo>
                  <a:pt x="62" y="59"/>
                </a:lnTo>
                <a:lnTo>
                  <a:pt x="65" y="56"/>
                </a:lnTo>
                <a:lnTo>
                  <a:pt x="61" y="53"/>
                </a:lnTo>
                <a:lnTo>
                  <a:pt x="57" y="49"/>
                </a:lnTo>
                <a:lnTo>
                  <a:pt x="56" y="44"/>
                </a:lnTo>
                <a:lnTo>
                  <a:pt x="56" y="39"/>
                </a:lnTo>
                <a:lnTo>
                  <a:pt x="61" y="37"/>
                </a:lnTo>
                <a:lnTo>
                  <a:pt x="58" y="36"/>
                </a:lnTo>
                <a:lnTo>
                  <a:pt x="56" y="33"/>
                </a:lnTo>
                <a:lnTo>
                  <a:pt x="58" y="30"/>
                </a:lnTo>
                <a:lnTo>
                  <a:pt x="56" y="27"/>
                </a:lnTo>
                <a:lnTo>
                  <a:pt x="53" y="29"/>
                </a:lnTo>
                <a:lnTo>
                  <a:pt x="45" y="27"/>
                </a:lnTo>
                <a:lnTo>
                  <a:pt x="42" y="25"/>
                </a:lnTo>
                <a:lnTo>
                  <a:pt x="41" y="20"/>
                </a:lnTo>
                <a:lnTo>
                  <a:pt x="40" y="19"/>
                </a:lnTo>
                <a:lnTo>
                  <a:pt x="37" y="17"/>
                </a:lnTo>
                <a:lnTo>
                  <a:pt x="35" y="17"/>
                </a:lnTo>
                <a:lnTo>
                  <a:pt x="32" y="14"/>
                </a:lnTo>
                <a:lnTo>
                  <a:pt x="31" y="9"/>
                </a:lnTo>
                <a:lnTo>
                  <a:pt x="28" y="7"/>
                </a:lnTo>
                <a:lnTo>
                  <a:pt x="26" y="4"/>
                </a:lnTo>
                <a:lnTo>
                  <a:pt x="22" y="3"/>
                </a:lnTo>
                <a:lnTo>
                  <a:pt x="21" y="2"/>
                </a:lnTo>
                <a:lnTo>
                  <a:pt x="18" y="0"/>
                </a:lnTo>
                <a:lnTo>
                  <a:pt x="16" y="2"/>
                </a:lnTo>
                <a:lnTo>
                  <a:pt x="13" y="2"/>
                </a:lnTo>
                <a:lnTo>
                  <a:pt x="9" y="4"/>
                </a:lnTo>
                <a:lnTo>
                  <a:pt x="5" y="4"/>
                </a:lnTo>
                <a:lnTo>
                  <a:pt x="4" y="5"/>
                </a:lnTo>
                <a:lnTo>
                  <a:pt x="0" y="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46" name="Freeform 746"/>
          <p:cNvSpPr>
            <a:spLocks/>
          </p:cNvSpPr>
          <p:nvPr/>
        </p:nvSpPr>
        <p:spPr bwMode="auto">
          <a:xfrm>
            <a:off x="4773613" y="2246278"/>
            <a:ext cx="103187" cy="123825"/>
          </a:xfrm>
          <a:custGeom>
            <a:avLst/>
            <a:gdLst>
              <a:gd name="T0" fmla="*/ 2 w 65"/>
              <a:gd name="T1" fmla="*/ 8 h 78"/>
              <a:gd name="T2" fmla="*/ 3 w 65"/>
              <a:gd name="T3" fmla="*/ 9 h 78"/>
              <a:gd name="T4" fmla="*/ 3 w 65"/>
              <a:gd name="T5" fmla="*/ 12 h 78"/>
              <a:gd name="T6" fmla="*/ 5 w 65"/>
              <a:gd name="T7" fmla="*/ 12 h 78"/>
              <a:gd name="T8" fmla="*/ 4 w 65"/>
              <a:gd name="T9" fmla="*/ 13 h 78"/>
              <a:gd name="T10" fmla="*/ 4 w 65"/>
              <a:gd name="T11" fmla="*/ 14 h 78"/>
              <a:gd name="T12" fmla="*/ 5 w 65"/>
              <a:gd name="T13" fmla="*/ 15 h 78"/>
              <a:gd name="T14" fmla="*/ 9 w 65"/>
              <a:gd name="T15" fmla="*/ 16 h 78"/>
              <a:gd name="T16" fmla="*/ 11 w 65"/>
              <a:gd name="T17" fmla="*/ 16 h 78"/>
              <a:gd name="T18" fmla="*/ 9 w 65"/>
              <a:gd name="T19" fmla="*/ 17 h 78"/>
              <a:gd name="T20" fmla="*/ 7 w 65"/>
              <a:gd name="T21" fmla="*/ 18 h 78"/>
              <a:gd name="T22" fmla="*/ 7 w 65"/>
              <a:gd name="T23" fmla="*/ 22 h 78"/>
              <a:gd name="T24" fmla="*/ 12 w 65"/>
              <a:gd name="T25" fmla="*/ 24 h 78"/>
              <a:gd name="T26" fmla="*/ 10 w 65"/>
              <a:gd name="T27" fmla="*/ 27 h 78"/>
              <a:gd name="T28" fmla="*/ 9 w 65"/>
              <a:gd name="T29" fmla="*/ 30 h 78"/>
              <a:gd name="T30" fmla="*/ 9 w 65"/>
              <a:gd name="T31" fmla="*/ 34 h 78"/>
              <a:gd name="T32" fmla="*/ 12 w 65"/>
              <a:gd name="T33" fmla="*/ 34 h 78"/>
              <a:gd name="T34" fmla="*/ 13 w 65"/>
              <a:gd name="T35" fmla="*/ 36 h 78"/>
              <a:gd name="T36" fmla="*/ 14 w 65"/>
              <a:gd name="T37" fmla="*/ 37 h 78"/>
              <a:gd name="T38" fmla="*/ 16 w 65"/>
              <a:gd name="T39" fmla="*/ 38 h 78"/>
              <a:gd name="T40" fmla="*/ 12 w 65"/>
              <a:gd name="T41" fmla="*/ 39 h 78"/>
              <a:gd name="T42" fmla="*/ 12 w 65"/>
              <a:gd name="T43" fmla="*/ 39 h 78"/>
              <a:gd name="T44" fmla="*/ 15 w 65"/>
              <a:gd name="T45" fmla="*/ 44 h 78"/>
              <a:gd name="T46" fmla="*/ 14 w 65"/>
              <a:gd name="T47" fmla="*/ 46 h 78"/>
              <a:gd name="T48" fmla="*/ 13 w 65"/>
              <a:gd name="T49" fmla="*/ 47 h 78"/>
              <a:gd name="T50" fmla="*/ 10 w 65"/>
              <a:gd name="T51" fmla="*/ 48 h 78"/>
              <a:gd name="T52" fmla="*/ 9 w 65"/>
              <a:gd name="T53" fmla="*/ 47 h 78"/>
              <a:gd name="T54" fmla="*/ 9 w 65"/>
              <a:gd name="T55" fmla="*/ 49 h 78"/>
              <a:gd name="T56" fmla="*/ 10 w 65"/>
              <a:gd name="T57" fmla="*/ 53 h 78"/>
              <a:gd name="T58" fmla="*/ 9 w 65"/>
              <a:gd name="T59" fmla="*/ 53 h 78"/>
              <a:gd name="T60" fmla="*/ 6 w 65"/>
              <a:gd name="T61" fmla="*/ 50 h 78"/>
              <a:gd name="T62" fmla="*/ 3 w 65"/>
              <a:gd name="T63" fmla="*/ 54 h 78"/>
              <a:gd name="T64" fmla="*/ 2 w 65"/>
              <a:gd name="T65" fmla="*/ 57 h 78"/>
              <a:gd name="T66" fmla="*/ 1 w 65"/>
              <a:gd name="T67" fmla="*/ 59 h 78"/>
              <a:gd name="T68" fmla="*/ 3 w 65"/>
              <a:gd name="T69" fmla="*/ 63 h 78"/>
              <a:gd name="T70" fmla="*/ 2 w 65"/>
              <a:gd name="T71" fmla="*/ 67 h 78"/>
              <a:gd name="T72" fmla="*/ 12 w 65"/>
              <a:gd name="T73" fmla="*/ 74 h 78"/>
              <a:gd name="T74" fmla="*/ 16 w 65"/>
              <a:gd name="T75" fmla="*/ 75 h 78"/>
              <a:gd name="T76" fmla="*/ 18 w 65"/>
              <a:gd name="T77" fmla="*/ 67 h 78"/>
              <a:gd name="T78" fmla="*/ 26 w 65"/>
              <a:gd name="T79" fmla="*/ 67 h 78"/>
              <a:gd name="T80" fmla="*/ 34 w 65"/>
              <a:gd name="T81" fmla="*/ 75 h 78"/>
              <a:gd name="T82" fmla="*/ 36 w 65"/>
              <a:gd name="T83" fmla="*/ 74 h 78"/>
              <a:gd name="T84" fmla="*/ 42 w 65"/>
              <a:gd name="T85" fmla="*/ 70 h 78"/>
              <a:gd name="T86" fmla="*/ 44 w 65"/>
              <a:gd name="T87" fmla="*/ 72 h 78"/>
              <a:gd name="T88" fmla="*/ 52 w 65"/>
              <a:gd name="T89" fmla="*/ 70 h 78"/>
              <a:gd name="T90" fmla="*/ 60 w 65"/>
              <a:gd name="T91" fmla="*/ 72 h 78"/>
              <a:gd name="T92" fmla="*/ 65 w 65"/>
              <a:gd name="T93" fmla="*/ 56 h 78"/>
              <a:gd name="T94" fmla="*/ 56 w 65"/>
              <a:gd name="T95" fmla="*/ 44 h 78"/>
              <a:gd name="T96" fmla="*/ 58 w 65"/>
              <a:gd name="T97" fmla="*/ 36 h 78"/>
              <a:gd name="T98" fmla="*/ 56 w 65"/>
              <a:gd name="T99" fmla="*/ 27 h 78"/>
              <a:gd name="T100" fmla="*/ 42 w 65"/>
              <a:gd name="T101" fmla="*/ 25 h 78"/>
              <a:gd name="T102" fmla="*/ 37 w 65"/>
              <a:gd name="T103" fmla="*/ 17 h 78"/>
              <a:gd name="T104" fmla="*/ 31 w 65"/>
              <a:gd name="T105" fmla="*/ 9 h 78"/>
              <a:gd name="T106" fmla="*/ 22 w 65"/>
              <a:gd name="T107" fmla="*/ 3 h 78"/>
              <a:gd name="T108" fmla="*/ 16 w 65"/>
              <a:gd name="T109" fmla="*/ 2 h 78"/>
              <a:gd name="T110" fmla="*/ 5 w 65"/>
              <a:gd name="T111" fmla="*/ 4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5" h="78">
                <a:moveTo>
                  <a:pt x="0" y="5"/>
                </a:moveTo>
                <a:lnTo>
                  <a:pt x="2" y="7"/>
                </a:lnTo>
                <a:lnTo>
                  <a:pt x="2" y="8"/>
                </a:lnTo>
                <a:lnTo>
                  <a:pt x="2" y="8"/>
                </a:lnTo>
                <a:lnTo>
                  <a:pt x="3" y="9"/>
                </a:lnTo>
                <a:lnTo>
                  <a:pt x="3" y="9"/>
                </a:lnTo>
                <a:lnTo>
                  <a:pt x="2" y="10"/>
                </a:lnTo>
                <a:lnTo>
                  <a:pt x="2" y="12"/>
                </a:lnTo>
                <a:lnTo>
                  <a:pt x="3" y="12"/>
                </a:lnTo>
                <a:lnTo>
                  <a:pt x="4" y="10"/>
                </a:lnTo>
                <a:lnTo>
                  <a:pt x="4" y="10"/>
                </a:lnTo>
                <a:lnTo>
                  <a:pt x="5" y="12"/>
                </a:lnTo>
                <a:lnTo>
                  <a:pt x="5" y="12"/>
                </a:lnTo>
                <a:lnTo>
                  <a:pt x="5" y="13"/>
                </a:lnTo>
                <a:lnTo>
                  <a:pt x="4" y="13"/>
                </a:lnTo>
                <a:lnTo>
                  <a:pt x="4" y="13"/>
                </a:lnTo>
                <a:lnTo>
                  <a:pt x="4" y="14"/>
                </a:lnTo>
                <a:lnTo>
                  <a:pt x="4" y="14"/>
                </a:lnTo>
                <a:lnTo>
                  <a:pt x="4" y="15"/>
                </a:lnTo>
                <a:lnTo>
                  <a:pt x="4" y="15"/>
                </a:lnTo>
                <a:lnTo>
                  <a:pt x="5" y="15"/>
                </a:lnTo>
                <a:lnTo>
                  <a:pt x="6" y="15"/>
                </a:lnTo>
                <a:lnTo>
                  <a:pt x="6" y="16"/>
                </a:lnTo>
                <a:lnTo>
                  <a:pt x="9" y="16"/>
                </a:lnTo>
                <a:lnTo>
                  <a:pt x="9" y="16"/>
                </a:lnTo>
                <a:lnTo>
                  <a:pt x="10" y="16"/>
                </a:lnTo>
                <a:lnTo>
                  <a:pt x="11" y="16"/>
                </a:lnTo>
                <a:lnTo>
                  <a:pt x="11" y="17"/>
                </a:lnTo>
                <a:lnTo>
                  <a:pt x="10" y="17"/>
                </a:lnTo>
                <a:lnTo>
                  <a:pt x="9" y="17"/>
                </a:lnTo>
                <a:lnTo>
                  <a:pt x="9" y="17"/>
                </a:lnTo>
                <a:lnTo>
                  <a:pt x="7" y="17"/>
                </a:lnTo>
                <a:lnTo>
                  <a:pt x="7" y="18"/>
                </a:lnTo>
                <a:lnTo>
                  <a:pt x="6" y="19"/>
                </a:lnTo>
                <a:lnTo>
                  <a:pt x="7" y="20"/>
                </a:lnTo>
                <a:lnTo>
                  <a:pt x="7" y="22"/>
                </a:lnTo>
                <a:lnTo>
                  <a:pt x="7" y="23"/>
                </a:lnTo>
                <a:lnTo>
                  <a:pt x="11" y="23"/>
                </a:lnTo>
                <a:lnTo>
                  <a:pt x="12" y="24"/>
                </a:lnTo>
                <a:lnTo>
                  <a:pt x="11" y="24"/>
                </a:lnTo>
                <a:lnTo>
                  <a:pt x="11" y="25"/>
                </a:lnTo>
                <a:lnTo>
                  <a:pt x="10" y="27"/>
                </a:lnTo>
                <a:lnTo>
                  <a:pt x="9" y="29"/>
                </a:lnTo>
                <a:lnTo>
                  <a:pt x="9" y="29"/>
                </a:lnTo>
                <a:lnTo>
                  <a:pt x="9" y="30"/>
                </a:lnTo>
                <a:lnTo>
                  <a:pt x="9" y="30"/>
                </a:lnTo>
                <a:lnTo>
                  <a:pt x="9" y="32"/>
                </a:lnTo>
                <a:lnTo>
                  <a:pt x="9" y="34"/>
                </a:lnTo>
                <a:lnTo>
                  <a:pt x="10" y="34"/>
                </a:lnTo>
                <a:lnTo>
                  <a:pt x="11" y="34"/>
                </a:lnTo>
                <a:lnTo>
                  <a:pt x="12" y="34"/>
                </a:lnTo>
                <a:lnTo>
                  <a:pt x="12" y="35"/>
                </a:lnTo>
                <a:lnTo>
                  <a:pt x="12" y="35"/>
                </a:lnTo>
                <a:lnTo>
                  <a:pt x="13" y="36"/>
                </a:lnTo>
                <a:lnTo>
                  <a:pt x="14" y="36"/>
                </a:lnTo>
                <a:lnTo>
                  <a:pt x="14" y="36"/>
                </a:lnTo>
                <a:lnTo>
                  <a:pt x="14" y="37"/>
                </a:lnTo>
                <a:lnTo>
                  <a:pt x="15" y="38"/>
                </a:lnTo>
                <a:lnTo>
                  <a:pt x="16" y="38"/>
                </a:lnTo>
                <a:lnTo>
                  <a:pt x="16" y="38"/>
                </a:lnTo>
                <a:lnTo>
                  <a:pt x="15" y="39"/>
                </a:lnTo>
                <a:lnTo>
                  <a:pt x="13" y="39"/>
                </a:lnTo>
                <a:lnTo>
                  <a:pt x="12" y="39"/>
                </a:lnTo>
                <a:lnTo>
                  <a:pt x="11" y="39"/>
                </a:lnTo>
                <a:lnTo>
                  <a:pt x="11" y="39"/>
                </a:lnTo>
                <a:lnTo>
                  <a:pt x="12" y="39"/>
                </a:lnTo>
                <a:lnTo>
                  <a:pt x="13" y="42"/>
                </a:lnTo>
                <a:lnTo>
                  <a:pt x="15" y="44"/>
                </a:lnTo>
                <a:lnTo>
                  <a:pt x="15" y="44"/>
                </a:lnTo>
                <a:lnTo>
                  <a:pt x="15" y="46"/>
                </a:lnTo>
                <a:lnTo>
                  <a:pt x="15" y="46"/>
                </a:lnTo>
                <a:lnTo>
                  <a:pt x="14" y="46"/>
                </a:lnTo>
                <a:lnTo>
                  <a:pt x="14" y="46"/>
                </a:lnTo>
                <a:lnTo>
                  <a:pt x="13" y="46"/>
                </a:lnTo>
                <a:lnTo>
                  <a:pt x="13" y="47"/>
                </a:lnTo>
                <a:lnTo>
                  <a:pt x="12" y="47"/>
                </a:lnTo>
                <a:lnTo>
                  <a:pt x="11" y="47"/>
                </a:lnTo>
                <a:lnTo>
                  <a:pt x="10" y="48"/>
                </a:lnTo>
                <a:lnTo>
                  <a:pt x="10" y="48"/>
                </a:lnTo>
                <a:lnTo>
                  <a:pt x="9" y="47"/>
                </a:lnTo>
                <a:lnTo>
                  <a:pt x="9" y="47"/>
                </a:lnTo>
                <a:lnTo>
                  <a:pt x="7" y="48"/>
                </a:lnTo>
                <a:lnTo>
                  <a:pt x="7" y="48"/>
                </a:lnTo>
                <a:lnTo>
                  <a:pt x="9" y="49"/>
                </a:lnTo>
                <a:lnTo>
                  <a:pt x="9" y="50"/>
                </a:lnTo>
                <a:lnTo>
                  <a:pt x="10" y="50"/>
                </a:lnTo>
                <a:lnTo>
                  <a:pt x="10" y="53"/>
                </a:lnTo>
                <a:lnTo>
                  <a:pt x="10" y="53"/>
                </a:lnTo>
                <a:lnTo>
                  <a:pt x="9" y="53"/>
                </a:lnTo>
                <a:lnTo>
                  <a:pt x="9" y="53"/>
                </a:lnTo>
                <a:lnTo>
                  <a:pt x="7" y="52"/>
                </a:lnTo>
                <a:lnTo>
                  <a:pt x="7" y="50"/>
                </a:lnTo>
                <a:lnTo>
                  <a:pt x="6" y="50"/>
                </a:lnTo>
                <a:lnTo>
                  <a:pt x="4" y="53"/>
                </a:lnTo>
                <a:lnTo>
                  <a:pt x="4" y="54"/>
                </a:lnTo>
                <a:lnTo>
                  <a:pt x="3" y="54"/>
                </a:lnTo>
                <a:lnTo>
                  <a:pt x="4" y="56"/>
                </a:lnTo>
                <a:lnTo>
                  <a:pt x="3" y="57"/>
                </a:lnTo>
                <a:lnTo>
                  <a:pt x="2" y="57"/>
                </a:lnTo>
                <a:lnTo>
                  <a:pt x="1" y="57"/>
                </a:lnTo>
                <a:lnTo>
                  <a:pt x="1" y="59"/>
                </a:lnTo>
                <a:lnTo>
                  <a:pt x="1" y="59"/>
                </a:lnTo>
                <a:lnTo>
                  <a:pt x="1" y="60"/>
                </a:lnTo>
                <a:lnTo>
                  <a:pt x="2" y="62"/>
                </a:lnTo>
                <a:lnTo>
                  <a:pt x="3" y="63"/>
                </a:lnTo>
                <a:lnTo>
                  <a:pt x="3" y="64"/>
                </a:lnTo>
                <a:lnTo>
                  <a:pt x="2" y="65"/>
                </a:lnTo>
                <a:lnTo>
                  <a:pt x="2" y="67"/>
                </a:lnTo>
                <a:lnTo>
                  <a:pt x="6" y="70"/>
                </a:lnTo>
                <a:lnTo>
                  <a:pt x="10" y="73"/>
                </a:lnTo>
                <a:lnTo>
                  <a:pt x="12" y="74"/>
                </a:lnTo>
                <a:lnTo>
                  <a:pt x="14" y="77"/>
                </a:lnTo>
                <a:lnTo>
                  <a:pt x="15" y="78"/>
                </a:lnTo>
                <a:lnTo>
                  <a:pt x="16" y="75"/>
                </a:lnTo>
                <a:lnTo>
                  <a:pt x="15" y="72"/>
                </a:lnTo>
                <a:lnTo>
                  <a:pt x="16" y="68"/>
                </a:lnTo>
                <a:lnTo>
                  <a:pt x="18" y="67"/>
                </a:lnTo>
                <a:lnTo>
                  <a:pt x="20" y="65"/>
                </a:lnTo>
                <a:lnTo>
                  <a:pt x="22" y="66"/>
                </a:lnTo>
                <a:lnTo>
                  <a:pt x="26" y="67"/>
                </a:lnTo>
                <a:lnTo>
                  <a:pt x="27" y="69"/>
                </a:lnTo>
                <a:lnTo>
                  <a:pt x="31" y="70"/>
                </a:lnTo>
                <a:lnTo>
                  <a:pt x="34" y="75"/>
                </a:lnTo>
                <a:lnTo>
                  <a:pt x="35" y="75"/>
                </a:lnTo>
                <a:lnTo>
                  <a:pt x="35" y="75"/>
                </a:lnTo>
                <a:lnTo>
                  <a:pt x="36" y="74"/>
                </a:lnTo>
                <a:lnTo>
                  <a:pt x="36" y="72"/>
                </a:lnTo>
                <a:lnTo>
                  <a:pt x="41" y="70"/>
                </a:lnTo>
                <a:lnTo>
                  <a:pt x="42" y="70"/>
                </a:lnTo>
                <a:lnTo>
                  <a:pt x="44" y="73"/>
                </a:lnTo>
                <a:lnTo>
                  <a:pt x="44" y="73"/>
                </a:lnTo>
                <a:lnTo>
                  <a:pt x="44" y="72"/>
                </a:lnTo>
                <a:lnTo>
                  <a:pt x="46" y="70"/>
                </a:lnTo>
                <a:lnTo>
                  <a:pt x="51" y="72"/>
                </a:lnTo>
                <a:lnTo>
                  <a:pt x="52" y="70"/>
                </a:lnTo>
                <a:lnTo>
                  <a:pt x="55" y="70"/>
                </a:lnTo>
                <a:lnTo>
                  <a:pt x="58" y="70"/>
                </a:lnTo>
                <a:lnTo>
                  <a:pt x="60" y="72"/>
                </a:lnTo>
                <a:lnTo>
                  <a:pt x="60" y="65"/>
                </a:lnTo>
                <a:lnTo>
                  <a:pt x="62" y="59"/>
                </a:lnTo>
                <a:lnTo>
                  <a:pt x="65" y="56"/>
                </a:lnTo>
                <a:lnTo>
                  <a:pt x="61" y="53"/>
                </a:lnTo>
                <a:lnTo>
                  <a:pt x="57" y="49"/>
                </a:lnTo>
                <a:lnTo>
                  <a:pt x="56" y="44"/>
                </a:lnTo>
                <a:lnTo>
                  <a:pt x="56" y="39"/>
                </a:lnTo>
                <a:lnTo>
                  <a:pt x="61" y="37"/>
                </a:lnTo>
                <a:lnTo>
                  <a:pt x="58" y="36"/>
                </a:lnTo>
                <a:lnTo>
                  <a:pt x="56" y="33"/>
                </a:lnTo>
                <a:lnTo>
                  <a:pt x="58" y="30"/>
                </a:lnTo>
                <a:lnTo>
                  <a:pt x="56" y="27"/>
                </a:lnTo>
                <a:lnTo>
                  <a:pt x="53" y="29"/>
                </a:lnTo>
                <a:lnTo>
                  <a:pt x="45" y="27"/>
                </a:lnTo>
                <a:lnTo>
                  <a:pt x="42" y="25"/>
                </a:lnTo>
                <a:lnTo>
                  <a:pt x="41" y="20"/>
                </a:lnTo>
                <a:lnTo>
                  <a:pt x="40" y="19"/>
                </a:lnTo>
                <a:lnTo>
                  <a:pt x="37" y="17"/>
                </a:lnTo>
                <a:lnTo>
                  <a:pt x="35" y="17"/>
                </a:lnTo>
                <a:lnTo>
                  <a:pt x="32" y="14"/>
                </a:lnTo>
                <a:lnTo>
                  <a:pt x="31" y="9"/>
                </a:lnTo>
                <a:lnTo>
                  <a:pt x="28" y="7"/>
                </a:lnTo>
                <a:lnTo>
                  <a:pt x="26" y="4"/>
                </a:lnTo>
                <a:lnTo>
                  <a:pt x="22" y="3"/>
                </a:lnTo>
                <a:lnTo>
                  <a:pt x="21" y="2"/>
                </a:lnTo>
                <a:lnTo>
                  <a:pt x="18" y="0"/>
                </a:lnTo>
                <a:lnTo>
                  <a:pt x="16" y="2"/>
                </a:lnTo>
                <a:lnTo>
                  <a:pt x="13" y="2"/>
                </a:lnTo>
                <a:lnTo>
                  <a:pt x="9" y="4"/>
                </a:lnTo>
                <a:lnTo>
                  <a:pt x="5" y="4"/>
                </a:lnTo>
                <a:lnTo>
                  <a:pt x="4" y="5"/>
                </a:lnTo>
                <a:lnTo>
                  <a:pt x="0" y="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47" name="Freeform 747"/>
          <p:cNvSpPr>
            <a:spLocks/>
          </p:cNvSpPr>
          <p:nvPr/>
        </p:nvSpPr>
        <p:spPr bwMode="auto">
          <a:xfrm>
            <a:off x="4765675" y="1984340"/>
            <a:ext cx="71437" cy="36513"/>
          </a:xfrm>
          <a:custGeom>
            <a:avLst/>
            <a:gdLst>
              <a:gd name="T0" fmla="*/ 0 w 45"/>
              <a:gd name="T1" fmla="*/ 21 h 23"/>
              <a:gd name="T2" fmla="*/ 1 w 45"/>
              <a:gd name="T3" fmla="*/ 20 h 23"/>
              <a:gd name="T4" fmla="*/ 4 w 45"/>
              <a:gd name="T5" fmla="*/ 19 h 23"/>
              <a:gd name="T6" fmla="*/ 4 w 45"/>
              <a:gd name="T7" fmla="*/ 18 h 23"/>
              <a:gd name="T8" fmla="*/ 5 w 45"/>
              <a:gd name="T9" fmla="*/ 16 h 23"/>
              <a:gd name="T10" fmla="*/ 5 w 45"/>
              <a:gd name="T11" fmla="*/ 13 h 23"/>
              <a:gd name="T12" fmla="*/ 6 w 45"/>
              <a:gd name="T13" fmla="*/ 12 h 23"/>
              <a:gd name="T14" fmla="*/ 10 w 45"/>
              <a:gd name="T15" fmla="*/ 12 h 23"/>
              <a:gd name="T16" fmla="*/ 12 w 45"/>
              <a:gd name="T17" fmla="*/ 11 h 23"/>
              <a:gd name="T18" fmla="*/ 16 w 45"/>
              <a:gd name="T19" fmla="*/ 8 h 23"/>
              <a:gd name="T20" fmla="*/ 17 w 45"/>
              <a:gd name="T21" fmla="*/ 6 h 23"/>
              <a:gd name="T22" fmla="*/ 18 w 45"/>
              <a:gd name="T23" fmla="*/ 2 h 23"/>
              <a:gd name="T24" fmla="*/ 18 w 45"/>
              <a:gd name="T25" fmla="*/ 0 h 23"/>
              <a:gd name="T26" fmla="*/ 18 w 45"/>
              <a:gd name="T27" fmla="*/ 5 h 23"/>
              <a:gd name="T28" fmla="*/ 16 w 45"/>
              <a:gd name="T29" fmla="*/ 8 h 23"/>
              <a:gd name="T30" fmla="*/ 15 w 45"/>
              <a:gd name="T31" fmla="*/ 9 h 23"/>
              <a:gd name="T32" fmla="*/ 14 w 45"/>
              <a:gd name="T33" fmla="*/ 11 h 23"/>
              <a:gd name="T34" fmla="*/ 15 w 45"/>
              <a:gd name="T35" fmla="*/ 12 h 23"/>
              <a:gd name="T36" fmla="*/ 16 w 45"/>
              <a:gd name="T37" fmla="*/ 12 h 23"/>
              <a:gd name="T38" fmla="*/ 18 w 45"/>
              <a:gd name="T39" fmla="*/ 13 h 23"/>
              <a:gd name="T40" fmla="*/ 21 w 45"/>
              <a:gd name="T41" fmla="*/ 13 h 23"/>
              <a:gd name="T42" fmla="*/ 21 w 45"/>
              <a:gd name="T43" fmla="*/ 11 h 23"/>
              <a:gd name="T44" fmla="*/ 20 w 45"/>
              <a:gd name="T45" fmla="*/ 9 h 23"/>
              <a:gd name="T46" fmla="*/ 21 w 45"/>
              <a:gd name="T47" fmla="*/ 8 h 23"/>
              <a:gd name="T48" fmla="*/ 21 w 45"/>
              <a:gd name="T49" fmla="*/ 7 h 23"/>
              <a:gd name="T50" fmla="*/ 23 w 45"/>
              <a:gd name="T51" fmla="*/ 7 h 23"/>
              <a:gd name="T52" fmla="*/ 26 w 45"/>
              <a:gd name="T53" fmla="*/ 8 h 23"/>
              <a:gd name="T54" fmla="*/ 28 w 45"/>
              <a:gd name="T55" fmla="*/ 8 h 23"/>
              <a:gd name="T56" fmla="*/ 29 w 45"/>
              <a:gd name="T57" fmla="*/ 9 h 23"/>
              <a:gd name="T58" fmla="*/ 31 w 45"/>
              <a:gd name="T59" fmla="*/ 9 h 23"/>
              <a:gd name="T60" fmla="*/ 35 w 45"/>
              <a:gd name="T61" fmla="*/ 10 h 23"/>
              <a:gd name="T62" fmla="*/ 39 w 45"/>
              <a:gd name="T63" fmla="*/ 9 h 23"/>
              <a:gd name="T64" fmla="*/ 40 w 45"/>
              <a:gd name="T65" fmla="*/ 10 h 23"/>
              <a:gd name="T66" fmla="*/ 43 w 45"/>
              <a:gd name="T67" fmla="*/ 15 h 23"/>
              <a:gd name="T68" fmla="*/ 42 w 45"/>
              <a:gd name="T69" fmla="*/ 17 h 23"/>
              <a:gd name="T70" fmla="*/ 43 w 45"/>
              <a:gd name="T71" fmla="*/ 20 h 23"/>
              <a:gd name="T72" fmla="*/ 45 w 45"/>
              <a:gd name="T73" fmla="*/ 22 h 23"/>
              <a:gd name="T74" fmla="*/ 39 w 45"/>
              <a:gd name="T75" fmla="*/ 22 h 23"/>
              <a:gd name="T76" fmla="*/ 32 w 45"/>
              <a:gd name="T77" fmla="*/ 23 h 23"/>
              <a:gd name="T78" fmla="*/ 20 w 45"/>
              <a:gd name="T79" fmla="*/ 23 h 23"/>
              <a:gd name="T80" fmla="*/ 5 w 45"/>
              <a:gd name="T81" fmla="*/ 22 h 23"/>
              <a:gd name="T82" fmla="*/ 0 w 45"/>
              <a:gd name="T83" fmla="*/ 21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45" h="23">
                <a:moveTo>
                  <a:pt x="0" y="21"/>
                </a:moveTo>
                <a:lnTo>
                  <a:pt x="1" y="20"/>
                </a:lnTo>
                <a:lnTo>
                  <a:pt x="4" y="19"/>
                </a:lnTo>
                <a:lnTo>
                  <a:pt x="4" y="18"/>
                </a:lnTo>
                <a:lnTo>
                  <a:pt x="5" y="16"/>
                </a:lnTo>
                <a:lnTo>
                  <a:pt x="5" y="13"/>
                </a:lnTo>
                <a:lnTo>
                  <a:pt x="6" y="12"/>
                </a:lnTo>
                <a:lnTo>
                  <a:pt x="10" y="12"/>
                </a:lnTo>
                <a:lnTo>
                  <a:pt x="12" y="11"/>
                </a:lnTo>
                <a:lnTo>
                  <a:pt x="16" y="8"/>
                </a:lnTo>
                <a:lnTo>
                  <a:pt x="17" y="6"/>
                </a:lnTo>
                <a:lnTo>
                  <a:pt x="18" y="2"/>
                </a:lnTo>
                <a:lnTo>
                  <a:pt x="18" y="0"/>
                </a:lnTo>
                <a:lnTo>
                  <a:pt x="18" y="5"/>
                </a:lnTo>
                <a:lnTo>
                  <a:pt x="16" y="8"/>
                </a:lnTo>
                <a:lnTo>
                  <a:pt x="15" y="9"/>
                </a:lnTo>
                <a:lnTo>
                  <a:pt x="14" y="11"/>
                </a:lnTo>
                <a:lnTo>
                  <a:pt x="15" y="12"/>
                </a:lnTo>
                <a:lnTo>
                  <a:pt x="16" y="12"/>
                </a:lnTo>
                <a:lnTo>
                  <a:pt x="18" y="13"/>
                </a:lnTo>
                <a:lnTo>
                  <a:pt x="21" y="13"/>
                </a:lnTo>
                <a:lnTo>
                  <a:pt x="21" y="11"/>
                </a:lnTo>
                <a:lnTo>
                  <a:pt x="20" y="9"/>
                </a:lnTo>
                <a:lnTo>
                  <a:pt x="21" y="8"/>
                </a:lnTo>
                <a:lnTo>
                  <a:pt x="21" y="7"/>
                </a:lnTo>
                <a:lnTo>
                  <a:pt x="23" y="7"/>
                </a:lnTo>
                <a:lnTo>
                  <a:pt x="26" y="8"/>
                </a:lnTo>
                <a:lnTo>
                  <a:pt x="28" y="8"/>
                </a:lnTo>
                <a:lnTo>
                  <a:pt x="29" y="9"/>
                </a:lnTo>
                <a:lnTo>
                  <a:pt x="31" y="9"/>
                </a:lnTo>
                <a:lnTo>
                  <a:pt x="35" y="10"/>
                </a:lnTo>
                <a:lnTo>
                  <a:pt x="39" y="9"/>
                </a:lnTo>
                <a:lnTo>
                  <a:pt x="40" y="10"/>
                </a:lnTo>
                <a:lnTo>
                  <a:pt x="43" y="15"/>
                </a:lnTo>
                <a:lnTo>
                  <a:pt x="42" y="17"/>
                </a:lnTo>
                <a:lnTo>
                  <a:pt x="43" y="20"/>
                </a:lnTo>
                <a:lnTo>
                  <a:pt x="45" y="22"/>
                </a:lnTo>
                <a:lnTo>
                  <a:pt x="39" y="22"/>
                </a:lnTo>
                <a:lnTo>
                  <a:pt x="32" y="23"/>
                </a:lnTo>
                <a:lnTo>
                  <a:pt x="20" y="23"/>
                </a:lnTo>
                <a:lnTo>
                  <a:pt x="5" y="22"/>
                </a:lnTo>
                <a:lnTo>
                  <a:pt x="0" y="2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48" name="Freeform 748"/>
          <p:cNvSpPr>
            <a:spLocks/>
          </p:cNvSpPr>
          <p:nvPr/>
        </p:nvSpPr>
        <p:spPr bwMode="auto">
          <a:xfrm>
            <a:off x="4765675" y="1984340"/>
            <a:ext cx="71437" cy="36513"/>
          </a:xfrm>
          <a:custGeom>
            <a:avLst/>
            <a:gdLst>
              <a:gd name="T0" fmla="*/ 0 w 45"/>
              <a:gd name="T1" fmla="*/ 21 h 23"/>
              <a:gd name="T2" fmla="*/ 1 w 45"/>
              <a:gd name="T3" fmla="*/ 20 h 23"/>
              <a:gd name="T4" fmla="*/ 4 w 45"/>
              <a:gd name="T5" fmla="*/ 19 h 23"/>
              <a:gd name="T6" fmla="*/ 4 w 45"/>
              <a:gd name="T7" fmla="*/ 18 h 23"/>
              <a:gd name="T8" fmla="*/ 5 w 45"/>
              <a:gd name="T9" fmla="*/ 16 h 23"/>
              <a:gd name="T10" fmla="*/ 5 w 45"/>
              <a:gd name="T11" fmla="*/ 13 h 23"/>
              <a:gd name="T12" fmla="*/ 6 w 45"/>
              <a:gd name="T13" fmla="*/ 12 h 23"/>
              <a:gd name="T14" fmla="*/ 10 w 45"/>
              <a:gd name="T15" fmla="*/ 12 h 23"/>
              <a:gd name="T16" fmla="*/ 12 w 45"/>
              <a:gd name="T17" fmla="*/ 11 h 23"/>
              <a:gd name="T18" fmla="*/ 16 w 45"/>
              <a:gd name="T19" fmla="*/ 8 h 23"/>
              <a:gd name="T20" fmla="*/ 17 w 45"/>
              <a:gd name="T21" fmla="*/ 6 h 23"/>
              <a:gd name="T22" fmla="*/ 18 w 45"/>
              <a:gd name="T23" fmla="*/ 2 h 23"/>
              <a:gd name="T24" fmla="*/ 18 w 45"/>
              <a:gd name="T25" fmla="*/ 0 h 23"/>
              <a:gd name="T26" fmla="*/ 18 w 45"/>
              <a:gd name="T27" fmla="*/ 5 h 23"/>
              <a:gd name="T28" fmla="*/ 16 w 45"/>
              <a:gd name="T29" fmla="*/ 8 h 23"/>
              <a:gd name="T30" fmla="*/ 15 w 45"/>
              <a:gd name="T31" fmla="*/ 9 h 23"/>
              <a:gd name="T32" fmla="*/ 14 w 45"/>
              <a:gd name="T33" fmla="*/ 11 h 23"/>
              <a:gd name="T34" fmla="*/ 15 w 45"/>
              <a:gd name="T35" fmla="*/ 12 h 23"/>
              <a:gd name="T36" fmla="*/ 16 w 45"/>
              <a:gd name="T37" fmla="*/ 12 h 23"/>
              <a:gd name="T38" fmla="*/ 18 w 45"/>
              <a:gd name="T39" fmla="*/ 13 h 23"/>
              <a:gd name="T40" fmla="*/ 21 w 45"/>
              <a:gd name="T41" fmla="*/ 13 h 23"/>
              <a:gd name="T42" fmla="*/ 21 w 45"/>
              <a:gd name="T43" fmla="*/ 11 h 23"/>
              <a:gd name="T44" fmla="*/ 20 w 45"/>
              <a:gd name="T45" fmla="*/ 9 h 23"/>
              <a:gd name="T46" fmla="*/ 21 w 45"/>
              <a:gd name="T47" fmla="*/ 8 h 23"/>
              <a:gd name="T48" fmla="*/ 21 w 45"/>
              <a:gd name="T49" fmla="*/ 7 h 23"/>
              <a:gd name="T50" fmla="*/ 23 w 45"/>
              <a:gd name="T51" fmla="*/ 7 h 23"/>
              <a:gd name="T52" fmla="*/ 26 w 45"/>
              <a:gd name="T53" fmla="*/ 8 h 23"/>
              <a:gd name="T54" fmla="*/ 28 w 45"/>
              <a:gd name="T55" fmla="*/ 8 h 23"/>
              <a:gd name="T56" fmla="*/ 29 w 45"/>
              <a:gd name="T57" fmla="*/ 9 h 23"/>
              <a:gd name="T58" fmla="*/ 31 w 45"/>
              <a:gd name="T59" fmla="*/ 9 h 23"/>
              <a:gd name="T60" fmla="*/ 35 w 45"/>
              <a:gd name="T61" fmla="*/ 10 h 23"/>
              <a:gd name="T62" fmla="*/ 39 w 45"/>
              <a:gd name="T63" fmla="*/ 9 h 23"/>
              <a:gd name="T64" fmla="*/ 40 w 45"/>
              <a:gd name="T65" fmla="*/ 10 h 23"/>
              <a:gd name="T66" fmla="*/ 43 w 45"/>
              <a:gd name="T67" fmla="*/ 15 h 23"/>
              <a:gd name="T68" fmla="*/ 42 w 45"/>
              <a:gd name="T69" fmla="*/ 17 h 23"/>
              <a:gd name="T70" fmla="*/ 43 w 45"/>
              <a:gd name="T71" fmla="*/ 20 h 23"/>
              <a:gd name="T72" fmla="*/ 45 w 45"/>
              <a:gd name="T73" fmla="*/ 22 h 23"/>
              <a:gd name="T74" fmla="*/ 39 w 45"/>
              <a:gd name="T75" fmla="*/ 22 h 23"/>
              <a:gd name="T76" fmla="*/ 32 w 45"/>
              <a:gd name="T77" fmla="*/ 23 h 23"/>
              <a:gd name="T78" fmla="*/ 20 w 45"/>
              <a:gd name="T79" fmla="*/ 23 h 23"/>
              <a:gd name="T80" fmla="*/ 5 w 45"/>
              <a:gd name="T81" fmla="*/ 22 h 23"/>
              <a:gd name="T82" fmla="*/ 0 w 45"/>
              <a:gd name="T83" fmla="*/ 21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45" h="23">
                <a:moveTo>
                  <a:pt x="0" y="21"/>
                </a:moveTo>
                <a:lnTo>
                  <a:pt x="1" y="20"/>
                </a:lnTo>
                <a:lnTo>
                  <a:pt x="4" y="19"/>
                </a:lnTo>
                <a:lnTo>
                  <a:pt x="4" y="18"/>
                </a:lnTo>
                <a:lnTo>
                  <a:pt x="5" y="16"/>
                </a:lnTo>
                <a:lnTo>
                  <a:pt x="5" y="13"/>
                </a:lnTo>
                <a:lnTo>
                  <a:pt x="6" y="12"/>
                </a:lnTo>
                <a:lnTo>
                  <a:pt x="10" y="12"/>
                </a:lnTo>
                <a:lnTo>
                  <a:pt x="12" y="11"/>
                </a:lnTo>
                <a:lnTo>
                  <a:pt x="16" y="8"/>
                </a:lnTo>
                <a:lnTo>
                  <a:pt x="17" y="6"/>
                </a:lnTo>
                <a:lnTo>
                  <a:pt x="18" y="2"/>
                </a:lnTo>
                <a:lnTo>
                  <a:pt x="18" y="0"/>
                </a:lnTo>
                <a:lnTo>
                  <a:pt x="18" y="5"/>
                </a:lnTo>
                <a:lnTo>
                  <a:pt x="16" y="8"/>
                </a:lnTo>
                <a:lnTo>
                  <a:pt x="15" y="9"/>
                </a:lnTo>
                <a:lnTo>
                  <a:pt x="14" y="11"/>
                </a:lnTo>
                <a:lnTo>
                  <a:pt x="15" y="12"/>
                </a:lnTo>
                <a:lnTo>
                  <a:pt x="16" y="12"/>
                </a:lnTo>
                <a:lnTo>
                  <a:pt x="18" y="13"/>
                </a:lnTo>
                <a:lnTo>
                  <a:pt x="21" y="13"/>
                </a:lnTo>
                <a:lnTo>
                  <a:pt x="21" y="11"/>
                </a:lnTo>
                <a:lnTo>
                  <a:pt x="20" y="9"/>
                </a:lnTo>
                <a:lnTo>
                  <a:pt x="21" y="8"/>
                </a:lnTo>
                <a:lnTo>
                  <a:pt x="21" y="7"/>
                </a:lnTo>
                <a:lnTo>
                  <a:pt x="23" y="7"/>
                </a:lnTo>
                <a:lnTo>
                  <a:pt x="26" y="8"/>
                </a:lnTo>
                <a:lnTo>
                  <a:pt x="28" y="8"/>
                </a:lnTo>
                <a:lnTo>
                  <a:pt x="29" y="9"/>
                </a:lnTo>
                <a:lnTo>
                  <a:pt x="31" y="9"/>
                </a:lnTo>
                <a:lnTo>
                  <a:pt x="35" y="10"/>
                </a:lnTo>
                <a:lnTo>
                  <a:pt x="39" y="9"/>
                </a:lnTo>
                <a:lnTo>
                  <a:pt x="40" y="10"/>
                </a:lnTo>
                <a:lnTo>
                  <a:pt x="43" y="15"/>
                </a:lnTo>
                <a:lnTo>
                  <a:pt x="42" y="17"/>
                </a:lnTo>
                <a:lnTo>
                  <a:pt x="43" y="20"/>
                </a:lnTo>
                <a:lnTo>
                  <a:pt x="45" y="22"/>
                </a:lnTo>
                <a:lnTo>
                  <a:pt x="39" y="22"/>
                </a:lnTo>
                <a:lnTo>
                  <a:pt x="32" y="23"/>
                </a:lnTo>
                <a:lnTo>
                  <a:pt x="20" y="23"/>
                </a:lnTo>
                <a:lnTo>
                  <a:pt x="5" y="22"/>
                </a:lnTo>
                <a:lnTo>
                  <a:pt x="0" y="2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49" name="Freeform 749"/>
          <p:cNvSpPr>
            <a:spLocks/>
          </p:cNvSpPr>
          <p:nvPr/>
        </p:nvSpPr>
        <p:spPr bwMode="auto">
          <a:xfrm>
            <a:off x="2717800" y="3046378"/>
            <a:ext cx="3175" cy="4763"/>
          </a:xfrm>
          <a:custGeom>
            <a:avLst/>
            <a:gdLst>
              <a:gd name="T0" fmla="*/ 2 w 2"/>
              <a:gd name="T1" fmla="*/ 0 h 3"/>
              <a:gd name="T2" fmla="*/ 0 w 2"/>
              <a:gd name="T3" fmla="*/ 1 h 3"/>
              <a:gd name="T4" fmla="*/ 0 w 2"/>
              <a:gd name="T5" fmla="*/ 3 h 3"/>
              <a:gd name="T6" fmla="*/ 2 w 2"/>
              <a:gd name="T7" fmla="*/ 3 h 3"/>
              <a:gd name="T8" fmla="*/ 2 w 2"/>
              <a:gd name="T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3">
                <a:moveTo>
                  <a:pt x="2" y="0"/>
                </a:moveTo>
                <a:lnTo>
                  <a:pt x="0" y="1"/>
                </a:lnTo>
                <a:lnTo>
                  <a:pt x="0" y="3"/>
                </a:lnTo>
                <a:lnTo>
                  <a:pt x="2" y="3"/>
                </a:lnTo>
                <a:lnTo>
                  <a:pt x="2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50" name="Freeform 750"/>
          <p:cNvSpPr>
            <a:spLocks/>
          </p:cNvSpPr>
          <p:nvPr/>
        </p:nvSpPr>
        <p:spPr bwMode="auto">
          <a:xfrm>
            <a:off x="2717800" y="3046378"/>
            <a:ext cx="3175" cy="4763"/>
          </a:xfrm>
          <a:custGeom>
            <a:avLst/>
            <a:gdLst>
              <a:gd name="T0" fmla="*/ 2 w 2"/>
              <a:gd name="T1" fmla="*/ 0 h 3"/>
              <a:gd name="T2" fmla="*/ 0 w 2"/>
              <a:gd name="T3" fmla="*/ 1 h 3"/>
              <a:gd name="T4" fmla="*/ 0 w 2"/>
              <a:gd name="T5" fmla="*/ 3 h 3"/>
              <a:gd name="T6" fmla="*/ 2 w 2"/>
              <a:gd name="T7" fmla="*/ 3 h 3"/>
              <a:gd name="T8" fmla="*/ 2 w 2"/>
              <a:gd name="T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3">
                <a:moveTo>
                  <a:pt x="2" y="0"/>
                </a:moveTo>
                <a:lnTo>
                  <a:pt x="0" y="1"/>
                </a:lnTo>
                <a:lnTo>
                  <a:pt x="0" y="3"/>
                </a:lnTo>
                <a:lnTo>
                  <a:pt x="2" y="3"/>
                </a:lnTo>
                <a:lnTo>
                  <a:pt x="2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51" name="Freeform 751"/>
          <p:cNvSpPr>
            <a:spLocks/>
          </p:cNvSpPr>
          <p:nvPr/>
        </p:nvSpPr>
        <p:spPr bwMode="auto">
          <a:xfrm>
            <a:off x="2720975" y="3063840"/>
            <a:ext cx="3175" cy="4763"/>
          </a:xfrm>
          <a:custGeom>
            <a:avLst/>
            <a:gdLst>
              <a:gd name="T0" fmla="*/ 0 w 2"/>
              <a:gd name="T1" fmla="*/ 2 h 3"/>
              <a:gd name="T2" fmla="*/ 0 w 2"/>
              <a:gd name="T3" fmla="*/ 2 h 3"/>
              <a:gd name="T4" fmla="*/ 0 w 2"/>
              <a:gd name="T5" fmla="*/ 3 h 3"/>
              <a:gd name="T6" fmla="*/ 2 w 2"/>
              <a:gd name="T7" fmla="*/ 0 h 3"/>
              <a:gd name="T8" fmla="*/ 0 w 2"/>
              <a:gd name="T9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3">
                <a:moveTo>
                  <a:pt x="0" y="2"/>
                </a:moveTo>
                <a:lnTo>
                  <a:pt x="0" y="2"/>
                </a:lnTo>
                <a:lnTo>
                  <a:pt x="0" y="3"/>
                </a:lnTo>
                <a:lnTo>
                  <a:pt x="2" y="0"/>
                </a:lnTo>
                <a:lnTo>
                  <a:pt x="0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52" name="Freeform 752"/>
          <p:cNvSpPr>
            <a:spLocks/>
          </p:cNvSpPr>
          <p:nvPr/>
        </p:nvSpPr>
        <p:spPr bwMode="auto">
          <a:xfrm>
            <a:off x="2720975" y="3063840"/>
            <a:ext cx="3175" cy="4763"/>
          </a:xfrm>
          <a:custGeom>
            <a:avLst/>
            <a:gdLst>
              <a:gd name="T0" fmla="*/ 0 w 2"/>
              <a:gd name="T1" fmla="*/ 2 h 3"/>
              <a:gd name="T2" fmla="*/ 0 w 2"/>
              <a:gd name="T3" fmla="*/ 2 h 3"/>
              <a:gd name="T4" fmla="*/ 0 w 2"/>
              <a:gd name="T5" fmla="*/ 3 h 3"/>
              <a:gd name="T6" fmla="*/ 2 w 2"/>
              <a:gd name="T7" fmla="*/ 0 h 3"/>
              <a:gd name="T8" fmla="*/ 0 w 2"/>
              <a:gd name="T9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3">
                <a:moveTo>
                  <a:pt x="0" y="2"/>
                </a:moveTo>
                <a:lnTo>
                  <a:pt x="0" y="2"/>
                </a:lnTo>
                <a:lnTo>
                  <a:pt x="0" y="3"/>
                </a:lnTo>
                <a:lnTo>
                  <a:pt x="2" y="0"/>
                </a:lnTo>
                <a:lnTo>
                  <a:pt x="0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53" name="Freeform 753"/>
          <p:cNvSpPr>
            <a:spLocks/>
          </p:cNvSpPr>
          <p:nvPr/>
        </p:nvSpPr>
        <p:spPr bwMode="auto">
          <a:xfrm>
            <a:off x="2801938" y="3127340"/>
            <a:ext cx="4762" cy="11113"/>
          </a:xfrm>
          <a:custGeom>
            <a:avLst/>
            <a:gdLst>
              <a:gd name="T0" fmla="*/ 1 w 3"/>
              <a:gd name="T1" fmla="*/ 0 h 7"/>
              <a:gd name="T2" fmla="*/ 1 w 3"/>
              <a:gd name="T3" fmla="*/ 0 h 7"/>
              <a:gd name="T4" fmla="*/ 0 w 3"/>
              <a:gd name="T5" fmla="*/ 5 h 7"/>
              <a:gd name="T6" fmla="*/ 1 w 3"/>
              <a:gd name="T7" fmla="*/ 7 h 7"/>
              <a:gd name="T8" fmla="*/ 2 w 3"/>
              <a:gd name="T9" fmla="*/ 7 h 7"/>
              <a:gd name="T10" fmla="*/ 3 w 3"/>
              <a:gd name="T11" fmla="*/ 5 h 7"/>
              <a:gd name="T12" fmla="*/ 3 w 3"/>
              <a:gd name="T13" fmla="*/ 1 h 7"/>
              <a:gd name="T14" fmla="*/ 1 w 3"/>
              <a:gd name="T15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7">
                <a:moveTo>
                  <a:pt x="1" y="0"/>
                </a:moveTo>
                <a:lnTo>
                  <a:pt x="1" y="0"/>
                </a:lnTo>
                <a:lnTo>
                  <a:pt x="0" y="5"/>
                </a:lnTo>
                <a:lnTo>
                  <a:pt x="1" y="7"/>
                </a:lnTo>
                <a:lnTo>
                  <a:pt x="2" y="7"/>
                </a:lnTo>
                <a:lnTo>
                  <a:pt x="3" y="5"/>
                </a:lnTo>
                <a:lnTo>
                  <a:pt x="3" y="1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54" name="Freeform 754"/>
          <p:cNvSpPr>
            <a:spLocks/>
          </p:cNvSpPr>
          <p:nvPr/>
        </p:nvSpPr>
        <p:spPr bwMode="auto">
          <a:xfrm>
            <a:off x="2801938" y="3127340"/>
            <a:ext cx="4762" cy="11113"/>
          </a:xfrm>
          <a:custGeom>
            <a:avLst/>
            <a:gdLst>
              <a:gd name="T0" fmla="*/ 1 w 3"/>
              <a:gd name="T1" fmla="*/ 0 h 7"/>
              <a:gd name="T2" fmla="*/ 1 w 3"/>
              <a:gd name="T3" fmla="*/ 0 h 7"/>
              <a:gd name="T4" fmla="*/ 0 w 3"/>
              <a:gd name="T5" fmla="*/ 5 h 7"/>
              <a:gd name="T6" fmla="*/ 1 w 3"/>
              <a:gd name="T7" fmla="*/ 7 h 7"/>
              <a:gd name="T8" fmla="*/ 2 w 3"/>
              <a:gd name="T9" fmla="*/ 7 h 7"/>
              <a:gd name="T10" fmla="*/ 3 w 3"/>
              <a:gd name="T11" fmla="*/ 5 h 7"/>
              <a:gd name="T12" fmla="*/ 3 w 3"/>
              <a:gd name="T13" fmla="*/ 1 h 7"/>
              <a:gd name="T14" fmla="*/ 1 w 3"/>
              <a:gd name="T15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7">
                <a:moveTo>
                  <a:pt x="1" y="0"/>
                </a:moveTo>
                <a:lnTo>
                  <a:pt x="1" y="0"/>
                </a:lnTo>
                <a:lnTo>
                  <a:pt x="0" y="5"/>
                </a:lnTo>
                <a:lnTo>
                  <a:pt x="1" y="7"/>
                </a:lnTo>
                <a:lnTo>
                  <a:pt x="2" y="7"/>
                </a:lnTo>
                <a:lnTo>
                  <a:pt x="3" y="5"/>
                </a:lnTo>
                <a:lnTo>
                  <a:pt x="3" y="1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55" name="Freeform 755"/>
          <p:cNvSpPr>
            <a:spLocks/>
          </p:cNvSpPr>
          <p:nvPr/>
        </p:nvSpPr>
        <p:spPr bwMode="auto">
          <a:xfrm>
            <a:off x="2787650" y="3227353"/>
            <a:ext cx="3175" cy="4763"/>
          </a:xfrm>
          <a:custGeom>
            <a:avLst/>
            <a:gdLst>
              <a:gd name="T0" fmla="*/ 2 w 2"/>
              <a:gd name="T1" fmla="*/ 0 h 3"/>
              <a:gd name="T2" fmla="*/ 1 w 2"/>
              <a:gd name="T3" fmla="*/ 1 h 3"/>
              <a:gd name="T4" fmla="*/ 0 w 2"/>
              <a:gd name="T5" fmla="*/ 3 h 3"/>
              <a:gd name="T6" fmla="*/ 2 w 2"/>
              <a:gd name="T7" fmla="*/ 2 h 3"/>
              <a:gd name="T8" fmla="*/ 2 w 2"/>
              <a:gd name="T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3">
                <a:moveTo>
                  <a:pt x="2" y="0"/>
                </a:moveTo>
                <a:lnTo>
                  <a:pt x="1" y="1"/>
                </a:lnTo>
                <a:lnTo>
                  <a:pt x="0" y="3"/>
                </a:lnTo>
                <a:lnTo>
                  <a:pt x="2" y="2"/>
                </a:lnTo>
                <a:lnTo>
                  <a:pt x="2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56" name="Freeform 756"/>
          <p:cNvSpPr>
            <a:spLocks/>
          </p:cNvSpPr>
          <p:nvPr/>
        </p:nvSpPr>
        <p:spPr bwMode="auto">
          <a:xfrm>
            <a:off x="2787650" y="3227353"/>
            <a:ext cx="3175" cy="4763"/>
          </a:xfrm>
          <a:custGeom>
            <a:avLst/>
            <a:gdLst>
              <a:gd name="T0" fmla="*/ 2 w 2"/>
              <a:gd name="T1" fmla="*/ 0 h 3"/>
              <a:gd name="T2" fmla="*/ 1 w 2"/>
              <a:gd name="T3" fmla="*/ 1 h 3"/>
              <a:gd name="T4" fmla="*/ 0 w 2"/>
              <a:gd name="T5" fmla="*/ 3 h 3"/>
              <a:gd name="T6" fmla="*/ 2 w 2"/>
              <a:gd name="T7" fmla="*/ 2 h 3"/>
              <a:gd name="T8" fmla="*/ 2 w 2"/>
              <a:gd name="T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3">
                <a:moveTo>
                  <a:pt x="2" y="0"/>
                </a:moveTo>
                <a:lnTo>
                  <a:pt x="1" y="1"/>
                </a:lnTo>
                <a:lnTo>
                  <a:pt x="0" y="3"/>
                </a:lnTo>
                <a:lnTo>
                  <a:pt x="2" y="2"/>
                </a:lnTo>
                <a:lnTo>
                  <a:pt x="2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57" name="Freeform 757"/>
          <p:cNvSpPr>
            <a:spLocks/>
          </p:cNvSpPr>
          <p:nvPr/>
        </p:nvSpPr>
        <p:spPr bwMode="auto">
          <a:xfrm>
            <a:off x="5203825" y="2614578"/>
            <a:ext cx="93662" cy="122238"/>
          </a:xfrm>
          <a:custGeom>
            <a:avLst/>
            <a:gdLst>
              <a:gd name="T0" fmla="*/ 56 w 59"/>
              <a:gd name="T1" fmla="*/ 27 h 77"/>
              <a:gd name="T2" fmla="*/ 59 w 59"/>
              <a:gd name="T3" fmla="*/ 21 h 77"/>
              <a:gd name="T4" fmla="*/ 53 w 59"/>
              <a:gd name="T5" fmla="*/ 0 h 77"/>
              <a:gd name="T6" fmla="*/ 39 w 59"/>
              <a:gd name="T7" fmla="*/ 8 h 77"/>
              <a:gd name="T8" fmla="*/ 34 w 59"/>
              <a:gd name="T9" fmla="*/ 11 h 77"/>
              <a:gd name="T10" fmla="*/ 22 w 59"/>
              <a:gd name="T11" fmla="*/ 19 h 77"/>
              <a:gd name="T12" fmla="*/ 19 w 59"/>
              <a:gd name="T13" fmla="*/ 20 h 77"/>
              <a:gd name="T14" fmla="*/ 16 w 59"/>
              <a:gd name="T15" fmla="*/ 19 h 77"/>
              <a:gd name="T16" fmla="*/ 14 w 59"/>
              <a:gd name="T17" fmla="*/ 18 h 77"/>
              <a:gd name="T18" fmla="*/ 12 w 59"/>
              <a:gd name="T19" fmla="*/ 16 h 77"/>
              <a:gd name="T20" fmla="*/ 9 w 59"/>
              <a:gd name="T21" fmla="*/ 15 h 77"/>
              <a:gd name="T22" fmla="*/ 7 w 59"/>
              <a:gd name="T23" fmla="*/ 13 h 77"/>
              <a:gd name="T24" fmla="*/ 6 w 59"/>
              <a:gd name="T25" fmla="*/ 11 h 77"/>
              <a:gd name="T26" fmla="*/ 3 w 59"/>
              <a:gd name="T27" fmla="*/ 13 h 77"/>
              <a:gd name="T28" fmla="*/ 4 w 59"/>
              <a:gd name="T29" fmla="*/ 18 h 77"/>
              <a:gd name="T30" fmla="*/ 4 w 59"/>
              <a:gd name="T31" fmla="*/ 18 h 77"/>
              <a:gd name="T32" fmla="*/ 4 w 59"/>
              <a:gd name="T33" fmla="*/ 19 h 77"/>
              <a:gd name="T34" fmla="*/ 4 w 59"/>
              <a:gd name="T35" fmla="*/ 21 h 77"/>
              <a:gd name="T36" fmla="*/ 4 w 59"/>
              <a:gd name="T37" fmla="*/ 24 h 77"/>
              <a:gd name="T38" fmla="*/ 4 w 59"/>
              <a:gd name="T39" fmla="*/ 27 h 77"/>
              <a:gd name="T40" fmla="*/ 4 w 59"/>
              <a:gd name="T41" fmla="*/ 29 h 77"/>
              <a:gd name="T42" fmla="*/ 4 w 59"/>
              <a:gd name="T43" fmla="*/ 31 h 77"/>
              <a:gd name="T44" fmla="*/ 4 w 59"/>
              <a:gd name="T45" fmla="*/ 34 h 77"/>
              <a:gd name="T46" fmla="*/ 3 w 59"/>
              <a:gd name="T47" fmla="*/ 35 h 77"/>
              <a:gd name="T48" fmla="*/ 4 w 59"/>
              <a:gd name="T49" fmla="*/ 35 h 77"/>
              <a:gd name="T50" fmla="*/ 4 w 59"/>
              <a:gd name="T51" fmla="*/ 39 h 77"/>
              <a:gd name="T52" fmla="*/ 5 w 59"/>
              <a:gd name="T53" fmla="*/ 41 h 77"/>
              <a:gd name="T54" fmla="*/ 3 w 59"/>
              <a:gd name="T55" fmla="*/ 47 h 77"/>
              <a:gd name="T56" fmla="*/ 2 w 59"/>
              <a:gd name="T57" fmla="*/ 53 h 77"/>
              <a:gd name="T58" fmla="*/ 0 w 59"/>
              <a:gd name="T59" fmla="*/ 67 h 77"/>
              <a:gd name="T60" fmla="*/ 0 w 59"/>
              <a:gd name="T61" fmla="*/ 70 h 77"/>
              <a:gd name="T62" fmla="*/ 0 w 59"/>
              <a:gd name="T63" fmla="*/ 73 h 77"/>
              <a:gd name="T64" fmla="*/ 0 w 59"/>
              <a:gd name="T65" fmla="*/ 73 h 77"/>
              <a:gd name="T66" fmla="*/ 0 w 59"/>
              <a:gd name="T67" fmla="*/ 75 h 77"/>
              <a:gd name="T68" fmla="*/ 18 w 59"/>
              <a:gd name="T69" fmla="*/ 77 h 77"/>
              <a:gd name="T70" fmla="*/ 23 w 59"/>
              <a:gd name="T71" fmla="*/ 73 h 77"/>
              <a:gd name="T72" fmla="*/ 23 w 59"/>
              <a:gd name="T73" fmla="*/ 71 h 77"/>
              <a:gd name="T74" fmla="*/ 26 w 59"/>
              <a:gd name="T75" fmla="*/ 64 h 77"/>
              <a:gd name="T76" fmla="*/ 38 w 59"/>
              <a:gd name="T77" fmla="*/ 61 h 77"/>
              <a:gd name="T78" fmla="*/ 38 w 59"/>
              <a:gd name="T79" fmla="*/ 59 h 77"/>
              <a:gd name="T80" fmla="*/ 39 w 59"/>
              <a:gd name="T81" fmla="*/ 55 h 77"/>
              <a:gd name="T82" fmla="*/ 45 w 59"/>
              <a:gd name="T83" fmla="*/ 51 h 77"/>
              <a:gd name="T84" fmla="*/ 45 w 59"/>
              <a:gd name="T85" fmla="*/ 50 h 77"/>
              <a:gd name="T86" fmla="*/ 29 w 59"/>
              <a:gd name="T87" fmla="*/ 36 h 77"/>
              <a:gd name="T88" fmla="*/ 26 w 59"/>
              <a:gd name="T89" fmla="*/ 34 h 77"/>
              <a:gd name="T90" fmla="*/ 37 w 59"/>
              <a:gd name="T91" fmla="*/ 30 h 77"/>
              <a:gd name="T92" fmla="*/ 56 w 59"/>
              <a:gd name="T93" fmla="*/ 27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9" h="77">
                <a:moveTo>
                  <a:pt x="56" y="27"/>
                </a:moveTo>
                <a:lnTo>
                  <a:pt x="59" y="21"/>
                </a:lnTo>
                <a:lnTo>
                  <a:pt x="53" y="0"/>
                </a:lnTo>
                <a:lnTo>
                  <a:pt x="39" y="8"/>
                </a:lnTo>
                <a:lnTo>
                  <a:pt x="34" y="11"/>
                </a:lnTo>
                <a:lnTo>
                  <a:pt x="22" y="19"/>
                </a:lnTo>
                <a:lnTo>
                  <a:pt x="19" y="20"/>
                </a:lnTo>
                <a:lnTo>
                  <a:pt x="16" y="19"/>
                </a:lnTo>
                <a:lnTo>
                  <a:pt x="14" y="18"/>
                </a:lnTo>
                <a:lnTo>
                  <a:pt x="12" y="16"/>
                </a:lnTo>
                <a:lnTo>
                  <a:pt x="9" y="15"/>
                </a:lnTo>
                <a:lnTo>
                  <a:pt x="7" y="13"/>
                </a:lnTo>
                <a:lnTo>
                  <a:pt x="6" y="11"/>
                </a:lnTo>
                <a:lnTo>
                  <a:pt x="3" y="13"/>
                </a:lnTo>
                <a:lnTo>
                  <a:pt x="4" y="18"/>
                </a:lnTo>
                <a:lnTo>
                  <a:pt x="4" y="18"/>
                </a:lnTo>
                <a:lnTo>
                  <a:pt x="4" y="19"/>
                </a:lnTo>
                <a:lnTo>
                  <a:pt x="4" y="21"/>
                </a:lnTo>
                <a:lnTo>
                  <a:pt x="4" y="24"/>
                </a:lnTo>
                <a:lnTo>
                  <a:pt x="4" y="27"/>
                </a:lnTo>
                <a:lnTo>
                  <a:pt x="4" y="29"/>
                </a:lnTo>
                <a:lnTo>
                  <a:pt x="4" y="31"/>
                </a:lnTo>
                <a:lnTo>
                  <a:pt x="4" y="34"/>
                </a:lnTo>
                <a:lnTo>
                  <a:pt x="3" y="35"/>
                </a:lnTo>
                <a:lnTo>
                  <a:pt x="4" y="35"/>
                </a:lnTo>
                <a:lnTo>
                  <a:pt x="4" y="39"/>
                </a:lnTo>
                <a:lnTo>
                  <a:pt x="5" y="41"/>
                </a:lnTo>
                <a:lnTo>
                  <a:pt x="3" y="47"/>
                </a:lnTo>
                <a:lnTo>
                  <a:pt x="2" y="53"/>
                </a:lnTo>
                <a:lnTo>
                  <a:pt x="0" y="67"/>
                </a:lnTo>
                <a:lnTo>
                  <a:pt x="0" y="70"/>
                </a:lnTo>
                <a:lnTo>
                  <a:pt x="0" y="73"/>
                </a:lnTo>
                <a:lnTo>
                  <a:pt x="0" y="73"/>
                </a:lnTo>
                <a:lnTo>
                  <a:pt x="0" y="75"/>
                </a:lnTo>
                <a:lnTo>
                  <a:pt x="18" y="77"/>
                </a:lnTo>
                <a:lnTo>
                  <a:pt x="23" y="73"/>
                </a:lnTo>
                <a:lnTo>
                  <a:pt x="23" y="71"/>
                </a:lnTo>
                <a:lnTo>
                  <a:pt x="26" y="64"/>
                </a:lnTo>
                <a:lnTo>
                  <a:pt x="38" y="61"/>
                </a:lnTo>
                <a:lnTo>
                  <a:pt x="38" y="59"/>
                </a:lnTo>
                <a:lnTo>
                  <a:pt x="39" y="55"/>
                </a:lnTo>
                <a:lnTo>
                  <a:pt x="45" y="51"/>
                </a:lnTo>
                <a:lnTo>
                  <a:pt x="45" y="50"/>
                </a:lnTo>
                <a:lnTo>
                  <a:pt x="29" y="36"/>
                </a:lnTo>
                <a:lnTo>
                  <a:pt x="26" y="34"/>
                </a:lnTo>
                <a:lnTo>
                  <a:pt x="37" y="30"/>
                </a:lnTo>
                <a:lnTo>
                  <a:pt x="56" y="27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58" name="Freeform 758"/>
          <p:cNvSpPr>
            <a:spLocks/>
          </p:cNvSpPr>
          <p:nvPr/>
        </p:nvSpPr>
        <p:spPr bwMode="auto">
          <a:xfrm>
            <a:off x="5203825" y="2614578"/>
            <a:ext cx="93662" cy="122238"/>
          </a:xfrm>
          <a:custGeom>
            <a:avLst/>
            <a:gdLst>
              <a:gd name="T0" fmla="*/ 56 w 59"/>
              <a:gd name="T1" fmla="*/ 27 h 77"/>
              <a:gd name="T2" fmla="*/ 59 w 59"/>
              <a:gd name="T3" fmla="*/ 21 h 77"/>
              <a:gd name="T4" fmla="*/ 53 w 59"/>
              <a:gd name="T5" fmla="*/ 0 h 77"/>
              <a:gd name="T6" fmla="*/ 39 w 59"/>
              <a:gd name="T7" fmla="*/ 8 h 77"/>
              <a:gd name="T8" fmla="*/ 34 w 59"/>
              <a:gd name="T9" fmla="*/ 11 h 77"/>
              <a:gd name="T10" fmla="*/ 22 w 59"/>
              <a:gd name="T11" fmla="*/ 19 h 77"/>
              <a:gd name="T12" fmla="*/ 19 w 59"/>
              <a:gd name="T13" fmla="*/ 20 h 77"/>
              <a:gd name="T14" fmla="*/ 16 w 59"/>
              <a:gd name="T15" fmla="*/ 19 h 77"/>
              <a:gd name="T16" fmla="*/ 14 w 59"/>
              <a:gd name="T17" fmla="*/ 18 h 77"/>
              <a:gd name="T18" fmla="*/ 12 w 59"/>
              <a:gd name="T19" fmla="*/ 16 h 77"/>
              <a:gd name="T20" fmla="*/ 9 w 59"/>
              <a:gd name="T21" fmla="*/ 15 h 77"/>
              <a:gd name="T22" fmla="*/ 7 w 59"/>
              <a:gd name="T23" fmla="*/ 13 h 77"/>
              <a:gd name="T24" fmla="*/ 6 w 59"/>
              <a:gd name="T25" fmla="*/ 11 h 77"/>
              <a:gd name="T26" fmla="*/ 3 w 59"/>
              <a:gd name="T27" fmla="*/ 13 h 77"/>
              <a:gd name="T28" fmla="*/ 4 w 59"/>
              <a:gd name="T29" fmla="*/ 18 h 77"/>
              <a:gd name="T30" fmla="*/ 4 w 59"/>
              <a:gd name="T31" fmla="*/ 18 h 77"/>
              <a:gd name="T32" fmla="*/ 4 w 59"/>
              <a:gd name="T33" fmla="*/ 19 h 77"/>
              <a:gd name="T34" fmla="*/ 4 w 59"/>
              <a:gd name="T35" fmla="*/ 21 h 77"/>
              <a:gd name="T36" fmla="*/ 4 w 59"/>
              <a:gd name="T37" fmla="*/ 24 h 77"/>
              <a:gd name="T38" fmla="*/ 4 w 59"/>
              <a:gd name="T39" fmla="*/ 27 h 77"/>
              <a:gd name="T40" fmla="*/ 4 w 59"/>
              <a:gd name="T41" fmla="*/ 29 h 77"/>
              <a:gd name="T42" fmla="*/ 4 w 59"/>
              <a:gd name="T43" fmla="*/ 31 h 77"/>
              <a:gd name="T44" fmla="*/ 4 w 59"/>
              <a:gd name="T45" fmla="*/ 34 h 77"/>
              <a:gd name="T46" fmla="*/ 3 w 59"/>
              <a:gd name="T47" fmla="*/ 35 h 77"/>
              <a:gd name="T48" fmla="*/ 4 w 59"/>
              <a:gd name="T49" fmla="*/ 35 h 77"/>
              <a:gd name="T50" fmla="*/ 4 w 59"/>
              <a:gd name="T51" fmla="*/ 39 h 77"/>
              <a:gd name="T52" fmla="*/ 5 w 59"/>
              <a:gd name="T53" fmla="*/ 41 h 77"/>
              <a:gd name="T54" fmla="*/ 3 w 59"/>
              <a:gd name="T55" fmla="*/ 47 h 77"/>
              <a:gd name="T56" fmla="*/ 2 w 59"/>
              <a:gd name="T57" fmla="*/ 53 h 77"/>
              <a:gd name="T58" fmla="*/ 0 w 59"/>
              <a:gd name="T59" fmla="*/ 67 h 77"/>
              <a:gd name="T60" fmla="*/ 0 w 59"/>
              <a:gd name="T61" fmla="*/ 70 h 77"/>
              <a:gd name="T62" fmla="*/ 0 w 59"/>
              <a:gd name="T63" fmla="*/ 73 h 77"/>
              <a:gd name="T64" fmla="*/ 0 w 59"/>
              <a:gd name="T65" fmla="*/ 73 h 77"/>
              <a:gd name="T66" fmla="*/ 0 w 59"/>
              <a:gd name="T67" fmla="*/ 75 h 77"/>
              <a:gd name="T68" fmla="*/ 18 w 59"/>
              <a:gd name="T69" fmla="*/ 77 h 77"/>
              <a:gd name="T70" fmla="*/ 23 w 59"/>
              <a:gd name="T71" fmla="*/ 73 h 77"/>
              <a:gd name="T72" fmla="*/ 23 w 59"/>
              <a:gd name="T73" fmla="*/ 71 h 77"/>
              <a:gd name="T74" fmla="*/ 26 w 59"/>
              <a:gd name="T75" fmla="*/ 64 h 77"/>
              <a:gd name="T76" fmla="*/ 38 w 59"/>
              <a:gd name="T77" fmla="*/ 61 h 77"/>
              <a:gd name="T78" fmla="*/ 38 w 59"/>
              <a:gd name="T79" fmla="*/ 59 h 77"/>
              <a:gd name="T80" fmla="*/ 39 w 59"/>
              <a:gd name="T81" fmla="*/ 55 h 77"/>
              <a:gd name="T82" fmla="*/ 45 w 59"/>
              <a:gd name="T83" fmla="*/ 51 h 77"/>
              <a:gd name="T84" fmla="*/ 45 w 59"/>
              <a:gd name="T85" fmla="*/ 50 h 77"/>
              <a:gd name="T86" fmla="*/ 29 w 59"/>
              <a:gd name="T87" fmla="*/ 36 h 77"/>
              <a:gd name="T88" fmla="*/ 26 w 59"/>
              <a:gd name="T89" fmla="*/ 34 h 77"/>
              <a:gd name="T90" fmla="*/ 37 w 59"/>
              <a:gd name="T91" fmla="*/ 30 h 77"/>
              <a:gd name="T92" fmla="*/ 56 w 59"/>
              <a:gd name="T93" fmla="*/ 27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9" h="77">
                <a:moveTo>
                  <a:pt x="56" y="27"/>
                </a:moveTo>
                <a:lnTo>
                  <a:pt x="59" y="21"/>
                </a:lnTo>
                <a:lnTo>
                  <a:pt x="53" y="0"/>
                </a:lnTo>
                <a:lnTo>
                  <a:pt x="39" y="8"/>
                </a:lnTo>
                <a:lnTo>
                  <a:pt x="34" y="11"/>
                </a:lnTo>
                <a:lnTo>
                  <a:pt x="22" y="19"/>
                </a:lnTo>
                <a:lnTo>
                  <a:pt x="19" y="20"/>
                </a:lnTo>
                <a:lnTo>
                  <a:pt x="16" y="19"/>
                </a:lnTo>
                <a:lnTo>
                  <a:pt x="14" y="18"/>
                </a:lnTo>
                <a:lnTo>
                  <a:pt x="12" y="16"/>
                </a:lnTo>
                <a:lnTo>
                  <a:pt x="9" y="15"/>
                </a:lnTo>
                <a:lnTo>
                  <a:pt x="7" y="13"/>
                </a:lnTo>
                <a:lnTo>
                  <a:pt x="6" y="11"/>
                </a:lnTo>
                <a:lnTo>
                  <a:pt x="3" y="13"/>
                </a:lnTo>
                <a:lnTo>
                  <a:pt x="4" y="18"/>
                </a:lnTo>
                <a:lnTo>
                  <a:pt x="4" y="18"/>
                </a:lnTo>
                <a:lnTo>
                  <a:pt x="4" y="19"/>
                </a:lnTo>
                <a:lnTo>
                  <a:pt x="4" y="21"/>
                </a:lnTo>
                <a:lnTo>
                  <a:pt x="4" y="24"/>
                </a:lnTo>
                <a:lnTo>
                  <a:pt x="4" y="27"/>
                </a:lnTo>
                <a:lnTo>
                  <a:pt x="4" y="29"/>
                </a:lnTo>
                <a:lnTo>
                  <a:pt x="4" y="31"/>
                </a:lnTo>
                <a:lnTo>
                  <a:pt x="4" y="34"/>
                </a:lnTo>
                <a:lnTo>
                  <a:pt x="3" y="35"/>
                </a:lnTo>
                <a:lnTo>
                  <a:pt x="4" y="35"/>
                </a:lnTo>
                <a:lnTo>
                  <a:pt x="4" y="39"/>
                </a:lnTo>
                <a:lnTo>
                  <a:pt x="5" y="41"/>
                </a:lnTo>
                <a:lnTo>
                  <a:pt x="3" y="47"/>
                </a:lnTo>
                <a:lnTo>
                  <a:pt x="2" y="53"/>
                </a:lnTo>
                <a:lnTo>
                  <a:pt x="0" y="67"/>
                </a:lnTo>
                <a:lnTo>
                  <a:pt x="0" y="70"/>
                </a:lnTo>
                <a:lnTo>
                  <a:pt x="0" y="73"/>
                </a:lnTo>
                <a:lnTo>
                  <a:pt x="0" y="73"/>
                </a:lnTo>
                <a:lnTo>
                  <a:pt x="0" y="75"/>
                </a:lnTo>
                <a:lnTo>
                  <a:pt x="18" y="77"/>
                </a:lnTo>
                <a:lnTo>
                  <a:pt x="23" y="73"/>
                </a:lnTo>
                <a:lnTo>
                  <a:pt x="23" y="71"/>
                </a:lnTo>
                <a:lnTo>
                  <a:pt x="26" y="64"/>
                </a:lnTo>
                <a:lnTo>
                  <a:pt x="38" y="61"/>
                </a:lnTo>
                <a:lnTo>
                  <a:pt x="38" y="59"/>
                </a:lnTo>
                <a:lnTo>
                  <a:pt x="39" y="55"/>
                </a:lnTo>
                <a:lnTo>
                  <a:pt x="45" y="51"/>
                </a:lnTo>
                <a:lnTo>
                  <a:pt x="45" y="50"/>
                </a:lnTo>
                <a:lnTo>
                  <a:pt x="29" y="36"/>
                </a:lnTo>
                <a:lnTo>
                  <a:pt x="26" y="34"/>
                </a:lnTo>
                <a:lnTo>
                  <a:pt x="37" y="30"/>
                </a:lnTo>
                <a:lnTo>
                  <a:pt x="56" y="27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59" name="Rectangle 759"/>
          <p:cNvSpPr>
            <a:spLocks noChangeArrowheads="1"/>
          </p:cNvSpPr>
          <p:nvPr/>
        </p:nvSpPr>
        <p:spPr bwMode="auto">
          <a:xfrm>
            <a:off x="5210175" y="2643153"/>
            <a:ext cx="1587" cy="1588"/>
          </a:xfrm>
          <a:prstGeom prst="rect">
            <a:avLst/>
          </a:pr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60" name="Freeform 760"/>
          <p:cNvSpPr>
            <a:spLocks/>
          </p:cNvSpPr>
          <p:nvPr/>
        </p:nvSpPr>
        <p:spPr bwMode="auto">
          <a:xfrm>
            <a:off x="5210175" y="2643153"/>
            <a:ext cx="0" cy="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  <a:cxn ang="0">
                <a:pos x="0" y="0"/>
              </a:cxn>
            </a:cxnLst>
            <a:rect l="0" t="0" r="r" b="b"/>
            <a:pathLst>
              <a:path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61" name="Freeform 761"/>
          <p:cNvSpPr>
            <a:spLocks/>
          </p:cNvSpPr>
          <p:nvPr/>
        </p:nvSpPr>
        <p:spPr bwMode="auto">
          <a:xfrm>
            <a:off x="2601913" y="3219415"/>
            <a:ext cx="6350" cy="11113"/>
          </a:xfrm>
          <a:custGeom>
            <a:avLst/>
            <a:gdLst>
              <a:gd name="T0" fmla="*/ 1 w 4"/>
              <a:gd name="T1" fmla="*/ 2 h 7"/>
              <a:gd name="T2" fmla="*/ 0 w 4"/>
              <a:gd name="T3" fmla="*/ 0 h 7"/>
              <a:gd name="T4" fmla="*/ 0 w 4"/>
              <a:gd name="T5" fmla="*/ 1 h 7"/>
              <a:gd name="T6" fmla="*/ 0 w 4"/>
              <a:gd name="T7" fmla="*/ 2 h 7"/>
              <a:gd name="T8" fmla="*/ 1 w 4"/>
              <a:gd name="T9" fmla="*/ 5 h 7"/>
              <a:gd name="T10" fmla="*/ 4 w 4"/>
              <a:gd name="T11" fmla="*/ 7 h 7"/>
              <a:gd name="T12" fmla="*/ 4 w 4"/>
              <a:gd name="T13" fmla="*/ 6 h 7"/>
              <a:gd name="T14" fmla="*/ 2 w 4"/>
              <a:gd name="T15" fmla="*/ 5 h 7"/>
              <a:gd name="T16" fmla="*/ 1 w 4"/>
              <a:gd name="T17" fmla="*/ 2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7">
                <a:moveTo>
                  <a:pt x="1" y="2"/>
                </a:moveTo>
                <a:lnTo>
                  <a:pt x="0" y="0"/>
                </a:lnTo>
                <a:lnTo>
                  <a:pt x="0" y="1"/>
                </a:lnTo>
                <a:lnTo>
                  <a:pt x="0" y="2"/>
                </a:lnTo>
                <a:lnTo>
                  <a:pt x="1" y="5"/>
                </a:lnTo>
                <a:lnTo>
                  <a:pt x="4" y="7"/>
                </a:lnTo>
                <a:lnTo>
                  <a:pt x="4" y="6"/>
                </a:lnTo>
                <a:lnTo>
                  <a:pt x="2" y="5"/>
                </a:lnTo>
                <a:lnTo>
                  <a:pt x="1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62" name="Freeform 762"/>
          <p:cNvSpPr>
            <a:spLocks/>
          </p:cNvSpPr>
          <p:nvPr/>
        </p:nvSpPr>
        <p:spPr bwMode="auto">
          <a:xfrm>
            <a:off x="2601913" y="3219415"/>
            <a:ext cx="6350" cy="11113"/>
          </a:xfrm>
          <a:custGeom>
            <a:avLst/>
            <a:gdLst>
              <a:gd name="T0" fmla="*/ 1 w 4"/>
              <a:gd name="T1" fmla="*/ 2 h 7"/>
              <a:gd name="T2" fmla="*/ 0 w 4"/>
              <a:gd name="T3" fmla="*/ 0 h 7"/>
              <a:gd name="T4" fmla="*/ 0 w 4"/>
              <a:gd name="T5" fmla="*/ 1 h 7"/>
              <a:gd name="T6" fmla="*/ 0 w 4"/>
              <a:gd name="T7" fmla="*/ 2 h 7"/>
              <a:gd name="T8" fmla="*/ 1 w 4"/>
              <a:gd name="T9" fmla="*/ 5 h 7"/>
              <a:gd name="T10" fmla="*/ 4 w 4"/>
              <a:gd name="T11" fmla="*/ 7 h 7"/>
              <a:gd name="T12" fmla="*/ 4 w 4"/>
              <a:gd name="T13" fmla="*/ 6 h 7"/>
              <a:gd name="T14" fmla="*/ 2 w 4"/>
              <a:gd name="T15" fmla="*/ 5 h 7"/>
              <a:gd name="T16" fmla="*/ 1 w 4"/>
              <a:gd name="T17" fmla="*/ 2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7">
                <a:moveTo>
                  <a:pt x="1" y="2"/>
                </a:moveTo>
                <a:lnTo>
                  <a:pt x="0" y="0"/>
                </a:lnTo>
                <a:lnTo>
                  <a:pt x="0" y="1"/>
                </a:lnTo>
                <a:lnTo>
                  <a:pt x="0" y="2"/>
                </a:lnTo>
                <a:lnTo>
                  <a:pt x="1" y="5"/>
                </a:lnTo>
                <a:lnTo>
                  <a:pt x="4" y="7"/>
                </a:lnTo>
                <a:lnTo>
                  <a:pt x="4" y="6"/>
                </a:lnTo>
                <a:lnTo>
                  <a:pt x="2" y="5"/>
                </a:lnTo>
                <a:lnTo>
                  <a:pt x="1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63" name="Freeform 763"/>
          <p:cNvSpPr>
            <a:spLocks/>
          </p:cNvSpPr>
          <p:nvPr/>
        </p:nvSpPr>
        <p:spPr bwMode="auto">
          <a:xfrm>
            <a:off x="2619375" y="3221003"/>
            <a:ext cx="4762" cy="9525"/>
          </a:xfrm>
          <a:custGeom>
            <a:avLst/>
            <a:gdLst>
              <a:gd name="T0" fmla="*/ 1 w 3"/>
              <a:gd name="T1" fmla="*/ 1 h 6"/>
              <a:gd name="T2" fmla="*/ 0 w 3"/>
              <a:gd name="T3" fmla="*/ 0 h 6"/>
              <a:gd name="T4" fmla="*/ 0 w 3"/>
              <a:gd name="T5" fmla="*/ 2 h 6"/>
              <a:gd name="T6" fmla="*/ 1 w 3"/>
              <a:gd name="T7" fmla="*/ 4 h 6"/>
              <a:gd name="T8" fmla="*/ 2 w 3"/>
              <a:gd name="T9" fmla="*/ 6 h 6"/>
              <a:gd name="T10" fmla="*/ 2 w 3"/>
              <a:gd name="T11" fmla="*/ 6 h 6"/>
              <a:gd name="T12" fmla="*/ 3 w 3"/>
              <a:gd name="T13" fmla="*/ 2 h 6"/>
              <a:gd name="T14" fmla="*/ 2 w 3"/>
              <a:gd name="T15" fmla="*/ 2 h 6"/>
              <a:gd name="T16" fmla="*/ 1 w 3"/>
              <a:gd name="T17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6">
                <a:moveTo>
                  <a:pt x="1" y="1"/>
                </a:moveTo>
                <a:lnTo>
                  <a:pt x="0" y="0"/>
                </a:lnTo>
                <a:lnTo>
                  <a:pt x="0" y="2"/>
                </a:lnTo>
                <a:lnTo>
                  <a:pt x="1" y="4"/>
                </a:lnTo>
                <a:lnTo>
                  <a:pt x="2" y="6"/>
                </a:lnTo>
                <a:lnTo>
                  <a:pt x="2" y="6"/>
                </a:lnTo>
                <a:lnTo>
                  <a:pt x="3" y="2"/>
                </a:lnTo>
                <a:lnTo>
                  <a:pt x="2" y="2"/>
                </a:lnTo>
                <a:lnTo>
                  <a:pt x="1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64" name="Freeform 764"/>
          <p:cNvSpPr>
            <a:spLocks/>
          </p:cNvSpPr>
          <p:nvPr/>
        </p:nvSpPr>
        <p:spPr bwMode="auto">
          <a:xfrm>
            <a:off x="2619375" y="3221003"/>
            <a:ext cx="4762" cy="9525"/>
          </a:xfrm>
          <a:custGeom>
            <a:avLst/>
            <a:gdLst>
              <a:gd name="T0" fmla="*/ 1 w 3"/>
              <a:gd name="T1" fmla="*/ 1 h 6"/>
              <a:gd name="T2" fmla="*/ 0 w 3"/>
              <a:gd name="T3" fmla="*/ 0 h 6"/>
              <a:gd name="T4" fmla="*/ 0 w 3"/>
              <a:gd name="T5" fmla="*/ 2 h 6"/>
              <a:gd name="T6" fmla="*/ 1 w 3"/>
              <a:gd name="T7" fmla="*/ 4 h 6"/>
              <a:gd name="T8" fmla="*/ 2 w 3"/>
              <a:gd name="T9" fmla="*/ 6 h 6"/>
              <a:gd name="T10" fmla="*/ 2 w 3"/>
              <a:gd name="T11" fmla="*/ 6 h 6"/>
              <a:gd name="T12" fmla="*/ 3 w 3"/>
              <a:gd name="T13" fmla="*/ 2 h 6"/>
              <a:gd name="T14" fmla="*/ 2 w 3"/>
              <a:gd name="T15" fmla="*/ 2 h 6"/>
              <a:gd name="T16" fmla="*/ 1 w 3"/>
              <a:gd name="T17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6">
                <a:moveTo>
                  <a:pt x="1" y="1"/>
                </a:moveTo>
                <a:lnTo>
                  <a:pt x="0" y="0"/>
                </a:lnTo>
                <a:lnTo>
                  <a:pt x="0" y="2"/>
                </a:lnTo>
                <a:lnTo>
                  <a:pt x="1" y="4"/>
                </a:lnTo>
                <a:lnTo>
                  <a:pt x="2" y="6"/>
                </a:lnTo>
                <a:lnTo>
                  <a:pt x="2" y="6"/>
                </a:lnTo>
                <a:lnTo>
                  <a:pt x="3" y="2"/>
                </a:lnTo>
                <a:lnTo>
                  <a:pt x="2" y="2"/>
                </a:lnTo>
                <a:lnTo>
                  <a:pt x="1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65" name="Freeform 765"/>
          <p:cNvSpPr>
            <a:spLocks/>
          </p:cNvSpPr>
          <p:nvPr/>
        </p:nvSpPr>
        <p:spPr bwMode="auto">
          <a:xfrm>
            <a:off x="2811463" y="3251165"/>
            <a:ext cx="6350" cy="4763"/>
          </a:xfrm>
          <a:custGeom>
            <a:avLst/>
            <a:gdLst>
              <a:gd name="T0" fmla="*/ 4 w 4"/>
              <a:gd name="T1" fmla="*/ 0 h 3"/>
              <a:gd name="T2" fmla="*/ 2 w 4"/>
              <a:gd name="T3" fmla="*/ 0 h 3"/>
              <a:gd name="T4" fmla="*/ 0 w 4"/>
              <a:gd name="T5" fmla="*/ 2 h 3"/>
              <a:gd name="T6" fmla="*/ 0 w 4"/>
              <a:gd name="T7" fmla="*/ 3 h 3"/>
              <a:gd name="T8" fmla="*/ 2 w 4"/>
              <a:gd name="T9" fmla="*/ 1 h 3"/>
              <a:gd name="T10" fmla="*/ 4 w 4"/>
              <a:gd name="T11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3">
                <a:moveTo>
                  <a:pt x="4" y="0"/>
                </a:moveTo>
                <a:lnTo>
                  <a:pt x="2" y="0"/>
                </a:lnTo>
                <a:lnTo>
                  <a:pt x="0" y="2"/>
                </a:lnTo>
                <a:lnTo>
                  <a:pt x="0" y="3"/>
                </a:lnTo>
                <a:lnTo>
                  <a:pt x="2" y="1"/>
                </a:lnTo>
                <a:lnTo>
                  <a:pt x="4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66" name="Freeform 766"/>
          <p:cNvSpPr>
            <a:spLocks/>
          </p:cNvSpPr>
          <p:nvPr/>
        </p:nvSpPr>
        <p:spPr bwMode="auto">
          <a:xfrm>
            <a:off x="2811463" y="3251165"/>
            <a:ext cx="6350" cy="4763"/>
          </a:xfrm>
          <a:custGeom>
            <a:avLst/>
            <a:gdLst>
              <a:gd name="T0" fmla="*/ 4 w 4"/>
              <a:gd name="T1" fmla="*/ 0 h 3"/>
              <a:gd name="T2" fmla="*/ 2 w 4"/>
              <a:gd name="T3" fmla="*/ 0 h 3"/>
              <a:gd name="T4" fmla="*/ 0 w 4"/>
              <a:gd name="T5" fmla="*/ 2 h 3"/>
              <a:gd name="T6" fmla="*/ 0 w 4"/>
              <a:gd name="T7" fmla="*/ 3 h 3"/>
              <a:gd name="T8" fmla="*/ 2 w 4"/>
              <a:gd name="T9" fmla="*/ 1 h 3"/>
              <a:gd name="T10" fmla="*/ 4 w 4"/>
              <a:gd name="T11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3">
                <a:moveTo>
                  <a:pt x="4" y="0"/>
                </a:moveTo>
                <a:lnTo>
                  <a:pt x="2" y="0"/>
                </a:lnTo>
                <a:lnTo>
                  <a:pt x="0" y="2"/>
                </a:lnTo>
                <a:lnTo>
                  <a:pt x="0" y="3"/>
                </a:lnTo>
                <a:lnTo>
                  <a:pt x="2" y="1"/>
                </a:lnTo>
                <a:lnTo>
                  <a:pt x="4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67" name="Freeform 767"/>
          <p:cNvSpPr>
            <a:spLocks/>
          </p:cNvSpPr>
          <p:nvPr/>
        </p:nvSpPr>
        <p:spPr bwMode="auto">
          <a:xfrm>
            <a:off x="2781300" y="3265453"/>
            <a:ext cx="23812" cy="22225"/>
          </a:xfrm>
          <a:custGeom>
            <a:avLst/>
            <a:gdLst>
              <a:gd name="T0" fmla="*/ 15 w 15"/>
              <a:gd name="T1" fmla="*/ 2 h 14"/>
              <a:gd name="T2" fmla="*/ 14 w 15"/>
              <a:gd name="T3" fmla="*/ 3 h 14"/>
              <a:gd name="T4" fmla="*/ 13 w 15"/>
              <a:gd name="T5" fmla="*/ 7 h 14"/>
              <a:gd name="T6" fmla="*/ 13 w 15"/>
              <a:gd name="T7" fmla="*/ 9 h 14"/>
              <a:gd name="T8" fmla="*/ 14 w 15"/>
              <a:gd name="T9" fmla="*/ 9 h 14"/>
              <a:gd name="T10" fmla="*/ 13 w 15"/>
              <a:gd name="T11" fmla="*/ 12 h 14"/>
              <a:gd name="T12" fmla="*/ 12 w 15"/>
              <a:gd name="T13" fmla="*/ 13 h 14"/>
              <a:gd name="T14" fmla="*/ 9 w 15"/>
              <a:gd name="T15" fmla="*/ 14 h 14"/>
              <a:gd name="T16" fmla="*/ 0 w 15"/>
              <a:gd name="T17" fmla="*/ 14 h 14"/>
              <a:gd name="T18" fmla="*/ 0 w 15"/>
              <a:gd name="T19" fmla="*/ 13 h 14"/>
              <a:gd name="T20" fmla="*/ 5 w 15"/>
              <a:gd name="T21" fmla="*/ 11 h 14"/>
              <a:gd name="T22" fmla="*/ 5 w 15"/>
              <a:gd name="T23" fmla="*/ 9 h 14"/>
              <a:gd name="T24" fmla="*/ 6 w 15"/>
              <a:gd name="T25" fmla="*/ 6 h 14"/>
              <a:gd name="T26" fmla="*/ 6 w 15"/>
              <a:gd name="T27" fmla="*/ 4 h 14"/>
              <a:gd name="T28" fmla="*/ 5 w 15"/>
              <a:gd name="T29" fmla="*/ 4 h 14"/>
              <a:gd name="T30" fmla="*/ 4 w 15"/>
              <a:gd name="T31" fmla="*/ 4 h 14"/>
              <a:gd name="T32" fmla="*/ 4 w 15"/>
              <a:gd name="T33" fmla="*/ 2 h 14"/>
              <a:gd name="T34" fmla="*/ 4 w 15"/>
              <a:gd name="T35" fmla="*/ 2 h 14"/>
              <a:gd name="T36" fmla="*/ 5 w 15"/>
              <a:gd name="T37" fmla="*/ 2 h 14"/>
              <a:gd name="T38" fmla="*/ 11 w 15"/>
              <a:gd name="T39" fmla="*/ 1 h 14"/>
              <a:gd name="T40" fmla="*/ 14 w 15"/>
              <a:gd name="T41" fmla="*/ 0 h 14"/>
              <a:gd name="T42" fmla="*/ 15 w 15"/>
              <a:gd name="T43" fmla="*/ 0 h 14"/>
              <a:gd name="T44" fmla="*/ 15 w 15"/>
              <a:gd name="T45" fmla="*/ 2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5" h="14">
                <a:moveTo>
                  <a:pt x="15" y="2"/>
                </a:moveTo>
                <a:lnTo>
                  <a:pt x="14" y="3"/>
                </a:lnTo>
                <a:lnTo>
                  <a:pt x="13" y="7"/>
                </a:lnTo>
                <a:lnTo>
                  <a:pt x="13" y="9"/>
                </a:lnTo>
                <a:lnTo>
                  <a:pt x="14" y="9"/>
                </a:lnTo>
                <a:lnTo>
                  <a:pt x="13" y="12"/>
                </a:lnTo>
                <a:lnTo>
                  <a:pt x="12" y="13"/>
                </a:lnTo>
                <a:lnTo>
                  <a:pt x="9" y="14"/>
                </a:lnTo>
                <a:lnTo>
                  <a:pt x="0" y="14"/>
                </a:lnTo>
                <a:lnTo>
                  <a:pt x="0" y="13"/>
                </a:lnTo>
                <a:lnTo>
                  <a:pt x="5" y="11"/>
                </a:lnTo>
                <a:lnTo>
                  <a:pt x="5" y="9"/>
                </a:lnTo>
                <a:lnTo>
                  <a:pt x="6" y="6"/>
                </a:lnTo>
                <a:lnTo>
                  <a:pt x="6" y="4"/>
                </a:lnTo>
                <a:lnTo>
                  <a:pt x="5" y="4"/>
                </a:lnTo>
                <a:lnTo>
                  <a:pt x="4" y="4"/>
                </a:lnTo>
                <a:lnTo>
                  <a:pt x="4" y="2"/>
                </a:lnTo>
                <a:lnTo>
                  <a:pt x="4" y="2"/>
                </a:lnTo>
                <a:lnTo>
                  <a:pt x="5" y="2"/>
                </a:lnTo>
                <a:lnTo>
                  <a:pt x="11" y="1"/>
                </a:lnTo>
                <a:lnTo>
                  <a:pt x="14" y="0"/>
                </a:lnTo>
                <a:lnTo>
                  <a:pt x="15" y="0"/>
                </a:lnTo>
                <a:lnTo>
                  <a:pt x="15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68" name="Freeform 768"/>
          <p:cNvSpPr>
            <a:spLocks/>
          </p:cNvSpPr>
          <p:nvPr/>
        </p:nvSpPr>
        <p:spPr bwMode="auto">
          <a:xfrm>
            <a:off x="2781300" y="3265453"/>
            <a:ext cx="23812" cy="22225"/>
          </a:xfrm>
          <a:custGeom>
            <a:avLst/>
            <a:gdLst>
              <a:gd name="T0" fmla="*/ 15 w 15"/>
              <a:gd name="T1" fmla="*/ 2 h 14"/>
              <a:gd name="T2" fmla="*/ 14 w 15"/>
              <a:gd name="T3" fmla="*/ 3 h 14"/>
              <a:gd name="T4" fmla="*/ 13 w 15"/>
              <a:gd name="T5" fmla="*/ 7 h 14"/>
              <a:gd name="T6" fmla="*/ 13 w 15"/>
              <a:gd name="T7" fmla="*/ 9 h 14"/>
              <a:gd name="T8" fmla="*/ 14 w 15"/>
              <a:gd name="T9" fmla="*/ 9 h 14"/>
              <a:gd name="T10" fmla="*/ 13 w 15"/>
              <a:gd name="T11" fmla="*/ 12 h 14"/>
              <a:gd name="T12" fmla="*/ 12 w 15"/>
              <a:gd name="T13" fmla="*/ 13 h 14"/>
              <a:gd name="T14" fmla="*/ 9 w 15"/>
              <a:gd name="T15" fmla="*/ 14 h 14"/>
              <a:gd name="T16" fmla="*/ 0 w 15"/>
              <a:gd name="T17" fmla="*/ 14 h 14"/>
              <a:gd name="T18" fmla="*/ 0 w 15"/>
              <a:gd name="T19" fmla="*/ 13 h 14"/>
              <a:gd name="T20" fmla="*/ 5 w 15"/>
              <a:gd name="T21" fmla="*/ 11 h 14"/>
              <a:gd name="T22" fmla="*/ 5 w 15"/>
              <a:gd name="T23" fmla="*/ 9 h 14"/>
              <a:gd name="T24" fmla="*/ 6 w 15"/>
              <a:gd name="T25" fmla="*/ 6 h 14"/>
              <a:gd name="T26" fmla="*/ 6 w 15"/>
              <a:gd name="T27" fmla="*/ 4 h 14"/>
              <a:gd name="T28" fmla="*/ 5 w 15"/>
              <a:gd name="T29" fmla="*/ 4 h 14"/>
              <a:gd name="T30" fmla="*/ 4 w 15"/>
              <a:gd name="T31" fmla="*/ 4 h 14"/>
              <a:gd name="T32" fmla="*/ 4 w 15"/>
              <a:gd name="T33" fmla="*/ 2 h 14"/>
              <a:gd name="T34" fmla="*/ 4 w 15"/>
              <a:gd name="T35" fmla="*/ 2 h 14"/>
              <a:gd name="T36" fmla="*/ 5 w 15"/>
              <a:gd name="T37" fmla="*/ 2 h 14"/>
              <a:gd name="T38" fmla="*/ 11 w 15"/>
              <a:gd name="T39" fmla="*/ 1 h 14"/>
              <a:gd name="T40" fmla="*/ 14 w 15"/>
              <a:gd name="T41" fmla="*/ 0 h 14"/>
              <a:gd name="T42" fmla="*/ 15 w 15"/>
              <a:gd name="T43" fmla="*/ 0 h 14"/>
              <a:gd name="T44" fmla="*/ 15 w 15"/>
              <a:gd name="T45" fmla="*/ 2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5" h="14">
                <a:moveTo>
                  <a:pt x="15" y="2"/>
                </a:moveTo>
                <a:lnTo>
                  <a:pt x="14" y="3"/>
                </a:lnTo>
                <a:lnTo>
                  <a:pt x="13" y="7"/>
                </a:lnTo>
                <a:lnTo>
                  <a:pt x="13" y="9"/>
                </a:lnTo>
                <a:lnTo>
                  <a:pt x="14" y="9"/>
                </a:lnTo>
                <a:lnTo>
                  <a:pt x="13" y="12"/>
                </a:lnTo>
                <a:lnTo>
                  <a:pt x="12" y="13"/>
                </a:lnTo>
                <a:lnTo>
                  <a:pt x="9" y="14"/>
                </a:lnTo>
                <a:lnTo>
                  <a:pt x="0" y="14"/>
                </a:lnTo>
                <a:lnTo>
                  <a:pt x="0" y="13"/>
                </a:lnTo>
                <a:lnTo>
                  <a:pt x="5" y="11"/>
                </a:lnTo>
                <a:lnTo>
                  <a:pt x="5" y="9"/>
                </a:lnTo>
                <a:lnTo>
                  <a:pt x="6" y="6"/>
                </a:lnTo>
                <a:lnTo>
                  <a:pt x="6" y="4"/>
                </a:lnTo>
                <a:lnTo>
                  <a:pt x="5" y="4"/>
                </a:lnTo>
                <a:lnTo>
                  <a:pt x="4" y="4"/>
                </a:lnTo>
                <a:lnTo>
                  <a:pt x="4" y="2"/>
                </a:lnTo>
                <a:lnTo>
                  <a:pt x="4" y="2"/>
                </a:lnTo>
                <a:lnTo>
                  <a:pt x="5" y="2"/>
                </a:lnTo>
                <a:lnTo>
                  <a:pt x="11" y="1"/>
                </a:lnTo>
                <a:lnTo>
                  <a:pt x="14" y="0"/>
                </a:lnTo>
                <a:lnTo>
                  <a:pt x="15" y="0"/>
                </a:lnTo>
                <a:lnTo>
                  <a:pt x="15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69" name="Freeform 769"/>
          <p:cNvSpPr>
            <a:spLocks/>
          </p:cNvSpPr>
          <p:nvPr/>
        </p:nvSpPr>
        <p:spPr bwMode="auto">
          <a:xfrm>
            <a:off x="3068638" y="3565490"/>
            <a:ext cx="12700" cy="14288"/>
          </a:xfrm>
          <a:custGeom>
            <a:avLst/>
            <a:gdLst>
              <a:gd name="T0" fmla="*/ 2 w 8"/>
              <a:gd name="T1" fmla="*/ 0 h 9"/>
              <a:gd name="T2" fmla="*/ 0 w 8"/>
              <a:gd name="T3" fmla="*/ 2 h 9"/>
              <a:gd name="T4" fmla="*/ 0 w 8"/>
              <a:gd name="T5" fmla="*/ 4 h 9"/>
              <a:gd name="T6" fmla="*/ 1 w 8"/>
              <a:gd name="T7" fmla="*/ 7 h 9"/>
              <a:gd name="T8" fmla="*/ 4 w 8"/>
              <a:gd name="T9" fmla="*/ 7 h 9"/>
              <a:gd name="T10" fmla="*/ 6 w 8"/>
              <a:gd name="T11" fmla="*/ 9 h 9"/>
              <a:gd name="T12" fmla="*/ 8 w 8"/>
              <a:gd name="T13" fmla="*/ 7 h 9"/>
              <a:gd name="T14" fmla="*/ 8 w 8"/>
              <a:gd name="T15" fmla="*/ 5 h 9"/>
              <a:gd name="T16" fmla="*/ 6 w 8"/>
              <a:gd name="T17" fmla="*/ 4 h 9"/>
              <a:gd name="T18" fmla="*/ 4 w 8"/>
              <a:gd name="T19" fmla="*/ 3 h 9"/>
              <a:gd name="T20" fmla="*/ 3 w 8"/>
              <a:gd name="T21" fmla="*/ 2 h 9"/>
              <a:gd name="T22" fmla="*/ 2 w 8"/>
              <a:gd name="T23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" h="9">
                <a:moveTo>
                  <a:pt x="2" y="0"/>
                </a:moveTo>
                <a:lnTo>
                  <a:pt x="0" y="2"/>
                </a:lnTo>
                <a:lnTo>
                  <a:pt x="0" y="4"/>
                </a:lnTo>
                <a:lnTo>
                  <a:pt x="1" y="7"/>
                </a:lnTo>
                <a:lnTo>
                  <a:pt x="4" y="7"/>
                </a:lnTo>
                <a:lnTo>
                  <a:pt x="6" y="9"/>
                </a:lnTo>
                <a:lnTo>
                  <a:pt x="8" y="7"/>
                </a:lnTo>
                <a:lnTo>
                  <a:pt x="8" y="5"/>
                </a:lnTo>
                <a:lnTo>
                  <a:pt x="6" y="4"/>
                </a:lnTo>
                <a:lnTo>
                  <a:pt x="4" y="3"/>
                </a:lnTo>
                <a:lnTo>
                  <a:pt x="3" y="2"/>
                </a:lnTo>
                <a:lnTo>
                  <a:pt x="2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70" name="Freeform 770"/>
          <p:cNvSpPr>
            <a:spLocks/>
          </p:cNvSpPr>
          <p:nvPr/>
        </p:nvSpPr>
        <p:spPr bwMode="auto">
          <a:xfrm>
            <a:off x="3068638" y="3565490"/>
            <a:ext cx="12700" cy="14288"/>
          </a:xfrm>
          <a:custGeom>
            <a:avLst/>
            <a:gdLst>
              <a:gd name="T0" fmla="*/ 2 w 8"/>
              <a:gd name="T1" fmla="*/ 0 h 9"/>
              <a:gd name="T2" fmla="*/ 0 w 8"/>
              <a:gd name="T3" fmla="*/ 2 h 9"/>
              <a:gd name="T4" fmla="*/ 0 w 8"/>
              <a:gd name="T5" fmla="*/ 4 h 9"/>
              <a:gd name="T6" fmla="*/ 1 w 8"/>
              <a:gd name="T7" fmla="*/ 7 h 9"/>
              <a:gd name="T8" fmla="*/ 4 w 8"/>
              <a:gd name="T9" fmla="*/ 7 h 9"/>
              <a:gd name="T10" fmla="*/ 6 w 8"/>
              <a:gd name="T11" fmla="*/ 9 h 9"/>
              <a:gd name="T12" fmla="*/ 8 w 8"/>
              <a:gd name="T13" fmla="*/ 7 h 9"/>
              <a:gd name="T14" fmla="*/ 8 w 8"/>
              <a:gd name="T15" fmla="*/ 5 h 9"/>
              <a:gd name="T16" fmla="*/ 6 w 8"/>
              <a:gd name="T17" fmla="*/ 4 h 9"/>
              <a:gd name="T18" fmla="*/ 4 w 8"/>
              <a:gd name="T19" fmla="*/ 3 h 9"/>
              <a:gd name="T20" fmla="*/ 3 w 8"/>
              <a:gd name="T21" fmla="*/ 2 h 9"/>
              <a:gd name="T22" fmla="*/ 2 w 8"/>
              <a:gd name="T23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8" h="9">
                <a:moveTo>
                  <a:pt x="2" y="0"/>
                </a:moveTo>
                <a:lnTo>
                  <a:pt x="0" y="2"/>
                </a:lnTo>
                <a:lnTo>
                  <a:pt x="0" y="4"/>
                </a:lnTo>
                <a:lnTo>
                  <a:pt x="1" y="7"/>
                </a:lnTo>
                <a:lnTo>
                  <a:pt x="4" y="7"/>
                </a:lnTo>
                <a:lnTo>
                  <a:pt x="6" y="9"/>
                </a:lnTo>
                <a:lnTo>
                  <a:pt x="8" y="7"/>
                </a:lnTo>
                <a:lnTo>
                  <a:pt x="8" y="5"/>
                </a:lnTo>
                <a:lnTo>
                  <a:pt x="6" y="4"/>
                </a:lnTo>
                <a:lnTo>
                  <a:pt x="4" y="3"/>
                </a:lnTo>
                <a:lnTo>
                  <a:pt x="3" y="2"/>
                </a:lnTo>
                <a:lnTo>
                  <a:pt x="2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71" name="Freeform 771"/>
          <p:cNvSpPr>
            <a:spLocks/>
          </p:cNvSpPr>
          <p:nvPr/>
        </p:nvSpPr>
        <p:spPr bwMode="auto">
          <a:xfrm>
            <a:off x="3084513" y="3576603"/>
            <a:ext cx="7937" cy="7938"/>
          </a:xfrm>
          <a:custGeom>
            <a:avLst/>
            <a:gdLst>
              <a:gd name="T0" fmla="*/ 4 w 5"/>
              <a:gd name="T1" fmla="*/ 4 h 5"/>
              <a:gd name="T2" fmla="*/ 3 w 5"/>
              <a:gd name="T3" fmla="*/ 5 h 5"/>
              <a:gd name="T4" fmla="*/ 0 w 5"/>
              <a:gd name="T5" fmla="*/ 5 h 5"/>
              <a:gd name="T6" fmla="*/ 0 w 5"/>
              <a:gd name="T7" fmla="*/ 4 h 5"/>
              <a:gd name="T8" fmla="*/ 0 w 5"/>
              <a:gd name="T9" fmla="*/ 4 h 5"/>
              <a:gd name="T10" fmla="*/ 0 w 5"/>
              <a:gd name="T11" fmla="*/ 3 h 5"/>
              <a:gd name="T12" fmla="*/ 1 w 5"/>
              <a:gd name="T13" fmla="*/ 3 h 5"/>
              <a:gd name="T14" fmla="*/ 2 w 5"/>
              <a:gd name="T15" fmla="*/ 0 h 5"/>
              <a:gd name="T16" fmla="*/ 3 w 5"/>
              <a:gd name="T17" fmla="*/ 0 h 5"/>
              <a:gd name="T18" fmla="*/ 4 w 5"/>
              <a:gd name="T19" fmla="*/ 0 h 5"/>
              <a:gd name="T20" fmla="*/ 5 w 5"/>
              <a:gd name="T21" fmla="*/ 2 h 5"/>
              <a:gd name="T22" fmla="*/ 5 w 5"/>
              <a:gd name="T23" fmla="*/ 3 h 5"/>
              <a:gd name="T24" fmla="*/ 4 w 5"/>
              <a:gd name="T25" fmla="*/ 4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" h="5">
                <a:moveTo>
                  <a:pt x="4" y="4"/>
                </a:moveTo>
                <a:lnTo>
                  <a:pt x="3" y="5"/>
                </a:lnTo>
                <a:lnTo>
                  <a:pt x="0" y="5"/>
                </a:lnTo>
                <a:lnTo>
                  <a:pt x="0" y="4"/>
                </a:lnTo>
                <a:lnTo>
                  <a:pt x="0" y="4"/>
                </a:lnTo>
                <a:lnTo>
                  <a:pt x="0" y="3"/>
                </a:lnTo>
                <a:lnTo>
                  <a:pt x="1" y="3"/>
                </a:lnTo>
                <a:lnTo>
                  <a:pt x="2" y="0"/>
                </a:lnTo>
                <a:lnTo>
                  <a:pt x="3" y="0"/>
                </a:lnTo>
                <a:lnTo>
                  <a:pt x="4" y="0"/>
                </a:lnTo>
                <a:lnTo>
                  <a:pt x="5" y="2"/>
                </a:lnTo>
                <a:lnTo>
                  <a:pt x="5" y="3"/>
                </a:lnTo>
                <a:lnTo>
                  <a:pt x="4" y="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72" name="Freeform 772"/>
          <p:cNvSpPr>
            <a:spLocks/>
          </p:cNvSpPr>
          <p:nvPr/>
        </p:nvSpPr>
        <p:spPr bwMode="auto">
          <a:xfrm>
            <a:off x="3084513" y="3576603"/>
            <a:ext cx="7937" cy="7938"/>
          </a:xfrm>
          <a:custGeom>
            <a:avLst/>
            <a:gdLst>
              <a:gd name="T0" fmla="*/ 4 w 5"/>
              <a:gd name="T1" fmla="*/ 4 h 5"/>
              <a:gd name="T2" fmla="*/ 3 w 5"/>
              <a:gd name="T3" fmla="*/ 5 h 5"/>
              <a:gd name="T4" fmla="*/ 0 w 5"/>
              <a:gd name="T5" fmla="*/ 5 h 5"/>
              <a:gd name="T6" fmla="*/ 0 w 5"/>
              <a:gd name="T7" fmla="*/ 4 h 5"/>
              <a:gd name="T8" fmla="*/ 0 w 5"/>
              <a:gd name="T9" fmla="*/ 4 h 5"/>
              <a:gd name="T10" fmla="*/ 0 w 5"/>
              <a:gd name="T11" fmla="*/ 3 h 5"/>
              <a:gd name="T12" fmla="*/ 1 w 5"/>
              <a:gd name="T13" fmla="*/ 3 h 5"/>
              <a:gd name="T14" fmla="*/ 2 w 5"/>
              <a:gd name="T15" fmla="*/ 0 h 5"/>
              <a:gd name="T16" fmla="*/ 3 w 5"/>
              <a:gd name="T17" fmla="*/ 0 h 5"/>
              <a:gd name="T18" fmla="*/ 4 w 5"/>
              <a:gd name="T19" fmla="*/ 0 h 5"/>
              <a:gd name="T20" fmla="*/ 5 w 5"/>
              <a:gd name="T21" fmla="*/ 2 h 5"/>
              <a:gd name="T22" fmla="*/ 5 w 5"/>
              <a:gd name="T23" fmla="*/ 3 h 5"/>
              <a:gd name="T24" fmla="*/ 4 w 5"/>
              <a:gd name="T25" fmla="*/ 4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" h="5">
                <a:moveTo>
                  <a:pt x="4" y="4"/>
                </a:moveTo>
                <a:lnTo>
                  <a:pt x="3" y="5"/>
                </a:lnTo>
                <a:lnTo>
                  <a:pt x="0" y="5"/>
                </a:lnTo>
                <a:lnTo>
                  <a:pt x="0" y="4"/>
                </a:lnTo>
                <a:lnTo>
                  <a:pt x="0" y="4"/>
                </a:lnTo>
                <a:lnTo>
                  <a:pt x="0" y="3"/>
                </a:lnTo>
                <a:lnTo>
                  <a:pt x="1" y="3"/>
                </a:lnTo>
                <a:lnTo>
                  <a:pt x="2" y="0"/>
                </a:lnTo>
                <a:lnTo>
                  <a:pt x="3" y="0"/>
                </a:lnTo>
                <a:lnTo>
                  <a:pt x="4" y="0"/>
                </a:lnTo>
                <a:lnTo>
                  <a:pt x="5" y="2"/>
                </a:lnTo>
                <a:lnTo>
                  <a:pt x="5" y="3"/>
                </a:lnTo>
                <a:lnTo>
                  <a:pt x="4" y="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73" name="Freeform 773"/>
          <p:cNvSpPr>
            <a:spLocks/>
          </p:cNvSpPr>
          <p:nvPr/>
        </p:nvSpPr>
        <p:spPr bwMode="auto">
          <a:xfrm>
            <a:off x="3062288" y="3584540"/>
            <a:ext cx="53975" cy="46038"/>
          </a:xfrm>
          <a:custGeom>
            <a:avLst/>
            <a:gdLst>
              <a:gd name="T0" fmla="*/ 34 w 34"/>
              <a:gd name="T1" fmla="*/ 3 h 29"/>
              <a:gd name="T2" fmla="*/ 34 w 34"/>
              <a:gd name="T3" fmla="*/ 11 h 29"/>
              <a:gd name="T4" fmla="*/ 34 w 34"/>
              <a:gd name="T5" fmla="*/ 12 h 29"/>
              <a:gd name="T6" fmla="*/ 28 w 34"/>
              <a:gd name="T7" fmla="*/ 21 h 29"/>
              <a:gd name="T8" fmla="*/ 25 w 34"/>
              <a:gd name="T9" fmla="*/ 24 h 29"/>
              <a:gd name="T10" fmla="*/ 20 w 34"/>
              <a:gd name="T11" fmla="*/ 26 h 29"/>
              <a:gd name="T12" fmla="*/ 12 w 34"/>
              <a:gd name="T13" fmla="*/ 29 h 29"/>
              <a:gd name="T14" fmla="*/ 11 w 34"/>
              <a:gd name="T15" fmla="*/ 29 h 29"/>
              <a:gd name="T16" fmla="*/ 5 w 34"/>
              <a:gd name="T17" fmla="*/ 29 h 29"/>
              <a:gd name="T18" fmla="*/ 2 w 34"/>
              <a:gd name="T19" fmla="*/ 28 h 29"/>
              <a:gd name="T20" fmla="*/ 1 w 34"/>
              <a:gd name="T21" fmla="*/ 25 h 29"/>
              <a:gd name="T22" fmla="*/ 1 w 34"/>
              <a:gd name="T23" fmla="*/ 21 h 29"/>
              <a:gd name="T24" fmla="*/ 0 w 34"/>
              <a:gd name="T25" fmla="*/ 18 h 29"/>
              <a:gd name="T26" fmla="*/ 0 w 34"/>
              <a:gd name="T27" fmla="*/ 15 h 29"/>
              <a:gd name="T28" fmla="*/ 0 w 34"/>
              <a:gd name="T29" fmla="*/ 13 h 29"/>
              <a:gd name="T30" fmla="*/ 0 w 34"/>
              <a:gd name="T31" fmla="*/ 5 h 29"/>
              <a:gd name="T32" fmla="*/ 1 w 34"/>
              <a:gd name="T33" fmla="*/ 3 h 29"/>
              <a:gd name="T34" fmla="*/ 4 w 34"/>
              <a:gd name="T35" fmla="*/ 2 h 29"/>
              <a:gd name="T36" fmla="*/ 5 w 34"/>
              <a:gd name="T37" fmla="*/ 1 h 29"/>
              <a:gd name="T38" fmla="*/ 7 w 34"/>
              <a:gd name="T39" fmla="*/ 0 h 29"/>
              <a:gd name="T40" fmla="*/ 10 w 34"/>
              <a:gd name="T41" fmla="*/ 0 h 29"/>
              <a:gd name="T42" fmla="*/ 12 w 34"/>
              <a:gd name="T43" fmla="*/ 0 h 29"/>
              <a:gd name="T44" fmla="*/ 16 w 34"/>
              <a:gd name="T45" fmla="*/ 1 h 29"/>
              <a:gd name="T46" fmla="*/ 18 w 34"/>
              <a:gd name="T47" fmla="*/ 1 h 29"/>
              <a:gd name="T48" fmla="*/ 22 w 34"/>
              <a:gd name="T49" fmla="*/ 0 h 29"/>
              <a:gd name="T50" fmla="*/ 28 w 34"/>
              <a:gd name="T51" fmla="*/ 0 h 29"/>
              <a:gd name="T52" fmla="*/ 31 w 34"/>
              <a:gd name="T53" fmla="*/ 0 h 29"/>
              <a:gd name="T54" fmla="*/ 32 w 34"/>
              <a:gd name="T55" fmla="*/ 1 h 29"/>
              <a:gd name="T56" fmla="*/ 34 w 34"/>
              <a:gd name="T57" fmla="*/ 2 h 29"/>
              <a:gd name="T58" fmla="*/ 34 w 34"/>
              <a:gd name="T59" fmla="*/ 2 h 29"/>
              <a:gd name="T60" fmla="*/ 34 w 34"/>
              <a:gd name="T61" fmla="*/ 3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4" h="29">
                <a:moveTo>
                  <a:pt x="34" y="3"/>
                </a:moveTo>
                <a:lnTo>
                  <a:pt x="34" y="11"/>
                </a:lnTo>
                <a:lnTo>
                  <a:pt x="34" y="12"/>
                </a:lnTo>
                <a:lnTo>
                  <a:pt x="28" y="21"/>
                </a:lnTo>
                <a:lnTo>
                  <a:pt x="25" y="24"/>
                </a:lnTo>
                <a:lnTo>
                  <a:pt x="20" y="26"/>
                </a:lnTo>
                <a:lnTo>
                  <a:pt x="12" y="29"/>
                </a:lnTo>
                <a:lnTo>
                  <a:pt x="11" y="29"/>
                </a:lnTo>
                <a:lnTo>
                  <a:pt x="5" y="29"/>
                </a:lnTo>
                <a:lnTo>
                  <a:pt x="2" y="28"/>
                </a:lnTo>
                <a:lnTo>
                  <a:pt x="1" y="25"/>
                </a:lnTo>
                <a:lnTo>
                  <a:pt x="1" y="21"/>
                </a:lnTo>
                <a:lnTo>
                  <a:pt x="0" y="18"/>
                </a:lnTo>
                <a:lnTo>
                  <a:pt x="0" y="15"/>
                </a:lnTo>
                <a:lnTo>
                  <a:pt x="0" y="13"/>
                </a:lnTo>
                <a:lnTo>
                  <a:pt x="0" y="5"/>
                </a:lnTo>
                <a:lnTo>
                  <a:pt x="1" y="3"/>
                </a:lnTo>
                <a:lnTo>
                  <a:pt x="4" y="2"/>
                </a:lnTo>
                <a:lnTo>
                  <a:pt x="5" y="1"/>
                </a:lnTo>
                <a:lnTo>
                  <a:pt x="7" y="0"/>
                </a:lnTo>
                <a:lnTo>
                  <a:pt x="10" y="0"/>
                </a:lnTo>
                <a:lnTo>
                  <a:pt x="12" y="0"/>
                </a:lnTo>
                <a:lnTo>
                  <a:pt x="16" y="1"/>
                </a:lnTo>
                <a:lnTo>
                  <a:pt x="18" y="1"/>
                </a:lnTo>
                <a:lnTo>
                  <a:pt x="22" y="0"/>
                </a:lnTo>
                <a:lnTo>
                  <a:pt x="28" y="0"/>
                </a:lnTo>
                <a:lnTo>
                  <a:pt x="31" y="0"/>
                </a:lnTo>
                <a:lnTo>
                  <a:pt x="32" y="1"/>
                </a:lnTo>
                <a:lnTo>
                  <a:pt x="34" y="2"/>
                </a:lnTo>
                <a:lnTo>
                  <a:pt x="34" y="2"/>
                </a:lnTo>
                <a:lnTo>
                  <a:pt x="34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74" name="Freeform 774"/>
          <p:cNvSpPr>
            <a:spLocks/>
          </p:cNvSpPr>
          <p:nvPr/>
        </p:nvSpPr>
        <p:spPr bwMode="auto">
          <a:xfrm>
            <a:off x="3062288" y="3584540"/>
            <a:ext cx="53975" cy="46038"/>
          </a:xfrm>
          <a:custGeom>
            <a:avLst/>
            <a:gdLst>
              <a:gd name="T0" fmla="*/ 34 w 34"/>
              <a:gd name="T1" fmla="*/ 3 h 29"/>
              <a:gd name="T2" fmla="*/ 34 w 34"/>
              <a:gd name="T3" fmla="*/ 11 h 29"/>
              <a:gd name="T4" fmla="*/ 34 w 34"/>
              <a:gd name="T5" fmla="*/ 12 h 29"/>
              <a:gd name="T6" fmla="*/ 28 w 34"/>
              <a:gd name="T7" fmla="*/ 21 h 29"/>
              <a:gd name="T8" fmla="*/ 25 w 34"/>
              <a:gd name="T9" fmla="*/ 24 h 29"/>
              <a:gd name="T10" fmla="*/ 20 w 34"/>
              <a:gd name="T11" fmla="*/ 26 h 29"/>
              <a:gd name="T12" fmla="*/ 12 w 34"/>
              <a:gd name="T13" fmla="*/ 29 h 29"/>
              <a:gd name="T14" fmla="*/ 11 w 34"/>
              <a:gd name="T15" fmla="*/ 29 h 29"/>
              <a:gd name="T16" fmla="*/ 5 w 34"/>
              <a:gd name="T17" fmla="*/ 29 h 29"/>
              <a:gd name="T18" fmla="*/ 2 w 34"/>
              <a:gd name="T19" fmla="*/ 28 h 29"/>
              <a:gd name="T20" fmla="*/ 1 w 34"/>
              <a:gd name="T21" fmla="*/ 25 h 29"/>
              <a:gd name="T22" fmla="*/ 1 w 34"/>
              <a:gd name="T23" fmla="*/ 21 h 29"/>
              <a:gd name="T24" fmla="*/ 0 w 34"/>
              <a:gd name="T25" fmla="*/ 18 h 29"/>
              <a:gd name="T26" fmla="*/ 0 w 34"/>
              <a:gd name="T27" fmla="*/ 15 h 29"/>
              <a:gd name="T28" fmla="*/ 0 w 34"/>
              <a:gd name="T29" fmla="*/ 13 h 29"/>
              <a:gd name="T30" fmla="*/ 0 w 34"/>
              <a:gd name="T31" fmla="*/ 5 h 29"/>
              <a:gd name="T32" fmla="*/ 1 w 34"/>
              <a:gd name="T33" fmla="*/ 3 h 29"/>
              <a:gd name="T34" fmla="*/ 4 w 34"/>
              <a:gd name="T35" fmla="*/ 2 h 29"/>
              <a:gd name="T36" fmla="*/ 5 w 34"/>
              <a:gd name="T37" fmla="*/ 1 h 29"/>
              <a:gd name="T38" fmla="*/ 7 w 34"/>
              <a:gd name="T39" fmla="*/ 0 h 29"/>
              <a:gd name="T40" fmla="*/ 10 w 34"/>
              <a:gd name="T41" fmla="*/ 0 h 29"/>
              <a:gd name="T42" fmla="*/ 12 w 34"/>
              <a:gd name="T43" fmla="*/ 0 h 29"/>
              <a:gd name="T44" fmla="*/ 16 w 34"/>
              <a:gd name="T45" fmla="*/ 1 h 29"/>
              <a:gd name="T46" fmla="*/ 18 w 34"/>
              <a:gd name="T47" fmla="*/ 1 h 29"/>
              <a:gd name="T48" fmla="*/ 22 w 34"/>
              <a:gd name="T49" fmla="*/ 0 h 29"/>
              <a:gd name="T50" fmla="*/ 28 w 34"/>
              <a:gd name="T51" fmla="*/ 0 h 29"/>
              <a:gd name="T52" fmla="*/ 31 w 34"/>
              <a:gd name="T53" fmla="*/ 0 h 29"/>
              <a:gd name="T54" fmla="*/ 32 w 34"/>
              <a:gd name="T55" fmla="*/ 1 h 29"/>
              <a:gd name="T56" fmla="*/ 34 w 34"/>
              <a:gd name="T57" fmla="*/ 2 h 29"/>
              <a:gd name="T58" fmla="*/ 34 w 34"/>
              <a:gd name="T59" fmla="*/ 2 h 29"/>
              <a:gd name="T60" fmla="*/ 34 w 34"/>
              <a:gd name="T61" fmla="*/ 3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34" h="29">
                <a:moveTo>
                  <a:pt x="34" y="3"/>
                </a:moveTo>
                <a:lnTo>
                  <a:pt x="34" y="11"/>
                </a:lnTo>
                <a:lnTo>
                  <a:pt x="34" y="12"/>
                </a:lnTo>
                <a:lnTo>
                  <a:pt x="28" y="21"/>
                </a:lnTo>
                <a:lnTo>
                  <a:pt x="25" y="24"/>
                </a:lnTo>
                <a:lnTo>
                  <a:pt x="20" y="26"/>
                </a:lnTo>
                <a:lnTo>
                  <a:pt x="12" y="29"/>
                </a:lnTo>
                <a:lnTo>
                  <a:pt x="11" y="29"/>
                </a:lnTo>
                <a:lnTo>
                  <a:pt x="5" y="29"/>
                </a:lnTo>
                <a:lnTo>
                  <a:pt x="2" y="28"/>
                </a:lnTo>
                <a:lnTo>
                  <a:pt x="1" y="25"/>
                </a:lnTo>
                <a:lnTo>
                  <a:pt x="1" y="21"/>
                </a:lnTo>
                <a:lnTo>
                  <a:pt x="0" y="18"/>
                </a:lnTo>
                <a:lnTo>
                  <a:pt x="0" y="15"/>
                </a:lnTo>
                <a:lnTo>
                  <a:pt x="0" y="13"/>
                </a:lnTo>
                <a:lnTo>
                  <a:pt x="0" y="5"/>
                </a:lnTo>
                <a:lnTo>
                  <a:pt x="1" y="3"/>
                </a:lnTo>
                <a:lnTo>
                  <a:pt x="4" y="2"/>
                </a:lnTo>
                <a:lnTo>
                  <a:pt x="5" y="1"/>
                </a:lnTo>
                <a:lnTo>
                  <a:pt x="7" y="0"/>
                </a:lnTo>
                <a:lnTo>
                  <a:pt x="10" y="0"/>
                </a:lnTo>
                <a:lnTo>
                  <a:pt x="12" y="0"/>
                </a:lnTo>
                <a:lnTo>
                  <a:pt x="16" y="1"/>
                </a:lnTo>
                <a:lnTo>
                  <a:pt x="18" y="1"/>
                </a:lnTo>
                <a:lnTo>
                  <a:pt x="22" y="0"/>
                </a:lnTo>
                <a:lnTo>
                  <a:pt x="28" y="0"/>
                </a:lnTo>
                <a:lnTo>
                  <a:pt x="31" y="0"/>
                </a:lnTo>
                <a:lnTo>
                  <a:pt x="32" y="1"/>
                </a:lnTo>
                <a:lnTo>
                  <a:pt x="34" y="2"/>
                </a:lnTo>
                <a:lnTo>
                  <a:pt x="34" y="2"/>
                </a:lnTo>
                <a:lnTo>
                  <a:pt x="34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75" name="Freeform 775"/>
          <p:cNvSpPr>
            <a:spLocks/>
          </p:cNvSpPr>
          <p:nvPr/>
        </p:nvSpPr>
        <p:spPr bwMode="auto">
          <a:xfrm>
            <a:off x="3048000" y="3579778"/>
            <a:ext cx="14287" cy="20638"/>
          </a:xfrm>
          <a:custGeom>
            <a:avLst/>
            <a:gdLst>
              <a:gd name="T0" fmla="*/ 9 w 9"/>
              <a:gd name="T1" fmla="*/ 5 h 13"/>
              <a:gd name="T2" fmla="*/ 9 w 9"/>
              <a:gd name="T3" fmla="*/ 6 h 13"/>
              <a:gd name="T4" fmla="*/ 7 w 9"/>
              <a:gd name="T5" fmla="*/ 8 h 13"/>
              <a:gd name="T6" fmla="*/ 7 w 9"/>
              <a:gd name="T7" fmla="*/ 8 h 13"/>
              <a:gd name="T8" fmla="*/ 4 w 9"/>
              <a:gd name="T9" fmla="*/ 13 h 13"/>
              <a:gd name="T10" fmla="*/ 1 w 9"/>
              <a:gd name="T11" fmla="*/ 13 h 13"/>
              <a:gd name="T12" fmla="*/ 1 w 9"/>
              <a:gd name="T13" fmla="*/ 11 h 13"/>
              <a:gd name="T14" fmla="*/ 0 w 9"/>
              <a:gd name="T15" fmla="*/ 10 h 13"/>
              <a:gd name="T16" fmla="*/ 0 w 9"/>
              <a:gd name="T17" fmla="*/ 8 h 13"/>
              <a:gd name="T18" fmla="*/ 0 w 9"/>
              <a:gd name="T19" fmla="*/ 7 h 13"/>
              <a:gd name="T20" fmla="*/ 3 w 9"/>
              <a:gd name="T21" fmla="*/ 5 h 13"/>
              <a:gd name="T22" fmla="*/ 3 w 9"/>
              <a:gd name="T23" fmla="*/ 3 h 13"/>
              <a:gd name="T24" fmla="*/ 4 w 9"/>
              <a:gd name="T25" fmla="*/ 2 h 13"/>
              <a:gd name="T26" fmla="*/ 5 w 9"/>
              <a:gd name="T27" fmla="*/ 2 h 13"/>
              <a:gd name="T28" fmla="*/ 7 w 9"/>
              <a:gd name="T29" fmla="*/ 1 h 13"/>
              <a:gd name="T30" fmla="*/ 7 w 9"/>
              <a:gd name="T31" fmla="*/ 1 h 13"/>
              <a:gd name="T32" fmla="*/ 9 w 9"/>
              <a:gd name="T33" fmla="*/ 0 h 13"/>
              <a:gd name="T34" fmla="*/ 9 w 9"/>
              <a:gd name="T35" fmla="*/ 1 h 13"/>
              <a:gd name="T36" fmla="*/ 7 w 9"/>
              <a:gd name="T37" fmla="*/ 2 h 13"/>
              <a:gd name="T38" fmla="*/ 6 w 9"/>
              <a:gd name="T39" fmla="*/ 3 h 13"/>
              <a:gd name="T40" fmla="*/ 6 w 9"/>
              <a:gd name="T41" fmla="*/ 4 h 13"/>
              <a:gd name="T42" fmla="*/ 8 w 9"/>
              <a:gd name="T43" fmla="*/ 4 h 13"/>
              <a:gd name="T44" fmla="*/ 9 w 9"/>
              <a:gd name="T45" fmla="*/ 5 h 13"/>
              <a:gd name="T46" fmla="*/ 9 w 9"/>
              <a:gd name="T47" fmla="*/ 5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9" h="13">
                <a:moveTo>
                  <a:pt x="9" y="5"/>
                </a:moveTo>
                <a:lnTo>
                  <a:pt x="9" y="6"/>
                </a:lnTo>
                <a:lnTo>
                  <a:pt x="7" y="8"/>
                </a:lnTo>
                <a:lnTo>
                  <a:pt x="7" y="8"/>
                </a:lnTo>
                <a:lnTo>
                  <a:pt x="4" y="13"/>
                </a:lnTo>
                <a:lnTo>
                  <a:pt x="1" y="13"/>
                </a:lnTo>
                <a:lnTo>
                  <a:pt x="1" y="11"/>
                </a:lnTo>
                <a:lnTo>
                  <a:pt x="0" y="10"/>
                </a:lnTo>
                <a:lnTo>
                  <a:pt x="0" y="8"/>
                </a:lnTo>
                <a:lnTo>
                  <a:pt x="0" y="7"/>
                </a:lnTo>
                <a:lnTo>
                  <a:pt x="3" y="5"/>
                </a:lnTo>
                <a:lnTo>
                  <a:pt x="3" y="3"/>
                </a:lnTo>
                <a:lnTo>
                  <a:pt x="4" y="2"/>
                </a:lnTo>
                <a:lnTo>
                  <a:pt x="5" y="2"/>
                </a:lnTo>
                <a:lnTo>
                  <a:pt x="7" y="1"/>
                </a:lnTo>
                <a:lnTo>
                  <a:pt x="7" y="1"/>
                </a:lnTo>
                <a:lnTo>
                  <a:pt x="9" y="0"/>
                </a:lnTo>
                <a:lnTo>
                  <a:pt x="9" y="1"/>
                </a:lnTo>
                <a:lnTo>
                  <a:pt x="7" y="2"/>
                </a:lnTo>
                <a:lnTo>
                  <a:pt x="6" y="3"/>
                </a:lnTo>
                <a:lnTo>
                  <a:pt x="6" y="4"/>
                </a:lnTo>
                <a:lnTo>
                  <a:pt x="8" y="4"/>
                </a:lnTo>
                <a:lnTo>
                  <a:pt x="9" y="5"/>
                </a:lnTo>
                <a:lnTo>
                  <a:pt x="9" y="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76" name="Freeform 776"/>
          <p:cNvSpPr>
            <a:spLocks/>
          </p:cNvSpPr>
          <p:nvPr/>
        </p:nvSpPr>
        <p:spPr bwMode="auto">
          <a:xfrm>
            <a:off x="3048000" y="3579778"/>
            <a:ext cx="14287" cy="20638"/>
          </a:xfrm>
          <a:custGeom>
            <a:avLst/>
            <a:gdLst>
              <a:gd name="T0" fmla="*/ 9 w 9"/>
              <a:gd name="T1" fmla="*/ 5 h 13"/>
              <a:gd name="T2" fmla="*/ 9 w 9"/>
              <a:gd name="T3" fmla="*/ 6 h 13"/>
              <a:gd name="T4" fmla="*/ 7 w 9"/>
              <a:gd name="T5" fmla="*/ 8 h 13"/>
              <a:gd name="T6" fmla="*/ 7 w 9"/>
              <a:gd name="T7" fmla="*/ 8 h 13"/>
              <a:gd name="T8" fmla="*/ 4 w 9"/>
              <a:gd name="T9" fmla="*/ 13 h 13"/>
              <a:gd name="T10" fmla="*/ 1 w 9"/>
              <a:gd name="T11" fmla="*/ 13 h 13"/>
              <a:gd name="T12" fmla="*/ 1 w 9"/>
              <a:gd name="T13" fmla="*/ 11 h 13"/>
              <a:gd name="T14" fmla="*/ 0 w 9"/>
              <a:gd name="T15" fmla="*/ 10 h 13"/>
              <a:gd name="T16" fmla="*/ 0 w 9"/>
              <a:gd name="T17" fmla="*/ 8 h 13"/>
              <a:gd name="T18" fmla="*/ 0 w 9"/>
              <a:gd name="T19" fmla="*/ 7 h 13"/>
              <a:gd name="T20" fmla="*/ 3 w 9"/>
              <a:gd name="T21" fmla="*/ 5 h 13"/>
              <a:gd name="T22" fmla="*/ 3 w 9"/>
              <a:gd name="T23" fmla="*/ 3 h 13"/>
              <a:gd name="T24" fmla="*/ 4 w 9"/>
              <a:gd name="T25" fmla="*/ 2 h 13"/>
              <a:gd name="T26" fmla="*/ 5 w 9"/>
              <a:gd name="T27" fmla="*/ 2 h 13"/>
              <a:gd name="T28" fmla="*/ 7 w 9"/>
              <a:gd name="T29" fmla="*/ 1 h 13"/>
              <a:gd name="T30" fmla="*/ 7 w 9"/>
              <a:gd name="T31" fmla="*/ 1 h 13"/>
              <a:gd name="T32" fmla="*/ 9 w 9"/>
              <a:gd name="T33" fmla="*/ 0 h 13"/>
              <a:gd name="T34" fmla="*/ 9 w 9"/>
              <a:gd name="T35" fmla="*/ 1 h 13"/>
              <a:gd name="T36" fmla="*/ 7 w 9"/>
              <a:gd name="T37" fmla="*/ 2 h 13"/>
              <a:gd name="T38" fmla="*/ 6 w 9"/>
              <a:gd name="T39" fmla="*/ 3 h 13"/>
              <a:gd name="T40" fmla="*/ 6 w 9"/>
              <a:gd name="T41" fmla="*/ 4 h 13"/>
              <a:gd name="T42" fmla="*/ 8 w 9"/>
              <a:gd name="T43" fmla="*/ 4 h 13"/>
              <a:gd name="T44" fmla="*/ 9 w 9"/>
              <a:gd name="T45" fmla="*/ 5 h 13"/>
              <a:gd name="T46" fmla="*/ 9 w 9"/>
              <a:gd name="T47" fmla="*/ 5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9" h="13">
                <a:moveTo>
                  <a:pt x="9" y="5"/>
                </a:moveTo>
                <a:lnTo>
                  <a:pt x="9" y="6"/>
                </a:lnTo>
                <a:lnTo>
                  <a:pt x="7" y="8"/>
                </a:lnTo>
                <a:lnTo>
                  <a:pt x="7" y="8"/>
                </a:lnTo>
                <a:lnTo>
                  <a:pt x="4" y="13"/>
                </a:lnTo>
                <a:lnTo>
                  <a:pt x="1" y="13"/>
                </a:lnTo>
                <a:lnTo>
                  <a:pt x="1" y="11"/>
                </a:lnTo>
                <a:lnTo>
                  <a:pt x="0" y="10"/>
                </a:lnTo>
                <a:lnTo>
                  <a:pt x="0" y="8"/>
                </a:lnTo>
                <a:lnTo>
                  <a:pt x="0" y="7"/>
                </a:lnTo>
                <a:lnTo>
                  <a:pt x="3" y="5"/>
                </a:lnTo>
                <a:lnTo>
                  <a:pt x="3" y="3"/>
                </a:lnTo>
                <a:lnTo>
                  <a:pt x="4" y="2"/>
                </a:lnTo>
                <a:lnTo>
                  <a:pt x="5" y="2"/>
                </a:lnTo>
                <a:lnTo>
                  <a:pt x="7" y="1"/>
                </a:lnTo>
                <a:lnTo>
                  <a:pt x="7" y="1"/>
                </a:lnTo>
                <a:lnTo>
                  <a:pt x="9" y="0"/>
                </a:lnTo>
                <a:lnTo>
                  <a:pt x="9" y="1"/>
                </a:lnTo>
                <a:lnTo>
                  <a:pt x="7" y="2"/>
                </a:lnTo>
                <a:lnTo>
                  <a:pt x="6" y="3"/>
                </a:lnTo>
                <a:lnTo>
                  <a:pt x="6" y="4"/>
                </a:lnTo>
                <a:lnTo>
                  <a:pt x="8" y="4"/>
                </a:lnTo>
                <a:lnTo>
                  <a:pt x="9" y="5"/>
                </a:lnTo>
                <a:lnTo>
                  <a:pt x="9" y="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77" name="Freeform 777"/>
          <p:cNvSpPr>
            <a:spLocks/>
          </p:cNvSpPr>
          <p:nvPr/>
        </p:nvSpPr>
        <p:spPr bwMode="auto">
          <a:xfrm>
            <a:off x="3074988" y="3565490"/>
            <a:ext cx="1587" cy="3175"/>
          </a:xfrm>
          <a:custGeom>
            <a:avLst/>
            <a:gdLst>
              <a:gd name="T0" fmla="*/ 1 w 1"/>
              <a:gd name="T1" fmla="*/ 0 h 2"/>
              <a:gd name="T2" fmla="*/ 1 w 1"/>
              <a:gd name="T3" fmla="*/ 1 h 2"/>
              <a:gd name="T4" fmla="*/ 1 w 1"/>
              <a:gd name="T5" fmla="*/ 2 h 2"/>
              <a:gd name="T6" fmla="*/ 1 w 1"/>
              <a:gd name="T7" fmla="*/ 2 h 2"/>
              <a:gd name="T8" fmla="*/ 0 w 1"/>
              <a:gd name="T9" fmla="*/ 2 h 2"/>
              <a:gd name="T10" fmla="*/ 0 w 1"/>
              <a:gd name="T11" fmla="*/ 1 h 2"/>
              <a:gd name="T12" fmla="*/ 0 w 1"/>
              <a:gd name="T13" fmla="*/ 0 h 2"/>
              <a:gd name="T14" fmla="*/ 1 w 1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" h="2">
                <a:moveTo>
                  <a:pt x="1" y="0"/>
                </a:moveTo>
                <a:lnTo>
                  <a:pt x="1" y="1"/>
                </a:lnTo>
                <a:lnTo>
                  <a:pt x="1" y="2"/>
                </a:lnTo>
                <a:lnTo>
                  <a:pt x="1" y="2"/>
                </a:lnTo>
                <a:lnTo>
                  <a:pt x="0" y="2"/>
                </a:ln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78" name="Freeform 778"/>
          <p:cNvSpPr>
            <a:spLocks/>
          </p:cNvSpPr>
          <p:nvPr/>
        </p:nvSpPr>
        <p:spPr bwMode="auto">
          <a:xfrm>
            <a:off x="3074988" y="3565490"/>
            <a:ext cx="1587" cy="3175"/>
          </a:xfrm>
          <a:custGeom>
            <a:avLst/>
            <a:gdLst>
              <a:gd name="T0" fmla="*/ 1 w 1"/>
              <a:gd name="T1" fmla="*/ 0 h 2"/>
              <a:gd name="T2" fmla="*/ 1 w 1"/>
              <a:gd name="T3" fmla="*/ 1 h 2"/>
              <a:gd name="T4" fmla="*/ 1 w 1"/>
              <a:gd name="T5" fmla="*/ 2 h 2"/>
              <a:gd name="T6" fmla="*/ 1 w 1"/>
              <a:gd name="T7" fmla="*/ 2 h 2"/>
              <a:gd name="T8" fmla="*/ 0 w 1"/>
              <a:gd name="T9" fmla="*/ 2 h 2"/>
              <a:gd name="T10" fmla="*/ 0 w 1"/>
              <a:gd name="T11" fmla="*/ 1 h 2"/>
              <a:gd name="T12" fmla="*/ 0 w 1"/>
              <a:gd name="T13" fmla="*/ 0 h 2"/>
              <a:gd name="T14" fmla="*/ 1 w 1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" h="2">
                <a:moveTo>
                  <a:pt x="1" y="0"/>
                </a:moveTo>
                <a:lnTo>
                  <a:pt x="1" y="1"/>
                </a:lnTo>
                <a:lnTo>
                  <a:pt x="1" y="2"/>
                </a:lnTo>
                <a:lnTo>
                  <a:pt x="1" y="2"/>
                </a:lnTo>
                <a:lnTo>
                  <a:pt x="0" y="2"/>
                </a:ln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79" name="Freeform 779"/>
          <p:cNvSpPr>
            <a:spLocks/>
          </p:cNvSpPr>
          <p:nvPr/>
        </p:nvSpPr>
        <p:spPr bwMode="auto">
          <a:xfrm>
            <a:off x="3065463" y="3576603"/>
            <a:ext cx="4762" cy="4763"/>
          </a:xfrm>
          <a:custGeom>
            <a:avLst/>
            <a:gdLst>
              <a:gd name="T0" fmla="*/ 2 w 3"/>
              <a:gd name="T1" fmla="*/ 0 h 3"/>
              <a:gd name="T2" fmla="*/ 3 w 3"/>
              <a:gd name="T3" fmla="*/ 2 h 3"/>
              <a:gd name="T4" fmla="*/ 3 w 3"/>
              <a:gd name="T5" fmla="*/ 3 h 3"/>
              <a:gd name="T6" fmla="*/ 0 w 3"/>
              <a:gd name="T7" fmla="*/ 3 h 3"/>
              <a:gd name="T8" fmla="*/ 0 w 3"/>
              <a:gd name="T9" fmla="*/ 2 h 3"/>
              <a:gd name="T10" fmla="*/ 2 w 3"/>
              <a:gd name="T11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3">
                <a:moveTo>
                  <a:pt x="2" y="0"/>
                </a:moveTo>
                <a:lnTo>
                  <a:pt x="3" y="2"/>
                </a:lnTo>
                <a:lnTo>
                  <a:pt x="3" y="3"/>
                </a:lnTo>
                <a:lnTo>
                  <a:pt x="0" y="3"/>
                </a:lnTo>
                <a:lnTo>
                  <a:pt x="0" y="2"/>
                </a:lnTo>
                <a:lnTo>
                  <a:pt x="2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80" name="Freeform 780"/>
          <p:cNvSpPr>
            <a:spLocks/>
          </p:cNvSpPr>
          <p:nvPr/>
        </p:nvSpPr>
        <p:spPr bwMode="auto">
          <a:xfrm>
            <a:off x="3065463" y="3576603"/>
            <a:ext cx="4762" cy="4763"/>
          </a:xfrm>
          <a:custGeom>
            <a:avLst/>
            <a:gdLst>
              <a:gd name="T0" fmla="*/ 2 w 3"/>
              <a:gd name="T1" fmla="*/ 0 h 3"/>
              <a:gd name="T2" fmla="*/ 3 w 3"/>
              <a:gd name="T3" fmla="*/ 2 h 3"/>
              <a:gd name="T4" fmla="*/ 3 w 3"/>
              <a:gd name="T5" fmla="*/ 3 h 3"/>
              <a:gd name="T6" fmla="*/ 0 w 3"/>
              <a:gd name="T7" fmla="*/ 3 h 3"/>
              <a:gd name="T8" fmla="*/ 0 w 3"/>
              <a:gd name="T9" fmla="*/ 2 h 3"/>
              <a:gd name="T10" fmla="*/ 2 w 3"/>
              <a:gd name="T11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3">
                <a:moveTo>
                  <a:pt x="2" y="0"/>
                </a:moveTo>
                <a:lnTo>
                  <a:pt x="3" y="2"/>
                </a:lnTo>
                <a:lnTo>
                  <a:pt x="3" y="3"/>
                </a:lnTo>
                <a:lnTo>
                  <a:pt x="0" y="3"/>
                </a:lnTo>
                <a:lnTo>
                  <a:pt x="0" y="2"/>
                </a:lnTo>
                <a:lnTo>
                  <a:pt x="2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81" name="Freeform 781"/>
          <p:cNvSpPr>
            <a:spLocks/>
          </p:cNvSpPr>
          <p:nvPr/>
        </p:nvSpPr>
        <p:spPr bwMode="auto">
          <a:xfrm>
            <a:off x="4316413" y="1852578"/>
            <a:ext cx="11112" cy="19050"/>
          </a:xfrm>
          <a:custGeom>
            <a:avLst/>
            <a:gdLst>
              <a:gd name="T0" fmla="*/ 5 w 7"/>
              <a:gd name="T1" fmla="*/ 0 h 12"/>
              <a:gd name="T2" fmla="*/ 5 w 7"/>
              <a:gd name="T3" fmla="*/ 0 h 12"/>
              <a:gd name="T4" fmla="*/ 4 w 7"/>
              <a:gd name="T5" fmla="*/ 1 h 12"/>
              <a:gd name="T6" fmla="*/ 2 w 7"/>
              <a:gd name="T7" fmla="*/ 1 h 12"/>
              <a:gd name="T8" fmla="*/ 1 w 7"/>
              <a:gd name="T9" fmla="*/ 2 h 12"/>
              <a:gd name="T10" fmla="*/ 2 w 7"/>
              <a:gd name="T11" fmla="*/ 3 h 12"/>
              <a:gd name="T12" fmla="*/ 2 w 7"/>
              <a:gd name="T13" fmla="*/ 4 h 12"/>
              <a:gd name="T14" fmla="*/ 4 w 7"/>
              <a:gd name="T15" fmla="*/ 4 h 12"/>
              <a:gd name="T16" fmla="*/ 0 w 7"/>
              <a:gd name="T17" fmla="*/ 7 h 12"/>
              <a:gd name="T18" fmla="*/ 1 w 7"/>
              <a:gd name="T19" fmla="*/ 8 h 12"/>
              <a:gd name="T20" fmla="*/ 2 w 7"/>
              <a:gd name="T21" fmla="*/ 8 h 12"/>
              <a:gd name="T22" fmla="*/ 4 w 7"/>
              <a:gd name="T23" fmla="*/ 7 h 12"/>
              <a:gd name="T24" fmla="*/ 5 w 7"/>
              <a:gd name="T25" fmla="*/ 8 h 12"/>
              <a:gd name="T26" fmla="*/ 5 w 7"/>
              <a:gd name="T27" fmla="*/ 9 h 12"/>
              <a:gd name="T28" fmla="*/ 4 w 7"/>
              <a:gd name="T29" fmla="*/ 12 h 12"/>
              <a:gd name="T30" fmla="*/ 7 w 7"/>
              <a:gd name="T31" fmla="*/ 10 h 12"/>
              <a:gd name="T32" fmla="*/ 7 w 7"/>
              <a:gd name="T33" fmla="*/ 9 h 12"/>
              <a:gd name="T34" fmla="*/ 7 w 7"/>
              <a:gd name="T35" fmla="*/ 8 h 12"/>
              <a:gd name="T36" fmla="*/ 7 w 7"/>
              <a:gd name="T37" fmla="*/ 7 h 12"/>
              <a:gd name="T38" fmla="*/ 7 w 7"/>
              <a:gd name="T39" fmla="*/ 5 h 12"/>
              <a:gd name="T40" fmla="*/ 7 w 7"/>
              <a:gd name="T41" fmla="*/ 4 h 12"/>
              <a:gd name="T42" fmla="*/ 7 w 7"/>
              <a:gd name="T43" fmla="*/ 3 h 12"/>
              <a:gd name="T44" fmla="*/ 5 w 7"/>
              <a:gd name="T45" fmla="*/ 3 h 12"/>
              <a:gd name="T46" fmla="*/ 5 w 7"/>
              <a:gd name="T47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7" h="12">
                <a:moveTo>
                  <a:pt x="5" y="0"/>
                </a:moveTo>
                <a:lnTo>
                  <a:pt x="5" y="0"/>
                </a:lnTo>
                <a:lnTo>
                  <a:pt x="4" y="1"/>
                </a:lnTo>
                <a:lnTo>
                  <a:pt x="2" y="1"/>
                </a:lnTo>
                <a:lnTo>
                  <a:pt x="1" y="2"/>
                </a:lnTo>
                <a:lnTo>
                  <a:pt x="2" y="3"/>
                </a:lnTo>
                <a:lnTo>
                  <a:pt x="2" y="4"/>
                </a:lnTo>
                <a:lnTo>
                  <a:pt x="4" y="4"/>
                </a:lnTo>
                <a:lnTo>
                  <a:pt x="0" y="7"/>
                </a:lnTo>
                <a:lnTo>
                  <a:pt x="1" y="8"/>
                </a:lnTo>
                <a:lnTo>
                  <a:pt x="2" y="8"/>
                </a:lnTo>
                <a:lnTo>
                  <a:pt x="4" y="7"/>
                </a:lnTo>
                <a:lnTo>
                  <a:pt x="5" y="8"/>
                </a:lnTo>
                <a:lnTo>
                  <a:pt x="5" y="9"/>
                </a:lnTo>
                <a:lnTo>
                  <a:pt x="4" y="12"/>
                </a:lnTo>
                <a:lnTo>
                  <a:pt x="7" y="10"/>
                </a:lnTo>
                <a:lnTo>
                  <a:pt x="7" y="9"/>
                </a:lnTo>
                <a:lnTo>
                  <a:pt x="7" y="8"/>
                </a:lnTo>
                <a:lnTo>
                  <a:pt x="7" y="7"/>
                </a:lnTo>
                <a:lnTo>
                  <a:pt x="7" y="5"/>
                </a:lnTo>
                <a:lnTo>
                  <a:pt x="7" y="4"/>
                </a:lnTo>
                <a:lnTo>
                  <a:pt x="7" y="3"/>
                </a:lnTo>
                <a:lnTo>
                  <a:pt x="5" y="3"/>
                </a:lnTo>
                <a:lnTo>
                  <a:pt x="5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82" name="Freeform 782"/>
          <p:cNvSpPr>
            <a:spLocks/>
          </p:cNvSpPr>
          <p:nvPr/>
        </p:nvSpPr>
        <p:spPr bwMode="auto">
          <a:xfrm>
            <a:off x="4316413" y="1852578"/>
            <a:ext cx="11112" cy="19050"/>
          </a:xfrm>
          <a:custGeom>
            <a:avLst/>
            <a:gdLst>
              <a:gd name="T0" fmla="*/ 5 w 7"/>
              <a:gd name="T1" fmla="*/ 0 h 12"/>
              <a:gd name="T2" fmla="*/ 5 w 7"/>
              <a:gd name="T3" fmla="*/ 0 h 12"/>
              <a:gd name="T4" fmla="*/ 4 w 7"/>
              <a:gd name="T5" fmla="*/ 1 h 12"/>
              <a:gd name="T6" fmla="*/ 2 w 7"/>
              <a:gd name="T7" fmla="*/ 1 h 12"/>
              <a:gd name="T8" fmla="*/ 1 w 7"/>
              <a:gd name="T9" fmla="*/ 2 h 12"/>
              <a:gd name="T10" fmla="*/ 2 w 7"/>
              <a:gd name="T11" fmla="*/ 3 h 12"/>
              <a:gd name="T12" fmla="*/ 2 w 7"/>
              <a:gd name="T13" fmla="*/ 4 h 12"/>
              <a:gd name="T14" fmla="*/ 4 w 7"/>
              <a:gd name="T15" fmla="*/ 4 h 12"/>
              <a:gd name="T16" fmla="*/ 0 w 7"/>
              <a:gd name="T17" fmla="*/ 7 h 12"/>
              <a:gd name="T18" fmla="*/ 1 w 7"/>
              <a:gd name="T19" fmla="*/ 8 h 12"/>
              <a:gd name="T20" fmla="*/ 2 w 7"/>
              <a:gd name="T21" fmla="*/ 8 h 12"/>
              <a:gd name="T22" fmla="*/ 4 w 7"/>
              <a:gd name="T23" fmla="*/ 7 h 12"/>
              <a:gd name="T24" fmla="*/ 5 w 7"/>
              <a:gd name="T25" fmla="*/ 8 h 12"/>
              <a:gd name="T26" fmla="*/ 5 w 7"/>
              <a:gd name="T27" fmla="*/ 9 h 12"/>
              <a:gd name="T28" fmla="*/ 4 w 7"/>
              <a:gd name="T29" fmla="*/ 12 h 12"/>
              <a:gd name="T30" fmla="*/ 7 w 7"/>
              <a:gd name="T31" fmla="*/ 10 h 12"/>
              <a:gd name="T32" fmla="*/ 7 w 7"/>
              <a:gd name="T33" fmla="*/ 9 h 12"/>
              <a:gd name="T34" fmla="*/ 7 w 7"/>
              <a:gd name="T35" fmla="*/ 8 h 12"/>
              <a:gd name="T36" fmla="*/ 7 w 7"/>
              <a:gd name="T37" fmla="*/ 7 h 12"/>
              <a:gd name="T38" fmla="*/ 7 w 7"/>
              <a:gd name="T39" fmla="*/ 5 h 12"/>
              <a:gd name="T40" fmla="*/ 7 w 7"/>
              <a:gd name="T41" fmla="*/ 4 h 12"/>
              <a:gd name="T42" fmla="*/ 7 w 7"/>
              <a:gd name="T43" fmla="*/ 3 h 12"/>
              <a:gd name="T44" fmla="*/ 5 w 7"/>
              <a:gd name="T45" fmla="*/ 3 h 12"/>
              <a:gd name="T46" fmla="*/ 5 w 7"/>
              <a:gd name="T47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7" h="12">
                <a:moveTo>
                  <a:pt x="5" y="0"/>
                </a:moveTo>
                <a:lnTo>
                  <a:pt x="5" y="0"/>
                </a:lnTo>
                <a:lnTo>
                  <a:pt x="4" y="1"/>
                </a:lnTo>
                <a:lnTo>
                  <a:pt x="2" y="1"/>
                </a:lnTo>
                <a:lnTo>
                  <a:pt x="1" y="2"/>
                </a:lnTo>
                <a:lnTo>
                  <a:pt x="2" y="3"/>
                </a:lnTo>
                <a:lnTo>
                  <a:pt x="2" y="4"/>
                </a:lnTo>
                <a:lnTo>
                  <a:pt x="4" y="4"/>
                </a:lnTo>
                <a:lnTo>
                  <a:pt x="0" y="7"/>
                </a:lnTo>
                <a:lnTo>
                  <a:pt x="1" y="8"/>
                </a:lnTo>
                <a:lnTo>
                  <a:pt x="2" y="8"/>
                </a:lnTo>
                <a:lnTo>
                  <a:pt x="4" y="7"/>
                </a:lnTo>
                <a:lnTo>
                  <a:pt x="5" y="8"/>
                </a:lnTo>
                <a:lnTo>
                  <a:pt x="5" y="9"/>
                </a:lnTo>
                <a:lnTo>
                  <a:pt x="4" y="12"/>
                </a:lnTo>
                <a:lnTo>
                  <a:pt x="7" y="10"/>
                </a:lnTo>
                <a:lnTo>
                  <a:pt x="7" y="9"/>
                </a:lnTo>
                <a:lnTo>
                  <a:pt x="7" y="8"/>
                </a:lnTo>
                <a:lnTo>
                  <a:pt x="7" y="7"/>
                </a:lnTo>
                <a:lnTo>
                  <a:pt x="7" y="5"/>
                </a:lnTo>
                <a:lnTo>
                  <a:pt x="7" y="4"/>
                </a:lnTo>
                <a:lnTo>
                  <a:pt x="7" y="3"/>
                </a:lnTo>
                <a:lnTo>
                  <a:pt x="5" y="3"/>
                </a:lnTo>
                <a:lnTo>
                  <a:pt x="5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83" name="Freeform 783"/>
          <p:cNvSpPr>
            <a:spLocks/>
          </p:cNvSpPr>
          <p:nvPr/>
        </p:nvSpPr>
        <p:spPr bwMode="auto">
          <a:xfrm>
            <a:off x="4203700" y="1909728"/>
            <a:ext cx="19050" cy="20638"/>
          </a:xfrm>
          <a:custGeom>
            <a:avLst/>
            <a:gdLst>
              <a:gd name="T0" fmla="*/ 11 w 12"/>
              <a:gd name="T1" fmla="*/ 0 h 13"/>
              <a:gd name="T2" fmla="*/ 10 w 12"/>
              <a:gd name="T3" fmla="*/ 0 h 13"/>
              <a:gd name="T4" fmla="*/ 8 w 12"/>
              <a:gd name="T5" fmla="*/ 2 h 13"/>
              <a:gd name="T6" fmla="*/ 5 w 12"/>
              <a:gd name="T7" fmla="*/ 4 h 13"/>
              <a:gd name="T8" fmla="*/ 5 w 12"/>
              <a:gd name="T9" fmla="*/ 4 h 13"/>
              <a:gd name="T10" fmla="*/ 5 w 12"/>
              <a:gd name="T11" fmla="*/ 5 h 13"/>
              <a:gd name="T12" fmla="*/ 4 w 12"/>
              <a:gd name="T13" fmla="*/ 5 h 13"/>
              <a:gd name="T14" fmla="*/ 1 w 12"/>
              <a:gd name="T15" fmla="*/ 5 h 13"/>
              <a:gd name="T16" fmla="*/ 0 w 12"/>
              <a:gd name="T17" fmla="*/ 6 h 13"/>
              <a:gd name="T18" fmla="*/ 0 w 12"/>
              <a:gd name="T19" fmla="*/ 8 h 13"/>
              <a:gd name="T20" fmla="*/ 1 w 12"/>
              <a:gd name="T21" fmla="*/ 9 h 13"/>
              <a:gd name="T22" fmla="*/ 1 w 12"/>
              <a:gd name="T23" fmla="*/ 10 h 13"/>
              <a:gd name="T24" fmla="*/ 0 w 12"/>
              <a:gd name="T25" fmla="*/ 12 h 13"/>
              <a:gd name="T26" fmla="*/ 1 w 12"/>
              <a:gd name="T27" fmla="*/ 13 h 13"/>
              <a:gd name="T28" fmla="*/ 4 w 12"/>
              <a:gd name="T29" fmla="*/ 12 h 13"/>
              <a:gd name="T30" fmla="*/ 4 w 12"/>
              <a:gd name="T31" fmla="*/ 10 h 13"/>
              <a:gd name="T32" fmla="*/ 5 w 12"/>
              <a:gd name="T33" fmla="*/ 10 h 13"/>
              <a:gd name="T34" fmla="*/ 6 w 12"/>
              <a:gd name="T35" fmla="*/ 9 h 13"/>
              <a:gd name="T36" fmla="*/ 7 w 12"/>
              <a:gd name="T37" fmla="*/ 9 h 13"/>
              <a:gd name="T38" fmla="*/ 9 w 12"/>
              <a:gd name="T39" fmla="*/ 8 h 13"/>
              <a:gd name="T40" fmla="*/ 9 w 12"/>
              <a:gd name="T41" fmla="*/ 7 h 13"/>
              <a:gd name="T42" fmla="*/ 9 w 12"/>
              <a:gd name="T43" fmla="*/ 7 h 13"/>
              <a:gd name="T44" fmla="*/ 9 w 12"/>
              <a:gd name="T45" fmla="*/ 6 h 13"/>
              <a:gd name="T46" fmla="*/ 10 w 12"/>
              <a:gd name="T47" fmla="*/ 5 h 13"/>
              <a:gd name="T48" fmla="*/ 11 w 12"/>
              <a:gd name="T49" fmla="*/ 5 h 13"/>
              <a:gd name="T50" fmla="*/ 12 w 12"/>
              <a:gd name="T51" fmla="*/ 4 h 13"/>
              <a:gd name="T52" fmla="*/ 11 w 12"/>
              <a:gd name="T53" fmla="*/ 5 h 13"/>
              <a:gd name="T54" fmla="*/ 11 w 12"/>
              <a:gd name="T55" fmla="*/ 4 h 13"/>
              <a:gd name="T56" fmla="*/ 11 w 12"/>
              <a:gd name="T57" fmla="*/ 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2" h="13">
                <a:moveTo>
                  <a:pt x="11" y="0"/>
                </a:moveTo>
                <a:lnTo>
                  <a:pt x="10" y="0"/>
                </a:lnTo>
                <a:lnTo>
                  <a:pt x="8" y="2"/>
                </a:lnTo>
                <a:lnTo>
                  <a:pt x="5" y="4"/>
                </a:lnTo>
                <a:lnTo>
                  <a:pt x="5" y="4"/>
                </a:lnTo>
                <a:lnTo>
                  <a:pt x="5" y="5"/>
                </a:lnTo>
                <a:lnTo>
                  <a:pt x="4" y="5"/>
                </a:lnTo>
                <a:lnTo>
                  <a:pt x="1" y="5"/>
                </a:lnTo>
                <a:lnTo>
                  <a:pt x="0" y="6"/>
                </a:lnTo>
                <a:lnTo>
                  <a:pt x="0" y="8"/>
                </a:lnTo>
                <a:lnTo>
                  <a:pt x="1" y="9"/>
                </a:lnTo>
                <a:lnTo>
                  <a:pt x="1" y="10"/>
                </a:lnTo>
                <a:lnTo>
                  <a:pt x="0" y="12"/>
                </a:lnTo>
                <a:lnTo>
                  <a:pt x="1" y="13"/>
                </a:lnTo>
                <a:lnTo>
                  <a:pt x="4" y="12"/>
                </a:lnTo>
                <a:lnTo>
                  <a:pt x="4" y="10"/>
                </a:lnTo>
                <a:lnTo>
                  <a:pt x="5" y="10"/>
                </a:lnTo>
                <a:lnTo>
                  <a:pt x="6" y="9"/>
                </a:lnTo>
                <a:lnTo>
                  <a:pt x="7" y="9"/>
                </a:lnTo>
                <a:lnTo>
                  <a:pt x="9" y="8"/>
                </a:lnTo>
                <a:lnTo>
                  <a:pt x="9" y="7"/>
                </a:lnTo>
                <a:lnTo>
                  <a:pt x="9" y="7"/>
                </a:lnTo>
                <a:lnTo>
                  <a:pt x="9" y="6"/>
                </a:lnTo>
                <a:lnTo>
                  <a:pt x="10" y="5"/>
                </a:lnTo>
                <a:lnTo>
                  <a:pt x="11" y="5"/>
                </a:lnTo>
                <a:lnTo>
                  <a:pt x="12" y="4"/>
                </a:lnTo>
                <a:lnTo>
                  <a:pt x="11" y="5"/>
                </a:lnTo>
                <a:lnTo>
                  <a:pt x="11" y="4"/>
                </a:lnTo>
                <a:lnTo>
                  <a:pt x="1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84" name="Freeform 784"/>
          <p:cNvSpPr>
            <a:spLocks/>
          </p:cNvSpPr>
          <p:nvPr/>
        </p:nvSpPr>
        <p:spPr bwMode="auto">
          <a:xfrm>
            <a:off x="4203700" y="1909728"/>
            <a:ext cx="19050" cy="20638"/>
          </a:xfrm>
          <a:custGeom>
            <a:avLst/>
            <a:gdLst>
              <a:gd name="T0" fmla="*/ 11 w 12"/>
              <a:gd name="T1" fmla="*/ 0 h 13"/>
              <a:gd name="T2" fmla="*/ 10 w 12"/>
              <a:gd name="T3" fmla="*/ 0 h 13"/>
              <a:gd name="T4" fmla="*/ 8 w 12"/>
              <a:gd name="T5" fmla="*/ 2 h 13"/>
              <a:gd name="T6" fmla="*/ 5 w 12"/>
              <a:gd name="T7" fmla="*/ 4 h 13"/>
              <a:gd name="T8" fmla="*/ 5 w 12"/>
              <a:gd name="T9" fmla="*/ 4 h 13"/>
              <a:gd name="T10" fmla="*/ 5 w 12"/>
              <a:gd name="T11" fmla="*/ 5 h 13"/>
              <a:gd name="T12" fmla="*/ 4 w 12"/>
              <a:gd name="T13" fmla="*/ 5 h 13"/>
              <a:gd name="T14" fmla="*/ 1 w 12"/>
              <a:gd name="T15" fmla="*/ 5 h 13"/>
              <a:gd name="T16" fmla="*/ 0 w 12"/>
              <a:gd name="T17" fmla="*/ 6 h 13"/>
              <a:gd name="T18" fmla="*/ 0 w 12"/>
              <a:gd name="T19" fmla="*/ 8 h 13"/>
              <a:gd name="T20" fmla="*/ 1 w 12"/>
              <a:gd name="T21" fmla="*/ 9 h 13"/>
              <a:gd name="T22" fmla="*/ 1 w 12"/>
              <a:gd name="T23" fmla="*/ 10 h 13"/>
              <a:gd name="T24" fmla="*/ 0 w 12"/>
              <a:gd name="T25" fmla="*/ 12 h 13"/>
              <a:gd name="T26" fmla="*/ 1 w 12"/>
              <a:gd name="T27" fmla="*/ 13 h 13"/>
              <a:gd name="T28" fmla="*/ 4 w 12"/>
              <a:gd name="T29" fmla="*/ 12 h 13"/>
              <a:gd name="T30" fmla="*/ 4 w 12"/>
              <a:gd name="T31" fmla="*/ 10 h 13"/>
              <a:gd name="T32" fmla="*/ 5 w 12"/>
              <a:gd name="T33" fmla="*/ 10 h 13"/>
              <a:gd name="T34" fmla="*/ 6 w 12"/>
              <a:gd name="T35" fmla="*/ 9 h 13"/>
              <a:gd name="T36" fmla="*/ 7 w 12"/>
              <a:gd name="T37" fmla="*/ 9 h 13"/>
              <a:gd name="T38" fmla="*/ 9 w 12"/>
              <a:gd name="T39" fmla="*/ 8 h 13"/>
              <a:gd name="T40" fmla="*/ 9 w 12"/>
              <a:gd name="T41" fmla="*/ 7 h 13"/>
              <a:gd name="T42" fmla="*/ 9 w 12"/>
              <a:gd name="T43" fmla="*/ 7 h 13"/>
              <a:gd name="T44" fmla="*/ 9 w 12"/>
              <a:gd name="T45" fmla="*/ 6 h 13"/>
              <a:gd name="T46" fmla="*/ 10 w 12"/>
              <a:gd name="T47" fmla="*/ 5 h 13"/>
              <a:gd name="T48" fmla="*/ 11 w 12"/>
              <a:gd name="T49" fmla="*/ 5 h 13"/>
              <a:gd name="T50" fmla="*/ 12 w 12"/>
              <a:gd name="T51" fmla="*/ 4 h 13"/>
              <a:gd name="T52" fmla="*/ 11 w 12"/>
              <a:gd name="T53" fmla="*/ 5 h 13"/>
              <a:gd name="T54" fmla="*/ 11 w 12"/>
              <a:gd name="T55" fmla="*/ 4 h 13"/>
              <a:gd name="T56" fmla="*/ 11 w 12"/>
              <a:gd name="T57" fmla="*/ 0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2" h="13">
                <a:moveTo>
                  <a:pt x="11" y="0"/>
                </a:moveTo>
                <a:lnTo>
                  <a:pt x="10" y="0"/>
                </a:lnTo>
                <a:lnTo>
                  <a:pt x="8" y="2"/>
                </a:lnTo>
                <a:lnTo>
                  <a:pt x="5" y="4"/>
                </a:lnTo>
                <a:lnTo>
                  <a:pt x="5" y="4"/>
                </a:lnTo>
                <a:lnTo>
                  <a:pt x="5" y="5"/>
                </a:lnTo>
                <a:lnTo>
                  <a:pt x="4" y="5"/>
                </a:lnTo>
                <a:lnTo>
                  <a:pt x="1" y="5"/>
                </a:lnTo>
                <a:lnTo>
                  <a:pt x="0" y="6"/>
                </a:lnTo>
                <a:lnTo>
                  <a:pt x="0" y="8"/>
                </a:lnTo>
                <a:lnTo>
                  <a:pt x="1" y="9"/>
                </a:lnTo>
                <a:lnTo>
                  <a:pt x="1" y="10"/>
                </a:lnTo>
                <a:lnTo>
                  <a:pt x="0" y="12"/>
                </a:lnTo>
                <a:lnTo>
                  <a:pt x="1" y="13"/>
                </a:lnTo>
                <a:lnTo>
                  <a:pt x="4" y="12"/>
                </a:lnTo>
                <a:lnTo>
                  <a:pt x="4" y="10"/>
                </a:lnTo>
                <a:lnTo>
                  <a:pt x="5" y="10"/>
                </a:lnTo>
                <a:lnTo>
                  <a:pt x="6" y="9"/>
                </a:lnTo>
                <a:lnTo>
                  <a:pt x="7" y="9"/>
                </a:lnTo>
                <a:lnTo>
                  <a:pt x="9" y="8"/>
                </a:lnTo>
                <a:lnTo>
                  <a:pt x="9" y="7"/>
                </a:lnTo>
                <a:lnTo>
                  <a:pt x="9" y="7"/>
                </a:lnTo>
                <a:lnTo>
                  <a:pt x="9" y="6"/>
                </a:lnTo>
                <a:lnTo>
                  <a:pt x="10" y="5"/>
                </a:lnTo>
                <a:lnTo>
                  <a:pt x="11" y="5"/>
                </a:lnTo>
                <a:lnTo>
                  <a:pt x="12" y="4"/>
                </a:lnTo>
                <a:lnTo>
                  <a:pt x="11" y="5"/>
                </a:lnTo>
                <a:lnTo>
                  <a:pt x="11" y="4"/>
                </a:lnTo>
                <a:lnTo>
                  <a:pt x="1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85" name="Freeform 785"/>
          <p:cNvSpPr>
            <a:spLocks/>
          </p:cNvSpPr>
          <p:nvPr/>
        </p:nvSpPr>
        <p:spPr bwMode="auto">
          <a:xfrm>
            <a:off x="4195763" y="1931953"/>
            <a:ext cx="7937" cy="3175"/>
          </a:xfrm>
          <a:custGeom>
            <a:avLst/>
            <a:gdLst>
              <a:gd name="T0" fmla="*/ 4 w 5"/>
              <a:gd name="T1" fmla="*/ 1 h 2"/>
              <a:gd name="T2" fmla="*/ 5 w 5"/>
              <a:gd name="T3" fmla="*/ 0 h 2"/>
              <a:gd name="T4" fmla="*/ 4 w 5"/>
              <a:gd name="T5" fmla="*/ 0 h 2"/>
              <a:gd name="T6" fmla="*/ 0 w 5"/>
              <a:gd name="T7" fmla="*/ 1 h 2"/>
              <a:gd name="T8" fmla="*/ 0 w 5"/>
              <a:gd name="T9" fmla="*/ 1 h 2"/>
              <a:gd name="T10" fmla="*/ 2 w 5"/>
              <a:gd name="T11" fmla="*/ 2 h 2"/>
              <a:gd name="T12" fmla="*/ 4 w 5"/>
              <a:gd name="T13" fmla="*/ 2 h 2"/>
              <a:gd name="T14" fmla="*/ 4 w 5"/>
              <a:gd name="T15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2">
                <a:moveTo>
                  <a:pt x="4" y="1"/>
                </a:moveTo>
                <a:lnTo>
                  <a:pt x="5" y="0"/>
                </a:lnTo>
                <a:lnTo>
                  <a:pt x="4" y="0"/>
                </a:lnTo>
                <a:lnTo>
                  <a:pt x="0" y="1"/>
                </a:lnTo>
                <a:lnTo>
                  <a:pt x="0" y="1"/>
                </a:lnTo>
                <a:lnTo>
                  <a:pt x="2" y="2"/>
                </a:lnTo>
                <a:lnTo>
                  <a:pt x="4" y="2"/>
                </a:lnTo>
                <a:lnTo>
                  <a:pt x="4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86" name="Freeform 786"/>
          <p:cNvSpPr>
            <a:spLocks/>
          </p:cNvSpPr>
          <p:nvPr/>
        </p:nvSpPr>
        <p:spPr bwMode="auto">
          <a:xfrm>
            <a:off x="4195763" y="1931953"/>
            <a:ext cx="7937" cy="3175"/>
          </a:xfrm>
          <a:custGeom>
            <a:avLst/>
            <a:gdLst>
              <a:gd name="T0" fmla="*/ 4 w 5"/>
              <a:gd name="T1" fmla="*/ 1 h 2"/>
              <a:gd name="T2" fmla="*/ 5 w 5"/>
              <a:gd name="T3" fmla="*/ 0 h 2"/>
              <a:gd name="T4" fmla="*/ 4 w 5"/>
              <a:gd name="T5" fmla="*/ 0 h 2"/>
              <a:gd name="T6" fmla="*/ 0 w 5"/>
              <a:gd name="T7" fmla="*/ 1 h 2"/>
              <a:gd name="T8" fmla="*/ 0 w 5"/>
              <a:gd name="T9" fmla="*/ 1 h 2"/>
              <a:gd name="T10" fmla="*/ 2 w 5"/>
              <a:gd name="T11" fmla="*/ 2 h 2"/>
              <a:gd name="T12" fmla="*/ 4 w 5"/>
              <a:gd name="T13" fmla="*/ 2 h 2"/>
              <a:gd name="T14" fmla="*/ 4 w 5"/>
              <a:gd name="T15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2">
                <a:moveTo>
                  <a:pt x="4" y="1"/>
                </a:moveTo>
                <a:lnTo>
                  <a:pt x="5" y="0"/>
                </a:lnTo>
                <a:lnTo>
                  <a:pt x="4" y="0"/>
                </a:lnTo>
                <a:lnTo>
                  <a:pt x="0" y="1"/>
                </a:lnTo>
                <a:lnTo>
                  <a:pt x="0" y="1"/>
                </a:lnTo>
                <a:lnTo>
                  <a:pt x="2" y="2"/>
                </a:lnTo>
                <a:lnTo>
                  <a:pt x="4" y="2"/>
                </a:lnTo>
                <a:lnTo>
                  <a:pt x="4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87" name="Freeform 787"/>
          <p:cNvSpPr>
            <a:spLocks/>
          </p:cNvSpPr>
          <p:nvPr/>
        </p:nvSpPr>
        <p:spPr bwMode="auto">
          <a:xfrm>
            <a:off x="4283075" y="1890678"/>
            <a:ext cx="12700" cy="7938"/>
          </a:xfrm>
          <a:custGeom>
            <a:avLst/>
            <a:gdLst>
              <a:gd name="T0" fmla="*/ 8 w 8"/>
              <a:gd name="T1" fmla="*/ 4 h 5"/>
              <a:gd name="T2" fmla="*/ 8 w 8"/>
              <a:gd name="T3" fmla="*/ 4 h 5"/>
              <a:gd name="T4" fmla="*/ 7 w 8"/>
              <a:gd name="T5" fmla="*/ 4 h 5"/>
              <a:gd name="T6" fmla="*/ 3 w 8"/>
              <a:gd name="T7" fmla="*/ 4 h 5"/>
              <a:gd name="T8" fmla="*/ 2 w 8"/>
              <a:gd name="T9" fmla="*/ 1 h 5"/>
              <a:gd name="T10" fmla="*/ 1 w 8"/>
              <a:gd name="T11" fmla="*/ 0 h 5"/>
              <a:gd name="T12" fmla="*/ 0 w 8"/>
              <a:gd name="T13" fmla="*/ 0 h 5"/>
              <a:gd name="T14" fmla="*/ 0 w 8"/>
              <a:gd name="T15" fmla="*/ 2 h 5"/>
              <a:gd name="T16" fmla="*/ 0 w 8"/>
              <a:gd name="T17" fmla="*/ 4 h 5"/>
              <a:gd name="T18" fmla="*/ 1 w 8"/>
              <a:gd name="T19" fmla="*/ 4 h 5"/>
              <a:gd name="T20" fmla="*/ 5 w 8"/>
              <a:gd name="T21" fmla="*/ 4 h 5"/>
              <a:gd name="T22" fmla="*/ 7 w 8"/>
              <a:gd name="T23" fmla="*/ 5 h 5"/>
              <a:gd name="T24" fmla="*/ 8 w 8"/>
              <a:gd name="T25" fmla="*/ 4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" h="5">
                <a:moveTo>
                  <a:pt x="8" y="4"/>
                </a:moveTo>
                <a:lnTo>
                  <a:pt x="8" y="4"/>
                </a:lnTo>
                <a:lnTo>
                  <a:pt x="7" y="4"/>
                </a:lnTo>
                <a:lnTo>
                  <a:pt x="3" y="4"/>
                </a:lnTo>
                <a:lnTo>
                  <a:pt x="2" y="1"/>
                </a:lnTo>
                <a:lnTo>
                  <a:pt x="1" y="0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1" y="4"/>
                </a:lnTo>
                <a:lnTo>
                  <a:pt x="5" y="4"/>
                </a:lnTo>
                <a:lnTo>
                  <a:pt x="7" y="5"/>
                </a:lnTo>
                <a:lnTo>
                  <a:pt x="8" y="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88" name="Freeform 788"/>
          <p:cNvSpPr>
            <a:spLocks/>
          </p:cNvSpPr>
          <p:nvPr/>
        </p:nvSpPr>
        <p:spPr bwMode="auto">
          <a:xfrm>
            <a:off x="4283075" y="1890678"/>
            <a:ext cx="12700" cy="7938"/>
          </a:xfrm>
          <a:custGeom>
            <a:avLst/>
            <a:gdLst>
              <a:gd name="T0" fmla="*/ 8 w 8"/>
              <a:gd name="T1" fmla="*/ 4 h 5"/>
              <a:gd name="T2" fmla="*/ 8 w 8"/>
              <a:gd name="T3" fmla="*/ 4 h 5"/>
              <a:gd name="T4" fmla="*/ 7 w 8"/>
              <a:gd name="T5" fmla="*/ 4 h 5"/>
              <a:gd name="T6" fmla="*/ 3 w 8"/>
              <a:gd name="T7" fmla="*/ 4 h 5"/>
              <a:gd name="T8" fmla="*/ 2 w 8"/>
              <a:gd name="T9" fmla="*/ 1 h 5"/>
              <a:gd name="T10" fmla="*/ 1 w 8"/>
              <a:gd name="T11" fmla="*/ 0 h 5"/>
              <a:gd name="T12" fmla="*/ 0 w 8"/>
              <a:gd name="T13" fmla="*/ 0 h 5"/>
              <a:gd name="T14" fmla="*/ 0 w 8"/>
              <a:gd name="T15" fmla="*/ 2 h 5"/>
              <a:gd name="T16" fmla="*/ 0 w 8"/>
              <a:gd name="T17" fmla="*/ 4 h 5"/>
              <a:gd name="T18" fmla="*/ 1 w 8"/>
              <a:gd name="T19" fmla="*/ 4 h 5"/>
              <a:gd name="T20" fmla="*/ 5 w 8"/>
              <a:gd name="T21" fmla="*/ 4 h 5"/>
              <a:gd name="T22" fmla="*/ 7 w 8"/>
              <a:gd name="T23" fmla="*/ 5 h 5"/>
              <a:gd name="T24" fmla="*/ 8 w 8"/>
              <a:gd name="T25" fmla="*/ 4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" h="5">
                <a:moveTo>
                  <a:pt x="8" y="4"/>
                </a:moveTo>
                <a:lnTo>
                  <a:pt x="8" y="4"/>
                </a:lnTo>
                <a:lnTo>
                  <a:pt x="7" y="4"/>
                </a:lnTo>
                <a:lnTo>
                  <a:pt x="3" y="4"/>
                </a:lnTo>
                <a:lnTo>
                  <a:pt x="2" y="1"/>
                </a:lnTo>
                <a:lnTo>
                  <a:pt x="1" y="0"/>
                </a:lnTo>
                <a:lnTo>
                  <a:pt x="0" y="0"/>
                </a:lnTo>
                <a:lnTo>
                  <a:pt x="0" y="2"/>
                </a:lnTo>
                <a:lnTo>
                  <a:pt x="0" y="4"/>
                </a:lnTo>
                <a:lnTo>
                  <a:pt x="1" y="4"/>
                </a:lnTo>
                <a:lnTo>
                  <a:pt x="5" y="4"/>
                </a:lnTo>
                <a:lnTo>
                  <a:pt x="7" y="5"/>
                </a:lnTo>
                <a:lnTo>
                  <a:pt x="8" y="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89" name="Freeform 789"/>
          <p:cNvSpPr>
            <a:spLocks/>
          </p:cNvSpPr>
          <p:nvPr/>
        </p:nvSpPr>
        <p:spPr bwMode="auto">
          <a:xfrm>
            <a:off x="4281488" y="1898615"/>
            <a:ext cx="3175" cy="3175"/>
          </a:xfrm>
          <a:custGeom>
            <a:avLst/>
            <a:gdLst>
              <a:gd name="T0" fmla="*/ 2 w 2"/>
              <a:gd name="T1" fmla="*/ 1 h 2"/>
              <a:gd name="T2" fmla="*/ 2 w 2"/>
              <a:gd name="T3" fmla="*/ 1 h 2"/>
              <a:gd name="T4" fmla="*/ 2 w 2"/>
              <a:gd name="T5" fmla="*/ 0 h 2"/>
              <a:gd name="T6" fmla="*/ 1 w 2"/>
              <a:gd name="T7" fmla="*/ 0 h 2"/>
              <a:gd name="T8" fmla="*/ 0 w 2"/>
              <a:gd name="T9" fmla="*/ 0 h 2"/>
              <a:gd name="T10" fmla="*/ 0 w 2"/>
              <a:gd name="T11" fmla="*/ 1 h 2"/>
              <a:gd name="T12" fmla="*/ 1 w 2"/>
              <a:gd name="T13" fmla="*/ 2 h 2"/>
              <a:gd name="T14" fmla="*/ 2 w 2"/>
              <a:gd name="T15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2">
                <a:moveTo>
                  <a:pt x="2" y="1"/>
                </a:moveTo>
                <a:lnTo>
                  <a:pt x="2" y="1"/>
                </a:lnTo>
                <a:lnTo>
                  <a:pt x="2" y="0"/>
                </a:lnTo>
                <a:lnTo>
                  <a:pt x="1" y="0"/>
                </a:lnTo>
                <a:lnTo>
                  <a:pt x="0" y="0"/>
                </a:lnTo>
                <a:lnTo>
                  <a:pt x="0" y="1"/>
                </a:lnTo>
                <a:lnTo>
                  <a:pt x="1" y="2"/>
                </a:lnTo>
                <a:lnTo>
                  <a:pt x="2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90" name="Freeform 790"/>
          <p:cNvSpPr>
            <a:spLocks/>
          </p:cNvSpPr>
          <p:nvPr/>
        </p:nvSpPr>
        <p:spPr bwMode="auto">
          <a:xfrm>
            <a:off x="4281488" y="1898615"/>
            <a:ext cx="3175" cy="3175"/>
          </a:xfrm>
          <a:custGeom>
            <a:avLst/>
            <a:gdLst>
              <a:gd name="T0" fmla="*/ 2 w 2"/>
              <a:gd name="T1" fmla="*/ 1 h 2"/>
              <a:gd name="T2" fmla="*/ 2 w 2"/>
              <a:gd name="T3" fmla="*/ 1 h 2"/>
              <a:gd name="T4" fmla="*/ 2 w 2"/>
              <a:gd name="T5" fmla="*/ 0 h 2"/>
              <a:gd name="T6" fmla="*/ 1 w 2"/>
              <a:gd name="T7" fmla="*/ 0 h 2"/>
              <a:gd name="T8" fmla="*/ 0 w 2"/>
              <a:gd name="T9" fmla="*/ 0 h 2"/>
              <a:gd name="T10" fmla="*/ 0 w 2"/>
              <a:gd name="T11" fmla="*/ 1 h 2"/>
              <a:gd name="T12" fmla="*/ 1 w 2"/>
              <a:gd name="T13" fmla="*/ 2 h 2"/>
              <a:gd name="T14" fmla="*/ 2 w 2"/>
              <a:gd name="T15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2">
                <a:moveTo>
                  <a:pt x="2" y="1"/>
                </a:moveTo>
                <a:lnTo>
                  <a:pt x="2" y="1"/>
                </a:lnTo>
                <a:lnTo>
                  <a:pt x="2" y="0"/>
                </a:lnTo>
                <a:lnTo>
                  <a:pt x="1" y="0"/>
                </a:lnTo>
                <a:lnTo>
                  <a:pt x="0" y="0"/>
                </a:lnTo>
                <a:lnTo>
                  <a:pt x="0" y="1"/>
                </a:lnTo>
                <a:lnTo>
                  <a:pt x="1" y="2"/>
                </a:lnTo>
                <a:lnTo>
                  <a:pt x="2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91" name="Freeform 791"/>
          <p:cNvSpPr>
            <a:spLocks/>
          </p:cNvSpPr>
          <p:nvPr/>
        </p:nvSpPr>
        <p:spPr bwMode="auto">
          <a:xfrm>
            <a:off x="4222750" y="1904965"/>
            <a:ext cx="166687" cy="236538"/>
          </a:xfrm>
          <a:custGeom>
            <a:avLst/>
            <a:gdLst>
              <a:gd name="T0" fmla="*/ 54 w 105"/>
              <a:gd name="T1" fmla="*/ 139 h 149"/>
              <a:gd name="T2" fmla="*/ 63 w 105"/>
              <a:gd name="T3" fmla="*/ 133 h 149"/>
              <a:gd name="T4" fmla="*/ 79 w 105"/>
              <a:gd name="T5" fmla="*/ 134 h 149"/>
              <a:gd name="T6" fmla="*/ 100 w 105"/>
              <a:gd name="T7" fmla="*/ 126 h 149"/>
              <a:gd name="T8" fmla="*/ 93 w 105"/>
              <a:gd name="T9" fmla="*/ 121 h 149"/>
              <a:gd name="T10" fmla="*/ 96 w 105"/>
              <a:gd name="T11" fmla="*/ 118 h 149"/>
              <a:gd name="T12" fmla="*/ 103 w 105"/>
              <a:gd name="T13" fmla="*/ 112 h 149"/>
              <a:gd name="T14" fmla="*/ 97 w 105"/>
              <a:gd name="T15" fmla="*/ 98 h 149"/>
              <a:gd name="T16" fmla="*/ 81 w 105"/>
              <a:gd name="T17" fmla="*/ 100 h 149"/>
              <a:gd name="T18" fmla="*/ 81 w 105"/>
              <a:gd name="T19" fmla="*/ 89 h 149"/>
              <a:gd name="T20" fmla="*/ 83 w 105"/>
              <a:gd name="T21" fmla="*/ 87 h 149"/>
              <a:gd name="T22" fmla="*/ 76 w 105"/>
              <a:gd name="T23" fmla="*/ 75 h 149"/>
              <a:gd name="T24" fmla="*/ 65 w 105"/>
              <a:gd name="T25" fmla="*/ 67 h 149"/>
              <a:gd name="T26" fmla="*/ 55 w 105"/>
              <a:gd name="T27" fmla="*/ 50 h 149"/>
              <a:gd name="T28" fmla="*/ 37 w 105"/>
              <a:gd name="T29" fmla="*/ 45 h 149"/>
              <a:gd name="T30" fmla="*/ 44 w 105"/>
              <a:gd name="T31" fmla="*/ 39 h 149"/>
              <a:gd name="T32" fmla="*/ 47 w 105"/>
              <a:gd name="T33" fmla="*/ 33 h 149"/>
              <a:gd name="T34" fmla="*/ 57 w 105"/>
              <a:gd name="T35" fmla="*/ 18 h 149"/>
              <a:gd name="T36" fmla="*/ 37 w 105"/>
              <a:gd name="T37" fmla="*/ 16 h 149"/>
              <a:gd name="T38" fmla="*/ 25 w 105"/>
              <a:gd name="T39" fmla="*/ 18 h 149"/>
              <a:gd name="T40" fmla="*/ 27 w 105"/>
              <a:gd name="T41" fmla="*/ 13 h 149"/>
              <a:gd name="T42" fmla="*/ 37 w 105"/>
              <a:gd name="T43" fmla="*/ 0 h 149"/>
              <a:gd name="T44" fmla="*/ 19 w 105"/>
              <a:gd name="T45" fmla="*/ 1 h 149"/>
              <a:gd name="T46" fmla="*/ 9 w 105"/>
              <a:gd name="T47" fmla="*/ 10 h 149"/>
              <a:gd name="T48" fmla="*/ 7 w 105"/>
              <a:gd name="T49" fmla="*/ 19 h 149"/>
              <a:gd name="T50" fmla="*/ 8 w 105"/>
              <a:gd name="T51" fmla="*/ 22 h 149"/>
              <a:gd name="T52" fmla="*/ 6 w 105"/>
              <a:gd name="T53" fmla="*/ 27 h 149"/>
              <a:gd name="T54" fmla="*/ 2 w 105"/>
              <a:gd name="T55" fmla="*/ 32 h 149"/>
              <a:gd name="T56" fmla="*/ 8 w 105"/>
              <a:gd name="T57" fmla="*/ 36 h 149"/>
              <a:gd name="T58" fmla="*/ 7 w 105"/>
              <a:gd name="T59" fmla="*/ 42 h 149"/>
              <a:gd name="T60" fmla="*/ 8 w 105"/>
              <a:gd name="T61" fmla="*/ 48 h 149"/>
              <a:gd name="T62" fmla="*/ 6 w 105"/>
              <a:gd name="T63" fmla="*/ 56 h 149"/>
              <a:gd name="T64" fmla="*/ 13 w 105"/>
              <a:gd name="T65" fmla="*/ 41 h 149"/>
              <a:gd name="T66" fmla="*/ 13 w 105"/>
              <a:gd name="T67" fmla="*/ 46 h 149"/>
              <a:gd name="T68" fmla="*/ 18 w 105"/>
              <a:gd name="T69" fmla="*/ 46 h 149"/>
              <a:gd name="T70" fmla="*/ 18 w 105"/>
              <a:gd name="T71" fmla="*/ 52 h 149"/>
              <a:gd name="T72" fmla="*/ 14 w 105"/>
              <a:gd name="T73" fmla="*/ 63 h 149"/>
              <a:gd name="T74" fmla="*/ 15 w 105"/>
              <a:gd name="T75" fmla="*/ 66 h 149"/>
              <a:gd name="T76" fmla="*/ 23 w 105"/>
              <a:gd name="T77" fmla="*/ 66 h 149"/>
              <a:gd name="T78" fmla="*/ 38 w 105"/>
              <a:gd name="T79" fmla="*/ 63 h 149"/>
              <a:gd name="T80" fmla="*/ 34 w 105"/>
              <a:gd name="T81" fmla="*/ 75 h 149"/>
              <a:gd name="T82" fmla="*/ 43 w 105"/>
              <a:gd name="T83" fmla="*/ 76 h 149"/>
              <a:gd name="T84" fmla="*/ 43 w 105"/>
              <a:gd name="T85" fmla="*/ 83 h 149"/>
              <a:gd name="T86" fmla="*/ 39 w 105"/>
              <a:gd name="T87" fmla="*/ 91 h 149"/>
              <a:gd name="T88" fmla="*/ 22 w 105"/>
              <a:gd name="T89" fmla="*/ 99 h 149"/>
              <a:gd name="T90" fmla="*/ 24 w 105"/>
              <a:gd name="T91" fmla="*/ 109 h 149"/>
              <a:gd name="T92" fmla="*/ 12 w 105"/>
              <a:gd name="T93" fmla="*/ 121 h 149"/>
              <a:gd name="T94" fmla="*/ 22 w 105"/>
              <a:gd name="T95" fmla="*/ 121 h 149"/>
              <a:gd name="T96" fmla="*/ 33 w 105"/>
              <a:gd name="T97" fmla="*/ 124 h 149"/>
              <a:gd name="T98" fmla="*/ 46 w 105"/>
              <a:gd name="T99" fmla="*/ 119 h 149"/>
              <a:gd name="T100" fmla="*/ 36 w 105"/>
              <a:gd name="T101" fmla="*/ 128 h 149"/>
              <a:gd name="T102" fmla="*/ 8 w 105"/>
              <a:gd name="T103" fmla="*/ 144 h 149"/>
              <a:gd name="T104" fmla="*/ 7 w 105"/>
              <a:gd name="T105" fmla="*/ 149 h 149"/>
              <a:gd name="T106" fmla="*/ 16 w 105"/>
              <a:gd name="T107" fmla="*/ 143 h 149"/>
              <a:gd name="T108" fmla="*/ 34 w 105"/>
              <a:gd name="T109" fmla="*/ 138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5" h="149">
                <a:moveTo>
                  <a:pt x="46" y="140"/>
                </a:moveTo>
                <a:lnTo>
                  <a:pt x="47" y="140"/>
                </a:lnTo>
                <a:lnTo>
                  <a:pt x="47" y="139"/>
                </a:lnTo>
                <a:lnTo>
                  <a:pt x="49" y="138"/>
                </a:lnTo>
                <a:lnTo>
                  <a:pt x="53" y="139"/>
                </a:lnTo>
                <a:lnTo>
                  <a:pt x="54" y="139"/>
                </a:lnTo>
                <a:lnTo>
                  <a:pt x="53" y="137"/>
                </a:lnTo>
                <a:lnTo>
                  <a:pt x="59" y="137"/>
                </a:lnTo>
                <a:lnTo>
                  <a:pt x="60" y="137"/>
                </a:lnTo>
                <a:lnTo>
                  <a:pt x="61" y="136"/>
                </a:lnTo>
                <a:lnTo>
                  <a:pt x="63" y="134"/>
                </a:lnTo>
                <a:lnTo>
                  <a:pt x="63" y="133"/>
                </a:lnTo>
                <a:lnTo>
                  <a:pt x="64" y="134"/>
                </a:lnTo>
                <a:lnTo>
                  <a:pt x="65" y="134"/>
                </a:lnTo>
                <a:lnTo>
                  <a:pt x="67" y="134"/>
                </a:lnTo>
                <a:lnTo>
                  <a:pt x="68" y="136"/>
                </a:lnTo>
                <a:lnTo>
                  <a:pt x="69" y="137"/>
                </a:lnTo>
                <a:lnTo>
                  <a:pt x="79" y="134"/>
                </a:lnTo>
                <a:lnTo>
                  <a:pt x="81" y="136"/>
                </a:lnTo>
                <a:lnTo>
                  <a:pt x="94" y="132"/>
                </a:lnTo>
                <a:lnTo>
                  <a:pt x="95" y="132"/>
                </a:lnTo>
                <a:lnTo>
                  <a:pt x="100" y="129"/>
                </a:lnTo>
                <a:lnTo>
                  <a:pt x="100" y="127"/>
                </a:lnTo>
                <a:lnTo>
                  <a:pt x="100" y="126"/>
                </a:lnTo>
                <a:lnTo>
                  <a:pt x="94" y="126"/>
                </a:lnTo>
                <a:lnTo>
                  <a:pt x="90" y="126"/>
                </a:lnTo>
                <a:lnTo>
                  <a:pt x="90" y="123"/>
                </a:lnTo>
                <a:lnTo>
                  <a:pt x="89" y="122"/>
                </a:lnTo>
                <a:lnTo>
                  <a:pt x="91" y="122"/>
                </a:lnTo>
                <a:lnTo>
                  <a:pt x="93" y="121"/>
                </a:lnTo>
                <a:lnTo>
                  <a:pt x="94" y="120"/>
                </a:lnTo>
                <a:lnTo>
                  <a:pt x="93" y="119"/>
                </a:lnTo>
                <a:lnTo>
                  <a:pt x="91" y="119"/>
                </a:lnTo>
                <a:lnTo>
                  <a:pt x="93" y="118"/>
                </a:lnTo>
                <a:lnTo>
                  <a:pt x="95" y="118"/>
                </a:lnTo>
                <a:lnTo>
                  <a:pt x="96" y="118"/>
                </a:lnTo>
                <a:lnTo>
                  <a:pt x="98" y="118"/>
                </a:lnTo>
                <a:lnTo>
                  <a:pt x="98" y="117"/>
                </a:lnTo>
                <a:lnTo>
                  <a:pt x="98" y="114"/>
                </a:lnTo>
                <a:lnTo>
                  <a:pt x="99" y="114"/>
                </a:lnTo>
                <a:lnTo>
                  <a:pt x="100" y="114"/>
                </a:lnTo>
                <a:lnTo>
                  <a:pt x="103" y="112"/>
                </a:lnTo>
                <a:lnTo>
                  <a:pt x="104" y="108"/>
                </a:lnTo>
                <a:lnTo>
                  <a:pt x="105" y="104"/>
                </a:lnTo>
                <a:lnTo>
                  <a:pt x="104" y="102"/>
                </a:lnTo>
                <a:lnTo>
                  <a:pt x="101" y="99"/>
                </a:lnTo>
                <a:lnTo>
                  <a:pt x="99" y="98"/>
                </a:lnTo>
                <a:lnTo>
                  <a:pt x="97" y="98"/>
                </a:lnTo>
                <a:lnTo>
                  <a:pt x="94" y="98"/>
                </a:lnTo>
                <a:lnTo>
                  <a:pt x="88" y="98"/>
                </a:lnTo>
                <a:lnTo>
                  <a:pt x="86" y="101"/>
                </a:lnTo>
                <a:lnTo>
                  <a:pt x="85" y="100"/>
                </a:lnTo>
                <a:lnTo>
                  <a:pt x="83" y="100"/>
                </a:lnTo>
                <a:lnTo>
                  <a:pt x="81" y="100"/>
                </a:lnTo>
                <a:lnTo>
                  <a:pt x="83" y="98"/>
                </a:lnTo>
                <a:lnTo>
                  <a:pt x="85" y="94"/>
                </a:lnTo>
                <a:lnTo>
                  <a:pt x="86" y="93"/>
                </a:lnTo>
                <a:lnTo>
                  <a:pt x="86" y="92"/>
                </a:lnTo>
                <a:lnTo>
                  <a:pt x="84" y="90"/>
                </a:lnTo>
                <a:lnTo>
                  <a:pt x="81" y="89"/>
                </a:lnTo>
                <a:lnTo>
                  <a:pt x="81" y="88"/>
                </a:lnTo>
                <a:lnTo>
                  <a:pt x="79" y="87"/>
                </a:lnTo>
                <a:lnTo>
                  <a:pt x="76" y="84"/>
                </a:lnTo>
                <a:lnTo>
                  <a:pt x="77" y="84"/>
                </a:lnTo>
                <a:lnTo>
                  <a:pt x="80" y="86"/>
                </a:lnTo>
                <a:lnTo>
                  <a:pt x="83" y="87"/>
                </a:lnTo>
                <a:lnTo>
                  <a:pt x="84" y="86"/>
                </a:lnTo>
                <a:lnTo>
                  <a:pt x="83" y="83"/>
                </a:lnTo>
                <a:lnTo>
                  <a:pt x="80" y="82"/>
                </a:lnTo>
                <a:lnTo>
                  <a:pt x="78" y="80"/>
                </a:lnTo>
                <a:lnTo>
                  <a:pt x="78" y="77"/>
                </a:lnTo>
                <a:lnTo>
                  <a:pt x="76" y="75"/>
                </a:lnTo>
                <a:lnTo>
                  <a:pt x="75" y="73"/>
                </a:lnTo>
                <a:lnTo>
                  <a:pt x="73" y="70"/>
                </a:lnTo>
                <a:lnTo>
                  <a:pt x="69" y="70"/>
                </a:lnTo>
                <a:lnTo>
                  <a:pt x="66" y="69"/>
                </a:lnTo>
                <a:lnTo>
                  <a:pt x="66" y="69"/>
                </a:lnTo>
                <a:lnTo>
                  <a:pt x="65" y="67"/>
                </a:lnTo>
                <a:lnTo>
                  <a:pt x="63" y="65"/>
                </a:lnTo>
                <a:lnTo>
                  <a:pt x="61" y="61"/>
                </a:lnTo>
                <a:lnTo>
                  <a:pt x="60" y="60"/>
                </a:lnTo>
                <a:lnTo>
                  <a:pt x="59" y="53"/>
                </a:lnTo>
                <a:lnTo>
                  <a:pt x="57" y="52"/>
                </a:lnTo>
                <a:lnTo>
                  <a:pt x="55" y="50"/>
                </a:lnTo>
                <a:lnTo>
                  <a:pt x="54" y="48"/>
                </a:lnTo>
                <a:lnTo>
                  <a:pt x="46" y="45"/>
                </a:lnTo>
                <a:lnTo>
                  <a:pt x="45" y="45"/>
                </a:lnTo>
                <a:lnTo>
                  <a:pt x="40" y="46"/>
                </a:lnTo>
                <a:lnTo>
                  <a:pt x="37" y="46"/>
                </a:lnTo>
                <a:lnTo>
                  <a:pt x="37" y="45"/>
                </a:lnTo>
                <a:lnTo>
                  <a:pt x="38" y="43"/>
                </a:lnTo>
                <a:lnTo>
                  <a:pt x="39" y="42"/>
                </a:lnTo>
                <a:lnTo>
                  <a:pt x="41" y="42"/>
                </a:lnTo>
                <a:lnTo>
                  <a:pt x="44" y="42"/>
                </a:lnTo>
                <a:lnTo>
                  <a:pt x="46" y="41"/>
                </a:lnTo>
                <a:lnTo>
                  <a:pt x="44" y="39"/>
                </a:lnTo>
                <a:lnTo>
                  <a:pt x="43" y="38"/>
                </a:lnTo>
                <a:lnTo>
                  <a:pt x="41" y="38"/>
                </a:lnTo>
                <a:lnTo>
                  <a:pt x="44" y="38"/>
                </a:lnTo>
                <a:lnTo>
                  <a:pt x="46" y="37"/>
                </a:lnTo>
                <a:lnTo>
                  <a:pt x="47" y="36"/>
                </a:lnTo>
                <a:lnTo>
                  <a:pt x="47" y="33"/>
                </a:lnTo>
                <a:lnTo>
                  <a:pt x="50" y="30"/>
                </a:lnTo>
                <a:lnTo>
                  <a:pt x="51" y="29"/>
                </a:lnTo>
                <a:lnTo>
                  <a:pt x="53" y="27"/>
                </a:lnTo>
                <a:lnTo>
                  <a:pt x="53" y="25"/>
                </a:lnTo>
                <a:lnTo>
                  <a:pt x="57" y="21"/>
                </a:lnTo>
                <a:lnTo>
                  <a:pt x="57" y="18"/>
                </a:lnTo>
                <a:lnTo>
                  <a:pt x="56" y="17"/>
                </a:lnTo>
                <a:lnTo>
                  <a:pt x="51" y="17"/>
                </a:lnTo>
                <a:lnTo>
                  <a:pt x="48" y="17"/>
                </a:lnTo>
                <a:lnTo>
                  <a:pt x="43" y="17"/>
                </a:lnTo>
                <a:lnTo>
                  <a:pt x="40" y="17"/>
                </a:lnTo>
                <a:lnTo>
                  <a:pt x="37" y="16"/>
                </a:lnTo>
                <a:lnTo>
                  <a:pt x="29" y="18"/>
                </a:lnTo>
                <a:lnTo>
                  <a:pt x="27" y="19"/>
                </a:lnTo>
                <a:lnTo>
                  <a:pt x="26" y="19"/>
                </a:lnTo>
                <a:lnTo>
                  <a:pt x="27" y="18"/>
                </a:lnTo>
                <a:lnTo>
                  <a:pt x="27" y="17"/>
                </a:lnTo>
                <a:lnTo>
                  <a:pt x="25" y="18"/>
                </a:lnTo>
                <a:lnTo>
                  <a:pt x="25" y="17"/>
                </a:lnTo>
                <a:lnTo>
                  <a:pt x="28" y="16"/>
                </a:lnTo>
                <a:lnTo>
                  <a:pt x="30" y="15"/>
                </a:lnTo>
                <a:lnTo>
                  <a:pt x="26" y="15"/>
                </a:lnTo>
                <a:lnTo>
                  <a:pt x="27" y="12"/>
                </a:lnTo>
                <a:lnTo>
                  <a:pt x="27" y="13"/>
                </a:lnTo>
                <a:lnTo>
                  <a:pt x="29" y="11"/>
                </a:lnTo>
                <a:lnTo>
                  <a:pt x="34" y="9"/>
                </a:lnTo>
                <a:lnTo>
                  <a:pt x="36" y="7"/>
                </a:lnTo>
                <a:lnTo>
                  <a:pt x="39" y="6"/>
                </a:lnTo>
                <a:lnTo>
                  <a:pt x="40" y="1"/>
                </a:lnTo>
                <a:lnTo>
                  <a:pt x="37" y="0"/>
                </a:lnTo>
                <a:lnTo>
                  <a:pt x="34" y="1"/>
                </a:lnTo>
                <a:lnTo>
                  <a:pt x="30" y="1"/>
                </a:lnTo>
                <a:lnTo>
                  <a:pt x="28" y="1"/>
                </a:lnTo>
                <a:lnTo>
                  <a:pt x="24" y="2"/>
                </a:lnTo>
                <a:lnTo>
                  <a:pt x="24" y="2"/>
                </a:lnTo>
                <a:lnTo>
                  <a:pt x="19" y="1"/>
                </a:lnTo>
                <a:lnTo>
                  <a:pt x="17" y="2"/>
                </a:lnTo>
                <a:lnTo>
                  <a:pt x="14" y="5"/>
                </a:lnTo>
                <a:lnTo>
                  <a:pt x="14" y="7"/>
                </a:lnTo>
                <a:lnTo>
                  <a:pt x="12" y="8"/>
                </a:lnTo>
                <a:lnTo>
                  <a:pt x="12" y="10"/>
                </a:lnTo>
                <a:lnTo>
                  <a:pt x="9" y="10"/>
                </a:lnTo>
                <a:lnTo>
                  <a:pt x="10" y="11"/>
                </a:lnTo>
                <a:lnTo>
                  <a:pt x="12" y="12"/>
                </a:lnTo>
                <a:lnTo>
                  <a:pt x="6" y="15"/>
                </a:lnTo>
                <a:lnTo>
                  <a:pt x="6" y="18"/>
                </a:lnTo>
                <a:lnTo>
                  <a:pt x="7" y="19"/>
                </a:lnTo>
                <a:lnTo>
                  <a:pt x="7" y="19"/>
                </a:lnTo>
                <a:lnTo>
                  <a:pt x="5" y="19"/>
                </a:lnTo>
                <a:lnTo>
                  <a:pt x="5" y="19"/>
                </a:lnTo>
                <a:lnTo>
                  <a:pt x="5" y="21"/>
                </a:lnTo>
                <a:lnTo>
                  <a:pt x="6" y="22"/>
                </a:lnTo>
                <a:lnTo>
                  <a:pt x="8" y="21"/>
                </a:lnTo>
                <a:lnTo>
                  <a:pt x="8" y="22"/>
                </a:lnTo>
                <a:lnTo>
                  <a:pt x="7" y="22"/>
                </a:lnTo>
                <a:lnTo>
                  <a:pt x="8" y="23"/>
                </a:lnTo>
                <a:lnTo>
                  <a:pt x="7" y="25"/>
                </a:lnTo>
                <a:lnTo>
                  <a:pt x="7" y="26"/>
                </a:lnTo>
                <a:lnTo>
                  <a:pt x="7" y="27"/>
                </a:lnTo>
                <a:lnTo>
                  <a:pt x="6" y="27"/>
                </a:lnTo>
                <a:lnTo>
                  <a:pt x="6" y="27"/>
                </a:lnTo>
                <a:lnTo>
                  <a:pt x="6" y="28"/>
                </a:lnTo>
                <a:lnTo>
                  <a:pt x="5" y="29"/>
                </a:lnTo>
                <a:lnTo>
                  <a:pt x="4" y="30"/>
                </a:lnTo>
                <a:lnTo>
                  <a:pt x="4" y="32"/>
                </a:lnTo>
                <a:lnTo>
                  <a:pt x="2" y="32"/>
                </a:lnTo>
                <a:lnTo>
                  <a:pt x="0" y="33"/>
                </a:lnTo>
                <a:lnTo>
                  <a:pt x="0" y="33"/>
                </a:lnTo>
                <a:lnTo>
                  <a:pt x="3" y="33"/>
                </a:lnTo>
                <a:lnTo>
                  <a:pt x="3" y="36"/>
                </a:lnTo>
                <a:lnTo>
                  <a:pt x="6" y="37"/>
                </a:lnTo>
                <a:lnTo>
                  <a:pt x="8" y="36"/>
                </a:lnTo>
                <a:lnTo>
                  <a:pt x="10" y="35"/>
                </a:lnTo>
                <a:lnTo>
                  <a:pt x="10" y="35"/>
                </a:lnTo>
                <a:lnTo>
                  <a:pt x="12" y="35"/>
                </a:lnTo>
                <a:lnTo>
                  <a:pt x="12" y="36"/>
                </a:lnTo>
                <a:lnTo>
                  <a:pt x="8" y="41"/>
                </a:lnTo>
                <a:lnTo>
                  <a:pt x="7" y="42"/>
                </a:lnTo>
                <a:lnTo>
                  <a:pt x="7" y="43"/>
                </a:lnTo>
                <a:lnTo>
                  <a:pt x="6" y="45"/>
                </a:lnTo>
                <a:lnTo>
                  <a:pt x="6" y="47"/>
                </a:lnTo>
                <a:lnTo>
                  <a:pt x="6" y="48"/>
                </a:lnTo>
                <a:lnTo>
                  <a:pt x="7" y="48"/>
                </a:lnTo>
                <a:lnTo>
                  <a:pt x="8" y="48"/>
                </a:lnTo>
                <a:lnTo>
                  <a:pt x="7" y="49"/>
                </a:lnTo>
                <a:lnTo>
                  <a:pt x="5" y="52"/>
                </a:lnTo>
                <a:lnTo>
                  <a:pt x="4" y="57"/>
                </a:lnTo>
                <a:lnTo>
                  <a:pt x="4" y="57"/>
                </a:lnTo>
                <a:lnTo>
                  <a:pt x="5" y="57"/>
                </a:lnTo>
                <a:lnTo>
                  <a:pt x="6" y="56"/>
                </a:lnTo>
                <a:lnTo>
                  <a:pt x="7" y="53"/>
                </a:lnTo>
                <a:lnTo>
                  <a:pt x="9" y="49"/>
                </a:lnTo>
                <a:lnTo>
                  <a:pt x="9" y="47"/>
                </a:lnTo>
                <a:lnTo>
                  <a:pt x="9" y="46"/>
                </a:lnTo>
                <a:lnTo>
                  <a:pt x="9" y="45"/>
                </a:lnTo>
                <a:lnTo>
                  <a:pt x="13" y="41"/>
                </a:lnTo>
                <a:lnTo>
                  <a:pt x="13" y="42"/>
                </a:lnTo>
                <a:lnTo>
                  <a:pt x="10" y="46"/>
                </a:lnTo>
                <a:lnTo>
                  <a:pt x="10" y="48"/>
                </a:lnTo>
                <a:lnTo>
                  <a:pt x="12" y="47"/>
                </a:lnTo>
                <a:lnTo>
                  <a:pt x="12" y="47"/>
                </a:lnTo>
                <a:lnTo>
                  <a:pt x="13" y="46"/>
                </a:lnTo>
                <a:lnTo>
                  <a:pt x="13" y="46"/>
                </a:lnTo>
                <a:lnTo>
                  <a:pt x="15" y="47"/>
                </a:lnTo>
                <a:lnTo>
                  <a:pt x="15" y="47"/>
                </a:lnTo>
                <a:lnTo>
                  <a:pt x="15" y="45"/>
                </a:lnTo>
                <a:lnTo>
                  <a:pt x="17" y="45"/>
                </a:lnTo>
                <a:lnTo>
                  <a:pt x="18" y="46"/>
                </a:lnTo>
                <a:lnTo>
                  <a:pt x="17" y="46"/>
                </a:lnTo>
                <a:lnTo>
                  <a:pt x="17" y="47"/>
                </a:lnTo>
                <a:lnTo>
                  <a:pt x="16" y="48"/>
                </a:lnTo>
                <a:lnTo>
                  <a:pt x="16" y="50"/>
                </a:lnTo>
                <a:lnTo>
                  <a:pt x="17" y="51"/>
                </a:lnTo>
                <a:lnTo>
                  <a:pt x="18" y="52"/>
                </a:lnTo>
                <a:lnTo>
                  <a:pt x="18" y="55"/>
                </a:lnTo>
                <a:lnTo>
                  <a:pt x="17" y="56"/>
                </a:lnTo>
                <a:lnTo>
                  <a:pt x="16" y="58"/>
                </a:lnTo>
                <a:lnTo>
                  <a:pt x="14" y="60"/>
                </a:lnTo>
                <a:lnTo>
                  <a:pt x="14" y="62"/>
                </a:lnTo>
                <a:lnTo>
                  <a:pt x="14" y="63"/>
                </a:lnTo>
                <a:lnTo>
                  <a:pt x="12" y="62"/>
                </a:lnTo>
                <a:lnTo>
                  <a:pt x="12" y="63"/>
                </a:lnTo>
                <a:lnTo>
                  <a:pt x="14" y="68"/>
                </a:lnTo>
                <a:lnTo>
                  <a:pt x="14" y="69"/>
                </a:lnTo>
                <a:lnTo>
                  <a:pt x="15" y="68"/>
                </a:lnTo>
                <a:lnTo>
                  <a:pt x="15" y="66"/>
                </a:lnTo>
                <a:lnTo>
                  <a:pt x="15" y="66"/>
                </a:lnTo>
                <a:lnTo>
                  <a:pt x="16" y="65"/>
                </a:lnTo>
                <a:lnTo>
                  <a:pt x="20" y="68"/>
                </a:lnTo>
                <a:lnTo>
                  <a:pt x="22" y="68"/>
                </a:lnTo>
                <a:lnTo>
                  <a:pt x="22" y="67"/>
                </a:lnTo>
                <a:lnTo>
                  <a:pt x="23" y="66"/>
                </a:lnTo>
                <a:lnTo>
                  <a:pt x="28" y="66"/>
                </a:lnTo>
                <a:lnTo>
                  <a:pt x="32" y="65"/>
                </a:lnTo>
                <a:lnTo>
                  <a:pt x="33" y="63"/>
                </a:lnTo>
                <a:lnTo>
                  <a:pt x="34" y="63"/>
                </a:lnTo>
                <a:lnTo>
                  <a:pt x="39" y="63"/>
                </a:lnTo>
                <a:lnTo>
                  <a:pt x="38" y="63"/>
                </a:lnTo>
                <a:lnTo>
                  <a:pt x="37" y="63"/>
                </a:lnTo>
                <a:lnTo>
                  <a:pt x="36" y="66"/>
                </a:lnTo>
                <a:lnTo>
                  <a:pt x="33" y="70"/>
                </a:lnTo>
                <a:lnTo>
                  <a:pt x="32" y="71"/>
                </a:lnTo>
                <a:lnTo>
                  <a:pt x="33" y="72"/>
                </a:lnTo>
                <a:lnTo>
                  <a:pt x="34" y="75"/>
                </a:lnTo>
                <a:lnTo>
                  <a:pt x="35" y="76"/>
                </a:lnTo>
                <a:lnTo>
                  <a:pt x="35" y="76"/>
                </a:lnTo>
                <a:lnTo>
                  <a:pt x="36" y="76"/>
                </a:lnTo>
                <a:lnTo>
                  <a:pt x="37" y="78"/>
                </a:lnTo>
                <a:lnTo>
                  <a:pt x="40" y="77"/>
                </a:lnTo>
                <a:lnTo>
                  <a:pt x="43" y="76"/>
                </a:lnTo>
                <a:lnTo>
                  <a:pt x="44" y="76"/>
                </a:lnTo>
                <a:lnTo>
                  <a:pt x="43" y="77"/>
                </a:lnTo>
                <a:lnTo>
                  <a:pt x="43" y="80"/>
                </a:lnTo>
                <a:lnTo>
                  <a:pt x="41" y="81"/>
                </a:lnTo>
                <a:lnTo>
                  <a:pt x="40" y="83"/>
                </a:lnTo>
                <a:lnTo>
                  <a:pt x="43" y="83"/>
                </a:lnTo>
                <a:lnTo>
                  <a:pt x="41" y="86"/>
                </a:lnTo>
                <a:lnTo>
                  <a:pt x="39" y="88"/>
                </a:lnTo>
                <a:lnTo>
                  <a:pt x="40" y="89"/>
                </a:lnTo>
                <a:lnTo>
                  <a:pt x="41" y="90"/>
                </a:lnTo>
                <a:lnTo>
                  <a:pt x="40" y="90"/>
                </a:lnTo>
                <a:lnTo>
                  <a:pt x="39" y="91"/>
                </a:lnTo>
                <a:lnTo>
                  <a:pt x="29" y="91"/>
                </a:lnTo>
                <a:lnTo>
                  <a:pt x="26" y="93"/>
                </a:lnTo>
                <a:lnTo>
                  <a:pt x="23" y="94"/>
                </a:lnTo>
                <a:lnTo>
                  <a:pt x="17" y="100"/>
                </a:lnTo>
                <a:lnTo>
                  <a:pt x="18" y="100"/>
                </a:lnTo>
                <a:lnTo>
                  <a:pt x="22" y="99"/>
                </a:lnTo>
                <a:lnTo>
                  <a:pt x="25" y="98"/>
                </a:lnTo>
                <a:lnTo>
                  <a:pt x="25" y="100"/>
                </a:lnTo>
                <a:lnTo>
                  <a:pt x="25" y="103"/>
                </a:lnTo>
                <a:lnTo>
                  <a:pt x="26" y="104"/>
                </a:lnTo>
                <a:lnTo>
                  <a:pt x="27" y="106"/>
                </a:lnTo>
                <a:lnTo>
                  <a:pt x="24" y="109"/>
                </a:lnTo>
                <a:lnTo>
                  <a:pt x="17" y="113"/>
                </a:lnTo>
                <a:lnTo>
                  <a:pt x="9" y="117"/>
                </a:lnTo>
                <a:lnTo>
                  <a:pt x="9" y="117"/>
                </a:lnTo>
                <a:lnTo>
                  <a:pt x="9" y="119"/>
                </a:lnTo>
                <a:lnTo>
                  <a:pt x="12" y="120"/>
                </a:lnTo>
                <a:lnTo>
                  <a:pt x="12" y="121"/>
                </a:lnTo>
                <a:lnTo>
                  <a:pt x="14" y="121"/>
                </a:lnTo>
                <a:lnTo>
                  <a:pt x="15" y="120"/>
                </a:lnTo>
                <a:lnTo>
                  <a:pt x="17" y="119"/>
                </a:lnTo>
                <a:lnTo>
                  <a:pt x="19" y="118"/>
                </a:lnTo>
                <a:lnTo>
                  <a:pt x="20" y="119"/>
                </a:lnTo>
                <a:lnTo>
                  <a:pt x="22" y="121"/>
                </a:lnTo>
                <a:lnTo>
                  <a:pt x="22" y="121"/>
                </a:lnTo>
                <a:lnTo>
                  <a:pt x="25" y="121"/>
                </a:lnTo>
                <a:lnTo>
                  <a:pt x="27" y="120"/>
                </a:lnTo>
                <a:lnTo>
                  <a:pt x="27" y="120"/>
                </a:lnTo>
                <a:lnTo>
                  <a:pt x="28" y="121"/>
                </a:lnTo>
                <a:lnTo>
                  <a:pt x="33" y="124"/>
                </a:lnTo>
                <a:lnTo>
                  <a:pt x="34" y="124"/>
                </a:lnTo>
                <a:lnTo>
                  <a:pt x="36" y="124"/>
                </a:lnTo>
                <a:lnTo>
                  <a:pt x="37" y="124"/>
                </a:lnTo>
                <a:lnTo>
                  <a:pt x="38" y="122"/>
                </a:lnTo>
                <a:lnTo>
                  <a:pt x="41" y="121"/>
                </a:lnTo>
                <a:lnTo>
                  <a:pt x="46" y="119"/>
                </a:lnTo>
                <a:lnTo>
                  <a:pt x="46" y="120"/>
                </a:lnTo>
                <a:lnTo>
                  <a:pt x="45" y="121"/>
                </a:lnTo>
                <a:lnTo>
                  <a:pt x="40" y="126"/>
                </a:lnTo>
                <a:lnTo>
                  <a:pt x="39" y="127"/>
                </a:lnTo>
                <a:lnTo>
                  <a:pt x="39" y="128"/>
                </a:lnTo>
                <a:lnTo>
                  <a:pt x="36" y="128"/>
                </a:lnTo>
                <a:lnTo>
                  <a:pt x="28" y="128"/>
                </a:lnTo>
                <a:lnTo>
                  <a:pt x="24" y="129"/>
                </a:lnTo>
                <a:lnTo>
                  <a:pt x="23" y="131"/>
                </a:lnTo>
                <a:lnTo>
                  <a:pt x="20" y="132"/>
                </a:lnTo>
                <a:lnTo>
                  <a:pt x="18" y="136"/>
                </a:lnTo>
                <a:lnTo>
                  <a:pt x="8" y="144"/>
                </a:lnTo>
                <a:lnTo>
                  <a:pt x="4" y="147"/>
                </a:lnTo>
                <a:lnTo>
                  <a:pt x="3" y="148"/>
                </a:lnTo>
                <a:lnTo>
                  <a:pt x="3" y="149"/>
                </a:lnTo>
                <a:lnTo>
                  <a:pt x="4" y="148"/>
                </a:lnTo>
                <a:lnTo>
                  <a:pt x="5" y="147"/>
                </a:lnTo>
                <a:lnTo>
                  <a:pt x="7" y="149"/>
                </a:lnTo>
                <a:lnTo>
                  <a:pt x="8" y="148"/>
                </a:lnTo>
                <a:lnTo>
                  <a:pt x="9" y="149"/>
                </a:lnTo>
                <a:lnTo>
                  <a:pt x="10" y="148"/>
                </a:lnTo>
                <a:lnTo>
                  <a:pt x="12" y="147"/>
                </a:lnTo>
                <a:lnTo>
                  <a:pt x="14" y="146"/>
                </a:lnTo>
                <a:lnTo>
                  <a:pt x="16" y="143"/>
                </a:lnTo>
                <a:lnTo>
                  <a:pt x="23" y="143"/>
                </a:lnTo>
                <a:lnTo>
                  <a:pt x="28" y="144"/>
                </a:lnTo>
                <a:lnTo>
                  <a:pt x="30" y="144"/>
                </a:lnTo>
                <a:lnTo>
                  <a:pt x="32" y="143"/>
                </a:lnTo>
                <a:lnTo>
                  <a:pt x="33" y="138"/>
                </a:lnTo>
                <a:lnTo>
                  <a:pt x="34" y="138"/>
                </a:lnTo>
                <a:lnTo>
                  <a:pt x="36" y="138"/>
                </a:lnTo>
                <a:lnTo>
                  <a:pt x="38" y="137"/>
                </a:lnTo>
                <a:lnTo>
                  <a:pt x="43" y="137"/>
                </a:lnTo>
                <a:lnTo>
                  <a:pt x="46" y="14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92" name="Freeform 792"/>
          <p:cNvSpPr>
            <a:spLocks/>
          </p:cNvSpPr>
          <p:nvPr/>
        </p:nvSpPr>
        <p:spPr bwMode="auto">
          <a:xfrm>
            <a:off x="4222750" y="1904965"/>
            <a:ext cx="166687" cy="236538"/>
          </a:xfrm>
          <a:custGeom>
            <a:avLst/>
            <a:gdLst>
              <a:gd name="T0" fmla="*/ 54 w 105"/>
              <a:gd name="T1" fmla="*/ 139 h 149"/>
              <a:gd name="T2" fmla="*/ 63 w 105"/>
              <a:gd name="T3" fmla="*/ 133 h 149"/>
              <a:gd name="T4" fmla="*/ 79 w 105"/>
              <a:gd name="T5" fmla="*/ 134 h 149"/>
              <a:gd name="T6" fmla="*/ 100 w 105"/>
              <a:gd name="T7" fmla="*/ 126 h 149"/>
              <a:gd name="T8" fmla="*/ 93 w 105"/>
              <a:gd name="T9" fmla="*/ 121 h 149"/>
              <a:gd name="T10" fmla="*/ 96 w 105"/>
              <a:gd name="T11" fmla="*/ 118 h 149"/>
              <a:gd name="T12" fmla="*/ 103 w 105"/>
              <a:gd name="T13" fmla="*/ 112 h 149"/>
              <a:gd name="T14" fmla="*/ 97 w 105"/>
              <a:gd name="T15" fmla="*/ 98 h 149"/>
              <a:gd name="T16" fmla="*/ 81 w 105"/>
              <a:gd name="T17" fmla="*/ 100 h 149"/>
              <a:gd name="T18" fmla="*/ 81 w 105"/>
              <a:gd name="T19" fmla="*/ 89 h 149"/>
              <a:gd name="T20" fmla="*/ 83 w 105"/>
              <a:gd name="T21" fmla="*/ 87 h 149"/>
              <a:gd name="T22" fmla="*/ 76 w 105"/>
              <a:gd name="T23" fmla="*/ 75 h 149"/>
              <a:gd name="T24" fmla="*/ 65 w 105"/>
              <a:gd name="T25" fmla="*/ 67 h 149"/>
              <a:gd name="T26" fmla="*/ 55 w 105"/>
              <a:gd name="T27" fmla="*/ 50 h 149"/>
              <a:gd name="T28" fmla="*/ 37 w 105"/>
              <a:gd name="T29" fmla="*/ 45 h 149"/>
              <a:gd name="T30" fmla="*/ 44 w 105"/>
              <a:gd name="T31" fmla="*/ 39 h 149"/>
              <a:gd name="T32" fmla="*/ 47 w 105"/>
              <a:gd name="T33" fmla="*/ 33 h 149"/>
              <a:gd name="T34" fmla="*/ 57 w 105"/>
              <a:gd name="T35" fmla="*/ 18 h 149"/>
              <a:gd name="T36" fmla="*/ 37 w 105"/>
              <a:gd name="T37" fmla="*/ 16 h 149"/>
              <a:gd name="T38" fmla="*/ 25 w 105"/>
              <a:gd name="T39" fmla="*/ 18 h 149"/>
              <a:gd name="T40" fmla="*/ 27 w 105"/>
              <a:gd name="T41" fmla="*/ 13 h 149"/>
              <a:gd name="T42" fmla="*/ 37 w 105"/>
              <a:gd name="T43" fmla="*/ 0 h 149"/>
              <a:gd name="T44" fmla="*/ 19 w 105"/>
              <a:gd name="T45" fmla="*/ 1 h 149"/>
              <a:gd name="T46" fmla="*/ 9 w 105"/>
              <a:gd name="T47" fmla="*/ 10 h 149"/>
              <a:gd name="T48" fmla="*/ 7 w 105"/>
              <a:gd name="T49" fmla="*/ 19 h 149"/>
              <a:gd name="T50" fmla="*/ 8 w 105"/>
              <a:gd name="T51" fmla="*/ 22 h 149"/>
              <a:gd name="T52" fmla="*/ 6 w 105"/>
              <a:gd name="T53" fmla="*/ 27 h 149"/>
              <a:gd name="T54" fmla="*/ 2 w 105"/>
              <a:gd name="T55" fmla="*/ 32 h 149"/>
              <a:gd name="T56" fmla="*/ 8 w 105"/>
              <a:gd name="T57" fmla="*/ 36 h 149"/>
              <a:gd name="T58" fmla="*/ 7 w 105"/>
              <a:gd name="T59" fmla="*/ 42 h 149"/>
              <a:gd name="T60" fmla="*/ 8 w 105"/>
              <a:gd name="T61" fmla="*/ 48 h 149"/>
              <a:gd name="T62" fmla="*/ 6 w 105"/>
              <a:gd name="T63" fmla="*/ 56 h 149"/>
              <a:gd name="T64" fmla="*/ 13 w 105"/>
              <a:gd name="T65" fmla="*/ 41 h 149"/>
              <a:gd name="T66" fmla="*/ 13 w 105"/>
              <a:gd name="T67" fmla="*/ 46 h 149"/>
              <a:gd name="T68" fmla="*/ 18 w 105"/>
              <a:gd name="T69" fmla="*/ 46 h 149"/>
              <a:gd name="T70" fmla="*/ 18 w 105"/>
              <a:gd name="T71" fmla="*/ 52 h 149"/>
              <a:gd name="T72" fmla="*/ 14 w 105"/>
              <a:gd name="T73" fmla="*/ 63 h 149"/>
              <a:gd name="T74" fmla="*/ 15 w 105"/>
              <a:gd name="T75" fmla="*/ 66 h 149"/>
              <a:gd name="T76" fmla="*/ 23 w 105"/>
              <a:gd name="T77" fmla="*/ 66 h 149"/>
              <a:gd name="T78" fmla="*/ 38 w 105"/>
              <a:gd name="T79" fmla="*/ 63 h 149"/>
              <a:gd name="T80" fmla="*/ 34 w 105"/>
              <a:gd name="T81" fmla="*/ 75 h 149"/>
              <a:gd name="T82" fmla="*/ 43 w 105"/>
              <a:gd name="T83" fmla="*/ 76 h 149"/>
              <a:gd name="T84" fmla="*/ 43 w 105"/>
              <a:gd name="T85" fmla="*/ 83 h 149"/>
              <a:gd name="T86" fmla="*/ 39 w 105"/>
              <a:gd name="T87" fmla="*/ 91 h 149"/>
              <a:gd name="T88" fmla="*/ 22 w 105"/>
              <a:gd name="T89" fmla="*/ 99 h 149"/>
              <a:gd name="T90" fmla="*/ 24 w 105"/>
              <a:gd name="T91" fmla="*/ 109 h 149"/>
              <a:gd name="T92" fmla="*/ 12 w 105"/>
              <a:gd name="T93" fmla="*/ 121 h 149"/>
              <a:gd name="T94" fmla="*/ 22 w 105"/>
              <a:gd name="T95" fmla="*/ 121 h 149"/>
              <a:gd name="T96" fmla="*/ 33 w 105"/>
              <a:gd name="T97" fmla="*/ 124 h 149"/>
              <a:gd name="T98" fmla="*/ 46 w 105"/>
              <a:gd name="T99" fmla="*/ 119 h 149"/>
              <a:gd name="T100" fmla="*/ 36 w 105"/>
              <a:gd name="T101" fmla="*/ 128 h 149"/>
              <a:gd name="T102" fmla="*/ 8 w 105"/>
              <a:gd name="T103" fmla="*/ 144 h 149"/>
              <a:gd name="T104" fmla="*/ 7 w 105"/>
              <a:gd name="T105" fmla="*/ 149 h 149"/>
              <a:gd name="T106" fmla="*/ 16 w 105"/>
              <a:gd name="T107" fmla="*/ 143 h 149"/>
              <a:gd name="T108" fmla="*/ 34 w 105"/>
              <a:gd name="T109" fmla="*/ 138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5" h="149">
                <a:moveTo>
                  <a:pt x="46" y="140"/>
                </a:moveTo>
                <a:lnTo>
                  <a:pt x="47" y="140"/>
                </a:lnTo>
                <a:lnTo>
                  <a:pt x="47" y="139"/>
                </a:lnTo>
                <a:lnTo>
                  <a:pt x="49" y="138"/>
                </a:lnTo>
                <a:lnTo>
                  <a:pt x="53" y="139"/>
                </a:lnTo>
                <a:lnTo>
                  <a:pt x="54" y="139"/>
                </a:lnTo>
                <a:lnTo>
                  <a:pt x="53" y="137"/>
                </a:lnTo>
                <a:lnTo>
                  <a:pt x="59" y="137"/>
                </a:lnTo>
                <a:lnTo>
                  <a:pt x="60" y="137"/>
                </a:lnTo>
                <a:lnTo>
                  <a:pt x="61" y="136"/>
                </a:lnTo>
                <a:lnTo>
                  <a:pt x="63" y="134"/>
                </a:lnTo>
                <a:lnTo>
                  <a:pt x="63" y="133"/>
                </a:lnTo>
                <a:lnTo>
                  <a:pt x="64" y="134"/>
                </a:lnTo>
                <a:lnTo>
                  <a:pt x="65" y="134"/>
                </a:lnTo>
                <a:lnTo>
                  <a:pt x="67" y="134"/>
                </a:lnTo>
                <a:lnTo>
                  <a:pt x="68" y="136"/>
                </a:lnTo>
                <a:lnTo>
                  <a:pt x="69" y="137"/>
                </a:lnTo>
                <a:lnTo>
                  <a:pt x="79" y="134"/>
                </a:lnTo>
                <a:lnTo>
                  <a:pt x="81" y="136"/>
                </a:lnTo>
                <a:lnTo>
                  <a:pt x="94" y="132"/>
                </a:lnTo>
                <a:lnTo>
                  <a:pt x="95" y="132"/>
                </a:lnTo>
                <a:lnTo>
                  <a:pt x="100" y="129"/>
                </a:lnTo>
                <a:lnTo>
                  <a:pt x="100" y="127"/>
                </a:lnTo>
                <a:lnTo>
                  <a:pt x="100" y="126"/>
                </a:lnTo>
                <a:lnTo>
                  <a:pt x="94" y="126"/>
                </a:lnTo>
                <a:lnTo>
                  <a:pt x="90" y="126"/>
                </a:lnTo>
                <a:lnTo>
                  <a:pt x="90" y="123"/>
                </a:lnTo>
                <a:lnTo>
                  <a:pt x="89" y="122"/>
                </a:lnTo>
                <a:lnTo>
                  <a:pt x="91" y="122"/>
                </a:lnTo>
                <a:lnTo>
                  <a:pt x="93" y="121"/>
                </a:lnTo>
                <a:lnTo>
                  <a:pt x="94" y="120"/>
                </a:lnTo>
                <a:lnTo>
                  <a:pt x="93" y="119"/>
                </a:lnTo>
                <a:lnTo>
                  <a:pt x="91" y="119"/>
                </a:lnTo>
                <a:lnTo>
                  <a:pt x="93" y="118"/>
                </a:lnTo>
                <a:lnTo>
                  <a:pt x="95" y="118"/>
                </a:lnTo>
                <a:lnTo>
                  <a:pt x="96" y="118"/>
                </a:lnTo>
                <a:lnTo>
                  <a:pt x="98" y="118"/>
                </a:lnTo>
                <a:lnTo>
                  <a:pt x="98" y="117"/>
                </a:lnTo>
                <a:lnTo>
                  <a:pt x="98" y="114"/>
                </a:lnTo>
                <a:lnTo>
                  <a:pt x="99" y="114"/>
                </a:lnTo>
                <a:lnTo>
                  <a:pt x="100" y="114"/>
                </a:lnTo>
                <a:lnTo>
                  <a:pt x="103" y="112"/>
                </a:lnTo>
                <a:lnTo>
                  <a:pt x="104" y="108"/>
                </a:lnTo>
                <a:lnTo>
                  <a:pt x="105" y="104"/>
                </a:lnTo>
                <a:lnTo>
                  <a:pt x="104" y="102"/>
                </a:lnTo>
                <a:lnTo>
                  <a:pt x="101" y="99"/>
                </a:lnTo>
                <a:lnTo>
                  <a:pt x="99" y="98"/>
                </a:lnTo>
                <a:lnTo>
                  <a:pt x="97" y="98"/>
                </a:lnTo>
                <a:lnTo>
                  <a:pt x="94" y="98"/>
                </a:lnTo>
                <a:lnTo>
                  <a:pt x="88" y="98"/>
                </a:lnTo>
                <a:lnTo>
                  <a:pt x="86" y="101"/>
                </a:lnTo>
                <a:lnTo>
                  <a:pt x="85" y="100"/>
                </a:lnTo>
                <a:lnTo>
                  <a:pt x="83" y="100"/>
                </a:lnTo>
                <a:lnTo>
                  <a:pt x="81" y="100"/>
                </a:lnTo>
                <a:lnTo>
                  <a:pt x="83" y="98"/>
                </a:lnTo>
                <a:lnTo>
                  <a:pt x="85" y="94"/>
                </a:lnTo>
                <a:lnTo>
                  <a:pt x="86" y="93"/>
                </a:lnTo>
                <a:lnTo>
                  <a:pt x="86" y="92"/>
                </a:lnTo>
                <a:lnTo>
                  <a:pt x="84" y="90"/>
                </a:lnTo>
                <a:lnTo>
                  <a:pt x="81" y="89"/>
                </a:lnTo>
                <a:lnTo>
                  <a:pt x="81" y="88"/>
                </a:lnTo>
                <a:lnTo>
                  <a:pt x="79" y="87"/>
                </a:lnTo>
                <a:lnTo>
                  <a:pt x="76" y="84"/>
                </a:lnTo>
                <a:lnTo>
                  <a:pt x="77" y="84"/>
                </a:lnTo>
                <a:lnTo>
                  <a:pt x="80" y="86"/>
                </a:lnTo>
                <a:lnTo>
                  <a:pt x="83" y="87"/>
                </a:lnTo>
                <a:lnTo>
                  <a:pt x="84" y="86"/>
                </a:lnTo>
                <a:lnTo>
                  <a:pt x="83" y="83"/>
                </a:lnTo>
                <a:lnTo>
                  <a:pt x="80" y="82"/>
                </a:lnTo>
                <a:lnTo>
                  <a:pt x="78" y="80"/>
                </a:lnTo>
                <a:lnTo>
                  <a:pt x="78" y="77"/>
                </a:lnTo>
                <a:lnTo>
                  <a:pt x="76" y="75"/>
                </a:lnTo>
                <a:lnTo>
                  <a:pt x="75" y="73"/>
                </a:lnTo>
                <a:lnTo>
                  <a:pt x="73" y="70"/>
                </a:lnTo>
                <a:lnTo>
                  <a:pt x="69" y="70"/>
                </a:lnTo>
                <a:lnTo>
                  <a:pt x="66" y="69"/>
                </a:lnTo>
                <a:lnTo>
                  <a:pt x="66" y="69"/>
                </a:lnTo>
                <a:lnTo>
                  <a:pt x="65" y="67"/>
                </a:lnTo>
                <a:lnTo>
                  <a:pt x="63" y="65"/>
                </a:lnTo>
                <a:lnTo>
                  <a:pt x="61" y="61"/>
                </a:lnTo>
                <a:lnTo>
                  <a:pt x="60" y="60"/>
                </a:lnTo>
                <a:lnTo>
                  <a:pt x="59" y="53"/>
                </a:lnTo>
                <a:lnTo>
                  <a:pt x="57" y="52"/>
                </a:lnTo>
                <a:lnTo>
                  <a:pt x="55" y="50"/>
                </a:lnTo>
                <a:lnTo>
                  <a:pt x="54" y="48"/>
                </a:lnTo>
                <a:lnTo>
                  <a:pt x="46" y="45"/>
                </a:lnTo>
                <a:lnTo>
                  <a:pt x="45" y="45"/>
                </a:lnTo>
                <a:lnTo>
                  <a:pt x="40" y="46"/>
                </a:lnTo>
                <a:lnTo>
                  <a:pt x="37" y="46"/>
                </a:lnTo>
                <a:lnTo>
                  <a:pt x="37" y="45"/>
                </a:lnTo>
                <a:lnTo>
                  <a:pt x="38" y="43"/>
                </a:lnTo>
                <a:lnTo>
                  <a:pt x="39" y="42"/>
                </a:lnTo>
                <a:lnTo>
                  <a:pt x="41" y="42"/>
                </a:lnTo>
                <a:lnTo>
                  <a:pt x="44" y="42"/>
                </a:lnTo>
                <a:lnTo>
                  <a:pt x="46" y="41"/>
                </a:lnTo>
                <a:lnTo>
                  <a:pt x="44" y="39"/>
                </a:lnTo>
                <a:lnTo>
                  <a:pt x="43" y="38"/>
                </a:lnTo>
                <a:lnTo>
                  <a:pt x="41" y="38"/>
                </a:lnTo>
                <a:lnTo>
                  <a:pt x="44" y="38"/>
                </a:lnTo>
                <a:lnTo>
                  <a:pt x="46" y="37"/>
                </a:lnTo>
                <a:lnTo>
                  <a:pt x="47" y="36"/>
                </a:lnTo>
                <a:lnTo>
                  <a:pt x="47" y="33"/>
                </a:lnTo>
                <a:lnTo>
                  <a:pt x="50" y="30"/>
                </a:lnTo>
                <a:lnTo>
                  <a:pt x="51" y="29"/>
                </a:lnTo>
                <a:lnTo>
                  <a:pt x="53" y="27"/>
                </a:lnTo>
                <a:lnTo>
                  <a:pt x="53" y="25"/>
                </a:lnTo>
                <a:lnTo>
                  <a:pt x="57" y="21"/>
                </a:lnTo>
                <a:lnTo>
                  <a:pt x="57" y="18"/>
                </a:lnTo>
                <a:lnTo>
                  <a:pt x="56" y="17"/>
                </a:lnTo>
                <a:lnTo>
                  <a:pt x="51" y="17"/>
                </a:lnTo>
                <a:lnTo>
                  <a:pt x="48" y="17"/>
                </a:lnTo>
                <a:lnTo>
                  <a:pt x="43" y="17"/>
                </a:lnTo>
                <a:lnTo>
                  <a:pt x="40" y="17"/>
                </a:lnTo>
                <a:lnTo>
                  <a:pt x="37" y="16"/>
                </a:lnTo>
                <a:lnTo>
                  <a:pt x="29" y="18"/>
                </a:lnTo>
                <a:lnTo>
                  <a:pt x="27" y="19"/>
                </a:lnTo>
                <a:lnTo>
                  <a:pt x="26" y="19"/>
                </a:lnTo>
                <a:lnTo>
                  <a:pt x="27" y="18"/>
                </a:lnTo>
                <a:lnTo>
                  <a:pt x="27" y="17"/>
                </a:lnTo>
                <a:lnTo>
                  <a:pt x="25" y="18"/>
                </a:lnTo>
                <a:lnTo>
                  <a:pt x="25" y="17"/>
                </a:lnTo>
                <a:lnTo>
                  <a:pt x="28" y="16"/>
                </a:lnTo>
                <a:lnTo>
                  <a:pt x="30" y="15"/>
                </a:lnTo>
                <a:lnTo>
                  <a:pt x="26" y="15"/>
                </a:lnTo>
                <a:lnTo>
                  <a:pt x="27" y="12"/>
                </a:lnTo>
                <a:lnTo>
                  <a:pt x="27" y="13"/>
                </a:lnTo>
                <a:lnTo>
                  <a:pt x="29" y="11"/>
                </a:lnTo>
                <a:lnTo>
                  <a:pt x="34" y="9"/>
                </a:lnTo>
                <a:lnTo>
                  <a:pt x="36" y="7"/>
                </a:lnTo>
                <a:lnTo>
                  <a:pt x="39" y="6"/>
                </a:lnTo>
                <a:lnTo>
                  <a:pt x="40" y="1"/>
                </a:lnTo>
                <a:lnTo>
                  <a:pt x="37" y="0"/>
                </a:lnTo>
                <a:lnTo>
                  <a:pt x="34" y="1"/>
                </a:lnTo>
                <a:lnTo>
                  <a:pt x="30" y="1"/>
                </a:lnTo>
                <a:lnTo>
                  <a:pt x="28" y="1"/>
                </a:lnTo>
                <a:lnTo>
                  <a:pt x="24" y="2"/>
                </a:lnTo>
                <a:lnTo>
                  <a:pt x="24" y="2"/>
                </a:lnTo>
                <a:lnTo>
                  <a:pt x="19" y="1"/>
                </a:lnTo>
                <a:lnTo>
                  <a:pt x="17" y="2"/>
                </a:lnTo>
                <a:lnTo>
                  <a:pt x="14" y="5"/>
                </a:lnTo>
                <a:lnTo>
                  <a:pt x="14" y="7"/>
                </a:lnTo>
                <a:lnTo>
                  <a:pt x="12" y="8"/>
                </a:lnTo>
                <a:lnTo>
                  <a:pt x="12" y="10"/>
                </a:lnTo>
                <a:lnTo>
                  <a:pt x="9" y="10"/>
                </a:lnTo>
                <a:lnTo>
                  <a:pt x="10" y="11"/>
                </a:lnTo>
                <a:lnTo>
                  <a:pt x="12" y="12"/>
                </a:lnTo>
                <a:lnTo>
                  <a:pt x="6" y="15"/>
                </a:lnTo>
                <a:lnTo>
                  <a:pt x="6" y="18"/>
                </a:lnTo>
                <a:lnTo>
                  <a:pt x="7" y="19"/>
                </a:lnTo>
                <a:lnTo>
                  <a:pt x="7" y="19"/>
                </a:lnTo>
                <a:lnTo>
                  <a:pt x="5" y="19"/>
                </a:lnTo>
                <a:lnTo>
                  <a:pt x="5" y="19"/>
                </a:lnTo>
                <a:lnTo>
                  <a:pt x="5" y="21"/>
                </a:lnTo>
                <a:lnTo>
                  <a:pt x="6" y="22"/>
                </a:lnTo>
                <a:lnTo>
                  <a:pt x="8" y="21"/>
                </a:lnTo>
                <a:lnTo>
                  <a:pt x="8" y="22"/>
                </a:lnTo>
                <a:lnTo>
                  <a:pt x="7" y="22"/>
                </a:lnTo>
                <a:lnTo>
                  <a:pt x="8" y="23"/>
                </a:lnTo>
                <a:lnTo>
                  <a:pt x="7" y="25"/>
                </a:lnTo>
                <a:lnTo>
                  <a:pt x="7" y="26"/>
                </a:lnTo>
                <a:lnTo>
                  <a:pt x="7" y="27"/>
                </a:lnTo>
                <a:lnTo>
                  <a:pt x="6" y="27"/>
                </a:lnTo>
                <a:lnTo>
                  <a:pt x="6" y="27"/>
                </a:lnTo>
                <a:lnTo>
                  <a:pt x="6" y="28"/>
                </a:lnTo>
                <a:lnTo>
                  <a:pt x="5" y="29"/>
                </a:lnTo>
                <a:lnTo>
                  <a:pt x="4" y="30"/>
                </a:lnTo>
                <a:lnTo>
                  <a:pt x="4" y="32"/>
                </a:lnTo>
                <a:lnTo>
                  <a:pt x="2" y="32"/>
                </a:lnTo>
                <a:lnTo>
                  <a:pt x="0" y="33"/>
                </a:lnTo>
                <a:lnTo>
                  <a:pt x="0" y="33"/>
                </a:lnTo>
                <a:lnTo>
                  <a:pt x="3" y="33"/>
                </a:lnTo>
                <a:lnTo>
                  <a:pt x="3" y="36"/>
                </a:lnTo>
                <a:lnTo>
                  <a:pt x="6" y="37"/>
                </a:lnTo>
                <a:lnTo>
                  <a:pt x="8" y="36"/>
                </a:lnTo>
                <a:lnTo>
                  <a:pt x="10" y="35"/>
                </a:lnTo>
                <a:lnTo>
                  <a:pt x="10" y="35"/>
                </a:lnTo>
                <a:lnTo>
                  <a:pt x="12" y="35"/>
                </a:lnTo>
                <a:lnTo>
                  <a:pt x="12" y="36"/>
                </a:lnTo>
                <a:lnTo>
                  <a:pt x="8" y="41"/>
                </a:lnTo>
                <a:lnTo>
                  <a:pt x="7" y="42"/>
                </a:lnTo>
                <a:lnTo>
                  <a:pt x="7" y="43"/>
                </a:lnTo>
                <a:lnTo>
                  <a:pt x="6" y="45"/>
                </a:lnTo>
                <a:lnTo>
                  <a:pt x="6" y="47"/>
                </a:lnTo>
                <a:lnTo>
                  <a:pt x="6" y="48"/>
                </a:lnTo>
                <a:lnTo>
                  <a:pt x="7" y="48"/>
                </a:lnTo>
                <a:lnTo>
                  <a:pt x="8" y="48"/>
                </a:lnTo>
                <a:lnTo>
                  <a:pt x="7" y="49"/>
                </a:lnTo>
                <a:lnTo>
                  <a:pt x="5" y="52"/>
                </a:lnTo>
                <a:lnTo>
                  <a:pt x="4" y="57"/>
                </a:lnTo>
                <a:lnTo>
                  <a:pt x="4" y="57"/>
                </a:lnTo>
                <a:lnTo>
                  <a:pt x="5" y="57"/>
                </a:lnTo>
                <a:lnTo>
                  <a:pt x="6" y="56"/>
                </a:lnTo>
                <a:lnTo>
                  <a:pt x="7" y="53"/>
                </a:lnTo>
                <a:lnTo>
                  <a:pt x="9" y="49"/>
                </a:lnTo>
                <a:lnTo>
                  <a:pt x="9" y="47"/>
                </a:lnTo>
                <a:lnTo>
                  <a:pt x="9" y="46"/>
                </a:lnTo>
                <a:lnTo>
                  <a:pt x="9" y="45"/>
                </a:lnTo>
                <a:lnTo>
                  <a:pt x="13" y="41"/>
                </a:lnTo>
                <a:lnTo>
                  <a:pt x="13" y="42"/>
                </a:lnTo>
                <a:lnTo>
                  <a:pt x="10" y="46"/>
                </a:lnTo>
                <a:lnTo>
                  <a:pt x="10" y="48"/>
                </a:lnTo>
                <a:lnTo>
                  <a:pt x="12" y="47"/>
                </a:lnTo>
                <a:lnTo>
                  <a:pt x="12" y="47"/>
                </a:lnTo>
                <a:lnTo>
                  <a:pt x="13" y="46"/>
                </a:lnTo>
                <a:lnTo>
                  <a:pt x="13" y="46"/>
                </a:lnTo>
                <a:lnTo>
                  <a:pt x="15" y="47"/>
                </a:lnTo>
                <a:lnTo>
                  <a:pt x="15" y="47"/>
                </a:lnTo>
                <a:lnTo>
                  <a:pt x="15" y="45"/>
                </a:lnTo>
                <a:lnTo>
                  <a:pt x="17" y="45"/>
                </a:lnTo>
                <a:lnTo>
                  <a:pt x="18" y="46"/>
                </a:lnTo>
                <a:lnTo>
                  <a:pt x="17" y="46"/>
                </a:lnTo>
                <a:lnTo>
                  <a:pt x="17" y="47"/>
                </a:lnTo>
                <a:lnTo>
                  <a:pt x="16" y="48"/>
                </a:lnTo>
                <a:lnTo>
                  <a:pt x="16" y="50"/>
                </a:lnTo>
                <a:lnTo>
                  <a:pt x="17" y="51"/>
                </a:lnTo>
                <a:lnTo>
                  <a:pt x="18" y="52"/>
                </a:lnTo>
                <a:lnTo>
                  <a:pt x="18" y="55"/>
                </a:lnTo>
                <a:lnTo>
                  <a:pt x="17" y="56"/>
                </a:lnTo>
                <a:lnTo>
                  <a:pt x="16" y="58"/>
                </a:lnTo>
                <a:lnTo>
                  <a:pt x="14" y="60"/>
                </a:lnTo>
                <a:lnTo>
                  <a:pt x="14" y="62"/>
                </a:lnTo>
                <a:lnTo>
                  <a:pt x="14" y="63"/>
                </a:lnTo>
                <a:lnTo>
                  <a:pt x="12" y="62"/>
                </a:lnTo>
                <a:lnTo>
                  <a:pt x="12" y="63"/>
                </a:lnTo>
                <a:lnTo>
                  <a:pt x="14" y="68"/>
                </a:lnTo>
                <a:lnTo>
                  <a:pt x="14" y="69"/>
                </a:lnTo>
                <a:lnTo>
                  <a:pt x="15" y="68"/>
                </a:lnTo>
                <a:lnTo>
                  <a:pt x="15" y="66"/>
                </a:lnTo>
                <a:lnTo>
                  <a:pt x="15" y="66"/>
                </a:lnTo>
                <a:lnTo>
                  <a:pt x="16" y="65"/>
                </a:lnTo>
                <a:lnTo>
                  <a:pt x="20" y="68"/>
                </a:lnTo>
                <a:lnTo>
                  <a:pt x="22" y="68"/>
                </a:lnTo>
                <a:lnTo>
                  <a:pt x="22" y="67"/>
                </a:lnTo>
                <a:lnTo>
                  <a:pt x="23" y="66"/>
                </a:lnTo>
                <a:lnTo>
                  <a:pt x="28" y="66"/>
                </a:lnTo>
                <a:lnTo>
                  <a:pt x="32" y="65"/>
                </a:lnTo>
                <a:lnTo>
                  <a:pt x="33" y="63"/>
                </a:lnTo>
                <a:lnTo>
                  <a:pt x="34" y="63"/>
                </a:lnTo>
                <a:lnTo>
                  <a:pt x="39" y="63"/>
                </a:lnTo>
                <a:lnTo>
                  <a:pt x="38" y="63"/>
                </a:lnTo>
                <a:lnTo>
                  <a:pt x="37" y="63"/>
                </a:lnTo>
                <a:lnTo>
                  <a:pt x="36" y="66"/>
                </a:lnTo>
                <a:lnTo>
                  <a:pt x="33" y="70"/>
                </a:lnTo>
                <a:lnTo>
                  <a:pt x="32" y="71"/>
                </a:lnTo>
                <a:lnTo>
                  <a:pt x="33" y="72"/>
                </a:lnTo>
                <a:lnTo>
                  <a:pt x="34" y="75"/>
                </a:lnTo>
                <a:lnTo>
                  <a:pt x="35" y="76"/>
                </a:lnTo>
                <a:lnTo>
                  <a:pt x="35" y="76"/>
                </a:lnTo>
                <a:lnTo>
                  <a:pt x="36" y="76"/>
                </a:lnTo>
                <a:lnTo>
                  <a:pt x="37" y="78"/>
                </a:lnTo>
                <a:lnTo>
                  <a:pt x="40" y="77"/>
                </a:lnTo>
                <a:lnTo>
                  <a:pt x="43" y="76"/>
                </a:lnTo>
                <a:lnTo>
                  <a:pt x="44" y="76"/>
                </a:lnTo>
                <a:lnTo>
                  <a:pt x="43" y="77"/>
                </a:lnTo>
                <a:lnTo>
                  <a:pt x="43" y="80"/>
                </a:lnTo>
                <a:lnTo>
                  <a:pt x="41" y="81"/>
                </a:lnTo>
                <a:lnTo>
                  <a:pt x="40" y="83"/>
                </a:lnTo>
                <a:lnTo>
                  <a:pt x="43" y="83"/>
                </a:lnTo>
                <a:lnTo>
                  <a:pt x="41" y="86"/>
                </a:lnTo>
                <a:lnTo>
                  <a:pt x="39" y="88"/>
                </a:lnTo>
                <a:lnTo>
                  <a:pt x="40" y="89"/>
                </a:lnTo>
                <a:lnTo>
                  <a:pt x="41" y="90"/>
                </a:lnTo>
                <a:lnTo>
                  <a:pt x="40" y="90"/>
                </a:lnTo>
                <a:lnTo>
                  <a:pt x="39" y="91"/>
                </a:lnTo>
                <a:lnTo>
                  <a:pt x="29" y="91"/>
                </a:lnTo>
                <a:lnTo>
                  <a:pt x="26" y="93"/>
                </a:lnTo>
                <a:lnTo>
                  <a:pt x="23" y="94"/>
                </a:lnTo>
                <a:lnTo>
                  <a:pt x="17" y="100"/>
                </a:lnTo>
                <a:lnTo>
                  <a:pt x="18" y="100"/>
                </a:lnTo>
                <a:lnTo>
                  <a:pt x="22" y="99"/>
                </a:lnTo>
                <a:lnTo>
                  <a:pt x="25" y="98"/>
                </a:lnTo>
                <a:lnTo>
                  <a:pt x="25" y="100"/>
                </a:lnTo>
                <a:lnTo>
                  <a:pt x="25" y="103"/>
                </a:lnTo>
                <a:lnTo>
                  <a:pt x="26" y="104"/>
                </a:lnTo>
                <a:lnTo>
                  <a:pt x="27" y="106"/>
                </a:lnTo>
                <a:lnTo>
                  <a:pt x="24" y="109"/>
                </a:lnTo>
                <a:lnTo>
                  <a:pt x="17" y="113"/>
                </a:lnTo>
                <a:lnTo>
                  <a:pt x="9" y="117"/>
                </a:lnTo>
                <a:lnTo>
                  <a:pt x="9" y="117"/>
                </a:lnTo>
                <a:lnTo>
                  <a:pt x="9" y="119"/>
                </a:lnTo>
                <a:lnTo>
                  <a:pt x="12" y="120"/>
                </a:lnTo>
                <a:lnTo>
                  <a:pt x="12" y="121"/>
                </a:lnTo>
                <a:lnTo>
                  <a:pt x="14" y="121"/>
                </a:lnTo>
                <a:lnTo>
                  <a:pt x="15" y="120"/>
                </a:lnTo>
                <a:lnTo>
                  <a:pt x="17" y="119"/>
                </a:lnTo>
                <a:lnTo>
                  <a:pt x="19" y="118"/>
                </a:lnTo>
                <a:lnTo>
                  <a:pt x="20" y="119"/>
                </a:lnTo>
                <a:lnTo>
                  <a:pt x="22" y="121"/>
                </a:lnTo>
                <a:lnTo>
                  <a:pt x="22" y="121"/>
                </a:lnTo>
                <a:lnTo>
                  <a:pt x="25" y="121"/>
                </a:lnTo>
                <a:lnTo>
                  <a:pt x="27" y="120"/>
                </a:lnTo>
                <a:lnTo>
                  <a:pt x="27" y="120"/>
                </a:lnTo>
                <a:lnTo>
                  <a:pt x="28" y="121"/>
                </a:lnTo>
                <a:lnTo>
                  <a:pt x="33" y="124"/>
                </a:lnTo>
                <a:lnTo>
                  <a:pt x="34" y="124"/>
                </a:lnTo>
                <a:lnTo>
                  <a:pt x="36" y="124"/>
                </a:lnTo>
                <a:lnTo>
                  <a:pt x="37" y="124"/>
                </a:lnTo>
                <a:lnTo>
                  <a:pt x="38" y="122"/>
                </a:lnTo>
                <a:lnTo>
                  <a:pt x="41" y="121"/>
                </a:lnTo>
                <a:lnTo>
                  <a:pt x="46" y="119"/>
                </a:lnTo>
                <a:lnTo>
                  <a:pt x="46" y="120"/>
                </a:lnTo>
                <a:lnTo>
                  <a:pt x="45" y="121"/>
                </a:lnTo>
                <a:lnTo>
                  <a:pt x="40" y="126"/>
                </a:lnTo>
                <a:lnTo>
                  <a:pt x="39" y="127"/>
                </a:lnTo>
                <a:lnTo>
                  <a:pt x="39" y="128"/>
                </a:lnTo>
                <a:lnTo>
                  <a:pt x="36" y="128"/>
                </a:lnTo>
                <a:lnTo>
                  <a:pt x="28" y="128"/>
                </a:lnTo>
                <a:lnTo>
                  <a:pt x="24" y="129"/>
                </a:lnTo>
                <a:lnTo>
                  <a:pt x="23" y="131"/>
                </a:lnTo>
                <a:lnTo>
                  <a:pt x="20" y="132"/>
                </a:lnTo>
                <a:lnTo>
                  <a:pt x="18" y="136"/>
                </a:lnTo>
                <a:lnTo>
                  <a:pt x="8" y="144"/>
                </a:lnTo>
                <a:lnTo>
                  <a:pt x="4" y="147"/>
                </a:lnTo>
                <a:lnTo>
                  <a:pt x="3" y="148"/>
                </a:lnTo>
                <a:lnTo>
                  <a:pt x="3" y="149"/>
                </a:lnTo>
                <a:lnTo>
                  <a:pt x="4" y="148"/>
                </a:lnTo>
                <a:lnTo>
                  <a:pt x="5" y="147"/>
                </a:lnTo>
                <a:lnTo>
                  <a:pt x="7" y="149"/>
                </a:lnTo>
                <a:lnTo>
                  <a:pt x="8" y="148"/>
                </a:lnTo>
                <a:lnTo>
                  <a:pt x="9" y="149"/>
                </a:lnTo>
                <a:lnTo>
                  <a:pt x="10" y="148"/>
                </a:lnTo>
                <a:lnTo>
                  <a:pt x="12" y="147"/>
                </a:lnTo>
                <a:lnTo>
                  <a:pt x="14" y="146"/>
                </a:lnTo>
                <a:lnTo>
                  <a:pt x="16" y="143"/>
                </a:lnTo>
                <a:lnTo>
                  <a:pt x="23" y="143"/>
                </a:lnTo>
                <a:lnTo>
                  <a:pt x="28" y="144"/>
                </a:lnTo>
                <a:lnTo>
                  <a:pt x="30" y="144"/>
                </a:lnTo>
                <a:lnTo>
                  <a:pt x="32" y="143"/>
                </a:lnTo>
                <a:lnTo>
                  <a:pt x="33" y="138"/>
                </a:lnTo>
                <a:lnTo>
                  <a:pt x="34" y="138"/>
                </a:lnTo>
                <a:lnTo>
                  <a:pt x="36" y="138"/>
                </a:lnTo>
                <a:lnTo>
                  <a:pt x="38" y="137"/>
                </a:lnTo>
                <a:lnTo>
                  <a:pt x="43" y="137"/>
                </a:lnTo>
                <a:lnTo>
                  <a:pt x="46" y="140"/>
                </a:lnTo>
              </a:path>
            </a:pathLst>
          </a:custGeom>
          <a:solidFill>
            <a:srgbClr val="00A6D3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93" name="Freeform 793"/>
          <p:cNvSpPr>
            <a:spLocks/>
          </p:cNvSpPr>
          <p:nvPr/>
        </p:nvSpPr>
        <p:spPr bwMode="auto">
          <a:xfrm>
            <a:off x="4318000" y="2122453"/>
            <a:ext cx="9525" cy="3175"/>
          </a:xfrm>
          <a:custGeom>
            <a:avLst/>
            <a:gdLst>
              <a:gd name="T0" fmla="*/ 5 w 6"/>
              <a:gd name="T1" fmla="*/ 0 h 2"/>
              <a:gd name="T2" fmla="*/ 4 w 6"/>
              <a:gd name="T3" fmla="*/ 0 h 2"/>
              <a:gd name="T4" fmla="*/ 3 w 6"/>
              <a:gd name="T5" fmla="*/ 0 h 2"/>
              <a:gd name="T6" fmla="*/ 1 w 6"/>
              <a:gd name="T7" fmla="*/ 0 h 2"/>
              <a:gd name="T8" fmla="*/ 0 w 6"/>
              <a:gd name="T9" fmla="*/ 1 h 2"/>
              <a:gd name="T10" fmla="*/ 1 w 6"/>
              <a:gd name="T11" fmla="*/ 1 h 2"/>
              <a:gd name="T12" fmla="*/ 4 w 6"/>
              <a:gd name="T13" fmla="*/ 2 h 2"/>
              <a:gd name="T14" fmla="*/ 5 w 6"/>
              <a:gd name="T15" fmla="*/ 2 h 2"/>
              <a:gd name="T16" fmla="*/ 6 w 6"/>
              <a:gd name="T17" fmla="*/ 1 h 2"/>
              <a:gd name="T18" fmla="*/ 6 w 6"/>
              <a:gd name="T19" fmla="*/ 0 h 2"/>
              <a:gd name="T20" fmla="*/ 5 w 6"/>
              <a:gd name="T2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" h="2">
                <a:moveTo>
                  <a:pt x="5" y="0"/>
                </a:moveTo>
                <a:lnTo>
                  <a:pt x="4" y="0"/>
                </a:lnTo>
                <a:lnTo>
                  <a:pt x="3" y="0"/>
                </a:lnTo>
                <a:lnTo>
                  <a:pt x="1" y="0"/>
                </a:lnTo>
                <a:lnTo>
                  <a:pt x="0" y="1"/>
                </a:lnTo>
                <a:lnTo>
                  <a:pt x="1" y="1"/>
                </a:lnTo>
                <a:lnTo>
                  <a:pt x="4" y="2"/>
                </a:lnTo>
                <a:lnTo>
                  <a:pt x="5" y="2"/>
                </a:lnTo>
                <a:lnTo>
                  <a:pt x="6" y="1"/>
                </a:lnTo>
                <a:lnTo>
                  <a:pt x="6" y="0"/>
                </a:lnTo>
                <a:lnTo>
                  <a:pt x="5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94" name="Freeform 794"/>
          <p:cNvSpPr>
            <a:spLocks/>
          </p:cNvSpPr>
          <p:nvPr/>
        </p:nvSpPr>
        <p:spPr bwMode="auto">
          <a:xfrm>
            <a:off x="4318000" y="2122453"/>
            <a:ext cx="9525" cy="3175"/>
          </a:xfrm>
          <a:custGeom>
            <a:avLst/>
            <a:gdLst>
              <a:gd name="T0" fmla="*/ 5 w 6"/>
              <a:gd name="T1" fmla="*/ 0 h 2"/>
              <a:gd name="T2" fmla="*/ 4 w 6"/>
              <a:gd name="T3" fmla="*/ 0 h 2"/>
              <a:gd name="T4" fmla="*/ 3 w 6"/>
              <a:gd name="T5" fmla="*/ 0 h 2"/>
              <a:gd name="T6" fmla="*/ 1 w 6"/>
              <a:gd name="T7" fmla="*/ 0 h 2"/>
              <a:gd name="T8" fmla="*/ 0 w 6"/>
              <a:gd name="T9" fmla="*/ 1 h 2"/>
              <a:gd name="T10" fmla="*/ 1 w 6"/>
              <a:gd name="T11" fmla="*/ 1 h 2"/>
              <a:gd name="T12" fmla="*/ 4 w 6"/>
              <a:gd name="T13" fmla="*/ 2 h 2"/>
              <a:gd name="T14" fmla="*/ 5 w 6"/>
              <a:gd name="T15" fmla="*/ 2 h 2"/>
              <a:gd name="T16" fmla="*/ 6 w 6"/>
              <a:gd name="T17" fmla="*/ 1 h 2"/>
              <a:gd name="T18" fmla="*/ 6 w 6"/>
              <a:gd name="T19" fmla="*/ 0 h 2"/>
              <a:gd name="T20" fmla="*/ 5 w 6"/>
              <a:gd name="T2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" h="2">
                <a:moveTo>
                  <a:pt x="5" y="0"/>
                </a:moveTo>
                <a:lnTo>
                  <a:pt x="4" y="0"/>
                </a:lnTo>
                <a:lnTo>
                  <a:pt x="3" y="0"/>
                </a:lnTo>
                <a:lnTo>
                  <a:pt x="1" y="0"/>
                </a:lnTo>
                <a:lnTo>
                  <a:pt x="0" y="1"/>
                </a:lnTo>
                <a:lnTo>
                  <a:pt x="1" y="1"/>
                </a:lnTo>
                <a:lnTo>
                  <a:pt x="4" y="2"/>
                </a:lnTo>
                <a:lnTo>
                  <a:pt x="5" y="2"/>
                </a:lnTo>
                <a:lnTo>
                  <a:pt x="6" y="1"/>
                </a:lnTo>
                <a:lnTo>
                  <a:pt x="6" y="0"/>
                </a:lnTo>
                <a:lnTo>
                  <a:pt x="5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95" name="Freeform 795"/>
          <p:cNvSpPr>
            <a:spLocks/>
          </p:cNvSpPr>
          <p:nvPr/>
        </p:nvSpPr>
        <p:spPr bwMode="auto">
          <a:xfrm>
            <a:off x="4257675" y="2047840"/>
            <a:ext cx="4762" cy="3175"/>
          </a:xfrm>
          <a:custGeom>
            <a:avLst/>
            <a:gdLst>
              <a:gd name="T0" fmla="*/ 2 w 3"/>
              <a:gd name="T1" fmla="*/ 2 h 2"/>
              <a:gd name="T2" fmla="*/ 3 w 3"/>
              <a:gd name="T3" fmla="*/ 2 h 2"/>
              <a:gd name="T4" fmla="*/ 1 w 3"/>
              <a:gd name="T5" fmla="*/ 0 h 2"/>
              <a:gd name="T6" fmla="*/ 0 w 3"/>
              <a:gd name="T7" fmla="*/ 0 h 2"/>
              <a:gd name="T8" fmla="*/ 2 w 3"/>
              <a:gd name="T9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2">
                <a:moveTo>
                  <a:pt x="2" y="2"/>
                </a:moveTo>
                <a:lnTo>
                  <a:pt x="3" y="2"/>
                </a:lnTo>
                <a:lnTo>
                  <a:pt x="1" y="0"/>
                </a:lnTo>
                <a:lnTo>
                  <a:pt x="0" y="0"/>
                </a:lnTo>
                <a:lnTo>
                  <a:pt x="2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96" name="Freeform 796"/>
          <p:cNvSpPr>
            <a:spLocks/>
          </p:cNvSpPr>
          <p:nvPr/>
        </p:nvSpPr>
        <p:spPr bwMode="auto">
          <a:xfrm>
            <a:off x="4257675" y="2047840"/>
            <a:ext cx="4762" cy="3175"/>
          </a:xfrm>
          <a:custGeom>
            <a:avLst/>
            <a:gdLst>
              <a:gd name="T0" fmla="*/ 2 w 3"/>
              <a:gd name="T1" fmla="*/ 2 h 2"/>
              <a:gd name="T2" fmla="*/ 3 w 3"/>
              <a:gd name="T3" fmla="*/ 2 h 2"/>
              <a:gd name="T4" fmla="*/ 1 w 3"/>
              <a:gd name="T5" fmla="*/ 0 h 2"/>
              <a:gd name="T6" fmla="*/ 0 w 3"/>
              <a:gd name="T7" fmla="*/ 0 h 2"/>
              <a:gd name="T8" fmla="*/ 2 w 3"/>
              <a:gd name="T9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2">
                <a:moveTo>
                  <a:pt x="2" y="2"/>
                </a:moveTo>
                <a:lnTo>
                  <a:pt x="3" y="2"/>
                </a:lnTo>
                <a:lnTo>
                  <a:pt x="1" y="0"/>
                </a:lnTo>
                <a:lnTo>
                  <a:pt x="0" y="0"/>
                </a:lnTo>
                <a:lnTo>
                  <a:pt x="2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97" name="Freeform 797"/>
          <p:cNvSpPr>
            <a:spLocks/>
          </p:cNvSpPr>
          <p:nvPr/>
        </p:nvSpPr>
        <p:spPr bwMode="auto">
          <a:xfrm>
            <a:off x="4248150" y="2019265"/>
            <a:ext cx="11112" cy="11113"/>
          </a:xfrm>
          <a:custGeom>
            <a:avLst/>
            <a:gdLst>
              <a:gd name="T0" fmla="*/ 6 w 7"/>
              <a:gd name="T1" fmla="*/ 0 h 7"/>
              <a:gd name="T2" fmla="*/ 2 w 7"/>
              <a:gd name="T3" fmla="*/ 4 h 7"/>
              <a:gd name="T4" fmla="*/ 0 w 7"/>
              <a:gd name="T5" fmla="*/ 7 h 7"/>
              <a:gd name="T6" fmla="*/ 2 w 7"/>
              <a:gd name="T7" fmla="*/ 6 h 7"/>
              <a:gd name="T8" fmla="*/ 6 w 7"/>
              <a:gd name="T9" fmla="*/ 5 h 7"/>
              <a:gd name="T10" fmla="*/ 7 w 7"/>
              <a:gd name="T11" fmla="*/ 4 h 7"/>
              <a:gd name="T12" fmla="*/ 7 w 7"/>
              <a:gd name="T13" fmla="*/ 3 h 7"/>
              <a:gd name="T14" fmla="*/ 7 w 7"/>
              <a:gd name="T15" fmla="*/ 1 h 7"/>
              <a:gd name="T16" fmla="*/ 6 w 7"/>
              <a:gd name="T17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" h="7">
                <a:moveTo>
                  <a:pt x="6" y="0"/>
                </a:moveTo>
                <a:lnTo>
                  <a:pt x="2" y="4"/>
                </a:lnTo>
                <a:lnTo>
                  <a:pt x="0" y="7"/>
                </a:lnTo>
                <a:lnTo>
                  <a:pt x="2" y="6"/>
                </a:lnTo>
                <a:lnTo>
                  <a:pt x="6" y="5"/>
                </a:lnTo>
                <a:lnTo>
                  <a:pt x="7" y="4"/>
                </a:lnTo>
                <a:lnTo>
                  <a:pt x="7" y="3"/>
                </a:lnTo>
                <a:lnTo>
                  <a:pt x="7" y="1"/>
                </a:lnTo>
                <a:lnTo>
                  <a:pt x="6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98" name="Freeform 798"/>
          <p:cNvSpPr>
            <a:spLocks/>
          </p:cNvSpPr>
          <p:nvPr/>
        </p:nvSpPr>
        <p:spPr bwMode="auto">
          <a:xfrm>
            <a:off x="4248150" y="2019265"/>
            <a:ext cx="11112" cy="11113"/>
          </a:xfrm>
          <a:custGeom>
            <a:avLst/>
            <a:gdLst>
              <a:gd name="T0" fmla="*/ 6 w 7"/>
              <a:gd name="T1" fmla="*/ 0 h 7"/>
              <a:gd name="T2" fmla="*/ 2 w 7"/>
              <a:gd name="T3" fmla="*/ 4 h 7"/>
              <a:gd name="T4" fmla="*/ 0 w 7"/>
              <a:gd name="T5" fmla="*/ 7 h 7"/>
              <a:gd name="T6" fmla="*/ 2 w 7"/>
              <a:gd name="T7" fmla="*/ 6 h 7"/>
              <a:gd name="T8" fmla="*/ 6 w 7"/>
              <a:gd name="T9" fmla="*/ 5 h 7"/>
              <a:gd name="T10" fmla="*/ 7 w 7"/>
              <a:gd name="T11" fmla="*/ 4 h 7"/>
              <a:gd name="T12" fmla="*/ 7 w 7"/>
              <a:gd name="T13" fmla="*/ 3 h 7"/>
              <a:gd name="T14" fmla="*/ 7 w 7"/>
              <a:gd name="T15" fmla="*/ 1 h 7"/>
              <a:gd name="T16" fmla="*/ 6 w 7"/>
              <a:gd name="T17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" h="7">
                <a:moveTo>
                  <a:pt x="6" y="0"/>
                </a:moveTo>
                <a:lnTo>
                  <a:pt x="2" y="4"/>
                </a:lnTo>
                <a:lnTo>
                  <a:pt x="0" y="7"/>
                </a:lnTo>
                <a:lnTo>
                  <a:pt x="2" y="6"/>
                </a:lnTo>
                <a:lnTo>
                  <a:pt x="6" y="5"/>
                </a:lnTo>
                <a:lnTo>
                  <a:pt x="7" y="4"/>
                </a:lnTo>
                <a:lnTo>
                  <a:pt x="7" y="3"/>
                </a:lnTo>
                <a:lnTo>
                  <a:pt x="7" y="1"/>
                </a:lnTo>
                <a:lnTo>
                  <a:pt x="6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799" name="Freeform 799"/>
          <p:cNvSpPr>
            <a:spLocks/>
          </p:cNvSpPr>
          <p:nvPr/>
        </p:nvSpPr>
        <p:spPr bwMode="auto">
          <a:xfrm>
            <a:off x="4237038" y="1984340"/>
            <a:ext cx="6350" cy="9525"/>
          </a:xfrm>
          <a:custGeom>
            <a:avLst/>
            <a:gdLst>
              <a:gd name="T0" fmla="*/ 0 w 4"/>
              <a:gd name="T1" fmla="*/ 1 h 6"/>
              <a:gd name="T2" fmla="*/ 0 w 4"/>
              <a:gd name="T3" fmla="*/ 0 h 6"/>
              <a:gd name="T4" fmla="*/ 0 w 4"/>
              <a:gd name="T5" fmla="*/ 2 h 6"/>
              <a:gd name="T6" fmla="*/ 0 w 4"/>
              <a:gd name="T7" fmla="*/ 3 h 6"/>
              <a:gd name="T8" fmla="*/ 1 w 4"/>
              <a:gd name="T9" fmla="*/ 6 h 6"/>
              <a:gd name="T10" fmla="*/ 3 w 4"/>
              <a:gd name="T11" fmla="*/ 5 h 6"/>
              <a:gd name="T12" fmla="*/ 4 w 4"/>
              <a:gd name="T13" fmla="*/ 2 h 6"/>
              <a:gd name="T14" fmla="*/ 4 w 4"/>
              <a:gd name="T15" fmla="*/ 0 h 6"/>
              <a:gd name="T16" fmla="*/ 0 w 4"/>
              <a:gd name="T17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6">
                <a:moveTo>
                  <a:pt x="0" y="1"/>
                </a:moveTo>
                <a:lnTo>
                  <a:pt x="0" y="0"/>
                </a:lnTo>
                <a:lnTo>
                  <a:pt x="0" y="2"/>
                </a:lnTo>
                <a:lnTo>
                  <a:pt x="0" y="3"/>
                </a:lnTo>
                <a:lnTo>
                  <a:pt x="1" y="6"/>
                </a:lnTo>
                <a:lnTo>
                  <a:pt x="3" y="5"/>
                </a:lnTo>
                <a:lnTo>
                  <a:pt x="4" y="2"/>
                </a:lnTo>
                <a:lnTo>
                  <a:pt x="4" y="0"/>
                </a:lnTo>
                <a:lnTo>
                  <a:pt x="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00" name="Freeform 800"/>
          <p:cNvSpPr>
            <a:spLocks/>
          </p:cNvSpPr>
          <p:nvPr/>
        </p:nvSpPr>
        <p:spPr bwMode="auto">
          <a:xfrm>
            <a:off x="4237038" y="1984340"/>
            <a:ext cx="6350" cy="9525"/>
          </a:xfrm>
          <a:custGeom>
            <a:avLst/>
            <a:gdLst>
              <a:gd name="T0" fmla="*/ 0 w 4"/>
              <a:gd name="T1" fmla="*/ 1 h 6"/>
              <a:gd name="T2" fmla="*/ 0 w 4"/>
              <a:gd name="T3" fmla="*/ 0 h 6"/>
              <a:gd name="T4" fmla="*/ 0 w 4"/>
              <a:gd name="T5" fmla="*/ 2 h 6"/>
              <a:gd name="T6" fmla="*/ 0 w 4"/>
              <a:gd name="T7" fmla="*/ 3 h 6"/>
              <a:gd name="T8" fmla="*/ 1 w 4"/>
              <a:gd name="T9" fmla="*/ 6 h 6"/>
              <a:gd name="T10" fmla="*/ 3 w 4"/>
              <a:gd name="T11" fmla="*/ 5 h 6"/>
              <a:gd name="T12" fmla="*/ 4 w 4"/>
              <a:gd name="T13" fmla="*/ 2 h 6"/>
              <a:gd name="T14" fmla="*/ 4 w 4"/>
              <a:gd name="T15" fmla="*/ 0 h 6"/>
              <a:gd name="T16" fmla="*/ 0 w 4"/>
              <a:gd name="T17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6">
                <a:moveTo>
                  <a:pt x="0" y="1"/>
                </a:moveTo>
                <a:lnTo>
                  <a:pt x="0" y="0"/>
                </a:lnTo>
                <a:lnTo>
                  <a:pt x="0" y="2"/>
                </a:lnTo>
                <a:lnTo>
                  <a:pt x="0" y="3"/>
                </a:lnTo>
                <a:lnTo>
                  <a:pt x="1" y="6"/>
                </a:lnTo>
                <a:lnTo>
                  <a:pt x="3" y="5"/>
                </a:lnTo>
                <a:lnTo>
                  <a:pt x="4" y="2"/>
                </a:lnTo>
                <a:lnTo>
                  <a:pt x="4" y="0"/>
                </a:lnTo>
                <a:lnTo>
                  <a:pt x="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01" name="Freeform 801"/>
          <p:cNvSpPr>
            <a:spLocks/>
          </p:cNvSpPr>
          <p:nvPr/>
        </p:nvSpPr>
        <p:spPr bwMode="auto">
          <a:xfrm>
            <a:off x="4213225" y="1979578"/>
            <a:ext cx="7937" cy="6350"/>
          </a:xfrm>
          <a:custGeom>
            <a:avLst/>
            <a:gdLst>
              <a:gd name="T0" fmla="*/ 4 w 5"/>
              <a:gd name="T1" fmla="*/ 0 h 4"/>
              <a:gd name="T2" fmla="*/ 4 w 5"/>
              <a:gd name="T3" fmla="*/ 0 h 4"/>
              <a:gd name="T4" fmla="*/ 3 w 5"/>
              <a:gd name="T5" fmla="*/ 1 h 4"/>
              <a:gd name="T6" fmla="*/ 1 w 5"/>
              <a:gd name="T7" fmla="*/ 1 h 4"/>
              <a:gd name="T8" fmla="*/ 0 w 5"/>
              <a:gd name="T9" fmla="*/ 3 h 4"/>
              <a:gd name="T10" fmla="*/ 1 w 5"/>
              <a:gd name="T11" fmla="*/ 3 h 4"/>
              <a:gd name="T12" fmla="*/ 2 w 5"/>
              <a:gd name="T13" fmla="*/ 2 h 4"/>
              <a:gd name="T14" fmla="*/ 3 w 5"/>
              <a:gd name="T15" fmla="*/ 4 h 4"/>
              <a:gd name="T16" fmla="*/ 5 w 5"/>
              <a:gd name="T17" fmla="*/ 4 h 4"/>
              <a:gd name="T18" fmla="*/ 5 w 5"/>
              <a:gd name="T19" fmla="*/ 2 h 4"/>
              <a:gd name="T20" fmla="*/ 4 w 5"/>
              <a:gd name="T2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" h="4">
                <a:moveTo>
                  <a:pt x="4" y="0"/>
                </a:moveTo>
                <a:lnTo>
                  <a:pt x="4" y="0"/>
                </a:lnTo>
                <a:lnTo>
                  <a:pt x="3" y="1"/>
                </a:lnTo>
                <a:lnTo>
                  <a:pt x="1" y="1"/>
                </a:lnTo>
                <a:lnTo>
                  <a:pt x="0" y="3"/>
                </a:lnTo>
                <a:lnTo>
                  <a:pt x="1" y="3"/>
                </a:lnTo>
                <a:lnTo>
                  <a:pt x="2" y="2"/>
                </a:lnTo>
                <a:lnTo>
                  <a:pt x="3" y="4"/>
                </a:lnTo>
                <a:lnTo>
                  <a:pt x="5" y="4"/>
                </a:lnTo>
                <a:lnTo>
                  <a:pt x="5" y="2"/>
                </a:lnTo>
                <a:lnTo>
                  <a:pt x="4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02" name="Freeform 802"/>
          <p:cNvSpPr>
            <a:spLocks/>
          </p:cNvSpPr>
          <p:nvPr/>
        </p:nvSpPr>
        <p:spPr bwMode="auto">
          <a:xfrm>
            <a:off x="4213225" y="1979578"/>
            <a:ext cx="7937" cy="6350"/>
          </a:xfrm>
          <a:custGeom>
            <a:avLst/>
            <a:gdLst>
              <a:gd name="T0" fmla="*/ 4 w 5"/>
              <a:gd name="T1" fmla="*/ 0 h 4"/>
              <a:gd name="T2" fmla="*/ 4 w 5"/>
              <a:gd name="T3" fmla="*/ 0 h 4"/>
              <a:gd name="T4" fmla="*/ 3 w 5"/>
              <a:gd name="T5" fmla="*/ 1 h 4"/>
              <a:gd name="T6" fmla="*/ 1 w 5"/>
              <a:gd name="T7" fmla="*/ 1 h 4"/>
              <a:gd name="T8" fmla="*/ 0 w 5"/>
              <a:gd name="T9" fmla="*/ 3 h 4"/>
              <a:gd name="T10" fmla="*/ 1 w 5"/>
              <a:gd name="T11" fmla="*/ 3 h 4"/>
              <a:gd name="T12" fmla="*/ 2 w 5"/>
              <a:gd name="T13" fmla="*/ 2 h 4"/>
              <a:gd name="T14" fmla="*/ 3 w 5"/>
              <a:gd name="T15" fmla="*/ 4 h 4"/>
              <a:gd name="T16" fmla="*/ 5 w 5"/>
              <a:gd name="T17" fmla="*/ 4 h 4"/>
              <a:gd name="T18" fmla="*/ 5 w 5"/>
              <a:gd name="T19" fmla="*/ 2 h 4"/>
              <a:gd name="T20" fmla="*/ 4 w 5"/>
              <a:gd name="T2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" h="4">
                <a:moveTo>
                  <a:pt x="4" y="0"/>
                </a:moveTo>
                <a:lnTo>
                  <a:pt x="4" y="0"/>
                </a:lnTo>
                <a:lnTo>
                  <a:pt x="3" y="1"/>
                </a:lnTo>
                <a:lnTo>
                  <a:pt x="1" y="1"/>
                </a:lnTo>
                <a:lnTo>
                  <a:pt x="0" y="3"/>
                </a:lnTo>
                <a:lnTo>
                  <a:pt x="1" y="3"/>
                </a:lnTo>
                <a:lnTo>
                  <a:pt x="2" y="2"/>
                </a:lnTo>
                <a:lnTo>
                  <a:pt x="3" y="4"/>
                </a:lnTo>
                <a:lnTo>
                  <a:pt x="5" y="4"/>
                </a:lnTo>
                <a:lnTo>
                  <a:pt x="5" y="2"/>
                </a:lnTo>
                <a:lnTo>
                  <a:pt x="4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03" name="Freeform 803"/>
          <p:cNvSpPr>
            <a:spLocks/>
          </p:cNvSpPr>
          <p:nvPr/>
        </p:nvSpPr>
        <p:spPr bwMode="auto">
          <a:xfrm>
            <a:off x="4222750" y="1973228"/>
            <a:ext cx="7937" cy="9525"/>
          </a:xfrm>
          <a:custGeom>
            <a:avLst/>
            <a:gdLst>
              <a:gd name="T0" fmla="*/ 5 w 5"/>
              <a:gd name="T1" fmla="*/ 0 h 6"/>
              <a:gd name="T2" fmla="*/ 3 w 5"/>
              <a:gd name="T3" fmla="*/ 2 h 6"/>
              <a:gd name="T4" fmla="*/ 2 w 5"/>
              <a:gd name="T5" fmla="*/ 3 h 6"/>
              <a:gd name="T6" fmla="*/ 2 w 5"/>
              <a:gd name="T7" fmla="*/ 4 h 6"/>
              <a:gd name="T8" fmla="*/ 0 w 5"/>
              <a:gd name="T9" fmla="*/ 5 h 6"/>
              <a:gd name="T10" fmla="*/ 0 w 5"/>
              <a:gd name="T11" fmla="*/ 6 h 6"/>
              <a:gd name="T12" fmla="*/ 2 w 5"/>
              <a:gd name="T13" fmla="*/ 5 h 6"/>
              <a:gd name="T14" fmla="*/ 3 w 5"/>
              <a:gd name="T15" fmla="*/ 4 h 6"/>
              <a:gd name="T16" fmla="*/ 4 w 5"/>
              <a:gd name="T17" fmla="*/ 3 h 6"/>
              <a:gd name="T18" fmla="*/ 5 w 5"/>
              <a:gd name="T19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" h="6">
                <a:moveTo>
                  <a:pt x="5" y="0"/>
                </a:moveTo>
                <a:lnTo>
                  <a:pt x="3" y="2"/>
                </a:lnTo>
                <a:lnTo>
                  <a:pt x="2" y="3"/>
                </a:lnTo>
                <a:lnTo>
                  <a:pt x="2" y="4"/>
                </a:lnTo>
                <a:lnTo>
                  <a:pt x="0" y="5"/>
                </a:lnTo>
                <a:lnTo>
                  <a:pt x="0" y="6"/>
                </a:lnTo>
                <a:lnTo>
                  <a:pt x="2" y="5"/>
                </a:lnTo>
                <a:lnTo>
                  <a:pt x="3" y="4"/>
                </a:lnTo>
                <a:lnTo>
                  <a:pt x="4" y="3"/>
                </a:lnTo>
                <a:lnTo>
                  <a:pt x="5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04" name="Freeform 804"/>
          <p:cNvSpPr>
            <a:spLocks/>
          </p:cNvSpPr>
          <p:nvPr/>
        </p:nvSpPr>
        <p:spPr bwMode="auto">
          <a:xfrm>
            <a:off x="4222750" y="1973228"/>
            <a:ext cx="7937" cy="9525"/>
          </a:xfrm>
          <a:custGeom>
            <a:avLst/>
            <a:gdLst>
              <a:gd name="T0" fmla="*/ 5 w 5"/>
              <a:gd name="T1" fmla="*/ 0 h 6"/>
              <a:gd name="T2" fmla="*/ 3 w 5"/>
              <a:gd name="T3" fmla="*/ 2 h 6"/>
              <a:gd name="T4" fmla="*/ 2 w 5"/>
              <a:gd name="T5" fmla="*/ 3 h 6"/>
              <a:gd name="T6" fmla="*/ 2 w 5"/>
              <a:gd name="T7" fmla="*/ 4 h 6"/>
              <a:gd name="T8" fmla="*/ 0 w 5"/>
              <a:gd name="T9" fmla="*/ 5 h 6"/>
              <a:gd name="T10" fmla="*/ 0 w 5"/>
              <a:gd name="T11" fmla="*/ 6 h 6"/>
              <a:gd name="T12" fmla="*/ 2 w 5"/>
              <a:gd name="T13" fmla="*/ 5 h 6"/>
              <a:gd name="T14" fmla="*/ 3 w 5"/>
              <a:gd name="T15" fmla="*/ 4 h 6"/>
              <a:gd name="T16" fmla="*/ 4 w 5"/>
              <a:gd name="T17" fmla="*/ 3 h 6"/>
              <a:gd name="T18" fmla="*/ 5 w 5"/>
              <a:gd name="T19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" h="6">
                <a:moveTo>
                  <a:pt x="5" y="0"/>
                </a:moveTo>
                <a:lnTo>
                  <a:pt x="3" y="2"/>
                </a:lnTo>
                <a:lnTo>
                  <a:pt x="2" y="3"/>
                </a:lnTo>
                <a:lnTo>
                  <a:pt x="2" y="4"/>
                </a:lnTo>
                <a:lnTo>
                  <a:pt x="0" y="5"/>
                </a:lnTo>
                <a:lnTo>
                  <a:pt x="0" y="6"/>
                </a:lnTo>
                <a:lnTo>
                  <a:pt x="2" y="5"/>
                </a:lnTo>
                <a:lnTo>
                  <a:pt x="3" y="4"/>
                </a:lnTo>
                <a:lnTo>
                  <a:pt x="4" y="3"/>
                </a:lnTo>
                <a:lnTo>
                  <a:pt x="5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05" name="Freeform 805"/>
          <p:cNvSpPr>
            <a:spLocks/>
          </p:cNvSpPr>
          <p:nvPr/>
        </p:nvSpPr>
        <p:spPr bwMode="auto">
          <a:xfrm>
            <a:off x="4216400" y="1960528"/>
            <a:ext cx="14287" cy="9525"/>
          </a:xfrm>
          <a:custGeom>
            <a:avLst/>
            <a:gdLst>
              <a:gd name="T0" fmla="*/ 1 w 9"/>
              <a:gd name="T1" fmla="*/ 5 h 6"/>
              <a:gd name="T2" fmla="*/ 0 w 9"/>
              <a:gd name="T3" fmla="*/ 5 h 6"/>
              <a:gd name="T4" fmla="*/ 0 w 9"/>
              <a:gd name="T5" fmla="*/ 5 h 6"/>
              <a:gd name="T6" fmla="*/ 2 w 9"/>
              <a:gd name="T7" fmla="*/ 6 h 6"/>
              <a:gd name="T8" fmla="*/ 4 w 9"/>
              <a:gd name="T9" fmla="*/ 6 h 6"/>
              <a:gd name="T10" fmla="*/ 7 w 9"/>
              <a:gd name="T11" fmla="*/ 4 h 6"/>
              <a:gd name="T12" fmla="*/ 9 w 9"/>
              <a:gd name="T13" fmla="*/ 4 h 6"/>
              <a:gd name="T14" fmla="*/ 9 w 9"/>
              <a:gd name="T15" fmla="*/ 3 h 6"/>
              <a:gd name="T16" fmla="*/ 4 w 9"/>
              <a:gd name="T17" fmla="*/ 1 h 6"/>
              <a:gd name="T18" fmla="*/ 4 w 9"/>
              <a:gd name="T19" fmla="*/ 0 h 6"/>
              <a:gd name="T20" fmla="*/ 2 w 9"/>
              <a:gd name="T21" fmla="*/ 0 h 6"/>
              <a:gd name="T22" fmla="*/ 2 w 9"/>
              <a:gd name="T23" fmla="*/ 1 h 6"/>
              <a:gd name="T24" fmla="*/ 2 w 9"/>
              <a:gd name="T25" fmla="*/ 2 h 6"/>
              <a:gd name="T26" fmla="*/ 4 w 9"/>
              <a:gd name="T27" fmla="*/ 3 h 6"/>
              <a:gd name="T28" fmla="*/ 3 w 9"/>
              <a:gd name="T29" fmla="*/ 4 h 6"/>
              <a:gd name="T30" fmla="*/ 4 w 9"/>
              <a:gd name="T31" fmla="*/ 4 h 6"/>
              <a:gd name="T32" fmla="*/ 3 w 9"/>
              <a:gd name="T33" fmla="*/ 5 h 6"/>
              <a:gd name="T34" fmla="*/ 2 w 9"/>
              <a:gd name="T35" fmla="*/ 5 h 6"/>
              <a:gd name="T36" fmla="*/ 1 w 9"/>
              <a:gd name="T37" fmla="*/ 5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9" h="6">
                <a:moveTo>
                  <a:pt x="1" y="5"/>
                </a:moveTo>
                <a:lnTo>
                  <a:pt x="0" y="5"/>
                </a:lnTo>
                <a:lnTo>
                  <a:pt x="0" y="5"/>
                </a:lnTo>
                <a:lnTo>
                  <a:pt x="2" y="6"/>
                </a:lnTo>
                <a:lnTo>
                  <a:pt x="4" y="6"/>
                </a:lnTo>
                <a:lnTo>
                  <a:pt x="7" y="4"/>
                </a:lnTo>
                <a:lnTo>
                  <a:pt x="9" y="4"/>
                </a:lnTo>
                <a:lnTo>
                  <a:pt x="9" y="3"/>
                </a:lnTo>
                <a:lnTo>
                  <a:pt x="4" y="1"/>
                </a:lnTo>
                <a:lnTo>
                  <a:pt x="4" y="0"/>
                </a:lnTo>
                <a:lnTo>
                  <a:pt x="2" y="0"/>
                </a:lnTo>
                <a:lnTo>
                  <a:pt x="2" y="1"/>
                </a:lnTo>
                <a:lnTo>
                  <a:pt x="2" y="2"/>
                </a:lnTo>
                <a:lnTo>
                  <a:pt x="4" y="3"/>
                </a:lnTo>
                <a:lnTo>
                  <a:pt x="3" y="4"/>
                </a:lnTo>
                <a:lnTo>
                  <a:pt x="4" y="4"/>
                </a:lnTo>
                <a:lnTo>
                  <a:pt x="3" y="5"/>
                </a:lnTo>
                <a:lnTo>
                  <a:pt x="2" y="5"/>
                </a:lnTo>
                <a:lnTo>
                  <a:pt x="1" y="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06" name="Freeform 806"/>
          <p:cNvSpPr>
            <a:spLocks/>
          </p:cNvSpPr>
          <p:nvPr/>
        </p:nvSpPr>
        <p:spPr bwMode="auto">
          <a:xfrm>
            <a:off x="4216400" y="1960528"/>
            <a:ext cx="14287" cy="9525"/>
          </a:xfrm>
          <a:custGeom>
            <a:avLst/>
            <a:gdLst>
              <a:gd name="T0" fmla="*/ 1 w 9"/>
              <a:gd name="T1" fmla="*/ 5 h 6"/>
              <a:gd name="T2" fmla="*/ 0 w 9"/>
              <a:gd name="T3" fmla="*/ 5 h 6"/>
              <a:gd name="T4" fmla="*/ 0 w 9"/>
              <a:gd name="T5" fmla="*/ 5 h 6"/>
              <a:gd name="T6" fmla="*/ 2 w 9"/>
              <a:gd name="T7" fmla="*/ 6 h 6"/>
              <a:gd name="T8" fmla="*/ 4 w 9"/>
              <a:gd name="T9" fmla="*/ 6 h 6"/>
              <a:gd name="T10" fmla="*/ 7 w 9"/>
              <a:gd name="T11" fmla="*/ 4 h 6"/>
              <a:gd name="T12" fmla="*/ 9 w 9"/>
              <a:gd name="T13" fmla="*/ 4 h 6"/>
              <a:gd name="T14" fmla="*/ 9 w 9"/>
              <a:gd name="T15" fmla="*/ 3 h 6"/>
              <a:gd name="T16" fmla="*/ 4 w 9"/>
              <a:gd name="T17" fmla="*/ 1 h 6"/>
              <a:gd name="T18" fmla="*/ 4 w 9"/>
              <a:gd name="T19" fmla="*/ 0 h 6"/>
              <a:gd name="T20" fmla="*/ 2 w 9"/>
              <a:gd name="T21" fmla="*/ 0 h 6"/>
              <a:gd name="T22" fmla="*/ 2 w 9"/>
              <a:gd name="T23" fmla="*/ 1 h 6"/>
              <a:gd name="T24" fmla="*/ 2 w 9"/>
              <a:gd name="T25" fmla="*/ 2 h 6"/>
              <a:gd name="T26" fmla="*/ 4 w 9"/>
              <a:gd name="T27" fmla="*/ 3 h 6"/>
              <a:gd name="T28" fmla="*/ 3 w 9"/>
              <a:gd name="T29" fmla="*/ 4 h 6"/>
              <a:gd name="T30" fmla="*/ 4 w 9"/>
              <a:gd name="T31" fmla="*/ 4 h 6"/>
              <a:gd name="T32" fmla="*/ 3 w 9"/>
              <a:gd name="T33" fmla="*/ 5 h 6"/>
              <a:gd name="T34" fmla="*/ 2 w 9"/>
              <a:gd name="T35" fmla="*/ 5 h 6"/>
              <a:gd name="T36" fmla="*/ 1 w 9"/>
              <a:gd name="T37" fmla="*/ 5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9" h="6">
                <a:moveTo>
                  <a:pt x="1" y="5"/>
                </a:moveTo>
                <a:lnTo>
                  <a:pt x="0" y="5"/>
                </a:lnTo>
                <a:lnTo>
                  <a:pt x="0" y="5"/>
                </a:lnTo>
                <a:lnTo>
                  <a:pt x="2" y="6"/>
                </a:lnTo>
                <a:lnTo>
                  <a:pt x="4" y="6"/>
                </a:lnTo>
                <a:lnTo>
                  <a:pt x="7" y="4"/>
                </a:lnTo>
                <a:lnTo>
                  <a:pt x="9" y="4"/>
                </a:lnTo>
                <a:lnTo>
                  <a:pt x="9" y="3"/>
                </a:lnTo>
                <a:lnTo>
                  <a:pt x="4" y="1"/>
                </a:lnTo>
                <a:lnTo>
                  <a:pt x="4" y="0"/>
                </a:lnTo>
                <a:lnTo>
                  <a:pt x="2" y="0"/>
                </a:lnTo>
                <a:lnTo>
                  <a:pt x="2" y="1"/>
                </a:lnTo>
                <a:lnTo>
                  <a:pt x="2" y="2"/>
                </a:lnTo>
                <a:lnTo>
                  <a:pt x="4" y="3"/>
                </a:lnTo>
                <a:lnTo>
                  <a:pt x="3" y="4"/>
                </a:lnTo>
                <a:lnTo>
                  <a:pt x="4" y="4"/>
                </a:lnTo>
                <a:lnTo>
                  <a:pt x="3" y="5"/>
                </a:lnTo>
                <a:lnTo>
                  <a:pt x="2" y="5"/>
                </a:lnTo>
                <a:lnTo>
                  <a:pt x="1" y="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07" name="Freeform 807"/>
          <p:cNvSpPr>
            <a:spLocks/>
          </p:cNvSpPr>
          <p:nvPr/>
        </p:nvSpPr>
        <p:spPr bwMode="auto">
          <a:xfrm>
            <a:off x="4211638" y="1931953"/>
            <a:ext cx="19050" cy="15875"/>
          </a:xfrm>
          <a:custGeom>
            <a:avLst/>
            <a:gdLst>
              <a:gd name="T0" fmla="*/ 5 w 12"/>
              <a:gd name="T1" fmla="*/ 0 h 10"/>
              <a:gd name="T2" fmla="*/ 4 w 12"/>
              <a:gd name="T3" fmla="*/ 0 h 10"/>
              <a:gd name="T4" fmla="*/ 3 w 12"/>
              <a:gd name="T5" fmla="*/ 3 h 10"/>
              <a:gd name="T6" fmla="*/ 2 w 12"/>
              <a:gd name="T7" fmla="*/ 2 h 10"/>
              <a:gd name="T8" fmla="*/ 0 w 12"/>
              <a:gd name="T9" fmla="*/ 3 h 10"/>
              <a:gd name="T10" fmla="*/ 0 w 12"/>
              <a:gd name="T11" fmla="*/ 4 h 10"/>
              <a:gd name="T12" fmla="*/ 1 w 12"/>
              <a:gd name="T13" fmla="*/ 5 h 10"/>
              <a:gd name="T14" fmla="*/ 2 w 12"/>
              <a:gd name="T15" fmla="*/ 5 h 10"/>
              <a:gd name="T16" fmla="*/ 3 w 12"/>
              <a:gd name="T17" fmla="*/ 6 h 10"/>
              <a:gd name="T18" fmla="*/ 4 w 12"/>
              <a:gd name="T19" fmla="*/ 8 h 10"/>
              <a:gd name="T20" fmla="*/ 4 w 12"/>
              <a:gd name="T21" fmla="*/ 9 h 10"/>
              <a:gd name="T22" fmla="*/ 10 w 12"/>
              <a:gd name="T23" fmla="*/ 9 h 10"/>
              <a:gd name="T24" fmla="*/ 10 w 12"/>
              <a:gd name="T25" fmla="*/ 10 h 10"/>
              <a:gd name="T26" fmla="*/ 11 w 12"/>
              <a:gd name="T27" fmla="*/ 10 h 10"/>
              <a:gd name="T28" fmla="*/ 12 w 12"/>
              <a:gd name="T29" fmla="*/ 8 h 10"/>
              <a:gd name="T30" fmla="*/ 9 w 12"/>
              <a:gd name="T31" fmla="*/ 6 h 10"/>
              <a:gd name="T32" fmla="*/ 9 w 12"/>
              <a:gd name="T33" fmla="*/ 6 h 10"/>
              <a:gd name="T34" fmla="*/ 9 w 12"/>
              <a:gd name="T35" fmla="*/ 4 h 10"/>
              <a:gd name="T36" fmla="*/ 6 w 12"/>
              <a:gd name="T37" fmla="*/ 3 h 10"/>
              <a:gd name="T38" fmla="*/ 6 w 12"/>
              <a:gd name="T39" fmla="*/ 2 h 10"/>
              <a:gd name="T40" fmla="*/ 6 w 12"/>
              <a:gd name="T41" fmla="*/ 1 h 10"/>
              <a:gd name="T42" fmla="*/ 5 w 12"/>
              <a:gd name="T43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2" h="10">
                <a:moveTo>
                  <a:pt x="5" y="0"/>
                </a:moveTo>
                <a:lnTo>
                  <a:pt x="4" y="0"/>
                </a:lnTo>
                <a:lnTo>
                  <a:pt x="3" y="3"/>
                </a:lnTo>
                <a:lnTo>
                  <a:pt x="2" y="2"/>
                </a:lnTo>
                <a:lnTo>
                  <a:pt x="0" y="3"/>
                </a:lnTo>
                <a:lnTo>
                  <a:pt x="0" y="4"/>
                </a:lnTo>
                <a:lnTo>
                  <a:pt x="1" y="5"/>
                </a:lnTo>
                <a:lnTo>
                  <a:pt x="2" y="5"/>
                </a:lnTo>
                <a:lnTo>
                  <a:pt x="3" y="6"/>
                </a:lnTo>
                <a:lnTo>
                  <a:pt x="4" y="8"/>
                </a:lnTo>
                <a:lnTo>
                  <a:pt x="4" y="9"/>
                </a:lnTo>
                <a:lnTo>
                  <a:pt x="10" y="9"/>
                </a:lnTo>
                <a:lnTo>
                  <a:pt x="10" y="10"/>
                </a:lnTo>
                <a:lnTo>
                  <a:pt x="11" y="10"/>
                </a:lnTo>
                <a:lnTo>
                  <a:pt x="12" y="8"/>
                </a:lnTo>
                <a:lnTo>
                  <a:pt x="9" y="6"/>
                </a:lnTo>
                <a:lnTo>
                  <a:pt x="9" y="6"/>
                </a:lnTo>
                <a:lnTo>
                  <a:pt x="9" y="4"/>
                </a:lnTo>
                <a:lnTo>
                  <a:pt x="6" y="3"/>
                </a:lnTo>
                <a:lnTo>
                  <a:pt x="6" y="2"/>
                </a:lnTo>
                <a:lnTo>
                  <a:pt x="6" y="1"/>
                </a:lnTo>
                <a:lnTo>
                  <a:pt x="5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09" name="Freeform 809"/>
          <p:cNvSpPr>
            <a:spLocks/>
          </p:cNvSpPr>
          <p:nvPr/>
        </p:nvSpPr>
        <p:spPr bwMode="auto">
          <a:xfrm>
            <a:off x="4211638" y="1931953"/>
            <a:ext cx="19050" cy="15875"/>
          </a:xfrm>
          <a:custGeom>
            <a:avLst/>
            <a:gdLst>
              <a:gd name="T0" fmla="*/ 5 w 12"/>
              <a:gd name="T1" fmla="*/ 0 h 10"/>
              <a:gd name="T2" fmla="*/ 4 w 12"/>
              <a:gd name="T3" fmla="*/ 0 h 10"/>
              <a:gd name="T4" fmla="*/ 3 w 12"/>
              <a:gd name="T5" fmla="*/ 3 h 10"/>
              <a:gd name="T6" fmla="*/ 2 w 12"/>
              <a:gd name="T7" fmla="*/ 2 h 10"/>
              <a:gd name="T8" fmla="*/ 0 w 12"/>
              <a:gd name="T9" fmla="*/ 3 h 10"/>
              <a:gd name="T10" fmla="*/ 0 w 12"/>
              <a:gd name="T11" fmla="*/ 4 h 10"/>
              <a:gd name="T12" fmla="*/ 1 w 12"/>
              <a:gd name="T13" fmla="*/ 5 h 10"/>
              <a:gd name="T14" fmla="*/ 2 w 12"/>
              <a:gd name="T15" fmla="*/ 5 h 10"/>
              <a:gd name="T16" fmla="*/ 3 w 12"/>
              <a:gd name="T17" fmla="*/ 6 h 10"/>
              <a:gd name="T18" fmla="*/ 4 w 12"/>
              <a:gd name="T19" fmla="*/ 8 h 10"/>
              <a:gd name="T20" fmla="*/ 4 w 12"/>
              <a:gd name="T21" fmla="*/ 9 h 10"/>
              <a:gd name="T22" fmla="*/ 10 w 12"/>
              <a:gd name="T23" fmla="*/ 9 h 10"/>
              <a:gd name="T24" fmla="*/ 10 w 12"/>
              <a:gd name="T25" fmla="*/ 10 h 10"/>
              <a:gd name="T26" fmla="*/ 11 w 12"/>
              <a:gd name="T27" fmla="*/ 10 h 10"/>
              <a:gd name="T28" fmla="*/ 12 w 12"/>
              <a:gd name="T29" fmla="*/ 8 h 10"/>
              <a:gd name="T30" fmla="*/ 9 w 12"/>
              <a:gd name="T31" fmla="*/ 6 h 10"/>
              <a:gd name="T32" fmla="*/ 9 w 12"/>
              <a:gd name="T33" fmla="*/ 6 h 10"/>
              <a:gd name="T34" fmla="*/ 9 w 12"/>
              <a:gd name="T35" fmla="*/ 4 h 10"/>
              <a:gd name="T36" fmla="*/ 6 w 12"/>
              <a:gd name="T37" fmla="*/ 3 h 10"/>
              <a:gd name="T38" fmla="*/ 6 w 12"/>
              <a:gd name="T39" fmla="*/ 2 h 10"/>
              <a:gd name="T40" fmla="*/ 6 w 12"/>
              <a:gd name="T41" fmla="*/ 1 h 10"/>
              <a:gd name="T42" fmla="*/ 5 w 12"/>
              <a:gd name="T43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2" h="10">
                <a:moveTo>
                  <a:pt x="5" y="0"/>
                </a:moveTo>
                <a:lnTo>
                  <a:pt x="4" y="0"/>
                </a:lnTo>
                <a:lnTo>
                  <a:pt x="3" y="3"/>
                </a:lnTo>
                <a:lnTo>
                  <a:pt x="2" y="2"/>
                </a:lnTo>
                <a:lnTo>
                  <a:pt x="0" y="3"/>
                </a:lnTo>
                <a:lnTo>
                  <a:pt x="0" y="4"/>
                </a:lnTo>
                <a:lnTo>
                  <a:pt x="1" y="5"/>
                </a:lnTo>
                <a:lnTo>
                  <a:pt x="2" y="5"/>
                </a:lnTo>
                <a:lnTo>
                  <a:pt x="3" y="6"/>
                </a:lnTo>
                <a:lnTo>
                  <a:pt x="4" y="8"/>
                </a:lnTo>
                <a:lnTo>
                  <a:pt x="4" y="9"/>
                </a:lnTo>
                <a:lnTo>
                  <a:pt x="10" y="9"/>
                </a:lnTo>
                <a:lnTo>
                  <a:pt x="10" y="10"/>
                </a:lnTo>
                <a:lnTo>
                  <a:pt x="11" y="10"/>
                </a:lnTo>
                <a:lnTo>
                  <a:pt x="12" y="8"/>
                </a:lnTo>
                <a:lnTo>
                  <a:pt x="9" y="6"/>
                </a:lnTo>
                <a:lnTo>
                  <a:pt x="9" y="6"/>
                </a:lnTo>
                <a:lnTo>
                  <a:pt x="9" y="4"/>
                </a:lnTo>
                <a:lnTo>
                  <a:pt x="6" y="3"/>
                </a:lnTo>
                <a:lnTo>
                  <a:pt x="6" y="2"/>
                </a:lnTo>
                <a:lnTo>
                  <a:pt x="6" y="1"/>
                </a:lnTo>
                <a:lnTo>
                  <a:pt x="5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10" name="Freeform 810"/>
          <p:cNvSpPr>
            <a:spLocks/>
          </p:cNvSpPr>
          <p:nvPr/>
        </p:nvSpPr>
        <p:spPr bwMode="auto">
          <a:xfrm>
            <a:off x="4381500" y="2449478"/>
            <a:ext cx="7937" cy="6350"/>
          </a:xfrm>
          <a:custGeom>
            <a:avLst/>
            <a:gdLst>
              <a:gd name="T0" fmla="*/ 4 w 5"/>
              <a:gd name="T1" fmla="*/ 0 h 4"/>
              <a:gd name="T2" fmla="*/ 4 w 5"/>
              <a:gd name="T3" fmla="*/ 1 h 4"/>
              <a:gd name="T4" fmla="*/ 4 w 5"/>
              <a:gd name="T5" fmla="*/ 0 h 4"/>
              <a:gd name="T6" fmla="*/ 5 w 5"/>
              <a:gd name="T7" fmla="*/ 2 h 4"/>
              <a:gd name="T8" fmla="*/ 3 w 5"/>
              <a:gd name="T9" fmla="*/ 4 h 4"/>
              <a:gd name="T10" fmla="*/ 1 w 5"/>
              <a:gd name="T11" fmla="*/ 4 h 4"/>
              <a:gd name="T12" fmla="*/ 0 w 5"/>
              <a:gd name="T13" fmla="*/ 3 h 4"/>
              <a:gd name="T14" fmla="*/ 0 w 5"/>
              <a:gd name="T15" fmla="*/ 2 h 4"/>
              <a:gd name="T16" fmla="*/ 4 w 5"/>
              <a:gd name="T1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" h="4">
                <a:moveTo>
                  <a:pt x="4" y="0"/>
                </a:moveTo>
                <a:lnTo>
                  <a:pt x="4" y="1"/>
                </a:lnTo>
                <a:lnTo>
                  <a:pt x="4" y="0"/>
                </a:lnTo>
                <a:lnTo>
                  <a:pt x="5" y="2"/>
                </a:lnTo>
                <a:lnTo>
                  <a:pt x="3" y="4"/>
                </a:lnTo>
                <a:lnTo>
                  <a:pt x="1" y="4"/>
                </a:lnTo>
                <a:lnTo>
                  <a:pt x="0" y="3"/>
                </a:lnTo>
                <a:lnTo>
                  <a:pt x="0" y="2"/>
                </a:lnTo>
                <a:lnTo>
                  <a:pt x="4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11" name="Freeform 811"/>
          <p:cNvSpPr>
            <a:spLocks/>
          </p:cNvSpPr>
          <p:nvPr/>
        </p:nvSpPr>
        <p:spPr bwMode="auto">
          <a:xfrm>
            <a:off x="4381500" y="2449478"/>
            <a:ext cx="7937" cy="6350"/>
          </a:xfrm>
          <a:custGeom>
            <a:avLst/>
            <a:gdLst>
              <a:gd name="T0" fmla="*/ 4 w 5"/>
              <a:gd name="T1" fmla="*/ 0 h 4"/>
              <a:gd name="T2" fmla="*/ 4 w 5"/>
              <a:gd name="T3" fmla="*/ 1 h 4"/>
              <a:gd name="T4" fmla="*/ 4 w 5"/>
              <a:gd name="T5" fmla="*/ 0 h 4"/>
              <a:gd name="T6" fmla="*/ 5 w 5"/>
              <a:gd name="T7" fmla="*/ 2 h 4"/>
              <a:gd name="T8" fmla="*/ 3 w 5"/>
              <a:gd name="T9" fmla="*/ 4 h 4"/>
              <a:gd name="T10" fmla="*/ 1 w 5"/>
              <a:gd name="T11" fmla="*/ 4 h 4"/>
              <a:gd name="T12" fmla="*/ 0 w 5"/>
              <a:gd name="T13" fmla="*/ 3 h 4"/>
              <a:gd name="T14" fmla="*/ 0 w 5"/>
              <a:gd name="T15" fmla="*/ 2 h 4"/>
              <a:gd name="T16" fmla="*/ 4 w 5"/>
              <a:gd name="T1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" h="4">
                <a:moveTo>
                  <a:pt x="4" y="0"/>
                </a:moveTo>
                <a:lnTo>
                  <a:pt x="4" y="1"/>
                </a:lnTo>
                <a:lnTo>
                  <a:pt x="4" y="0"/>
                </a:lnTo>
                <a:lnTo>
                  <a:pt x="5" y="2"/>
                </a:lnTo>
                <a:lnTo>
                  <a:pt x="3" y="4"/>
                </a:lnTo>
                <a:lnTo>
                  <a:pt x="1" y="4"/>
                </a:lnTo>
                <a:lnTo>
                  <a:pt x="0" y="3"/>
                </a:lnTo>
                <a:lnTo>
                  <a:pt x="0" y="2"/>
                </a:lnTo>
                <a:lnTo>
                  <a:pt x="4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12" name="Freeform 812"/>
          <p:cNvSpPr>
            <a:spLocks/>
          </p:cNvSpPr>
          <p:nvPr/>
        </p:nvSpPr>
        <p:spPr bwMode="auto">
          <a:xfrm>
            <a:off x="4408488" y="2425665"/>
            <a:ext cx="22225" cy="19050"/>
          </a:xfrm>
          <a:custGeom>
            <a:avLst/>
            <a:gdLst>
              <a:gd name="T0" fmla="*/ 11 w 14"/>
              <a:gd name="T1" fmla="*/ 1 h 12"/>
              <a:gd name="T2" fmla="*/ 11 w 14"/>
              <a:gd name="T3" fmla="*/ 3 h 12"/>
              <a:gd name="T4" fmla="*/ 11 w 14"/>
              <a:gd name="T5" fmla="*/ 4 h 12"/>
              <a:gd name="T6" fmla="*/ 13 w 14"/>
              <a:gd name="T7" fmla="*/ 4 h 12"/>
              <a:gd name="T8" fmla="*/ 14 w 14"/>
              <a:gd name="T9" fmla="*/ 5 h 12"/>
              <a:gd name="T10" fmla="*/ 13 w 14"/>
              <a:gd name="T11" fmla="*/ 10 h 12"/>
              <a:gd name="T12" fmla="*/ 10 w 14"/>
              <a:gd name="T13" fmla="*/ 12 h 12"/>
              <a:gd name="T14" fmla="*/ 5 w 14"/>
              <a:gd name="T15" fmla="*/ 10 h 12"/>
              <a:gd name="T16" fmla="*/ 5 w 14"/>
              <a:gd name="T17" fmla="*/ 7 h 12"/>
              <a:gd name="T18" fmla="*/ 3 w 14"/>
              <a:gd name="T19" fmla="*/ 7 h 12"/>
              <a:gd name="T20" fmla="*/ 1 w 14"/>
              <a:gd name="T21" fmla="*/ 8 h 12"/>
              <a:gd name="T22" fmla="*/ 0 w 14"/>
              <a:gd name="T23" fmla="*/ 7 h 12"/>
              <a:gd name="T24" fmla="*/ 2 w 14"/>
              <a:gd name="T25" fmla="*/ 4 h 12"/>
              <a:gd name="T26" fmla="*/ 11 w 14"/>
              <a:gd name="T27" fmla="*/ 0 h 12"/>
              <a:gd name="T28" fmla="*/ 11 w 14"/>
              <a:gd name="T29" fmla="*/ 0 h 12"/>
              <a:gd name="T30" fmla="*/ 11 w 14"/>
              <a:gd name="T31" fmla="*/ 1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4" h="12">
                <a:moveTo>
                  <a:pt x="11" y="1"/>
                </a:moveTo>
                <a:lnTo>
                  <a:pt x="11" y="3"/>
                </a:lnTo>
                <a:lnTo>
                  <a:pt x="11" y="4"/>
                </a:lnTo>
                <a:lnTo>
                  <a:pt x="13" y="4"/>
                </a:lnTo>
                <a:lnTo>
                  <a:pt x="14" y="5"/>
                </a:lnTo>
                <a:lnTo>
                  <a:pt x="13" y="10"/>
                </a:lnTo>
                <a:lnTo>
                  <a:pt x="10" y="12"/>
                </a:lnTo>
                <a:lnTo>
                  <a:pt x="5" y="10"/>
                </a:lnTo>
                <a:lnTo>
                  <a:pt x="5" y="7"/>
                </a:lnTo>
                <a:lnTo>
                  <a:pt x="3" y="7"/>
                </a:lnTo>
                <a:lnTo>
                  <a:pt x="1" y="8"/>
                </a:lnTo>
                <a:lnTo>
                  <a:pt x="0" y="7"/>
                </a:lnTo>
                <a:lnTo>
                  <a:pt x="2" y="4"/>
                </a:lnTo>
                <a:lnTo>
                  <a:pt x="11" y="0"/>
                </a:lnTo>
                <a:lnTo>
                  <a:pt x="11" y="0"/>
                </a:lnTo>
                <a:lnTo>
                  <a:pt x="11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13" name="Freeform 813"/>
          <p:cNvSpPr>
            <a:spLocks/>
          </p:cNvSpPr>
          <p:nvPr/>
        </p:nvSpPr>
        <p:spPr bwMode="auto">
          <a:xfrm>
            <a:off x="4408488" y="2425665"/>
            <a:ext cx="22225" cy="19050"/>
          </a:xfrm>
          <a:custGeom>
            <a:avLst/>
            <a:gdLst>
              <a:gd name="T0" fmla="*/ 11 w 14"/>
              <a:gd name="T1" fmla="*/ 1 h 12"/>
              <a:gd name="T2" fmla="*/ 11 w 14"/>
              <a:gd name="T3" fmla="*/ 3 h 12"/>
              <a:gd name="T4" fmla="*/ 11 w 14"/>
              <a:gd name="T5" fmla="*/ 4 h 12"/>
              <a:gd name="T6" fmla="*/ 13 w 14"/>
              <a:gd name="T7" fmla="*/ 4 h 12"/>
              <a:gd name="T8" fmla="*/ 14 w 14"/>
              <a:gd name="T9" fmla="*/ 5 h 12"/>
              <a:gd name="T10" fmla="*/ 13 w 14"/>
              <a:gd name="T11" fmla="*/ 10 h 12"/>
              <a:gd name="T12" fmla="*/ 10 w 14"/>
              <a:gd name="T13" fmla="*/ 12 h 12"/>
              <a:gd name="T14" fmla="*/ 5 w 14"/>
              <a:gd name="T15" fmla="*/ 10 h 12"/>
              <a:gd name="T16" fmla="*/ 5 w 14"/>
              <a:gd name="T17" fmla="*/ 7 h 12"/>
              <a:gd name="T18" fmla="*/ 3 w 14"/>
              <a:gd name="T19" fmla="*/ 7 h 12"/>
              <a:gd name="T20" fmla="*/ 1 w 14"/>
              <a:gd name="T21" fmla="*/ 8 h 12"/>
              <a:gd name="T22" fmla="*/ 0 w 14"/>
              <a:gd name="T23" fmla="*/ 7 h 12"/>
              <a:gd name="T24" fmla="*/ 2 w 14"/>
              <a:gd name="T25" fmla="*/ 4 h 12"/>
              <a:gd name="T26" fmla="*/ 11 w 14"/>
              <a:gd name="T27" fmla="*/ 0 h 12"/>
              <a:gd name="T28" fmla="*/ 11 w 14"/>
              <a:gd name="T29" fmla="*/ 0 h 12"/>
              <a:gd name="T30" fmla="*/ 11 w 14"/>
              <a:gd name="T31" fmla="*/ 1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4" h="12">
                <a:moveTo>
                  <a:pt x="11" y="1"/>
                </a:moveTo>
                <a:lnTo>
                  <a:pt x="11" y="3"/>
                </a:lnTo>
                <a:lnTo>
                  <a:pt x="11" y="4"/>
                </a:lnTo>
                <a:lnTo>
                  <a:pt x="13" y="4"/>
                </a:lnTo>
                <a:lnTo>
                  <a:pt x="14" y="5"/>
                </a:lnTo>
                <a:lnTo>
                  <a:pt x="13" y="10"/>
                </a:lnTo>
                <a:lnTo>
                  <a:pt x="10" y="12"/>
                </a:lnTo>
                <a:lnTo>
                  <a:pt x="5" y="10"/>
                </a:lnTo>
                <a:lnTo>
                  <a:pt x="5" y="7"/>
                </a:lnTo>
                <a:lnTo>
                  <a:pt x="3" y="7"/>
                </a:lnTo>
                <a:lnTo>
                  <a:pt x="1" y="8"/>
                </a:lnTo>
                <a:lnTo>
                  <a:pt x="0" y="7"/>
                </a:lnTo>
                <a:lnTo>
                  <a:pt x="2" y="4"/>
                </a:lnTo>
                <a:lnTo>
                  <a:pt x="11" y="0"/>
                </a:lnTo>
                <a:lnTo>
                  <a:pt x="11" y="0"/>
                </a:lnTo>
                <a:lnTo>
                  <a:pt x="11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14" name="Freeform 814"/>
          <p:cNvSpPr>
            <a:spLocks/>
          </p:cNvSpPr>
          <p:nvPr/>
        </p:nvSpPr>
        <p:spPr bwMode="auto">
          <a:xfrm>
            <a:off x="4441825" y="2422490"/>
            <a:ext cx="9525" cy="6350"/>
          </a:xfrm>
          <a:custGeom>
            <a:avLst/>
            <a:gdLst>
              <a:gd name="T0" fmla="*/ 6 w 6"/>
              <a:gd name="T1" fmla="*/ 0 h 4"/>
              <a:gd name="T2" fmla="*/ 6 w 6"/>
              <a:gd name="T3" fmla="*/ 0 h 4"/>
              <a:gd name="T4" fmla="*/ 6 w 6"/>
              <a:gd name="T5" fmla="*/ 2 h 4"/>
              <a:gd name="T6" fmla="*/ 6 w 6"/>
              <a:gd name="T7" fmla="*/ 4 h 4"/>
              <a:gd name="T8" fmla="*/ 4 w 6"/>
              <a:gd name="T9" fmla="*/ 4 h 4"/>
              <a:gd name="T10" fmla="*/ 2 w 6"/>
              <a:gd name="T11" fmla="*/ 3 h 4"/>
              <a:gd name="T12" fmla="*/ 0 w 6"/>
              <a:gd name="T13" fmla="*/ 2 h 4"/>
              <a:gd name="T14" fmla="*/ 1 w 6"/>
              <a:gd name="T15" fmla="*/ 0 h 4"/>
              <a:gd name="T16" fmla="*/ 3 w 6"/>
              <a:gd name="T17" fmla="*/ 0 h 4"/>
              <a:gd name="T18" fmla="*/ 4 w 6"/>
              <a:gd name="T19" fmla="*/ 0 h 4"/>
              <a:gd name="T20" fmla="*/ 6 w 6"/>
              <a:gd name="T2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" h="4">
                <a:moveTo>
                  <a:pt x="6" y="0"/>
                </a:moveTo>
                <a:lnTo>
                  <a:pt x="6" y="0"/>
                </a:lnTo>
                <a:lnTo>
                  <a:pt x="6" y="2"/>
                </a:lnTo>
                <a:lnTo>
                  <a:pt x="6" y="4"/>
                </a:lnTo>
                <a:lnTo>
                  <a:pt x="4" y="4"/>
                </a:lnTo>
                <a:lnTo>
                  <a:pt x="2" y="3"/>
                </a:lnTo>
                <a:lnTo>
                  <a:pt x="0" y="2"/>
                </a:lnTo>
                <a:lnTo>
                  <a:pt x="1" y="0"/>
                </a:lnTo>
                <a:lnTo>
                  <a:pt x="3" y="0"/>
                </a:lnTo>
                <a:lnTo>
                  <a:pt x="4" y="0"/>
                </a:lnTo>
                <a:lnTo>
                  <a:pt x="6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15" name="Freeform 815"/>
          <p:cNvSpPr>
            <a:spLocks/>
          </p:cNvSpPr>
          <p:nvPr/>
        </p:nvSpPr>
        <p:spPr bwMode="auto">
          <a:xfrm>
            <a:off x="4441825" y="2422490"/>
            <a:ext cx="9525" cy="6350"/>
          </a:xfrm>
          <a:custGeom>
            <a:avLst/>
            <a:gdLst>
              <a:gd name="T0" fmla="*/ 6 w 6"/>
              <a:gd name="T1" fmla="*/ 0 h 4"/>
              <a:gd name="T2" fmla="*/ 6 w 6"/>
              <a:gd name="T3" fmla="*/ 0 h 4"/>
              <a:gd name="T4" fmla="*/ 6 w 6"/>
              <a:gd name="T5" fmla="*/ 2 h 4"/>
              <a:gd name="T6" fmla="*/ 6 w 6"/>
              <a:gd name="T7" fmla="*/ 4 h 4"/>
              <a:gd name="T8" fmla="*/ 4 w 6"/>
              <a:gd name="T9" fmla="*/ 4 h 4"/>
              <a:gd name="T10" fmla="*/ 2 w 6"/>
              <a:gd name="T11" fmla="*/ 3 h 4"/>
              <a:gd name="T12" fmla="*/ 0 w 6"/>
              <a:gd name="T13" fmla="*/ 2 h 4"/>
              <a:gd name="T14" fmla="*/ 1 w 6"/>
              <a:gd name="T15" fmla="*/ 0 h 4"/>
              <a:gd name="T16" fmla="*/ 3 w 6"/>
              <a:gd name="T17" fmla="*/ 0 h 4"/>
              <a:gd name="T18" fmla="*/ 4 w 6"/>
              <a:gd name="T19" fmla="*/ 0 h 4"/>
              <a:gd name="T20" fmla="*/ 6 w 6"/>
              <a:gd name="T2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" h="4">
                <a:moveTo>
                  <a:pt x="6" y="0"/>
                </a:moveTo>
                <a:lnTo>
                  <a:pt x="6" y="0"/>
                </a:lnTo>
                <a:lnTo>
                  <a:pt x="6" y="2"/>
                </a:lnTo>
                <a:lnTo>
                  <a:pt x="6" y="4"/>
                </a:lnTo>
                <a:lnTo>
                  <a:pt x="4" y="4"/>
                </a:lnTo>
                <a:lnTo>
                  <a:pt x="2" y="3"/>
                </a:lnTo>
                <a:lnTo>
                  <a:pt x="0" y="2"/>
                </a:lnTo>
                <a:lnTo>
                  <a:pt x="1" y="0"/>
                </a:lnTo>
                <a:lnTo>
                  <a:pt x="3" y="0"/>
                </a:lnTo>
                <a:lnTo>
                  <a:pt x="4" y="0"/>
                </a:lnTo>
                <a:lnTo>
                  <a:pt x="6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16" name="Freeform 816"/>
          <p:cNvSpPr>
            <a:spLocks/>
          </p:cNvSpPr>
          <p:nvPr/>
        </p:nvSpPr>
        <p:spPr bwMode="auto">
          <a:xfrm>
            <a:off x="6991350" y="3533740"/>
            <a:ext cx="6350" cy="6350"/>
          </a:xfrm>
          <a:custGeom>
            <a:avLst/>
            <a:gdLst>
              <a:gd name="T0" fmla="*/ 4 w 4"/>
              <a:gd name="T1" fmla="*/ 2 h 4"/>
              <a:gd name="T2" fmla="*/ 4 w 4"/>
              <a:gd name="T3" fmla="*/ 0 h 4"/>
              <a:gd name="T4" fmla="*/ 3 w 4"/>
              <a:gd name="T5" fmla="*/ 0 h 4"/>
              <a:gd name="T6" fmla="*/ 1 w 4"/>
              <a:gd name="T7" fmla="*/ 1 h 4"/>
              <a:gd name="T8" fmla="*/ 0 w 4"/>
              <a:gd name="T9" fmla="*/ 3 h 4"/>
              <a:gd name="T10" fmla="*/ 0 w 4"/>
              <a:gd name="T11" fmla="*/ 4 h 4"/>
              <a:gd name="T12" fmla="*/ 2 w 4"/>
              <a:gd name="T13" fmla="*/ 4 h 4"/>
              <a:gd name="T14" fmla="*/ 4 w 4"/>
              <a:gd name="T15" fmla="*/ 3 h 4"/>
              <a:gd name="T16" fmla="*/ 4 w 4"/>
              <a:gd name="T17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4">
                <a:moveTo>
                  <a:pt x="4" y="2"/>
                </a:moveTo>
                <a:lnTo>
                  <a:pt x="4" y="0"/>
                </a:lnTo>
                <a:lnTo>
                  <a:pt x="3" y="0"/>
                </a:lnTo>
                <a:lnTo>
                  <a:pt x="1" y="1"/>
                </a:lnTo>
                <a:lnTo>
                  <a:pt x="0" y="3"/>
                </a:lnTo>
                <a:lnTo>
                  <a:pt x="0" y="4"/>
                </a:lnTo>
                <a:lnTo>
                  <a:pt x="2" y="4"/>
                </a:lnTo>
                <a:lnTo>
                  <a:pt x="4" y="3"/>
                </a:lnTo>
                <a:lnTo>
                  <a:pt x="4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17" name="Freeform 817"/>
          <p:cNvSpPr>
            <a:spLocks/>
          </p:cNvSpPr>
          <p:nvPr/>
        </p:nvSpPr>
        <p:spPr bwMode="auto">
          <a:xfrm>
            <a:off x="6991350" y="3533740"/>
            <a:ext cx="6350" cy="6350"/>
          </a:xfrm>
          <a:custGeom>
            <a:avLst/>
            <a:gdLst>
              <a:gd name="T0" fmla="*/ 4 w 4"/>
              <a:gd name="T1" fmla="*/ 2 h 4"/>
              <a:gd name="T2" fmla="*/ 4 w 4"/>
              <a:gd name="T3" fmla="*/ 0 h 4"/>
              <a:gd name="T4" fmla="*/ 3 w 4"/>
              <a:gd name="T5" fmla="*/ 0 h 4"/>
              <a:gd name="T6" fmla="*/ 1 w 4"/>
              <a:gd name="T7" fmla="*/ 1 h 4"/>
              <a:gd name="T8" fmla="*/ 0 w 4"/>
              <a:gd name="T9" fmla="*/ 3 h 4"/>
              <a:gd name="T10" fmla="*/ 0 w 4"/>
              <a:gd name="T11" fmla="*/ 4 h 4"/>
              <a:gd name="T12" fmla="*/ 2 w 4"/>
              <a:gd name="T13" fmla="*/ 4 h 4"/>
              <a:gd name="T14" fmla="*/ 4 w 4"/>
              <a:gd name="T15" fmla="*/ 3 h 4"/>
              <a:gd name="T16" fmla="*/ 4 w 4"/>
              <a:gd name="T17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4">
                <a:moveTo>
                  <a:pt x="4" y="2"/>
                </a:moveTo>
                <a:lnTo>
                  <a:pt x="4" y="0"/>
                </a:lnTo>
                <a:lnTo>
                  <a:pt x="3" y="0"/>
                </a:lnTo>
                <a:lnTo>
                  <a:pt x="1" y="1"/>
                </a:lnTo>
                <a:lnTo>
                  <a:pt x="0" y="3"/>
                </a:lnTo>
                <a:lnTo>
                  <a:pt x="0" y="4"/>
                </a:lnTo>
                <a:lnTo>
                  <a:pt x="2" y="4"/>
                </a:lnTo>
                <a:lnTo>
                  <a:pt x="4" y="3"/>
                </a:lnTo>
                <a:lnTo>
                  <a:pt x="4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18" name="Freeform 818"/>
          <p:cNvSpPr>
            <a:spLocks/>
          </p:cNvSpPr>
          <p:nvPr/>
        </p:nvSpPr>
        <p:spPr bwMode="auto">
          <a:xfrm>
            <a:off x="8083550" y="3635340"/>
            <a:ext cx="12700" cy="6350"/>
          </a:xfrm>
          <a:custGeom>
            <a:avLst/>
            <a:gdLst>
              <a:gd name="T0" fmla="*/ 0 w 8"/>
              <a:gd name="T1" fmla="*/ 0 h 4"/>
              <a:gd name="T2" fmla="*/ 1 w 8"/>
              <a:gd name="T3" fmla="*/ 0 h 4"/>
              <a:gd name="T4" fmla="*/ 2 w 8"/>
              <a:gd name="T5" fmla="*/ 0 h 4"/>
              <a:gd name="T6" fmla="*/ 3 w 8"/>
              <a:gd name="T7" fmla="*/ 1 h 4"/>
              <a:gd name="T8" fmla="*/ 5 w 8"/>
              <a:gd name="T9" fmla="*/ 1 h 4"/>
              <a:gd name="T10" fmla="*/ 8 w 8"/>
              <a:gd name="T11" fmla="*/ 0 h 4"/>
              <a:gd name="T12" fmla="*/ 6 w 8"/>
              <a:gd name="T13" fmla="*/ 4 h 4"/>
              <a:gd name="T14" fmla="*/ 5 w 8"/>
              <a:gd name="T15" fmla="*/ 3 h 4"/>
              <a:gd name="T16" fmla="*/ 4 w 8"/>
              <a:gd name="T17" fmla="*/ 3 h 4"/>
              <a:gd name="T18" fmla="*/ 3 w 8"/>
              <a:gd name="T19" fmla="*/ 4 h 4"/>
              <a:gd name="T20" fmla="*/ 1 w 8"/>
              <a:gd name="T21" fmla="*/ 4 h 4"/>
              <a:gd name="T22" fmla="*/ 0 w 8"/>
              <a:gd name="T23" fmla="*/ 3 h 4"/>
              <a:gd name="T24" fmla="*/ 1 w 8"/>
              <a:gd name="T25" fmla="*/ 1 h 4"/>
              <a:gd name="T26" fmla="*/ 1 w 8"/>
              <a:gd name="T27" fmla="*/ 1 h 4"/>
              <a:gd name="T28" fmla="*/ 0 w 8"/>
              <a:gd name="T2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8" h="4">
                <a:moveTo>
                  <a:pt x="0" y="0"/>
                </a:moveTo>
                <a:lnTo>
                  <a:pt x="1" y="0"/>
                </a:lnTo>
                <a:lnTo>
                  <a:pt x="2" y="0"/>
                </a:lnTo>
                <a:lnTo>
                  <a:pt x="3" y="1"/>
                </a:lnTo>
                <a:lnTo>
                  <a:pt x="5" y="1"/>
                </a:lnTo>
                <a:lnTo>
                  <a:pt x="8" y="0"/>
                </a:lnTo>
                <a:lnTo>
                  <a:pt x="6" y="4"/>
                </a:lnTo>
                <a:lnTo>
                  <a:pt x="5" y="3"/>
                </a:lnTo>
                <a:lnTo>
                  <a:pt x="4" y="3"/>
                </a:lnTo>
                <a:lnTo>
                  <a:pt x="3" y="4"/>
                </a:lnTo>
                <a:lnTo>
                  <a:pt x="1" y="4"/>
                </a:lnTo>
                <a:lnTo>
                  <a:pt x="0" y="3"/>
                </a:lnTo>
                <a:lnTo>
                  <a:pt x="1" y="1"/>
                </a:lnTo>
                <a:lnTo>
                  <a:pt x="1" y="1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19" name="Freeform 819"/>
          <p:cNvSpPr>
            <a:spLocks/>
          </p:cNvSpPr>
          <p:nvPr/>
        </p:nvSpPr>
        <p:spPr bwMode="auto">
          <a:xfrm>
            <a:off x="8083550" y="3635340"/>
            <a:ext cx="12700" cy="6350"/>
          </a:xfrm>
          <a:custGeom>
            <a:avLst/>
            <a:gdLst>
              <a:gd name="T0" fmla="*/ 0 w 8"/>
              <a:gd name="T1" fmla="*/ 0 h 4"/>
              <a:gd name="T2" fmla="*/ 1 w 8"/>
              <a:gd name="T3" fmla="*/ 0 h 4"/>
              <a:gd name="T4" fmla="*/ 2 w 8"/>
              <a:gd name="T5" fmla="*/ 0 h 4"/>
              <a:gd name="T6" fmla="*/ 3 w 8"/>
              <a:gd name="T7" fmla="*/ 1 h 4"/>
              <a:gd name="T8" fmla="*/ 5 w 8"/>
              <a:gd name="T9" fmla="*/ 1 h 4"/>
              <a:gd name="T10" fmla="*/ 8 w 8"/>
              <a:gd name="T11" fmla="*/ 0 h 4"/>
              <a:gd name="T12" fmla="*/ 6 w 8"/>
              <a:gd name="T13" fmla="*/ 4 h 4"/>
              <a:gd name="T14" fmla="*/ 5 w 8"/>
              <a:gd name="T15" fmla="*/ 3 h 4"/>
              <a:gd name="T16" fmla="*/ 4 w 8"/>
              <a:gd name="T17" fmla="*/ 3 h 4"/>
              <a:gd name="T18" fmla="*/ 3 w 8"/>
              <a:gd name="T19" fmla="*/ 4 h 4"/>
              <a:gd name="T20" fmla="*/ 1 w 8"/>
              <a:gd name="T21" fmla="*/ 4 h 4"/>
              <a:gd name="T22" fmla="*/ 0 w 8"/>
              <a:gd name="T23" fmla="*/ 3 h 4"/>
              <a:gd name="T24" fmla="*/ 1 w 8"/>
              <a:gd name="T25" fmla="*/ 1 h 4"/>
              <a:gd name="T26" fmla="*/ 1 w 8"/>
              <a:gd name="T27" fmla="*/ 1 h 4"/>
              <a:gd name="T28" fmla="*/ 0 w 8"/>
              <a:gd name="T2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8" h="4">
                <a:moveTo>
                  <a:pt x="0" y="0"/>
                </a:moveTo>
                <a:lnTo>
                  <a:pt x="1" y="0"/>
                </a:lnTo>
                <a:lnTo>
                  <a:pt x="2" y="0"/>
                </a:lnTo>
                <a:lnTo>
                  <a:pt x="3" y="1"/>
                </a:lnTo>
                <a:lnTo>
                  <a:pt x="5" y="1"/>
                </a:lnTo>
                <a:lnTo>
                  <a:pt x="8" y="0"/>
                </a:lnTo>
                <a:lnTo>
                  <a:pt x="6" y="4"/>
                </a:lnTo>
                <a:lnTo>
                  <a:pt x="5" y="3"/>
                </a:lnTo>
                <a:lnTo>
                  <a:pt x="4" y="3"/>
                </a:lnTo>
                <a:lnTo>
                  <a:pt x="3" y="4"/>
                </a:lnTo>
                <a:lnTo>
                  <a:pt x="1" y="4"/>
                </a:lnTo>
                <a:lnTo>
                  <a:pt x="0" y="3"/>
                </a:lnTo>
                <a:lnTo>
                  <a:pt x="1" y="1"/>
                </a:lnTo>
                <a:lnTo>
                  <a:pt x="1" y="1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20" name="Freeform 820"/>
          <p:cNvSpPr>
            <a:spLocks/>
          </p:cNvSpPr>
          <p:nvPr/>
        </p:nvSpPr>
        <p:spPr bwMode="auto">
          <a:xfrm>
            <a:off x="8158163" y="3616290"/>
            <a:ext cx="6350" cy="6350"/>
          </a:xfrm>
          <a:custGeom>
            <a:avLst/>
            <a:gdLst>
              <a:gd name="T0" fmla="*/ 1 w 4"/>
              <a:gd name="T1" fmla="*/ 0 h 4"/>
              <a:gd name="T2" fmla="*/ 2 w 4"/>
              <a:gd name="T3" fmla="*/ 0 h 4"/>
              <a:gd name="T4" fmla="*/ 4 w 4"/>
              <a:gd name="T5" fmla="*/ 3 h 4"/>
              <a:gd name="T6" fmla="*/ 4 w 4"/>
              <a:gd name="T7" fmla="*/ 4 h 4"/>
              <a:gd name="T8" fmla="*/ 1 w 4"/>
              <a:gd name="T9" fmla="*/ 3 h 4"/>
              <a:gd name="T10" fmla="*/ 0 w 4"/>
              <a:gd name="T11" fmla="*/ 1 h 4"/>
              <a:gd name="T12" fmla="*/ 1 w 4"/>
              <a:gd name="T13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" h="4">
                <a:moveTo>
                  <a:pt x="1" y="0"/>
                </a:moveTo>
                <a:lnTo>
                  <a:pt x="2" y="0"/>
                </a:lnTo>
                <a:lnTo>
                  <a:pt x="4" y="3"/>
                </a:lnTo>
                <a:lnTo>
                  <a:pt x="4" y="4"/>
                </a:lnTo>
                <a:lnTo>
                  <a:pt x="1" y="3"/>
                </a:lnTo>
                <a:lnTo>
                  <a:pt x="0" y="1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21" name="Freeform 821"/>
          <p:cNvSpPr>
            <a:spLocks/>
          </p:cNvSpPr>
          <p:nvPr/>
        </p:nvSpPr>
        <p:spPr bwMode="auto">
          <a:xfrm>
            <a:off x="8158163" y="3616290"/>
            <a:ext cx="6350" cy="6350"/>
          </a:xfrm>
          <a:custGeom>
            <a:avLst/>
            <a:gdLst>
              <a:gd name="T0" fmla="*/ 1 w 4"/>
              <a:gd name="T1" fmla="*/ 0 h 4"/>
              <a:gd name="T2" fmla="*/ 2 w 4"/>
              <a:gd name="T3" fmla="*/ 0 h 4"/>
              <a:gd name="T4" fmla="*/ 4 w 4"/>
              <a:gd name="T5" fmla="*/ 3 h 4"/>
              <a:gd name="T6" fmla="*/ 4 w 4"/>
              <a:gd name="T7" fmla="*/ 4 h 4"/>
              <a:gd name="T8" fmla="*/ 1 w 4"/>
              <a:gd name="T9" fmla="*/ 3 h 4"/>
              <a:gd name="T10" fmla="*/ 0 w 4"/>
              <a:gd name="T11" fmla="*/ 1 h 4"/>
              <a:gd name="T12" fmla="*/ 1 w 4"/>
              <a:gd name="T13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" h="4">
                <a:moveTo>
                  <a:pt x="1" y="0"/>
                </a:moveTo>
                <a:lnTo>
                  <a:pt x="2" y="0"/>
                </a:lnTo>
                <a:lnTo>
                  <a:pt x="4" y="3"/>
                </a:lnTo>
                <a:lnTo>
                  <a:pt x="4" y="4"/>
                </a:lnTo>
                <a:lnTo>
                  <a:pt x="1" y="3"/>
                </a:lnTo>
                <a:lnTo>
                  <a:pt x="0" y="1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22" name="Freeform 822"/>
          <p:cNvSpPr>
            <a:spLocks/>
          </p:cNvSpPr>
          <p:nvPr/>
        </p:nvSpPr>
        <p:spPr bwMode="auto">
          <a:xfrm>
            <a:off x="8170863" y="3648040"/>
            <a:ext cx="11112" cy="7938"/>
          </a:xfrm>
          <a:custGeom>
            <a:avLst/>
            <a:gdLst>
              <a:gd name="T0" fmla="*/ 0 w 7"/>
              <a:gd name="T1" fmla="*/ 1 h 5"/>
              <a:gd name="T2" fmla="*/ 0 w 7"/>
              <a:gd name="T3" fmla="*/ 0 h 5"/>
              <a:gd name="T4" fmla="*/ 2 w 7"/>
              <a:gd name="T5" fmla="*/ 0 h 5"/>
              <a:gd name="T6" fmla="*/ 6 w 7"/>
              <a:gd name="T7" fmla="*/ 0 h 5"/>
              <a:gd name="T8" fmla="*/ 7 w 7"/>
              <a:gd name="T9" fmla="*/ 3 h 5"/>
              <a:gd name="T10" fmla="*/ 7 w 7"/>
              <a:gd name="T11" fmla="*/ 4 h 5"/>
              <a:gd name="T12" fmla="*/ 3 w 7"/>
              <a:gd name="T13" fmla="*/ 5 h 5"/>
              <a:gd name="T14" fmla="*/ 0 w 7"/>
              <a:gd name="T15" fmla="*/ 2 h 5"/>
              <a:gd name="T16" fmla="*/ 0 w 7"/>
              <a:gd name="T17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" h="5">
                <a:moveTo>
                  <a:pt x="0" y="1"/>
                </a:moveTo>
                <a:lnTo>
                  <a:pt x="0" y="0"/>
                </a:lnTo>
                <a:lnTo>
                  <a:pt x="2" y="0"/>
                </a:lnTo>
                <a:lnTo>
                  <a:pt x="6" y="0"/>
                </a:lnTo>
                <a:lnTo>
                  <a:pt x="7" y="3"/>
                </a:lnTo>
                <a:lnTo>
                  <a:pt x="7" y="4"/>
                </a:lnTo>
                <a:lnTo>
                  <a:pt x="3" y="5"/>
                </a:lnTo>
                <a:lnTo>
                  <a:pt x="0" y="2"/>
                </a:lnTo>
                <a:lnTo>
                  <a:pt x="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23" name="Freeform 823"/>
          <p:cNvSpPr>
            <a:spLocks/>
          </p:cNvSpPr>
          <p:nvPr/>
        </p:nvSpPr>
        <p:spPr bwMode="auto">
          <a:xfrm>
            <a:off x="8170863" y="3648040"/>
            <a:ext cx="11112" cy="7938"/>
          </a:xfrm>
          <a:custGeom>
            <a:avLst/>
            <a:gdLst>
              <a:gd name="T0" fmla="*/ 0 w 7"/>
              <a:gd name="T1" fmla="*/ 1 h 5"/>
              <a:gd name="T2" fmla="*/ 0 w 7"/>
              <a:gd name="T3" fmla="*/ 0 h 5"/>
              <a:gd name="T4" fmla="*/ 2 w 7"/>
              <a:gd name="T5" fmla="*/ 0 h 5"/>
              <a:gd name="T6" fmla="*/ 6 w 7"/>
              <a:gd name="T7" fmla="*/ 0 h 5"/>
              <a:gd name="T8" fmla="*/ 7 w 7"/>
              <a:gd name="T9" fmla="*/ 3 h 5"/>
              <a:gd name="T10" fmla="*/ 7 w 7"/>
              <a:gd name="T11" fmla="*/ 4 h 5"/>
              <a:gd name="T12" fmla="*/ 3 w 7"/>
              <a:gd name="T13" fmla="*/ 5 h 5"/>
              <a:gd name="T14" fmla="*/ 0 w 7"/>
              <a:gd name="T15" fmla="*/ 2 h 5"/>
              <a:gd name="T16" fmla="*/ 0 w 7"/>
              <a:gd name="T17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" h="5">
                <a:moveTo>
                  <a:pt x="0" y="1"/>
                </a:moveTo>
                <a:lnTo>
                  <a:pt x="0" y="0"/>
                </a:lnTo>
                <a:lnTo>
                  <a:pt x="2" y="0"/>
                </a:lnTo>
                <a:lnTo>
                  <a:pt x="6" y="0"/>
                </a:lnTo>
                <a:lnTo>
                  <a:pt x="7" y="3"/>
                </a:lnTo>
                <a:lnTo>
                  <a:pt x="7" y="4"/>
                </a:lnTo>
                <a:lnTo>
                  <a:pt x="3" y="5"/>
                </a:lnTo>
                <a:lnTo>
                  <a:pt x="0" y="2"/>
                </a:lnTo>
                <a:lnTo>
                  <a:pt x="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24" name="Freeform 824"/>
          <p:cNvSpPr>
            <a:spLocks/>
          </p:cNvSpPr>
          <p:nvPr/>
        </p:nvSpPr>
        <p:spPr bwMode="auto">
          <a:xfrm>
            <a:off x="8191500" y="3652803"/>
            <a:ext cx="57150" cy="63500"/>
          </a:xfrm>
          <a:custGeom>
            <a:avLst/>
            <a:gdLst>
              <a:gd name="T0" fmla="*/ 0 w 36"/>
              <a:gd name="T1" fmla="*/ 1 h 40"/>
              <a:gd name="T2" fmla="*/ 0 w 36"/>
              <a:gd name="T3" fmla="*/ 0 h 40"/>
              <a:gd name="T4" fmla="*/ 6 w 36"/>
              <a:gd name="T5" fmla="*/ 3 h 40"/>
              <a:gd name="T6" fmla="*/ 7 w 36"/>
              <a:gd name="T7" fmla="*/ 6 h 40"/>
              <a:gd name="T8" fmla="*/ 9 w 36"/>
              <a:gd name="T9" fmla="*/ 7 h 40"/>
              <a:gd name="T10" fmla="*/ 15 w 36"/>
              <a:gd name="T11" fmla="*/ 11 h 40"/>
              <a:gd name="T12" fmla="*/ 18 w 36"/>
              <a:gd name="T13" fmla="*/ 12 h 40"/>
              <a:gd name="T14" fmla="*/ 21 w 36"/>
              <a:gd name="T15" fmla="*/ 15 h 40"/>
              <a:gd name="T16" fmla="*/ 23 w 36"/>
              <a:gd name="T17" fmla="*/ 17 h 40"/>
              <a:gd name="T18" fmla="*/ 27 w 36"/>
              <a:gd name="T19" fmla="*/ 19 h 40"/>
              <a:gd name="T20" fmla="*/ 28 w 36"/>
              <a:gd name="T21" fmla="*/ 22 h 40"/>
              <a:gd name="T22" fmla="*/ 30 w 36"/>
              <a:gd name="T23" fmla="*/ 23 h 40"/>
              <a:gd name="T24" fmla="*/ 34 w 36"/>
              <a:gd name="T25" fmla="*/ 25 h 40"/>
              <a:gd name="T26" fmla="*/ 34 w 36"/>
              <a:gd name="T27" fmla="*/ 26 h 40"/>
              <a:gd name="T28" fmla="*/ 35 w 36"/>
              <a:gd name="T29" fmla="*/ 29 h 40"/>
              <a:gd name="T30" fmla="*/ 36 w 36"/>
              <a:gd name="T31" fmla="*/ 31 h 40"/>
              <a:gd name="T32" fmla="*/ 36 w 36"/>
              <a:gd name="T33" fmla="*/ 33 h 40"/>
              <a:gd name="T34" fmla="*/ 35 w 36"/>
              <a:gd name="T35" fmla="*/ 36 h 40"/>
              <a:gd name="T36" fmla="*/ 33 w 36"/>
              <a:gd name="T37" fmla="*/ 40 h 40"/>
              <a:gd name="T38" fmla="*/ 30 w 36"/>
              <a:gd name="T39" fmla="*/ 40 h 40"/>
              <a:gd name="T40" fmla="*/ 29 w 36"/>
              <a:gd name="T41" fmla="*/ 31 h 40"/>
              <a:gd name="T42" fmla="*/ 27 w 36"/>
              <a:gd name="T43" fmla="*/ 23 h 40"/>
              <a:gd name="T44" fmla="*/ 25 w 36"/>
              <a:gd name="T45" fmla="*/ 18 h 40"/>
              <a:gd name="T46" fmla="*/ 23 w 36"/>
              <a:gd name="T47" fmla="*/ 17 h 40"/>
              <a:gd name="T48" fmla="*/ 18 w 36"/>
              <a:gd name="T49" fmla="*/ 16 h 40"/>
              <a:gd name="T50" fmla="*/ 15 w 36"/>
              <a:gd name="T51" fmla="*/ 13 h 40"/>
              <a:gd name="T52" fmla="*/ 13 w 36"/>
              <a:gd name="T53" fmla="*/ 10 h 40"/>
              <a:gd name="T54" fmla="*/ 11 w 36"/>
              <a:gd name="T55" fmla="*/ 10 h 40"/>
              <a:gd name="T56" fmla="*/ 9 w 36"/>
              <a:gd name="T57" fmla="*/ 8 h 40"/>
              <a:gd name="T58" fmla="*/ 7 w 36"/>
              <a:gd name="T59" fmla="*/ 7 h 40"/>
              <a:gd name="T60" fmla="*/ 3 w 36"/>
              <a:gd name="T61" fmla="*/ 3 h 40"/>
              <a:gd name="T62" fmla="*/ 0 w 36"/>
              <a:gd name="T63" fmla="*/ 3 h 40"/>
              <a:gd name="T64" fmla="*/ 0 w 36"/>
              <a:gd name="T65" fmla="*/ 1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6" h="40">
                <a:moveTo>
                  <a:pt x="0" y="1"/>
                </a:moveTo>
                <a:lnTo>
                  <a:pt x="0" y="0"/>
                </a:lnTo>
                <a:lnTo>
                  <a:pt x="6" y="3"/>
                </a:lnTo>
                <a:lnTo>
                  <a:pt x="7" y="6"/>
                </a:lnTo>
                <a:lnTo>
                  <a:pt x="9" y="7"/>
                </a:lnTo>
                <a:lnTo>
                  <a:pt x="15" y="11"/>
                </a:lnTo>
                <a:lnTo>
                  <a:pt x="18" y="12"/>
                </a:lnTo>
                <a:lnTo>
                  <a:pt x="21" y="15"/>
                </a:lnTo>
                <a:lnTo>
                  <a:pt x="23" y="17"/>
                </a:lnTo>
                <a:lnTo>
                  <a:pt x="27" y="19"/>
                </a:lnTo>
                <a:lnTo>
                  <a:pt x="28" y="22"/>
                </a:lnTo>
                <a:lnTo>
                  <a:pt x="30" y="23"/>
                </a:lnTo>
                <a:lnTo>
                  <a:pt x="34" y="25"/>
                </a:lnTo>
                <a:lnTo>
                  <a:pt x="34" y="26"/>
                </a:lnTo>
                <a:lnTo>
                  <a:pt x="35" y="29"/>
                </a:lnTo>
                <a:lnTo>
                  <a:pt x="36" y="31"/>
                </a:lnTo>
                <a:lnTo>
                  <a:pt x="36" y="33"/>
                </a:lnTo>
                <a:lnTo>
                  <a:pt x="35" y="36"/>
                </a:lnTo>
                <a:lnTo>
                  <a:pt x="33" y="40"/>
                </a:lnTo>
                <a:lnTo>
                  <a:pt x="30" y="40"/>
                </a:lnTo>
                <a:lnTo>
                  <a:pt x="29" y="31"/>
                </a:lnTo>
                <a:lnTo>
                  <a:pt x="27" y="23"/>
                </a:lnTo>
                <a:lnTo>
                  <a:pt x="25" y="18"/>
                </a:lnTo>
                <a:lnTo>
                  <a:pt x="23" y="17"/>
                </a:lnTo>
                <a:lnTo>
                  <a:pt x="18" y="16"/>
                </a:lnTo>
                <a:lnTo>
                  <a:pt x="15" y="13"/>
                </a:lnTo>
                <a:lnTo>
                  <a:pt x="13" y="10"/>
                </a:lnTo>
                <a:lnTo>
                  <a:pt x="11" y="10"/>
                </a:lnTo>
                <a:lnTo>
                  <a:pt x="9" y="8"/>
                </a:lnTo>
                <a:lnTo>
                  <a:pt x="7" y="7"/>
                </a:lnTo>
                <a:lnTo>
                  <a:pt x="3" y="3"/>
                </a:lnTo>
                <a:lnTo>
                  <a:pt x="0" y="3"/>
                </a:lnTo>
                <a:lnTo>
                  <a:pt x="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25" name="Freeform 825"/>
          <p:cNvSpPr>
            <a:spLocks/>
          </p:cNvSpPr>
          <p:nvPr/>
        </p:nvSpPr>
        <p:spPr bwMode="auto">
          <a:xfrm>
            <a:off x="8191500" y="3652803"/>
            <a:ext cx="57150" cy="63500"/>
          </a:xfrm>
          <a:custGeom>
            <a:avLst/>
            <a:gdLst>
              <a:gd name="T0" fmla="*/ 0 w 36"/>
              <a:gd name="T1" fmla="*/ 1 h 40"/>
              <a:gd name="T2" fmla="*/ 0 w 36"/>
              <a:gd name="T3" fmla="*/ 0 h 40"/>
              <a:gd name="T4" fmla="*/ 6 w 36"/>
              <a:gd name="T5" fmla="*/ 3 h 40"/>
              <a:gd name="T6" fmla="*/ 7 w 36"/>
              <a:gd name="T7" fmla="*/ 6 h 40"/>
              <a:gd name="T8" fmla="*/ 9 w 36"/>
              <a:gd name="T9" fmla="*/ 7 h 40"/>
              <a:gd name="T10" fmla="*/ 15 w 36"/>
              <a:gd name="T11" fmla="*/ 11 h 40"/>
              <a:gd name="T12" fmla="*/ 18 w 36"/>
              <a:gd name="T13" fmla="*/ 12 h 40"/>
              <a:gd name="T14" fmla="*/ 21 w 36"/>
              <a:gd name="T15" fmla="*/ 15 h 40"/>
              <a:gd name="T16" fmla="*/ 23 w 36"/>
              <a:gd name="T17" fmla="*/ 17 h 40"/>
              <a:gd name="T18" fmla="*/ 27 w 36"/>
              <a:gd name="T19" fmla="*/ 19 h 40"/>
              <a:gd name="T20" fmla="*/ 28 w 36"/>
              <a:gd name="T21" fmla="*/ 22 h 40"/>
              <a:gd name="T22" fmla="*/ 30 w 36"/>
              <a:gd name="T23" fmla="*/ 23 h 40"/>
              <a:gd name="T24" fmla="*/ 34 w 36"/>
              <a:gd name="T25" fmla="*/ 25 h 40"/>
              <a:gd name="T26" fmla="*/ 34 w 36"/>
              <a:gd name="T27" fmla="*/ 26 h 40"/>
              <a:gd name="T28" fmla="*/ 35 w 36"/>
              <a:gd name="T29" fmla="*/ 29 h 40"/>
              <a:gd name="T30" fmla="*/ 36 w 36"/>
              <a:gd name="T31" fmla="*/ 31 h 40"/>
              <a:gd name="T32" fmla="*/ 36 w 36"/>
              <a:gd name="T33" fmla="*/ 33 h 40"/>
              <a:gd name="T34" fmla="*/ 35 w 36"/>
              <a:gd name="T35" fmla="*/ 36 h 40"/>
              <a:gd name="T36" fmla="*/ 33 w 36"/>
              <a:gd name="T37" fmla="*/ 40 h 40"/>
              <a:gd name="T38" fmla="*/ 30 w 36"/>
              <a:gd name="T39" fmla="*/ 40 h 40"/>
              <a:gd name="T40" fmla="*/ 29 w 36"/>
              <a:gd name="T41" fmla="*/ 31 h 40"/>
              <a:gd name="T42" fmla="*/ 27 w 36"/>
              <a:gd name="T43" fmla="*/ 23 h 40"/>
              <a:gd name="T44" fmla="*/ 25 w 36"/>
              <a:gd name="T45" fmla="*/ 18 h 40"/>
              <a:gd name="T46" fmla="*/ 23 w 36"/>
              <a:gd name="T47" fmla="*/ 17 h 40"/>
              <a:gd name="T48" fmla="*/ 18 w 36"/>
              <a:gd name="T49" fmla="*/ 16 h 40"/>
              <a:gd name="T50" fmla="*/ 15 w 36"/>
              <a:gd name="T51" fmla="*/ 13 h 40"/>
              <a:gd name="T52" fmla="*/ 13 w 36"/>
              <a:gd name="T53" fmla="*/ 10 h 40"/>
              <a:gd name="T54" fmla="*/ 11 w 36"/>
              <a:gd name="T55" fmla="*/ 10 h 40"/>
              <a:gd name="T56" fmla="*/ 9 w 36"/>
              <a:gd name="T57" fmla="*/ 8 h 40"/>
              <a:gd name="T58" fmla="*/ 7 w 36"/>
              <a:gd name="T59" fmla="*/ 7 h 40"/>
              <a:gd name="T60" fmla="*/ 3 w 36"/>
              <a:gd name="T61" fmla="*/ 3 h 40"/>
              <a:gd name="T62" fmla="*/ 0 w 36"/>
              <a:gd name="T63" fmla="*/ 3 h 40"/>
              <a:gd name="T64" fmla="*/ 0 w 36"/>
              <a:gd name="T65" fmla="*/ 1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6" h="40">
                <a:moveTo>
                  <a:pt x="0" y="1"/>
                </a:moveTo>
                <a:lnTo>
                  <a:pt x="0" y="0"/>
                </a:lnTo>
                <a:lnTo>
                  <a:pt x="6" y="3"/>
                </a:lnTo>
                <a:lnTo>
                  <a:pt x="7" y="6"/>
                </a:lnTo>
                <a:lnTo>
                  <a:pt x="9" y="7"/>
                </a:lnTo>
                <a:lnTo>
                  <a:pt x="15" y="11"/>
                </a:lnTo>
                <a:lnTo>
                  <a:pt x="18" y="12"/>
                </a:lnTo>
                <a:lnTo>
                  <a:pt x="21" y="15"/>
                </a:lnTo>
                <a:lnTo>
                  <a:pt x="23" y="17"/>
                </a:lnTo>
                <a:lnTo>
                  <a:pt x="27" y="19"/>
                </a:lnTo>
                <a:lnTo>
                  <a:pt x="28" y="22"/>
                </a:lnTo>
                <a:lnTo>
                  <a:pt x="30" y="23"/>
                </a:lnTo>
                <a:lnTo>
                  <a:pt x="34" y="25"/>
                </a:lnTo>
                <a:lnTo>
                  <a:pt x="34" y="26"/>
                </a:lnTo>
                <a:lnTo>
                  <a:pt x="35" y="29"/>
                </a:lnTo>
                <a:lnTo>
                  <a:pt x="36" y="31"/>
                </a:lnTo>
                <a:lnTo>
                  <a:pt x="36" y="33"/>
                </a:lnTo>
                <a:lnTo>
                  <a:pt x="35" y="36"/>
                </a:lnTo>
                <a:lnTo>
                  <a:pt x="33" y="40"/>
                </a:lnTo>
                <a:lnTo>
                  <a:pt x="30" y="40"/>
                </a:lnTo>
                <a:lnTo>
                  <a:pt x="29" y="31"/>
                </a:lnTo>
                <a:lnTo>
                  <a:pt x="27" y="23"/>
                </a:lnTo>
                <a:lnTo>
                  <a:pt x="25" y="18"/>
                </a:lnTo>
                <a:lnTo>
                  <a:pt x="23" y="17"/>
                </a:lnTo>
                <a:lnTo>
                  <a:pt x="18" y="16"/>
                </a:lnTo>
                <a:lnTo>
                  <a:pt x="15" y="13"/>
                </a:lnTo>
                <a:lnTo>
                  <a:pt x="13" y="10"/>
                </a:lnTo>
                <a:lnTo>
                  <a:pt x="11" y="10"/>
                </a:lnTo>
                <a:lnTo>
                  <a:pt x="9" y="8"/>
                </a:lnTo>
                <a:lnTo>
                  <a:pt x="7" y="7"/>
                </a:lnTo>
                <a:lnTo>
                  <a:pt x="3" y="3"/>
                </a:lnTo>
                <a:lnTo>
                  <a:pt x="0" y="3"/>
                </a:lnTo>
                <a:lnTo>
                  <a:pt x="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26" name="Freeform 826"/>
          <p:cNvSpPr>
            <a:spLocks/>
          </p:cNvSpPr>
          <p:nvPr/>
        </p:nvSpPr>
        <p:spPr bwMode="auto">
          <a:xfrm>
            <a:off x="8091488" y="3730590"/>
            <a:ext cx="3175" cy="4763"/>
          </a:xfrm>
          <a:custGeom>
            <a:avLst/>
            <a:gdLst>
              <a:gd name="T0" fmla="*/ 0 w 2"/>
              <a:gd name="T1" fmla="*/ 0 h 3"/>
              <a:gd name="T2" fmla="*/ 1 w 2"/>
              <a:gd name="T3" fmla="*/ 0 h 3"/>
              <a:gd name="T4" fmla="*/ 2 w 2"/>
              <a:gd name="T5" fmla="*/ 0 h 3"/>
              <a:gd name="T6" fmla="*/ 2 w 2"/>
              <a:gd name="T7" fmla="*/ 2 h 3"/>
              <a:gd name="T8" fmla="*/ 1 w 2"/>
              <a:gd name="T9" fmla="*/ 3 h 3"/>
              <a:gd name="T10" fmla="*/ 0 w 2"/>
              <a:gd name="T11" fmla="*/ 3 h 3"/>
              <a:gd name="T12" fmla="*/ 0 w 2"/>
              <a:gd name="T13" fmla="*/ 1 h 3"/>
              <a:gd name="T14" fmla="*/ 0 w 2"/>
              <a:gd name="T15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3">
                <a:moveTo>
                  <a:pt x="0" y="0"/>
                </a:moveTo>
                <a:lnTo>
                  <a:pt x="1" y="0"/>
                </a:lnTo>
                <a:lnTo>
                  <a:pt x="2" y="0"/>
                </a:lnTo>
                <a:lnTo>
                  <a:pt x="2" y="2"/>
                </a:lnTo>
                <a:lnTo>
                  <a:pt x="1" y="3"/>
                </a:lnTo>
                <a:lnTo>
                  <a:pt x="0" y="3"/>
                </a:ln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27" name="Freeform 827"/>
          <p:cNvSpPr>
            <a:spLocks/>
          </p:cNvSpPr>
          <p:nvPr/>
        </p:nvSpPr>
        <p:spPr bwMode="auto">
          <a:xfrm>
            <a:off x="8091488" y="3730590"/>
            <a:ext cx="3175" cy="4763"/>
          </a:xfrm>
          <a:custGeom>
            <a:avLst/>
            <a:gdLst>
              <a:gd name="T0" fmla="*/ 0 w 2"/>
              <a:gd name="T1" fmla="*/ 0 h 3"/>
              <a:gd name="T2" fmla="*/ 1 w 2"/>
              <a:gd name="T3" fmla="*/ 0 h 3"/>
              <a:gd name="T4" fmla="*/ 2 w 2"/>
              <a:gd name="T5" fmla="*/ 0 h 3"/>
              <a:gd name="T6" fmla="*/ 2 w 2"/>
              <a:gd name="T7" fmla="*/ 2 h 3"/>
              <a:gd name="T8" fmla="*/ 1 w 2"/>
              <a:gd name="T9" fmla="*/ 3 h 3"/>
              <a:gd name="T10" fmla="*/ 0 w 2"/>
              <a:gd name="T11" fmla="*/ 3 h 3"/>
              <a:gd name="T12" fmla="*/ 0 w 2"/>
              <a:gd name="T13" fmla="*/ 1 h 3"/>
              <a:gd name="T14" fmla="*/ 0 w 2"/>
              <a:gd name="T15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3">
                <a:moveTo>
                  <a:pt x="0" y="0"/>
                </a:moveTo>
                <a:lnTo>
                  <a:pt x="1" y="0"/>
                </a:lnTo>
                <a:lnTo>
                  <a:pt x="2" y="0"/>
                </a:lnTo>
                <a:lnTo>
                  <a:pt x="2" y="2"/>
                </a:lnTo>
                <a:lnTo>
                  <a:pt x="1" y="3"/>
                </a:lnTo>
                <a:lnTo>
                  <a:pt x="0" y="3"/>
                </a:lnTo>
                <a:lnTo>
                  <a:pt x="0" y="1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28" name="Freeform 828"/>
          <p:cNvSpPr>
            <a:spLocks/>
          </p:cNvSpPr>
          <p:nvPr/>
        </p:nvSpPr>
        <p:spPr bwMode="auto">
          <a:xfrm>
            <a:off x="8108950" y="3736940"/>
            <a:ext cx="7937" cy="9525"/>
          </a:xfrm>
          <a:custGeom>
            <a:avLst/>
            <a:gdLst>
              <a:gd name="T0" fmla="*/ 0 w 5"/>
              <a:gd name="T1" fmla="*/ 0 h 6"/>
              <a:gd name="T2" fmla="*/ 1 w 5"/>
              <a:gd name="T3" fmla="*/ 0 h 6"/>
              <a:gd name="T4" fmla="*/ 2 w 5"/>
              <a:gd name="T5" fmla="*/ 0 h 6"/>
              <a:gd name="T6" fmla="*/ 5 w 5"/>
              <a:gd name="T7" fmla="*/ 2 h 6"/>
              <a:gd name="T8" fmla="*/ 5 w 5"/>
              <a:gd name="T9" fmla="*/ 6 h 6"/>
              <a:gd name="T10" fmla="*/ 4 w 5"/>
              <a:gd name="T11" fmla="*/ 6 h 6"/>
              <a:gd name="T12" fmla="*/ 2 w 5"/>
              <a:gd name="T13" fmla="*/ 4 h 6"/>
              <a:gd name="T14" fmla="*/ 0 w 5"/>
              <a:gd name="T15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6">
                <a:moveTo>
                  <a:pt x="0" y="0"/>
                </a:moveTo>
                <a:lnTo>
                  <a:pt x="1" y="0"/>
                </a:lnTo>
                <a:lnTo>
                  <a:pt x="2" y="0"/>
                </a:lnTo>
                <a:lnTo>
                  <a:pt x="5" y="2"/>
                </a:lnTo>
                <a:lnTo>
                  <a:pt x="5" y="6"/>
                </a:lnTo>
                <a:lnTo>
                  <a:pt x="4" y="6"/>
                </a:lnTo>
                <a:lnTo>
                  <a:pt x="2" y="4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29" name="Freeform 829"/>
          <p:cNvSpPr>
            <a:spLocks/>
          </p:cNvSpPr>
          <p:nvPr/>
        </p:nvSpPr>
        <p:spPr bwMode="auto">
          <a:xfrm>
            <a:off x="8108950" y="3736940"/>
            <a:ext cx="7937" cy="9525"/>
          </a:xfrm>
          <a:custGeom>
            <a:avLst/>
            <a:gdLst>
              <a:gd name="T0" fmla="*/ 0 w 5"/>
              <a:gd name="T1" fmla="*/ 0 h 6"/>
              <a:gd name="T2" fmla="*/ 1 w 5"/>
              <a:gd name="T3" fmla="*/ 0 h 6"/>
              <a:gd name="T4" fmla="*/ 2 w 5"/>
              <a:gd name="T5" fmla="*/ 0 h 6"/>
              <a:gd name="T6" fmla="*/ 5 w 5"/>
              <a:gd name="T7" fmla="*/ 2 h 6"/>
              <a:gd name="T8" fmla="*/ 5 w 5"/>
              <a:gd name="T9" fmla="*/ 6 h 6"/>
              <a:gd name="T10" fmla="*/ 4 w 5"/>
              <a:gd name="T11" fmla="*/ 6 h 6"/>
              <a:gd name="T12" fmla="*/ 2 w 5"/>
              <a:gd name="T13" fmla="*/ 4 h 6"/>
              <a:gd name="T14" fmla="*/ 0 w 5"/>
              <a:gd name="T15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6">
                <a:moveTo>
                  <a:pt x="0" y="0"/>
                </a:moveTo>
                <a:lnTo>
                  <a:pt x="1" y="0"/>
                </a:lnTo>
                <a:lnTo>
                  <a:pt x="2" y="0"/>
                </a:lnTo>
                <a:lnTo>
                  <a:pt x="5" y="2"/>
                </a:lnTo>
                <a:lnTo>
                  <a:pt x="5" y="6"/>
                </a:lnTo>
                <a:lnTo>
                  <a:pt x="4" y="6"/>
                </a:lnTo>
                <a:lnTo>
                  <a:pt x="2" y="4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30" name="Freeform 830"/>
          <p:cNvSpPr>
            <a:spLocks/>
          </p:cNvSpPr>
          <p:nvPr/>
        </p:nvSpPr>
        <p:spPr bwMode="auto">
          <a:xfrm>
            <a:off x="8123238" y="3698840"/>
            <a:ext cx="106362" cy="61913"/>
          </a:xfrm>
          <a:custGeom>
            <a:avLst/>
            <a:gdLst>
              <a:gd name="T0" fmla="*/ 0 w 67"/>
              <a:gd name="T1" fmla="*/ 24 h 39"/>
              <a:gd name="T2" fmla="*/ 1 w 67"/>
              <a:gd name="T3" fmla="*/ 23 h 39"/>
              <a:gd name="T4" fmla="*/ 3 w 67"/>
              <a:gd name="T5" fmla="*/ 23 h 39"/>
              <a:gd name="T6" fmla="*/ 14 w 67"/>
              <a:gd name="T7" fmla="*/ 26 h 39"/>
              <a:gd name="T8" fmla="*/ 23 w 67"/>
              <a:gd name="T9" fmla="*/ 24 h 39"/>
              <a:gd name="T10" fmla="*/ 26 w 67"/>
              <a:gd name="T11" fmla="*/ 23 h 39"/>
              <a:gd name="T12" fmla="*/ 26 w 67"/>
              <a:gd name="T13" fmla="*/ 21 h 39"/>
              <a:gd name="T14" fmla="*/ 27 w 67"/>
              <a:gd name="T15" fmla="*/ 19 h 39"/>
              <a:gd name="T16" fmla="*/ 28 w 67"/>
              <a:gd name="T17" fmla="*/ 17 h 39"/>
              <a:gd name="T18" fmla="*/ 29 w 67"/>
              <a:gd name="T19" fmla="*/ 16 h 39"/>
              <a:gd name="T20" fmla="*/ 30 w 67"/>
              <a:gd name="T21" fmla="*/ 17 h 39"/>
              <a:gd name="T22" fmla="*/ 29 w 67"/>
              <a:gd name="T23" fmla="*/ 20 h 39"/>
              <a:gd name="T24" fmla="*/ 28 w 67"/>
              <a:gd name="T25" fmla="*/ 22 h 39"/>
              <a:gd name="T26" fmla="*/ 30 w 67"/>
              <a:gd name="T27" fmla="*/ 23 h 39"/>
              <a:gd name="T28" fmla="*/ 32 w 67"/>
              <a:gd name="T29" fmla="*/ 23 h 39"/>
              <a:gd name="T30" fmla="*/ 34 w 67"/>
              <a:gd name="T31" fmla="*/ 23 h 39"/>
              <a:gd name="T32" fmla="*/ 37 w 67"/>
              <a:gd name="T33" fmla="*/ 24 h 39"/>
              <a:gd name="T34" fmla="*/ 39 w 67"/>
              <a:gd name="T35" fmla="*/ 24 h 39"/>
              <a:gd name="T36" fmla="*/ 41 w 67"/>
              <a:gd name="T37" fmla="*/ 23 h 39"/>
              <a:gd name="T38" fmla="*/ 47 w 67"/>
              <a:gd name="T39" fmla="*/ 16 h 39"/>
              <a:gd name="T40" fmla="*/ 50 w 67"/>
              <a:gd name="T41" fmla="*/ 13 h 39"/>
              <a:gd name="T42" fmla="*/ 52 w 67"/>
              <a:gd name="T43" fmla="*/ 14 h 39"/>
              <a:gd name="T44" fmla="*/ 54 w 67"/>
              <a:gd name="T45" fmla="*/ 12 h 39"/>
              <a:gd name="T46" fmla="*/ 56 w 67"/>
              <a:gd name="T47" fmla="*/ 9 h 39"/>
              <a:gd name="T48" fmla="*/ 54 w 67"/>
              <a:gd name="T49" fmla="*/ 6 h 39"/>
              <a:gd name="T50" fmla="*/ 53 w 67"/>
              <a:gd name="T51" fmla="*/ 3 h 39"/>
              <a:gd name="T52" fmla="*/ 53 w 67"/>
              <a:gd name="T53" fmla="*/ 1 h 39"/>
              <a:gd name="T54" fmla="*/ 57 w 67"/>
              <a:gd name="T55" fmla="*/ 1 h 39"/>
              <a:gd name="T56" fmla="*/ 58 w 67"/>
              <a:gd name="T57" fmla="*/ 2 h 39"/>
              <a:gd name="T58" fmla="*/ 60 w 67"/>
              <a:gd name="T59" fmla="*/ 2 h 39"/>
              <a:gd name="T60" fmla="*/ 61 w 67"/>
              <a:gd name="T61" fmla="*/ 1 h 39"/>
              <a:gd name="T62" fmla="*/ 62 w 67"/>
              <a:gd name="T63" fmla="*/ 0 h 39"/>
              <a:gd name="T64" fmla="*/ 64 w 67"/>
              <a:gd name="T65" fmla="*/ 1 h 39"/>
              <a:gd name="T66" fmla="*/ 67 w 67"/>
              <a:gd name="T67" fmla="*/ 4 h 39"/>
              <a:gd name="T68" fmla="*/ 67 w 67"/>
              <a:gd name="T69" fmla="*/ 9 h 39"/>
              <a:gd name="T70" fmla="*/ 66 w 67"/>
              <a:gd name="T71" fmla="*/ 12 h 39"/>
              <a:gd name="T72" fmla="*/ 63 w 67"/>
              <a:gd name="T73" fmla="*/ 14 h 39"/>
              <a:gd name="T74" fmla="*/ 62 w 67"/>
              <a:gd name="T75" fmla="*/ 14 h 39"/>
              <a:gd name="T76" fmla="*/ 61 w 67"/>
              <a:gd name="T77" fmla="*/ 18 h 39"/>
              <a:gd name="T78" fmla="*/ 61 w 67"/>
              <a:gd name="T79" fmla="*/ 21 h 39"/>
              <a:gd name="T80" fmla="*/ 59 w 67"/>
              <a:gd name="T81" fmla="*/ 24 h 39"/>
              <a:gd name="T82" fmla="*/ 57 w 67"/>
              <a:gd name="T83" fmla="*/ 26 h 39"/>
              <a:gd name="T84" fmla="*/ 53 w 67"/>
              <a:gd name="T85" fmla="*/ 24 h 39"/>
              <a:gd name="T86" fmla="*/ 52 w 67"/>
              <a:gd name="T87" fmla="*/ 27 h 39"/>
              <a:gd name="T88" fmla="*/ 52 w 67"/>
              <a:gd name="T89" fmla="*/ 29 h 39"/>
              <a:gd name="T90" fmla="*/ 49 w 67"/>
              <a:gd name="T91" fmla="*/ 32 h 39"/>
              <a:gd name="T92" fmla="*/ 41 w 67"/>
              <a:gd name="T93" fmla="*/ 37 h 39"/>
              <a:gd name="T94" fmla="*/ 38 w 67"/>
              <a:gd name="T95" fmla="*/ 38 h 39"/>
              <a:gd name="T96" fmla="*/ 34 w 67"/>
              <a:gd name="T97" fmla="*/ 38 h 39"/>
              <a:gd name="T98" fmla="*/ 29 w 67"/>
              <a:gd name="T99" fmla="*/ 38 h 39"/>
              <a:gd name="T100" fmla="*/ 26 w 67"/>
              <a:gd name="T101" fmla="*/ 39 h 39"/>
              <a:gd name="T102" fmla="*/ 21 w 67"/>
              <a:gd name="T103" fmla="*/ 39 h 39"/>
              <a:gd name="T104" fmla="*/ 19 w 67"/>
              <a:gd name="T105" fmla="*/ 36 h 39"/>
              <a:gd name="T106" fmla="*/ 17 w 67"/>
              <a:gd name="T107" fmla="*/ 36 h 39"/>
              <a:gd name="T108" fmla="*/ 13 w 67"/>
              <a:gd name="T109" fmla="*/ 37 h 39"/>
              <a:gd name="T110" fmla="*/ 7 w 67"/>
              <a:gd name="T111" fmla="*/ 32 h 39"/>
              <a:gd name="T112" fmla="*/ 3 w 67"/>
              <a:gd name="T113" fmla="*/ 31 h 39"/>
              <a:gd name="T114" fmla="*/ 1 w 67"/>
              <a:gd name="T115" fmla="*/ 28 h 39"/>
              <a:gd name="T116" fmla="*/ 0 w 67"/>
              <a:gd name="T117" fmla="*/ 24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7" h="39">
                <a:moveTo>
                  <a:pt x="0" y="24"/>
                </a:moveTo>
                <a:lnTo>
                  <a:pt x="1" y="23"/>
                </a:lnTo>
                <a:lnTo>
                  <a:pt x="3" y="23"/>
                </a:lnTo>
                <a:lnTo>
                  <a:pt x="14" y="26"/>
                </a:lnTo>
                <a:lnTo>
                  <a:pt x="23" y="24"/>
                </a:lnTo>
                <a:lnTo>
                  <a:pt x="26" y="23"/>
                </a:lnTo>
                <a:lnTo>
                  <a:pt x="26" y="21"/>
                </a:lnTo>
                <a:lnTo>
                  <a:pt x="27" y="19"/>
                </a:lnTo>
                <a:lnTo>
                  <a:pt x="28" y="17"/>
                </a:lnTo>
                <a:lnTo>
                  <a:pt x="29" y="16"/>
                </a:lnTo>
                <a:lnTo>
                  <a:pt x="30" y="17"/>
                </a:lnTo>
                <a:lnTo>
                  <a:pt x="29" y="20"/>
                </a:lnTo>
                <a:lnTo>
                  <a:pt x="28" y="22"/>
                </a:lnTo>
                <a:lnTo>
                  <a:pt x="30" y="23"/>
                </a:lnTo>
                <a:lnTo>
                  <a:pt x="32" y="23"/>
                </a:lnTo>
                <a:lnTo>
                  <a:pt x="34" y="23"/>
                </a:lnTo>
                <a:lnTo>
                  <a:pt x="37" y="24"/>
                </a:lnTo>
                <a:lnTo>
                  <a:pt x="39" y="24"/>
                </a:lnTo>
                <a:lnTo>
                  <a:pt x="41" y="23"/>
                </a:lnTo>
                <a:lnTo>
                  <a:pt x="47" y="16"/>
                </a:lnTo>
                <a:lnTo>
                  <a:pt x="50" y="13"/>
                </a:lnTo>
                <a:lnTo>
                  <a:pt x="52" y="14"/>
                </a:lnTo>
                <a:lnTo>
                  <a:pt x="54" y="12"/>
                </a:lnTo>
                <a:lnTo>
                  <a:pt x="56" y="9"/>
                </a:lnTo>
                <a:lnTo>
                  <a:pt x="54" y="6"/>
                </a:lnTo>
                <a:lnTo>
                  <a:pt x="53" y="3"/>
                </a:lnTo>
                <a:lnTo>
                  <a:pt x="53" y="1"/>
                </a:lnTo>
                <a:lnTo>
                  <a:pt x="57" y="1"/>
                </a:lnTo>
                <a:lnTo>
                  <a:pt x="58" y="2"/>
                </a:lnTo>
                <a:lnTo>
                  <a:pt x="60" y="2"/>
                </a:lnTo>
                <a:lnTo>
                  <a:pt x="61" y="1"/>
                </a:lnTo>
                <a:lnTo>
                  <a:pt x="62" y="0"/>
                </a:lnTo>
                <a:lnTo>
                  <a:pt x="64" y="1"/>
                </a:lnTo>
                <a:lnTo>
                  <a:pt x="67" y="4"/>
                </a:lnTo>
                <a:lnTo>
                  <a:pt x="67" y="9"/>
                </a:lnTo>
                <a:lnTo>
                  <a:pt x="66" y="12"/>
                </a:lnTo>
                <a:lnTo>
                  <a:pt x="63" y="14"/>
                </a:lnTo>
                <a:lnTo>
                  <a:pt x="62" y="14"/>
                </a:lnTo>
                <a:lnTo>
                  <a:pt x="61" y="18"/>
                </a:lnTo>
                <a:lnTo>
                  <a:pt x="61" y="21"/>
                </a:lnTo>
                <a:lnTo>
                  <a:pt x="59" y="24"/>
                </a:lnTo>
                <a:lnTo>
                  <a:pt x="57" y="26"/>
                </a:lnTo>
                <a:lnTo>
                  <a:pt x="53" y="24"/>
                </a:lnTo>
                <a:lnTo>
                  <a:pt x="52" y="27"/>
                </a:lnTo>
                <a:lnTo>
                  <a:pt x="52" y="29"/>
                </a:lnTo>
                <a:lnTo>
                  <a:pt x="49" y="32"/>
                </a:lnTo>
                <a:lnTo>
                  <a:pt x="41" y="37"/>
                </a:lnTo>
                <a:lnTo>
                  <a:pt x="38" y="38"/>
                </a:lnTo>
                <a:lnTo>
                  <a:pt x="34" y="38"/>
                </a:lnTo>
                <a:lnTo>
                  <a:pt x="29" y="38"/>
                </a:lnTo>
                <a:lnTo>
                  <a:pt x="26" y="39"/>
                </a:lnTo>
                <a:lnTo>
                  <a:pt x="21" y="39"/>
                </a:lnTo>
                <a:lnTo>
                  <a:pt x="19" y="36"/>
                </a:lnTo>
                <a:lnTo>
                  <a:pt x="17" y="36"/>
                </a:lnTo>
                <a:lnTo>
                  <a:pt x="13" y="37"/>
                </a:lnTo>
                <a:lnTo>
                  <a:pt x="7" y="32"/>
                </a:lnTo>
                <a:lnTo>
                  <a:pt x="3" y="31"/>
                </a:lnTo>
                <a:lnTo>
                  <a:pt x="1" y="28"/>
                </a:lnTo>
                <a:lnTo>
                  <a:pt x="0" y="2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31" name="Freeform 831"/>
          <p:cNvSpPr>
            <a:spLocks/>
          </p:cNvSpPr>
          <p:nvPr/>
        </p:nvSpPr>
        <p:spPr bwMode="auto">
          <a:xfrm>
            <a:off x="8123238" y="3698840"/>
            <a:ext cx="106362" cy="61913"/>
          </a:xfrm>
          <a:custGeom>
            <a:avLst/>
            <a:gdLst>
              <a:gd name="T0" fmla="*/ 0 w 67"/>
              <a:gd name="T1" fmla="*/ 24 h 39"/>
              <a:gd name="T2" fmla="*/ 1 w 67"/>
              <a:gd name="T3" fmla="*/ 23 h 39"/>
              <a:gd name="T4" fmla="*/ 3 w 67"/>
              <a:gd name="T5" fmla="*/ 23 h 39"/>
              <a:gd name="T6" fmla="*/ 14 w 67"/>
              <a:gd name="T7" fmla="*/ 26 h 39"/>
              <a:gd name="T8" fmla="*/ 23 w 67"/>
              <a:gd name="T9" fmla="*/ 24 h 39"/>
              <a:gd name="T10" fmla="*/ 26 w 67"/>
              <a:gd name="T11" fmla="*/ 23 h 39"/>
              <a:gd name="T12" fmla="*/ 26 w 67"/>
              <a:gd name="T13" fmla="*/ 21 h 39"/>
              <a:gd name="T14" fmla="*/ 27 w 67"/>
              <a:gd name="T15" fmla="*/ 19 h 39"/>
              <a:gd name="T16" fmla="*/ 28 w 67"/>
              <a:gd name="T17" fmla="*/ 17 h 39"/>
              <a:gd name="T18" fmla="*/ 29 w 67"/>
              <a:gd name="T19" fmla="*/ 16 h 39"/>
              <a:gd name="T20" fmla="*/ 30 w 67"/>
              <a:gd name="T21" fmla="*/ 17 h 39"/>
              <a:gd name="T22" fmla="*/ 29 w 67"/>
              <a:gd name="T23" fmla="*/ 20 h 39"/>
              <a:gd name="T24" fmla="*/ 28 w 67"/>
              <a:gd name="T25" fmla="*/ 22 h 39"/>
              <a:gd name="T26" fmla="*/ 30 w 67"/>
              <a:gd name="T27" fmla="*/ 23 h 39"/>
              <a:gd name="T28" fmla="*/ 32 w 67"/>
              <a:gd name="T29" fmla="*/ 23 h 39"/>
              <a:gd name="T30" fmla="*/ 34 w 67"/>
              <a:gd name="T31" fmla="*/ 23 h 39"/>
              <a:gd name="T32" fmla="*/ 37 w 67"/>
              <a:gd name="T33" fmla="*/ 24 h 39"/>
              <a:gd name="T34" fmla="*/ 39 w 67"/>
              <a:gd name="T35" fmla="*/ 24 h 39"/>
              <a:gd name="T36" fmla="*/ 41 w 67"/>
              <a:gd name="T37" fmla="*/ 23 h 39"/>
              <a:gd name="T38" fmla="*/ 47 w 67"/>
              <a:gd name="T39" fmla="*/ 16 h 39"/>
              <a:gd name="T40" fmla="*/ 50 w 67"/>
              <a:gd name="T41" fmla="*/ 13 h 39"/>
              <a:gd name="T42" fmla="*/ 52 w 67"/>
              <a:gd name="T43" fmla="*/ 14 h 39"/>
              <a:gd name="T44" fmla="*/ 54 w 67"/>
              <a:gd name="T45" fmla="*/ 12 h 39"/>
              <a:gd name="T46" fmla="*/ 56 w 67"/>
              <a:gd name="T47" fmla="*/ 9 h 39"/>
              <a:gd name="T48" fmla="*/ 54 w 67"/>
              <a:gd name="T49" fmla="*/ 6 h 39"/>
              <a:gd name="T50" fmla="*/ 53 w 67"/>
              <a:gd name="T51" fmla="*/ 3 h 39"/>
              <a:gd name="T52" fmla="*/ 53 w 67"/>
              <a:gd name="T53" fmla="*/ 1 h 39"/>
              <a:gd name="T54" fmla="*/ 57 w 67"/>
              <a:gd name="T55" fmla="*/ 1 h 39"/>
              <a:gd name="T56" fmla="*/ 58 w 67"/>
              <a:gd name="T57" fmla="*/ 2 h 39"/>
              <a:gd name="T58" fmla="*/ 60 w 67"/>
              <a:gd name="T59" fmla="*/ 2 h 39"/>
              <a:gd name="T60" fmla="*/ 61 w 67"/>
              <a:gd name="T61" fmla="*/ 1 h 39"/>
              <a:gd name="T62" fmla="*/ 62 w 67"/>
              <a:gd name="T63" fmla="*/ 0 h 39"/>
              <a:gd name="T64" fmla="*/ 64 w 67"/>
              <a:gd name="T65" fmla="*/ 1 h 39"/>
              <a:gd name="T66" fmla="*/ 67 w 67"/>
              <a:gd name="T67" fmla="*/ 4 h 39"/>
              <a:gd name="T68" fmla="*/ 67 w 67"/>
              <a:gd name="T69" fmla="*/ 9 h 39"/>
              <a:gd name="T70" fmla="*/ 66 w 67"/>
              <a:gd name="T71" fmla="*/ 12 h 39"/>
              <a:gd name="T72" fmla="*/ 63 w 67"/>
              <a:gd name="T73" fmla="*/ 14 h 39"/>
              <a:gd name="T74" fmla="*/ 62 w 67"/>
              <a:gd name="T75" fmla="*/ 14 h 39"/>
              <a:gd name="T76" fmla="*/ 61 w 67"/>
              <a:gd name="T77" fmla="*/ 18 h 39"/>
              <a:gd name="T78" fmla="*/ 61 w 67"/>
              <a:gd name="T79" fmla="*/ 21 h 39"/>
              <a:gd name="T80" fmla="*/ 59 w 67"/>
              <a:gd name="T81" fmla="*/ 24 h 39"/>
              <a:gd name="T82" fmla="*/ 57 w 67"/>
              <a:gd name="T83" fmla="*/ 26 h 39"/>
              <a:gd name="T84" fmla="*/ 53 w 67"/>
              <a:gd name="T85" fmla="*/ 24 h 39"/>
              <a:gd name="T86" fmla="*/ 52 w 67"/>
              <a:gd name="T87" fmla="*/ 27 h 39"/>
              <a:gd name="T88" fmla="*/ 52 w 67"/>
              <a:gd name="T89" fmla="*/ 29 h 39"/>
              <a:gd name="T90" fmla="*/ 49 w 67"/>
              <a:gd name="T91" fmla="*/ 32 h 39"/>
              <a:gd name="T92" fmla="*/ 41 w 67"/>
              <a:gd name="T93" fmla="*/ 37 h 39"/>
              <a:gd name="T94" fmla="*/ 38 w 67"/>
              <a:gd name="T95" fmla="*/ 38 h 39"/>
              <a:gd name="T96" fmla="*/ 34 w 67"/>
              <a:gd name="T97" fmla="*/ 38 h 39"/>
              <a:gd name="T98" fmla="*/ 29 w 67"/>
              <a:gd name="T99" fmla="*/ 38 h 39"/>
              <a:gd name="T100" fmla="*/ 26 w 67"/>
              <a:gd name="T101" fmla="*/ 39 h 39"/>
              <a:gd name="T102" fmla="*/ 21 w 67"/>
              <a:gd name="T103" fmla="*/ 39 h 39"/>
              <a:gd name="T104" fmla="*/ 19 w 67"/>
              <a:gd name="T105" fmla="*/ 36 h 39"/>
              <a:gd name="T106" fmla="*/ 17 w 67"/>
              <a:gd name="T107" fmla="*/ 36 h 39"/>
              <a:gd name="T108" fmla="*/ 13 w 67"/>
              <a:gd name="T109" fmla="*/ 37 h 39"/>
              <a:gd name="T110" fmla="*/ 7 w 67"/>
              <a:gd name="T111" fmla="*/ 32 h 39"/>
              <a:gd name="T112" fmla="*/ 3 w 67"/>
              <a:gd name="T113" fmla="*/ 31 h 39"/>
              <a:gd name="T114" fmla="*/ 1 w 67"/>
              <a:gd name="T115" fmla="*/ 28 h 39"/>
              <a:gd name="T116" fmla="*/ 0 w 67"/>
              <a:gd name="T117" fmla="*/ 24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7" h="39">
                <a:moveTo>
                  <a:pt x="0" y="24"/>
                </a:moveTo>
                <a:lnTo>
                  <a:pt x="1" y="23"/>
                </a:lnTo>
                <a:lnTo>
                  <a:pt x="3" y="23"/>
                </a:lnTo>
                <a:lnTo>
                  <a:pt x="14" y="26"/>
                </a:lnTo>
                <a:lnTo>
                  <a:pt x="23" y="24"/>
                </a:lnTo>
                <a:lnTo>
                  <a:pt x="26" y="23"/>
                </a:lnTo>
                <a:lnTo>
                  <a:pt x="26" y="21"/>
                </a:lnTo>
                <a:lnTo>
                  <a:pt x="27" y="19"/>
                </a:lnTo>
                <a:lnTo>
                  <a:pt x="28" y="17"/>
                </a:lnTo>
                <a:lnTo>
                  <a:pt x="29" y="16"/>
                </a:lnTo>
                <a:lnTo>
                  <a:pt x="30" y="17"/>
                </a:lnTo>
                <a:lnTo>
                  <a:pt x="29" y="20"/>
                </a:lnTo>
                <a:lnTo>
                  <a:pt x="28" y="22"/>
                </a:lnTo>
                <a:lnTo>
                  <a:pt x="30" y="23"/>
                </a:lnTo>
                <a:lnTo>
                  <a:pt x="32" y="23"/>
                </a:lnTo>
                <a:lnTo>
                  <a:pt x="34" y="23"/>
                </a:lnTo>
                <a:lnTo>
                  <a:pt x="37" y="24"/>
                </a:lnTo>
                <a:lnTo>
                  <a:pt x="39" y="24"/>
                </a:lnTo>
                <a:lnTo>
                  <a:pt x="41" y="23"/>
                </a:lnTo>
                <a:lnTo>
                  <a:pt x="47" y="16"/>
                </a:lnTo>
                <a:lnTo>
                  <a:pt x="50" y="13"/>
                </a:lnTo>
                <a:lnTo>
                  <a:pt x="52" y="14"/>
                </a:lnTo>
                <a:lnTo>
                  <a:pt x="54" y="12"/>
                </a:lnTo>
                <a:lnTo>
                  <a:pt x="56" y="9"/>
                </a:lnTo>
                <a:lnTo>
                  <a:pt x="54" y="6"/>
                </a:lnTo>
                <a:lnTo>
                  <a:pt x="53" y="3"/>
                </a:lnTo>
                <a:lnTo>
                  <a:pt x="53" y="1"/>
                </a:lnTo>
                <a:lnTo>
                  <a:pt x="57" y="1"/>
                </a:lnTo>
                <a:lnTo>
                  <a:pt x="58" y="2"/>
                </a:lnTo>
                <a:lnTo>
                  <a:pt x="60" y="2"/>
                </a:lnTo>
                <a:lnTo>
                  <a:pt x="61" y="1"/>
                </a:lnTo>
                <a:lnTo>
                  <a:pt x="62" y="0"/>
                </a:lnTo>
                <a:lnTo>
                  <a:pt x="64" y="1"/>
                </a:lnTo>
                <a:lnTo>
                  <a:pt x="67" y="4"/>
                </a:lnTo>
                <a:lnTo>
                  <a:pt x="67" y="9"/>
                </a:lnTo>
                <a:lnTo>
                  <a:pt x="66" y="12"/>
                </a:lnTo>
                <a:lnTo>
                  <a:pt x="63" y="14"/>
                </a:lnTo>
                <a:lnTo>
                  <a:pt x="62" y="14"/>
                </a:lnTo>
                <a:lnTo>
                  <a:pt x="61" y="18"/>
                </a:lnTo>
                <a:lnTo>
                  <a:pt x="61" y="21"/>
                </a:lnTo>
                <a:lnTo>
                  <a:pt x="59" y="24"/>
                </a:lnTo>
                <a:lnTo>
                  <a:pt x="57" y="26"/>
                </a:lnTo>
                <a:lnTo>
                  <a:pt x="53" y="24"/>
                </a:lnTo>
                <a:lnTo>
                  <a:pt x="52" y="27"/>
                </a:lnTo>
                <a:lnTo>
                  <a:pt x="52" y="29"/>
                </a:lnTo>
                <a:lnTo>
                  <a:pt x="49" y="32"/>
                </a:lnTo>
                <a:lnTo>
                  <a:pt x="41" y="37"/>
                </a:lnTo>
                <a:lnTo>
                  <a:pt x="38" y="38"/>
                </a:lnTo>
                <a:lnTo>
                  <a:pt x="34" y="38"/>
                </a:lnTo>
                <a:lnTo>
                  <a:pt x="29" y="38"/>
                </a:lnTo>
                <a:lnTo>
                  <a:pt x="26" y="39"/>
                </a:lnTo>
                <a:lnTo>
                  <a:pt x="21" y="39"/>
                </a:lnTo>
                <a:lnTo>
                  <a:pt x="19" y="36"/>
                </a:lnTo>
                <a:lnTo>
                  <a:pt x="17" y="36"/>
                </a:lnTo>
                <a:lnTo>
                  <a:pt x="13" y="37"/>
                </a:lnTo>
                <a:lnTo>
                  <a:pt x="7" y="32"/>
                </a:lnTo>
                <a:lnTo>
                  <a:pt x="3" y="31"/>
                </a:lnTo>
                <a:lnTo>
                  <a:pt x="1" y="28"/>
                </a:lnTo>
                <a:lnTo>
                  <a:pt x="0" y="2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32" name="Freeform 832"/>
          <p:cNvSpPr>
            <a:spLocks/>
          </p:cNvSpPr>
          <p:nvPr/>
        </p:nvSpPr>
        <p:spPr bwMode="auto">
          <a:xfrm>
            <a:off x="8223250" y="3836953"/>
            <a:ext cx="9525" cy="7938"/>
          </a:xfrm>
          <a:custGeom>
            <a:avLst/>
            <a:gdLst>
              <a:gd name="T0" fmla="*/ 0 w 6"/>
              <a:gd name="T1" fmla="*/ 0 h 5"/>
              <a:gd name="T2" fmla="*/ 3 w 6"/>
              <a:gd name="T3" fmla="*/ 2 h 5"/>
              <a:gd name="T4" fmla="*/ 6 w 6"/>
              <a:gd name="T5" fmla="*/ 4 h 5"/>
              <a:gd name="T6" fmla="*/ 6 w 6"/>
              <a:gd name="T7" fmla="*/ 5 h 5"/>
              <a:gd name="T8" fmla="*/ 3 w 6"/>
              <a:gd name="T9" fmla="*/ 5 h 5"/>
              <a:gd name="T10" fmla="*/ 1 w 6"/>
              <a:gd name="T11" fmla="*/ 3 h 5"/>
              <a:gd name="T12" fmla="*/ 0 w 6"/>
              <a:gd name="T13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5">
                <a:moveTo>
                  <a:pt x="0" y="0"/>
                </a:moveTo>
                <a:lnTo>
                  <a:pt x="3" y="2"/>
                </a:lnTo>
                <a:lnTo>
                  <a:pt x="6" y="4"/>
                </a:lnTo>
                <a:lnTo>
                  <a:pt x="6" y="5"/>
                </a:lnTo>
                <a:lnTo>
                  <a:pt x="3" y="5"/>
                </a:lnTo>
                <a:lnTo>
                  <a:pt x="1" y="3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33" name="Freeform 833"/>
          <p:cNvSpPr>
            <a:spLocks/>
          </p:cNvSpPr>
          <p:nvPr/>
        </p:nvSpPr>
        <p:spPr bwMode="auto">
          <a:xfrm>
            <a:off x="8223250" y="3836953"/>
            <a:ext cx="9525" cy="7938"/>
          </a:xfrm>
          <a:custGeom>
            <a:avLst/>
            <a:gdLst>
              <a:gd name="T0" fmla="*/ 0 w 6"/>
              <a:gd name="T1" fmla="*/ 0 h 5"/>
              <a:gd name="T2" fmla="*/ 3 w 6"/>
              <a:gd name="T3" fmla="*/ 2 h 5"/>
              <a:gd name="T4" fmla="*/ 6 w 6"/>
              <a:gd name="T5" fmla="*/ 4 h 5"/>
              <a:gd name="T6" fmla="*/ 6 w 6"/>
              <a:gd name="T7" fmla="*/ 5 h 5"/>
              <a:gd name="T8" fmla="*/ 3 w 6"/>
              <a:gd name="T9" fmla="*/ 5 h 5"/>
              <a:gd name="T10" fmla="*/ 1 w 6"/>
              <a:gd name="T11" fmla="*/ 3 h 5"/>
              <a:gd name="T12" fmla="*/ 0 w 6"/>
              <a:gd name="T13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5">
                <a:moveTo>
                  <a:pt x="0" y="0"/>
                </a:moveTo>
                <a:lnTo>
                  <a:pt x="3" y="2"/>
                </a:lnTo>
                <a:lnTo>
                  <a:pt x="6" y="4"/>
                </a:lnTo>
                <a:lnTo>
                  <a:pt x="6" y="5"/>
                </a:lnTo>
                <a:lnTo>
                  <a:pt x="3" y="5"/>
                </a:lnTo>
                <a:lnTo>
                  <a:pt x="1" y="3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34" name="Freeform 834"/>
          <p:cNvSpPr>
            <a:spLocks/>
          </p:cNvSpPr>
          <p:nvPr/>
        </p:nvSpPr>
        <p:spPr bwMode="auto">
          <a:xfrm>
            <a:off x="8169275" y="3848065"/>
            <a:ext cx="11112" cy="9525"/>
          </a:xfrm>
          <a:custGeom>
            <a:avLst/>
            <a:gdLst>
              <a:gd name="T0" fmla="*/ 0 w 7"/>
              <a:gd name="T1" fmla="*/ 0 h 6"/>
              <a:gd name="T2" fmla="*/ 4 w 7"/>
              <a:gd name="T3" fmla="*/ 0 h 6"/>
              <a:gd name="T4" fmla="*/ 7 w 7"/>
              <a:gd name="T5" fmla="*/ 3 h 6"/>
              <a:gd name="T6" fmla="*/ 7 w 7"/>
              <a:gd name="T7" fmla="*/ 6 h 6"/>
              <a:gd name="T8" fmla="*/ 1 w 7"/>
              <a:gd name="T9" fmla="*/ 5 h 6"/>
              <a:gd name="T10" fmla="*/ 0 w 7"/>
              <a:gd name="T11" fmla="*/ 1 h 6"/>
              <a:gd name="T12" fmla="*/ 0 w 7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" h="6">
                <a:moveTo>
                  <a:pt x="0" y="0"/>
                </a:moveTo>
                <a:lnTo>
                  <a:pt x="4" y="0"/>
                </a:lnTo>
                <a:lnTo>
                  <a:pt x="7" y="3"/>
                </a:lnTo>
                <a:lnTo>
                  <a:pt x="7" y="6"/>
                </a:lnTo>
                <a:lnTo>
                  <a:pt x="1" y="5"/>
                </a:ln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35" name="Freeform 835"/>
          <p:cNvSpPr>
            <a:spLocks/>
          </p:cNvSpPr>
          <p:nvPr/>
        </p:nvSpPr>
        <p:spPr bwMode="auto">
          <a:xfrm>
            <a:off x="8169275" y="3848065"/>
            <a:ext cx="11112" cy="9525"/>
          </a:xfrm>
          <a:custGeom>
            <a:avLst/>
            <a:gdLst>
              <a:gd name="T0" fmla="*/ 0 w 7"/>
              <a:gd name="T1" fmla="*/ 0 h 6"/>
              <a:gd name="T2" fmla="*/ 4 w 7"/>
              <a:gd name="T3" fmla="*/ 0 h 6"/>
              <a:gd name="T4" fmla="*/ 7 w 7"/>
              <a:gd name="T5" fmla="*/ 3 h 6"/>
              <a:gd name="T6" fmla="*/ 7 w 7"/>
              <a:gd name="T7" fmla="*/ 6 h 6"/>
              <a:gd name="T8" fmla="*/ 1 w 7"/>
              <a:gd name="T9" fmla="*/ 5 h 6"/>
              <a:gd name="T10" fmla="*/ 0 w 7"/>
              <a:gd name="T11" fmla="*/ 1 h 6"/>
              <a:gd name="T12" fmla="*/ 0 w 7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7" h="6">
                <a:moveTo>
                  <a:pt x="0" y="0"/>
                </a:moveTo>
                <a:lnTo>
                  <a:pt x="4" y="0"/>
                </a:lnTo>
                <a:lnTo>
                  <a:pt x="7" y="3"/>
                </a:lnTo>
                <a:lnTo>
                  <a:pt x="7" y="6"/>
                </a:lnTo>
                <a:lnTo>
                  <a:pt x="1" y="5"/>
                </a:lnTo>
                <a:lnTo>
                  <a:pt x="0" y="1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36" name="Freeform 836"/>
          <p:cNvSpPr>
            <a:spLocks/>
          </p:cNvSpPr>
          <p:nvPr/>
        </p:nvSpPr>
        <p:spPr bwMode="auto">
          <a:xfrm>
            <a:off x="8175625" y="3860765"/>
            <a:ext cx="11112" cy="9525"/>
          </a:xfrm>
          <a:custGeom>
            <a:avLst/>
            <a:gdLst>
              <a:gd name="T0" fmla="*/ 0 w 7"/>
              <a:gd name="T1" fmla="*/ 0 h 6"/>
              <a:gd name="T2" fmla="*/ 3 w 7"/>
              <a:gd name="T3" fmla="*/ 2 h 6"/>
              <a:gd name="T4" fmla="*/ 4 w 7"/>
              <a:gd name="T5" fmla="*/ 2 h 6"/>
              <a:gd name="T6" fmla="*/ 6 w 7"/>
              <a:gd name="T7" fmla="*/ 2 h 6"/>
              <a:gd name="T8" fmla="*/ 7 w 7"/>
              <a:gd name="T9" fmla="*/ 3 h 6"/>
              <a:gd name="T10" fmla="*/ 7 w 7"/>
              <a:gd name="T11" fmla="*/ 6 h 6"/>
              <a:gd name="T12" fmla="*/ 5 w 7"/>
              <a:gd name="T13" fmla="*/ 6 h 6"/>
              <a:gd name="T14" fmla="*/ 1 w 7"/>
              <a:gd name="T15" fmla="*/ 2 h 6"/>
              <a:gd name="T16" fmla="*/ 0 w 7"/>
              <a:gd name="T17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" h="6">
                <a:moveTo>
                  <a:pt x="0" y="0"/>
                </a:moveTo>
                <a:lnTo>
                  <a:pt x="3" y="2"/>
                </a:lnTo>
                <a:lnTo>
                  <a:pt x="4" y="2"/>
                </a:lnTo>
                <a:lnTo>
                  <a:pt x="6" y="2"/>
                </a:lnTo>
                <a:lnTo>
                  <a:pt x="7" y="3"/>
                </a:lnTo>
                <a:lnTo>
                  <a:pt x="7" y="6"/>
                </a:lnTo>
                <a:lnTo>
                  <a:pt x="5" y="6"/>
                </a:lnTo>
                <a:lnTo>
                  <a:pt x="1" y="2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37" name="Freeform 837"/>
          <p:cNvSpPr>
            <a:spLocks/>
          </p:cNvSpPr>
          <p:nvPr/>
        </p:nvSpPr>
        <p:spPr bwMode="auto">
          <a:xfrm>
            <a:off x="8175625" y="3860765"/>
            <a:ext cx="11112" cy="9525"/>
          </a:xfrm>
          <a:custGeom>
            <a:avLst/>
            <a:gdLst>
              <a:gd name="T0" fmla="*/ 0 w 7"/>
              <a:gd name="T1" fmla="*/ 0 h 6"/>
              <a:gd name="T2" fmla="*/ 3 w 7"/>
              <a:gd name="T3" fmla="*/ 2 h 6"/>
              <a:gd name="T4" fmla="*/ 4 w 7"/>
              <a:gd name="T5" fmla="*/ 2 h 6"/>
              <a:gd name="T6" fmla="*/ 6 w 7"/>
              <a:gd name="T7" fmla="*/ 2 h 6"/>
              <a:gd name="T8" fmla="*/ 7 w 7"/>
              <a:gd name="T9" fmla="*/ 3 h 6"/>
              <a:gd name="T10" fmla="*/ 7 w 7"/>
              <a:gd name="T11" fmla="*/ 6 h 6"/>
              <a:gd name="T12" fmla="*/ 5 w 7"/>
              <a:gd name="T13" fmla="*/ 6 h 6"/>
              <a:gd name="T14" fmla="*/ 1 w 7"/>
              <a:gd name="T15" fmla="*/ 2 h 6"/>
              <a:gd name="T16" fmla="*/ 0 w 7"/>
              <a:gd name="T17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" h="6">
                <a:moveTo>
                  <a:pt x="0" y="0"/>
                </a:moveTo>
                <a:lnTo>
                  <a:pt x="3" y="2"/>
                </a:lnTo>
                <a:lnTo>
                  <a:pt x="4" y="2"/>
                </a:lnTo>
                <a:lnTo>
                  <a:pt x="6" y="2"/>
                </a:lnTo>
                <a:lnTo>
                  <a:pt x="7" y="3"/>
                </a:lnTo>
                <a:lnTo>
                  <a:pt x="7" y="6"/>
                </a:lnTo>
                <a:lnTo>
                  <a:pt x="5" y="6"/>
                </a:lnTo>
                <a:lnTo>
                  <a:pt x="1" y="2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38" name="Freeform 838"/>
          <p:cNvSpPr>
            <a:spLocks/>
          </p:cNvSpPr>
          <p:nvPr/>
        </p:nvSpPr>
        <p:spPr bwMode="auto">
          <a:xfrm>
            <a:off x="5422900" y="3929028"/>
            <a:ext cx="192087" cy="388938"/>
          </a:xfrm>
          <a:custGeom>
            <a:avLst/>
            <a:gdLst>
              <a:gd name="T0" fmla="*/ 29 w 121"/>
              <a:gd name="T1" fmla="*/ 74 h 245"/>
              <a:gd name="T2" fmla="*/ 39 w 121"/>
              <a:gd name="T3" fmla="*/ 69 h 245"/>
              <a:gd name="T4" fmla="*/ 42 w 121"/>
              <a:gd name="T5" fmla="*/ 69 h 245"/>
              <a:gd name="T6" fmla="*/ 46 w 121"/>
              <a:gd name="T7" fmla="*/ 66 h 245"/>
              <a:gd name="T8" fmla="*/ 52 w 121"/>
              <a:gd name="T9" fmla="*/ 65 h 245"/>
              <a:gd name="T10" fmla="*/ 57 w 121"/>
              <a:gd name="T11" fmla="*/ 71 h 245"/>
              <a:gd name="T12" fmla="*/ 60 w 121"/>
              <a:gd name="T13" fmla="*/ 68 h 245"/>
              <a:gd name="T14" fmla="*/ 61 w 121"/>
              <a:gd name="T15" fmla="*/ 58 h 245"/>
              <a:gd name="T16" fmla="*/ 67 w 121"/>
              <a:gd name="T17" fmla="*/ 61 h 245"/>
              <a:gd name="T18" fmla="*/ 69 w 121"/>
              <a:gd name="T19" fmla="*/ 55 h 245"/>
              <a:gd name="T20" fmla="*/ 73 w 121"/>
              <a:gd name="T21" fmla="*/ 48 h 245"/>
              <a:gd name="T22" fmla="*/ 74 w 121"/>
              <a:gd name="T23" fmla="*/ 53 h 245"/>
              <a:gd name="T24" fmla="*/ 83 w 121"/>
              <a:gd name="T25" fmla="*/ 46 h 245"/>
              <a:gd name="T26" fmla="*/ 79 w 121"/>
              <a:gd name="T27" fmla="*/ 40 h 245"/>
              <a:gd name="T28" fmla="*/ 84 w 121"/>
              <a:gd name="T29" fmla="*/ 37 h 245"/>
              <a:gd name="T30" fmla="*/ 83 w 121"/>
              <a:gd name="T31" fmla="*/ 27 h 245"/>
              <a:gd name="T32" fmla="*/ 88 w 121"/>
              <a:gd name="T33" fmla="*/ 30 h 245"/>
              <a:gd name="T34" fmla="*/ 94 w 121"/>
              <a:gd name="T35" fmla="*/ 23 h 245"/>
              <a:gd name="T36" fmla="*/ 100 w 121"/>
              <a:gd name="T37" fmla="*/ 8 h 245"/>
              <a:gd name="T38" fmla="*/ 102 w 121"/>
              <a:gd name="T39" fmla="*/ 2 h 245"/>
              <a:gd name="T40" fmla="*/ 111 w 121"/>
              <a:gd name="T41" fmla="*/ 8 h 245"/>
              <a:gd name="T42" fmla="*/ 115 w 121"/>
              <a:gd name="T43" fmla="*/ 20 h 245"/>
              <a:gd name="T44" fmla="*/ 118 w 121"/>
              <a:gd name="T45" fmla="*/ 35 h 245"/>
              <a:gd name="T46" fmla="*/ 120 w 121"/>
              <a:gd name="T47" fmla="*/ 49 h 245"/>
              <a:gd name="T48" fmla="*/ 121 w 121"/>
              <a:gd name="T49" fmla="*/ 64 h 245"/>
              <a:gd name="T50" fmla="*/ 115 w 121"/>
              <a:gd name="T51" fmla="*/ 64 h 245"/>
              <a:gd name="T52" fmla="*/ 110 w 121"/>
              <a:gd name="T53" fmla="*/ 67 h 245"/>
              <a:gd name="T54" fmla="*/ 111 w 121"/>
              <a:gd name="T55" fmla="*/ 81 h 245"/>
              <a:gd name="T56" fmla="*/ 105 w 121"/>
              <a:gd name="T57" fmla="*/ 91 h 245"/>
              <a:gd name="T58" fmla="*/ 100 w 121"/>
              <a:gd name="T59" fmla="*/ 118 h 245"/>
              <a:gd name="T60" fmla="*/ 94 w 121"/>
              <a:gd name="T61" fmla="*/ 130 h 245"/>
              <a:gd name="T62" fmla="*/ 83 w 121"/>
              <a:gd name="T63" fmla="*/ 164 h 245"/>
              <a:gd name="T64" fmla="*/ 72 w 121"/>
              <a:gd name="T65" fmla="*/ 192 h 245"/>
              <a:gd name="T66" fmla="*/ 66 w 121"/>
              <a:gd name="T67" fmla="*/ 217 h 245"/>
              <a:gd name="T68" fmla="*/ 57 w 121"/>
              <a:gd name="T69" fmla="*/ 232 h 245"/>
              <a:gd name="T70" fmla="*/ 49 w 121"/>
              <a:gd name="T71" fmla="*/ 236 h 245"/>
              <a:gd name="T72" fmla="*/ 26 w 121"/>
              <a:gd name="T73" fmla="*/ 245 h 245"/>
              <a:gd name="T74" fmla="*/ 13 w 121"/>
              <a:gd name="T75" fmla="*/ 235 h 245"/>
              <a:gd name="T76" fmla="*/ 6 w 121"/>
              <a:gd name="T77" fmla="*/ 220 h 245"/>
              <a:gd name="T78" fmla="*/ 7 w 121"/>
              <a:gd name="T79" fmla="*/ 207 h 245"/>
              <a:gd name="T80" fmla="*/ 2 w 121"/>
              <a:gd name="T81" fmla="*/ 196 h 245"/>
              <a:gd name="T82" fmla="*/ 0 w 121"/>
              <a:gd name="T83" fmla="*/ 182 h 245"/>
              <a:gd name="T84" fmla="*/ 6 w 121"/>
              <a:gd name="T85" fmla="*/ 168 h 245"/>
              <a:gd name="T86" fmla="*/ 13 w 121"/>
              <a:gd name="T87" fmla="*/ 156 h 245"/>
              <a:gd name="T88" fmla="*/ 23 w 121"/>
              <a:gd name="T89" fmla="*/ 139 h 245"/>
              <a:gd name="T90" fmla="*/ 23 w 121"/>
              <a:gd name="T91" fmla="*/ 131 h 245"/>
              <a:gd name="T92" fmla="*/ 19 w 121"/>
              <a:gd name="T93" fmla="*/ 113 h 245"/>
              <a:gd name="T94" fmla="*/ 21 w 121"/>
              <a:gd name="T95" fmla="*/ 9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21" h="245">
                <a:moveTo>
                  <a:pt x="26" y="75"/>
                </a:moveTo>
                <a:lnTo>
                  <a:pt x="28" y="73"/>
                </a:lnTo>
                <a:lnTo>
                  <a:pt x="29" y="74"/>
                </a:lnTo>
                <a:lnTo>
                  <a:pt x="34" y="73"/>
                </a:lnTo>
                <a:lnTo>
                  <a:pt x="36" y="71"/>
                </a:lnTo>
                <a:lnTo>
                  <a:pt x="39" y="69"/>
                </a:lnTo>
                <a:lnTo>
                  <a:pt x="39" y="71"/>
                </a:lnTo>
                <a:lnTo>
                  <a:pt x="40" y="71"/>
                </a:lnTo>
                <a:lnTo>
                  <a:pt x="42" y="69"/>
                </a:lnTo>
                <a:lnTo>
                  <a:pt x="43" y="70"/>
                </a:lnTo>
                <a:lnTo>
                  <a:pt x="46" y="68"/>
                </a:lnTo>
                <a:lnTo>
                  <a:pt x="46" y="66"/>
                </a:lnTo>
                <a:lnTo>
                  <a:pt x="49" y="66"/>
                </a:lnTo>
                <a:lnTo>
                  <a:pt x="50" y="67"/>
                </a:lnTo>
                <a:lnTo>
                  <a:pt x="52" y="65"/>
                </a:lnTo>
                <a:lnTo>
                  <a:pt x="53" y="65"/>
                </a:lnTo>
                <a:lnTo>
                  <a:pt x="56" y="68"/>
                </a:lnTo>
                <a:lnTo>
                  <a:pt x="57" y="71"/>
                </a:lnTo>
                <a:lnTo>
                  <a:pt x="59" y="71"/>
                </a:lnTo>
                <a:lnTo>
                  <a:pt x="61" y="71"/>
                </a:lnTo>
                <a:lnTo>
                  <a:pt x="60" y="68"/>
                </a:lnTo>
                <a:lnTo>
                  <a:pt x="58" y="65"/>
                </a:lnTo>
                <a:lnTo>
                  <a:pt x="58" y="63"/>
                </a:lnTo>
                <a:lnTo>
                  <a:pt x="61" y="58"/>
                </a:lnTo>
                <a:lnTo>
                  <a:pt x="66" y="56"/>
                </a:lnTo>
                <a:lnTo>
                  <a:pt x="67" y="57"/>
                </a:lnTo>
                <a:lnTo>
                  <a:pt x="67" y="61"/>
                </a:lnTo>
                <a:lnTo>
                  <a:pt x="69" y="61"/>
                </a:lnTo>
                <a:lnTo>
                  <a:pt x="71" y="60"/>
                </a:lnTo>
                <a:lnTo>
                  <a:pt x="69" y="55"/>
                </a:lnTo>
                <a:lnTo>
                  <a:pt x="71" y="53"/>
                </a:lnTo>
                <a:lnTo>
                  <a:pt x="73" y="49"/>
                </a:lnTo>
                <a:lnTo>
                  <a:pt x="73" y="48"/>
                </a:lnTo>
                <a:lnTo>
                  <a:pt x="76" y="46"/>
                </a:lnTo>
                <a:lnTo>
                  <a:pt x="76" y="48"/>
                </a:lnTo>
                <a:lnTo>
                  <a:pt x="74" y="53"/>
                </a:lnTo>
                <a:lnTo>
                  <a:pt x="80" y="46"/>
                </a:lnTo>
                <a:lnTo>
                  <a:pt x="82" y="46"/>
                </a:lnTo>
                <a:lnTo>
                  <a:pt x="83" y="46"/>
                </a:lnTo>
                <a:lnTo>
                  <a:pt x="83" y="44"/>
                </a:lnTo>
                <a:lnTo>
                  <a:pt x="81" y="44"/>
                </a:lnTo>
                <a:lnTo>
                  <a:pt x="79" y="40"/>
                </a:lnTo>
                <a:lnTo>
                  <a:pt x="80" y="39"/>
                </a:lnTo>
                <a:lnTo>
                  <a:pt x="83" y="35"/>
                </a:lnTo>
                <a:lnTo>
                  <a:pt x="84" y="37"/>
                </a:lnTo>
                <a:lnTo>
                  <a:pt x="84" y="33"/>
                </a:lnTo>
                <a:lnTo>
                  <a:pt x="84" y="30"/>
                </a:lnTo>
                <a:lnTo>
                  <a:pt x="83" y="27"/>
                </a:lnTo>
                <a:lnTo>
                  <a:pt x="84" y="25"/>
                </a:lnTo>
                <a:lnTo>
                  <a:pt x="87" y="27"/>
                </a:lnTo>
                <a:lnTo>
                  <a:pt x="88" y="30"/>
                </a:lnTo>
                <a:lnTo>
                  <a:pt x="92" y="24"/>
                </a:lnTo>
                <a:lnTo>
                  <a:pt x="93" y="20"/>
                </a:lnTo>
                <a:lnTo>
                  <a:pt x="94" y="23"/>
                </a:lnTo>
                <a:lnTo>
                  <a:pt x="98" y="20"/>
                </a:lnTo>
                <a:lnTo>
                  <a:pt x="99" y="16"/>
                </a:lnTo>
                <a:lnTo>
                  <a:pt x="100" y="8"/>
                </a:lnTo>
                <a:lnTo>
                  <a:pt x="98" y="5"/>
                </a:lnTo>
                <a:lnTo>
                  <a:pt x="100" y="6"/>
                </a:lnTo>
                <a:lnTo>
                  <a:pt x="102" y="2"/>
                </a:lnTo>
                <a:lnTo>
                  <a:pt x="104" y="0"/>
                </a:lnTo>
                <a:lnTo>
                  <a:pt x="108" y="4"/>
                </a:lnTo>
                <a:lnTo>
                  <a:pt x="111" y="8"/>
                </a:lnTo>
                <a:lnTo>
                  <a:pt x="113" y="11"/>
                </a:lnTo>
                <a:lnTo>
                  <a:pt x="115" y="15"/>
                </a:lnTo>
                <a:lnTo>
                  <a:pt x="115" y="20"/>
                </a:lnTo>
                <a:lnTo>
                  <a:pt x="117" y="24"/>
                </a:lnTo>
                <a:lnTo>
                  <a:pt x="118" y="29"/>
                </a:lnTo>
                <a:lnTo>
                  <a:pt x="118" y="35"/>
                </a:lnTo>
                <a:lnTo>
                  <a:pt x="119" y="39"/>
                </a:lnTo>
                <a:lnTo>
                  <a:pt x="119" y="44"/>
                </a:lnTo>
                <a:lnTo>
                  <a:pt x="120" y="49"/>
                </a:lnTo>
                <a:lnTo>
                  <a:pt x="121" y="54"/>
                </a:lnTo>
                <a:lnTo>
                  <a:pt x="121" y="59"/>
                </a:lnTo>
                <a:lnTo>
                  <a:pt x="121" y="64"/>
                </a:lnTo>
                <a:lnTo>
                  <a:pt x="119" y="68"/>
                </a:lnTo>
                <a:lnTo>
                  <a:pt x="117" y="68"/>
                </a:lnTo>
                <a:lnTo>
                  <a:pt x="115" y="64"/>
                </a:lnTo>
                <a:lnTo>
                  <a:pt x="114" y="59"/>
                </a:lnTo>
                <a:lnTo>
                  <a:pt x="111" y="59"/>
                </a:lnTo>
                <a:lnTo>
                  <a:pt x="110" y="67"/>
                </a:lnTo>
                <a:lnTo>
                  <a:pt x="110" y="73"/>
                </a:lnTo>
                <a:lnTo>
                  <a:pt x="111" y="76"/>
                </a:lnTo>
                <a:lnTo>
                  <a:pt x="111" y="81"/>
                </a:lnTo>
                <a:lnTo>
                  <a:pt x="110" y="85"/>
                </a:lnTo>
                <a:lnTo>
                  <a:pt x="108" y="87"/>
                </a:lnTo>
                <a:lnTo>
                  <a:pt x="105" y="91"/>
                </a:lnTo>
                <a:lnTo>
                  <a:pt x="104" y="97"/>
                </a:lnTo>
                <a:lnTo>
                  <a:pt x="103" y="101"/>
                </a:lnTo>
                <a:lnTo>
                  <a:pt x="100" y="118"/>
                </a:lnTo>
                <a:lnTo>
                  <a:pt x="95" y="127"/>
                </a:lnTo>
                <a:lnTo>
                  <a:pt x="95" y="127"/>
                </a:lnTo>
                <a:lnTo>
                  <a:pt x="94" y="130"/>
                </a:lnTo>
                <a:lnTo>
                  <a:pt x="89" y="147"/>
                </a:lnTo>
                <a:lnTo>
                  <a:pt x="86" y="156"/>
                </a:lnTo>
                <a:lnTo>
                  <a:pt x="83" y="164"/>
                </a:lnTo>
                <a:lnTo>
                  <a:pt x="79" y="175"/>
                </a:lnTo>
                <a:lnTo>
                  <a:pt x="77" y="180"/>
                </a:lnTo>
                <a:lnTo>
                  <a:pt x="72" y="192"/>
                </a:lnTo>
                <a:lnTo>
                  <a:pt x="70" y="201"/>
                </a:lnTo>
                <a:lnTo>
                  <a:pt x="69" y="207"/>
                </a:lnTo>
                <a:lnTo>
                  <a:pt x="66" y="217"/>
                </a:lnTo>
                <a:lnTo>
                  <a:pt x="63" y="221"/>
                </a:lnTo>
                <a:lnTo>
                  <a:pt x="61" y="226"/>
                </a:lnTo>
                <a:lnTo>
                  <a:pt x="57" y="232"/>
                </a:lnTo>
                <a:lnTo>
                  <a:pt x="54" y="235"/>
                </a:lnTo>
                <a:lnTo>
                  <a:pt x="51" y="236"/>
                </a:lnTo>
                <a:lnTo>
                  <a:pt x="49" y="236"/>
                </a:lnTo>
                <a:lnTo>
                  <a:pt x="40" y="238"/>
                </a:lnTo>
                <a:lnTo>
                  <a:pt x="30" y="243"/>
                </a:lnTo>
                <a:lnTo>
                  <a:pt x="26" y="245"/>
                </a:lnTo>
                <a:lnTo>
                  <a:pt x="21" y="240"/>
                </a:lnTo>
                <a:lnTo>
                  <a:pt x="17" y="237"/>
                </a:lnTo>
                <a:lnTo>
                  <a:pt x="13" y="235"/>
                </a:lnTo>
                <a:lnTo>
                  <a:pt x="10" y="232"/>
                </a:lnTo>
                <a:lnTo>
                  <a:pt x="7" y="226"/>
                </a:lnTo>
                <a:lnTo>
                  <a:pt x="6" y="220"/>
                </a:lnTo>
                <a:lnTo>
                  <a:pt x="5" y="215"/>
                </a:lnTo>
                <a:lnTo>
                  <a:pt x="6" y="210"/>
                </a:lnTo>
                <a:lnTo>
                  <a:pt x="7" y="207"/>
                </a:lnTo>
                <a:lnTo>
                  <a:pt x="6" y="202"/>
                </a:lnTo>
                <a:lnTo>
                  <a:pt x="5" y="198"/>
                </a:lnTo>
                <a:lnTo>
                  <a:pt x="2" y="196"/>
                </a:lnTo>
                <a:lnTo>
                  <a:pt x="0" y="191"/>
                </a:lnTo>
                <a:lnTo>
                  <a:pt x="1" y="187"/>
                </a:lnTo>
                <a:lnTo>
                  <a:pt x="0" y="182"/>
                </a:lnTo>
                <a:lnTo>
                  <a:pt x="1" y="177"/>
                </a:lnTo>
                <a:lnTo>
                  <a:pt x="3" y="174"/>
                </a:lnTo>
                <a:lnTo>
                  <a:pt x="6" y="168"/>
                </a:lnTo>
                <a:lnTo>
                  <a:pt x="8" y="166"/>
                </a:lnTo>
                <a:lnTo>
                  <a:pt x="10" y="165"/>
                </a:lnTo>
                <a:lnTo>
                  <a:pt x="13" y="156"/>
                </a:lnTo>
                <a:lnTo>
                  <a:pt x="19" y="146"/>
                </a:lnTo>
                <a:lnTo>
                  <a:pt x="22" y="142"/>
                </a:lnTo>
                <a:lnTo>
                  <a:pt x="23" y="139"/>
                </a:lnTo>
                <a:lnTo>
                  <a:pt x="23" y="136"/>
                </a:lnTo>
                <a:lnTo>
                  <a:pt x="24" y="135"/>
                </a:lnTo>
                <a:lnTo>
                  <a:pt x="23" y="131"/>
                </a:lnTo>
                <a:lnTo>
                  <a:pt x="21" y="127"/>
                </a:lnTo>
                <a:lnTo>
                  <a:pt x="20" y="120"/>
                </a:lnTo>
                <a:lnTo>
                  <a:pt x="19" y="113"/>
                </a:lnTo>
                <a:lnTo>
                  <a:pt x="20" y="103"/>
                </a:lnTo>
                <a:lnTo>
                  <a:pt x="17" y="98"/>
                </a:lnTo>
                <a:lnTo>
                  <a:pt x="21" y="90"/>
                </a:lnTo>
                <a:lnTo>
                  <a:pt x="26" y="80"/>
                </a:lnTo>
                <a:lnTo>
                  <a:pt x="26" y="7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39" name="Freeform 839"/>
          <p:cNvSpPr>
            <a:spLocks/>
          </p:cNvSpPr>
          <p:nvPr/>
        </p:nvSpPr>
        <p:spPr bwMode="auto">
          <a:xfrm>
            <a:off x="5422900" y="3929028"/>
            <a:ext cx="192087" cy="388938"/>
          </a:xfrm>
          <a:custGeom>
            <a:avLst/>
            <a:gdLst>
              <a:gd name="T0" fmla="*/ 29 w 121"/>
              <a:gd name="T1" fmla="*/ 74 h 245"/>
              <a:gd name="T2" fmla="*/ 39 w 121"/>
              <a:gd name="T3" fmla="*/ 69 h 245"/>
              <a:gd name="T4" fmla="*/ 42 w 121"/>
              <a:gd name="T5" fmla="*/ 69 h 245"/>
              <a:gd name="T6" fmla="*/ 46 w 121"/>
              <a:gd name="T7" fmla="*/ 66 h 245"/>
              <a:gd name="T8" fmla="*/ 52 w 121"/>
              <a:gd name="T9" fmla="*/ 65 h 245"/>
              <a:gd name="T10" fmla="*/ 57 w 121"/>
              <a:gd name="T11" fmla="*/ 71 h 245"/>
              <a:gd name="T12" fmla="*/ 60 w 121"/>
              <a:gd name="T13" fmla="*/ 68 h 245"/>
              <a:gd name="T14" fmla="*/ 61 w 121"/>
              <a:gd name="T15" fmla="*/ 58 h 245"/>
              <a:gd name="T16" fmla="*/ 67 w 121"/>
              <a:gd name="T17" fmla="*/ 61 h 245"/>
              <a:gd name="T18" fmla="*/ 69 w 121"/>
              <a:gd name="T19" fmla="*/ 55 h 245"/>
              <a:gd name="T20" fmla="*/ 73 w 121"/>
              <a:gd name="T21" fmla="*/ 48 h 245"/>
              <a:gd name="T22" fmla="*/ 74 w 121"/>
              <a:gd name="T23" fmla="*/ 53 h 245"/>
              <a:gd name="T24" fmla="*/ 83 w 121"/>
              <a:gd name="T25" fmla="*/ 46 h 245"/>
              <a:gd name="T26" fmla="*/ 79 w 121"/>
              <a:gd name="T27" fmla="*/ 40 h 245"/>
              <a:gd name="T28" fmla="*/ 84 w 121"/>
              <a:gd name="T29" fmla="*/ 37 h 245"/>
              <a:gd name="T30" fmla="*/ 83 w 121"/>
              <a:gd name="T31" fmla="*/ 27 h 245"/>
              <a:gd name="T32" fmla="*/ 88 w 121"/>
              <a:gd name="T33" fmla="*/ 30 h 245"/>
              <a:gd name="T34" fmla="*/ 94 w 121"/>
              <a:gd name="T35" fmla="*/ 23 h 245"/>
              <a:gd name="T36" fmla="*/ 100 w 121"/>
              <a:gd name="T37" fmla="*/ 8 h 245"/>
              <a:gd name="T38" fmla="*/ 102 w 121"/>
              <a:gd name="T39" fmla="*/ 2 h 245"/>
              <a:gd name="T40" fmla="*/ 111 w 121"/>
              <a:gd name="T41" fmla="*/ 8 h 245"/>
              <a:gd name="T42" fmla="*/ 115 w 121"/>
              <a:gd name="T43" fmla="*/ 20 h 245"/>
              <a:gd name="T44" fmla="*/ 118 w 121"/>
              <a:gd name="T45" fmla="*/ 35 h 245"/>
              <a:gd name="T46" fmla="*/ 120 w 121"/>
              <a:gd name="T47" fmla="*/ 49 h 245"/>
              <a:gd name="T48" fmla="*/ 121 w 121"/>
              <a:gd name="T49" fmla="*/ 64 h 245"/>
              <a:gd name="T50" fmla="*/ 115 w 121"/>
              <a:gd name="T51" fmla="*/ 64 h 245"/>
              <a:gd name="T52" fmla="*/ 110 w 121"/>
              <a:gd name="T53" fmla="*/ 67 h 245"/>
              <a:gd name="T54" fmla="*/ 111 w 121"/>
              <a:gd name="T55" fmla="*/ 81 h 245"/>
              <a:gd name="T56" fmla="*/ 105 w 121"/>
              <a:gd name="T57" fmla="*/ 91 h 245"/>
              <a:gd name="T58" fmla="*/ 100 w 121"/>
              <a:gd name="T59" fmla="*/ 118 h 245"/>
              <a:gd name="T60" fmla="*/ 94 w 121"/>
              <a:gd name="T61" fmla="*/ 130 h 245"/>
              <a:gd name="T62" fmla="*/ 83 w 121"/>
              <a:gd name="T63" fmla="*/ 164 h 245"/>
              <a:gd name="T64" fmla="*/ 72 w 121"/>
              <a:gd name="T65" fmla="*/ 192 h 245"/>
              <a:gd name="T66" fmla="*/ 66 w 121"/>
              <a:gd name="T67" fmla="*/ 217 h 245"/>
              <a:gd name="T68" fmla="*/ 57 w 121"/>
              <a:gd name="T69" fmla="*/ 232 h 245"/>
              <a:gd name="T70" fmla="*/ 49 w 121"/>
              <a:gd name="T71" fmla="*/ 236 h 245"/>
              <a:gd name="T72" fmla="*/ 26 w 121"/>
              <a:gd name="T73" fmla="*/ 245 h 245"/>
              <a:gd name="T74" fmla="*/ 13 w 121"/>
              <a:gd name="T75" fmla="*/ 235 h 245"/>
              <a:gd name="T76" fmla="*/ 6 w 121"/>
              <a:gd name="T77" fmla="*/ 220 h 245"/>
              <a:gd name="T78" fmla="*/ 7 w 121"/>
              <a:gd name="T79" fmla="*/ 207 h 245"/>
              <a:gd name="T80" fmla="*/ 2 w 121"/>
              <a:gd name="T81" fmla="*/ 196 h 245"/>
              <a:gd name="T82" fmla="*/ 0 w 121"/>
              <a:gd name="T83" fmla="*/ 182 h 245"/>
              <a:gd name="T84" fmla="*/ 6 w 121"/>
              <a:gd name="T85" fmla="*/ 168 h 245"/>
              <a:gd name="T86" fmla="*/ 13 w 121"/>
              <a:gd name="T87" fmla="*/ 156 h 245"/>
              <a:gd name="T88" fmla="*/ 23 w 121"/>
              <a:gd name="T89" fmla="*/ 139 h 245"/>
              <a:gd name="T90" fmla="*/ 23 w 121"/>
              <a:gd name="T91" fmla="*/ 131 h 245"/>
              <a:gd name="T92" fmla="*/ 19 w 121"/>
              <a:gd name="T93" fmla="*/ 113 h 245"/>
              <a:gd name="T94" fmla="*/ 21 w 121"/>
              <a:gd name="T95" fmla="*/ 90 h 2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21" h="245">
                <a:moveTo>
                  <a:pt x="26" y="75"/>
                </a:moveTo>
                <a:lnTo>
                  <a:pt x="28" y="73"/>
                </a:lnTo>
                <a:lnTo>
                  <a:pt x="29" y="74"/>
                </a:lnTo>
                <a:lnTo>
                  <a:pt x="34" y="73"/>
                </a:lnTo>
                <a:lnTo>
                  <a:pt x="36" y="71"/>
                </a:lnTo>
                <a:lnTo>
                  <a:pt x="39" y="69"/>
                </a:lnTo>
                <a:lnTo>
                  <a:pt x="39" y="71"/>
                </a:lnTo>
                <a:lnTo>
                  <a:pt x="40" y="71"/>
                </a:lnTo>
                <a:lnTo>
                  <a:pt x="42" y="69"/>
                </a:lnTo>
                <a:lnTo>
                  <a:pt x="43" y="70"/>
                </a:lnTo>
                <a:lnTo>
                  <a:pt x="46" y="68"/>
                </a:lnTo>
                <a:lnTo>
                  <a:pt x="46" y="66"/>
                </a:lnTo>
                <a:lnTo>
                  <a:pt x="49" y="66"/>
                </a:lnTo>
                <a:lnTo>
                  <a:pt x="50" y="67"/>
                </a:lnTo>
                <a:lnTo>
                  <a:pt x="52" y="65"/>
                </a:lnTo>
                <a:lnTo>
                  <a:pt x="53" y="65"/>
                </a:lnTo>
                <a:lnTo>
                  <a:pt x="56" y="68"/>
                </a:lnTo>
                <a:lnTo>
                  <a:pt x="57" y="71"/>
                </a:lnTo>
                <a:lnTo>
                  <a:pt x="59" y="71"/>
                </a:lnTo>
                <a:lnTo>
                  <a:pt x="61" y="71"/>
                </a:lnTo>
                <a:lnTo>
                  <a:pt x="60" y="68"/>
                </a:lnTo>
                <a:lnTo>
                  <a:pt x="58" y="65"/>
                </a:lnTo>
                <a:lnTo>
                  <a:pt x="58" y="63"/>
                </a:lnTo>
                <a:lnTo>
                  <a:pt x="61" y="58"/>
                </a:lnTo>
                <a:lnTo>
                  <a:pt x="66" y="56"/>
                </a:lnTo>
                <a:lnTo>
                  <a:pt x="67" y="57"/>
                </a:lnTo>
                <a:lnTo>
                  <a:pt x="67" y="61"/>
                </a:lnTo>
                <a:lnTo>
                  <a:pt x="69" y="61"/>
                </a:lnTo>
                <a:lnTo>
                  <a:pt x="71" y="60"/>
                </a:lnTo>
                <a:lnTo>
                  <a:pt x="69" y="55"/>
                </a:lnTo>
                <a:lnTo>
                  <a:pt x="71" y="53"/>
                </a:lnTo>
                <a:lnTo>
                  <a:pt x="73" y="49"/>
                </a:lnTo>
                <a:lnTo>
                  <a:pt x="73" y="48"/>
                </a:lnTo>
                <a:lnTo>
                  <a:pt x="76" y="46"/>
                </a:lnTo>
                <a:lnTo>
                  <a:pt x="76" y="48"/>
                </a:lnTo>
                <a:lnTo>
                  <a:pt x="74" y="53"/>
                </a:lnTo>
                <a:lnTo>
                  <a:pt x="80" y="46"/>
                </a:lnTo>
                <a:lnTo>
                  <a:pt x="82" y="46"/>
                </a:lnTo>
                <a:lnTo>
                  <a:pt x="83" y="46"/>
                </a:lnTo>
                <a:lnTo>
                  <a:pt x="83" y="44"/>
                </a:lnTo>
                <a:lnTo>
                  <a:pt x="81" y="44"/>
                </a:lnTo>
                <a:lnTo>
                  <a:pt x="79" y="40"/>
                </a:lnTo>
                <a:lnTo>
                  <a:pt x="80" y="39"/>
                </a:lnTo>
                <a:lnTo>
                  <a:pt x="83" y="35"/>
                </a:lnTo>
                <a:lnTo>
                  <a:pt x="84" y="37"/>
                </a:lnTo>
                <a:lnTo>
                  <a:pt x="84" y="33"/>
                </a:lnTo>
                <a:lnTo>
                  <a:pt x="84" y="30"/>
                </a:lnTo>
                <a:lnTo>
                  <a:pt x="83" y="27"/>
                </a:lnTo>
                <a:lnTo>
                  <a:pt x="84" y="25"/>
                </a:lnTo>
                <a:lnTo>
                  <a:pt x="87" y="27"/>
                </a:lnTo>
                <a:lnTo>
                  <a:pt x="88" y="30"/>
                </a:lnTo>
                <a:lnTo>
                  <a:pt x="92" y="24"/>
                </a:lnTo>
                <a:lnTo>
                  <a:pt x="93" y="20"/>
                </a:lnTo>
                <a:lnTo>
                  <a:pt x="94" y="23"/>
                </a:lnTo>
                <a:lnTo>
                  <a:pt x="98" y="20"/>
                </a:lnTo>
                <a:lnTo>
                  <a:pt x="99" y="16"/>
                </a:lnTo>
                <a:lnTo>
                  <a:pt x="100" y="8"/>
                </a:lnTo>
                <a:lnTo>
                  <a:pt x="98" y="5"/>
                </a:lnTo>
                <a:lnTo>
                  <a:pt x="100" y="6"/>
                </a:lnTo>
                <a:lnTo>
                  <a:pt x="102" y="2"/>
                </a:lnTo>
                <a:lnTo>
                  <a:pt x="104" y="0"/>
                </a:lnTo>
                <a:lnTo>
                  <a:pt x="108" y="4"/>
                </a:lnTo>
                <a:lnTo>
                  <a:pt x="111" y="8"/>
                </a:lnTo>
                <a:lnTo>
                  <a:pt x="113" y="11"/>
                </a:lnTo>
                <a:lnTo>
                  <a:pt x="115" y="15"/>
                </a:lnTo>
                <a:lnTo>
                  <a:pt x="115" y="20"/>
                </a:lnTo>
                <a:lnTo>
                  <a:pt x="117" y="24"/>
                </a:lnTo>
                <a:lnTo>
                  <a:pt x="118" y="29"/>
                </a:lnTo>
                <a:lnTo>
                  <a:pt x="118" y="35"/>
                </a:lnTo>
                <a:lnTo>
                  <a:pt x="119" y="39"/>
                </a:lnTo>
                <a:lnTo>
                  <a:pt x="119" y="44"/>
                </a:lnTo>
                <a:lnTo>
                  <a:pt x="120" y="49"/>
                </a:lnTo>
                <a:lnTo>
                  <a:pt x="121" y="54"/>
                </a:lnTo>
                <a:lnTo>
                  <a:pt x="121" y="59"/>
                </a:lnTo>
                <a:lnTo>
                  <a:pt x="121" y="64"/>
                </a:lnTo>
                <a:lnTo>
                  <a:pt x="119" y="68"/>
                </a:lnTo>
                <a:lnTo>
                  <a:pt x="117" y="68"/>
                </a:lnTo>
                <a:lnTo>
                  <a:pt x="115" y="64"/>
                </a:lnTo>
                <a:lnTo>
                  <a:pt x="114" y="59"/>
                </a:lnTo>
                <a:lnTo>
                  <a:pt x="111" y="59"/>
                </a:lnTo>
                <a:lnTo>
                  <a:pt x="110" y="67"/>
                </a:lnTo>
                <a:lnTo>
                  <a:pt x="110" y="73"/>
                </a:lnTo>
                <a:lnTo>
                  <a:pt x="111" y="76"/>
                </a:lnTo>
                <a:lnTo>
                  <a:pt x="111" y="81"/>
                </a:lnTo>
                <a:lnTo>
                  <a:pt x="110" y="85"/>
                </a:lnTo>
                <a:lnTo>
                  <a:pt x="108" y="87"/>
                </a:lnTo>
                <a:lnTo>
                  <a:pt x="105" y="91"/>
                </a:lnTo>
                <a:lnTo>
                  <a:pt x="104" y="97"/>
                </a:lnTo>
                <a:lnTo>
                  <a:pt x="103" y="101"/>
                </a:lnTo>
                <a:lnTo>
                  <a:pt x="100" y="118"/>
                </a:lnTo>
                <a:lnTo>
                  <a:pt x="95" y="127"/>
                </a:lnTo>
                <a:lnTo>
                  <a:pt x="95" y="127"/>
                </a:lnTo>
                <a:lnTo>
                  <a:pt x="94" y="130"/>
                </a:lnTo>
                <a:lnTo>
                  <a:pt x="89" y="147"/>
                </a:lnTo>
                <a:lnTo>
                  <a:pt x="86" y="156"/>
                </a:lnTo>
                <a:lnTo>
                  <a:pt x="83" y="164"/>
                </a:lnTo>
                <a:lnTo>
                  <a:pt x="79" y="175"/>
                </a:lnTo>
                <a:lnTo>
                  <a:pt x="77" y="180"/>
                </a:lnTo>
                <a:lnTo>
                  <a:pt x="72" y="192"/>
                </a:lnTo>
                <a:lnTo>
                  <a:pt x="70" y="201"/>
                </a:lnTo>
                <a:lnTo>
                  <a:pt x="69" y="207"/>
                </a:lnTo>
                <a:lnTo>
                  <a:pt x="66" y="217"/>
                </a:lnTo>
                <a:lnTo>
                  <a:pt x="63" y="221"/>
                </a:lnTo>
                <a:lnTo>
                  <a:pt x="61" y="226"/>
                </a:lnTo>
                <a:lnTo>
                  <a:pt x="57" y="232"/>
                </a:lnTo>
                <a:lnTo>
                  <a:pt x="54" y="235"/>
                </a:lnTo>
                <a:lnTo>
                  <a:pt x="51" y="236"/>
                </a:lnTo>
                <a:lnTo>
                  <a:pt x="49" y="236"/>
                </a:lnTo>
                <a:lnTo>
                  <a:pt x="40" y="238"/>
                </a:lnTo>
                <a:lnTo>
                  <a:pt x="30" y="243"/>
                </a:lnTo>
                <a:lnTo>
                  <a:pt x="26" y="245"/>
                </a:lnTo>
                <a:lnTo>
                  <a:pt x="21" y="240"/>
                </a:lnTo>
                <a:lnTo>
                  <a:pt x="17" y="237"/>
                </a:lnTo>
                <a:lnTo>
                  <a:pt x="13" y="235"/>
                </a:lnTo>
                <a:lnTo>
                  <a:pt x="10" y="232"/>
                </a:lnTo>
                <a:lnTo>
                  <a:pt x="7" y="226"/>
                </a:lnTo>
                <a:lnTo>
                  <a:pt x="6" y="220"/>
                </a:lnTo>
                <a:lnTo>
                  <a:pt x="5" y="215"/>
                </a:lnTo>
                <a:lnTo>
                  <a:pt x="6" y="210"/>
                </a:lnTo>
                <a:lnTo>
                  <a:pt x="7" y="207"/>
                </a:lnTo>
                <a:lnTo>
                  <a:pt x="6" y="202"/>
                </a:lnTo>
                <a:lnTo>
                  <a:pt x="5" y="198"/>
                </a:lnTo>
                <a:lnTo>
                  <a:pt x="2" y="196"/>
                </a:lnTo>
                <a:lnTo>
                  <a:pt x="0" y="191"/>
                </a:lnTo>
                <a:lnTo>
                  <a:pt x="1" y="187"/>
                </a:lnTo>
                <a:lnTo>
                  <a:pt x="0" y="182"/>
                </a:lnTo>
                <a:lnTo>
                  <a:pt x="1" y="177"/>
                </a:lnTo>
                <a:lnTo>
                  <a:pt x="3" y="174"/>
                </a:lnTo>
                <a:lnTo>
                  <a:pt x="6" y="168"/>
                </a:lnTo>
                <a:lnTo>
                  <a:pt x="8" y="166"/>
                </a:lnTo>
                <a:lnTo>
                  <a:pt x="10" y="165"/>
                </a:lnTo>
                <a:lnTo>
                  <a:pt x="13" y="156"/>
                </a:lnTo>
                <a:lnTo>
                  <a:pt x="19" y="146"/>
                </a:lnTo>
                <a:lnTo>
                  <a:pt x="22" y="142"/>
                </a:lnTo>
                <a:lnTo>
                  <a:pt x="23" y="139"/>
                </a:lnTo>
                <a:lnTo>
                  <a:pt x="23" y="136"/>
                </a:lnTo>
                <a:lnTo>
                  <a:pt x="24" y="135"/>
                </a:lnTo>
                <a:lnTo>
                  <a:pt x="23" y="131"/>
                </a:lnTo>
                <a:lnTo>
                  <a:pt x="21" y="127"/>
                </a:lnTo>
                <a:lnTo>
                  <a:pt x="20" y="120"/>
                </a:lnTo>
                <a:lnTo>
                  <a:pt x="19" y="113"/>
                </a:lnTo>
                <a:lnTo>
                  <a:pt x="20" y="103"/>
                </a:lnTo>
                <a:lnTo>
                  <a:pt x="17" y="98"/>
                </a:lnTo>
                <a:lnTo>
                  <a:pt x="21" y="90"/>
                </a:lnTo>
                <a:lnTo>
                  <a:pt x="26" y="80"/>
                </a:lnTo>
                <a:lnTo>
                  <a:pt x="26" y="7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40" name="Freeform 840"/>
          <p:cNvSpPr>
            <a:spLocks/>
          </p:cNvSpPr>
          <p:nvPr/>
        </p:nvSpPr>
        <p:spPr bwMode="auto">
          <a:xfrm>
            <a:off x="4603750" y="2598703"/>
            <a:ext cx="7937" cy="7938"/>
          </a:xfrm>
          <a:custGeom>
            <a:avLst/>
            <a:gdLst>
              <a:gd name="T0" fmla="*/ 3 w 5"/>
              <a:gd name="T1" fmla="*/ 2 h 5"/>
              <a:gd name="T2" fmla="*/ 2 w 5"/>
              <a:gd name="T3" fmla="*/ 0 h 5"/>
              <a:gd name="T4" fmla="*/ 5 w 5"/>
              <a:gd name="T5" fmla="*/ 3 h 5"/>
              <a:gd name="T6" fmla="*/ 5 w 5"/>
              <a:gd name="T7" fmla="*/ 5 h 5"/>
              <a:gd name="T8" fmla="*/ 1 w 5"/>
              <a:gd name="T9" fmla="*/ 5 h 5"/>
              <a:gd name="T10" fmla="*/ 0 w 5"/>
              <a:gd name="T11" fmla="*/ 3 h 5"/>
              <a:gd name="T12" fmla="*/ 2 w 5"/>
              <a:gd name="T13" fmla="*/ 0 h 5"/>
              <a:gd name="T14" fmla="*/ 3 w 5"/>
              <a:gd name="T15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5">
                <a:moveTo>
                  <a:pt x="3" y="2"/>
                </a:moveTo>
                <a:lnTo>
                  <a:pt x="2" y="0"/>
                </a:lnTo>
                <a:lnTo>
                  <a:pt x="5" y="3"/>
                </a:lnTo>
                <a:lnTo>
                  <a:pt x="5" y="5"/>
                </a:lnTo>
                <a:lnTo>
                  <a:pt x="1" y="5"/>
                </a:lnTo>
                <a:lnTo>
                  <a:pt x="0" y="3"/>
                </a:lnTo>
                <a:lnTo>
                  <a:pt x="2" y="0"/>
                </a:lnTo>
                <a:lnTo>
                  <a:pt x="3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41" name="Freeform 841"/>
          <p:cNvSpPr>
            <a:spLocks/>
          </p:cNvSpPr>
          <p:nvPr/>
        </p:nvSpPr>
        <p:spPr bwMode="auto">
          <a:xfrm>
            <a:off x="4603750" y="2598703"/>
            <a:ext cx="7937" cy="7938"/>
          </a:xfrm>
          <a:custGeom>
            <a:avLst/>
            <a:gdLst>
              <a:gd name="T0" fmla="*/ 3 w 5"/>
              <a:gd name="T1" fmla="*/ 2 h 5"/>
              <a:gd name="T2" fmla="*/ 2 w 5"/>
              <a:gd name="T3" fmla="*/ 0 h 5"/>
              <a:gd name="T4" fmla="*/ 5 w 5"/>
              <a:gd name="T5" fmla="*/ 3 h 5"/>
              <a:gd name="T6" fmla="*/ 5 w 5"/>
              <a:gd name="T7" fmla="*/ 5 h 5"/>
              <a:gd name="T8" fmla="*/ 1 w 5"/>
              <a:gd name="T9" fmla="*/ 5 h 5"/>
              <a:gd name="T10" fmla="*/ 0 w 5"/>
              <a:gd name="T11" fmla="*/ 3 h 5"/>
              <a:gd name="T12" fmla="*/ 2 w 5"/>
              <a:gd name="T13" fmla="*/ 0 h 5"/>
              <a:gd name="T14" fmla="*/ 3 w 5"/>
              <a:gd name="T15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5">
                <a:moveTo>
                  <a:pt x="3" y="2"/>
                </a:moveTo>
                <a:lnTo>
                  <a:pt x="2" y="0"/>
                </a:lnTo>
                <a:lnTo>
                  <a:pt x="5" y="3"/>
                </a:lnTo>
                <a:lnTo>
                  <a:pt x="5" y="5"/>
                </a:lnTo>
                <a:lnTo>
                  <a:pt x="1" y="5"/>
                </a:lnTo>
                <a:lnTo>
                  <a:pt x="0" y="3"/>
                </a:lnTo>
                <a:lnTo>
                  <a:pt x="2" y="0"/>
                </a:lnTo>
                <a:lnTo>
                  <a:pt x="3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42" name="Freeform 842"/>
          <p:cNvSpPr>
            <a:spLocks/>
          </p:cNvSpPr>
          <p:nvPr/>
        </p:nvSpPr>
        <p:spPr bwMode="auto">
          <a:xfrm>
            <a:off x="4519613" y="1392203"/>
            <a:ext cx="176212" cy="73025"/>
          </a:xfrm>
          <a:custGeom>
            <a:avLst/>
            <a:gdLst>
              <a:gd name="T0" fmla="*/ 48 w 111"/>
              <a:gd name="T1" fmla="*/ 9 h 46"/>
              <a:gd name="T2" fmla="*/ 53 w 111"/>
              <a:gd name="T3" fmla="*/ 12 h 46"/>
              <a:gd name="T4" fmla="*/ 52 w 111"/>
              <a:gd name="T5" fmla="*/ 9 h 46"/>
              <a:gd name="T6" fmla="*/ 50 w 111"/>
              <a:gd name="T7" fmla="*/ 3 h 46"/>
              <a:gd name="T8" fmla="*/ 53 w 111"/>
              <a:gd name="T9" fmla="*/ 0 h 46"/>
              <a:gd name="T10" fmla="*/ 61 w 111"/>
              <a:gd name="T11" fmla="*/ 1 h 46"/>
              <a:gd name="T12" fmla="*/ 69 w 111"/>
              <a:gd name="T13" fmla="*/ 7 h 46"/>
              <a:gd name="T14" fmla="*/ 74 w 111"/>
              <a:gd name="T15" fmla="*/ 8 h 46"/>
              <a:gd name="T16" fmla="*/ 81 w 111"/>
              <a:gd name="T17" fmla="*/ 8 h 46"/>
              <a:gd name="T18" fmla="*/ 90 w 111"/>
              <a:gd name="T19" fmla="*/ 11 h 46"/>
              <a:gd name="T20" fmla="*/ 111 w 111"/>
              <a:gd name="T21" fmla="*/ 16 h 46"/>
              <a:gd name="T22" fmla="*/ 99 w 111"/>
              <a:gd name="T23" fmla="*/ 18 h 46"/>
              <a:gd name="T24" fmla="*/ 88 w 111"/>
              <a:gd name="T25" fmla="*/ 21 h 46"/>
              <a:gd name="T26" fmla="*/ 88 w 111"/>
              <a:gd name="T27" fmla="*/ 26 h 46"/>
              <a:gd name="T28" fmla="*/ 83 w 111"/>
              <a:gd name="T29" fmla="*/ 28 h 46"/>
              <a:gd name="T30" fmla="*/ 83 w 111"/>
              <a:gd name="T31" fmla="*/ 32 h 46"/>
              <a:gd name="T32" fmla="*/ 78 w 111"/>
              <a:gd name="T33" fmla="*/ 35 h 46"/>
              <a:gd name="T34" fmla="*/ 74 w 111"/>
              <a:gd name="T35" fmla="*/ 40 h 46"/>
              <a:gd name="T36" fmla="*/ 72 w 111"/>
              <a:gd name="T37" fmla="*/ 43 h 46"/>
              <a:gd name="T38" fmla="*/ 65 w 111"/>
              <a:gd name="T39" fmla="*/ 46 h 46"/>
              <a:gd name="T40" fmla="*/ 63 w 111"/>
              <a:gd name="T41" fmla="*/ 41 h 46"/>
              <a:gd name="T42" fmla="*/ 56 w 111"/>
              <a:gd name="T43" fmla="*/ 40 h 46"/>
              <a:gd name="T44" fmla="*/ 41 w 111"/>
              <a:gd name="T45" fmla="*/ 37 h 46"/>
              <a:gd name="T46" fmla="*/ 45 w 111"/>
              <a:gd name="T47" fmla="*/ 33 h 46"/>
              <a:gd name="T48" fmla="*/ 59 w 111"/>
              <a:gd name="T49" fmla="*/ 33 h 46"/>
              <a:gd name="T50" fmla="*/ 58 w 111"/>
              <a:gd name="T51" fmla="*/ 30 h 46"/>
              <a:gd name="T52" fmla="*/ 68 w 111"/>
              <a:gd name="T53" fmla="*/ 29 h 46"/>
              <a:gd name="T54" fmla="*/ 61 w 111"/>
              <a:gd name="T55" fmla="*/ 29 h 46"/>
              <a:gd name="T56" fmla="*/ 46 w 111"/>
              <a:gd name="T57" fmla="*/ 30 h 46"/>
              <a:gd name="T58" fmla="*/ 39 w 111"/>
              <a:gd name="T59" fmla="*/ 30 h 46"/>
              <a:gd name="T60" fmla="*/ 36 w 111"/>
              <a:gd name="T61" fmla="*/ 26 h 46"/>
              <a:gd name="T62" fmla="*/ 45 w 111"/>
              <a:gd name="T63" fmla="*/ 26 h 46"/>
              <a:gd name="T64" fmla="*/ 53 w 111"/>
              <a:gd name="T65" fmla="*/ 23 h 46"/>
              <a:gd name="T66" fmla="*/ 66 w 111"/>
              <a:gd name="T67" fmla="*/ 21 h 46"/>
              <a:gd name="T68" fmla="*/ 62 w 111"/>
              <a:gd name="T69" fmla="*/ 21 h 46"/>
              <a:gd name="T70" fmla="*/ 63 w 111"/>
              <a:gd name="T71" fmla="*/ 18 h 46"/>
              <a:gd name="T72" fmla="*/ 58 w 111"/>
              <a:gd name="T73" fmla="*/ 20 h 46"/>
              <a:gd name="T74" fmla="*/ 50 w 111"/>
              <a:gd name="T75" fmla="*/ 16 h 46"/>
              <a:gd name="T76" fmla="*/ 44 w 111"/>
              <a:gd name="T77" fmla="*/ 17 h 46"/>
              <a:gd name="T78" fmla="*/ 42 w 111"/>
              <a:gd name="T79" fmla="*/ 21 h 46"/>
              <a:gd name="T80" fmla="*/ 35 w 111"/>
              <a:gd name="T81" fmla="*/ 23 h 46"/>
              <a:gd name="T82" fmla="*/ 25 w 111"/>
              <a:gd name="T83" fmla="*/ 23 h 46"/>
              <a:gd name="T84" fmla="*/ 25 w 111"/>
              <a:gd name="T85" fmla="*/ 20 h 46"/>
              <a:gd name="T86" fmla="*/ 14 w 111"/>
              <a:gd name="T87" fmla="*/ 18 h 46"/>
              <a:gd name="T88" fmla="*/ 10 w 111"/>
              <a:gd name="T89" fmla="*/ 13 h 46"/>
              <a:gd name="T90" fmla="*/ 11 w 111"/>
              <a:gd name="T91" fmla="*/ 12 h 46"/>
              <a:gd name="T92" fmla="*/ 12 w 111"/>
              <a:gd name="T93" fmla="*/ 10 h 46"/>
              <a:gd name="T94" fmla="*/ 5 w 111"/>
              <a:gd name="T95" fmla="*/ 12 h 46"/>
              <a:gd name="T96" fmla="*/ 2 w 111"/>
              <a:gd name="T97" fmla="*/ 9 h 46"/>
              <a:gd name="T98" fmla="*/ 3 w 111"/>
              <a:gd name="T99" fmla="*/ 6 h 46"/>
              <a:gd name="T100" fmla="*/ 4 w 111"/>
              <a:gd name="T101" fmla="*/ 5 h 46"/>
              <a:gd name="T102" fmla="*/ 13 w 111"/>
              <a:gd name="T103" fmla="*/ 5 h 46"/>
              <a:gd name="T104" fmla="*/ 18 w 111"/>
              <a:gd name="T105" fmla="*/ 3 h 46"/>
              <a:gd name="T106" fmla="*/ 28 w 111"/>
              <a:gd name="T107" fmla="*/ 5 h 46"/>
              <a:gd name="T108" fmla="*/ 19 w 111"/>
              <a:gd name="T109" fmla="*/ 7 h 46"/>
              <a:gd name="T110" fmla="*/ 28 w 111"/>
              <a:gd name="T111" fmla="*/ 8 h 46"/>
              <a:gd name="T112" fmla="*/ 34 w 111"/>
              <a:gd name="T113" fmla="*/ 9 h 46"/>
              <a:gd name="T114" fmla="*/ 35 w 111"/>
              <a:gd name="T115" fmla="*/ 3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11" h="46">
                <a:moveTo>
                  <a:pt x="40" y="3"/>
                </a:moveTo>
                <a:lnTo>
                  <a:pt x="43" y="3"/>
                </a:lnTo>
                <a:lnTo>
                  <a:pt x="43" y="5"/>
                </a:lnTo>
                <a:lnTo>
                  <a:pt x="44" y="5"/>
                </a:lnTo>
                <a:lnTo>
                  <a:pt x="45" y="6"/>
                </a:lnTo>
                <a:lnTo>
                  <a:pt x="46" y="7"/>
                </a:lnTo>
                <a:lnTo>
                  <a:pt x="48" y="8"/>
                </a:lnTo>
                <a:lnTo>
                  <a:pt x="48" y="9"/>
                </a:lnTo>
                <a:lnTo>
                  <a:pt x="49" y="9"/>
                </a:lnTo>
                <a:lnTo>
                  <a:pt x="49" y="11"/>
                </a:lnTo>
                <a:lnTo>
                  <a:pt x="49" y="11"/>
                </a:lnTo>
                <a:lnTo>
                  <a:pt x="49" y="11"/>
                </a:lnTo>
                <a:lnTo>
                  <a:pt x="49" y="11"/>
                </a:lnTo>
                <a:lnTo>
                  <a:pt x="49" y="11"/>
                </a:lnTo>
                <a:lnTo>
                  <a:pt x="51" y="11"/>
                </a:lnTo>
                <a:lnTo>
                  <a:pt x="53" y="12"/>
                </a:lnTo>
                <a:lnTo>
                  <a:pt x="55" y="13"/>
                </a:lnTo>
                <a:lnTo>
                  <a:pt x="58" y="15"/>
                </a:lnTo>
                <a:lnTo>
                  <a:pt x="60" y="15"/>
                </a:lnTo>
                <a:lnTo>
                  <a:pt x="60" y="15"/>
                </a:lnTo>
                <a:lnTo>
                  <a:pt x="54" y="11"/>
                </a:lnTo>
                <a:lnTo>
                  <a:pt x="54" y="10"/>
                </a:lnTo>
                <a:lnTo>
                  <a:pt x="53" y="10"/>
                </a:lnTo>
                <a:lnTo>
                  <a:pt x="52" y="9"/>
                </a:lnTo>
                <a:lnTo>
                  <a:pt x="52" y="8"/>
                </a:lnTo>
                <a:lnTo>
                  <a:pt x="52" y="6"/>
                </a:lnTo>
                <a:lnTo>
                  <a:pt x="51" y="6"/>
                </a:lnTo>
                <a:lnTo>
                  <a:pt x="51" y="5"/>
                </a:lnTo>
                <a:lnTo>
                  <a:pt x="51" y="5"/>
                </a:lnTo>
                <a:lnTo>
                  <a:pt x="50" y="5"/>
                </a:lnTo>
                <a:lnTo>
                  <a:pt x="50" y="3"/>
                </a:lnTo>
                <a:lnTo>
                  <a:pt x="50" y="3"/>
                </a:lnTo>
                <a:lnTo>
                  <a:pt x="50" y="2"/>
                </a:lnTo>
                <a:lnTo>
                  <a:pt x="50" y="2"/>
                </a:lnTo>
                <a:lnTo>
                  <a:pt x="53" y="2"/>
                </a:lnTo>
                <a:lnTo>
                  <a:pt x="52" y="1"/>
                </a:lnTo>
                <a:lnTo>
                  <a:pt x="52" y="1"/>
                </a:lnTo>
                <a:lnTo>
                  <a:pt x="52" y="0"/>
                </a:lnTo>
                <a:lnTo>
                  <a:pt x="53" y="0"/>
                </a:lnTo>
                <a:lnTo>
                  <a:pt x="53" y="0"/>
                </a:lnTo>
                <a:lnTo>
                  <a:pt x="55" y="0"/>
                </a:lnTo>
                <a:lnTo>
                  <a:pt x="58" y="0"/>
                </a:lnTo>
                <a:lnTo>
                  <a:pt x="58" y="1"/>
                </a:lnTo>
                <a:lnTo>
                  <a:pt x="59" y="2"/>
                </a:lnTo>
                <a:lnTo>
                  <a:pt x="59" y="2"/>
                </a:lnTo>
                <a:lnTo>
                  <a:pt x="61" y="2"/>
                </a:lnTo>
                <a:lnTo>
                  <a:pt x="61" y="2"/>
                </a:lnTo>
                <a:lnTo>
                  <a:pt x="61" y="1"/>
                </a:lnTo>
                <a:lnTo>
                  <a:pt x="63" y="1"/>
                </a:lnTo>
                <a:lnTo>
                  <a:pt x="70" y="2"/>
                </a:lnTo>
                <a:lnTo>
                  <a:pt x="72" y="3"/>
                </a:lnTo>
                <a:lnTo>
                  <a:pt x="72" y="5"/>
                </a:lnTo>
                <a:lnTo>
                  <a:pt x="71" y="5"/>
                </a:lnTo>
                <a:lnTo>
                  <a:pt x="70" y="6"/>
                </a:lnTo>
                <a:lnTo>
                  <a:pt x="69" y="7"/>
                </a:lnTo>
                <a:lnTo>
                  <a:pt x="69" y="7"/>
                </a:lnTo>
                <a:lnTo>
                  <a:pt x="70" y="7"/>
                </a:lnTo>
                <a:lnTo>
                  <a:pt x="70" y="7"/>
                </a:lnTo>
                <a:lnTo>
                  <a:pt x="71" y="8"/>
                </a:lnTo>
                <a:lnTo>
                  <a:pt x="70" y="8"/>
                </a:lnTo>
                <a:lnTo>
                  <a:pt x="70" y="9"/>
                </a:lnTo>
                <a:lnTo>
                  <a:pt x="70" y="9"/>
                </a:lnTo>
                <a:lnTo>
                  <a:pt x="72" y="8"/>
                </a:lnTo>
                <a:lnTo>
                  <a:pt x="74" y="8"/>
                </a:lnTo>
                <a:lnTo>
                  <a:pt x="73" y="7"/>
                </a:lnTo>
                <a:lnTo>
                  <a:pt x="73" y="7"/>
                </a:lnTo>
                <a:lnTo>
                  <a:pt x="74" y="6"/>
                </a:lnTo>
                <a:lnTo>
                  <a:pt x="75" y="6"/>
                </a:lnTo>
                <a:lnTo>
                  <a:pt x="76" y="6"/>
                </a:lnTo>
                <a:lnTo>
                  <a:pt x="78" y="6"/>
                </a:lnTo>
                <a:lnTo>
                  <a:pt x="80" y="7"/>
                </a:lnTo>
                <a:lnTo>
                  <a:pt x="81" y="8"/>
                </a:lnTo>
                <a:lnTo>
                  <a:pt x="82" y="8"/>
                </a:lnTo>
                <a:lnTo>
                  <a:pt x="82" y="9"/>
                </a:lnTo>
                <a:lnTo>
                  <a:pt x="82" y="9"/>
                </a:lnTo>
                <a:lnTo>
                  <a:pt x="82" y="9"/>
                </a:lnTo>
                <a:lnTo>
                  <a:pt x="82" y="10"/>
                </a:lnTo>
                <a:lnTo>
                  <a:pt x="82" y="11"/>
                </a:lnTo>
                <a:lnTo>
                  <a:pt x="89" y="11"/>
                </a:lnTo>
                <a:lnTo>
                  <a:pt x="90" y="11"/>
                </a:lnTo>
                <a:lnTo>
                  <a:pt x="91" y="11"/>
                </a:lnTo>
                <a:lnTo>
                  <a:pt x="92" y="12"/>
                </a:lnTo>
                <a:lnTo>
                  <a:pt x="94" y="13"/>
                </a:lnTo>
                <a:lnTo>
                  <a:pt x="97" y="13"/>
                </a:lnTo>
                <a:lnTo>
                  <a:pt x="100" y="15"/>
                </a:lnTo>
                <a:lnTo>
                  <a:pt x="106" y="15"/>
                </a:lnTo>
                <a:lnTo>
                  <a:pt x="110" y="15"/>
                </a:lnTo>
                <a:lnTo>
                  <a:pt x="111" y="16"/>
                </a:lnTo>
                <a:lnTo>
                  <a:pt x="111" y="16"/>
                </a:lnTo>
                <a:lnTo>
                  <a:pt x="111" y="17"/>
                </a:lnTo>
                <a:lnTo>
                  <a:pt x="110" y="18"/>
                </a:lnTo>
                <a:lnTo>
                  <a:pt x="110" y="18"/>
                </a:lnTo>
                <a:lnTo>
                  <a:pt x="107" y="18"/>
                </a:lnTo>
                <a:lnTo>
                  <a:pt x="104" y="18"/>
                </a:lnTo>
                <a:lnTo>
                  <a:pt x="101" y="18"/>
                </a:lnTo>
                <a:lnTo>
                  <a:pt x="99" y="18"/>
                </a:lnTo>
                <a:lnTo>
                  <a:pt x="96" y="19"/>
                </a:lnTo>
                <a:lnTo>
                  <a:pt x="94" y="19"/>
                </a:lnTo>
                <a:lnTo>
                  <a:pt x="92" y="19"/>
                </a:lnTo>
                <a:lnTo>
                  <a:pt x="93" y="19"/>
                </a:lnTo>
                <a:lnTo>
                  <a:pt x="92" y="20"/>
                </a:lnTo>
                <a:lnTo>
                  <a:pt x="91" y="20"/>
                </a:lnTo>
                <a:lnTo>
                  <a:pt x="90" y="21"/>
                </a:lnTo>
                <a:lnTo>
                  <a:pt x="88" y="21"/>
                </a:lnTo>
                <a:lnTo>
                  <a:pt x="88" y="21"/>
                </a:lnTo>
                <a:lnTo>
                  <a:pt x="88" y="22"/>
                </a:lnTo>
                <a:lnTo>
                  <a:pt x="88" y="22"/>
                </a:lnTo>
                <a:lnTo>
                  <a:pt x="89" y="23"/>
                </a:lnTo>
                <a:lnTo>
                  <a:pt x="88" y="23"/>
                </a:lnTo>
                <a:lnTo>
                  <a:pt x="89" y="23"/>
                </a:lnTo>
                <a:lnTo>
                  <a:pt x="88" y="25"/>
                </a:lnTo>
                <a:lnTo>
                  <a:pt x="88" y="26"/>
                </a:lnTo>
                <a:lnTo>
                  <a:pt x="89" y="26"/>
                </a:lnTo>
                <a:lnTo>
                  <a:pt x="89" y="27"/>
                </a:lnTo>
                <a:lnTo>
                  <a:pt x="88" y="27"/>
                </a:lnTo>
                <a:lnTo>
                  <a:pt x="85" y="26"/>
                </a:lnTo>
                <a:lnTo>
                  <a:pt x="82" y="27"/>
                </a:lnTo>
                <a:lnTo>
                  <a:pt x="83" y="27"/>
                </a:lnTo>
                <a:lnTo>
                  <a:pt x="83" y="27"/>
                </a:lnTo>
                <a:lnTo>
                  <a:pt x="83" y="28"/>
                </a:lnTo>
                <a:lnTo>
                  <a:pt x="83" y="29"/>
                </a:lnTo>
                <a:lnTo>
                  <a:pt x="84" y="29"/>
                </a:lnTo>
                <a:lnTo>
                  <a:pt x="83" y="30"/>
                </a:lnTo>
                <a:lnTo>
                  <a:pt x="83" y="31"/>
                </a:lnTo>
                <a:lnTo>
                  <a:pt x="83" y="31"/>
                </a:lnTo>
                <a:lnTo>
                  <a:pt x="83" y="31"/>
                </a:lnTo>
                <a:lnTo>
                  <a:pt x="83" y="32"/>
                </a:lnTo>
                <a:lnTo>
                  <a:pt x="83" y="32"/>
                </a:lnTo>
                <a:lnTo>
                  <a:pt x="83" y="32"/>
                </a:lnTo>
                <a:lnTo>
                  <a:pt x="82" y="33"/>
                </a:lnTo>
                <a:lnTo>
                  <a:pt x="83" y="33"/>
                </a:lnTo>
                <a:lnTo>
                  <a:pt x="82" y="33"/>
                </a:lnTo>
                <a:lnTo>
                  <a:pt x="81" y="33"/>
                </a:lnTo>
                <a:lnTo>
                  <a:pt x="75" y="35"/>
                </a:lnTo>
                <a:lnTo>
                  <a:pt x="75" y="35"/>
                </a:lnTo>
                <a:lnTo>
                  <a:pt x="78" y="35"/>
                </a:lnTo>
                <a:lnTo>
                  <a:pt x="79" y="35"/>
                </a:lnTo>
                <a:lnTo>
                  <a:pt x="76" y="35"/>
                </a:lnTo>
                <a:lnTo>
                  <a:pt x="74" y="36"/>
                </a:lnTo>
                <a:lnTo>
                  <a:pt x="74" y="37"/>
                </a:lnTo>
                <a:lnTo>
                  <a:pt x="74" y="38"/>
                </a:lnTo>
                <a:lnTo>
                  <a:pt x="74" y="38"/>
                </a:lnTo>
                <a:lnTo>
                  <a:pt x="74" y="39"/>
                </a:lnTo>
                <a:lnTo>
                  <a:pt x="74" y="40"/>
                </a:lnTo>
                <a:lnTo>
                  <a:pt x="74" y="40"/>
                </a:lnTo>
                <a:lnTo>
                  <a:pt x="74" y="40"/>
                </a:lnTo>
                <a:lnTo>
                  <a:pt x="74" y="41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3"/>
                </a:lnTo>
                <a:lnTo>
                  <a:pt x="72" y="43"/>
                </a:lnTo>
                <a:lnTo>
                  <a:pt x="73" y="45"/>
                </a:lnTo>
                <a:lnTo>
                  <a:pt x="72" y="45"/>
                </a:lnTo>
                <a:lnTo>
                  <a:pt x="72" y="46"/>
                </a:lnTo>
                <a:lnTo>
                  <a:pt x="70" y="46"/>
                </a:lnTo>
                <a:lnTo>
                  <a:pt x="69" y="46"/>
                </a:lnTo>
                <a:lnTo>
                  <a:pt x="68" y="46"/>
                </a:lnTo>
                <a:lnTo>
                  <a:pt x="68" y="46"/>
                </a:lnTo>
                <a:lnTo>
                  <a:pt x="65" y="46"/>
                </a:lnTo>
                <a:lnTo>
                  <a:pt x="65" y="46"/>
                </a:lnTo>
                <a:lnTo>
                  <a:pt x="64" y="45"/>
                </a:lnTo>
                <a:lnTo>
                  <a:pt x="64" y="45"/>
                </a:lnTo>
                <a:lnTo>
                  <a:pt x="56" y="42"/>
                </a:lnTo>
                <a:lnTo>
                  <a:pt x="56" y="41"/>
                </a:lnTo>
                <a:lnTo>
                  <a:pt x="60" y="41"/>
                </a:lnTo>
                <a:lnTo>
                  <a:pt x="62" y="41"/>
                </a:lnTo>
                <a:lnTo>
                  <a:pt x="63" y="41"/>
                </a:lnTo>
                <a:lnTo>
                  <a:pt x="64" y="40"/>
                </a:lnTo>
                <a:lnTo>
                  <a:pt x="64" y="40"/>
                </a:lnTo>
                <a:lnTo>
                  <a:pt x="63" y="40"/>
                </a:lnTo>
                <a:lnTo>
                  <a:pt x="62" y="40"/>
                </a:lnTo>
                <a:lnTo>
                  <a:pt x="59" y="40"/>
                </a:lnTo>
                <a:lnTo>
                  <a:pt x="59" y="40"/>
                </a:lnTo>
                <a:lnTo>
                  <a:pt x="58" y="40"/>
                </a:lnTo>
                <a:lnTo>
                  <a:pt x="56" y="40"/>
                </a:lnTo>
                <a:lnTo>
                  <a:pt x="53" y="40"/>
                </a:lnTo>
                <a:lnTo>
                  <a:pt x="52" y="40"/>
                </a:lnTo>
                <a:lnTo>
                  <a:pt x="52" y="39"/>
                </a:lnTo>
                <a:lnTo>
                  <a:pt x="50" y="39"/>
                </a:lnTo>
                <a:lnTo>
                  <a:pt x="49" y="39"/>
                </a:lnTo>
                <a:lnTo>
                  <a:pt x="43" y="38"/>
                </a:lnTo>
                <a:lnTo>
                  <a:pt x="42" y="37"/>
                </a:lnTo>
                <a:lnTo>
                  <a:pt x="41" y="37"/>
                </a:lnTo>
                <a:lnTo>
                  <a:pt x="40" y="36"/>
                </a:lnTo>
                <a:lnTo>
                  <a:pt x="39" y="35"/>
                </a:lnTo>
                <a:lnTo>
                  <a:pt x="39" y="35"/>
                </a:lnTo>
                <a:lnTo>
                  <a:pt x="39" y="33"/>
                </a:lnTo>
                <a:lnTo>
                  <a:pt x="41" y="32"/>
                </a:lnTo>
                <a:lnTo>
                  <a:pt x="43" y="32"/>
                </a:lnTo>
                <a:lnTo>
                  <a:pt x="44" y="33"/>
                </a:lnTo>
                <a:lnTo>
                  <a:pt x="45" y="33"/>
                </a:lnTo>
                <a:lnTo>
                  <a:pt x="46" y="33"/>
                </a:lnTo>
                <a:lnTo>
                  <a:pt x="46" y="32"/>
                </a:lnTo>
                <a:lnTo>
                  <a:pt x="48" y="32"/>
                </a:lnTo>
                <a:lnTo>
                  <a:pt x="50" y="33"/>
                </a:lnTo>
                <a:lnTo>
                  <a:pt x="52" y="32"/>
                </a:lnTo>
                <a:lnTo>
                  <a:pt x="53" y="33"/>
                </a:lnTo>
                <a:lnTo>
                  <a:pt x="59" y="33"/>
                </a:lnTo>
                <a:lnTo>
                  <a:pt x="59" y="33"/>
                </a:lnTo>
                <a:lnTo>
                  <a:pt x="58" y="32"/>
                </a:lnTo>
                <a:lnTo>
                  <a:pt x="49" y="32"/>
                </a:lnTo>
                <a:lnTo>
                  <a:pt x="46" y="31"/>
                </a:lnTo>
                <a:lnTo>
                  <a:pt x="46" y="31"/>
                </a:lnTo>
                <a:lnTo>
                  <a:pt x="48" y="31"/>
                </a:lnTo>
                <a:lnTo>
                  <a:pt x="54" y="30"/>
                </a:lnTo>
                <a:lnTo>
                  <a:pt x="56" y="30"/>
                </a:lnTo>
                <a:lnTo>
                  <a:pt x="58" y="30"/>
                </a:lnTo>
                <a:lnTo>
                  <a:pt x="59" y="30"/>
                </a:lnTo>
                <a:lnTo>
                  <a:pt x="59" y="30"/>
                </a:lnTo>
                <a:lnTo>
                  <a:pt x="61" y="30"/>
                </a:lnTo>
                <a:lnTo>
                  <a:pt x="62" y="29"/>
                </a:lnTo>
                <a:lnTo>
                  <a:pt x="63" y="30"/>
                </a:lnTo>
                <a:lnTo>
                  <a:pt x="64" y="29"/>
                </a:lnTo>
                <a:lnTo>
                  <a:pt x="66" y="30"/>
                </a:lnTo>
                <a:lnTo>
                  <a:pt x="68" y="29"/>
                </a:lnTo>
                <a:lnTo>
                  <a:pt x="68" y="29"/>
                </a:lnTo>
                <a:lnTo>
                  <a:pt x="66" y="28"/>
                </a:lnTo>
                <a:lnTo>
                  <a:pt x="66" y="28"/>
                </a:lnTo>
                <a:lnTo>
                  <a:pt x="66" y="28"/>
                </a:lnTo>
                <a:lnTo>
                  <a:pt x="64" y="28"/>
                </a:lnTo>
                <a:lnTo>
                  <a:pt x="64" y="29"/>
                </a:lnTo>
                <a:lnTo>
                  <a:pt x="62" y="29"/>
                </a:lnTo>
                <a:lnTo>
                  <a:pt x="61" y="29"/>
                </a:lnTo>
                <a:lnTo>
                  <a:pt x="56" y="29"/>
                </a:lnTo>
                <a:lnTo>
                  <a:pt x="55" y="29"/>
                </a:lnTo>
                <a:lnTo>
                  <a:pt x="53" y="29"/>
                </a:lnTo>
                <a:lnTo>
                  <a:pt x="52" y="29"/>
                </a:lnTo>
                <a:lnTo>
                  <a:pt x="50" y="29"/>
                </a:lnTo>
                <a:lnTo>
                  <a:pt x="48" y="30"/>
                </a:lnTo>
                <a:lnTo>
                  <a:pt x="46" y="29"/>
                </a:lnTo>
                <a:lnTo>
                  <a:pt x="46" y="30"/>
                </a:lnTo>
                <a:lnTo>
                  <a:pt x="45" y="30"/>
                </a:lnTo>
                <a:lnTo>
                  <a:pt x="44" y="30"/>
                </a:lnTo>
                <a:lnTo>
                  <a:pt x="44" y="30"/>
                </a:lnTo>
                <a:lnTo>
                  <a:pt x="44" y="30"/>
                </a:lnTo>
                <a:lnTo>
                  <a:pt x="42" y="30"/>
                </a:lnTo>
                <a:lnTo>
                  <a:pt x="41" y="30"/>
                </a:lnTo>
                <a:lnTo>
                  <a:pt x="40" y="30"/>
                </a:lnTo>
                <a:lnTo>
                  <a:pt x="39" y="30"/>
                </a:lnTo>
                <a:lnTo>
                  <a:pt x="36" y="30"/>
                </a:lnTo>
                <a:lnTo>
                  <a:pt x="35" y="30"/>
                </a:lnTo>
                <a:lnTo>
                  <a:pt x="35" y="30"/>
                </a:lnTo>
                <a:lnTo>
                  <a:pt x="35" y="29"/>
                </a:lnTo>
                <a:lnTo>
                  <a:pt x="34" y="28"/>
                </a:lnTo>
                <a:lnTo>
                  <a:pt x="33" y="27"/>
                </a:lnTo>
                <a:lnTo>
                  <a:pt x="34" y="26"/>
                </a:lnTo>
                <a:lnTo>
                  <a:pt x="36" y="26"/>
                </a:lnTo>
                <a:lnTo>
                  <a:pt x="38" y="27"/>
                </a:lnTo>
                <a:lnTo>
                  <a:pt x="38" y="27"/>
                </a:lnTo>
                <a:lnTo>
                  <a:pt x="40" y="27"/>
                </a:lnTo>
                <a:lnTo>
                  <a:pt x="40" y="27"/>
                </a:lnTo>
                <a:lnTo>
                  <a:pt x="39" y="26"/>
                </a:lnTo>
                <a:lnTo>
                  <a:pt x="39" y="26"/>
                </a:lnTo>
                <a:lnTo>
                  <a:pt x="44" y="26"/>
                </a:lnTo>
                <a:lnTo>
                  <a:pt x="45" y="26"/>
                </a:lnTo>
                <a:lnTo>
                  <a:pt x="48" y="26"/>
                </a:lnTo>
                <a:lnTo>
                  <a:pt x="48" y="25"/>
                </a:lnTo>
                <a:lnTo>
                  <a:pt x="48" y="25"/>
                </a:lnTo>
                <a:lnTo>
                  <a:pt x="49" y="25"/>
                </a:lnTo>
                <a:lnTo>
                  <a:pt x="50" y="23"/>
                </a:lnTo>
                <a:lnTo>
                  <a:pt x="50" y="23"/>
                </a:lnTo>
                <a:lnTo>
                  <a:pt x="52" y="23"/>
                </a:lnTo>
                <a:lnTo>
                  <a:pt x="53" y="23"/>
                </a:lnTo>
                <a:lnTo>
                  <a:pt x="53" y="23"/>
                </a:lnTo>
                <a:lnTo>
                  <a:pt x="52" y="22"/>
                </a:lnTo>
                <a:lnTo>
                  <a:pt x="55" y="22"/>
                </a:lnTo>
                <a:lnTo>
                  <a:pt x="60" y="22"/>
                </a:lnTo>
                <a:lnTo>
                  <a:pt x="61" y="22"/>
                </a:lnTo>
                <a:lnTo>
                  <a:pt x="64" y="22"/>
                </a:lnTo>
                <a:lnTo>
                  <a:pt x="65" y="22"/>
                </a:lnTo>
                <a:lnTo>
                  <a:pt x="66" y="21"/>
                </a:lnTo>
                <a:lnTo>
                  <a:pt x="68" y="21"/>
                </a:lnTo>
                <a:lnTo>
                  <a:pt x="70" y="21"/>
                </a:lnTo>
                <a:lnTo>
                  <a:pt x="71" y="21"/>
                </a:lnTo>
                <a:lnTo>
                  <a:pt x="70" y="21"/>
                </a:lnTo>
                <a:lnTo>
                  <a:pt x="65" y="21"/>
                </a:lnTo>
                <a:lnTo>
                  <a:pt x="64" y="21"/>
                </a:lnTo>
                <a:lnTo>
                  <a:pt x="62" y="20"/>
                </a:lnTo>
                <a:lnTo>
                  <a:pt x="62" y="21"/>
                </a:lnTo>
                <a:lnTo>
                  <a:pt x="61" y="21"/>
                </a:lnTo>
                <a:lnTo>
                  <a:pt x="60" y="20"/>
                </a:lnTo>
                <a:lnTo>
                  <a:pt x="60" y="20"/>
                </a:lnTo>
                <a:lnTo>
                  <a:pt x="61" y="20"/>
                </a:lnTo>
                <a:lnTo>
                  <a:pt x="61" y="19"/>
                </a:lnTo>
                <a:lnTo>
                  <a:pt x="62" y="19"/>
                </a:lnTo>
                <a:lnTo>
                  <a:pt x="64" y="18"/>
                </a:lnTo>
                <a:lnTo>
                  <a:pt x="63" y="18"/>
                </a:lnTo>
                <a:lnTo>
                  <a:pt x="62" y="17"/>
                </a:lnTo>
                <a:lnTo>
                  <a:pt x="62" y="17"/>
                </a:lnTo>
                <a:lnTo>
                  <a:pt x="61" y="17"/>
                </a:lnTo>
                <a:lnTo>
                  <a:pt x="60" y="18"/>
                </a:lnTo>
                <a:lnTo>
                  <a:pt x="60" y="18"/>
                </a:lnTo>
                <a:lnTo>
                  <a:pt x="60" y="19"/>
                </a:lnTo>
                <a:lnTo>
                  <a:pt x="59" y="19"/>
                </a:lnTo>
                <a:lnTo>
                  <a:pt x="58" y="20"/>
                </a:lnTo>
                <a:lnTo>
                  <a:pt x="56" y="20"/>
                </a:lnTo>
                <a:lnTo>
                  <a:pt x="52" y="21"/>
                </a:lnTo>
                <a:lnTo>
                  <a:pt x="51" y="20"/>
                </a:lnTo>
                <a:lnTo>
                  <a:pt x="50" y="20"/>
                </a:lnTo>
                <a:lnTo>
                  <a:pt x="49" y="19"/>
                </a:lnTo>
                <a:lnTo>
                  <a:pt x="51" y="17"/>
                </a:lnTo>
                <a:lnTo>
                  <a:pt x="51" y="17"/>
                </a:lnTo>
                <a:lnTo>
                  <a:pt x="50" y="16"/>
                </a:lnTo>
                <a:lnTo>
                  <a:pt x="48" y="17"/>
                </a:lnTo>
                <a:lnTo>
                  <a:pt x="48" y="17"/>
                </a:lnTo>
                <a:lnTo>
                  <a:pt x="48" y="18"/>
                </a:lnTo>
                <a:lnTo>
                  <a:pt x="46" y="19"/>
                </a:lnTo>
                <a:lnTo>
                  <a:pt x="45" y="19"/>
                </a:lnTo>
                <a:lnTo>
                  <a:pt x="44" y="18"/>
                </a:lnTo>
                <a:lnTo>
                  <a:pt x="44" y="18"/>
                </a:lnTo>
                <a:lnTo>
                  <a:pt x="44" y="17"/>
                </a:lnTo>
                <a:lnTo>
                  <a:pt x="43" y="17"/>
                </a:lnTo>
                <a:lnTo>
                  <a:pt x="42" y="17"/>
                </a:lnTo>
                <a:lnTo>
                  <a:pt x="41" y="18"/>
                </a:lnTo>
                <a:lnTo>
                  <a:pt x="41" y="19"/>
                </a:lnTo>
                <a:lnTo>
                  <a:pt x="41" y="20"/>
                </a:lnTo>
                <a:lnTo>
                  <a:pt x="40" y="20"/>
                </a:lnTo>
                <a:lnTo>
                  <a:pt x="41" y="20"/>
                </a:lnTo>
                <a:lnTo>
                  <a:pt x="42" y="21"/>
                </a:lnTo>
                <a:lnTo>
                  <a:pt x="43" y="21"/>
                </a:lnTo>
                <a:lnTo>
                  <a:pt x="42" y="22"/>
                </a:lnTo>
                <a:lnTo>
                  <a:pt x="41" y="21"/>
                </a:lnTo>
                <a:lnTo>
                  <a:pt x="39" y="21"/>
                </a:lnTo>
                <a:lnTo>
                  <a:pt x="38" y="22"/>
                </a:lnTo>
                <a:lnTo>
                  <a:pt x="38" y="22"/>
                </a:lnTo>
                <a:lnTo>
                  <a:pt x="38" y="23"/>
                </a:lnTo>
                <a:lnTo>
                  <a:pt x="35" y="23"/>
                </a:lnTo>
                <a:lnTo>
                  <a:pt x="34" y="23"/>
                </a:lnTo>
                <a:lnTo>
                  <a:pt x="32" y="23"/>
                </a:lnTo>
                <a:lnTo>
                  <a:pt x="31" y="23"/>
                </a:lnTo>
                <a:lnTo>
                  <a:pt x="31" y="23"/>
                </a:lnTo>
                <a:lnTo>
                  <a:pt x="30" y="23"/>
                </a:lnTo>
                <a:lnTo>
                  <a:pt x="26" y="23"/>
                </a:lnTo>
                <a:lnTo>
                  <a:pt x="26" y="23"/>
                </a:lnTo>
                <a:lnTo>
                  <a:pt x="25" y="23"/>
                </a:lnTo>
                <a:lnTo>
                  <a:pt x="26" y="22"/>
                </a:lnTo>
                <a:lnTo>
                  <a:pt x="25" y="22"/>
                </a:lnTo>
                <a:lnTo>
                  <a:pt x="24" y="22"/>
                </a:lnTo>
                <a:lnTo>
                  <a:pt x="22" y="21"/>
                </a:lnTo>
                <a:lnTo>
                  <a:pt x="22" y="21"/>
                </a:lnTo>
                <a:lnTo>
                  <a:pt x="20" y="20"/>
                </a:lnTo>
                <a:lnTo>
                  <a:pt x="20" y="20"/>
                </a:lnTo>
                <a:lnTo>
                  <a:pt x="25" y="20"/>
                </a:lnTo>
                <a:lnTo>
                  <a:pt x="28" y="20"/>
                </a:lnTo>
                <a:lnTo>
                  <a:pt x="28" y="19"/>
                </a:lnTo>
                <a:lnTo>
                  <a:pt x="25" y="19"/>
                </a:lnTo>
                <a:lnTo>
                  <a:pt x="22" y="19"/>
                </a:lnTo>
                <a:lnTo>
                  <a:pt x="15" y="19"/>
                </a:lnTo>
                <a:lnTo>
                  <a:pt x="15" y="18"/>
                </a:lnTo>
                <a:lnTo>
                  <a:pt x="13" y="18"/>
                </a:lnTo>
                <a:lnTo>
                  <a:pt x="14" y="18"/>
                </a:lnTo>
                <a:lnTo>
                  <a:pt x="11" y="17"/>
                </a:lnTo>
                <a:lnTo>
                  <a:pt x="12" y="16"/>
                </a:lnTo>
                <a:lnTo>
                  <a:pt x="14" y="16"/>
                </a:lnTo>
                <a:lnTo>
                  <a:pt x="14" y="16"/>
                </a:lnTo>
                <a:lnTo>
                  <a:pt x="12" y="16"/>
                </a:lnTo>
                <a:lnTo>
                  <a:pt x="9" y="15"/>
                </a:lnTo>
                <a:lnTo>
                  <a:pt x="8" y="13"/>
                </a:lnTo>
                <a:lnTo>
                  <a:pt x="10" y="13"/>
                </a:lnTo>
                <a:lnTo>
                  <a:pt x="11" y="15"/>
                </a:lnTo>
                <a:lnTo>
                  <a:pt x="19" y="15"/>
                </a:lnTo>
                <a:lnTo>
                  <a:pt x="19" y="15"/>
                </a:lnTo>
                <a:lnTo>
                  <a:pt x="18" y="13"/>
                </a:lnTo>
                <a:lnTo>
                  <a:pt x="15" y="15"/>
                </a:lnTo>
                <a:lnTo>
                  <a:pt x="14" y="13"/>
                </a:lnTo>
                <a:lnTo>
                  <a:pt x="13" y="13"/>
                </a:lnTo>
                <a:lnTo>
                  <a:pt x="11" y="12"/>
                </a:lnTo>
                <a:lnTo>
                  <a:pt x="11" y="12"/>
                </a:lnTo>
                <a:lnTo>
                  <a:pt x="12" y="12"/>
                </a:lnTo>
                <a:lnTo>
                  <a:pt x="12" y="11"/>
                </a:lnTo>
                <a:lnTo>
                  <a:pt x="12" y="11"/>
                </a:lnTo>
                <a:lnTo>
                  <a:pt x="14" y="11"/>
                </a:lnTo>
                <a:lnTo>
                  <a:pt x="13" y="10"/>
                </a:lnTo>
                <a:lnTo>
                  <a:pt x="14" y="10"/>
                </a:lnTo>
                <a:lnTo>
                  <a:pt x="12" y="10"/>
                </a:lnTo>
                <a:lnTo>
                  <a:pt x="11" y="10"/>
                </a:lnTo>
                <a:lnTo>
                  <a:pt x="11" y="10"/>
                </a:lnTo>
                <a:lnTo>
                  <a:pt x="10" y="10"/>
                </a:lnTo>
                <a:lnTo>
                  <a:pt x="8" y="10"/>
                </a:lnTo>
                <a:lnTo>
                  <a:pt x="10" y="11"/>
                </a:lnTo>
                <a:lnTo>
                  <a:pt x="9" y="12"/>
                </a:lnTo>
                <a:lnTo>
                  <a:pt x="7" y="12"/>
                </a:lnTo>
                <a:lnTo>
                  <a:pt x="5" y="12"/>
                </a:lnTo>
                <a:lnTo>
                  <a:pt x="5" y="11"/>
                </a:lnTo>
                <a:lnTo>
                  <a:pt x="5" y="11"/>
                </a:lnTo>
                <a:lnTo>
                  <a:pt x="4" y="10"/>
                </a:lnTo>
                <a:lnTo>
                  <a:pt x="3" y="10"/>
                </a:lnTo>
                <a:lnTo>
                  <a:pt x="3" y="10"/>
                </a:lnTo>
                <a:lnTo>
                  <a:pt x="3" y="9"/>
                </a:lnTo>
                <a:lnTo>
                  <a:pt x="3" y="9"/>
                </a:lnTo>
                <a:lnTo>
                  <a:pt x="2" y="9"/>
                </a:lnTo>
                <a:lnTo>
                  <a:pt x="1" y="9"/>
                </a:lnTo>
                <a:lnTo>
                  <a:pt x="1" y="8"/>
                </a:lnTo>
                <a:lnTo>
                  <a:pt x="1" y="7"/>
                </a:lnTo>
                <a:lnTo>
                  <a:pt x="0" y="7"/>
                </a:lnTo>
                <a:lnTo>
                  <a:pt x="0" y="7"/>
                </a:lnTo>
                <a:lnTo>
                  <a:pt x="1" y="7"/>
                </a:lnTo>
                <a:lnTo>
                  <a:pt x="2" y="7"/>
                </a:lnTo>
                <a:lnTo>
                  <a:pt x="3" y="6"/>
                </a:lnTo>
                <a:lnTo>
                  <a:pt x="1" y="6"/>
                </a:lnTo>
                <a:lnTo>
                  <a:pt x="1" y="5"/>
                </a:lnTo>
                <a:lnTo>
                  <a:pt x="1" y="5"/>
                </a:lnTo>
                <a:lnTo>
                  <a:pt x="2" y="5"/>
                </a:lnTo>
                <a:lnTo>
                  <a:pt x="3" y="6"/>
                </a:lnTo>
                <a:lnTo>
                  <a:pt x="5" y="6"/>
                </a:lnTo>
                <a:lnTo>
                  <a:pt x="5" y="6"/>
                </a:lnTo>
                <a:lnTo>
                  <a:pt x="4" y="5"/>
                </a:lnTo>
                <a:lnTo>
                  <a:pt x="4" y="3"/>
                </a:lnTo>
                <a:lnTo>
                  <a:pt x="4" y="3"/>
                </a:lnTo>
                <a:lnTo>
                  <a:pt x="7" y="3"/>
                </a:lnTo>
                <a:lnTo>
                  <a:pt x="8" y="3"/>
                </a:lnTo>
                <a:lnTo>
                  <a:pt x="8" y="3"/>
                </a:lnTo>
                <a:lnTo>
                  <a:pt x="9" y="2"/>
                </a:lnTo>
                <a:lnTo>
                  <a:pt x="13" y="5"/>
                </a:lnTo>
                <a:lnTo>
                  <a:pt x="13" y="5"/>
                </a:lnTo>
                <a:lnTo>
                  <a:pt x="14" y="5"/>
                </a:lnTo>
                <a:lnTo>
                  <a:pt x="15" y="5"/>
                </a:lnTo>
                <a:lnTo>
                  <a:pt x="14" y="2"/>
                </a:lnTo>
                <a:lnTo>
                  <a:pt x="15" y="2"/>
                </a:lnTo>
                <a:lnTo>
                  <a:pt x="15" y="3"/>
                </a:lnTo>
                <a:lnTo>
                  <a:pt x="15" y="3"/>
                </a:lnTo>
                <a:lnTo>
                  <a:pt x="18" y="3"/>
                </a:lnTo>
                <a:lnTo>
                  <a:pt x="18" y="3"/>
                </a:lnTo>
                <a:lnTo>
                  <a:pt x="22" y="3"/>
                </a:lnTo>
                <a:lnTo>
                  <a:pt x="25" y="2"/>
                </a:lnTo>
                <a:lnTo>
                  <a:pt x="29" y="2"/>
                </a:lnTo>
                <a:lnTo>
                  <a:pt x="30" y="2"/>
                </a:lnTo>
                <a:lnTo>
                  <a:pt x="31" y="3"/>
                </a:lnTo>
                <a:lnTo>
                  <a:pt x="31" y="3"/>
                </a:lnTo>
                <a:lnTo>
                  <a:pt x="31" y="5"/>
                </a:lnTo>
                <a:lnTo>
                  <a:pt x="28" y="5"/>
                </a:lnTo>
                <a:lnTo>
                  <a:pt x="26" y="5"/>
                </a:lnTo>
                <a:lnTo>
                  <a:pt x="25" y="5"/>
                </a:lnTo>
                <a:lnTo>
                  <a:pt x="23" y="5"/>
                </a:lnTo>
                <a:lnTo>
                  <a:pt x="22" y="5"/>
                </a:lnTo>
                <a:lnTo>
                  <a:pt x="20" y="6"/>
                </a:lnTo>
                <a:lnTo>
                  <a:pt x="18" y="6"/>
                </a:lnTo>
                <a:lnTo>
                  <a:pt x="16" y="7"/>
                </a:lnTo>
                <a:lnTo>
                  <a:pt x="19" y="7"/>
                </a:lnTo>
                <a:lnTo>
                  <a:pt x="24" y="6"/>
                </a:lnTo>
                <a:lnTo>
                  <a:pt x="28" y="6"/>
                </a:lnTo>
                <a:lnTo>
                  <a:pt x="26" y="7"/>
                </a:lnTo>
                <a:lnTo>
                  <a:pt x="25" y="7"/>
                </a:lnTo>
                <a:lnTo>
                  <a:pt x="26" y="8"/>
                </a:lnTo>
                <a:lnTo>
                  <a:pt x="25" y="8"/>
                </a:lnTo>
                <a:lnTo>
                  <a:pt x="26" y="8"/>
                </a:lnTo>
                <a:lnTo>
                  <a:pt x="28" y="8"/>
                </a:lnTo>
                <a:lnTo>
                  <a:pt x="28" y="8"/>
                </a:lnTo>
                <a:lnTo>
                  <a:pt x="30" y="8"/>
                </a:lnTo>
                <a:lnTo>
                  <a:pt x="31" y="9"/>
                </a:lnTo>
                <a:lnTo>
                  <a:pt x="32" y="10"/>
                </a:lnTo>
                <a:lnTo>
                  <a:pt x="35" y="10"/>
                </a:lnTo>
                <a:lnTo>
                  <a:pt x="36" y="10"/>
                </a:lnTo>
                <a:lnTo>
                  <a:pt x="35" y="10"/>
                </a:lnTo>
                <a:lnTo>
                  <a:pt x="34" y="9"/>
                </a:lnTo>
                <a:lnTo>
                  <a:pt x="32" y="8"/>
                </a:lnTo>
                <a:lnTo>
                  <a:pt x="32" y="7"/>
                </a:lnTo>
                <a:lnTo>
                  <a:pt x="32" y="7"/>
                </a:lnTo>
                <a:lnTo>
                  <a:pt x="32" y="6"/>
                </a:lnTo>
                <a:lnTo>
                  <a:pt x="34" y="6"/>
                </a:lnTo>
                <a:lnTo>
                  <a:pt x="34" y="5"/>
                </a:lnTo>
                <a:lnTo>
                  <a:pt x="35" y="5"/>
                </a:lnTo>
                <a:lnTo>
                  <a:pt x="35" y="3"/>
                </a:lnTo>
                <a:lnTo>
                  <a:pt x="38" y="3"/>
                </a:lnTo>
                <a:lnTo>
                  <a:pt x="40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43" name="Freeform 843"/>
          <p:cNvSpPr>
            <a:spLocks/>
          </p:cNvSpPr>
          <p:nvPr/>
        </p:nvSpPr>
        <p:spPr bwMode="auto">
          <a:xfrm>
            <a:off x="4519613" y="1392203"/>
            <a:ext cx="176212" cy="73025"/>
          </a:xfrm>
          <a:custGeom>
            <a:avLst/>
            <a:gdLst>
              <a:gd name="T0" fmla="*/ 48 w 111"/>
              <a:gd name="T1" fmla="*/ 9 h 46"/>
              <a:gd name="T2" fmla="*/ 53 w 111"/>
              <a:gd name="T3" fmla="*/ 12 h 46"/>
              <a:gd name="T4" fmla="*/ 52 w 111"/>
              <a:gd name="T5" fmla="*/ 9 h 46"/>
              <a:gd name="T6" fmla="*/ 50 w 111"/>
              <a:gd name="T7" fmla="*/ 3 h 46"/>
              <a:gd name="T8" fmla="*/ 53 w 111"/>
              <a:gd name="T9" fmla="*/ 0 h 46"/>
              <a:gd name="T10" fmla="*/ 61 w 111"/>
              <a:gd name="T11" fmla="*/ 1 h 46"/>
              <a:gd name="T12" fmla="*/ 69 w 111"/>
              <a:gd name="T13" fmla="*/ 7 h 46"/>
              <a:gd name="T14" fmla="*/ 74 w 111"/>
              <a:gd name="T15" fmla="*/ 8 h 46"/>
              <a:gd name="T16" fmla="*/ 81 w 111"/>
              <a:gd name="T17" fmla="*/ 8 h 46"/>
              <a:gd name="T18" fmla="*/ 90 w 111"/>
              <a:gd name="T19" fmla="*/ 11 h 46"/>
              <a:gd name="T20" fmla="*/ 111 w 111"/>
              <a:gd name="T21" fmla="*/ 16 h 46"/>
              <a:gd name="T22" fmla="*/ 99 w 111"/>
              <a:gd name="T23" fmla="*/ 18 h 46"/>
              <a:gd name="T24" fmla="*/ 88 w 111"/>
              <a:gd name="T25" fmla="*/ 21 h 46"/>
              <a:gd name="T26" fmla="*/ 88 w 111"/>
              <a:gd name="T27" fmla="*/ 26 h 46"/>
              <a:gd name="T28" fmla="*/ 83 w 111"/>
              <a:gd name="T29" fmla="*/ 28 h 46"/>
              <a:gd name="T30" fmla="*/ 83 w 111"/>
              <a:gd name="T31" fmla="*/ 32 h 46"/>
              <a:gd name="T32" fmla="*/ 78 w 111"/>
              <a:gd name="T33" fmla="*/ 35 h 46"/>
              <a:gd name="T34" fmla="*/ 74 w 111"/>
              <a:gd name="T35" fmla="*/ 40 h 46"/>
              <a:gd name="T36" fmla="*/ 72 w 111"/>
              <a:gd name="T37" fmla="*/ 43 h 46"/>
              <a:gd name="T38" fmla="*/ 65 w 111"/>
              <a:gd name="T39" fmla="*/ 46 h 46"/>
              <a:gd name="T40" fmla="*/ 63 w 111"/>
              <a:gd name="T41" fmla="*/ 41 h 46"/>
              <a:gd name="T42" fmla="*/ 56 w 111"/>
              <a:gd name="T43" fmla="*/ 40 h 46"/>
              <a:gd name="T44" fmla="*/ 41 w 111"/>
              <a:gd name="T45" fmla="*/ 37 h 46"/>
              <a:gd name="T46" fmla="*/ 45 w 111"/>
              <a:gd name="T47" fmla="*/ 33 h 46"/>
              <a:gd name="T48" fmla="*/ 59 w 111"/>
              <a:gd name="T49" fmla="*/ 33 h 46"/>
              <a:gd name="T50" fmla="*/ 58 w 111"/>
              <a:gd name="T51" fmla="*/ 30 h 46"/>
              <a:gd name="T52" fmla="*/ 68 w 111"/>
              <a:gd name="T53" fmla="*/ 29 h 46"/>
              <a:gd name="T54" fmla="*/ 61 w 111"/>
              <a:gd name="T55" fmla="*/ 29 h 46"/>
              <a:gd name="T56" fmla="*/ 46 w 111"/>
              <a:gd name="T57" fmla="*/ 30 h 46"/>
              <a:gd name="T58" fmla="*/ 39 w 111"/>
              <a:gd name="T59" fmla="*/ 30 h 46"/>
              <a:gd name="T60" fmla="*/ 36 w 111"/>
              <a:gd name="T61" fmla="*/ 26 h 46"/>
              <a:gd name="T62" fmla="*/ 45 w 111"/>
              <a:gd name="T63" fmla="*/ 26 h 46"/>
              <a:gd name="T64" fmla="*/ 53 w 111"/>
              <a:gd name="T65" fmla="*/ 23 h 46"/>
              <a:gd name="T66" fmla="*/ 66 w 111"/>
              <a:gd name="T67" fmla="*/ 21 h 46"/>
              <a:gd name="T68" fmla="*/ 62 w 111"/>
              <a:gd name="T69" fmla="*/ 21 h 46"/>
              <a:gd name="T70" fmla="*/ 63 w 111"/>
              <a:gd name="T71" fmla="*/ 18 h 46"/>
              <a:gd name="T72" fmla="*/ 58 w 111"/>
              <a:gd name="T73" fmla="*/ 20 h 46"/>
              <a:gd name="T74" fmla="*/ 50 w 111"/>
              <a:gd name="T75" fmla="*/ 16 h 46"/>
              <a:gd name="T76" fmla="*/ 44 w 111"/>
              <a:gd name="T77" fmla="*/ 17 h 46"/>
              <a:gd name="T78" fmla="*/ 42 w 111"/>
              <a:gd name="T79" fmla="*/ 21 h 46"/>
              <a:gd name="T80" fmla="*/ 35 w 111"/>
              <a:gd name="T81" fmla="*/ 23 h 46"/>
              <a:gd name="T82" fmla="*/ 25 w 111"/>
              <a:gd name="T83" fmla="*/ 23 h 46"/>
              <a:gd name="T84" fmla="*/ 25 w 111"/>
              <a:gd name="T85" fmla="*/ 20 h 46"/>
              <a:gd name="T86" fmla="*/ 14 w 111"/>
              <a:gd name="T87" fmla="*/ 18 h 46"/>
              <a:gd name="T88" fmla="*/ 10 w 111"/>
              <a:gd name="T89" fmla="*/ 13 h 46"/>
              <a:gd name="T90" fmla="*/ 11 w 111"/>
              <a:gd name="T91" fmla="*/ 12 h 46"/>
              <a:gd name="T92" fmla="*/ 12 w 111"/>
              <a:gd name="T93" fmla="*/ 10 h 46"/>
              <a:gd name="T94" fmla="*/ 5 w 111"/>
              <a:gd name="T95" fmla="*/ 12 h 46"/>
              <a:gd name="T96" fmla="*/ 2 w 111"/>
              <a:gd name="T97" fmla="*/ 9 h 46"/>
              <a:gd name="T98" fmla="*/ 3 w 111"/>
              <a:gd name="T99" fmla="*/ 6 h 46"/>
              <a:gd name="T100" fmla="*/ 4 w 111"/>
              <a:gd name="T101" fmla="*/ 5 h 46"/>
              <a:gd name="T102" fmla="*/ 13 w 111"/>
              <a:gd name="T103" fmla="*/ 5 h 46"/>
              <a:gd name="T104" fmla="*/ 18 w 111"/>
              <a:gd name="T105" fmla="*/ 3 h 46"/>
              <a:gd name="T106" fmla="*/ 28 w 111"/>
              <a:gd name="T107" fmla="*/ 5 h 46"/>
              <a:gd name="T108" fmla="*/ 19 w 111"/>
              <a:gd name="T109" fmla="*/ 7 h 46"/>
              <a:gd name="T110" fmla="*/ 28 w 111"/>
              <a:gd name="T111" fmla="*/ 8 h 46"/>
              <a:gd name="T112" fmla="*/ 34 w 111"/>
              <a:gd name="T113" fmla="*/ 9 h 46"/>
              <a:gd name="T114" fmla="*/ 35 w 111"/>
              <a:gd name="T115" fmla="*/ 3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11" h="46">
                <a:moveTo>
                  <a:pt x="40" y="3"/>
                </a:moveTo>
                <a:lnTo>
                  <a:pt x="43" y="3"/>
                </a:lnTo>
                <a:lnTo>
                  <a:pt x="43" y="5"/>
                </a:lnTo>
                <a:lnTo>
                  <a:pt x="44" y="5"/>
                </a:lnTo>
                <a:lnTo>
                  <a:pt x="45" y="6"/>
                </a:lnTo>
                <a:lnTo>
                  <a:pt x="46" y="7"/>
                </a:lnTo>
                <a:lnTo>
                  <a:pt x="48" y="8"/>
                </a:lnTo>
                <a:lnTo>
                  <a:pt x="48" y="9"/>
                </a:lnTo>
                <a:lnTo>
                  <a:pt x="49" y="9"/>
                </a:lnTo>
                <a:lnTo>
                  <a:pt x="49" y="11"/>
                </a:lnTo>
                <a:lnTo>
                  <a:pt x="49" y="11"/>
                </a:lnTo>
                <a:lnTo>
                  <a:pt x="49" y="11"/>
                </a:lnTo>
                <a:lnTo>
                  <a:pt x="49" y="11"/>
                </a:lnTo>
                <a:lnTo>
                  <a:pt x="49" y="11"/>
                </a:lnTo>
                <a:lnTo>
                  <a:pt x="51" y="11"/>
                </a:lnTo>
                <a:lnTo>
                  <a:pt x="53" y="12"/>
                </a:lnTo>
                <a:lnTo>
                  <a:pt x="55" y="13"/>
                </a:lnTo>
                <a:lnTo>
                  <a:pt x="58" y="15"/>
                </a:lnTo>
                <a:lnTo>
                  <a:pt x="60" y="15"/>
                </a:lnTo>
                <a:lnTo>
                  <a:pt x="60" y="15"/>
                </a:lnTo>
                <a:lnTo>
                  <a:pt x="54" y="11"/>
                </a:lnTo>
                <a:lnTo>
                  <a:pt x="54" y="10"/>
                </a:lnTo>
                <a:lnTo>
                  <a:pt x="53" y="10"/>
                </a:lnTo>
                <a:lnTo>
                  <a:pt x="52" y="9"/>
                </a:lnTo>
                <a:lnTo>
                  <a:pt x="52" y="8"/>
                </a:lnTo>
                <a:lnTo>
                  <a:pt x="52" y="6"/>
                </a:lnTo>
                <a:lnTo>
                  <a:pt x="51" y="6"/>
                </a:lnTo>
                <a:lnTo>
                  <a:pt x="51" y="5"/>
                </a:lnTo>
                <a:lnTo>
                  <a:pt x="51" y="5"/>
                </a:lnTo>
                <a:lnTo>
                  <a:pt x="50" y="5"/>
                </a:lnTo>
                <a:lnTo>
                  <a:pt x="50" y="3"/>
                </a:lnTo>
                <a:lnTo>
                  <a:pt x="50" y="3"/>
                </a:lnTo>
                <a:lnTo>
                  <a:pt x="50" y="2"/>
                </a:lnTo>
                <a:lnTo>
                  <a:pt x="50" y="2"/>
                </a:lnTo>
                <a:lnTo>
                  <a:pt x="53" y="2"/>
                </a:lnTo>
                <a:lnTo>
                  <a:pt x="52" y="1"/>
                </a:lnTo>
                <a:lnTo>
                  <a:pt x="52" y="1"/>
                </a:lnTo>
                <a:lnTo>
                  <a:pt x="52" y="0"/>
                </a:lnTo>
                <a:lnTo>
                  <a:pt x="53" y="0"/>
                </a:lnTo>
                <a:lnTo>
                  <a:pt x="53" y="0"/>
                </a:lnTo>
                <a:lnTo>
                  <a:pt x="55" y="0"/>
                </a:lnTo>
                <a:lnTo>
                  <a:pt x="58" y="0"/>
                </a:lnTo>
                <a:lnTo>
                  <a:pt x="58" y="1"/>
                </a:lnTo>
                <a:lnTo>
                  <a:pt x="59" y="2"/>
                </a:lnTo>
                <a:lnTo>
                  <a:pt x="59" y="2"/>
                </a:lnTo>
                <a:lnTo>
                  <a:pt x="61" y="2"/>
                </a:lnTo>
                <a:lnTo>
                  <a:pt x="61" y="2"/>
                </a:lnTo>
                <a:lnTo>
                  <a:pt x="61" y="1"/>
                </a:lnTo>
                <a:lnTo>
                  <a:pt x="63" y="1"/>
                </a:lnTo>
                <a:lnTo>
                  <a:pt x="70" y="2"/>
                </a:lnTo>
                <a:lnTo>
                  <a:pt x="72" y="3"/>
                </a:lnTo>
                <a:lnTo>
                  <a:pt x="72" y="5"/>
                </a:lnTo>
                <a:lnTo>
                  <a:pt x="71" y="5"/>
                </a:lnTo>
                <a:lnTo>
                  <a:pt x="70" y="6"/>
                </a:lnTo>
                <a:lnTo>
                  <a:pt x="69" y="7"/>
                </a:lnTo>
                <a:lnTo>
                  <a:pt x="69" y="7"/>
                </a:lnTo>
                <a:lnTo>
                  <a:pt x="70" y="7"/>
                </a:lnTo>
                <a:lnTo>
                  <a:pt x="70" y="7"/>
                </a:lnTo>
                <a:lnTo>
                  <a:pt x="71" y="8"/>
                </a:lnTo>
                <a:lnTo>
                  <a:pt x="70" y="8"/>
                </a:lnTo>
                <a:lnTo>
                  <a:pt x="70" y="9"/>
                </a:lnTo>
                <a:lnTo>
                  <a:pt x="70" y="9"/>
                </a:lnTo>
                <a:lnTo>
                  <a:pt x="72" y="8"/>
                </a:lnTo>
                <a:lnTo>
                  <a:pt x="74" y="8"/>
                </a:lnTo>
                <a:lnTo>
                  <a:pt x="73" y="7"/>
                </a:lnTo>
                <a:lnTo>
                  <a:pt x="73" y="7"/>
                </a:lnTo>
                <a:lnTo>
                  <a:pt x="74" y="6"/>
                </a:lnTo>
                <a:lnTo>
                  <a:pt x="75" y="6"/>
                </a:lnTo>
                <a:lnTo>
                  <a:pt x="76" y="6"/>
                </a:lnTo>
                <a:lnTo>
                  <a:pt x="78" y="6"/>
                </a:lnTo>
                <a:lnTo>
                  <a:pt x="80" y="7"/>
                </a:lnTo>
                <a:lnTo>
                  <a:pt x="81" y="8"/>
                </a:lnTo>
                <a:lnTo>
                  <a:pt x="82" y="8"/>
                </a:lnTo>
                <a:lnTo>
                  <a:pt x="82" y="9"/>
                </a:lnTo>
                <a:lnTo>
                  <a:pt x="82" y="9"/>
                </a:lnTo>
                <a:lnTo>
                  <a:pt x="82" y="9"/>
                </a:lnTo>
                <a:lnTo>
                  <a:pt x="82" y="10"/>
                </a:lnTo>
                <a:lnTo>
                  <a:pt x="82" y="11"/>
                </a:lnTo>
                <a:lnTo>
                  <a:pt x="89" y="11"/>
                </a:lnTo>
                <a:lnTo>
                  <a:pt x="90" y="11"/>
                </a:lnTo>
                <a:lnTo>
                  <a:pt x="91" y="11"/>
                </a:lnTo>
                <a:lnTo>
                  <a:pt x="92" y="12"/>
                </a:lnTo>
                <a:lnTo>
                  <a:pt x="94" y="13"/>
                </a:lnTo>
                <a:lnTo>
                  <a:pt x="97" y="13"/>
                </a:lnTo>
                <a:lnTo>
                  <a:pt x="100" y="15"/>
                </a:lnTo>
                <a:lnTo>
                  <a:pt x="106" y="15"/>
                </a:lnTo>
                <a:lnTo>
                  <a:pt x="110" y="15"/>
                </a:lnTo>
                <a:lnTo>
                  <a:pt x="111" y="16"/>
                </a:lnTo>
                <a:lnTo>
                  <a:pt x="111" y="16"/>
                </a:lnTo>
                <a:lnTo>
                  <a:pt x="111" y="17"/>
                </a:lnTo>
                <a:lnTo>
                  <a:pt x="110" y="18"/>
                </a:lnTo>
                <a:lnTo>
                  <a:pt x="110" y="18"/>
                </a:lnTo>
                <a:lnTo>
                  <a:pt x="107" y="18"/>
                </a:lnTo>
                <a:lnTo>
                  <a:pt x="104" y="18"/>
                </a:lnTo>
                <a:lnTo>
                  <a:pt x="101" y="18"/>
                </a:lnTo>
                <a:lnTo>
                  <a:pt x="99" y="18"/>
                </a:lnTo>
                <a:lnTo>
                  <a:pt x="96" y="19"/>
                </a:lnTo>
                <a:lnTo>
                  <a:pt x="94" y="19"/>
                </a:lnTo>
                <a:lnTo>
                  <a:pt x="92" y="19"/>
                </a:lnTo>
                <a:lnTo>
                  <a:pt x="93" y="19"/>
                </a:lnTo>
                <a:lnTo>
                  <a:pt x="92" y="20"/>
                </a:lnTo>
                <a:lnTo>
                  <a:pt x="91" y="20"/>
                </a:lnTo>
                <a:lnTo>
                  <a:pt x="90" y="21"/>
                </a:lnTo>
                <a:lnTo>
                  <a:pt x="88" y="21"/>
                </a:lnTo>
                <a:lnTo>
                  <a:pt x="88" y="21"/>
                </a:lnTo>
                <a:lnTo>
                  <a:pt x="88" y="22"/>
                </a:lnTo>
                <a:lnTo>
                  <a:pt x="88" y="22"/>
                </a:lnTo>
                <a:lnTo>
                  <a:pt x="89" y="23"/>
                </a:lnTo>
                <a:lnTo>
                  <a:pt x="88" y="23"/>
                </a:lnTo>
                <a:lnTo>
                  <a:pt x="89" y="23"/>
                </a:lnTo>
                <a:lnTo>
                  <a:pt x="88" y="25"/>
                </a:lnTo>
                <a:lnTo>
                  <a:pt x="88" y="26"/>
                </a:lnTo>
                <a:lnTo>
                  <a:pt x="89" y="26"/>
                </a:lnTo>
                <a:lnTo>
                  <a:pt x="89" y="27"/>
                </a:lnTo>
                <a:lnTo>
                  <a:pt x="88" y="27"/>
                </a:lnTo>
                <a:lnTo>
                  <a:pt x="85" y="26"/>
                </a:lnTo>
                <a:lnTo>
                  <a:pt x="82" y="27"/>
                </a:lnTo>
                <a:lnTo>
                  <a:pt x="83" y="27"/>
                </a:lnTo>
                <a:lnTo>
                  <a:pt x="83" y="27"/>
                </a:lnTo>
                <a:lnTo>
                  <a:pt x="83" y="28"/>
                </a:lnTo>
                <a:lnTo>
                  <a:pt x="83" y="29"/>
                </a:lnTo>
                <a:lnTo>
                  <a:pt x="84" y="29"/>
                </a:lnTo>
                <a:lnTo>
                  <a:pt x="83" y="30"/>
                </a:lnTo>
                <a:lnTo>
                  <a:pt x="83" y="31"/>
                </a:lnTo>
                <a:lnTo>
                  <a:pt x="83" y="31"/>
                </a:lnTo>
                <a:lnTo>
                  <a:pt x="83" y="31"/>
                </a:lnTo>
                <a:lnTo>
                  <a:pt x="83" y="32"/>
                </a:lnTo>
                <a:lnTo>
                  <a:pt x="83" y="32"/>
                </a:lnTo>
                <a:lnTo>
                  <a:pt x="83" y="32"/>
                </a:lnTo>
                <a:lnTo>
                  <a:pt x="82" y="33"/>
                </a:lnTo>
                <a:lnTo>
                  <a:pt x="83" y="33"/>
                </a:lnTo>
                <a:lnTo>
                  <a:pt x="82" y="33"/>
                </a:lnTo>
                <a:lnTo>
                  <a:pt x="81" y="33"/>
                </a:lnTo>
                <a:lnTo>
                  <a:pt x="75" y="35"/>
                </a:lnTo>
                <a:lnTo>
                  <a:pt x="75" y="35"/>
                </a:lnTo>
                <a:lnTo>
                  <a:pt x="78" y="35"/>
                </a:lnTo>
                <a:lnTo>
                  <a:pt x="79" y="35"/>
                </a:lnTo>
                <a:lnTo>
                  <a:pt x="76" y="35"/>
                </a:lnTo>
                <a:lnTo>
                  <a:pt x="74" y="36"/>
                </a:lnTo>
                <a:lnTo>
                  <a:pt x="74" y="37"/>
                </a:lnTo>
                <a:lnTo>
                  <a:pt x="74" y="38"/>
                </a:lnTo>
                <a:lnTo>
                  <a:pt x="74" y="38"/>
                </a:lnTo>
                <a:lnTo>
                  <a:pt x="74" y="39"/>
                </a:lnTo>
                <a:lnTo>
                  <a:pt x="74" y="40"/>
                </a:lnTo>
                <a:lnTo>
                  <a:pt x="74" y="40"/>
                </a:lnTo>
                <a:lnTo>
                  <a:pt x="74" y="40"/>
                </a:lnTo>
                <a:lnTo>
                  <a:pt x="74" y="41"/>
                </a:lnTo>
                <a:lnTo>
                  <a:pt x="72" y="42"/>
                </a:lnTo>
                <a:lnTo>
                  <a:pt x="72" y="42"/>
                </a:lnTo>
                <a:lnTo>
                  <a:pt x="72" y="42"/>
                </a:lnTo>
                <a:lnTo>
                  <a:pt x="72" y="43"/>
                </a:lnTo>
                <a:lnTo>
                  <a:pt x="72" y="43"/>
                </a:lnTo>
                <a:lnTo>
                  <a:pt x="73" y="45"/>
                </a:lnTo>
                <a:lnTo>
                  <a:pt x="72" y="45"/>
                </a:lnTo>
                <a:lnTo>
                  <a:pt x="72" y="46"/>
                </a:lnTo>
                <a:lnTo>
                  <a:pt x="70" y="46"/>
                </a:lnTo>
                <a:lnTo>
                  <a:pt x="69" y="46"/>
                </a:lnTo>
                <a:lnTo>
                  <a:pt x="68" y="46"/>
                </a:lnTo>
                <a:lnTo>
                  <a:pt x="68" y="46"/>
                </a:lnTo>
                <a:lnTo>
                  <a:pt x="65" y="46"/>
                </a:lnTo>
                <a:lnTo>
                  <a:pt x="65" y="46"/>
                </a:lnTo>
                <a:lnTo>
                  <a:pt x="64" y="45"/>
                </a:lnTo>
                <a:lnTo>
                  <a:pt x="64" y="45"/>
                </a:lnTo>
                <a:lnTo>
                  <a:pt x="56" y="42"/>
                </a:lnTo>
                <a:lnTo>
                  <a:pt x="56" y="41"/>
                </a:lnTo>
                <a:lnTo>
                  <a:pt x="60" y="41"/>
                </a:lnTo>
                <a:lnTo>
                  <a:pt x="62" y="41"/>
                </a:lnTo>
                <a:lnTo>
                  <a:pt x="63" y="41"/>
                </a:lnTo>
                <a:lnTo>
                  <a:pt x="64" y="40"/>
                </a:lnTo>
                <a:lnTo>
                  <a:pt x="64" y="40"/>
                </a:lnTo>
                <a:lnTo>
                  <a:pt x="63" y="40"/>
                </a:lnTo>
                <a:lnTo>
                  <a:pt x="62" y="40"/>
                </a:lnTo>
                <a:lnTo>
                  <a:pt x="59" y="40"/>
                </a:lnTo>
                <a:lnTo>
                  <a:pt x="59" y="40"/>
                </a:lnTo>
                <a:lnTo>
                  <a:pt x="58" y="40"/>
                </a:lnTo>
                <a:lnTo>
                  <a:pt x="56" y="40"/>
                </a:lnTo>
                <a:lnTo>
                  <a:pt x="53" y="40"/>
                </a:lnTo>
                <a:lnTo>
                  <a:pt x="52" y="40"/>
                </a:lnTo>
                <a:lnTo>
                  <a:pt x="52" y="39"/>
                </a:lnTo>
                <a:lnTo>
                  <a:pt x="50" y="39"/>
                </a:lnTo>
                <a:lnTo>
                  <a:pt x="49" y="39"/>
                </a:lnTo>
                <a:lnTo>
                  <a:pt x="43" y="38"/>
                </a:lnTo>
                <a:lnTo>
                  <a:pt x="42" y="37"/>
                </a:lnTo>
                <a:lnTo>
                  <a:pt x="41" y="37"/>
                </a:lnTo>
                <a:lnTo>
                  <a:pt x="40" y="36"/>
                </a:lnTo>
                <a:lnTo>
                  <a:pt x="39" y="35"/>
                </a:lnTo>
                <a:lnTo>
                  <a:pt x="39" y="35"/>
                </a:lnTo>
                <a:lnTo>
                  <a:pt x="39" y="33"/>
                </a:lnTo>
                <a:lnTo>
                  <a:pt x="41" y="32"/>
                </a:lnTo>
                <a:lnTo>
                  <a:pt x="43" y="32"/>
                </a:lnTo>
                <a:lnTo>
                  <a:pt x="44" y="33"/>
                </a:lnTo>
                <a:lnTo>
                  <a:pt x="45" y="33"/>
                </a:lnTo>
                <a:lnTo>
                  <a:pt x="46" y="33"/>
                </a:lnTo>
                <a:lnTo>
                  <a:pt x="46" y="32"/>
                </a:lnTo>
                <a:lnTo>
                  <a:pt x="48" y="32"/>
                </a:lnTo>
                <a:lnTo>
                  <a:pt x="50" y="33"/>
                </a:lnTo>
                <a:lnTo>
                  <a:pt x="52" y="32"/>
                </a:lnTo>
                <a:lnTo>
                  <a:pt x="53" y="33"/>
                </a:lnTo>
                <a:lnTo>
                  <a:pt x="59" y="33"/>
                </a:lnTo>
                <a:lnTo>
                  <a:pt x="59" y="33"/>
                </a:lnTo>
                <a:lnTo>
                  <a:pt x="58" y="32"/>
                </a:lnTo>
                <a:lnTo>
                  <a:pt x="49" y="32"/>
                </a:lnTo>
                <a:lnTo>
                  <a:pt x="46" y="31"/>
                </a:lnTo>
                <a:lnTo>
                  <a:pt x="46" y="31"/>
                </a:lnTo>
                <a:lnTo>
                  <a:pt x="48" y="31"/>
                </a:lnTo>
                <a:lnTo>
                  <a:pt x="54" y="30"/>
                </a:lnTo>
                <a:lnTo>
                  <a:pt x="56" y="30"/>
                </a:lnTo>
                <a:lnTo>
                  <a:pt x="58" y="30"/>
                </a:lnTo>
                <a:lnTo>
                  <a:pt x="59" y="30"/>
                </a:lnTo>
                <a:lnTo>
                  <a:pt x="59" y="30"/>
                </a:lnTo>
                <a:lnTo>
                  <a:pt x="61" y="30"/>
                </a:lnTo>
                <a:lnTo>
                  <a:pt x="62" y="29"/>
                </a:lnTo>
                <a:lnTo>
                  <a:pt x="63" y="30"/>
                </a:lnTo>
                <a:lnTo>
                  <a:pt x="64" y="29"/>
                </a:lnTo>
                <a:lnTo>
                  <a:pt x="66" y="30"/>
                </a:lnTo>
                <a:lnTo>
                  <a:pt x="68" y="29"/>
                </a:lnTo>
                <a:lnTo>
                  <a:pt x="68" y="29"/>
                </a:lnTo>
                <a:lnTo>
                  <a:pt x="66" y="28"/>
                </a:lnTo>
                <a:lnTo>
                  <a:pt x="66" y="28"/>
                </a:lnTo>
                <a:lnTo>
                  <a:pt x="66" y="28"/>
                </a:lnTo>
                <a:lnTo>
                  <a:pt x="64" y="28"/>
                </a:lnTo>
                <a:lnTo>
                  <a:pt x="64" y="29"/>
                </a:lnTo>
                <a:lnTo>
                  <a:pt x="62" y="29"/>
                </a:lnTo>
                <a:lnTo>
                  <a:pt x="61" y="29"/>
                </a:lnTo>
                <a:lnTo>
                  <a:pt x="56" y="29"/>
                </a:lnTo>
                <a:lnTo>
                  <a:pt x="55" y="29"/>
                </a:lnTo>
                <a:lnTo>
                  <a:pt x="53" y="29"/>
                </a:lnTo>
                <a:lnTo>
                  <a:pt x="52" y="29"/>
                </a:lnTo>
                <a:lnTo>
                  <a:pt x="50" y="29"/>
                </a:lnTo>
                <a:lnTo>
                  <a:pt x="48" y="30"/>
                </a:lnTo>
                <a:lnTo>
                  <a:pt x="46" y="29"/>
                </a:lnTo>
                <a:lnTo>
                  <a:pt x="46" y="30"/>
                </a:lnTo>
                <a:lnTo>
                  <a:pt x="45" y="30"/>
                </a:lnTo>
                <a:lnTo>
                  <a:pt x="44" y="30"/>
                </a:lnTo>
                <a:lnTo>
                  <a:pt x="44" y="30"/>
                </a:lnTo>
                <a:lnTo>
                  <a:pt x="44" y="30"/>
                </a:lnTo>
                <a:lnTo>
                  <a:pt x="42" y="30"/>
                </a:lnTo>
                <a:lnTo>
                  <a:pt x="41" y="30"/>
                </a:lnTo>
                <a:lnTo>
                  <a:pt x="40" y="30"/>
                </a:lnTo>
                <a:lnTo>
                  <a:pt x="39" y="30"/>
                </a:lnTo>
                <a:lnTo>
                  <a:pt x="36" y="30"/>
                </a:lnTo>
                <a:lnTo>
                  <a:pt x="35" y="30"/>
                </a:lnTo>
                <a:lnTo>
                  <a:pt x="35" y="30"/>
                </a:lnTo>
                <a:lnTo>
                  <a:pt x="35" y="29"/>
                </a:lnTo>
                <a:lnTo>
                  <a:pt x="34" y="28"/>
                </a:lnTo>
                <a:lnTo>
                  <a:pt x="33" y="27"/>
                </a:lnTo>
                <a:lnTo>
                  <a:pt x="34" y="26"/>
                </a:lnTo>
                <a:lnTo>
                  <a:pt x="36" y="26"/>
                </a:lnTo>
                <a:lnTo>
                  <a:pt x="38" y="27"/>
                </a:lnTo>
                <a:lnTo>
                  <a:pt x="38" y="27"/>
                </a:lnTo>
                <a:lnTo>
                  <a:pt x="40" y="27"/>
                </a:lnTo>
                <a:lnTo>
                  <a:pt x="40" y="27"/>
                </a:lnTo>
                <a:lnTo>
                  <a:pt x="39" y="26"/>
                </a:lnTo>
                <a:lnTo>
                  <a:pt x="39" y="26"/>
                </a:lnTo>
                <a:lnTo>
                  <a:pt x="44" y="26"/>
                </a:lnTo>
                <a:lnTo>
                  <a:pt x="45" y="26"/>
                </a:lnTo>
                <a:lnTo>
                  <a:pt x="48" y="26"/>
                </a:lnTo>
                <a:lnTo>
                  <a:pt x="48" y="25"/>
                </a:lnTo>
                <a:lnTo>
                  <a:pt x="48" y="25"/>
                </a:lnTo>
                <a:lnTo>
                  <a:pt x="49" y="25"/>
                </a:lnTo>
                <a:lnTo>
                  <a:pt x="50" y="23"/>
                </a:lnTo>
                <a:lnTo>
                  <a:pt x="50" y="23"/>
                </a:lnTo>
                <a:lnTo>
                  <a:pt x="52" y="23"/>
                </a:lnTo>
                <a:lnTo>
                  <a:pt x="53" y="23"/>
                </a:lnTo>
                <a:lnTo>
                  <a:pt x="53" y="23"/>
                </a:lnTo>
                <a:lnTo>
                  <a:pt x="52" y="22"/>
                </a:lnTo>
                <a:lnTo>
                  <a:pt x="55" y="22"/>
                </a:lnTo>
                <a:lnTo>
                  <a:pt x="60" y="22"/>
                </a:lnTo>
                <a:lnTo>
                  <a:pt x="61" y="22"/>
                </a:lnTo>
                <a:lnTo>
                  <a:pt x="64" y="22"/>
                </a:lnTo>
                <a:lnTo>
                  <a:pt x="65" y="22"/>
                </a:lnTo>
                <a:lnTo>
                  <a:pt x="66" y="21"/>
                </a:lnTo>
                <a:lnTo>
                  <a:pt x="68" y="21"/>
                </a:lnTo>
                <a:lnTo>
                  <a:pt x="70" y="21"/>
                </a:lnTo>
                <a:lnTo>
                  <a:pt x="71" y="21"/>
                </a:lnTo>
                <a:lnTo>
                  <a:pt x="70" y="21"/>
                </a:lnTo>
                <a:lnTo>
                  <a:pt x="65" y="21"/>
                </a:lnTo>
                <a:lnTo>
                  <a:pt x="64" y="21"/>
                </a:lnTo>
                <a:lnTo>
                  <a:pt x="62" y="20"/>
                </a:lnTo>
                <a:lnTo>
                  <a:pt x="62" y="21"/>
                </a:lnTo>
                <a:lnTo>
                  <a:pt x="61" y="21"/>
                </a:lnTo>
                <a:lnTo>
                  <a:pt x="60" y="20"/>
                </a:lnTo>
                <a:lnTo>
                  <a:pt x="60" y="20"/>
                </a:lnTo>
                <a:lnTo>
                  <a:pt x="61" y="20"/>
                </a:lnTo>
                <a:lnTo>
                  <a:pt x="61" y="19"/>
                </a:lnTo>
                <a:lnTo>
                  <a:pt x="62" y="19"/>
                </a:lnTo>
                <a:lnTo>
                  <a:pt x="64" y="18"/>
                </a:lnTo>
                <a:lnTo>
                  <a:pt x="63" y="18"/>
                </a:lnTo>
                <a:lnTo>
                  <a:pt x="62" y="17"/>
                </a:lnTo>
                <a:lnTo>
                  <a:pt x="62" y="17"/>
                </a:lnTo>
                <a:lnTo>
                  <a:pt x="61" y="17"/>
                </a:lnTo>
                <a:lnTo>
                  <a:pt x="60" y="18"/>
                </a:lnTo>
                <a:lnTo>
                  <a:pt x="60" y="18"/>
                </a:lnTo>
                <a:lnTo>
                  <a:pt x="60" y="19"/>
                </a:lnTo>
                <a:lnTo>
                  <a:pt x="59" y="19"/>
                </a:lnTo>
                <a:lnTo>
                  <a:pt x="58" y="20"/>
                </a:lnTo>
                <a:lnTo>
                  <a:pt x="56" y="20"/>
                </a:lnTo>
                <a:lnTo>
                  <a:pt x="52" y="21"/>
                </a:lnTo>
                <a:lnTo>
                  <a:pt x="51" y="20"/>
                </a:lnTo>
                <a:lnTo>
                  <a:pt x="50" y="20"/>
                </a:lnTo>
                <a:lnTo>
                  <a:pt x="49" y="19"/>
                </a:lnTo>
                <a:lnTo>
                  <a:pt x="51" y="17"/>
                </a:lnTo>
                <a:lnTo>
                  <a:pt x="51" y="17"/>
                </a:lnTo>
                <a:lnTo>
                  <a:pt x="50" y="16"/>
                </a:lnTo>
                <a:lnTo>
                  <a:pt x="48" y="17"/>
                </a:lnTo>
                <a:lnTo>
                  <a:pt x="48" y="17"/>
                </a:lnTo>
                <a:lnTo>
                  <a:pt x="48" y="18"/>
                </a:lnTo>
                <a:lnTo>
                  <a:pt x="46" y="19"/>
                </a:lnTo>
                <a:lnTo>
                  <a:pt x="45" y="19"/>
                </a:lnTo>
                <a:lnTo>
                  <a:pt x="44" y="18"/>
                </a:lnTo>
                <a:lnTo>
                  <a:pt x="44" y="18"/>
                </a:lnTo>
                <a:lnTo>
                  <a:pt x="44" y="17"/>
                </a:lnTo>
                <a:lnTo>
                  <a:pt x="43" y="17"/>
                </a:lnTo>
                <a:lnTo>
                  <a:pt x="42" y="17"/>
                </a:lnTo>
                <a:lnTo>
                  <a:pt x="41" y="18"/>
                </a:lnTo>
                <a:lnTo>
                  <a:pt x="41" y="19"/>
                </a:lnTo>
                <a:lnTo>
                  <a:pt x="41" y="20"/>
                </a:lnTo>
                <a:lnTo>
                  <a:pt x="40" y="20"/>
                </a:lnTo>
                <a:lnTo>
                  <a:pt x="41" y="20"/>
                </a:lnTo>
                <a:lnTo>
                  <a:pt x="42" y="21"/>
                </a:lnTo>
                <a:lnTo>
                  <a:pt x="43" y="21"/>
                </a:lnTo>
                <a:lnTo>
                  <a:pt x="42" y="22"/>
                </a:lnTo>
                <a:lnTo>
                  <a:pt x="41" y="21"/>
                </a:lnTo>
                <a:lnTo>
                  <a:pt x="39" y="21"/>
                </a:lnTo>
                <a:lnTo>
                  <a:pt x="38" y="22"/>
                </a:lnTo>
                <a:lnTo>
                  <a:pt x="38" y="22"/>
                </a:lnTo>
                <a:lnTo>
                  <a:pt x="38" y="23"/>
                </a:lnTo>
                <a:lnTo>
                  <a:pt x="35" y="23"/>
                </a:lnTo>
                <a:lnTo>
                  <a:pt x="34" y="23"/>
                </a:lnTo>
                <a:lnTo>
                  <a:pt x="32" y="23"/>
                </a:lnTo>
                <a:lnTo>
                  <a:pt x="31" y="23"/>
                </a:lnTo>
                <a:lnTo>
                  <a:pt x="31" y="23"/>
                </a:lnTo>
                <a:lnTo>
                  <a:pt x="30" y="23"/>
                </a:lnTo>
                <a:lnTo>
                  <a:pt x="26" y="23"/>
                </a:lnTo>
                <a:lnTo>
                  <a:pt x="26" y="23"/>
                </a:lnTo>
                <a:lnTo>
                  <a:pt x="25" y="23"/>
                </a:lnTo>
                <a:lnTo>
                  <a:pt x="26" y="22"/>
                </a:lnTo>
                <a:lnTo>
                  <a:pt x="25" y="22"/>
                </a:lnTo>
                <a:lnTo>
                  <a:pt x="24" y="22"/>
                </a:lnTo>
                <a:lnTo>
                  <a:pt x="22" y="21"/>
                </a:lnTo>
                <a:lnTo>
                  <a:pt x="22" y="21"/>
                </a:lnTo>
                <a:lnTo>
                  <a:pt x="20" y="20"/>
                </a:lnTo>
                <a:lnTo>
                  <a:pt x="20" y="20"/>
                </a:lnTo>
                <a:lnTo>
                  <a:pt x="25" y="20"/>
                </a:lnTo>
                <a:lnTo>
                  <a:pt x="28" y="20"/>
                </a:lnTo>
                <a:lnTo>
                  <a:pt x="28" y="19"/>
                </a:lnTo>
                <a:lnTo>
                  <a:pt x="25" y="19"/>
                </a:lnTo>
                <a:lnTo>
                  <a:pt x="22" y="19"/>
                </a:lnTo>
                <a:lnTo>
                  <a:pt x="15" y="19"/>
                </a:lnTo>
                <a:lnTo>
                  <a:pt x="15" y="18"/>
                </a:lnTo>
                <a:lnTo>
                  <a:pt x="13" y="18"/>
                </a:lnTo>
                <a:lnTo>
                  <a:pt x="14" y="18"/>
                </a:lnTo>
                <a:lnTo>
                  <a:pt x="11" y="17"/>
                </a:lnTo>
                <a:lnTo>
                  <a:pt x="12" y="16"/>
                </a:lnTo>
                <a:lnTo>
                  <a:pt x="14" y="16"/>
                </a:lnTo>
                <a:lnTo>
                  <a:pt x="14" y="16"/>
                </a:lnTo>
                <a:lnTo>
                  <a:pt x="12" y="16"/>
                </a:lnTo>
                <a:lnTo>
                  <a:pt x="9" y="15"/>
                </a:lnTo>
                <a:lnTo>
                  <a:pt x="8" y="13"/>
                </a:lnTo>
                <a:lnTo>
                  <a:pt x="10" y="13"/>
                </a:lnTo>
                <a:lnTo>
                  <a:pt x="11" y="15"/>
                </a:lnTo>
                <a:lnTo>
                  <a:pt x="19" y="15"/>
                </a:lnTo>
                <a:lnTo>
                  <a:pt x="19" y="15"/>
                </a:lnTo>
                <a:lnTo>
                  <a:pt x="18" y="13"/>
                </a:lnTo>
                <a:lnTo>
                  <a:pt x="15" y="15"/>
                </a:lnTo>
                <a:lnTo>
                  <a:pt x="14" y="13"/>
                </a:lnTo>
                <a:lnTo>
                  <a:pt x="13" y="13"/>
                </a:lnTo>
                <a:lnTo>
                  <a:pt x="11" y="12"/>
                </a:lnTo>
                <a:lnTo>
                  <a:pt x="11" y="12"/>
                </a:lnTo>
                <a:lnTo>
                  <a:pt x="12" y="12"/>
                </a:lnTo>
                <a:lnTo>
                  <a:pt x="12" y="11"/>
                </a:lnTo>
                <a:lnTo>
                  <a:pt x="12" y="11"/>
                </a:lnTo>
                <a:lnTo>
                  <a:pt x="14" y="11"/>
                </a:lnTo>
                <a:lnTo>
                  <a:pt x="13" y="10"/>
                </a:lnTo>
                <a:lnTo>
                  <a:pt x="14" y="10"/>
                </a:lnTo>
                <a:lnTo>
                  <a:pt x="12" y="10"/>
                </a:lnTo>
                <a:lnTo>
                  <a:pt x="11" y="10"/>
                </a:lnTo>
                <a:lnTo>
                  <a:pt x="11" y="10"/>
                </a:lnTo>
                <a:lnTo>
                  <a:pt x="10" y="10"/>
                </a:lnTo>
                <a:lnTo>
                  <a:pt x="8" y="10"/>
                </a:lnTo>
                <a:lnTo>
                  <a:pt x="10" y="11"/>
                </a:lnTo>
                <a:lnTo>
                  <a:pt x="9" y="12"/>
                </a:lnTo>
                <a:lnTo>
                  <a:pt x="7" y="12"/>
                </a:lnTo>
                <a:lnTo>
                  <a:pt x="5" y="12"/>
                </a:lnTo>
                <a:lnTo>
                  <a:pt x="5" y="11"/>
                </a:lnTo>
                <a:lnTo>
                  <a:pt x="5" y="11"/>
                </a:lnTo>
                <a:lnTo>
                  <a:pt x="4" y="10"/>
                </a:lnTo>
                <a:lnTo>
                  <a:pt x="3" y="10"/>
                </a:lnTo>
                <a:lnTo>
                  <a:pt x="3" y="10"/>
                </a:lnTo>
                <a:lnTo>
                  <a:pt x="3" y="9"/>
                </a:lnTo>
                <a:lnTo>
                  <a:pt x="3" y="9"/>
                </a:lnTo>
                <a:lnTo>
                  <a:pt x="2" y="9"/>
                </a:lnTo>
                <a:lnTo>
                  <a:pt x="1" y="9"/>
                </a:lnTo>
                <a:lnTo>
                  <a:pt x="1" y="8"/>
                </a:lnTo>
                <a:lnTo>
                  <a:pt x="1" y="7"/>
                </a:lnTo>
                <a:lnTo>
                  <a:pt x="0" y="7"/>
                </a:lnTo>
                <a:lnTo>
                  <a:pt x="0" y="7"/>
                </a:lnTo>
                <a:lnTo>
                  <a:pt x="1" y="7"/>
                </a:lnTo>
                <a:lnTo>
                  <a:pt x="2" y="7"/>
                </a:lnTo>
                <a:lnTo>
                  <a:pt x="3" y="6"/>
                </a:lnTo>
                <a:lnTo>
                  <a:pt x="1" y="6"/>
                </a:lnTo>
                <a:lnTo>
                  <a:pt x="1" y="5"/>
                </a:lnTo>
                <a:lnTo>
                  <a:pt x="1" y="5"/>
                </a:lnTo>
                <a:lnTo>
                  <a:pt x="2" y="5"/>
                </a:lnTo>
                <a:lnTo>
                  <a:pt x="3" y="6"/>
                </a:lnTo>
                <a:lnTo>
                  <a:pt x="5" y="6"/>
                </a:lnTo>
                <a:lnTo>
                  <a:pt x="5" y="6"/>
                </a:lnTo>
                <a:lnTo>
                  <a:pt x="4" y="5"/>
                </a:lnTo>
                <a:lnTo>
                  <a:pt x="4" y="3"/>
                </a:lnTo>
                <a:lnTo>
                  <a:pt x="4" y="3"/>
                </a:lnTo>
                <a:lnTo>
                  <a:pt x="7" y="3"/>
                </a:lnTo>
                <a:lnTo>
                  <a:pt x="8" y="3"/>
                </a:lnTo>
                <a:lnTo>
                  <a:pt x="8" y="3"/>
                </a:lnTo>
                <a:lnTo>
                  <a:pt x="9" y="2"/>
                </a:lnTo>
                <a:lnTo>
                  <a:pt x="13" y="5"/>
                </a:lnTo>
                <a:lnTo>
                  <a:pt x="13" y="5"/>
                </a:lnTo>
                <a:lnTo>
                  <a:pt x="14" y="5"/>
                </a:lnTo>
                <a:lnTo>
                  <a:pt x="15" y="5"/>
                </a:lnTo>
                <a:lnTo>
                  <a:pt x="14" y="2"/>
                </a:lnTo>
                <a:lnTo>
                  <a:pt x="15" y="2"/>
                </a:lnTo>
                <a:lnTo>
                  <a:pt x="15" y="3"/>
                </a:lnTo>
                <a:lnTo>
                  <a:pt x="15" y="3"/>
                </a:lnTo>
                <a:lnTo>
                  <a:pt x="18" y="3"/>
                </a:lnTo>
                <a:lnTo>
                  <a:pt x="18" y="3"/>
                </a:lnTo>
                <a:lnTo>
                  <a:pt x="22" y="3"/>
                </a:lnTo>
                <a:lnTo>
                  <a:pt x="25" y="2"/>
                </a:lnTo>
                <a:lnTo>
                  <a:pt x="29" y="2"/>
                </a:lnTo>
                <a:lnTo>
                  <a:pt x="30" y="2"/>
                </a:lnTo>
                <a:lnTo>
                  <a:pt x="31" y="3"/>
                </a:lnTo>
                <a:lnTo>
                  <a:pt x="31" y="3"/>
                </a:lnTo>
                <a:lnTo>
                  <a:pt x="31" y="5"/>
                </a:lnTo>
                <a:lnTo>
                  <a:pt x="28" y="5"/>
                </a:lnTo>
                <a:lnTo>
                  <a:pt x="26" y="5"/>
                </a:lnTo>
                <a:lnTo>
                  <a:pt x="25" y="5"/>
                </a:lnTo>
                <a:lnTo>
                  <a:pt x="23" y="5"/>
                </a:lnTo>
                <a:lnTo>
                  <a:pt x="22" y="5"/>
                </a:lnTo>
                <a:lnTo>
                  <a:pt x="20" y="6"/>
                </a:lnTo>
                <a:lnTo>
                  <a:pt x="18" y="6"/>
                </a:lnTo>
                <a:lnTo>
                  <a:pt x="16" y="7"/>
                </a:lnTo>
                <a:lnTo>
                  <a:pt x="19" y="7"/>
                </a:lnTo>
                <a:lnTo>
                  <a:pt x="24" y="6"/>
                </a:lnTo>
                <a:lnTo>
                  <a:pt x="28" y="6"/>
                </a:lnTo>
                <a:lnTo>
                  <a:pt x="26" y="7"/>
                </a:lnTo>
                <a:lnTo>
                  <a:pt x="25" y="7"/>
                </a:lnTo>
                <a:lnTo>
                  <a:pt x="26" y="8"/>
                </a:lnTo>
                <a:lnTo>
                  <a:pt x="25" y="8"/>
                </a:lnTo>
                <a:lnTo>
                  <a:pt x="26" y="8"/>
                </a:lnTo>
                <a:lnTo>
                  <a:pt x="28" y="8"/>
                </a:lnTo>
                <a:lnTo>
                  <a:pt x="28" y="8"/>
                </a:lnTo>
                <a:lnTo>
                  <a:pt x="30" y="8"/>
                </a:lnTo>
                <a:lnTo>
                  <a:pt x="31" y="9"/>
                </a:lnTo>
                <a:lnTo>
                  <a:pt x="32" y="10"/>
                </a:lnTo>
                <a:lnTo>
                  <a:pt x="35" y="10"/>
                </a:lnTo>
                <a:lnTo>
                  <a:pt x="36" y="10"/>
                </a:lnTo>
                <a:lnTo>
                  <a:pt x="35" y="10"/>
                </a:lnTo>
                <a:lnTo>
                  <a:pt x="34" y="9"/>
                </a:lnTo>
                <a:lnTo>
                  <a:pt x="32" y="8"/>
                </a:lnTo>
                <a:lnTo>
                  <a:pt x="32" y="7"/>
                </a:lnTo>
                <a:lnTo>
                  <a:pt x="32" y="7"/>
                </a:lnTo>
                <a:lnTo>
                  <a:pt x="32" y="6"/>
                </a:lnTo>
                <a:lnTo>
                  <a:pt x="34" y="6"/>
                </a:lnTo>
                <a:lnTo>
                  <a:pt x="34" y="5"/>
                </a:lnTo>
                <a:lnTo>
                  <a:pt x="35" y="5"/>
                </a:lnTo>
                <a:lnTo>
                  <a:pt x="35" y="3"/>
                </a:lnTo>
                <a:lnTo>
                  <a:pt x="38" y="3"/>
                </a:lnTo>
                <a:lnTo>
                  <a:pt x="40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44" name="Freeform 844"/>
          <p:cNvSpPr>
            <a:spLocks/>
          </p:cNvSpPr>
          <p:nvPr/>
        </p:nvSpPr>
        <p:spPr bwMode="auto">
          <a:xfrm>
            <a:off x="4519613" y="1416015"/>
            <a:ext cx="28575" cy="12700"/>
          </a:xfrm>
          <a:custGeom>
            <a:avLst/>
            <a:gdLst>
              <a:gd name="T0" fmla="*/ 0 w 18"/>
              <a:gd name="T1" fmla="*/ 0 h 8"/>
              <a:gd name="T2" fmla="*/ 2 w 18"/>
              <a:gd name="T3" fmla="*/ 1 h 8"/>
              <a:gd name="T4" fmla="*/ 3 w 18"/>
              <a:gd name="T5" fmla="*/ 1 h 8"/>
              <a:gd name="T6" fmla="*/ 3 w 18"/>
              <a:gd name="T7" fmla="*/ 1 h 8"/>
              <a:gd name="T8" fmla="*/ 7 w 18"/>
              <a:gd name="T9" fmla="*/ 2 h 8"/>
              <a:gd name="T10" fmla="*/ 8 w 18"/>
              <a:gd name="T11" fmla="*/ 4 h 8"/>
              <a:gd name="T12" fmla="*/ 9 w 18"/>
              <a:gd name="T13" fmla="*/ 4 h 8"/>
              <a:gd name="T14" fmla="*/ 8 w 18"/>
              <a:gd name="T15" fmla="*/ 4 h 8"/>
              <a:gd name="T16" fmla="*/ 10 w 18"/>
              <a:gd name="T17" fmla="*/ 5 h 8"/>
              <a:gd name="T18" fmla="*/ 10 w 18"/>
              <a:gd name="T19" fmla="*/ 5 h 8"/>
              <a:gd name="T20" fmla="*/ 13 w 18"/>
              <a:gd name="T21" fmla="*/ 6 h 8"/>
              <a:gd name="T22" fmla="*/ 13 w 18"/>
              <a:gd name="T23" fmla="*/ 6 h 8"/>
              <a:gd name="T24" fmla="*/ 14 w 18"/>
              <a:gd name="T25" fmla="*/ 6 h 8"/>
              <a:gd name="T26" fmla="*/ 14 w 18"/>
              <a:gd name="T27" fmla="*/ 6 h 8"/>
              <a:gd name="T28" fmla="*/ 14 w 18"/>
              <a:gd name="T29" fmla="*/ 6 h 8"/>
              <a:gd name="T30" fmla="*/ 15 w 18"/>
              <a:gd name="T31" fmla="*/ 7 h 8"/>
              <a:gd name="T32" fmla="*/ 16 w 18"/>
              <a:gd name="T33" fmla="*/ 7 h 8"/>
              <a:gd name="T34" fmla="*/ 16 w 18"/>
              <a:gd name="T35" fmla="*/ 8 h 8"/>
              <a:gd name="T36" fmla="*/ 18 w 18"/>
              <a:gd name="T37" fmla="*/ 8 h 8"/>
              <a:gd name="T38" fmla="*/ 14 w 18"/>
              <a:gd name="T39" fmla="*/ 8 h 8"/>
              <a:gd name="T40" fmla="*/ 13 w 18"/>
              <a:gd name="T41" fmla="*/ 7 h 8"/>
              <a:gd name="T42" fmla="*/ 11 w 18"/>
              <a:gd name="T43" fmla="*/ 7 h 8"/>
              <a:gd name="T44" fmla="*/ 11 w 18"/>
              <a:gd name="T45" fmla="*/ 6 h 8"/>
              <a:gd name="T46" fmla="*/ 9 w 18"/>
              <a:gd name="T47" fmla="*/ 5 h 8"/>
              <a:gd name="T48" fmla="*/ 8 w 18"/>
              <a:gd name="T49" fmla="*/ 6 h 8"/>
              <a:gd name="T50" fmla="*/ 5 w 18"/>
              <a:gd name="T51" fmla="*/ 5 h 8"/>
              <a:gd name="T52" fmla="*/ 4 w 18"/>
              <a:gd name="T53" fmla="*/ 4 h 8"/>
              <a:gd name="T54" fmla="*/ 3 w 18"/>
              <a:gd name="T55" fmla="*/ 3 h 8"/>
              <a:gd name="T56" fmla="*/ 1 w 18"/>
              <a:gd name="T57" fmla="*/ 2 h 8"/>
              <a:gd name="T58" fmla="*/ 0 w 18"/>
              <a:gd name="T59" fmla="*/ 2 h 8"/>
              <a:gd name="T60" fmla="*/ 0 w 18"/>
              <a:gd name="T61" fmla="*/ 2 h 8"/>
              <a:gd name="T62" fmla="*/ 0 w 18"/>
              <a:gd name="T63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8" h="8">
                <a:moveTo>
                  <a:pt x="0" y="0"/>
                </a:moveTo>
                <a:lnTo>
                  <a:pt x="2" y="1"/>
                </a:lnTo>
                <a:lnTo>
                  <a:pt x="3" y="1"/>
                </a:lnTo>
                <a:lnTo>
                  <a:pt x="3" y="1"/>
                </a:lnTo>
                <a:lnTo>
                  <a:pt x="7" y="2"/>
                </a:lnTo>
                <a:lnTo>
                  <a:pt x="8" y="4"/>
                </a:lnTo>
                <a:lnTo>
                  <a:pt x="9" y="4"/>
                </a:lnTo>
                <a:lnTo>
                  <a:pt x="8" y="4"/>
                </a:lnTo>
                <a:lnTo>
                  <a:pt x="10" y="5"/>
                </a:lnTo>
                <a:lnTo>
                  <a:pt x="10" y="5"/>
                </a:lnTo>
                <a:lnTo>
                  <a:pt x="13" y="6"/>
                </a:lnTo>
                <a:lnTo>
                  <a:pt x="13" y="6"/>
                </a:lnTo>
                <a:lnTo>
                  <a:pt x="14" y="6"/>
                </a:lnTo>
                <a:lnTo>
                  <a:pt x="14" y="6"/>
                </a:lnTo>
                <a:lnTo>
                  <a:pt x="14" y="6"/>
                </a:lnTo>
                <a:lnTo>
                  <a:pt x="15" y="7"/>
                </a:lnTo>
                <a:lnTo>
                  <a:pt x="16" y="7"/>
                </a:lnTo>
                <a:lnTo>
                  <a:pt x="16" y="8"/>
                </a:lnTo>
                <a:lnTo>
                  <a:pt x="18" y="8"/>
                </a:lnTo>
                <a:lnTo>
                  <a:pt x="14" y="8"/>
                </a:lnTo>
                <a:lnTo>
                  <a:pt x="13" y="7"/>
                </a:lnTo>
                <a:lnTo>
                  <a:pt x="11" y="7"/>
                </a:lnTo>
                <a:lnTo>
                  <a:pt x="11" y="6"/>
                </a:lnTo>
                <a:lnTo>
                  <a:pt x="9" y="5"/>
                </a:lnTo>
                <a:lnTo>
                  <a:pt x="8" y="6"/>
                </a:lnTo>
                <a:lnTo>
                  <a:pt x="5" y="5"/>
                </a:lnTo>
                <a:lnTo>
                  <a:pt x="4" y="4"/>
                </a:lnTo>
                <a:lnTo>
                  <a:pt x="3" y="3"/>
                </a:lnTo>
                <a:lnTo>
                  <a:pt x="1" y="2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45" name="Freeform 845"/>
          <p:cNvSpPr>
            <a:spLocks/>
          </p:cNvSpPr>
          <p:nvPr/>
        </p:nvSpPr>
        <p:spPr bwMode="auto">
          <a:xfrm>
            <a:off x="4519613" y="1416015"/>
            <a:ext cx="28575" cy="12700"/>
          </a:xfrm>
          <a:custGeom>
            <a:avLst/>
            <a:gdLst>
              <a:gd name="T0" fmla="*/ 0 w 18"/>
              <a:gd name="T1" fmla="*/ 0 h 8"/>
              <a:gd name="T2" fmla="*/ 2 w 18"/>
              <a:gd name="T3" fmla="*/ 1 h 8"/>
              <a:gd name="T4" fmla="*/ 3 w 18"/>
              <a:gd name="T5" fmla="*/ 1 h 8"/>
              <a:gd name="T6" fmla="*/ 3 w 18"/>
              <a:gd name="T7" fmla="*/ 1 h 8"/>
              <a:gd name="T8" fmla="*/ 7 w 18"/>
              <a:gd name="T9" fmla="*/ 2 h 8"/>
              <a:gd name="T10" fmla="*/ 8 w 18"/>
              <a:gd name="T11" fmla="*/ 4 h 8"/>
              <a:gd name="T12" fmla="*/ 9 w 18"/>
              <a:gd name="T13" fmla="*/ 4 h 8"/>
              <a:gd name="T14" fmla="*/ 8 w 18"/>
              <a:gd name="T15" fmla="*/ 4 h 8"/>
              <a:gd name="T16" fmla="*/ 10 w 18"/>
              <a:gd name="T17" fmla="*/ 5 h 8"/>
              <a:gd name="T18" fmla="*/ 10 w 18"/>
              <a:gd name="T19" fmla="*/ 5 h 8"/>
              <a:gd name="T20" fmla="*/ 13 w 18"/>
              <a:gd name="T21" fmla="*/ 6 h 8"/>
              <a:gd name="T22" fmla="*/ 13 w 18"/>
              <a:gd name="T23" fmla="*/ 6 h 8"/>
              <a:gd name="T24" fmla="*/ 14 w 18"/>
              <a:gd name="T25" fmla="*/ 6 h 8"/>
              <a:gd name="T26" fmla="*/ 14 w 18"/>
              <a:gd name="T27" fmla="*/ 6 h 8"/>
              <a:gd name="T28" fmla="*/ 14 w 18"/>
              <a:gd name="T29" fmla="*/ 6 h 8"/>
              <a:gd name="T30" fmla="*/ 15 w 18"/>
              <a:gd name="T31" fmla="*/ 7 h 8"/>
              <a:gd name="T32" fmla="*/ 16 w 18"/>
              <a:gd name="T33" fmla="*/ 7 h 8"/>
              <a:gd name="T34" fmla="*/ 16 w 18"/>
              <a:gd name="T35" fmla="*/ 8 h 8"/>
              <a:gd name="T36" fmla="*/ 18 w 18"/>
              <a:gd name="T37" fmla="*/ 8 h 8"/>
              <a:gd name="T38" fmla="*/ 14 w 18"/>
              <a:gd name="T39" fmla="*/ 8 h 8"/>
              <a:gd name="T40" fmla="*/ 13 w 18"/>
              <a:gd name="T41" fmla="*/ 7 h 8"/>
              <a:gd name="T42" fmla="*/ 11 w 18"/>
              <a:gd name="T43" fmla="*/ 7 h 8"/>
              <a:gd name="T44" fmla="*/ 11 w 18"/>
              <a:gd name="T45" fmla="*/ 6 h 8"/>
              <a:gd name="T46" fmla="*/ 9 w 18"/>
              <a:gd name="T47" fmla="*/ 5 h 8"/>
              <a:gd name="T48" fmla="*/ 8 w 18"/>
              <a:gd name="T49" fmla="*/ 6 h 8"/>
              <a:gd name="T50" fmla="*/ 5 w 18"/>
              <a:gd name="T51" fmla="*/ 5 h 8"/>
              <a:gd name="T52" fmla="*/ 4 w 18"/>
              <a:gd name="T53" fmla="*/ 4 h 8"/>
              <a:gd name="T54" fmla="*/ 3 w 18"/>
              <a:gd name="T55" fmla="*/ 3 h 8"/>
              <a:gd name="T56" fmla="*/ 1 w 18"/>
              <a:gd name="T57" fmla="*/ 2 h 8"/>
              <a:gd name="T58" fmla="*/ 0 w 18"/>
              <a:gd name="T59" fmla="*/ 2 h 8"/>
              <a:gd name="T60" fmla="*/ 0 w 18"/>
              <a:gd name="T61" fmla="*/ 2 h 8"/>
              <a:gd name="T62" fmla="*/ 0 w 18"/>
              <a:gd name="T63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8" h="8">
                <a:moveTo>
                  <a:pt x="0" y="0"/>
                </a:moveTo>
                <a:lnTo>
                  <a:pt x="2" y="1"/>
                </a:lnTo>
                <a:lnTo>
                  <a:pt x="3" y="1"/>
                </a:lnTo>
                <a:lnTo>
                  <a:pt x="3" y="1"/>
                </a:lnTo>
                <a:lnTo>
                  <a:pt x="7" y="2"/>
                </a:lnTo>
                <a:lnTo>
                  <a:pt x="8" y="4"/>
                </a:lnTo>
                <a:lnTo>
                  <a:pt x="9" y="4"/>
                </a:lnTo>
                <a:lnTo>
                  <a:pt x="8" y="4"/>
                </a:lnTo>
                <a:lnTo>
                  <a:pt x="10" y="5"/>
                </a:lnTo>
                <a:lnTo>
                  <a:pt x="10" y="5"/>
                </a:lnTo>
                <a:lnTo>
                  <a:pt x="13" y="6"/>
                </a:lnTo>
                <a:lnTo>
                  <a:pt x="13" y="6"/>
                </a:lnTo>
                <a:lnTo>
                  <a:pt x="14" y="6"/>
                </a:lnTo>
                <a:lnTo>
                  <a:pt x="14" y="6"/>
                </a:lnTo>
                <a:lnTo>
                  <a:pt x="14" y="6"/>
                </a:lnTo>
                <a:lnTo>
                  <a:pt x="15" y="7"/>
                </a:lnTo>
                <a:lnTo>
                  <a:pt x="16" y="7"/>
                </a:lnTo>
                <a:lnTo>
                  <a:pt x="16" y="8"/>
                </a:lnTo>
                <a:lnTo>
                  <a:pt x="18" y="8"/>
                </a:lnTo>
                <a:lnTo>
                  <a:pt x="14" y="8"/>
                </a:lnTo>
                <a:lnTo>
                  <a:pt x="13" y="7"/>
                </a:lnTo>
                <a:lnTo>
                  <a:pt x="11" y="7"/>
                </a:lnTo>
                <a:lnTo>
                  <a:pt x="11" y="6"/>
                </a:lnTo>
                <a:lnTo>
                  <a:pt x="9" y="5"/>
                </a:lnTo>
                <a:lnTo>
                  <a:pt x="8" y="6"/>
                </a:lnTo>
                <a:lnTo>
                  <a:pt x="5" y="5"/>
                </a:lnTo>
                <a:lnTo>
                  <a:pt x="4" y="4"/>
                </a:lnTo>
                <a:lnTo>
                  <a:pt x="3" y="3"/>
                </a:lnTo>
                <a:lnTo>
                  <a:pt x="1" y="2"/>
                </a:lnTo>
                <a:lnTo>
                  <a:pt x="0" y="2"/>
                </a:lnTo>
                <a:lnTo>
                  <a:pt x="0" y="2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46" name="Freeform 846"/>
          <p:cNvSpPr>
            <a:spLocks/>
          </p:cNvSpPr>
          <p:nvPr/>
        </p:nvSpPr>
        <p:spPr bwMode="auto">
          <a:xfrm>
            <a:off x="4676775" y="1420778"/>
            <a:ext cx="38100" cy="7938"/>
          </a:xfrm>
          <a:custGeom>
            <a:avLst/>
            <a:gdLst>
              <a:gd name="T0" fmla="*/ 12 w 24"/>
              <a:gd name="T1" fmla="*/ 1 h 5"/>
              <a:gd name="T2" fmla="*/ 13 w 24"/>
              <a:gd name="T3" fmla="*/ 0 h 5"/>
              <a:gd name="T4" fmla="*/ 12 w 24"/>
              <a:gd name="T5" fmla="*/ 1 h 5"/>
              <a:gd name="T6" fmla="*/ 11 w 24"/>
              <a:gd name="T7" fmla="*/ 1 h 5"/>
              <a:gd name="T8" fmla="*/ 12 w 24"/>
              <a:gd name="T9" fmla="*/ 1 h 5"/>
              <a:gd name="T10" fmla="*/ 20 w 24"/>
              <a:gd name="T11" fmla="*/ 1 h 5"/>
              <a:gd name="T12" fmla="*/ 20 w 24"/>
              <a:gd name="T13" fmla="*/ 1 h 5"/>
              <a:gd name="T14" fmla="*/ 21 w 24"/>
              <a:gd name="T15" fmla="*/ 1 h 5"/>
              <a:gd name="T16" fmla="*/ 24 w 24"/>
              <a:gd name="T17" fmla="*/ 2 h 5"/>
              <a:gd name="T18" fmla="*/ 21 w 24"/>
              <a:gd name="T19" fmla="*/ 3 h 5"/>
              <a:gd name="T20" fmla="*/ 21 w 24"/>
              <a:gd name="T21" fmla="*/ 4 h 5"/>
              <a:gd name="T22" fmla="*/ 21 w 24"/>
              <a:gd name="T23" fmla="*/ 4 h 5"/>
              <a:gd name="T24" fmla="*/ 21 w 24"/>
              <a:gd name="T25" fmla="*/ 5 h 5"/>
              <a:gd name="T26" fmla="*/ 16 w 24"/>
              <a:gd name="T27" fmla="*/ 5 h 5"/>
              <a:gd name="T28" fmla="*/ 13 w 24"/>
              <a:gd name="T29" fmla="*/ 5 h 5"/>
              <a:gd name="T30" fmla="*/ 12 w 24"/>
              <a:gd name="T31" fmla="*/ 5 h 5"/>
              <a:gd name="T32" fmla="*/ 11 w 24"/>
              <a:gd name="T33" fmla="*/ 5 h 5"/>
              <a:gd name="T34" fmla="*/ 8 w 24"/>
              <a:gd name="T35" fmla="*/ 5 h 5"/>
              <a:gd name="T36" fmla="*/ 7 w 24"/>
              <a:gd name="T37" fmla="*/ 5 h 5"/>
              <a:gd name="T38" fmla="*/ 6 w 24"/>
              <a:gd name="T39" fmla="*/ 5 h 5"/>
              <a:gd name="T40" fmla="*/ 5 w 24"/>
              <a:gd name="T41" fmla="*/ 4 h 5"/>
              <a:gd name="T42" fmla="*/ 5 w 24"/>
              <a:gd name="T43" fmla="*/ 4 h 5"/>
              <a:gd name="T44" fmla="*/ 5 w 24"/>
              <a:gd name="T45" fmla="*/ 3 h 5"/>
              <a:gd name="T46" fmla="*/ 5 w 24"/>
              <a:gd name="T47" fmla="*/ 3 h 5"/>
              <a:gd name="T48" fmla="*/ 3 w 24"/>
              <a:gd name="T49" fmla="*/ 3 h 5"/>
              <a:gd name="T50" fmla="*/ 0 w 24"/>
              <a:gd name="T51" fmla="*/ 2 h 5"/>
              <a:gd name="T52" fmla="*/ 5 w 24"/>
              <a:gd name="T53" fmla="*/ 2 h 5"/>
              <a:gd name="T54" fmla="*/ 6 w 24"/>
              <a:gd name="T55" fmla="*/ 1 h 5"/>
              <a:gd name="T56" fmla="*/ 7 w 24"/>
              <a:gd name="T57" fmla="*/ 1 h 5"/>
              <a:gd name="T58" fmla="*/ 8 w 24"/>
              <a:gd name="T59" fmla="*/ 1 h 5"/>
              <a:gd name="T60" fmla="*/ 10 w 24"/>
              <a:gd name="T61" fmla="*/ 1 h 5"/>
              <a:gd name="T62" fmla="*/ 12 w 24"/>
              <a:gd name="T63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4" h="5">
                <a:moveTo>
                  <a:pt x="12" y="1"/>
                </a:moveTo>
                <a:lnTo>
                  <a:pt x="13" y="0"/>
                </a:lnTo>
                <a:lnTo>
                  <a:pt x="12" y="1"/>
                </a:lnTo>
                <a:lnTo>
                  <a:pt x="11" y="1"/>
                </a:lnTo>
                <a:lnTo>
                  <a:pt x="12" y="1"/>
                </a:lnTo>
                <a:lnTo>
                  <a:pt x="20" y="1"/>
                </a:lnTo>
                <a:lnTo>
                  <a:pt x="20" y="1"/>
                </a:lnTo>
                <a:lnTo>
                  <a:pt x="21" y="1"/>
                </a:lnTo>
                <a:lnTo>
                  <a:pt x="24" y="2"/>
                </a:lnTo>
                <a:lnTo>
                  <a:pt x="21" y="3"/>
                </a:lnTo>
                <a:lnTo>
                  <a:pt x="21" y="4"/>
                </a:lnTo>
                <a:lnTo>
                  <a:pt x="21" y="4"/>
                </a:lnTo>
                <a:lnTo>
                  <a:pt x="21" y="5"/>
                </a:lnTo>
                <a:lnTo>
                  <a:pt x="16" y="5"/>
                </a:lnTo>
                <a:lnTo>
                  <a:pt x="13" y="5"/>
                </a:lnTo>
                <a:lnTo>
                  <a:pt x="12" y="5"/>
                </a:lnTo>
                <a:lnTo>
                  <a:pt x="11" y="5"/>
                </a:lnTo>
                <a:lnTo>
                  <a:pt x="8" y="5"/>
                </a:lnTo>
                <a:lnTo>
                  <a:pt x="7" y="5"/>
                </a:lnTo>
                <a:lnTo>
                  <a:pt x="6" y="5"/>
                </a:lnTo>
                <a:lnTo>
                  <a:pt x="5" y="4"/>
                </a:lnTo>
                <a:lnTo>
                  <a:pt x="5" y="4"/>
                </a:lnTo>
                <a:lnTo>
                  <a:pt x="5" y="3"/>
                </a:lnTo>
                <a:lnTo>
                  <a:pt x="5" y="3"/>
                </a:lnTo>
                <a:lnTo>
                  <a:pt x="3" y="3"/>
                </a:lnTo>
                <a:lnTo>
                  <a:pt x="0" y="2"/>
                </a:lnTo>
                <a:lnTo>
                  <a:pt x="5" y="2"/>
                </a:lnTo>
                <a:lnTo>
                  <a:pt x="6" y="1"/>
                </a:lnTo>
                <a:lnTo>
                  <a:pt x="7" y="1"/>
                </a:lnTo>
                <a:lnTo>
                  <a:pt x="8" y="1"/>
                </a:lnTo>
                <a:lnTo>
                  <a:pt x="10" y="1"/>
                </a:lnTo>
                <a:lnTo>
                  <a:pt x="12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47" name="Freeform 847"/>
          <p:cNvSpPr>
            <a:spLocks/>
          </p:cNvSpPr>
          <p:nvPr/>
        </p:nvSpPr>
        <p:spPr bwMode="auto">
          <a:xfrm>
            <a:off x="4676775" y="1420778"/>
            <a:ext cx="38100" cy="7938"/>
          </a:xfrm>
          <a:custGeom>
            <a:avLst/>
            <a:gdLst>
              <a:gd name="T0" fmla="*/ 12 w 24"/>
              <a:gd name="T1" fmla="*/ 1 h 5"/>
              <a:gd name="T2" fmla="*/ 13 w 24"/>
              <a:gd name="T3" fmla="*/ 0 h 5"/>
              <a:gd name="T4" fmla="*/ 12 w 24"/>
              <a:gd name="T5" fmla="*/ 1 h 5"/>
              <a:gd name="T6" fmla="*/ 11 w 24"/>
              <a:gd name="T7" fmla="*/ 1 h 5"/>
              <a:gd name="T8" fmla="*/ 12 w 24"/>
              <a:gd name="T9" fmla="*/ 1 h 5"/>
              <a:gd name="T10" fmla="*/ 20 w 24"/>
              <a:gd name="T11" fmla="*/ 1 h 5"/>
              <a:gd name="T12" fmla="*/ 20 w 24"/>
              <a:gd name="T13" fmla="*/ 1 h 5"/>
              <a:gd name="T14" fmla="*/ 21 w 24"/>
              <a:gd name="T15" fmla="*/ 1 h 5"/>
              <a:gd name="T16" fmla="*/ 24 w 24"/>
              <a:gd name="T17" fmla="*/ 2 h 5"/>
              <a:gd name="T18" fmla="*/ 21 w 24"/>
              <a:gd name="T19" fmla="*/ 3 h 5"/>
              <a:gd name="T20" fmla="*/ 21 w 24"/>
              <a:gd name="T21" fmla="*/ 4 h 5"/>
              <a:gd name="T22" fmla="*/ 21 w 24"/>
              <a:gd name="T23" fmla="*/ 4 h 5"/>
              <a:gd name="T24" fmla="*/ 21 w 24"/>
              <a:gd name="T25" fmla="*/ 5 h 5"/>
              <a:gd name="T26" fmla="*/ 16 w 24"/>
              <a:gd name="T27" fmla="*/ 5 h 5"/>
              <a:gd name="T28" fmla="*/ 13 w 24"/>
              <a:gd name="T29" fmla="*/ 5 h 5"/>
              <a:gd name="T30" fmla="*/ 12 w 24"/>
              <a:gd name="T31" fmla="*/ 5 h 5"/>
              <a:gd name="T32" fmla="*/ 11 w 24"/>
              <a:gd name="T33" fmla="*/ 5 h 5"/>
              <a:gd name="T34" fmla="*/ 8 w 24"/>
              <a:gd name="T35" fmla="*/ 5 h 5"/>
              <a:gd name="T36" fmla="*/ 7 w 24"/>
              <a:gd name="T37" fmla="*/ 5 h 5"/>
              <a:gd name="T38" fmla="*/ 6 w 24"/>
              <a:gd name="T39" fmla="*/ 5 h 5"/>
              <a:gd name="T40" fmla="*/ 5 w 24"/>
              <a:gd name="T41" fmla="*/ 4 h 5"/>
              <a:gd name="T42" fmla="*/ 5 w 24"/>
              <a:gd name="T43" fmla="*/ 4 h 5"/>
              <a:gd name="T44" fmla="*/ 5 w 24"/>
              <a:gd name="T45" fmla="*/ 3 h 5"/>
              <a:gd name="T46" fmla="*/ 5 w 24"/>
              <a:gd name="T47" fmla="*/ 3 h 5"/>
              <a:gd name="T48" fmla="*/ 3 w 24"/>
              <a:gd name="T49" fmla="*/ 3 h 5"/>
              <a:gd name="T50" fmla="*/ 0 w 24"/>
              <a:gd name="T51" fmla="*/ 2 h 5"/>
              <a:gd name="T52" fmla="*/ 5 w 24"/>
              <a:gd name="T53" fmla="*/ 2 h 5"/>
              <a:gd name="T54" fmla="*/ 6 w 24"/>
              <a:gd name="T55" fmla="*/ 1 h 5"/>
              <a:gd name="T56" fmla="*/ 7 w 24"/>
              <a:gd name="T57" fmla="*/ 1 h 5"/>
              <a:gd name="T58" fmla="*/ 8 w 24"/>
              <a:gd name="T59" fmla="*/ 1 h 5"/>
              <a:gd name="T60" fmla="*/ 10 w 24"/>
              <a:gd name="T61" fmla="*/ 1 h 5"/>
              <a:gd name="T62" fmla="*/ 12 w 24"/>
              <a:gd name="T63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4" h="5">
                <a:moveTo>
                  <a:pt x="12" y="1"/>
                </a:moveTo>
                <a:lnTo>
                  <a:pt x="13" y="0"/>
                </a:lnTo>
                <a:lnTo>
                  <a:pt x="12" y="1"/>
                </a:lnTo>
                <a:lnTo>
                  <a:pt x="11" y="1"/>
                </a:lnTo>
                <a:lnTo>
                  <a:pt x="12" y="1"/>
                </a:lnTo>
                <a:lnTo>
                  <a:pt x="20" y="1"/>
                </a:lnTo>
                <a:lnTo>
                  <a:pt x="20" y="1"/>
                </a:lnTo>
                <a:lnTo>
                  <a:pt x="21" y="1"/>
                </a:lnTo>
                <a:lnTo>
                  <a:pt x="24" y="2"/>
                </a:lnTo>
                <a:lnTo>
                  <a:pt x="21" y="3"/>
                </a:lnTo>
                <a:lnTo>
                  <a:pt x="21" y="4"/>
                </a:lnTo>
                <a:lnTo>
                  <a:pt x="21" y="4"/>
                </a:lnTo>
                <a:lnTo>
                  <a:pt x="21" y="5"/>
                </a:lnTo>
                <a:lnTo>
                  <a:pt x="16" y="5"/>
                </a:lnTo>
                <a:lnTo>
                  <a:pt x="13" y="5"/>
                </a:lnTo>
                <a:lnTo>
                  <a:pt x="12" y="5"/>
                </a:lnTo>
                <a:lnTo>
                  <a:pt x="11" y="5"/>
                </a:lnTo>
                <a:lnTo>
                  <a:pt x="8" y="5"/>
                </a:lnTo>
                <a:lnTo>
                  <a:pt x="7" y="5"/>
                </a:lnTo>
                <a:lnTo>
                  <a:pt x="6" y="5"/>
                </a:lnTo>
                <a:lnTo>
                  <a:pt x="5" y="4"/>
                </a:lnTo>
                <a:lnTo>
                  <a:pt x="5" y="4"/>
                </a:lnTo>
                <a:lnTo>
                  <a:pt x="5" y="3"/>
                </a:lnTo>
                <a:lnTo>
                  <a:pt x="5" y="3"/>
                </a:lnTo>
                <a:lnTo>
                  <a:pt x="3" y="3"/>
                </a:lnTo>
                <a:lnTo>
                  <a:pt x="0" y="2"/>
                </a:lnTo>
                <a:lnTo>
                  <a:pt x="5" y="2"/>
                </a:lnTo>
                <a:lnTo>
                  <a:pt x="6" y="1"/>
                </a:lnTo>
                <a:lnTo>
                  <a:pt x="7" y="1"/>
                </a:lnTo>
                <a:lnTo>
                  <a:pt x="8" y="1"/>
                </a:lnTo>
                <a:lnTo>
                  <a:pt x="10" y="1"/>
                </a:lnTo>
                <a:lnTo>
                  <a:pt x="12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48" name="Freeform 848"/>
          <p:cNvSpPr>
            <a:spLocks/>
          </p:cNvSpPr>
          <p:nvPr/>
        </p:nvSpPr>
        <p:spPr bwMode="auto">
          <a:xfrm>
            <a:off x="4689475" y="1427128"/>
            <a:ext cx="69850" cy="23813"/>
          </a:xfrm>
          <a:custGeom>
            <a:avLst/>
            <a:gdLst>
              <a:gd name="T0" fmla="*/ 20 w 44"/>
              <a:gd name="T1" fmla="*/ 1 h 15"/>
              <a:gd name="T2" fmla="*/ 23 w 44"/>
              <a:gd name="T3" fmla="*/ 1 h 15"/>
              <a:gd name="T4" fmla="*/ 26 w 44"/>
              <a:gd name="T5" fmla="*/ 3 h 15"/>
              <a:gd name="T6" fmla="*/ 25 w 44"/>
              <a:gd name="T7" fmla="*/ 4 h 15"/>
              <a:gd name="T8" fmla="*/ 26 w 44"/>
              <a:gd name="T9" fmla="*/ 4 h 15"/>
              <a:gd name="T10" fmla="*/ 23 w 44"/>
              <a:gd name="T11" fmla="*/ 4 h 15"/>
              <a:gd name="T12" fmla="*/ 24 w 44"/>
              <a:gd name="T13" fmla="*/ 5 h 15"/>
              <a:gd name="T14" fmla="*/ 27 w 44"/>
              <a:gd name="T15" fmla="*/ 6 h 15"/>
              <a:gd name="T16" fmla="*/ 29 w 44"/>
              <a:gd name="T17" fmla="*/ 7 h 15"/>
              <a:gd name="T18" fmla="*/ 35 w 44"/>
              <a:gd name="T19" fmla="*/ 6 h 15"/>
              <a:gd name="T20" fmla="*/ 36 w 44"/>
              <a:gd name="T21" fmla="*/ 6 h 15"/>
              <a:gd name="T22" fmla="*/ 38 w 44"/>
              <a:gd name="T23" fmla="*/ 7 h 15"/>
              <a:gd name="T24" fmla="*/ 39 w 44"/>
              <a:gd name="T25" fmla="*/ 7 h 15"/>
              <a:gd name="T26" fmla="*/ 40 w 44"/>
              <a:gd name="T27" fmla="*/ 8 h 15"/>
              <a:gd name="T28" fmla="*/ 44 w 44"/>
              <a:gd name="T29" fmla="*/ 8 h 15"/>
              <a:gd name="T30" fmla="*/ 40 w 44"/>
              <a:gd name="T31" fmla="*/ 8 h 15"/>
              <a:gd name="T32" fmla="*/ 36 w 44"/>
              <a:gd name="T33" fmla="*/ 9 h 15"/>
              <a:gd name="T34" fmla="*/ 34 w 44"/>
              <a:gd name="T35" fmla="*/ 10 h 15"/>
              <a:gd name="T36" fmla="*/ 33 w 44"/>
              <a:gd name="T37" fmla="*/ 11 h 15"/>
              <a:gd name="T38" fmla="*/ 32 w 44"/>
              <a:gd name="T39" fmla="*/ 13 h 15"/>
              <a:gd name="T40" fmla="*/ 29 w 44"/>
              <a:gd name="T41" fmla="*/ 13 h 15"/>
              <a:gd name="T42" fmla="*/ 28 w 44"/>
              <a:gd name="T43" fmla="*/ 13 h 15"/>
              <a:gd name="T44" fmla="*/ 27 w 44"/>
              <a:gd name="T45" fmla="*/ 13 h 15"/>
              <a:gd name="T46" fmla="*/ 26 w 44"/>
              <a:gd name="T47" fmla="*/ 13 h 15"/>
              <a:gd name="T48" fmla="*/ 24 w 44"/>
              <a:gd name="T49" fmla="*/ 14 h 15"/>
              <a:gd name="T50" fmla="*/ 23 w 44"/>
              <a:gd name="T51" fmla="*/ 15 h 15"/>
              <a:gd name="T52" fmla="*/ 20 w 44"/>
              <a:gd name="T53" fmla="*/ 15 h 15"/>
              <a:gd name="T54" fmla="*/ 20 w 44"/>
              <a:gd name="T55" fmla="*/ 13 h 15"/>
              <a:gd name="T56" fmla="*/ 20 w 44"/>
              <a:gd name="T57" fmla="*/ 13 h 15"/>
              <a:gd name="T58" fmla="*/ 23 w 44"/>
              <a:gd name="T59" fmla="*/ 11 h 15"/>
              <a:gd name="T60" fmla="*/ 23 w 44"/>
              <a:gd name="T61" fmla="*/ 10 h 15"/>
              <a:gd name="T62" fmla="*/ 20 w 44"/>
              <a:gd name="T63" fmla="*/ 11 h 15"/>
              <a:gd name="T64" fmla="*/ 20 w 44"/>
              <a:gd name="T65" fmla="*/ 10 h 15"/>
              <a:gd name="T66" fmla="*/ 20 w 44"/>
              <a:gd name="T67" fmla="*/ 10 h 15"/>
              <a:gd name="T68" fmla="*/ 17 w 44"/>
              <a:gd name="T69" fmla="*/ 10 h 15"/>
              <a:gd name="T70" fmla="*/ 15 w 44"/>
              <a:gd name="T71" fmla="*/ 11 h 15"/>
              <a:gd name="T72" fmla="*/ 8 w 44"/>
              <a:gd name="T73" fmla="*/ 11 h 15"/>
              <a:gd name="T74" fmla="*/ 6 w 44"/>
              <a:gd name="T75" fmla="*/ 11 h 15"/>
              <a:gd name="T76" fmla="*/ 3 w 44"/>
              <a:gd name="T77" fmla="*/ 11 h 15"/>
              <a:gd name="T78" fmla="*/ 2 w 44"/>
              <a:gd name="T79" fmla="*/ 10 h 15"/>
              <a:gd name="T80" fmla="*/ 3 w 44"/>
              <a:gd name="T81" fmla="*/ 10 h 15"/>
              <a:gd name="T82" fmla="*/ 6 w 44"/>
              <a:gd name="T83" fmla="*/ 9 h 15"/>
              <a:gd name="T84" fmla="*/ 6 w 44"/>
              <a:gd name="T85" fmla="*/ 9 h 15"/>
              <a:gd name="T86" fmla="*/ 6 w 44"/>
              <a:gd name="T87" fmla="*/ 8 h 15"/>
              <a:gd name="T88" fmla="*/ 6 w 44"/>
              <a:gd name="T89" fmla="*/ 8 h 15"/>
              <a:gd name="T90" fmla="*/ 7 w 44"/>
              <a:gd name="T91" fmla="*/ 7 h 15"/>
              <a:gd name="T92" fmla="*/ 8 w 44"/>
              <a:gd name="T93" fmla="*/ 6 h 15"/>
              <a:gd name="T94" fmla="*/ 4 w 44"/>
              <a:gd name="T95" fmla="*/ 5 h 15"/>
              <a:gd name="T96" fmla="*/ 2 w 44"/>
              <a:gd name="T97" fmla="*/ 4 h 15"/>
              <a:gd name="T98" fmla="*/ 0 w 44"/>
              <a:gd name="T99" fmla="*/ 4 h 15"/>
              <a:gd name="T100" fmla="*/ 5 w 44"/>
              <a:gd name="T101" fmla="*/ 3 h 15"/>
              <a:gd name="T102" fmla="*/ 13 w 44"/>
              <a:gd name="T103" fmla="*/ 3 h 15"/>
              <a:gd name="T104" fmla="*/ 17 w 44"/>
              <a:gd name="T105" fmla="*/ 1 h 15"/>
              <a:gd name="T106" fmla="*/ 20 w 44"/>
              <a:gd name="T107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4" h="15">
                <a:moveTo>
                  <a:pt x="20" y="0"/>
                </a:moveTo>
                <a:lnTo>
                  <a:pt x="20" y="1"/>
                </a:lnTo>
                <a:lnTo>
                  <a:pt x="22" y="1"/>
                </a:lnTo>
                <a:lnTo>
                  <a:pt x="23" y="1"/>
                </a:lnTo>
                <a:lnTo>
                  <a:pt x="24" y="1"/>
                </a:lnTo>
                <a:lnTo>
                  <a:pt x="26" y="3"/>
                </a:lnTo>
                <a:lnTo>
                  <a:pt x="25" y="3"/>
                </a:lnTo>
                <a:lnTo>
                  <a:pt x="25" y="4"/>
                </a:lnTo>
                <a:lnTo>
                  <a:pt x="25" y="4"/>
                </a:lnTo>
                <a:lnTo>
                  <a:pt x="26" y="4"/>
                </a:lnTo>
                <a:lnTo>
                  <a:pt x="24" y="4"/>
                </a:lnTo>
                <a:lnTo>
                  <a:pt x="23" y="4"/>
                </a:lnTo>
                <a:lnTo>
                  <a:pt x="23" y="5"/>
                </a:lnTo>
                <a:lnTo>
                  <a:pt x="24" y="5"/>
                </a:lnTo>
                <a:lnTo>
                  <a:pt x="25" y="5"/>
                </a:lnTo>
                <a:lnTo>
                  <a:pt x="27" y="6"/>
                </a:lnTo>
                <a:lnTo>
                  <a:pt x="28" y="6"/>
                </a:lnTo>
                <a:lnTo>
                  <a:pt x="29" y="7"/>
                </a:lnTo>
                <a:lnTo>
                  <a:pt x="32" y="7"/>
                </a:lnTo>
                <a:lnTo>
                  <a:pt x="35" y="6"/>
                </a:lnTo>
                <a:lnTo>
                  <a:pt x="35" y="6"/>
                </a:lnTo>
                <a:lnTo>
                  <a:pt x="36" y="6"/>
                </a:lnTo>
                <a:lnTo>
                  <a:pt x="37" y="7"/>
                </a:lnTo>
                <a:lnTo>
                  <a:pt x="38" y="7"/>
                </a:lnTo>
                <a:lnTo>
                  <a:pt x="39" y="7"/>
                </a:lnTo>
                <a:lnTo>
                  <a:pt x="39" y="7"/>
                </a:lnTo>
                <a:lnTo>
                  <a:pt x="40" y="7"/>
                </a:lnTo>
                <a:lnTo>
                  <a:pt x="40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0" y="8"/>
                </a:lnTo>
                <a:lnTo>
                  <a:pt x="36" y="9"/>
                </a:lnTo>
                <a:lnTo>
                  <a:pt x="36" y="9"/>
                </a:lnTo>
                <a:lnTo>
                  <a:pt x="34" y="10"/>
                </a:lnTo>
                <a:lnTo>
                  <a:pt x="34" y="10"/>
                </a:lnTo>
                <a:lnTo>
                  <a:pt x="34" y="11"/>
                </a:lnTo>
                <a:lnTo>
                  <a:pt x="33" y="11"/>
                </a:lnTo>
                <a:lnTo>
                  <a:pt x="30" y="11"/>
                </a:lnTo>
                <a:lnTo>
                  <a:pt x="32" y="13"/>
                </a:lnTo>
                <a:lnTo>
                  <a:pt x="30" y="13"/>
                </a:lnTo>
                <a:lnTo>
                  <a:pt x="29" y="13"/>
                </a:lnTo>
                <a:lnTo>
                  <a:pt x="29" y="13"/>
                </a:lnTo>
                <a:lnTo>
                  <a:pt x="28" y="13"/>
                </a:lnTo>
                <a:lnTo>
                  <a:pt x="27" y="13"/>
                </a:lnTo>
                <a:lnTo>
                  <a:pt x="27" y="13"/>
                </a:lnTo>
                <a:lnTo>
                  <a:pt x="26" y="13"/>
                </a:lnTo>
                <a:lnTo>
                  <a:pt x="26" y="13"/>
                </a:lnTo>
                <a:lnTo>
                  <a:pt x="24" y="14"/>
                </a:lnTo>
                <a:lnTo>
                  <a:pt x="24" y="14"/>
                </a:lnTo>
                <a:lnTo>
                  <a:pt x="24" y="14"/>
                </a:lnTo>
                <a:lnTo>
                  <a:pt x="23" y="15"/>
                </a:lnTo>
                <a:lnTo>
                  <a:pt x="22" y="14"/>
                </a:lnTo>
                <a:lnTo>
                  <a:pt x="20" y="15"/>
                </a:lnTo>
                <a:lnTo>
                  <a:pt x="19" y="14"/>
                </a:lnTo>
                <a:lnTo>
                  <a:pt x="20" y="13"/>
                </a:lnTo>
                <a:lnTo>
                  <a:pt x="22" y="13"/>
                </a:lnTo>
                <a:lnTo>
                  <a:pt x="20" y="13"/>
                </a:lnTo>
                <a:lnTo>
                  <a:pt x="22" y="11"/>
                </a:lnTo>
                <a:lnTo>
                  <a:pt x="23" y="11"/>
                </a:lnTo>
                <a:lnTo>
                  <a:pt x="23" y="11"/>
                </a:lnTo>
                <a:lnTo>
                  <a:pt x="23" y="10"/>
                </a:lnTo>
                <a:lnTo>
                  <a:pt x="22" y="10"/>
                </a:lnTo>
                <a:lnTo>
                  <a:pt x="20" y="11"/>
                </a:lnTo>
                <a:lnTo>
                  <a:pt x="20" y="11"/>
                </a:lnTo>
                <a:lnTo>
                  <a:pt x="20" y="10"/>
                </a:lnTo>
                <a:lnTo>
                  <a:pt x="20" y="10"/>
                </a:lnTo>
                <a:lnTo>
                  <a:pt x="20" y="10"/>
                </a:lnTo>
                <a:lnTo>
                  <a:pt x="18" y="10"/>
                </a:lnTo>
                <a:lnTo>
                  <a:pt x="17" y="10"/>
                </a:lnTo>
                <a:lnTo>
                  <a:pt x="17" y="11"/>
                </a:lnTo>
                <a:lnTo>
                  <a:pt x="15" y="11"/>
                </a:lnTo>
                <a:lnTo>
                  <a:pt x="15" y="11"/>
                </a:lnTo>
                <a:lnTo>
                  <a:pt x="8" y="11"/>
                </a:lnTo>
                <a:lnTo>
                  <a:pt x="7" y="13"/>
                </a:lnTo>
                <a:lnTo>
                  <a:pt x="6" y="11"/>
                </a:lnTo>
                <a:lnTo>
                  <a:pt x="4" y="13"/>
                </a:lnTo>
                <a:lnTo>
                  <a:pt x="3" y="11"/>
                </a:lnTo>
                <a:lnTo>
                  <a:pt x="3" y="11"/>
                </a:lnTo>
                <a:lnTo>
                  <a:pt x="2" y="10"/>
                </a:lnTo>
                <a:lnTo>
                  <a:pt x="3" y="10"/>
                </a:lnTo>
                <a:lnTo>
                  <a:pt x="3" y="10"/>
                </a:lnTo>
                <a:lnTo>
                  <a:pt x="3" y="10"/>
                </a:lnTo>
                <a:lnTo>
                  <a:pt x="6" y="9"/>
                </a:lnTo>
                <a:lnTo>
                  <a:pt x="6" y="9"/>
                </a:lnTo>
                <a:lnTo>
                  <a:pt x="6" y="9"/>
                </a:lnTo>
                <a:lnTo>
                  <a:pt x="6" y="9"/>
                </a:lnTo>
                <a:lnTo>
                  <a:pt x="6" y="8"/>
                </a:lnTo>
                <a:lnTo>
                  <a:pt x="6" y="8"/>
                </a:lnTo>
                <a:lnTo>
                  <a:pt x="6" y="8"/>
                </a:lnTo>
                <a:lnTo>
                  <a:pt x="6" y="7"/>
                </a:lnTo>
                <a:lnTo>
                  <a:pt x="7" y="7"/>
                </a:lnTo>
                <a:lnTo>
                  <a:pt x="7" y="6"/>
                </a:lnTo>
                <a:lnTo>
                  <a:pt x="8" y="6"/>
                </a:lnTo>
                <a:lnTo>
                  <a:pt x="4" y="5"/>
                </a:lnTo>
                <a:lnTo>
                  <a:pt x="4" y="5"/>
                </a:lnTo>
                <a:lnTo>
                  <a:pt x="3" y="5"/>
                </a:lnTo>
                <a:lnTo>
                  <a:pt x="2" y="4"/>
                </a:lnTo>
                <a:lnTo>
                  <a:pt x="0" y="4"/>
                </a:lnTo>
                <a:lnTo>
                  <a:pt x="0" y="4"/>
                </a:lnTo>
                <a:lnTo>
                  <a:pt x="0" y="4"/>
                </a:lnTo>
                <a:lnTo>
                  <a:pt x="5" y="3"/>
                </a:lnTo>
                <a:lnTo>
                  <a:pt x="9" y="1"/>
                </a:lnTo>
                <a:lnTo>
                  <a:pt x="13" y="3"/>
                </a:lnTo>
                <a:lnTo>
                  <a:pt x="16" y="1"/>
                </a:lnTo>
                <a:lnTo>
                  <a:pt x="17" y="1"/>
                </a:lnTo>
                <a:lnTo>
                  <a:pt x="19" y="1"/>
                </a:lnTo>
                <a:lnTo>
                  <a:pt x="20" y="0"/>
                </a:lnTo>
                <a:lnTo>
                  <a:pt x="2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49" name="Freeform 849"/>
          <p:cNvSpPr>
            <a:spLocks/>
          </p:cNvSpPr>
          <p:nvPr/>
        </p:nvSpPr>
        <p:spPr bwMode="auto">
          <a:xfrm>
            <a:off x="4689475" y="1427128"/>
            <a:ext cx="69850" cy="23813"/>
          </a:xfrm>
          <a:custGeom>
            <a:avLst/>
            <a:gdLst>
              <a:gd name="T0" fmla="*/ 20 w 44"/>
              <a:gd name="T1" fmla="*/ 1 h 15"/>
              <a:gd name="T2" fmla="*/ 23 w 44"/>
              <a:gd name="T3" fmla="*/ 1 h 15"/>
              <a:gd name="T4" fmla="*/ 26 w 44"/>
              <a:gd name="T5" fmla="*/ 3 h 15"/>
              <a:gd name="T6" fmla="*/ 25 w 44"/>
              <a:gd name="T7" fmla="*/ 4 h 15"/>
              <a:gd name="T8" fmla="*/ 26 w 44"/>
              <a:gd name="T9" fmla="*/ 4 h 15"/>
              <a:gd name="T10" fmla="*/ 23 w 44"/>
              <a:gd name="T11" fmla="*/ 4 h 15"/>
              <a:gd name="T12" fmla="*/ 24 w 44"/>
              <a:gd name="T13" fmla="*/ 5 h 15"/>
              <a:gd name="T14" fmla="*/ 27 w 44"/>
              <a:gd name="T15" fmla="*/ 6 h 15"/>
              <a:gd name="T16" fmla="*/ 29 w 44"/>
              <a:gd name="T17" fmla="*/ 7 h 15"/>
              <a:gd name="T18" fmla="*/ 35 w 44"/>
              <a:gd name="T19" fmla="*/ 6 h 15"/>
              <a:gd name="T20" fmla="*/ 36 w 44"/>
              <a:gd name="T21" fmla="*/ 6 h 15"/>
              <a:gd name="T22" fmla="*/ 38 w 44"/>
              <a:gd name="T23" fmla="*/ 7 h 15"/>
              <a:gd name="T24" fmla="*/ 39 w 44"/>
              <a:gd name="T25" fmla="*/ 7 h 15"/>
              <a:gd name="T26" fmla="*/ 40 w 44"/>
              <a:gd name="T27" fmla="*/ 8 h 15"/>
              <a:gd name="T28" fmla="*/ 44 w 44"/>
              <a:gd name="T29" fmla="*/ 8 h 15"/>
              <a:gd name="T30" fmla="*/ 40 w 44"/>
              <a:gd name="T31" fmla="*/ 8 h 15"/>
              <a:gd name="T32" fmla="*/ 36 w 44"/>
              <a:gd name="T33" fmla="*/ 9 h 15"/>
              <a:gd name="T34" fmla="*/ 34 w 44"/>
              <a:gd name="T35" fmla="*/ 10 h 15"/>
              <a:gd name="T36" fmla="*/ 33 w 44"/>
              <a:gd name="T37" fmla="*/ 11 h 15"/>
              <a:gd name="T38" fmla="*/ 32 w 44"/>
              <a:gd name="T39" fmla="*/ 13 h 15"/>
              <a:gd name="T40" fmla="*/ 29 w 44"/>
              <a:gd name="T41" fmla="*/ 13 h 15"/>
              <a:gd name="T42" fmla="*/ 28 w 44"/>
              <a:gd name="T43" fmla="*/ 13 h 15"/>
              <a:gd name="T44" fmla="*/ 27 w 44"/>
              <a:gd name="T45" fmla="*/ 13 h 15"/>
              <a:gd name="T46" fmla="*/ 26 w 44"/>
              <a:gd name="T47" fmla="*/ 13 h 15"/>
              <a:gd name="T48" fmla="*/ 24 w 44"/>
              <a:gd name="T49" fmla="*/ 14 h 15"/>
              <a:gd name="T50" fmla="*/ 23 w 44"/>
              <a:gd name="T51" fmla="*/ 15 h 15"/>
              <a:gd name="T52" fmla="*/ 20 w 44"/>
              <a:gd name="T53" fmla="*/ 15 h 15"/>
              <a:gd name="T54" fmla="*/ 20 w 44"/>
              <a:gd name="T55" fmla="*/ 13 h 15"/>
              <a:gd name="T56" fmla="*/ 20 w 44"/>
              <a:gd name="T57" fmla="*/ 13 h 15"/>
              <a:gd name="T58" fmla="*/ 23 w 44"/>
              <a:gd name="T59" fmla="*/ 11 h 15"/>
              <a:gd name="T60" fmla="*/ 23 w 44"/>
              <a:gd name="T61" fmla="*/ 10 h 15"/>
              <a:gd name="T62" fmla="*/ 20 w 44"/>
              <a:gd name="T63" fmla="*/ 11 h 15"/>
              <a:gd name="T64" fmla="*/ 20 w 44"/>
              <a:gd name="T65" fmla="*/ 10 h 15"/>
              <a:gd name="T66" fmla="*/ 20 w 44"/>
              <a:gd name="T67" fmla="*/ 10 h 15"/>
              <a:gd name="T68" fmla="*/ 17 w 44"/>
              <a:gd name="T69" fmla="*/ 10 h 15"/>
              <a:gd name="T70" fmla="*/ 15 w 44"/>
              <a:gd name="T71" fmla="*/ 11 h 15"/>
              <a:gd name="T72" fmla="*/ 8 w 44"/>
              <a:gd name="T73" fmla="*/ 11 h 15"/>
              <a:gd name="T74" fmla="*/ 6 w 44"/>
              <a:gd name="T75" fmla="*/ 11 h 15"/>
              <a:gd name="T76" fmla="*/ 3 w 44"/>
              <a:gd name="T77" fmla="*/ 11 h 15"/>
              <a:gd name="T78" fmla="*/ 2 w 44"/>
              <a:gd name="T79" fmla="*/ 10 h 15"/>
              <a:gd name="T80" fmla="*/ 3 w 44"/>
              <a:gd name="T81" fmla="*/ 10 h 15"/>
              <a:gd name="T82" fmla="*/ 6 w 44"/>
              <a:gd name="T83" fmla="*/ 9 h 15"/>
              <a:gd name="T84" fmla="*/ 6 w 44"/>
              <a:gd name="T85" fmla="*/ 9 h 15"/>
              <a:gd name="T86" fmla="*/ 6 w 44"/>
              <a:gd name="T87" fmla="*/ 8 h 15"/>
              <a:gd name="T88" fmla="*/ 6 w 44"/>
              <a:gd name="T89" fmla="*/ 8 h 15"/>
              <a:gd name="T90" fmla="*/ 7 w 44"/>
              <a:gd name="T91" fmla="*/ 7 h 15"/>
              <a:gd name="T92" fmla="*/ 8 w 44"/>
              <a:gd name="T93" fmla="*/ 6 h 15"/>
              <a:gd name="T94" fmla="*/ 4 w 44"/>
              <a:gd name="T95" fmla="*/ 5 h 15"/>
              <a:gd name="T96" fmla="*/ 2 w 44"/>
              <a:gd name="T97" fmla="*/ 4 h 15"/>
              <a:gd name="T98" fmla="*/ 0 w 44"/>
              <a:gd name="T99" fmla="*/ 4 h 15"/>
              <a:gd name="T100" fmla="*/ 5 w 44"/>
              <a:gd name="T101" fmla="*/ 3 h 15"/>
              <a:gd name="T102" fmla="*/ 13 w 44"/>
              <a:gd name="T103" fmla="*/ 3 h 15"/>
              <a:gd name="T104" fmla="*/ 17 w 44"/>
              <a:gd name="T105" fmla="*/ 1 h 15"/>
              <a:gd name="T106" fmla="*/ 20 w 44"/>
              <a:gd name="T107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4" h="15">
                <a:moveTo>
                  <a:pt x="20" y="0"/>
                </a:moveTo>
                <a:lnTo>
                  <a:pt x="20" y="1"/>
                </a:lnTo>
                <a:lnTo>
                  <a:pt x="22" y="1"/>
                </a:lnTo>
                <a:lnTo>
                  <a:pt x="23" y="1"/>
                </a:lnTo>
                <a:lnTo>
                  <a:pt x="24" y="1"/>
                </a:lnTo>
                <a:lnTo>
                  <a:pt x="26" y="3"/>
                </a:lnTo>
                <a:lnTo>
                  <a:pt x="25" y="3"/>
                </a:lnTo>
                <a:lnTo>
                  <a:pt x="25" y="4"/>
                </a:lnTo>
                <a:lnTo>
                  <a:pt x="25" y="4"/>
                </a:lnTo>
                <a:lnTo>
                  <a:pt x="26" y="4"/>
                </a:lnTo>
                <a:lnTo>
                  <a:pt x="24" y="4"/>
                </a:lnTo>
                <a:lnTo>
                  <a:pt x="23" y="4"/>
                </a:lnTo>
                <a:lnTo>
                  <a:pt x="23" y="5"/>
                </a:lnTo>
                <a:lnTo>
                  <a:pt x="24" y="5"/>
                </a:lnTo>
                <a:lnTo>
                  <a:pt x="25" y="5"/>
                </a:lnTo>
                <a:lnTo>
                  <a:pt x="27" y="6"/>
                </a:lnTo>
                <a:lnTo>
                  <a:pt x="28" y="6"/>
                </a:lnTo>
                <a:lnTo>
                  <a:pt x="29" y="7"/>
                </a:lnTo>
                <a:lnTo>
                  <a:pt x="32" y="7"/>
                </a:lnTo>
                <a:lnTo>
                  <a:pt x="35" y="6"/>
                </a:lnTo>
                <a:lnTo>
                  <a:pt x="35" y="6"/>
                </a:lnTo>
                <a:lnTo>
                  <a:pt x="36" y="6"/>
                </a:lnTo>
                <a:lnTo>
                  <a:pt x="37" y="7"/>
                </a:lnTo>
                <a:lnTo>
                  <a:pt x="38" y="7"/>
                </a:lnTo>
                <a:lnTo>
                  <a:pt x="39" y="7"/>
                </a:lnTo>
                <a:lnTo>
                  <a:pt x="39" y="7"/>
                </a:lnTo>
                <a:lnTo>
                  <a:pt x="40" y="7"/>
                </a:lnTo>
                <a:lnTo>
                  <a:pt x="40" y="8"/>
                </a:lnTo>
                <a:lnTo>
                  <a:pt x="44" y="8"/>
                </a:lnTo>
                <a:lnTo>
                  <a:pt x="44" y="8"/>
                </a:lnTo>
                <a:lnTo>
                  <a:pt x="44" y="8"/>
                </a:lnTo>
                <a:lnTo>
                  <a:pt x="40" y="8"/>
                </a:lnTo>
                <a:lnTo>
                  <a:pt x="36" y="9"/>
                </a:lnTo>
                <a:lnTo>
                  <a:pt x="36" y="9"/>
                </a:lnTo>
                <a:lnTo>
                  <a:pt x="34" y="10"/>
                </a:lnTo>
                <a:lnTo>
                  <a:pt x="34" y="10"/>
                </a:lnTo>
                <a:lnTo>
                  <a:pt x="34" y="11"/>
                </a:lnTo>
                <a:lnTo>
                  <a:pt x="33" y="11"/>
                </a:lnTo>
                <a:lnTo>
                  <a:pt x="30" y="11"/>
                </a:lnTo>
                <a:lnTo>
                  <a:pt x="32" y="13"/>
                </a:lnTo>
                <a:lnTo>
                  <a:pt x="30" y="13"/>
                </a:lnTo>
                <a:lnTo>
                  <a:pt x="29" y="13"/>
                </a:lnTo>
                <a:lnTo>
                  <a:pt x="29" y="13"/>
                </a:lnTo>
                <a:lnTo>
                  <a:pt x="28" y="13"/>
                </a:lnTo>
                <a:lnTo>
                  <a:pt x="27" y="13"/>
                </a:lnTo>
                <a:lnTo>
                  <a:pt x="27" y="13"/>
                </a:lnTo>
                <a:lnTo>
                  <a:pt x="26" y="13"/>
                </a:lnTo>
                <a:lnTo>
                  <a:pt x="26" y="13"/>
                </a:lnTo>
                <a:lnTo>
                  <a:pt x="24" y="14"/>
                </a:lnTo>
                <a:lnTo>
                  <a:pt x="24" y="14"/>
                </a:lnTo>
                <a:lnTo>
                  <a:pt x="24" y="14"/>
                </a:lnTo>
                <a:lnTo>
                  <a:pt x="23" y="15"/>
                </a:lnTo>
                <a:lnTo>
                  <a:pt x="22" y="14"/>
                </a:lnTo>
                <a:lnTo>
                  <a:pt x="20" y="15"/>
                </a:lnTo>
                <a:lnTo>
                  <a:pt x="19" y="14"/>
                </a:lnTo>
                <a:lnTo>
                  <a:pt x="20" y="13"/>
                </a:lnTo>
                <a:lnTo>
                  <a:pt x="22" y="13"/>
                </a:lnTo>
                <a:lnTo>
                  <a:pt x="20" y="13"/>
                </a:lnTo>
                <a:lnTo>
                  <a:pt x="22" y="11"/>
                </a:lnTo>
                <a:lnTo>
                  <a:pt x="23" y="11"/>
                </a:lnTo>
                <a:lnTo>
                  <a:pt x="23" y="11"/>
                </a:lnTo>
                <a:lnTo>
                  <a:pt x="23" y="10"/>
                </a:lnTo>
                <a:lnTo>
                  <a:pt x="22" y="10"/>
                </a:lnTo>
                <a:lnTo>
                  <a:pt x="20" y="11"/>
                </a:lnTo>
                <a:lnTo>
                  <a:pt x="20" y="11"/>
                </a:lnTo>
                <a:lnTo>
                  <a:pt x="20" y="10"/>
                </a:lnTo>
                <a:lnTo>
                  <a:pt x="20" y="10"/>
                </a:lnTo>
                <a:lnTo>
                  <a:pt x="20" y="10"/>
                </a:lnTo>
                <a:lnTo>
                  <a:pt x="18" y="10"/>
                </a:lnTo>
                <a:lnTo>
                  <a:pt x="17" y="10"/>
                </a:lnTo>
                <a:lnTo>
                  <a:pt x="17" y="11"/>
                </a:lnTo>
                <a:lnTo>
                  <a:pt x="15" y="11"/>
                </a:lnTo>
                <a:lnTo>
                  <a:pt x="15" y="11"/>
                </a:lnTo>
                <a:lnTo>
                  <a:pt x="8" y="11"/>
                </a:lnTo>
                <a:lnTo>
                  <a:pt x="7" y="13"/>
                </a:lnTo>
                <a:lnTo>
                  <a:pt x="6" y="11"/>
                </a:lnTo>
                <a:lnTo>
                  <a:pt x="4" y="13"/>
                </a:lnTo>
                <a:lnTo>
                  <a:pt x="3" y="11"/>
                </a:lnTo>
                <a:lnTo>
                  <a:pt x="3" y="11"/>
                </a:lnTo>
                <a:lnTo>
                  <a:pt x="2" y="10"/>
                </a:lnTo>
                <a:lnTo>
                  <a:pt x="3" y="10"/>
                </a:lnTo>
                <a:lnTo>
                  <a:pt x="3" y="10"/>
                </a:lnTo>
                <a:lnTo>
                  <a:pt x="3" y="10"/>
                </a:lnTo>
                <a:lnTo>
                  <a:pt x="6" y="9"/>
                </a:lnTo>
                <a:lnTo>
                  <a:pt x="6" y="9"/>
                </a:lnTo>
                <a:lnTo>
                  <a:pt x="6" y="9"/>
                </a:lnTo>
                <a:lnTo>
                  <a:pt x="6" y="9"/>
                </a:lnTo>
                <a:lnTo>
                  <a:pt x="6" y="8"/>
                </a:lnTo>
                <a:lnTo>
                  <a:pt x="6" y="8"/>
                </a:lnTo>
                <a:lnTo>
                  <a:pt x="6" y="8"/>
                </a:lnTo>
                <a:lnTo>
                  <a:pt x="6" y="7"/>
                </a:lnTo>
                <a:lnTo>
                  <a:pt x="7" y="7"/>
                </a:lnTo>
                <a:lnTo>
                  <a:pt x="7" y="6"/>
                </a:lnTo>
                <a:lnTo>
                  <a:pt x="8" y="6"/>
                </a:lnTo>
                <a:lnTo>
                  <a:pt x="4" y="5"/>
                </a:lnTo>
                <a:lnTo>
                  <a:pt x="4" y="5"/>
                </a:lnTo>
                <a:lnTo>
                  <a:pt x="3" y="5"/>
                </a:lnTo>
                <a:lnTo>
                  <a:pt x="2" y="4"/>
                </a:lnTo>
                <a:lnTo>
                  <a:pt x="0" y="4"/>
                </a:lnTo>
                <a:lnTo>
                  <a:pt x="0" y="4"/>
                </a:lnTo>
                <a:lnTo>
                  <a:pt x="0" y="4"/>
                </a:lnTo>
                <a:lnTo>
                  <a:pt x="5" y="3"/>
                </a:lnTo>
                <a:lnTo>
                  <a:pt x="9" y="1"/>
                </a:lnTo>
                <a:lnTo>
                  <a:pt x="13" y="3"/>
                </a:lnTo>
                <a:lnTo>
                  <a:pt x="16" y="1"/>
                </a:lnTo>
                <a:lnTo>
                  <a:pt x="17" y="1"/>
                </a:lnTo>
                <a:lnTo>
                  <a:pt x="19" y="1"/>
                </a:lnTo>
                <a:lnTo>
                  <a:pt x="20" y="0"/>
                </a:lnTo>
                <a:lnTo>
                  <a:pt x="2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50" name="Freeform 850"/>
          <p:cNvSpPr>
            <a:spLocks/>
          </p:cNvSpPr>
          <p:nvPr/>
        </p:nvSpPr>
        <p:spPr bwMode="auto">
          <a:xfrm>
            <a:off x="4843463" y="1389028"/>
            <a:ext cx="34925" cy="3175"/>
          </a:xfrm>
          <a:custGeom>
            <a:avLst/>
            <a:gdLst>
              <a:gd name="T0" fmla="*/ 21 w 22"/>
              <a:gd name="T1" fmla="*/ 0 h 2"/>
              <a:gd name="T2" fmla="*/ 21 w 22"/>
              <a:gd name="T3" fmla="*/ 0 h 2"/>
              <a:gd name="T4" fmla="*/ 21 w 22"/>
              <a:gd name="T5" fmla="*/ 0 h 2"/>
              <a:gd name="T6" fmla="*/ 22 w 22"/>
              <a:gd name="T7" fmla="*/ 0 h 2"/>
              <a:gd name="T8" fmla="*/ 19 w 22"/>
              <a:gd name="T9" fmla="*/ 0 h 2"/>
              <a:gd name="T10" fmla="*/ 16 w 22"/>
              <a:gd name="T11" fmla="*/ 1 h 2"/>
              <a:gd name="T12" fmla="*/ 12 w 22"/>
              <a:gd name="T13" fmla="*/ 1 h 2"/>
              <a:gd name="T14" fmla="*/ 12 w 22"/>
              <a:gd name="T15" fmla="*/ 1 h 2"/>
              <a:gd name="T16" fmla="*/ 10 w 22"/>
              <a:gd name="T17" fmla="*/ 1 h 2"/>
              <a:gd name="T18" fmla="*/ 8 w 22"/>
              <a:gd name="T19" fmla="*/ 1 h 2"/>
              <a:gd name="T20" fmla="*/ 8 w 22"/>
              <a:gd name="T21" fmla="*/ 1 h 2"/>
              <a:gd name="T22" fmla="*/ 8 w 22"/>
              <a:gd name="T23" fmla="*/ 2 h 2"/>
              <a:gd name="T24" fmla="*/ 7 w 22"/>
              <a:gd name="T25" fmla="*/ 2 h 2"/>
              <a:gd name="T26" fmla="*/ 6 w 22"/>
              <a:gd name="T27" fmla="*/ 2 h 2"/>
              <a:gd name="T28" fmla="*/ 4 w 22"/>
              <a:gd name="T29" fmla="*/ 2 h 2"/>
              <a:gd name="T30" fmla="*/ 3 w 22"/>
              <a:gd name="T31" fmla="*/ 2 h 2"/>
              <a:gd name="T32" fmla="*/ 2 w 22"/>
              <a:gd name="T33" fmla="*/ 2 h 2"/>
              <a:gd name="T34" fmla="*/ 1 w 22"/>
              <a:gd name="T35" fmla="*/ 2 h 2"/>
              <a:gd name="T36" fmla="*/ 1 w 22"/>
              <a:gd name="T37" fmla="*/ 2 h 2"/>
              <a:gd name="T38" fmla="*/ 0 w 22"/>
              <a:gd name="T39" fmla="*/ 1 h 2"/>
              <a:gd name="T40" fmla="*/ 2 w 22"/>
              <a:gd name="T41" fmla="*/ 1 h 2"/>
              <a:gd name="T42" fmla="*/ 9 w 22"/>
              <a:gd name="T43" fmla="*/ 1 h 2"/>
              <a:gd name="T44" fmla="*/ 11 w 22"/>
              <a:gd name="T45" fmla="*/ 0 h 2"/>
              <a:gd name="T46" fmla="*/ 14 w 22"/>
              <a:gd name="T47" fmla="*/ 0 h 2"/>
              <a:gd name="T48" fmla="*/ 16 w 22"/>
              <a:gd name="T49" fmla="*/ 0 h 2"/>
              <a:gd name="T50" fmla="*/ 21 w 22"/>
              <a:gd name="T5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2" h="2">
                <a:moveTo>
                  <a:pt x="21" y="0"/>
                </a:moveTo>
                <a:lnTo>
                  <a:pt x="21" y="0"/>
                </a:lnTo>
                <a:lnTo>
                  <a:pt x="21" y="0"/>
                </a:lnTo>
                <a:lnTo>
                  <a:pt x="22" y="0"/>
                </a:lnTo>
                <a:lnTo>
                  <a:pt x="19" y="0"/>
                </a:lnTo>
                <a:lnTo>
                  <a:pt x="16" y="1"/>
                </a:lnTo>
                <a:lnTo>
                  <a:pt x="12" y="1"/>
                </a:lnTo>
                <a:lnTo>
                  <a:pt x="12" y="1"/>
                </a:lnTo>
                <a:lnTo>
                  <a:pt x="10" y="1"/>
                </a:lnTo>
                <a:lnTo>
                  <a:pt x="8" y="1"/>
                </a:lnTo>
                <a:lnTo>
                  <a:pt x="8" y="1"/>
                </a:lnTo>
                <a:lnTo>
                  <a:pt x="8" y="2"/>
                </a:lnTo>
                <a:lnTo>
                  <a:pt x="7" y="2"/>
                </a:lnTo>
                <a:lnTo>
                  <a:pt x="6" y="2"/>
                </a:lnTo>
                <a:lnTo>
                  <a:pt x="4" y="2"/>
                </a:lnTo>
                <a:lnTo>
                  <a:pt x="3" y="2"/>
                </a:lnTo>
                <a:lnTo>
                  <a:pt x="2" y="2"/>
                </a:lnTo>
                <a:lnTo>
                  <a:pt x="1" y="2"/>
                </a:lnTo>
                <a:lnTo>
                  <a:pt x="1" y="2"/>
                </a:lnTo>
                <a:lnTo>
                  <a:pt x="0" y="1"/>
                </a:lnTo>
                <a:lnTo>
                  <a:pt x="2" y="1"/>
                </a:lnTo>
                <a:lnTo>
                  <a:pt x="9" y="1"/>
                </a:lnTo>
                <a:lnTo>
                  <a:pt x="11" y="0"/>
                </a:lnTo>
                <a:lnTo>
                  <a:pt x="14" y="0"/>
                </a:lnTo>
                <a:lnTo>
                  <a:pt x="16" y="0"/>
                </a:lnTo>
                <a:lnTo>
                  <a:pt x="2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51" name="Freeform 851"/>
          <p:cNvSpPr>
            <a:spLocks/>
          </p:cNvSpPr>
          <p:nvPr/>
        </p:nvSpPr>
        <p:spPr bwMode="auto">
          <a:xfrm>
            <a:off x="4843463" y="1389028"/>
            <a:ext cx="34925" cy="3175"/>
          </a:xfrm>
          <a:custGeom>
            <a:avLst/>
            <a:gdLst>
              <a:gd name="T0" fmla="*/ 21 w 22"/>
              <a:gd name="T1" fmla="*/ 0 h 2"/>
              <a:gd name="T2" fmla="*/ 21 w 22"/>
              <a:gd name="T3" fmla="*/ 0 h 2"/>
              <a:gd name="T4" fmla="*/ 21 w 22"/>
              <a:gd name="T5" fmla="*/ 0 h 2"/>
              <a:gd name="T6" fmla="*/ 22 w 22"/>
              <a:gd name="T7" fmla="*/ 0 h 2"/>
              <a:gd name="T8" fmla="*/ 19 w 22"/>
              <a:gd name="T9" fmla="*/ 0 h 2"/>
              <a:gd name="T10" fmla="*/ 16 w 22"/>
              <a:gd name="T11" fmla="*/ 1 h 2"/>
              <a:gd name="T12" fmla="*/ 12 w 22"/>
              <a:gd name="T13" fmla="*/ 1 h 2"/>
              <a:gd name="T14" fmla="*/ 12 w 22"/>
              <a:gd name="T15" fmla="*/ 1 h 2"/>
              <a:gd name="T16" fmla="*/ 10 w 22"/>
              <a:gd name="T17" fmla="*/ 1 h 2"/>
              <a:gd name="T18" fmla="*/ 8 w 22"/>
              <a:gd name="T19" fmla="*/ 1 h 2"/>
              <a:gd name="T20" fmla="*/ 8 w 22"/>
              <a:gd name="T21" fmla="*/ 1 h 2"/>
              <a:gd name="T22" fmla="*/ 8 w 22"/>
              <a:gd name="T23" fmla="*/ 2 h 2"/>
              <a:gd name="T24" fmla="*/ 7 w 22"/>
              <a:gd name="T25" fmla="*/ 2 h 2"/>
              <a:gd name="T26" fmla="*/ 6 w 22"/>
              <a:gd name="T27" fmla="*/ 2 h 2"/>
              <a:gd name="T28" fmla="*/ 4 w 22"/>
              <a:gd name="T29" fmla="*/ 2 h 2"/>
              <a:gd name="T30" fmla="*/ 3 w 22"/>
              <a:gd name="T31" fmla="*/ 2 h 2"/>
              <a:gd name="T32" fmla="*/ 2 w 22"/>
              <a:gd name="T33" fmla="*/ 2 h 2"/>
              <a:gd name="T34" fmla="*/ 1 w 22"/>
              <a:gd name="T35" fmla="*/ 2 h 2"/>
              <a:gd name="T36" fmla="*/ 1 w 22"/>
              <a:gd name="T37" fmla="*/ 2 h 2"/>
              <a:gd name="T38" fmla="*/ 0 w 22"/>
              <a:gd name="T39" fmla="*/ 1 h 2"/>
              <a:gd name="T40" fmla="*/ 2 w 22"/>
              <a:gd name="T41" fmla="*/ 1 h 2"/>
              <a:gd name="T42" fmla="*/ 9 w 22"/>
              <a:gd name="T43" fmla="*/ 1 h 2"/>
              <a:gd name="T44" fmla="*/ 11 w 22"/>
              <a:gd name="T45" fmla="*/ 0 h 2"/>
              <a:gd name="T46" fmla="*/ 14 w 22"/>
              <a:gd name="T47" fmla="*/ 0 h 2"/>
              <a:gd name="T48" fmla="*/ 16 w 22"/>
              <a:gd name="T49" fmla="*/ 0 h 2"/>
              <a:gd name="T50" fmla="*/ 21 w 22"/>
              <a:gd name="T51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2" h="2">
                <a:moveTo>
                  <a:pt x="21" y="0"/>
                </a:moveTo>
                <a:lnTo>
                  <a:pt x="21" y="0"/>
                </a:lnTo>
                <a:lnTo>
                  <a:pt x="21" y="0"/>
                </a:lnTo>
                <a:lnTo>
                  <a:pt x="22" y="0"/>
                </a:lnTo>
                <a:lnTo>
                  <a:pt x="19" y="0"/>
                </a:lnTo>
                <a:lnTo>
                  <a:pt x="16" y="1"/>
                </a:lnTo>
                <a:lnTo>
                  <a:pt x="12" y="1"/>
                </a:lnTo>
                <a:lnTo>
                  <a:pt x="12" y="1"/>
                </a:lnTo>
                <a:lnTo>
                  <a:pt x="10" y="1"/>
                </a:lnTo>
                <a:lnTo>
                  <a:pt x="8" y="1"/>
                </a:lnTo>
                <a:lnTo>
                  <a:pt x="8" y="1"/>
                </a:lnTo>
                <a:lnTo>
                  <a:pt x="8" y="2"/>
                </a:lnTo>
                <a:lnTo>
                  <a:pt x="7" y="2"/>
                </a:lnTo>
                <a:lnTo>
                  <a:pt x="6" y="2"/>
                </a:lnTo>
                <a:lnTo>
                  <a:pt x="4" y="2"/>
                </a:lnTo>
                <a:lnTo>
                  <a:pt x="3" y="2"/>
                </a:lnTo>
                <a:lnTo>
                  <a:pt x="2" y="2"/>
                </a:lnTo>
                <a:lnTo>
                  <a:pt x="1" y="2"/>
                </a:lnTo>
                <a:lnTo>
                  <a:pt x="1" y="2"/>
                </a:lnTo>
                <a:lnTo>
                  <a:pt x="0" y="1"/>
                </a:lnTo>
                <a:lnTo>
                  <a:pt x="2" y="1"/>
                </a:lnTo>
                <a:lnTo>
                  <a:pt x="9" y="1"/>
                </a:lnTo>
                <a:lnTo>
                  <a:pt x="11" y="0"/>
                </a:lnTo>
                <a:lnTo>
                  <a:pt x="14" y="0"/>
                </a:lnTo>
                <a:lnTo>
                  <a:pt x="16" y="0"/>
                </a:lnTo>
                <a:lnTo>
                  <a:pt x="2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52" name="Freeform 852"/>
          <p:cNvSpPr>
            <a:spLocks/>
          </p:cNvSpPr>
          <p:nvPr/>
        </p:nvSpPr>
        <p:spPr bwMode="auto">
          <a:xfrm>
            <a:off x="4775200" y="1417603"/>
            <a:ext cx="9525" cy="3175"/>
          </a:xfrm>
          <a:custGeom>
            <a:avLst/>
            <a:gdLst>
              <a:gd name="T0" fmla="*/ 1 w 6"/>
              <a:gd name="T1" fmla="*/ 1 h 2"/>
              <a:gd name="T2" fmla="*/ 2 w 6"/>
              <a:gd name="T3" fmla="*/ 1 h 2"/>
              <a:gd name="T4" fmla="*/ 2 w 6"/>
              <a:gd name="T5" fmla="*/ 2 h 2"/>
              <a:gd name="T6" fmla="*/ 4 w 6"/>
              <a:gd name="T7" fmla="*/ 2 h 2"/>
              <a:gd name="T8" fmla="*/ 5 w 6"/>
              <a:gd name="T9" fmla="*/ 2 h 2"/>
              <a:gd name="T10" fmla="*/ 5 w 6"/>
              <a:gd name="T11" fmla="*/ 2 h 2"/>
              <a:gd name="T12" fmla="*/ 6 w 6"/>
              <a:gd name="T13" fmla="*/ 2 h 2"/>
              <a:gd name="T14" fmla="*/ 4 w 6"/>
              <a:gd name="T15" fmla="*/ 1 h 2"/>
              <a:gd name="T16" fmla="*/ 3 w 6"/>
              <a:gd name="T17" fmla="*/ 1 h 2"/>
              <a:gd name="T18" fmla="*/ 2 w 6"/>
              <a:gd name="T19" fmla="*/ 1 h 2"/>
              <a:gd name="T20" fmla="*/ 1 w 6"/>
              <a:gd name="T21" fmla="*/ 0 h 2"/>
              <a:gd name="T22" fmla="*/ 1 w 6"/>
              <a:gd name="T23" fmla="*/ 0 h 2"/>
              <a:gd name="T24" fmla="*/ 1 w 6"/>
              <a:gd name="T25" fmla="*/ 1 h 2"/>
              <a:gd name="T26" fmla="*/ 0 w 6"/>
              <a:gd name="T27" fmla="*/ 1 h 2"/>
              <a:gd name="T28" fmla="*/ 1 w 6"/>
              <a:gd name="T29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" h="2">
                <a:moveTo>
                  <a:pt x="1" y="1"/>
                </a:moveTo>
                <a:lnTo>
                  <a:pt x="2" y="1"/>
                </a:lnTo>
                <a:lnTo>
                  <a:pt x="2" y="2"/>
                </a:lnTo>
                <a:lnTo>
                  <a:pt x="4" y="2"/>
                </a:lnTo>
                <a:lnTo>
                  <a:pt x="5" y="2"/>
                </a:lnTo>
                <a:lnTo>
                  <a:pt x="5" y="2"/>
                </a:lnTo>
                <a:lnTo>
                  <a:pt x="6" y="2"/>
                </a:lnTo>
                <a:lnTo>
                  <a:pt x="4" y="1"/>
                </a:lnTo>
                <a:lnTo>
                  <a:pt x="3" y="1"/>
                </a:lnTo>
                <a:lnTo>
                  <a:pt x="2" y="1"/>
                </a:lnTo>
                <a:lnTo>
                  <a:pt x="1" y="0"/>
                </a:lnTo>
                <a:lnTo>
                  <a:pt x="1" y="0"/>
                </a:lnTo>
                <a:lnTo>
                  <a:pt x="1" y="1"/>
                </a:lnTo>
                <a:lnTo>
                  <a:pt x="0" y="1"/>
                </a:lnTo>
                <a:lnTo>
                  <a:pt x="1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53" name="Freeform 853"/>
          <p:cNvSpPr>
            <a:spLocks/>
          </p:cNvSpPr>
          <p:nvPr/>
        </p:nvSpPr>
        <p:spPr bwMode="auto">
          <a:xfrm>
            <a:off x="4775200" y="1417603"/>
            <a:ext cx="9525" cy="3175"/>
          </a:xfrm>
          <a:custGeom>
            <a:avLst/>
            <a:gdLst>
              <a:gd name="T0" fmla="*/ 1 w 6"/>
              <a:gd name="T1" fmla="*/ 1 h 2"/>
              <a:gd name="T2" fmla="*/ 2 w 6"/>
              <a:gd name="T3" fmla="*/ 1 h 2"/>
              <a:gd name="T4" fmla="*/ 2 w 6"/>
              <a:gd name="T5" fmla="*/ 2 h 2"/>
              <a:gd name="T6" fmla="*/ 4 w 6"/>
              <a:gd name="T7" fmla="*/ 2 h 2"/>
              <a:gd name="T8" fmla="*/ 5 w 6"/>
              <a:gd name="T9" fmla="*/ 2 h 2"/>
              <a:gd name="T10" fmla="*/ 5 w 6"/>
              <a:gd name="T11" fmla="*/ 2 h 2"/>
              <a:gd name="T12" fmla="*/ 6 w 6"/>
              <a:gd name="T13" fmla="*/ 2 h 2"/>
              <a:gd name="T14" fmla="*/ 4 w 6"/>
              <a:gd name="T15" fmla="*/ 1 h 2"/>
              <a:gd name="T16" fmla="*/ 3 w 6"/>
              <a:gd name="T17" fmla="*/ 1 h 2"/>
              <a:gd name="T18" fmla="*/ 2 w 6"/>
              <a:gd name="T19" fmla="*/ 1 h 2"/>
              <a:gd name="T20" fmla="*/ 1 w 6"/>
              <a:gd name="T21" fmla="*/ 0 h 2"/>
              <a:gd name="T22" fmla="*/ 1 w 6"/>
              <a:gd name="T23" fmla="*/ 0 h 2"/>
              <a:gd name="T24" fmla="*/ 1 w 6"/>
              <a:gd name="T25" fmla="*/ 1 h 2"/>
              <a:gd name="T26" fmla="*/ 0 w 6"/>
              <a:gd name="T27" fmla="*/ 1 h 2"/>
              <a:gd name="T28" fmla="*/ 1 w 6"/>
              <a:gd name="T29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" h="2">
                <a:moveTo>
                  <a:pt x="1" y="1"/>
                </a:moveTo>
                <a:lnTo>
                  <a:pt x="2" y="1"/>
                </a:lnTo>
                <a:lnTo>
                  <a:pt x="2" y="2"/>
                </a:lnTo>
                <a:lnTo>
                  <a:pt x="4" y="2"/>
                </a:lnTo>
                <a:lnTo>
                  <a:pt x="5" y="2"/>
                </a:lnTo>
                <a:lnTo>
                  <a:pt x="5" y="2"/>
                </a:lnTo>
                <a:lnTo>
                  <a:pt x="6" y="2"/>
                </a:lnTo>
                <a:lnTo>
                  <a:pt x="4" y="1"/>
                </a:lnTo>
                <a:lnTo>
                  <a:pt x="3" y="1"/>
                </a:lnTo>
                <a:lnTo>
                  <a:pt x="2" y="1"/>
                </a:lnTo>
                <a:lnTo>
                  <a:pt x="1" y="0"/>
                </a:lnTo>
                <a:lnTo>
                  <a:pt x="1" y="0"/>
                </a:lnTo>
                <a:lnTo>
                  <a:pt x="1" y="1"/>
                </a:lnTo>
                <a:lnTo>
                  <a:pt x="0" y="1"/>
                </a:lnTo>
                <a:lnTo>
                  <a:pt x="1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54" name="Freeform 854"/>
          <p:cNvSpPr>
            <a:spLocks/>
          </p:cNvSpPr>
          <p:nvPr/>
        </p:nvSpPr>
        <p:spPr bwMode="auto">
          <a:xfrm>
            <a:off x="4797425" y="1412840"/>
            <a:ext cx="28575" cy="4763"/>
          </a:xfrm>
          <a:custGeom>
            <a:avLst/>
            <a:gdLst>
              <a:gd name="T0" fmla="*/ 12 w 18"/>
              <a:gd name="T1" fmla="*/ 3 h 3"/>
              <a:gd name="T2" fmla="*/ 16 w 18"/>
              <a:gd name="T3" fmla="*/ 3 h 3"/>
              <a:gd name="T4" fmla="*/ 16 w 18"/>
              <a:gd name="T5" fmla="*/ 3 h 3"/>
              <a:gd name="T6" fmla="*/ 18 w 18"/>
              <a:gd name="T7" fmla="*/ 2 h 3"/>
              <a:gd name="T8" fmla="*/ 18 w 18"/>
              <a:gd name="T9" fmla="*/ 2 h 3"/>
              <a:gd name="T10" fmla="*/ 18 w 18"/>
              <a:gd name="T11" fmla="*/ 2 h 3"/>
              <a:gd name="T12" fmla="*/ 16 w 18"/>
              <a:gd name="T13" fmla="*/ 2 h 3"/>
              <a:gd name="T14" fmla="*/ 13 w 18"/>
              <a:gd name="T15" fmla="*/ 2 h 3"/>
              <a:gd name="T16" fmla="*/ 12 w 18"/>
              <a:gd name="T17" fmla="*/ 2 h 3"/>
              <a:gd name="T18" fmla="*/ 12 w 18"/>
              <a:gd name="T19" fmla="*/ 2 h 3"/>
              <a:gd name="T20" fmla="*/ 9 w 18"/>
              <a:gd name="T21" fmla="*/ 2 h 3"/>
              <a:gd name="T22" fmla="*/ 8 w 18"/>
              <a:gd name="T23" fmla="*/ 0 h 3"/>
              <a:gd name="T24" fmla="*/ 7 w 18"/>
              <a:gd name="T25" fmla="*/ 2 h 3"/>
              <a:gd name="T26" fmla="*/ 7 w 18"/>
              <a:gd name="T27" fmla="*/ 2 h 3"/>
              <a:gd name="T28" fmla="*/ 6 w 18"/>
              <a:gd name="T29" fmla="*/ 2 h 3"/>
              <a:gd name="T30" fmla="*/ 3 w 18"/>
              <a:gd name="T31" fmla="*/ 2 h 3"/>
              <a:gd name="T32" fmla="*/ 2 w 18"/>
              <a:gd name="T33" fmla="*/ 2 h 3"/>
              <a:gd name="T34" fmla="*/ 2 w 18"/>
              <a:gd name="T35" fmla="*/ 3 h 3"/>
              <a:gd name="T36" fmla="*/ 0 w 18"/>
              <a:gd name="T37" fmla="*/ 2 h 3"/>
              <a:gd name="T38" fmla="*/ 0 w 18"/>
              <a:gd name="T39" fmla="*/ 3 h 3"/>
              <a:gd name="T40" fmla="*/ 2 w 18"/>
              <a:gd name="T41" fmla="*/ 3 h 3"/>
              <a:gd name="T42" fmla="*/ 2 w 18"/>
              <a:gd name="T43" fmla="*/ 3 h 3"/>
              <a:gd name="T44" fmla="*/ 2 w 18"/>
              <a:gd name="T45" fmla="*/ 3 h 3"/>
              <a:gd name="T46" fmla="*/ 6 w 18"/>
              <a:gd name="T47" fmla="*/ 2 h 3"/>
              <a:gd name="T48" fmla="*/ 8 w 18"/>
              <a:gd name="T49" fmla="*/ 2 h 3"/>
              <a:gd name="T50" fmla="*/ 8 w 18"/>
              <a:gd name="T51" fmla="*/ 2 h 3"/>
              <a:gd name="T52" fmla="*/ 8 w 18"/>
              <a:gd name="T53" fmla="*/ 2 h 3"/>
              <a:gd name="T54" fmla="*/ 10 w 18"/>
              <a:gd name="T55" fmla="*/ 2 h 3"/>
              <a:gd name="T56" fmla="*/ 12 w 18"/>
              <a:gd name="T57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8" h="3">
                <a:moveTo>
                  <a:pt x="12" y="3"/>
                </a:moveTo>
                <a:lnTo>
                  <a:pt x="16" y="3"/>
                </a:lnTo>
                <a:lnTo>
                  <a:pt x="16" y="3"/>
                </a:lnTo>
                <a:lnTo>
                  <a:pt x="18" y="2"/>
                </a:lnTo>
                <a:lnTo>
                  <a:pt x="18" y="2"/>
                </a:lnTo>
                <a:lnTo>
                  <a:pt x="18" y="2"/>
                </a:lnTo>
                <a:lnTo>
                  <a:pt x="16" y="2"/>
                </a:lnTo>
                <a:lnTo>
                  <a:pt x="13" y="2"/>
                </a:lnTo>
                <a:lnTo>
                  <a:pt x="12" y="2"/>
                </a:lnTo>
                <a:lnTo>
                  <a:pt x="12" y="2"/>
                </a:lnTo>
                <a:lnTo>
                  <a:pt x="9" y="2"/>
                </a:lnTo>
                <a:lnTo>
                  <a:pt x="8" y="0"/>
                </a:lnTo>
                <a:lnTo>
                  <a:pt x="7" y="2"/>
                </a:lnTo>
                <a:lnTo>
                  <a:pt x="7" y="2"/>
                </a:lnTo>
                <a:lnTo>
                  <a:pt x="6" y="2"/>
                </a:lnTo>
                <a:lnTo>
                  <a:pt x="3" y="2"/>
                </a:lnTo>
                <a:lnTo>
                  <a:pt x="2" y="2"/>
                </a:lnTo>
                <a:lnTo>
                  <a:pt x="2" y="3"/>
                </a:lnTo>
                <a:lnTo>
                  <a:pt x="0" y="2"/>
                </a:lnTo>
                <a:lnTo>
                  <a:pt x="0" y="3"/>
                </a:lnTo>
                <a:lnTo>
                  <a:pt x="2" y="3"/>
                </a:lnTo>
                <a:lnTo>
                  <a:pt x="2" y="3"/>
                </a:lnTo>
                <a:lnTo>
                  <a:pt x="2" y="3"/>
                </a:lnTo>
                <a:lnTo>
                  <a:pt x="6" y="2"/>
                </a:lnTo>
                <a:lnTo>
                  <a:pt x="8" y="2"/>
                </a:lnTo>
                <a:lnTo>
                  <a:pt x="8" y="2"/>
                </a:lnTo>
                <a:lnTo>
                  <a:pt x="8" y="2"/>
                </a:lnTo>
                <a:lnTo>
                  <a:pt x="10" y="2"/>
                </a:lnTo>
                <a:lnTo>
                  <a:pt x="12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55" name="Freeform 855"/>
          <p:cNvSpPr>
            <a:spLocks/>
          </p:cNvSpPr>
          <p:nvPr/>
        </p:nvSpPr>
        <p:spPr bwMode="auto">
          <a:xfrm>
            <a:off x="4797425" y="1412840"/>
            <a:ext cx="28575" cy="4763"/>
          </a:xfrm>
          <a:custGeom>
            <a:avLst/>
            <a:gdLst>
              <a:gd name="T0" fmla="*/ 12 w 18"/>
              <a:gd name="T1" fmla="*/ 3 h 3"/>
              <a:gd name="T2" fmla="*/ 16 w 18"/>
              <a:gd name="T3" fmla="*/ 3 h 3"/>
              <a:gd name="T4" fmla="*/ 16 w 18"/>
              <a:gd name="T5" fmla="*/ 3 h 3"/>
              <a:gd name="T6" fmla="*/ 18 w 18"/>
              <a:gd name="T7" fmla="*/ 2 h 3"/>
              <a:gd name="T8" fmla="*/ 18 w 18"/>
              <a:gd name="T9" fmla="*/ 2 h 3"/>
              <a:gd name="T10" fmla="*/ 18 w 18"/>
              <a:gd name="T11" fmla="*/ 2 h 3"/>
              <a:gd name="T12" fmla="*/ 16 w 18"/>
              <a:gd name="T13" fmla="*/ 2 h 3"/>
              <a:gd name="T14" fmla="*/ 13 w 18"/>
              <a:gd name="T15" fmla="*/ 2 h 3"/>
              <a:gd name="T16" fmla="*/ 12 w 18"/>
              <a:gd name="T17" fmla="*/ 2 h 3"/>
              <a:gd name="T18" fmla="*/ 12 w 18"/>
              <a:gd name="T19" fmla="*/ 2 h 3"/>
              <a:gd name="T20" fmla="*/ 9 w 18"/>
              <a:gd name="T21" fmla="*/ 2 h 3"/>
              <a:gd name="T22" fmla="*/ 8 w 18"/>
              <a:gd name="T23" fmla="*/ 0 h 3"/>
              <a:gd name="T24" fmla="*/ 7 w 18"/>
              <a:gd name="T25" fmla="*/ 2 h 3"/>
              <a:gd name="T26" fmla="*/ 7 w 18"/>
              <a:gd name="T27" fmla="*/ 2 h 3"/>
              <a:gd name="T28" fmla="*/ 6 w 18"/>
              <a:gd name="T29" fmla="*/ 2 h 3"/>
              <a:gd name="T30" fmla="*/ 3 w 18"/>
              <a:gd name="T31" fmla="*/ 2 h 3"/>
              <a:gd name="T32" fmla="*/ 2 w 18"/>
              <a:gd name="T33" fmla="*/ 2 h 3"/>
              <a:gd name="T34" fmla="*/ 2 w 18"/>
              <a:gd name="T35" fmla="*/ 3 h 3"/>
              <a:gd name="T36" fmla="*/ 0 w 18"/>
              <a:gd name="T37" fmla="*/ 2 h 3"/>
              <a:gd name="T38" fmla="*/ 0 w 18"/>
              <a:gd name="T39" fmla="*/ 3 h 3"/>
              <a:gd name="T40" fmla="*/ 2 w 18"/>
              <a:gd name="T41" fmla="*/ 3 h 3"/>
              <a:gd name="T42" fmla="*/ 2 w 18"/>
              <a:gd name="T43" fmla="*/ 3 h 3"/>
              <a:gd name="T44" fmla="*/ 2 w 18"/>
              <a:gd name="T45" fmla="*/ 3 h 3"/>
              <a:gd name="T46" fmla="*/ 6 w 18"/>
              <a:gd name="T47" fmla="*/ 2 h 3"/>
              <a:gd name="T48" fmla="*/ 8 w 18"/>
              <a:gd name="T49" fmla="*/ 2 h 3"/>
              <a:gd name="T50" fmla="*/ 8 w 18"/>
              <a:gd name="T51" fmla="*/ 2 h 3"/>
              <a:gd name="T52" fmla="*/ 8 w 18"/>
              <a:gd name="T53" fmla="*/ 2 h 3"/>
              <a:gd name="T54" fmla="*/ 10 w 18"/>
              <a:gd name="T55" fmla="*/ 2 h 3"/>
              <a:gd name="T56" fmla="*/ 12 w 18"/>
              <a:gd name="T57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8" h="3">
                <a:moveTo>
                  <a:pt x="12" y="3"/>
                </a:moveTo>
                <a:lnTo>
                  <a:pt x="16" y="3"/>
                </a:lnTo>
                <a:lnTo>
                  <a:pt x="16" y="3"/>
                </a:lnTo>
                <a:lnTo>
                  <a:pt x="18" y="2"/>
                </a:lnTo>
                <a:lnTo>
                  <a:pt x="18" y="2"/>
                </a:lnTo>
                <a:lnTo>
                  <a:pt x="18" y="2"/>
                </a:lnTo>
                <a:lnTo>
                  <a:pt x="16" y="2"/>
                </a:lnTo>
                <a:lnTo>
                  <a:pt x="13" y="2"/>
                </a:lnTo>
                <a:lnTo>
                  <a:pt x="12" y="2"/>
                </a:lnTo>
                <a:lnTo>
                  <a:pt x="12" y="2"/>
                </a:lnTo>
                <a:lnTo>
                  <a:pt x="9" y="2"/>
                </a:lnTo>
                <a:lnTo>
                  <a:pt x="8" y="0"/>
                </a:lnTo>
                <a:lnTo>
                  <a:pt x="7" y="2"/>
                </a:lnTo>
                <a:lnTo>
                  <a:pt x="7" y="2"/>
                </a:lnTo>
                <a:lnTo>
                  <a:pt x="6" y="2"/>
                </a:lnTo>
                <a:lnTo>
                  <a:pt x="3" y="2"/>
                </a:lnTo>
                <a:lnTo>
                  <a:pt x="2" y="2"/>
                </a:lnTo>
                <a:lnTo>
                  <a:pt x="2" y="3"/>
                </a:lnTo>
                <a:lnTo>
                  <a:pt x="0" y="2"/>
                </a:lnTo>
                <a:lnTo>
                  <a:pt x="0" y="3"/>
                </a:lnTo>
                <a:lnTo>
                  <a:pt x="2" y="3"/>
                </a:lnTo>
                <a:lnTo>
                  <a:pt x="2" y="3"/>
                </a:lnTo>
                <a:lnTo>
                  <a:pt x="2" y="3"/>
                </a:lnTo>
                <a:lnTo>
                  <a:pt x="6" y="2"/>
                </a:lnTo>
                <a:lnTo>
                  <a:pt x="8" y="2"/>
                </a:lnTo>
                <a:lnTo>
                  <a:pt x="8" y="2"/>
                </a:lnTo>
                <a:lnTo>
                  <a:pt x="8" y="2"/>
                </a:lnTo>
                <a:lnTo>
                  <a:pt x="10" y="2"/>
                </a:lnTo>
                <a:lnTo>
                  <a:pt x="12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56" name="Freeform 856"/>
          <p:cNvSpPr>
            <a:spLocks/>
          </p:cNvSpPr>
          <p:nvPr/>
        </p:nvSpPr>
        <p:spPr bwMode="auto">
          <a:xfrm>
            <a:off x="4673600" y="1511265"/>
            <a:ext cx="7937" cy="3175"/>
          </a:xfrm>
          <a:custGeom>
            <a:avLst/>
            <a:gdLst>
              <a:gd name="T0" fmla="*/ 0 w 5"/>
              <a:gd name="T1" fmla="*/ 1 h 2"/>
              <a:gd name="T2" fmla="*/ 2 w 5"/>
              <a:gd name="T3" fmla="*/ 1 h 2"/>
              <a:gd name="T4" fmla="*/ 3 w 5"/>
              <a:gd name="T5" fmla="*/ 1 h 2"/>
              <a:gd name="T6" fmla="*/ 3 w 5"/>
              <a:gd name="T7" fmla="*/ 2 h 2"/>
              <a:gd name="T8" fmla="*/ 4 w 5"/>
              <a:gd name="T9" fmla="*/ 2 h 2"/>
              <a:gd name="T10" fmla="*/ 5 w 5"/>
              <a:gd name="T11" fmla="*/ 2 h 2"/>
              <a:gd name="T12" fmla="*/ 5 w 5"/>
              <a:gd name="T13" fmla="*/ 1 h 2"/>
              <a:gd name="T14" fmla="*/ 5 w 5"/>
              <a:gd name="T15" fmla="*/ 0 h 2"/>
              <a:gd name="T16" fmla="*/ 3 w 5"/>
              <a:gd name="T17" fmla="*/ 0 h 2"/>
              <a:gd name="T18" fmla="*/ 3 w 5"/>
              <a:gd name="T19" fmla="*/ 0 h 2"/>
              <a:gd name="T20" fmla="*/ 0 w 5"/>
              <a:gd name="T21" fmla="*/ 0 h 2"/>
              <a:gd name="T22" fmla="*/ 0 w 5"/>
              <a:gd name="T23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" h="2">
                <a:moveTo>
                  <a:pt x="0" y="1"/>
                </a:moveTo>
                <a:lnTo>
                  <a:pt x="2" y="1"/>
                </a:lnTo>
                <a:lnTo>
                  <a:pt x="3" y="1"/>
                </a:lnTo>
                <a:lnTo>
                  <a:pt x="3" y="2"/>
                </a:lnTo>
                <a:lnTo>
                  <a:pt x="4" y="2"/>
                </a:lnTo>
                <a:lnTo>
                  <a:pt x="5" y="2"/>
                </a:lnTo>
                <a:lnTo>
                  <a:pt x="5" y="1"/>
                </a:lnTo>
                <a:lnTo>
                  <a:pt x="5" y="0"/>
                </a:lnTo>
                <a:lnTo>
                  <a:pt x="3" y="0"/>
                </a:lnTo>
                <a:lnTo>
                  <a:pt x="3" y="0"/>
                </a:lnTo>
                <a:lnTo>
                  <a:pt x="0" y="0"/>
                </a:lnTo>
                <a:lnTo>
                  <a:pt x="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57" name="Freeform 857"/>
          <p:cNvSpPr>
            <a:spLocks/>
          </p:cNvSpPr>
          <p:nvPr/>
        </p:nvSpPr>
        <p:spPr bwMode="auto">
          <a:xfrm>
            <a:off x="4673600" y="1511265"/>
            <a:ext cx="7937" cy="3175"/>
          </a:xfrm>
          <a:custGeom>
            <a:avLst/>
            <a:gdLst>
              <a:gd name="T0" fmla="*/ 0 w 5"/>
              <a:gd name="T1" fmla="*/ 1 h 2"/>
              <a:gd name="T2" fmla="*/ 2 w 5"/>
              <a:gd name="T3" fmla="*/ 1 h 2"/>
              <a:gd name="T4" fmla="*/ 3 w 5"/>
              <a:gd name="T5" fmla="*/ 1 h 2"/>
              <a:gd name="T6" fmla="*/ 3 w 5"/>
              <a:gd name="T7" fmla="*/ 2 h 2"/>
              <a:gd name="T8" fmla="*/ 4 w 5"/>
              <a:gd name="T9" fmla="*/ 2 h 2"/>
              <a:gd name="T10" fmla="*/ 5 w 5"/>
              <a:gd name="T11" fmla="*/ 2 h 2"/>
              <a:gd name="T12" fmla="*/ 5 w 5"/>
              <a:gd name="T13" fmla="*/ 1 h 2"/>
              <a:gd name="T14" fmla="*/ 5 w 5"/>
              <a:gd name="T15" fmla="*/ 0 h 2"/>
              <a:gd name="T16" fmla="*/ 3 w 5"/>
              <a:gd name="T17" fmla="*/ 0 h 2"/>
              <a:gd name="T18" fmla="*/ 3 w 5"/>
              <a:gd name="T19" fmla="*/ 0 h 2"/>
              <a:gd name="T20" fmla="*/ 0 w 5"/>
              <a:gd name="T21" fmla="*/ 0 h 2"/>
              <a:gd name="T22" fmla="*/ 0 w 5"/>
              <a:gd name="T23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" h="2">
                <a:moveTo>
                  <a:pt x="0" y="1"/>
                </a:moveTo>
                <a:lnTo>
                  <a:pt x="2" y="1"/>
                </a:lnTo>
                <a:lnTo>
                  <a:pt x="3" y="1"/>
                </a:lnTo>
                <a:lnTo>
                  <a:pt x="3" y="2"/>
                </a:lnTo>
                <a:lnTo>
                  <a:pt x="4" y="2"/>
                </a:lnTo>
                <a:lnTo>
                  <a:pt x="5" y="2"/>
                </a:lnTo>
                <a:lnTo>
                  <a:pt x="5" y="1"/>
                </a:lnTo>
                <a:lnTo>
                  <a:pt x="5" y="0"/>
                </a:lnTo>
                <a:lnTo>
                  <a:pt x="3" y="0"/>
                </a:lnTo>
                <a:lnTo>
                  <a:pt x="3" y="0"/>
                </a:lnTo>
                <a:lnTo>
                  <a:pt x="0" y="0"/>
                </a:lnTo>
                <a:lnTo>
                  <a:pt x="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58" name="Freeform 858"/>
          <p:cNvSpPr>
            <a:spLocks/>
          </p:cNvSpPr>
          <p:nvPr/>
        </p:nvSpPr>
        <p:spPr bwMode="auto">
          <a:xfrm>
            <a:off x="4624388" y="1384265"/>
            <a:ext cx="155575" cy="25400"/>
          </a:xfrm>
          <a:custGeom>
            <a:avLst/>
            <a:gdLst>
              <a:gd name="T0" fmla="*/ 56 w 98"/>
              <a:gd name="T1" fmla="*/ 1 h 16"/>
              <a:gd name="T2" fmla="*/ 55 w 98"/>
              <a:gd name="T3" fmla="*/ 4 h 16"/>
              <a:gd name="T4" fmla="*/ 58 w 98"/>
              <a:gd name="T5" fmla="*/ 3 h 16"/>
              <a:gd name="T6" fmla="*/ 60 w 98"/>
              <a:gd name="T7" fmla="*/ 4 h 16"/>
              <a:gd name="T8" fmla="*/ 63 w 98"/>
              <a:gd name="T9" fmla="*/ 4 h 16"/>
              <a:gd name="T10" fmla="*/ 64 w 98"/>
              <a:gd name="T11" fmla="*/ 3 h 16"/>
              <a:gd name="T12" fmla="*/ 67 w 98"/>
              <a:gd name="T13" fmla="*/ 3 h 16"/>
              <a:gd name="T14" fmla="*/ 71 w 98"/>
              <a:gd name="T15" fmla="*/ 2 h 16"/>
              <a:gd name="T16" fmla="*/ 71 w 98"/>
              <a:gd name="T17" fmla="*/ 3 h 16"/>
              <a:gd name="T18" fmla="*/ 76 w 98"/>
              <a:gd name="T19" fmla="*/ 3 h 16"/>
              <a:gd name="T20" fmla="*/ 78 w 98"/>
              <a:gd name="T21" fmla="*/ 3 h 16"/>
              <a:gd name="T22" fmla="*/ 81 w 98"/>
              <a:gd name="T23" fmla="*/ 3 h 16"/>
              <a:gd name="T24" fmla="*/ 94 w 98"/>
              <a:gd name="T25" fmla="*/ 4 h 16"/>
              <a:gd name="T26" fmla="*/ 97 w 98"/>
              <a:gd name="T27" fmla="*/ 6 h 16"/>
              <a:gd name="T28" fmla="*/ 97 w 98"/>
              <a:gd name="T29" fmla="*/ 7 h 16"/>
              <a:gd name="T30" fmla="*/ 93 w 98"/>
              <a:gd name="T31" fmla="*/ 8 h 16"/>
              <a:gd name="T32" fmla="*/ 86 w 98"/>
              <a:gd name="T33" fmla="*/ 11 h 16"/>
              <a:gd name="T34" fmla="*/ 87 w 98"/>
              <a:gd name="T35" fmla="*/ 12 h 16"/>
              <a:gd name="T36" fmla="*/ 81 w 98"/>
              <a:gd name="T37" fmla="*/ 14 h 16"/>
              <a:gd name="T38" fmla="*/ 75 w 98"/>
              <a:gd name="T39" fmla="*/ 14 h 16"/>
              <a:gd name="T40" fmla="*/ 63 w 98"/>
              <a:gd name="T41" fmla="*/ 16 h 16"/>
              <a:gd name="T42" fmla="*/ 58 w 98"/>
              <a:gd name="T43" fmla="*/ 16 h 16"/>
              <a:gd name="T44" fmla="*/ 55 w 98"/>
              <a:gd name="T45" fmla="*/ 14 h 16"/>
              <a:gd name="T46" fmla="*/ 49 w 98"/>
              <a:gd name="T47" fmla="*/ 13 h 16"/>
              <a:gd name="T48" fmla="*/ 41 w 98"/>
              <a:gd name="T49" fmla="*/ 13 h 16"/>
              <a:gd name="T50" fmla="*/ 36 w 98"/>
              <a:gd name="T51" fmla="*/ 13 h 16"/>
              <a:gd name="T52" fmla="*/ 25 w 98"/>
              <a:gd name="T53" fmla="*/ 11 h 16"/>
              <a:gd name="T54" fmla="*/ 30 w 98"/>
              <a:gd name="T55" fmla="*/ 11 h 16"/>
              <a:gd name="T56" fmla="*/ 38 w 98"/>
              <a:gd name="T57" fmla="*/ 11 h 16"/>
              <a:gd name="T58" fmla="*/ 33 w 98"/>
              <a:gd name="T59" fmla="*/ 10 h 16"/>
              <a:gd name="T60" fmla="*/ 45 w 98"/>
              <a:gd name="T61" fmla="*/ 10 h 16"/>
              <a:gd name="T62" fmla="*/ 45 w 98"/>
              <a:gd name="T63" fmla="*/ 8 h 16"/>
              <a:gd name="T64" fmla="*/ 35 w 98"/>
              <a:gd name="T65" fmla="*/ 8 h 16"/>
              <a:gd name="T66" fmla="*/ 24 w 98"/>
              <a:gd name="T67" fmla="*/ 8 h 16"/>
              <a:gd name="T68" fmla="*/ 15 w 98"/>
              <a:gd name="T69" fmla="*/ 10 h 16"/>
              <a:gd name="T70" fmla="*/ 13 w 98"/>
              <a:gd name="T71" fmla="*/ 8 h 16"/>
              <a:gd name="T72" fmla="*/ 8 w 98"/>
              <a:gd name="T73" fmla="*/ 7 h 16"/>
              <a:gd name="T74" fmla="*/ 12 w 98"/>
              <a:gd name="T75" fmla="*/ 6 h 16"/>
              <a:gd name="T76" fmla="*/ 10 w 98"/>
              <a:gd name="T77" fmla="*/ 5 h 16"/>
              <a:gd name="T78" fmla="*/ 6 w 98"/>
              <a:gd name="T79" fmla="*/ 4 h 16"/>
              <a:gd name="T80" fmla="*/ 0 w 98"/>
              <a:gd name="T81" fmla="*/ 4 h 16"/>
              <a:gd name="T82" fmla="*/ 10 w 98"/>
              <a:gd name="T83" fmla="*/ 3 h 16"/>
              <a:gd name="T84" fmla="*/ 16 w 98"/>
              <a:gd name="T85" fmla="*/ 4 h 16"/>
              <a:gd name="T86" fmla="*/ 20 w 98"/>
              <a:gd name="T87" fmla="*/ 5 h 16"/>
              <a:gd name="T88" fmla="*/ 22 w 98"/>
              <a:gd name="T89" fmla="*/ 4 h 16"/>
              <a:gd name="T90" fmla="*/ 16 w 98"/>
              <a:gd name="T91" fmla="*/ 2 h 16"/>
              <a:gd name="T92" fmla="*/ 24 w 98"/>
              <a:gd name="T93" fmla="*/ 3 h 16"/>
              <a:gd name="T94" fmla="*/ 23 w 98"/>
              <a:gd name="T95" fmla="*/ 2 h 16"/>
              <a:gd name="T96" fmla="*/ 22 w 98"/>
              <a:gd name="T97" fmla="*/ 1 h 16"/>
              <a:gd name="T98" fmla="*/ 19 w 98"/>
              <a:gd name="T99" fmla="*/ 1 h 16"/>
              <a:gd name="T100" fmla="*/ 22 w 98"/>
              <a:gd name="T101" fmla="*/ 0 h 16"/>
              <a:gd name="T102" fmla="*/ 25 w 98"/>
              <a:gd name="T103" fmla="*/ 1 h 16"/>
              <a:gd name="T104" fmla="*/ 29 w 98"/>
              <a:gd name="T105" fmla="*/ 2 h 16"/>
              <a:gd name="T106" fmla="*/ 33 w 98"/>
              <a:gd name="T107" fmla="*/ 3 h 16"/>
              <a:gd name="T108" fmla="*/ 41 w 98"/>
              <a:gd name="T109" fmla="*/ 3 h 16"/>
              <a:gd name="T110" fmla="*/ 45 w 98"/>
              <a:gd name="T111" fmla="*/ 3 h 16"/>
              <a:gd name="T112" fmla="*/ 49 w 98"/>
              <a:gd name="T113" fmla="*/ 6 h 16"/>
              <a:gd name="T114" fmla="*/ 49 w 98"/>
              <a:gd name="T115" fmla="*/ 5 h 16"/>
              <a:gd name="T116" fmla="*/ 48 w 98"/>
              <a:gd name="T117" fmla="*/ 2 h 16"/>
              <a:gd name="T118" fmla="*/ 50 w 98"/>
              <a:gd name="T119" fmla="*/ 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8" h="16">
                <a:moveTo>
                  <a:pt x="51" y="0"/>
                </a:moveTo>
                <a:lnTo>
                  <a:pt x="53" y="0"/>
                </a:lnTo>
                <a:lnTo>
                  <a:pt x="53" y="0"/>
                </a:lnTo>
                <a:lnTo>
                  <a:pt x="56" y="0"/>
                </a:lnTo>
                <a:lnTo>
                  <a:pt x="56" y="0"/>
                </a:lnTo>
                <a:lnTo>
                  <a:pt x="56" y="1"/>
                </a:lnTo>
                <a:lnTo>
                  <a:pt x="55" y="1"/>
                </a:lnTo>
                <a:lnTo>
                  <a:pt x="57" y="2"/>
                </a:lnTo>
                <a:lnTo>
                  <a:pt x="56" y="2"/>
                </a:lnTo>
                <a:lnTo>
                  <a:pt x="55" y="3"/>
                </a:lnTo>
                <a:lnTo>
                  <a:pt x="55" y="3"/>
                </a:lnTo>
                <a:lnTo>
                  <a:pt x="55" y="4"/>
                </a:lnTo>
                <a:lnTo>
                  <a:pt x="56" y="4"/>
                </a:lnTo>
                <a:lnTo>
                  <a:pt x="56" y="4"/>
                </a:lnTo>
                <a:lnTo>
                  <a:pt x="57" y="4"/>
                </a:lnTo>
                <a:lnTo>
                  <a:pt x="57" y="4"/>
                </a:lnTo>
                <a:lnTo>
                  <a:pt x="58" y="4"/>
                </a:lnTo>
                <a:lnTo>
                  <a:pt x="58" y="3"/>
                </a:lnTo>
                <a:lnTo>
                  <a:pt x="58" y="3"/>
                </a:lnTo>
                <a:lnTo>
                  <a:pt x="58" y="4"/>
                </a:lnTo>
                <a:lnTo>
                  <a:pt x="59" y="4"/>
                </a:lnTo>
                <a:lnTo>
                  <a:pt x="59" y="3"/>
                </a:lnTo>
                <a:lnTo>
                  <a:pt x="59" y="3"/>
                </a:lnTo>
                <a:lnTo>
                  <a:pt x="60" y="4"/>
                </a:lnTo>
                <a:lnTo>
                  <a:pt x="60" y="4"/>
                </a:lnTo>
                <a:lnTo>
                  <a:pt x="60" y="4"/>
                </a:lnTo>
                <a:lnTo>
                  <a:pt x="61" y="4"/>
                </a:lnTo>
                <a:lnTo>
                  <a:pt x="61" y="4"/>
                </a:lnTo>
                <a:lnTo>
                  <a:pt x="61" y="4"/>
                </a:lnTo>
                <a:lnTo>
                  <a:pt x="63" y="4"/>
                </a:lnTo>
                <a:lnTo>
                  <a:pt x="63" y="4"/>
                </a:lnTo>
                <a:lnTo>
                  <a:pt x="61" y="3"/>
                </a:lnTo>
                <a:lnTo>
                  <a:pt x="64" y="3"/>
                </a:lnTo>
                <a:lnTo>
                  <a:pt x="63" y="3"/>
                </a:lnTo>
                <a:lnTo>
                  <a:pt x="63" y="3"/>
                </a:lnTo>
                <a:lnTo>
                  <a:pt x="64" y="3"/>
                </a:lnTo>
                <a:lnTo>
                  <a:pt x="63" y="2"/>
                </a:lnTo>
                <a:lnTo>
                  <a:pt x="63" y="2"/>
                </a:lnTo>
                <a:lnTo>
                  <a:pt x="65" y="3"/>
                </a:lnTo>
                <a:lnTo>
                  <a:pt x="65" y="2"/>
                </a:lnTo>
                <a:lnTo>
                  <a:pt x="65" y="2"/>
                </a:lnTo>
                <a:lnTo>
                  <a:pt x="67" y="3"/>
                </a:lnTo>
                <a:lnTo>
                  <a:pt x="67" y="2"/>
                </a:lnTo>
                <a:lnTo>
                  <a:pt x="66" y="2"/>
                </a:lnTo>
                <a:lnTo>
                  <a:pt x="69" y="3"/>
                </a:lnTo>
                <a:lnTo>
                  <a:pt x="70" y="3"/>
                </a:lnTo>
                <a:lnTo>
                  <a:pt x="70" y="2"/>
                </a:lnTo>
                <a:lnTo>
                  <a:pt x="71" y="2"/>
                </a:lnTo>
                <a:lnTo>
                  <a:pt x="73" y="2"/>
                </a:lnTo>
                <a:lnTo>
                  <a:pt x="74" y="2"/>
                </a:lnTo>
                <a:lnTo>
                  <a:pt x="74" y="2"/>
                </a:lnTo>
                <a:lnTo>
                  <a:pt x="74" y="2"/>
                </a:lnTo>
                <a:lnTo>
                  <a:pt x="74" y="3"/>
                </a:lnTo>
                <a:lnTo>
                  <a:pt x="71" y="3"/>
                </a:lnTo>
                <a:lnTo>
                  <a:pt x="71" y="3"/>
                </a:lnTo>
                <a:lnTo>
                  <a:pt x="70" y="4"/>
                </a:lnTo>
                <a:lnTo>
                  <a:pt x="73" y="4"/>
                </a:lnTo>
                <a:lnTo>
                  <a:pt x="73" y="3"/>
                </a:lnTo>
                <a:lnTo>
                  <a:pt x="75" y="3"/>
                </a:lnTo>
                <a:lnTo>
                  <a:pt x="76" y="3"/>
                </a:lnTo>
                <a:lnTo>
                  <a:pt x="76" y="3"/>
                </a:lnTo>
                <a:lnTo>
                  <a:pt x="78" y="3"/>
                </a:lnTo>
                <a:lnTo>
                  <a:pt x="78" y="3"/>
                </a:lnTo>
                <a:lnTo>
                  <a:pt x="78" y="3"/>
                </a:lnTo>
                <a:lnTo>
                  <a:pt x="77" y="3"/>
                </a:lnTo>
                <a:lnTo>
                  <a:pt x="78" y="3"/>
                </a:lnTo>
                <a:lnTo>
                  <a:pt x="78" y="3"/>
                </a:lnTo>
                <a:lnTo>
                  <a:pt x="79" y="3"/>
                </a:lnTo>
                <a:lnTo>
                  <a:pt x="79" y="3"/>
                </a:lnTo>
                <a:lnTo>
                  <a:pt x="80" y="3"/>
                </a:lnTo>
                <a:lnTo>
                  <a:pt x="80" y="3"/>
                </a:lnTo>
                <a:lnTo>
                  <a:pt x="81" y="3"/>
                </a:lnTo>
                <a:lnTo>
                  <a:pt x="83" y="3"/>
                </a:lnTo>
                <a:lnTo>
                  <a:pt x="84" y="3"/>
                </a:lnTo>
                <a:lnTo>
                  <a:pt x="83" y="4"/>
                </a:lnTo>
                <a:lnTo>
                  <a:pt x="85" y="3"/>
                </a:lnTo>
                <a:lnTo>
                  <a:pt x="90" y="4"/>
                </a:lnTo>
                <a:lnTo>
                  <a:pt x="94" y="4"/>
                </a:lnTo>
                <a:lnTo>
                  <a:pt x="94" y="4"/>
                </a:lnTo>
                <a:lnTo>
                  <a:pt x="95" y="4"/>
                </a:lnTo>
                <a:lnTo>
                  <a:pt x="95" y="5"/>
                </a:lnTo>
                <a:lnTo>
                  <a:pt x="97" y="5"/>
                </a:lnTo>
                <a:lnTo>
                  <a:pt x="97" y="5"/>
                </a:lnTo>
                <a:lnTo>
                  <a:pt x="97" y="6"/>
                </a:lnTo>
                <a:lnTo>
                  <a:pt x="96" y="6"/>
                </a:lnTo>
                <a:lnTo>
                  <a:pt x="97" y="6"/>
                </a:lnTo>
                <a:lnTo>
                  <a:pt x="96" y="6"/>
                </a:lnTo>
                <a:lnTo>
                  <a:pt x="98" y="7"/>
                </a:lnTo>
                <a:lnTo>
                  <a:pt x="98" y="7"/>
                </a:lnTo>
                <a:lnTo>
                  <a:pt x="97" y="7"/>
                </a:lnTo>
                <a:lnTo>
                  <a:pt x="95" y="7"/>
                </a:lnTo>
                <a:lnTo>
                  <a:pt x="94" y="8"/>
                </a:lnTo>
                <a:lnTo>
                  <a:pt x="93" y="8"/>
                </a:lnTo>
                <a:lnTo>
                  <a:pt x="93" y="8"/>
                </a:lnTo>
                <a:lnTo>
                  <a:pt x="94" y="8"/>
                </a:lnTo>
                <a:lnTo>
                  <a:pt x="93" y="8"/>
                </a:lnTo>
                <a:lnTo>
                  <a:pt x="91" y="10"/>
                </a:lnTo>
                <a:lnTo>
                  <a:pt x="90" y="10"/>
                </a:lnTo>
                <a:lnTo>
                  <a:pt x="89" y="10"/>
                </a:lnTo>
                <a:lnTo>
                  <a:pt x="88" y="10"/>
                </a:lnTo>
                <a:lnTo>
                  <a:pt x="88" y="10"/>
                </a:lnTo>
                <a:lnTo>
                  <a:pt x="86" y="11"/>
                </a:lnTo>
                <a:lnTo>
                  <a:pt x="86" y="11"/>
                </a:lnTo>
                <a:lnTo>
                  <a:pt x="87" y="12"/>
                </a:lnTo>
                <a:lnTo>
                  <a:pt x="87" y="12"/>
                </a:lnTo>
                <a:lnTo>
                  <a:pt x="87" y="12"/>
                </a:lnTo>
                <a:lnTo>
                  <a:pt x="87" y="12"/>
                </a:lnTo>
                <a:lnTo>
                  <a:pt x="87" y="12"/>
                </a:lnTo>
                <a:lnTo>
                  <a:pt x="86" y="12"/>
                </a:lnTo>
                <a:lnTo>
                  <a:pt x="86" y="13"/>
                </a:lnTo>
                <a:lnTo>
                  <a:pt x="85" y="13"/>
                </a:lnTo>
                <a:lnTo>
                  <a:pt x="86" y="13"/>
                </a:lnTo>
                <a:lnTo>
                  <a:pt x="84" y="14"/>
                </a:lnTo>
                <a:lnTo>
                  <a:pt x="81" y="14"/>
                </a:lnTo>
                <a:lnTo>
                  <a:pt x="80" y="14"/>
                </a:lnTo>
                <a:lnTo>
                  <a:pt x="79" y="14"/>
                </a:lnTo>
                <a:lnTo>
                  <a:pt x="79" y="14"/>
                </a:lnTo>
                <a:lnTo>
                  <a:pt x="79" y="14"/>
                </a:lnTo>
                <a:lnTo>
                  <a:pt x="77" y="14"/>
                </a:lnTo>
                <a:lnTo>
                  <a:pt x="75" y="14"/>
                </a:lnTo>
                <a:lnTo>
                  <a:pt x="71" y="14"/>
                </a:lnTo>
                <a:lnTo>
                  <a:pt x="71" y="15"/>
                </a:lnTo>
                <a:lnTo>
                  <a:pt x="71" y="15"/>
                </a:lnTo>
                <a:lnTo>
                  <a:pt x="70" y="16"/>
                </a:lnTo>
                <a:lnTo>
                  <a:pt x="68" y="16"/>
                </a:lnTo>
                <a:lnTo>
                  <a:pt x="63" y="16"/>
                </a:lnTo>
                <a:lnTo>
                  <a:pt x="63" y="16"/>
                </a:lnTo>
                <a:lnTo>
                  <a:pt x="63" y="16"/>
                </a:lnTo>
                <a:lnTo>
                  <a:pt x="61" y="16"/>
                </a:lnTo>
                <a:lnTo>
                  <a:pt x="61" y="16"/>
                </a:lnTo>
                <a:lnTo>
                  <a:pt x="58" y="16"/>
                </a:lnTo>
                <a:lnTo>
                  <a:pt x="58" y="16"/>
                </a:lnTo>
                <a:lnTo>
                  <a:pt x="58" y="15"/>
                </a:lnTo>
                <a:lnTo>
                  <a:pt x="57" y="15"/>
                </a:lnTo>
                <a:lnTo>
                  <a:pt x="57" y="15"/>
                </a:lnTo>
                <a:lnTo>
                  <a:pt x="57" y="15"/>
                </a:lnTo>
                <a:lnTo>
                  <a:pt x="55" y="15"/>
                </a:lnTo>
                <a:lnTo>
                  <a:pt x="55" y="14"/>
                </a:lnTo>
                <a:lnTo>
                  <a:pt x="55" y="14"/>
                </a:lnTo>
                <a:lnTo>
                  <a:pt x="55" y="13"/>
                </a:lnTo>
                <a:lnTo>
                  <a:pt x="55" y="13"/>
                </a:lnTo>
                <a:lnTo>
                  <a:pt x="55" y="13"/>
                </a:lnTo>
                <a:lnTo>
                  <a:pt x="54" y="14"/>
                </a:lnTo>
                <a:lnTo>
                  <a:pt x="49" y="13"/>
                </a:lnTo>
                <a:lnTo>
                  <a:pt x="47" y="14"/>
                </a:lnTo>
                <a:lnTo>
                  <a:pt x="44" y="13"/>
                </a:lnTo>
                <a:lnTo>
                  <a:pt x="44" y="13"/>
                </a:lnTo>
                <a:lnTo>
                  <a:pt x="43" y="13"/>
                </a:lnTo>
                <a:lnTo>
                  <a:pt x="43" y="14"/>
                </a:lnTo>
                <a:lnTo>
                  <a:pt x="41" y="13"/>
                </a:lnTo>
                <a:lnTo>
                  <a:pt x="39" y="14"/>
                </a:lnTo>
                <a:lnTo>
                  <a:pt x="39" y="14"/>
                </a:lnTo>
                <a:lnTo>
                  <a:pt x="39" y="14"/>
                </a:lnTo>
                <a:lnTo>
                  <a:pt x="37" y="14"/>
                </a:lnTo>
                <a:lnTo>
                  <a:pt x="36" y="14"/>
                </a:lnTo>
                <a:lnTo>
                  <a:pt x="36" y="13"/>
                </a:lnTo>
                <a:lnTo>
                  <a:pt x="35" y="13"/>
                </a:lnTo>
                <a:lnTo>
                  <a:pt x="30" y="13"/>
                </a:lnTo>
                <a:lnTo>
                  <a:pt x="28" y="12"/>
                </a:lnTo>
                <a:lnTo>
                  <a:pt x="27" y="12"/>
                </a:lnTo>
                <a:lnTo>
                  <a:pt x="26" y="12"/>
                </a:lnTo>
                <a:lnTo>
                  <a:pt x="25" y="11"/>
                </a:lnTo>
                <a:lnTo>
                  <a:pt x="24" y="11"/>
                </a:lnTo>
                <a:lnTo>
                  <a:pt x="25" y="11"/>
                </a:lnTo>
                <a:lnTo>
                  <a:pt x="27" y="11"/>
                </a:lnTo>
                <a:lnTo>
                  <a:pt x="29" y="11"/>
                </a:lnTo>
                <a:lnTo>
                  <a:pt x="29" y="11"/>
                </a:lnTo>
                <a:lnTo>
                  <a:pt x="30" y="11"/>
                </a:lnTo>
                <a:lnTo>
                  <a:pt x="30" y="11"/>
                </a:lnTo>
                <a:lnTo>
                  <a:pt x="35" y="11"/>
                </a:lnTo>
                <a:lnTo>
                  <a:pt x="37" y="12"/>
                </a:lnTo>
                <a:lnTo>
                  <a:pt x="38" y="11"/>
                </a:lnTo>
                <a:lnTo>
                  <a:pt x="38" y="11"/>
                </a:lnTo>
                <a:lnTo>
                  <a:pt x="38" y="11"/>
                </a:lnTo>
                <a:lnTo>
                  <a:pt x="37" y="11"/>
                </a:lnTo>
                <a:lnTo>
                  <a:pt x="36" y="11"/>
                </a:lnTo>
                <a:lnTo>
                  <a:pt x="35" y="11"/>
                </a:lnTo>
                <a:lnTo>
                  <a:pt x="33" y="11"/>
                </a:lnTo>
                <a:lnTo>
                  <a:pt x="34" y="10"/>
                </a:lnTo>
                <a:lnTo>
                  <a:pt x="33" y="10"/>
                </a:lnTo>
                <a:lnTo>
                  <a:pt x="36" y="10"/>
                </a:lnTo>
                <a:lnTo>
                  <a:pt x="36" y="10"/>
                </a:lnTo>
                <a:lnTo>
                  <a:pt x="36" y="10"/>
                </a:lnTo>
                <a:lnTo>
                  <a:pt x="37" y="10"/>
                </a:lnTo>
                <a:lnTo>
                  <a:pt x="45" y="10"/>
                </a:lnTo>
                <a:lnTo>
                  <a:pt x="45" y="10"/>
                </a:lnTo>
                <a:lnTo>
                  <a:pt x="45" y="10"/>
                </a:lnTo>
                <a:lnTo>
                  <a:pt x="45" y="10"/>
                </a:lnTo>
                <a:lnTo>
                  <a:pt x="47" y="8"/>
                </a:lnTo>
                <a:lnTo>
                  <a:pt x="47" y="8"/>
                </a:lnTo>
                <a:lnTo>
                  <a:pt x="47" y="8"/>
                </a:lnTo>
                <a:lnTo>
                  <a:pt x="45" y="8"/>
                </a:lnTo>
                <a:lnTo>
                  <a:pt x="46" y="8"/>
                </a:lnTo>
                <a:lnTo>
                  <a:pt x="46" y="7"/>
                </a:lnTo>
                <a:lnTo>
                  <a:pt x="45" y="8"/>
                </a:lnTo>
                <a:lnTo>
                  <a:pt x="43" y="8"/>
                </a:lnTo>
                <a:lnTo>
                  <a:pt x="43" y="8"/>
                </a:lnTo>
                <a:lnTo>
                  <a:pt x="35" y="8"/>
                </a:lnTo>
                <a:lnTo>
                  <a:pt x="34" y="8"/>
                </a:lnTo>
                <a:lnTo>
                  <a:pt x="30" y="8"/>
                </a:lnTo>
                <a:lnTo>
                  <a:pt x="30" y="8"/>
                </a:lnTo>
                <a:lnTo>
                  <a:pt x="28" y="8"/>
                </a:lnTo>
                <a:lnTo>
                  <a:pt x="27" y="8"/>
                </a:lnTo>
                <a:lnTo>
                  <a:pt x="24" y="8"/>
                </a:lnTo>
                <a:lnTo>
                  <a:pt x="24" y="10"/>
                </a:lnTo>
                <a:lnTo>
                  <a:pt x="23" y="10"/>
                </a:lnTo>
                <a:lnTo>
                  <a:pt x="22" y="10"/>
                </a:lnTo>
                <a:lnTo>
                  <a:pt x="22" y="10"/>
                </a:lnTo>
                <a:lnTo>
                  <a:pt x="20" y="8"/>
                </a:lnTo>
                <a:lnTo>
                  <a:pt x="15" y="10"/>
                </a:lnTo>
                <a:lnTo>
                  <a:pt x="14" y="8"/>
                </a:lnTo>
                <a:lnTo>
                  <a:pt x="14" y="8"/>
                </a:lnTo>
                <a:lnTo>
                  <a:pt x="14" y="8"/>
                </a:lnTo>
                <a:lnTo>
                  <a:pt x="14" y="8"/>
                </a:lnTo>
                <a:lnTo>
                  <a:pt x="14" y="8"/>
                </a:lnTo>
                <a:lnTo>
                  <a:pt x="13" y="8"/>
                </a:lnTo>
                <a:lnTo>
                  <a:pt x="12" y="8"/>
                </a:lnTo>
                <a:lnTo>
                  <a:pt x="10" y="8"/>
                </a:lnTo>
                <a:lnTo>
                  <a:pt x="10" y="7"/>
                </a:lnTo>
                <a:lnTo>
                  <a:pt x="9" y="7"/>
                </a:lnTo>
                <a:lnTo>
                  <a:pt x="9" y="7"/>
                </a:lnTo>
                <a:lnTo>
                  <a:pt x="8" y="7"/>
                </a:lnTo>
                <a:lnTo>
                  <a:pt x="8" y="6"/>
                </a:lnTo>
                <a:lnTo>
                  <a:pt x="10" y="6"/>
                </a:lnTo>
                <a:lnTo>
                  <a:pt x="12" y="6"/>
                </a:lnTo>
                <a:lnTo>
                  <a:pt x="12" y="6"/>
                </a:lnTo>
                <a:lnTo>
                  <a:pt x="10" y="6"/>
                </a:lnTo>
                <a:lnTo>
                  <a:pt x="12" y="6"/>
                </a:lnTo>
                <a:lnTo>
                  <a:pt x="13" y="6"/>
                </a:lnTo>
                <a:lnTo>
                  <a:pt x="14" y="6"/>
                </a:lnTo>
                <a:lnTo>
                  <a:pt x="13" y="5"/>
                </a:lnTo>
                <a:lnTo>
                  <a:pt x="15" y="5"/>
                </a:lnTo>
                <a:lnTo>
                  <a:pt x="13" y="5"/>
                </a:lnTo>
                <a:lnTo>
                  <a:pt x="10" y="5"/>
                </a:lnTo>
                <a:lnTo>
                  <a:pt x="10" y="5"/>
                </a:lnTo>
                <a:lnTo>
                  <a:pt x="9" y="5"/>
                </a:lnTo>
                <a:lnTo>
                  <a:pt x="8" y="5"/>
                </a:lnTo>
                <a:lnTo>
                  <a:pt x="7" y="5"/>
                </a:lnTo>
                <a:lnTo>
                  <a:pt x="7" y="5"/>
                </a:lnTo>
                <a:lnTo>
                  <a:pt x="6" y="4"/>
                </a:lnTo>
                <a:lnTo>
                  <a:pt x="7" y="4"/>
                </a:lnTo>
                <a:lnTo>
                  <a:pt x="7" y="4"/>
                </a:lnTo>
                <a:lnTo>
                  <a:pt x="6" y="4"/>
                </a:lnTo>
                <a:lnTo>
                  <a:pt x="6" y="4"/>
                </a:lnTo>
                <a:lnTo>
                  <a:pt x="3" y="4"/>
                </a:lnTo>
                <a:lnTo>
                  <a:pt x="0" y="4"/>
                </a:lnTo>
                <a:lnTo>
                  <a:pt x="0" y="4"/>
                </a:lnTo>
                <a:lnTo>
                  <a:pt x="2" y="3"/>
                </a:lnTo>
                <a:lnTo>
                  <a:pt x="4" y="3"/>
                </a:lnTo>
                <a:lnTo>
                  <a:pt x="6" y="3"/>
                </a:lnTo>
                <a:lnTo>
                  <a:pt x="7" y="3"/>
                </a:lnTo>
                <a:lnTo>
                  <a:pt x="10" y="3"/>
                </a:lnTo>
                <a:lnTo>
                  <a:pt x="12" y="4"/>
                </a:lnTo>
                <a:lnTo>
                  <a:pt x="12" y="4"/>
                </a:lnTo>
                <a:lnTo>
                  <a:pt x="13" y="3"/>
                </a:lnTo>
                <a:lnTo>
                  <a:pt x="15" y="3"/>
                </a:lnTo>
                <a:lnTo>
                  <a:pt x="15" y="4"/>
                </a:lnTo>
                <a:lnTo>
                  <a:pt x="16" y="4"/>
                </a:lnTo>
                <a:lnTo>
                  <a:pt x="17" y="4"/>
                </a:lnTo>
                <a:lnTo>
                  <a:pt x="17" y="4"/>
                </a:lnTo>
                <a:lnTo>
                  <a:pt x="17" y="5"/>
                </a:lnTo>
                <a:lnTo>
                  <a:pt x="18" y="5"/>
                </a:lnTo>
                <a:lnTo>
                  <a:pt x="19" y="5"/>
                </a:lnTo>
                <a:lnTo>
                  <a:pt x="20" y="5"/>
                </a:lnTo>
                <a:lnTo>
                  <a:pt x="19" y="4"/>
                </a:lnTo>
                <a:lnTo>
                  <a:pt x="19" y="4"/>
                </a:lnTo>
                <a:lnTo>
                  <a:pt x="20" y="4"/>
                </a:lnTo>
                <a:lnTo>
                  <a:pt x="20" y="4"/>
                </a:lnTo>
                <a:lnTo>
                  <a:pt x="19" y="4"/>
                </a:lnTo>
                <a:lnTo>
                  <a:pt x="22" y="4"/>
                </a:lnTo>
                <a:lnTo>
                  <a:pt x="22" y="4"/>
                </a:lnTo>
                <a:lnTo>
                  <a:pt x="18" y="3"/>
                </a:lnTo>
                <a:lnTo>
                  <a:pt x="17" y="3"/>
                </a:lnTo>
                <a:lnTo>
                  <a:pt x="16" y="3"/>
                </a:lnTo>
                <a:lnTo>
                  <a:pt x="16" y="3"/>
                </a:lnTo>
                <a:lnTo>
                  <a:pt x="16" y="2"/>
                </a:lnTo>
                <a:lnTo>
                  <a:pt x="16" y="1"/>
                </a:lnTo>
                <a:lnTo>
                  <a:pt x="18" y="2"/>
                </a:lnTo>
                <a:lnTo>
                  <a:pt x="19" y="3"/>
                </a:lnTo>
                <a:lnTo>
                  <a:pt x="22" y="3"/>
                </a:lnTo>
                <a:lnTo>
                  <a:pt x="23" y="3"/>
                </a:lnTo>
                <a:lnTo>
                  <a:pt x="24" y="3"/>
                </a:lnTo>
                <a:lnTo>
                  <a:pt x="24" y="3"/>
                </a:lnTo>
                <a:lnTo>
                  <a:pt x="23" y="3"/>
                </a:lnTo>
                <a:lnTo>
                  <a:pt x="23" y="2"/>
                </a:lnTo>
                <a:lnTo>
                  <a:pt x="23" y="2"/>
                </a:lnTo>
                <a:lnTo>
                  <a:pt x="23" y="2"/>
                </a:lnTo>
                <a:lnTo>
                  <a:pt x="23" y="2"/>
                </a:lnTo>
                <a:lnTo>
                  <a:pt x="24" y="2"/>
                </a:lnTo>
                <a:lnTo>
                  <a:pt x="23" y="2"/>
                </a:lnTo>
                <a:lnTo>
                  <a:pt x="23" y="1"/>
                </a:lnTo>
                <a:lnTo>
                  <a:pt x="24" y="1"/>
                </a:lnTo>
                <a:lnTo>
                  <a:pt x="24" y="1"/>
                </a:lnTo>
                <a:lnTo>
                  <a:pt x="22" y="1"/>
                </a:lnTo>
                <a:lnTo>
                  <a:pt x="22" y="1"/>
                </a:lnTo>
                <a:lnTo>
                  <a:pt x="22" y="1"/>
                </a:lnTo>
                <a:lnTo>
                  <a:pt x="20" y="1"/>
                </a:lnTo>
                <a:lnTo>
                  <a:pt x="20" y="1"/>
                </a:lnTo>
                <a:lnTo>
                  <a:pt x="19" y="1"/>
                </a:lnTo>
                <a:lnTo>
                  <a:pt x="19" y="1"/>
                </a:lnTo>
                <a:lnTo>
                  <a:pt x="19" y="0"/>
                </a:lnTo>
                <a:lnTo>
                  <a:pt x="20" y="0"/>
                </a:lnTo>
                <a:lnTo>
                  <a:pt x="22" y="0"/>
                </a:lnTo>
                <a:lnTo>
                  <a:pt x="20" y="0"/>
                </a:lnTo>
                <a:lnTo>
                  <a:pt x="22" y="0"/>
                </a:lnTo>
                <a:lnTo>
                  <a:pt x="22" y="0"/>
                </a:lnTo>
                <a:lnTo>
                  <a:pt x="23" y="0"/>
                </a:lnTo>
                <a:lnTo>
                  <a:pt x="24" y="0"/>
                </a:lnTo>
                <a:lnTo>
                  <a:pt x="24" y="0"/>
                </a:lnTo>
                <a:lnTo>
                  <a:pt x="24" y="1"/>
                </a:lnTo>
                <a:lnTo>
                  <a:pt x="24" y="1"/>
                </a:lnTo>
                <a:lnTo>
                  <a:pt x="25" y="1"/>
                </a:lnTo>
                <a:lnTo>
                  <a:pt x="27" y="1"/>
                </a:lnTo>
                <a:lnTo>
                  <a:pt x="27" y="1"/>
                </a:lnTo>
                <a:lnTo>
                  <a:pt x="28" y="1"/>
                </a:lnTo>
                <a:lnTo>
                  <a:pt x="29" y="1"/>
                </a:lnTo>
                <a:lnTo>
                  <a:pt x="29" y="2"/>
                </a:lnTo>
                <a:lnTo>
                  <a:pt x="29" y="2"/>
                </a:lnTo>
                <a:lnTo>
                  <a:pt x="29" y="2"/>
                </a:lnTo>
                <a:lnTo>
                  <a:pt x="30" y="2"/>
                </a:lnTo>
                <a:lnTo>
                  <a:pt x="33" y="2"/>
                </a:lnTo>
                <a:lnTo>
                  <a:pt x="33" y="3"/>
                </a:lnTo>
                <a:lnTo>
                  <a:pt x="33" y="3"/>
                </a:lnTo>
                <a:lnTo>
                  <a:pt x="33" y="3"/>
                </a:lnTo>
                <a:lnTo>
                  <a:pt x="34" y="3"/>
                </a:lnTo>
                <a:lnTo>
                  <a:pt x="36" y="3"/>
                </a:lnTo>
                <a:lnTo>
                  <a:pt x="38" y="3"/>
                </a:lnTo>
                <a:lnTo>
                  <a:pt x="39" y="3"/>
                </a:lnTo>
                <a:lnTo>
                  <a:pt x="40" y="3"/>
                </a:lnTo>
                <a:lnTo>
                  <a:pt x="41" y="3"/>
                </a:lnTo>
                <a:lnTo>
                  <a:pt x="43" y="3"/>
                </a:lnTo>
                <a:lnTo>
                  <a:pt x="43" y="2"/>
                </a:lnTo>
                <a:lnTo>
                  <a:pt x="44" y="2"/>
                </a:lnTo>
                <a:lnTo>
                  <a:pt x="44" y="2"/>
                </a:lnTo>
                <a:lnTo>
                  <a:pt x="44" y="3"/>
                </a:lnTo>
                <a:lnTo>
                  <a:pt x="45" y="3"/>
                </a:lnTo>
                <a:lnTo>
                  <a:pt x="40" y="4"/>
                </a:lnTo>
                <a:lnTo>
                  <a:pt x="44" y="4"/>
                </a:lnTo>
                <a:lnTo>
                  <a:pt x="46" y="4"/>
                </a:lnTo>
                <a:lnTo>
                  <a:pt x="46" y="5"/>
                </a:lnTo>
                <a:lnTo>
                  <a:pt x="48" y="5"/>
                </a:lnTo>
                <a:lnTo>
                  <a:pt x="49" y="6"/>
                </a:lnTo>
                <a:lnTo>
                  <a:pt x="49" y="5"/>
                </a:lnTo>
                <a:lnTo>
                  <a:pt x="50" y="5"/>
                </a:lnTo>
                <a:lnTo>
                  <a:pt x="50" y="5"/>
                </a:lnTo>
                <a:lnTo>
                  <a:pt x="49" y="5"/>
                </a:lnTo>
                <a:lnTo>
                  <a:pt x="49" y="5"/>
                </a:lnTo>
                <a:lnTo>
                  <a:pt x="49" y="5"/>
                </a:lnTo>
                <a:lnTo>
                  <a:pt x="49" y="4"/>
                </a:lnTo>
                <a:lnTo>
                  <a:pt x="49" y="4"/>
                </a:lnTo>
                <a:lnTo>
                  <a:pt x="49" y="3"/>
                </a:lnTo>
                <a:lnTo>
                  <a:pt x="49" y="2"/>
                </a:lnTo>
                <a:lnTo>
                  <a:pt x="49" y="2"/>
                </a:lnTo>
                <a:lnTo>
                  <a:pt x="48" y="2"/>
                </a:lnTo>
                <a:lnTo>
                  <a:pt x="48" y="2"/>
                </a:lnTo>
                <a:lnTo>
                  <a:pt x="48" y="1"/>
                </a:lnTo>
                <a:lnTo>
                  <a:pt x="48" y="1"/>
                </a:lnTo>
                <a:lnTo>
                  <a:pt x="49" y="1"/>
                </a:lnTo>
                <a:lnTo>
                  <a:pt x="50" y="1"/>
                </a:lnTo>
                <a:lnTo>
                  <a:pt x="50" y="2"/>
                </a:lnTo>
                <a:lnTo>
                  <a:pt x="53" y="2"/>
                </a:lnTo>
                <a:lnTo>
                  <a:pt x="53" y="1"/>
                </a:lnTo>
                <a:lnTo>
                  <a:pt x="53" y="1"/>
                </a:lnTo>
                <a:lnTo>
                  <a:pt x="51" y="0"/>
                </a:lnTo>
                <a:lnTo>
                  <a:pt x="5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59" name="Freeform 859"/>
          <p:cNvSpPr>
            <a:spLocks/>
          </p:cNvSpPr>
          <p:nvPr/>
        </p:nvSpPr>
        <p:spPr bwMode="auto">
          <a:xfrm>
            <a:off x="4624388" y="1384265"/>
            <a:ext cx="155575" cy="25400"/>
          </a:xfrm>
          <a:custGeom>
            <a:avLst/>
            <a:gdLst>
              <a:gd name="T0" fmla="*/ 56 w 98"/>
              <a:gd name="T1" fmla="*/ 1 h 16"/>
              <a:gd name="T2" fmla="*/ 55 w 98"/>
              <a:gd name="T3" fmla="*/ 4 h 16"/>
              <a:gd name="T4" fmla="*/ 58 w 98"/>
              <a:gd name="T5" fmla="*/ 3 h 16"/>
              <a:gd name="T6" fmla="*/ 60 w 98"/>
              <a:gd name="T7" fmla="*/ 4 h 16"/>
              <a:gd name="T8" fmla="*/ 63 w 98"/>
              <a:gd name="T9" fmla="*/ 4 h 16"/>
              <a:gd name="T10" fmla="*/ 64 w 98"/>
              <a:gd name="T11" fmla="*/ 3 h 16"/>
              <a:gd name="T12" fmla="*/ 67 w 98"/>
              <a:gd name="T13" fmla="*/ 3 h 16"/>
              <a:gd name="T14" fmla="*/ 71 w 98"/>
              <a:gd name="T15" fmla="*/ 2 h 16"/>
              <a:gd name="T16" fmla="*/ 71 w 98"/>
              <a:gd name="T17" fmla="*/ 3 h 16"/>
              <a:gd name="T18" fmla="*/ 76 w 98"/>
              <a:gd name="T19" fmla="*/ 3 h 16"/>
              <a:gd name="T20" fmla="*/ 78 w 98"/>
              <a:gd name="T21" fmla="*/ 3 h 16"/>
              <a:gd name="T22" fmla="*/ 81 w 98"/>
              <a:gd name="T23" fmla="*/ 3 h 16"/>
              <a:gd name="T24" fmla="*/ 94 w 98"/>
              <a:gd name="T25" fmla="*/ 4 h 16"/>
              <a:gd name="T26" fmla="*/ 97 w 98"/>
              <a:gd name="T27" fmla="*/ 6 h 16"/>
              <a:gd name="T28" fmla="*/ 97 w 98"/>
              <a:gd name="T29" fmla="*/ 7 h 16"/>
              <a:gd name="T30" fmla="*/ 93 w 98"/>
              <a:gd name="T31" fmla="*/ 8 h 16"/>
              <a:gd name="T32" fmla="*/ 86 w 98"/>
              <a:gd name="T33" fmla="*/ 11 h 16"/>
              <a:gd name="T34" fmla="*/ 87 w 98"/>
              <a:gd name="T35" fmla="*/ 12 h 16"/>
              <a:gd name="T36" fmla="*/ 81 w 98"/>
              <a:gd name="T37" fmla="*/ 14 h 16"/>
              <a:gd name="T38" fmla="*/ 75 w 98"/>
              <a:gd name="T39" fmla="*/ 14 h 16"/>
              <a:gd name="T40" fmla="*/ 63 w 98"/>
              <a:gd name="T41" fmla="*/ 16 h 16"/>
              <a:gd name="T42" fmla="*/ 58 w 98"/>
              <a:gd name="T43" fmla="*/ 16 h 16"/>
              <a:gd name="T44" fmla="*/ 55 w 98"/>
              <a:gd name="T45" fmla="*/ 14 h 16"/>
              <a:gd name="T46" fmla="*/ 49 w 98"/>
              <a:gd name="T47" fmla="*/ 13 h 16"/>
              <a:gd name="T48" fmla="*/ 41 w 98"/>
              <a:gd name="T49" fmla="*/ 13 h 16"/>
              <a:gd name="T50" fmla="*/ 36 w 98"/>
              <a:gd name="T51" fmla="*/ 13 h 16"/>
              <a:gd name="T52" fmla="*/ 25 w 98"/>
              <a:gd name="T53" fmla="*/ 11 h 16"/>
              <a:gd name="T54" fmla="*/ 30 w 98"/>
              <a:gd name="T55" fmla="*/ 11 h 16"/>
              <a:gd name="T56" fmla="*/ 38 w 98"/>
              <a:gd name="T57" fmla="*/ 11 h 16"/>
              <a:gd name="T58" fmla="*/ 33 w 98"/>
              <a:gd name="T59" fmla="*/ 10 h 16"/>
              <a:gd name="T60" fmla="*/ 45 w 98"/>
              <a:gd name="T61" fmla="*/ 10 h 16"/>
              <a:gd name="T62" fmla="*/ 45 w 98"/>
              <a:gd name="T63" fmla="*/ 8 h 16"/>
              <a:gd name="T64" fmla="*/ 35 w 98"/>
              <a:gd name="T65" fmla="*/ 8 h 16"/>
              <a:gd name="T66" fmla="*/ 24 w 98"/>
              <a:gd name="T67" fmla="*/ 8 h 16"/>
              <a:gd name="T68" fmla="*/ 15 w 98"/>
              <a:gd name="T69" fmla="*/ 10 h 16"/>
              <a:gd name="T70" fmla="*/ 13 w 98"/>
              <a:gd name="T71" fmla="*/ 8 h 16"/>
              <a:gd name="T72" fmla="*/ 8 w 98"/>
              <a:gd name="T73" fmla="*/ 7 h 16"/>
              <a:gd name="T74" fmla="*/ 12 w 98"/>
              <a:gd name="T75" fmla="*/ 6 h 16"/>
              <a:gd name="T76" fmla="*/ 10 w 98"/>
              <a:gd name="T77" fmla="*/ 5 h 16"/>
              <a:gd name="T78" fmla="*/ 6 w 98"/>
              <a:gd name="T79" fmla="*/ 4 h 16"/>
              <a:gd name="T80" fmla="*/ 0 w 98"/>
              <a:gd name="T81" fmla="*/ 4 h 16"/>
              <a:gd name="T82" fmla="*/ 10 w 98"/>
              <a:gd name="T83" fmla="*/ 3 h 16"/>
              <a:gd name="T84" fmla="*/ 16 w 98"/>
              <a:gd name="T85" fmla="*/ 4 h 16"/>
              <a:gd name="T86" fmla="*/ 20 w 98"/>
              <a:gd name="T87" fmla="*/ 5 h 16"/>
              <a:gd name="T88" fmla="*/ 22 w 98"/>
              <a:gd name="T89" fmla="*/ 4 h 16"/>
              <a:gd name="T90" fmla="*/ 16 w 98"/>
              <a:gd name="T91" fmla="*/ 2 h 16"/>
              <a:gd name="T92" fmla="*/ 24 w 98"/>
              <a:gd name="T93" fmla="*/ 3 h 16"/>
              <a:gd name="T94" fmla="*/ 23 w 98"/>
              <a:gd name="T95" fmla="*/ 2 h 16"/>
              <a:gd name="T96" fmla="*/ 22 w 98"/>
              <a:gd name="T97" fmla="*/ 1 h 16"/>
              <a:gd name="T98" fmla="*/ 19 w 98"/>
              <a:gd name="T99" fmla="*/ 1 h 16"/>
              <a:gd name="T100" fmla="*/ 22 w 98"/>
              <a:gd name="T101" fmla="*/ 0 h 16"/>
              <a:gd name="T102" fmla="*/ 25 w 98"/>
              <a:gd name="T103" fmla="*/ 1 h 16"/>
              <a:gd name="T104" fmla="*/ 29 w 98"/>
              <a:gd name="T105" fmla="*/ 2 h 16"/>
              <a:gd name="T106" fmla="*/ 33 w 98"/>
              <a:gd name="T107" fmla="*/ 3 h 16"/>
              <a:gd name="T108" fmla="*/ 41 w 98"/>
              <a:gd name="T109" fmla="*/ 3 h 16"/>
              <a:gd name="T110" fmla="*/ 45 w 98"/>
              <a:gd name="T111" fmla="*/ 3 h 16"/>
              <a:gd name="T112" fmla="*/ 49 w 98"/>
              <a:gd name="T113" fmla="*/ 6 h 16"/>
              <a:gd name="T114" fmla="*/ 49 w 98"/>
              <a:gd name="T115" fmla="*/ 5 h 16"/>
              <a:gd name="T116" fmla="*/ 48 w 98"/>
              <a:gd name="T117" fmla="*/ 2 h 16"/>
              <a:gd name="T118" fmla="*/ 50 w 98"/>
              <a:gd name="T119" fmla="*/ 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98" h="16">
                <a:moveTo>
                  <a:pt x="51" y="0"/>
                </a:moveTo>
                <a:lnTo>
                  <a:pt x="53" y="0"/>
                </a:lnTo>
                <a:lnTo>
                  <a:pt x="53" y="0"/>
                </a:lnTo>
                <a:lnTo>
                  <a:pt x="56" y="0"/>
                </a:lnTo>
                <a:lnTo>
                  <a:pt x="56" y="0"/>
                </a:lnTo>
                <a:lnTo>
                  <a:pt x="56" y="1"/>
                </a:lnTo>
                <a:lnTo>
                  <a:pt x="55" y="1"/>
                </a:lnTo>
                <a:lnTo>
                  <a:pt x="57" y="2"/>
                </a:lnTo>
                <a:lnTo>
                  <a:pt x="56" y="2"/>
                </a:lnTo>
                <a:lnTo>
                  <a:pt x="55" y="3"/>
                </a:lnTo>
                <a:lnTo>
                  <a:pt x="55" y="3"/>
                </a:lnTo>
                <a:lnTo>
                  <a:pt x="55" y="4"/>
                </a:lnTo>
                <a:lnTo>
                  <a:pt x="56" y="4"/>
                </a:lnTo>
                <a:lnTo>
                  <a:pt x="56" y="4"/>
                </a:lnTo>
                <a:lnTo>
                  <a:pt x="57" y="4"/>
                </a:lnTo>
                <a:lnTo>
                  <a:pt x="57" y="4"/>
                </a:lnTo>
                <a:lnTo>
                  <a:pt x="58" y="4"/>
                </a:lnTo>
                <a:lnTo>
                  <a:pt x="58" y="3"/>
                </a:lnTo>
                <a:lnTo>
                  <a:pt x="58" y="3"/>
                </a:lnTo>
                <a:lnTo>
                  <a:pt x="58" y="4"/>
                </a:lnTo>
                <a:lnTo>
                  <a:pt x="59" y="4"/>
                </a:lnTo>
                <a:lnTo>
                  <a:pt x="59" y="3"/>
                </a:lnTo>
                <a:lnTo>
                  <a:pt x="59" y="3"/>
                </a:lnTo>
                <a:lnTo>
                  <a:pt x="60" y="4"/>
                </a:lnTo>
                <a:lnTo>
                  <a:pt x="60" y="4"/>
                </a:lnTo>
                <a:lnTo>
                  <a:pt x="60" y="4"/>
                </a:lnTo>
                <a:lnTo>
                  <a:pt x="61" y="4"/>
                </a:lnTo>
                <a:lnTo>
                  <a:pt x="61" y="4"/>
                </a:lnTo>
                <a:lnTo>
                  <a:pt x="61" y="4"/>
                </a:lnTo>
                <a:lnTo>
                  <a:pt x="63" y="4"/>
                </a:lnTo>
                <a:lnTo>
                  <a:pt x="63" y="4"/>
                </a:lnTo>
                <a:lnTo>
                  <a:pt x="61" y="3"/>
                </a:lnTo>
                <a:lnTo>
                  <a:pt x="64" y="3"/>
                </a:lnTo>
                <a:lnTo>
                  <a:pt x="63" y="3"/>
                </a:lnTo>
                <a:lnTo>
                  <a:pt x="63" y="3"/>
                </a:lnTo>
                <a:lnTo>
                  <a:pt x="64" y="3"/>
                </a:lnTo>
                <a:lnTo>
                  <a:pt x="63" y="2"/>
                </a:lnTo>
                <a:lnTo>
                  <a:pt x="63" y="2"/>
                </a:lnTo>
                <a:lnTo>
                  <a:pt x="65" y="3"/>
                </a:lnTo>
                <a:lnTo>
                  <a:pt x="65" y="2"/>
                </a:lnTo>
                <a:lnTo>
                  <a:pt x="65" y="2"/>
                </a:lnTo>
                <a:lnTo>
                  <a:pt x="67" y="3"/>
                </a:lnTo>
                <a:lnTo>
                  <a:pt x="67" y="2"/>
                </a:lnTo>
                <a:lnTo>
                  <a:pt x="66" y="2"/>
                </a:lnTo>
                <a:lnTo>
                  <a:pt x="69" y="3"/>
                </a:lnTo>
                <a:lnTo>
                  <a:pt x="70" y="3"/>
                </a:lnTo>
                <a:lnTo>
                  <a:pt x="70" y="2"/>
                </a:lnTo>
                <a:lnTo>
                  <a:pt x="71" y="2"/>
                </a:lnTo>
                <a:lnTo>
                  <a:pt x="73" y="2"/>
                </a:lnTo>
                <a:lnTo>
                  <a:pt x="74" y="2"/>
                </a:lnTo>
                <a:lnTo>
                  <a:pt x="74" y="2"/>
                </a:lnTo>
                <a:lnTo>
                  <a:pt x="74" y="2"/>
                </a:lnTo>
                <a:lnTo>
                  <a:pt x="74" y="3"/>
                </a:lnTo>
                <a:lnTo>
                  <a:pt x="71" y="3"/>
                </a:lnTo>
                <a:lnTo>
                  <a:pt x="71" y="3"/>
                </a:lnTo>
                <a:lnTo>
                  <a:pt x="70" y="4"/>
                </a:lnTo>
                <a:lnTo>
                  <a:pt x="73" y="4"/>
                </a:lnTo>
                <a:lnTo>
                  <a:pt x="73" y="3"/>
                </a:lnTo>
                <a:lnTo>
                  <a:pt x="75" y="3"/>
                </a:lnTo>
                <a:lnTo>
                  <a:pt x="76" y="3"/>
                </a:lnTo>
                <a:lnTo>
                  <a:pt x="76" y="3"/>
                </a:lnTo>
                <a:lnTo>
                  <a:pt x="78" y="3"/>
                </a:lnTo>
                <a:lnTo>
                  <a:pt x="78" y="3"/>
                </a:lnTo>
                <a:lnTo>
                  <a:pt x="78" y="3"/>
                </a:lnTo>
                <a:lnTo>
                  <a:pt x="77" y="3"/>
                </a:lnTo>
                <a:lnTo>
                  <a:pt x="78" y="3"/>
                </a:lnTo>
                <a:lnTo>
                  <a:pt x="78" y="3"/>
                </a:lnTo>
                <a:lnTo>
                  <a:pt x="79" y="3"/>
                </a:lnTo>
                <a:lnTo>
                  <a:pt x="79" y="3"/>
                </a:lnTo>
                <a:lnTo>
                  <a:pt x="80" y="3"/>
                </a:lnTo>
                <a:lnTo>
                  <a:pt x="80" y="3"/>
                </a:lnTo>
                <a:lnTo>
                  <a:pt x="81" y="3"/>
                </a:lnTo>
                <a:lnTo>
                  <a:pt x="83" y="3"/>
                </a:lnTo>
                <a:lnTo>
                  <a:pt x="84" y="3"/>
                </a:lnTo>
                <a:lnTo>
                  <a:pt x="83" y="4"/>
                </a:lnTo>
                <a:lnTo>
                  <a:pt x="85" y="3"/>
                </a:lnTo>
                <a:lnTo>
                  <a:pt x="90" y="4"/>
                </a:lnTo>
                <a:lnTo>
                  <a:pt x="94" y="4"/>
                </a:lnTo>
                <a:lnTo>
                  <a:pt x="94" y="4"/>
                </a:lnTo>
                <a:lnTo>
                  <a:pt x="95" y="4"/>
                </a:lnTo>
                <a:lnTo>
                  <a:pt x="95" y="5"/>
                </a:lnTo>
                <a:lnTo>
                  <a:pt x="97" y="5"/>
                </a:lnTo>
                <a:lnTo>
                  <a:pt x="97" y="5"/>
                </a:lnTo>
                <a:lnTo>
                  <a:pt x="97" y="6"/>
                </a:lnTo>
                <a:lnTo>
                  <a:pt x="96" y="6"/>
                </a:lnTo>
                <a:lnTo>
                  <a:pt x="97" y="6"/>
                </a:lnTo>
                <a:lnTo>
                  <a:pt x="96" y="6"/>
                </a:lnTo>
                <a:lnTo>
                  <a:pt x="98" y="7"/>
                </a:lnTo>
                <a:lnTo>
                  <a:pt x="98" y="7"/>
                </a:lnTo>
                <a:lnTo>
                  <a:pt x="97" y="7"/>
                </a:lnTo>
                <a:lnTo>
                  <a:pt x="95" y="7"/>
                </a:lnTo>
                <a:lnTo>
                  <a:pt x="94" y="8"/>
                </a:lnTo>
                <a:lnTo>
                  <a:pt x="93" y="8"/>
                </a:lnTo>
                <a:lnTo>
                  <a:pt x="93" y="8"/>
                </a:lnTo>
                <a:lnTo>
                  <a:pt x="94" y="8"/>
                </a:lnTo>
                <a:lnTo>
                  <a:pt x="93" y="8"/>
                </a:lnTo>
                <a:lnTo>
                  <a:pt x="91" y="10"/>
                </a:lnTo>
                <a:lnTo>
                  <a:pt x="90" y="10"/>
                </a:lnTo>
                <a:lnTo>
                  <a:pt x="89" y="10"/>
                </a:lnTo>
                <a:lnTo>
                  <a:pt x="88" y="10"/>
                </a:lnTo>
                <a:lnTo>
                  <a:pt x="88" y="10"/>
                </a:lnTo>
                <a:lnTo>
                  <a:pt x="86" y="11"/>
                </a:lnTo>
                <a:lnTo>
                  <a:pt x="86" y="11"/>
                </a:lnTo>
                <a:lnTo>
                  <a:pt x="87" y="12"/>
                </a:lnTo>
                <a:lnTo>
                  <a:pt x="87" y="12"/>
                </a:lnTo>
                <a:lnTo>
                  <a:pt x="87" y="12"/>
                </a:lnTo>
                <a:lnTo>
                  <a:pt x="87" y="12"/>
                </a:lnTo>
                <a:lnTo>
                  <a:pt x="87" y="12"/>
                </a:lnTo>
                <a:lnTo>
                  <a:pt x="86" y="12"/>
                </a:lnTo>
                <a:lnTo>
                  <a:pt x="86" y="13"/>
                </a:lnTo>
                <a:lnTo>
                  <a:pt x="85" y="13"/>
                </a:lnTo>
                <a:lnTo>
                  <a:pt x="86" y="13"/>
                </a:lnTo>
                <a:lnTo>
                  <a:pt x="84" y="14"/>
                </a:lnTo>
                <a:lnTo>
                  <a:pt x="81" y="14"/>
                </a:lnTo>
                <a:lnTo>
                  <a:pt x="80" y="14"/>
                </a:lnTo>
                <a:lnTo>
                  <a:pt x="79" y="14"/>
                </a:lnTo>
                <a:lnTo>
                  <a:pt x="79" y="14"/>
                </a:lnTo>
                <a:lnTo>
                  <a:pt x="79" y="14"/>
                </a:lnTo>
                <a:lnTo>
                  <a:pt x="77" y="14"/>
                </a:lnTo>
                <a:lnTo>
                  <a:pt x="75" y="14"/>
                </a:lnTo>
                <a:lnTo>
                  <a:pt x="71" y="14"/>
                </a:lnTo>
                <a:lnTo>
                  <a:pt x="71" y="15"/>
                </a:lnTo>
                <a:lnTo>
                  <a:pt x="71" y="15"/>
                </a:lnTo>
                <a:lnTo>
                  <a:pt x="70" y="16"/>
                </a:lnTo>
                <a:lnTo>
                  <a:pt x="68" y="16"/>
                </a:lnTo>
                <a:lnTo>
                  <a:pt x="63" y="16"/>
                </a:lnTo>
                <a:lnTo>
                  <a:pt x="63" y="16"/>
                </a:lnTo>
                <a:lnTo>
                  <a:pt x="63" y="16"/>
                </a:lnTo>
                <a:lnTo>
                  <a:pt x="61" y="16"/>
                </a:lnTo>
                <a:lnTo>
                  <a:pt x="61" y="16"/>
                </a:lnTo>
                <a:lnTo>
                  <a:pt x="58" y="16"/>
                </a:lnTo>
                <a:lnTo>
                  <a:pt x="58" y="16"/>
                </a:lnTo>
                <a:lnTo>
                  <a:pt x="58" y="15"/>
                </a:lnTo>
                <a:lnTo>
                  <a:pt x="57" y="15"/>
                </a:lnTo>
                <a:lnTo>
                  <a:pt x="57" y="15"/>
                </a:lnTo>
                <a:lnTo>
                  <a:pt x="57" y="15"/>
                </a:lnTo>
                <a:lnTo>
                  <a:pt x="55" y="15"/>
                </a:lnTo>
                <a:lnTo>
                  <a:pt x="55" y="14"/>
                </a:lnTo>
                <a:lnTo>
                  <a:pt x="55" y="14"/>
                </a:lnTo>
                <a:lnTo>
                  <a:pt x="55" y="13"/>
                </a:lnTo>
                <a:lnTo>
                  <a:pt x="55" y="13"/>
                </a:lnTo>
                <a:lnTo>
                  <a:pt x="55" y="13"/>
                </a:lnTo>
                <a:lnTo>
                  <a:pt x="54" y="14"/>
                </a:lnTo>
                <a:lnTo>
                  <a:pt x="49" y="13"/>
                </a:lnTo>
                <a:lnTo>
                  <a:pt x="47" y="14"/>
                </a:lnTo>
                <a:lnTo>
                  <a:pt x="44" y="13"/>
                </a:lnTo>
                <a:lnTo>
                  <a:pt x="44" y="13"/>
                </a:lnTo>
                <a:lnTo>
                  <a:pt x="43" y="13"/>
                </a:lnTo>
                <a:lnTo>
                  <a:pt x="43" y="14"/>
                </a:lnTo>
                <a:lnTo>
                  <a:pt x="41" y="13"/>
                </a:lnTo>
                <a:lnTo>
                  <a:pt x="39" y="14"/>
                </a:lnTo>
                <a:lnTo>
                  <a:pt x="39" y="14"/>
                </a:lnTo>
                <a:lnTo>
                  <a:pt x="39" y="14"/>
                </a:lnTo>
                <a:lnTo>
                  <a:pt x="37" y="14"/>
                </a:lnTo>
                <a:lnTo>
                  <a:pt x="36" y="14"/>
                </a:lnTo>
                <a:lnTo>
                  <a:pt x="36" y="13"/>
                </a:lnTo>
                <a:lnTo>
                  <a:pt x="35" y="13"/>
                </a:lnTo>
                <a:lnTo>
                  <a:pt x="30" y="13"/>
                </a:lnTo>
                <a:lnTo>
                  <a:pt x="28" y="12"/>
                </a:lnTo>
                <a:lnTo>
                  <a:pt x="27" y="12"/>
                </a:lnTo>
                <a:lnTo>
                  <a:pt x="26" y="12"/>
                </a:lnTo>
                <a:lnTo>
                  <a:pt x="25" y="11"/>
                </a:lnTo>
                <a:lnTo>
                  <a:pt x="24" y="11"/>
                </a:lnTo>
                <a:lnTo>
                  <a:pt x="25" y="11"/>
                </a:lnTo>
                <a:lnTo>
                  <a:pt x="27" y="11"/>
                </a:lnTo>
                <a:lnTo>
                  <a:pt x="29" y="11"/>
                </a:lnTo>
                <a:lnTo>
                  <a:pt x="29" y="11"/>
                </a:lnTo>
                <a:lnTo>
                  <a:pt x="30" y="11"/>
                </a:lnTo>
                <a:lnTo>
                  <a:pt x="30" y="11"/>
                </a:lnTo>
                <a:lnTo>
                  <a:pt x="35" y="11"/>
                </a:lnTo>
                <a:lnTo>
                  <a:pt x="37" y="12"/>
                </a:lnTo>
                <a:lnTo>
                  <a:pt x="38" y="11"/>
                </a:lnTo>
                <a:lnTo>
                  <a:pt x="38" y="11"/>
                </a:lnTo>
                <a:lnTo>
                  <a:pt x="38" y="11"/>
                </a:lnTo>
                <a:lnTo>
                  <a:pt x="37" y="11"/>
                </a:lnTo>
                <a:lnTo>
                  <a:pt x="36" y="11"/>
                </a:lnTo>
                <a:lnTo>
                  <a:pt x="35" y="11"/>
                </a:lnTo>
                <a:lnTo>
                  <a:pt x="33" y="11"/>
                </a:lnTo>
                <a:lnTo>
                  <a:pt x="34" y="10"/>
                </a:lnTo>
                <a:lnTo>
                  <a:pt x="33" y="10"/>
                </a:lnTo>
                <a:lnTo>
                  <a:pt x="36" y="10"/>
                </a:lnTo>
                <a:lnTo>
                  <a:pt x="36" y="10"/>
                </a:lnTo>
                <a:lnTo>
                  <a:pt x="36" y="10"/>
                </a:lnTo>
                <a:lnTo>
                  <a:pt x="37" y="10"/>
                </a:lnTo>
                <a:lnTo>
                  <a:pt x="45" y="10"/>
                </a:lnTo>
                <a:lnTo>
                  <a:pt x="45" y="10"/>
                </a:lnTo>
                <a:lnTo>
                  <a:pt x="45" y="10"/>
                </a:lnTo>
                <a:lnTo>
                  <a:pt x="45" y="10"/>
                </a:lnTo>
                <a:lnTo>
                  <a:pt x="47" y="8"/>
                </a:lnTo>
                <a:lnTo>
                  <a:pt x="47" y="8"/>
                </a:lnTo>
                <a:lnTo>
                  <a:pt x="47" y="8"/>
                </a:lnTo>
                <a:lnTo>
                  <a:pt x="45" y="8"/>
                </a:lnTo>
                <a:lnTo>
                  <a:pt x="46" y="8"/>
                </a:lnTo>
                <a:lnTo>
                  <a:pt x="46" y="7"/>
                </a:lnTo>
                <a:lnTo>
                  <a:pt x="45" y="8"/>
                </a:lnTo>
                <a:lnTo>
                  <a:pt x="43" y="8"/>
                </a:lnTo>
                <a:lnTo>
                  <a:pt x="43" y="8"/>
                </a:lnTo>
                <a:lnTo>
                  <a:pt x="35" y="8"/>
                </a:lnTo>
                <a:lnTo>
                  <a:pt x="34" y="8"/>
                </a:lnTo>
                <a:lnTo>
                  <a:pt x="30" y="8"/>
                </a:lnTo>
                <a:lnTo>
                  <a:pt x="30" y="8"/>
                </a:lnTo>
                <a:lnTo>
                  <a:pt x="28" y="8"/>
                </a:lnTo>
                <a:lnTo>
                  <a:pt x="27" y="8"/>
                </a:lnTo>
                <a:lnTo>
                  <a:pt x="24" y="8"/>
                </a:lnTo>
                <a:lnTo>
                  <a:pt x="24" y="10"/>
                </a:lnTo>
                <a:lnTo>
                  <a:pt x="23" y="10"/>
                </a:lnTo>
                <a:lnTo>
                  <a:pt x="22" y="10"/>
                </a:lnTo>
                <a:lnTo>
                  <a:pt x="22" y="10"/>
                </a:lnTo>
                <a:lnTo>
                  <a:pt x="20" y="8"/>
                </a:lnTo>
                <a:lnTo>
                  <a:pt x="15" y="10"/>
                </a:lnTo>
                <a:lnTo>
                  <a:pt x="14" y="8"/>
                </a:lnTo>
                <a:lnTo>
                  <a:pt x="14" y="8"/>
                </a:lnTo>
                <a:lnTo>
                  <a:pt x="14" y="8"/>
                </a:lnTo>
                <a:lnTo>
                  <a:pt x="14" y="8"/>
                </a:lnTo>
                <a:lnTo>
                  <a:pt x="14" y="8"/>
                </a:lnTo>
                <a:lnTo>
                  <a:pt x="13" y="8"/>
                </a:lnTo>
                <a:lnTo>
                  <a:pt x="12" y="8"/>
                </a:lnTo>
                <a:lnTo>
                  <a:pt x="10" y="8"/>
                </a:lnTo>
                <a:lnTo>
                  <a:pt x="10" y="7"/>
                </a:lnTo>
                <a:lnTo>
                  <a:pt x="9" y="7"/>
                </a:lnTo>
                <a:lnTo>
                  <a:pt x="9" y="7"/>
                </a:lnTo>
                <a:lnTo>
                  <a:pt x="8" y="7"/>
                </a:lnTo>
                <a:lnTo>
                  <a:pt x="8" y="6"/>
                </a:lnTo>
                <a:lnTo>
                  <a:pt x="10" y="6"/>
                </a:lnTo>
                <a:lnTo>
                  <a:pt x="12" y="6"/>
                </a:lnTo>
                <a:lnTo>
                  <a:pt x="12" y="6"/>
                </a:lnTo>
                <a:lnTo>
                  <a:pt x="10" y="6"/>
                </a:lnTo>
                <a:lnTo>
                  <a:pt x="12" y="6"/>
                </a:lnTo>
                <a:lnTo>
                  <a:pt x="13" y="6"/>
                </a:lnTo>
                <a:lnTo>
                  <a:pt x="14" y="6"/>
                </a:lnTo>
                <a:lnTo>
                  <a:pt x="13" y="5"/>
                </a:lnTo>
                <a:lnTo>
                  <a:pt x="15" y="5"/>
                </a:lnTo>
                <a:lnTo>
                  <a:pt x="13" y="5"/>
                </a:lnTo>
                <a:lnTo>
                  <a:pt x="10" y="5"/>
                </a:lnTo>
                <a:lnTo>
                  <a:pt x="10" y="5"/>
                </a:lnTo>
                <a:lnTo>
                  <a:pt x="9" y="5"/>
                </a:lnTo>
                <a:lnTo>
                  <a:pt x="8" y="5"/>
                </a:lnTo>
                <a:lnTo>
                  <a:pt x="7" y="5"/>
                </a:lnTo>
                <a:lnTo>
                  <a:pt x="7" y="5"/>
                </a:lnTo>
                <a:lnTo>
                  <a:pt x="6" y="4"/>
                </a:lnTo>
                <a:lnTo>
                  <a:pt x="7" y="4"/>
                </a:lnTo>
                <a:lnTo>
                  <a:pt x="7" y="4"/>
                </a:lnTo>
                <a:lnTo>
                  <a:pt x="6" y="4"/>
                </a:lnTo>
                <a:lnTo>
                  <a:pt x="6" y="4"/>
                </a:lnTo>
                <a:lnTo>
                  <a:pt x="3" y="4"/>
                </a:lnTo>
                <a:lnTo>
                  <a:pt x="0" y="4"/>
                </a:lnTo>
                <a:lnTo>
                  <a:pt x="0" y="4"/>
                </a:lnTo>
                <a:lnTo>
                  <a:pt x="2" y="3"/>
                </a:lnTo>
                <a:lnTo>
                  <a:pt x="4" y="3"/>
                </a:lnTo>
                <a:lnTo>
                  <a:pt x="6" y="3"/>
                </a:lnTo>
                <a:lnTo>
                  <a:pt x="7" y="3"/>
                </a:lnTo>
                <a:lnTo>
                  <a:pt x="10" y="3"/>
                </a:lnTo>
                <a:lnTo>
                  <a:pt x="12" y="4"/>
                </a:lnTo>
                <a:lnTo>
                  <a:pt x="12" y="4"/>
                </a:lnTo>
                <a:lnTo>
                  <a:pt x="13" y="3"/>
                </a:lnTo>
                <a:lnTo>
                  <a:pt x="15" y="3"/>
                </a:lnTo>
                <a:lnTo>
                  <a:pt x="15" y="4"/>
                </a:lnTo>
                <a:lnTo>
                  <a:pt x="16" y="4"/>
                </a:lnTo>
                <a:lnTo>
                  <a:pt x="17" y="4"/>
                </a:lnTo>
                <a:lnTo>
                  <a:pt x="17" y="4"/>
                </a:lnTo>
                <a:lnTo>
                  <a:pt x="17" y="5"/>
                </a:lnTo>
                <a:lnTo>
                  <a:pt x="18" y="5"/>
                </a:lnTo>
                <a:lnTo>
                  <a:pt x="19" y="5"/>
                </a:lnTo>
                <a:lnTo>
                  <a:pt x="20" y="5"/>
                </a:lnTo>
                <a:lnTo>
                  <a:pt x="19" y="4"/>
                </a:lnTo>
                <a:lnTo>
                  <a:pt x="19" y="4"/>
                </a:lnTo>
                <a:lnTo>
                  <a:pt x="20" y="4"/>
                </a:lnTo>
                <a:lnTo>
                  <a:pt x="20" y="4"/>
                </a:lnTo>
                <a:lnTo>
                  <a:pt x="19" y="4"/>
                </a:lnTo>
                <a:lnTo>
                  <a:pt x="22" y="4"/>
                </a:lnTo>
                <a:lnTo>
                  <a:pt x="22" y="4"/>
                </a:lnTo>
                <a:lnTo>
                  <a:pt x="18" y="3"/>
                </a:lnTo>
                <a:lnTo>
                  <a:pt x="17" y="3"/>
                </a:lnTo>
                <a:lnTo>
                  <a:pt x="16" y="3"/>
                </a:lnTo>
                <a:lnTo>
                  <a:pt x="16" y="3"/>
                </a:lnTo>
                <a:lnTo>
                  <a:pt x="16" y="2"/>
                </a:lnTo>
                <a:lnTo>
                  <a:pt x="16" y="1"/>
                </a:lnTo>
                <a:lnTo>
                  <a:pt x="18" y="2"/>
                </a:lnTo>
                <a:lnTo>
                  <a:pt x="19" y="3"/>
                </a:lnTo>
                <a:lnTo>
                  <a:pt x="22" y="3"/>
                </a:lnTo>
                <a:lnTo>
                  <a:pt x="23" y="3"/>
                </a:lnTo>
                <a:lnTo>
                  <a:pt x="24" y="3"/>
                </a:lnTo>
                <a:lnTo>
                  <a:pt x="24" y="3"/>
                </a:lnTo>
                <a:lnTo>
                  <a:pt x="23" y="3"/>
                </a:lnTo>
                <a:lnTo>
                  <a:pt x="23" y="2"/>
                </a:lnTo>
                <a:lnTo>
                  <a:pt x="23" y="2"/>
                </a:lnTo>
                <a:lnTo>
                  <a:pt x="23" y="2"/>
                </a:lnTo>
                <a:lnTo>
                  <a:pt x="23" y="2"/>
                </a:lnTo>
                <a:lnTo>
                  <a:pt x="24" y="2"/>
                </a:lnTo>
                <a:lnTo>
                  <a:pt x="23" y="2"/>
                </a:lnTo>
                <a:lnTo>
                  <a:pt x="23" y="1"/>
                </a:lnTo>
                <a:lnTo>
                  <a:pt x="24" y="1"/>
                </a:lnTo>
                <a:lnTo>
                  <a:pt x="24" y="1"/>
                </a:lnTo>
                <a:lnTo>
                  <a:pt x="22" y="1"/>
                </a:lnTo>
                <a:lnTo>
                  <a:pt x="22" y="1"/>
                </a:lnTo>
                <a:lnTo>
                  <a:pt x="22" y="1"/>
                </a:lnTo>
                <a:lnTo>
                  <a:pt x="20" y="1"/>
                </a:lnTo>
                <a:lnTo>
                  <a:pt x="20" y="1"/>
                </a:lnTo>
                <a:lnTo>
                  <a:pt x="19" y="1"/>
                </a:lnTo>
                <a:lnTo>
                  <a:pt x="19" y="1"/>
                </a:lnTo>
                <a:lnTo>
                  <a:pt x="19" y="0"/>
                </a:lnTo>
                <a:lnTo>
                  <a:pt x="20" y="0"/>
                </a:lnTo>
                <a:lnTo>
                  <a:pt x="22" y="0"/>
                </a:lnTo>
                <a:lnTo>
                  <a:pt x="20" y="0"/>
                </a:lnTo>
                <a:lnTo>
                  <a:pt x="22" y="0"/>
                </a:lnTo>
                <a:lnTo>
                  <a:pt x="22" y="0"/>
                </a:lnTo>
                <a:lnTo>
                  <a:pt x="23" y="0"/>
                </a:lnTo>
                <a:lnTo>
                  <a:pt x="24" y="0"/>
                </a:lnTo>
                <a:lnTo>
                  <a:pt x="24" y="0"/>
                </a:lnTo>
                <a:lnTo>
                  <a:pt x="24" y="1"/>
                </a:lnTo>
                <a:lnTo>
                  <a:pt x="24" y="1"/>
                </a:lnTo>
                <a:lnTo>
                  <a:pt x="25" y="1"/>
                </a:lnTo>
                <a:lnTo>
                  <a:pt x="27" y="1"/>
                </a:lnTo>
                <a:lnTo>
                  <a:pt x="27" y="1"/>
                </a:lnTo>
                <a:lnTo>
                  <a:pt x="28" y="1"/>
                </a:lnTo>
                <a:lnTo>
                  <a:pt x="29" y="1"/>
                </a:lnTo>
                <a:lnTo>
                  <a:pt x="29" y="2"/>
                </a:lnTo>
                <a:lnTo>
                  <a:pt x="29" y="2"/>
                </a:lnTo>
                <a:lnTo>
                  <a:pt x="29" y="2"/>
                </a:lnTo>
                <a:lnTo>
                  <a:pt x="30" y="2"/>
                </a:lnTo>
                <a:lnTo>
                  <a:pt x="33" y="2"/>
                </a:lnTo>
                <a:lnTo>
                  <a:pt x="33" y="3"/>
                </a:lnTo>
                <a:lnTo>
                  <a:pt x="33" y="3"/>
                </a:lnTo>
                <a:lnTo>
                  <a:pt x="33" y="3"/>
                </a:lnTo>
                <a:lnTo>
                  <a:pt x="34" y="3"/>
                </a:lnTo>
                <a:lnTo>
                  <a:pt x="36" y="3"/>
                </a:lnTo>
                <a:lnTo>
                  <a:pt x="38" y="3"/>
                </a:lnTo>
                <a:lnTo>
                  <a:pt x="39" y="3"/>
                </a:lnTo>
                <a:lnTo>
                  <a:pt x="40" y="3"/>
                </a:lnTo>
                <a:lnTo>
                  <a:pt x="41" y="3"/>
                </a:lnTo>
                <a:lnTo>
                  <a:pt x="43" y="3"/>
                </a:lnTo>
                <a:lnTo>
                  <a:pt x="43" y="2"/>
                </a:lnTo>
                <a:lnTo>
                  <a:pt x="44" y="2"/>
                </a:lnTo>
                <a:lnTo>
                  <a:pt x="44" y="2"/>
                </a:lnTo>
                <a:lnTo>
                  <a:pt x="44" y="3"/>
                </a:lnTo>
                <a:lnTo>
                  <a:pt x="45" y="3"/>
                </a:lnTo>
                <a:lnTo>
                  <a:pt x="40" y="4"/>
                </a:lnTo>
                <a:lnTo>
                  <a:pt x="44" y="4"/>
                </a:lnTo>
                <a:lnTo>
                  <a:pt x="46" y="4"/>
                </a:lnTo>
                <a:lnTo>
                  <a:pt x="46" y="5"/>
                </a:lnTo>
                <a:lnTo>
                  <a:pt x="48" y="5"/>
                </a:lnTo>
                <a:lnTo>
                  <a:pt x="49" y="6"/>
                </a:lnTo>
                <a:lnTo>
                  <a:pt x="49" y="5"/>
                </a:lnTo>
                <a:lnTo>
                  <a:pt x="50" y="5"/>
                </a:lnTo>
                <a:lnTo>
                  <a:pt x="50" y="5"/>
                </a:lnTo>
                <a:lnTo>
                  <a:pt x="49" y="5"/>
                </a:lnTo>
                <a:lnTo>
                  <a:pt x="49" y="5"/>
                </a:lnTo>
                <a:lnTo>
                  <a:pt x="49" y="5"/>
                </a:lnTo>
                <a:lnTo>
                  <a:pt x="49" y="4"/>
                </a:lnTo>
                <a:lnTo>
                  <a:pt x="49" y="4"/>
                </a:lnTo>
                <a:lnTo>
                  <a:pt x="49" y="3"/>
                </a:lnTo>
                <a:lnTo>
                  <a:pt x="49" y="2"/>
                </a:lnTo>
                <a:lnTo>
                  <a:pt x="49" y="2"/>
                </a:lnTo>
                <a:lnTo>
                  <a:pt x="48" y="2"/>
                </a:lnTo>
                <a:lnTo>
                  <a:pt x="48" y="2"/>
                </a:lnTo>
                <a:lnTo>
                  <a:pt x="48" y="1"/>
                </a:lnTo>
                <a:lnTo>
                  <a:pt x="48" y="1"/>
                </a:lnTo>
                <a:lnTo>
                  <a:pt x="49" y="1"/>
                </a:lnTo>
                <a:lnTo>
                  <a:pt x="50" y="1"/>
                </a:lnTo>
                <a:lnTo>
                  <a:pt x="50" y="2"/>
                </a:lnTo>
                <a:lnTo>
                  <a:pt x="53" y="2"/>
                </a:lnTo>
                <a:lnTo>
                  <a:pt x="53" y="1"/>
                </a:lnTo>
                <a:lnTo>
                  <a:pt x="53" y="1"/>
                </a:lnTo>
                <a:lnTo>
                  <a:pt x="51" y="0"/>
                </a:lnTo>
                <a:lnTo>
                  <a:pt x="5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60" name="Freeform 860"/>
          <p:cNvSpPr>
            <a:spLocks/>
          </p:cNvSpPr>
          <p:nvPr/>
        </p:nvSpPr>
        <p:spPr bwMode="auto">
          <a:xfrm>
            <a:off x="2103438" y="3044790"/>
            <a:ext cx="34925" cy="74613"/>
          </a:xfrm>
          <a:custGeom>
            <a:avLst/>
            <a:gdLst>
              <a:gd name="T0" fmla="*/ 17 w 22"/>
              <a:gd name="T1" fmla="*/ 0 h 47"/>
              <a:gd name="T2" fmla="*/ 16 w 22"/>
              <a:gd name="T3" fmla="*/ 0 h 47"/>
              <a:gd name="T4" fmla="*/ 15 w 22"/>
              <a:gd name="T5" fmla="*/ 1 h 47"/>
              <a:gd name="T6" fmla="*/ 10 w 22"/>
              <a:gd name="T7" fmla="*/ 10 h 47"/>
              <a:gd name="T8" fmla="*/ 8 w 22"/>
              <a:gd name="T9" fmla="*/ 10 h 47"/>
              <a:gd name="T10" fmla="*/ 4 w 22"/>
              <a:gd name="T11" fmla="*/ 11 h 47"/>
              <a:gd name="T12" fmla="*/ 1 w 22"/>
              <a:gd name="T13" fmla="*/ 34 h 47"/>
              <a:gd name="T14" fmla="*/ 0 w 22"/>
              <a:gd name="T15" fmla="*/ 45 h 47"/>
              <a:gd name="T16" fmla="*/ 0 w 22"/>
              <a:gd name="T17" fmla="*/ 46 h 47"/>
              <a:gd name="T18" fmla="*/ 2 w 22"/>
              <a:gd name="T19" fmla="*/ 46 h 47"/>
              <a:gd name="T20" fmla="*/ 5 w 22"/>
              <a:gd name="T21" fmla="*/ 47 h 47"/>
              <a:gd name="T22" fmla="*/ 5 w 22"/>
              <a:gd name="T23" fmla="*/ 46 h 47"/>
              <a:gd name="T24" fmla="*/ 5 w 22"/>
              <a:gd name="T25" fmla="*/ 43 h 47"/>
              <a:gd name="T26" fmla="*/ 5 w 22"/>
              <a:gd name="T27" fmla="*/ 42 h 47"/>
              <a:gd name="T28" fmla="*/ 7 w 22"/>
              <a:gd name="T29" fmla="*/ 40 h 47"/>
              <a:gd name="T30" fmla="*/ 11 w 22"/>
              <a:gd name="T31" fmla="*/ 38 h 47"/>
              <a:gd name="T32" fmla="*/ 13 w 22"/>
              <a:gd name="T33" fmla="*/ 35 h 47"/>
              <a:gd name="T34" fmla="*/ 14 w 22"/>
              <a:gd name="T35" fmla="*/ 32 h 47"/>
              <a:gd name="T36" fmla="*/ 14 w 22"/>
              <a:gd name="T37" fmla="*/ 32 h 47"/>
              <a:gd name="T38" fmla="*/ 16 w 22"/>
              <a:gd name="T39" fmla="*/ 28 h 47"/>
              <a:gd name="T40" fmla="*/ 16 w 22"/>
              <a:gd name="T41" fmla="*/ 25 h 47"/>
              <a:gd name="T42" fmla="*/ 17 w 22"/>
              <a:gd name="T43" fmla="*/ 18 h 47"/>
              <a:gd name="T44" fmla="*/ 18 w 22"/>
              <a:gd name="T45" fmla="*/ 14 h 47"/>
              <a:gd name="T46" fmla="*/ 20 w 22"/>
              <a:gd name="T47" fmla="*/ 9 h 47"/>
              <a:gd name="T48" fmla="*/ 22 w 22"/>
              <a:gd name="T49" fmla="*/ 6 h 47"/>
              <a:gd name="T50" fmla="*/ 22 w 22"/>
              <a:gd name="T51" fmla="*/ 5 h 47"/>
              <a:gd name="T52" fmla="*/ 21 w 22"/>
              <a:gd name="T53" fmla="*/ 2 h 47"/>
              <a:gd name="T54" fmla="*/ 18 w 22"/>
              <a:gd name="T55" fmla="*/ 1 h 47"/>
              <a:gd name="T56" fmla="*/ 17 w 22"/>
              <a:gd name="T57" fmla="*/ 0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2" h="47">
                <a:moveTo>
                  <a:pt x="17" y="0"/>
                </a:moveTo>
                <a:lnTo>
                  <a:pt x="16" y="0"/>
                </a:lnTo>
                <a:lnTo>
                  <a:pt x="15" y="1"/>
                </a:lnTo>
                <a:lnTo>
                  <a:pt x="10" y="10"/>
                </a:lnTo>
                <a:lnTo>
                  <a:pt x="8" y="10"/>
                </a:lnTo>
                <a:lnTo>
                  <a:pt x="4" y="11"/>
                </a:lnTo>
                <a:lnTo>
                  <a:pt x="1" y="34"/>
                </a:lnTo>
                <a:lnTo>
                  <a:pt x="0" y="45"/>
                </a:lnTo>
                <a:lnTo>
                  <a:pt x="0" y="46"/>
                </a:lnTo>
                <a:lnTo>
                  <a:pt x="2" y="46"/>
                </a:lnTo>
                <a:lnTo>
                  <a:pt x="5" y="47"/>
                </a:lnTo>
                <a:lnTo>
                  <a:pt x="5" y="46"/>
                </a:lnTo>
                <a:lnTo>
                  <a:pt x="5" y="43"/>
                </a:lnTo>
                <a:lnTo>
                  <a:pt x="5" y="42"/>
                </a:lnTo>
                <a:lnTo>
                  <a:pt x="7" y="40"/>
                </a:lnTo>
                <a:lnTo>
                  <a:pt x="11" y="38"/>
                </a:lnTo>
                <a:lnTo>
                  <a:pt x="13" y="35"/>
                </a:lnTo>
                <a:lnTo>
                  <a:pt x="14" y="32"/>
                </a:lnTo>
                <a:lnTo>
                  <a:pt x="14" y="32"/>
                </a:lnTo>
                <a:lnTo>
                  <a:pt x="16" y="28"/>
                </a:lnTo>
                <a:lnTo>
                  <a:pt x="16" y="25"/>
                </a:lnTo>
                <a:lnTo>
                  <a:pt x="17" y="18"/>
                </a:lnTo>
                <a:lnTo>
                  <a:pt x="18" y="14"/>
                </a:lnTo>
                <a:lnTo>
                  <a:pt x="20" y="9"/>
                </a:lnTo>
                <a:lnTo>
                  <a:pt x="22" y="6"/>
                </a:lnTo>
                <a:lnTo>
                  <a:pt x="22" y="5"/>
                </a:lnTo>
                <a:lnTo>
                  <a:pt x="21" y="2"/>
                </a:lnTo>
                <a:lnTo>
                  <a:pt x="18" y="1"/>
                </a:lnTo>
                <a:lnTo>
                  <a:pt x="17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61" name="Freeform 861"/>
          <p:cNvSpPr>
            <a:spLocks/>
          </p:cNvSpPr>
          <p:nvPr/>
        </p:nvSpPr>
        <p:spPr bwMode="auto">
          <a:xfrm>
            <a:off x="2103438" y="3044790"/>
            <a:ext cx="34925" cy="74613"/>
          </a:xfrm>
          <a:custGeom>
            <a:avLst/>
            <a:gdLst>
              <a:gd name="T0" fmla="*/ 17 w 22"/>
              <a:gd name="T1" fmla="*/ 0 h 47"/>
              <a:gd name="T2" fmla="*/ 16 w 22"/>
              <a:gd name="T3" fmla="*/ 0 h 47"/>
              <a:gd name="T4" fmla="*/ 15 w 22"/>
              <a:gd name="T5" fmla="*/ 1 h 47"/>
              <a:gd name="T6" fmla="*/ 10 w 22"/>
              <a:gd name="T7" fmla="*/ 10 h 47"/>
              <a:gd name="T8" fmla="*/ 8 w 22"/>
              <a:gd name="T9" fmla="*/ 10 h 47"/>
              <a:gd name="T10" fmla="*/ 4 w 22"/>
              <a:gd name="T11" fmla="*/ 11 h 47"/>
              <a:gd name="T12" fmla="*/ 1 w 22"/>
              <a:gd name="T13" fmla="*/ 34 h 47"/>
              <a:gd name="T14" fmla="*/ 0 w 22"/>
              <a:gd name="T15" fmla="*/ 45 h 47"/>
              <a:gd name="T16" fmla="*/ 0 w 22"/>
              <a:gd name="T17" fmla="*/ 46 h 47"/>
              <a:gd name="T18" fmla="*/ 2 w 22"/>
              <a:gd name="T19" fmla="*/ 46 h 47"/>
              <a:gd name="T20" fmla="*/ 5 w 22"/>
              <a:gd name="T21" fmla="*/ 47 h 47"/>
              <a:gd name="T22" fmla="*/ 5 w 22"/>
              <a:gd name="T23" fmla="*/ 46 h 47"/>
              <a:gd name="T24" fmla="*/ 5 w 22"/>
              <a:gd name="T25" fmla="*/ 43 h 47"/>
              <a:gd name="T26" fmla="*/ 5 w 22"/>
              <a:gd name="T27" fmla="*/ 42 h 47"/>
              <a:gd name="T28" fmla="*/ 7 w 22"/>
              <a:gd name="T29" fmla="*/ 40 h 47"/>
              <a:gd name="T30" fmla="*/ 11 w 22"/>
              <a:gd name="T31" fmla="*/ 38 h 47"/>
              <a:gd name="T32" fmla="*/ 13 w 22"/>
              <a:gd name="T33" fmla="*/ 35 h 47"/>
              <a:gd name="T34" fmla="*/ 14 w 22"/>
              <a:gd name="T35" fmla="*/ 32 h 47"/>
              <a:gd name="T36" fmla="*/ 14 w 22"/>
              <a:gd name="T37" fmla="*/ 32 h 47"/>
              <a:gd name="T38" fmla="*/ 16 w 22"/>
              <a:gd name="T39" fmla="*/ 28 h 47"/>
              <a:gd name="T40" fmla="*/ 16 w 22"/>
              <a:gd name="T41" fmla="*/ 25 h 47"/>
              <a:gd name="T42" fmla="*/ 17 w 22"/>
              <a:gd name="T43" fmla="*/ 18 h 47"/>
              <a:gd name="T44" fmla="*/ 18 w 22"/>
              <a:gd name="T45" fmla="*/ 14 h 47"/>
              <a:gd name="T46" fmla="*/ 20 w 22"/>
              <a:gd name="T47" fmla="*/ 9 h 47"/>
              <a:gd name="T48" fmla="*/ 22 w 22"/>
              <a:gd name="T49" fmla="*/ 6 h 47"/>
              <a:gd name="T50" fmla="*/ 22 w 22"/>
              <a:gd name="T51" fmla="*/ 5 h 47"/>
              <a:gd name="T52" fmla="*/ 21 w 22"/>
              <a:gd name="T53" fmla="*/ 2 h 47"/>
              <a:gd name="T54" fmla="*/ 18 w 22"/>
              <a:gd name="T55" fmla="*/ 1 h 47"/>
              <a:gd name="T56" fmla="*/ 17 w 22"/>
              <a:gd name="T57" fmla="*/ 0 h 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2" h="47">
                <a:moveTo>
                  <a:pt x="17" y="0"/>
                </a:moveTo>
                <a:lnTo>
                  <a:pt x="16" y="0"/>
                </a:lnTo>
                <a:lnTo>
                  <a:pt x="15" y="1"/>
                </a:lnTo>
                <a:lnTo>
                  <a:pt x="10" y="10"/>
                </a:lnTo>
                <a:lnTo>
                  <a:pt x="8" y="10"/>
                </a:lnTo>
                <a:lnTo>
                  <a:pt x="4" y="11"/>
                </a:lnTo>
                <a:lnTo>
                  <a:pt x="1" y="34"/>
                </a:lnTo>
                <a:lnTo>
                  <a:pt x="0" y="45"/>
                </a:lnTo>
                <a:lnTo>
                  <a:pt x="0" y="46"/>
                </a:lnTo>
                <a:lnTo>
                  <a:pt x="2" y="46"/>
                </a:lnTo>
                <a:lnTo>
                  <a:pt x="5" y="47"/>
                </a:lnTo>
                <a:lnTo>
                  <a:pt x="5" y="46"/>
                </a:lnTo>
                <a:lnTo>
                  <a:pt x="5" y="43"/>
                </a:lnTo>
                <a:lnTo>
                  <a:pt x="5" y="42"/>
                </a:lnTo>
                <a:lnTo>
                  <a:pt x="7" y="40"/>
                </a:lnTo>
                <a:lnTo>
                  <a:pt x="11" y="38"/>
                </a:lnTo>
                <a:lnTo>
                  <a:pt x="13" y="35"/>
                </a:lnTo>
                <a:lnTo>
                  <a:pt x="14" y="32"/>
                </a:lnTo>
                <a:lnTo>
                  <a:pt x="14" y="32"/>
                </a:lnTo>
                <a:lnTo>
                  <a:pt x="16" y="28"/>
                </a:lnTo>
                <a:lnTo>
                  <a:pt x="16" y="25"/>
                </a:lnTo>
                <a:lnTo>
                  <a:pt x="17" y="18"/>
                </a:lnTo>
                <a:lnTo>
                  <a:pt x="18" y="14"/>
                </a:lnTo>
                <a:lnTo>
                  <a:pt x="20" y="9"/>
                </a:lnTo>
                <a:lnTo>
                  <a:pt x="22" y="6"/>
                </a:lnTo>
                <a:lnTo>
                  <a:pt x="22" y="5"/>
                </a:lnTo>
                <a:lnTo>
                  <a:pt x="21" y="2"/>
                </a:lnTo>
                <a:lnTo>
                  <a:pt x="18" y="1"/>
                </a:lnTo>
                <a:lnTo>
                  <a:pt x="17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62" name="Freeform 862"/>
          <p:cNvSpPr>
            <a:spLocks/>
          </p:cNvSpPr>
          <p:nvPr/>
        </p:nvSpPr>
        <p:spPr bwMode="auto">
          <a:xfrm>
            <a:off x="2074863" y="3160678"/>
            <a:ext cx="57150" cy="38100"/>
          </a:xfrm>
          <a:custGeom>
            <a:avLst/>
            <a:gdLst>
              <a:gd name="T0" fmla="*/ 11 w 36"/>
              <a:gd name="T1" fmla="*/ 0 h 24"/>
              <a:gd name="T2" fmla="*/ 10 w 36"/>
              <a:gd name="T3" fmla="*/ 2 h 24"/>
              <a:gd name="T4" fmla="*/ 10 w 36"/>
              <a:gd name="T5" fmla="*/ 4 h 24"/>
              <a:gd name="T6" fmla="*/ 9 w 36"/>
              <a:gd name="T7" fmla="*/ 6 h 24"/>
              <a:gd name="T8" fmla="*/ 6 w 36"/>
              <a:gd name="T9" fmla="*/ 6 h 24"/>
              <a:gd name="T10" fmla="*/ 5 w 36"/>
              <a:gd name="T11" fmla="*/ 8 h 24"/>
              <a:gd name="T12" fmla="*/ 2 w 36"/>
              <a:gd name="T13" fmla="*/ 9 h 24"/>
              <a:gd name="T14" fmla="*/ 0 w 36"/>
              <a:gd name="T15" fmla="*/ 13 h 24"/>
              <a:gd name="T16" fmla="*/ 0 w 36"/>
              <a:gd name="T17" fmla="*/ 14 h 24"/>
              <a:gd name="T18" fmla="*/ 2 w 36"/>
              <a:gd name="T19" fmla="*/ 16 h 24"/>
              <a:gd name="T20" fmla="*/ 5 w 36"/>
              <a:gd name="T21" fmla="*/ 17 h 24"/>
              <a:gd name="T22" fmla="*/ 10 w 36"/>
              <a:gd name="T23" fmla="*/ 18 h 24"/>
              <a:gd name="T24" fmla="*/ 13 w 36"/>
              <a:gd name="T25" fmla="*/ 19 h 24"/>
              <a:gd name="T26" fmla="*/ 16 w 36"/>
              <a:gd name="T27" fmla="*/ 22 h 24"/>
              <a:gd name="T28" fmla="*/ 21 w 36"/>
              <a:gd name="T29" fmla="*/ 23 h 24"/>
              <a:gd name="T30" fmla="*/ 29 w 36"/>
              <a:gd name="T31" fmla="*/ 24 h 24"/>
              <a:gd name="T32" fmla="*/ 34 w 36"/>
              <a:gd name="T33" fmla="*/ 22 h 24"/>
              <a:gd name="T34" fmla="*/ 36 w 36"/>
              <a:gd name="T35" fmla="*/ 19 h 24"/>
              <a:gd name="T36" fmla="*/ 35 w 36"/>
              <a:gd name="T37" fmla="*/ 19 h 24"/>
              <a:gd name="T38" fmla="*/ 36 w 36"/>
              <a:gd name="T39" fmla="*/ 13 h 24"/>
              <a:gd name="T40" fmla="*/ 35 w 36"/>
              <a:gd name="T41" fmla="*/ 12 h 24"/>
              <a:gd name="T42" fmla="*/ 34 w 36"/>
              <a:gd name="T43" fmla="*/ 10 h 24"/>
              <a:gd name="T44" fmla="*/ 32 w 36"/>
              <a:gd name="T45" fmla="*/ 10 h 24"/>
              <a:gd name="T46" fmla="*/ 31 w 36"/>
              <a:gd name="T47" fmla="*/ 9 h 24"/>
              <a:gd name="T48" fmla="*/ 30 w 36"/>
              <a:gd name="T49" fmla="*/ 9 h 24"/>
              <a:gd name="T50" fmla="*/ 28 w 36"/>
              <a:gd name="T51" fmla="*/ 10 h 24"/>
              <a:gd name="T52" fmla="*/ 26 w 36"/>
              <a:gd name="T53" fmla="*/ 10 h 24"/>
              <a:gd name="T54" fmla="*/ 25 w 36"/>
              <a:gd name="T55" fmla="*/ 10 h 24"/>
              <a:gd name="T56" fmla="*/ 24 w 36"/>
              <a:gd name="T57" fmla="*/ 9 h 24"/>
              <a:gd name="T58" fmla="*/ 24 w 36"/>
              <a:gd name="T59" fmla="*/ 8 h 24"/>
              <a:gd name="T60" fmla="*/ 22 w 36"/>
              <a:gd name="T61" fmla="*/ 8 h 24"/>
              <a:gd name="T62" fmla="*/ 22 w 36"/>
              <a:gd name="T63" fmla="*/ 8 h 24"/>
              <a:gd name="T64" fmla="*/ 21 w 36"/>
              <a:gd name="T65" fmla="*/ 7 h 24"/>
              <a:gd name="T66" fmla="*/ 20 w 36"/>
              <a:gd name="T67" fmla="*/ 7 h 24"/>
              <a:gd name="T68" fmla="*/ 18 w 36"/>
              <a:gd name="T69" fmla="*/ 5 h 24"/>
              <a:gd name="T70" fmla="*/ 18 w 36"/>
              <a:gd name="T71" fmla="*/ 4 h 24"/>
              <a:gd name="T72" fmla="*/ 16 w 36"/>
              <a:gd name="T73" fmla="*/ 2 h 24"/>
              <a:gd name="T74" fmla="*/ 13 w 36"/>
              <a:gd name="T75" fmla="*/ 2 h 24"/>
              <a:gd name="T76" fmla="*/ 11 w 36"/>
              <a:gd name="T77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6" h="24">
                <a:moveTo>
                  <a:pt x="11" y="0"/>
                </a:moveTo>
                <a:lnTo>
                  <a:pt x="10" y="2"/>
                </a:lnTo>
                <a:lnTo>
                  <a:pt x="10" y="4"/>
                </a:lnTo>
                <a:lnTo>
                  <a:pt x="9" y="6"/>
                </a:lnTo>
                <a:lnTo>
                  <a:pt x="6" y="6"/>
                </a:lnTo>
                <a:lnTo>
                  <a:pt x="5" y="8"/>
                </a:lnTo>
                <a:lnTo>
                  <a:pt x="2" y="9"/>
                </a:lnTo>
                <a:lnTo>
                  <a:pt x="0" y="13"/>
                </a:lnTo>
                <a:lnTo>
                  <a:pt x="0" y="14"/>
                </a:lnTo>
                <a:lnTo>
                  <a:pt x="2" y="16"/>
                </a:lnTo>
                <a:lnTo>
                  <a:pt x="5" y="17"/>
                </a:lnTo>
                <a:lnTo>
                  <a:pt x="10" y="18"/>
                </a:lnTo>
                <a:lnTo>
                  <a:pt x="13" y="19"/>
                </a:lnTo>
                <a:lnTo>
                  <a:pt x="16" y="22"/>
                </a:lnTo>
                <a:lnTo>
                  <a:pt x="21" y="23"/>
                </a:lnTo>
                <a:lnTo>
                  <a:pt x="29" y="24"/>
                </a:lnTo>
                <a:lnTo>
                  <a:pt x="34" y="22"/>
                </a:lnTo>
                <a:lnTo>
                  <a:pt x="36" y="19"/>
                </a:lnTo>
                <a:lnTo>
                  <a:pt x="35" y="19"/>
                </a:lnTo>
                <a:lnTo>
                  <a:pt x="36" y="13"/>
                </a:lnTo>
                <a:lnTo>
                  <a:pt x="35" y="12"/>
                </a:lnTo>
                <a:lnTo>
                  <a:pt x="34" y="10"/>
                </a:lnTo>
                <a:lnTo>
                  <a:pt x="32" y="10"/>
                </a:lnTo>
                <a:lnTo>
                  <a:pt x="31" y="9"/>
                </a:lnTo>
                <a:lnTo>
                  <a:pt x="30" y="9"/>
                </a:lnTo>
                <a:lnTo>
                  <a:pt x="28" y="10"/>
                </a:lnTo>
                <a:lnTo>
                  <a:pt x="26" y="10"/>
                </a:lnTo>
                <a:lnTo>
                  <a:pt x="25" y="10"/>
                </a:lnTo>
                <a:lnTo>
                  <a:pt x="24" y="9"/>
                </a:lnTo>
                <a:lnTo>
                  <a:pt x="24" y="8"/>
                </a:lnTo>
                <a:lnTo>
                  <a:pt x="22" y="8"/>
                </a:lnTo>
                <a:lnTo>
                  <a:pt x="22" y="8"/>
                </a:lnTo>
                <a:lnTo>
                  <a:pt x="21" y="7"/>
                </a:lnTo>
                <a:lnTo>
                  <a:pt x="20" y="7"/>
                </a:lnTo>
                <a:lnTo>
                  <a:pt x="18" y="5"/>
                </a:lnTo>
                <a:lnTo>
                  <a:pt x="18" y="4"/>
                </a:lnTo>
                <a:lnTo>
                  <a:pt x="16" y="2"/>
                </a:lnTo>
                <a:lnTo>
                  <a:pt x="13" y="2"/>
                </a:lnTo>
                <a:lnTo>
                  <a:pt x="1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63" name="Freeform 863"/>
          <p:cNvSpPr>
            <a:spLocks/>
          </p:cNvSpPr>
          <p:nvPr/>
        </p:nvSpPr>
        <p:spPr bwMode="auto">
          <a:xfrm>
            <a:off x="2074863" y="3160678"/>
            <a:ext cx="57150" cy="38100"/>
          </a:xfrm>
          <a:custGeom>
            <a:avLst/>
            <a:gdLst>
              <a:gd name="T0" fmla="*/ 11 w 36"/>
              <a:gd name="T1" fmla="*/ 0 h 24"/>
              <a:gd name="T2" fmla="*/ 10 w 36"/>
              <a:gd name="T3" fmla="*/ 2 h 24"/>
              <a:gd name="T4" fmla="*/ 10 w 36"/>
              <a:gd name="T5" fmla="*/ 4 h 24"/>
              <a:gd name="T6" fmla="*/ 9 w 36"/>
              <a:gd name="T7" fmla="*/ 6 h 24"/>
              <a:gd name="T8" fmla="*/ 6 w 36"/>
              <a:gd name="T9" fmla="*/ 6 h 24"/>
              <a:gd name="T10" fmla="*/ 5 w 36"/>
              <a:gd name="T11" fmla="*/ 8 h 24"/>
              <a:gd name="T12" fmla="*/ 2 w 36"/>
              <a:gd name="T13" fmla="*/ 9 h 24"/>
              <a:gd name="T14" fmla="*/ 0 w 36"/>
              <a:gd name="T15" fmla="*/ 13 h 24"/>
              <a:gd name="T16" fmla="*/ 0 w 36"/>
              <a:gd name="T17" fmla="*/ 14 h 24"/>
              <a:gd name="T18" fmla="*/ 2 w 36"/>
              <a:gd name="T19" fmla="*/ 16 h 24"/>
              <a:gd name="T20" fmla="*/ 5 w 36"/>
              <a:gd name="T21" fmla="*/ 17 h 24"/>
              <a:gd name="T22" fmla="*/ 10 w 36"/>
              <a:gd name="T23" fmla="*/ 18 h 24"/>
              <a:gd name="T24" fmla="*/ 13 w 36"/>
              <a:gd name="T25" fmla="*/ 19 h 24"/>
              <a:gd name="T26" fmla="*/ 16 w 36"/>
              <a:gd name="T27" fmla="*/ 22 h 24"/>
              <a:gd name="T28" fmla="*/ 21 w 36"/>
              <a:gd name="T29" fmla="*/ 23 h 24"/>
              <a:gd name="T30" fmla="*/ 29 w 36"/>
              <a:gd name="T31" fmla="*/ 24 h 24"/>
              <a:gd name="T32" fmla="*/ 34 w 36"/>
              <a:gd name="T33" fmla="*/ 22 h 24"/>
              <a:gd name="T34" fmla="*/ 36 w 36"/>
              <a:gd name="T35" fmla="*/ 19 h 24"/>
              <a:gd name="T36" fmla="*/ 35 w 36"/>
              <a:gd name="T37" fmla="*/ 19 h 24"/>
              <a:gd name="T38" fmla="*/ 36 w 36"/>
              <a:gd name="T39" fmla="*/ 13 h 24"/>
              <a:gd name="T40" fmla="*/ 35 w 36"/>
              <a:gd name="T41" fmla="*/ 12 h 24"/>
              <a:gd name="T42" fmla="*/ 34 w 36"/>
              <a:gd name="T43" fmla="*/ 10 h 24"/>
              <a:gd name="T44" fmla="*/ 32 w 36"/>
              <a:gd name="T45" fmla="*/ 10 h 24"/>
              <a:gd name="T46" fmla="*/ 31 w 36"/>
              <a:gd name="T47" fmla="*/ 9 h 24"/>
              <a:gd name="T48" fmla="*/ 30 w 36"/>
              <a:gd name="T49" fmla="*/ 9 h 24"/>
              <a:gd name="T50" fmla="*/ 28 w 36"/>
              <a:gd name="T51" fmla="*/ 10 h 24"/>
              <a:gd name="T52" fmla="*/ 26 w 36"/>
              <a:gd name="T53" fmla="*/ 10 h 24"/>
              <a:gd name="T54" fmla="*/ 25 w 36"/>
              <a:gd name="T55" fmla="*/ 10 h 24"/>
              <a:gd name="T56" fmla="*/ 24 w 36"/>
              <a:gd name="T57" fmla="*/ 9 h 24"/>
              <a:gd name="T58" fmla="*/ 24 w 36"/>
              <a:gd name="T59" fmla="*/ 8 h 24"/>
              <a:gd name="T60" fmla="*/ 22 w 36"/>
              <a:gd name="T61" fmla="*/ 8 h 24"/>
              <a:gd name="T62" fmla="*/ 22 w 36"/>
              <a:gd name="T63" fmla="*/ 8 h 24"/>
              <a:gd name="T64" fmla="*/ 21 w 36"/>
              <a:gd name="T65" fmla="*/ 7 h 24"/>
              <a:gd name="T66" fmla="*/ 20 w 36"/>
              <a:gd name="T67" fmla="*/ 7 h 24"/>
              <a:gd name="T68" fmla="*/ 18 w 36"/>
              <a:gd name="T69" fmla="*/ 5 h 24"/>
              <a:gd name="T70" fmla="*/ 18 w 36"/>
              <a:gd name="T71" fmla="*/ 4 h 24"/>
              <a:gd name="T72" fmla="*/ 16 w 36"/>
              <a:gd name="T73" fmla="*/ 2 h 24"/>
              <a:gd name="T74" fmla="*/ 13 w 36"/>
              <a:gd name="T75" fmla="*/ 2 h 24"/>
              <a:gd name="T76" fmla="*/ 11 w 36"/>
              <a:gd name="T77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6" h="24">
                <a:moveTo>
                  <a:pt x="11" y="0"/>
                </a:moveTo>
                <a:lnTo>
                  <a:pt x="10" y="2"/>
                </a:lnTo>
                <a:lnTo>
                  <a:pt x="10" y="4"/>
                </a:lnTo>
                <a:lnTo>
                  <a:pt x="9" y="6"/>
                </a:lnTo>
                <a:lnTo>
                  <a:pt x="6" y="6"/>
                </a:lnTo>
                <a:lnTo>
                  <a:pt x="5" y="8"/>
                </a:lnTo>
                <a:lnTo>
                  <a:pt x="2" y="9"/>
                </a:lnTo>
                <a:lnTo>
                  <a:pt x="0" y="13"/>
                </a:lnTo>
                <a:lnTo>
                  <a:pt x="0" y="14"/>
                </a:lnTo>
                <a:lnTo>
                  <a:pt x="2" y="16"/>
                </a:lnTo>
                <a:lnTo>
                  <a:pt x="5" y="17"/>
                </a:lnTo>
                <a:lnTo>
                  <a:pt x="10" y="18"/>
                </a:lnTo>
                <a:lnTo>
                  <a:pt x="13" y="19"/>
                </a:lnTo>
                <a:lnTo>
                  <a:pt x="16" y="22"/>
                </a:lnTo>
                <a:lnTo>
                  <a:pt x="21" y="23"/>
                </a:lnTo>
                <a:lnTo>
                  <a:pt x="29" y="24"/>
                </a:lnTo>
                <a:lnTo>
                  <a:pt x="34" y="22"/>
                </a:lnTo>
                <a:lnTo>
                  <a:pt x="36" y="19"/>
                </a:lnTo>
                <a:lnTo>
                  <a:pt x="35" y="19"/>
                </a:lnTo>
                <a:lnTo>
                  <a:pt x="36" y="13"/>
                </a:lnTo>
                <a:lnTo>
                  <a:pt x="35" y="12"/>
                </a:lnTo>
                <a:lnTo>
                  <a:pt x="34" y="10"/>
                </a:lnTo>
                <a:lnTo>
                  <a:pt x="32" y="10"/>
                </a:lnTo>
                <a:lnTo>
                  <a:pt x="31" y="9"/>
                </a:lnTo>
                <a:lnTo>
                  <a:pt x="30" y="9"/>
                </a:lnTo>
                <a:lnTo>
                  <a:pt x="28" y="10"/>
                </a:lnTo>
                <a:lnTo>
                  <a:pt x="26" y="10"/>
                </a:lnTo>
                <a:lnTo>
                  <a:pt x="25" y="10"/>
                </a:lnTo>
                <a:lnTo>
                  <a:pt x="24" y="9"/>
                </a:lnTo>
                <a:lnTo>
                  <a:pt x="24" y="8"/>
                </a:lnTo>
                <a:lnTo>
                  <a:pt x="22" y="8"/>
                </a:lnTo>
                <a:lnTo>
                  <a:pt x="22" y="8"/>
                </a:lnTo>
                <a:lnTo>
                  <a:pt x="21" y="7"/>
                </a:lnTo>
                <a:lnTo>
                  <a:pt x="20" y="7"/>
                </a:lnTo>
                <a:lnTo>
                  <a:pt x="18" y="5"/>
                </a:lnTo>
                <a:lnTo>
                  <a:pt x="18" y="4"/>
                </a:lnTo>
                <a:lnTo>
                  <a:pt x="16" y="2"/>
                </a:lnTo>
                <a:lnTo>
                  <a:pt x="13" y="2"/>
                </a:lnTo>
                <a:lnTo>
                  <a:pt x="1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64" name="Freeform 864"/>
          <p:cNvSpPr>
            <a:spLocks/>
          </p:cNvSpPr>
          <p:nvPr/>
        </p:nvSpPr>
        <p:spPr bwMode="auto">
          <a:xfrm>
            <a:off x="2173288" y="3255928"/>
            <a:ext cx="80962" cy="80963"/>
          </a:xfrm>
          <a:custGeom>
            <a:avLst/>
            <a:gdLst>
              <a:gd name="T0" fmla="*/ 34 w 51"/>
              <a:gd name="T1" fmla="*/ 6 h 51"/>
              <a:gd name="T2" fmla="*/ 28 w 51"/>
              <a:gd name="T3" fmla="*/ 7 h 51"/>
              <a:gd name="T4" fmla="*/ 24 w 51"/>
              <a:gd name="T5" fmla="*/ 4 h 51"/>
              <a:gd name="T6" fmla="*/ 20 w 51"/>
              <a:gd name="T7" fmla="*/ 3 h 51"/>
              <a:gd name="T8" fmla="*/ 14 w 51"/>
              <a:gd name="T9" fmla="*/ 4 h 51"/>
              <a:gd name="T10" fmla="*/ 5 w 51"/>
              <a:gd name="T11" fmla="*/ 0 h 51"/>
              <a:gd name="T12" fmla="*/ 2 w 51"/>
              <a:gd name="T13" fmla="*/ 2 h 51"/>
              <a:gd name="T14" fmla="*/ 1 w 51"/>
              <a:gd name="T15" fmla="*/ 4 h 51"/>
              <a:gd name="T16" fmla="*/ 2 w 51"/>
              <a:gd name="T17" fmla="*/ 7 h 51"/>
              <a:gd name="T18" fmla="*/ 1 w 51"/>
              <a:gd name="T19" fmla="*/ 12 h 51"/>
              <a:gd name="T20" fmla="*/ 0 w 51"/>
              <a:gd name="T21" fmla="*/ 17 h 51"/>
              <a:gd name="T22" fmla="*/ 2 w 51"/>
              <a:gd name="T23" fmla="*/ 21 h 51"/>
              <a:gd name="T24" fmla="*/ 5 w 51"/>
              <a:gd name="T25" fmla="*/ 24 h 51"/>
              <a:gd name="T26" fmla="*/ 10 w 51"/>
              <a:gd name="T27" fmla="*/ 27 h 51"/>
              <a:gd name="T28" fmla="*/ 12 w 51"/>
              <a:gd name="T29" fmla="*/ 28 h 51"/>
              <a:gd name="T30" fmla="*/ 13 w 51"/>
              <a:gd name="T31" fmla="*/ 23 h 51"/>
              <a:gd name="T32" fmla="*/ 11 w 51"/>
              <a:gd name="T33" fmla="*/ 20 h 51"/>
              <a:gd name="T34" fmla="*/ 14 w 51"/>
              <a:gd name="T35" fmla="*/ 19 h 51"/>
              <a:gd name="T36" fmla="*/ 18 w 51"/>
              <a:gd name="T37" fmla="*/ 25 h 51"/>
              <a:gd name="T38" fmla="*/ 21 w 51"/>
              <a:gd name="T39" fmla="*/ 30 h 51"/>
              <a:gd name="T40" fmla="*/ 29 w 51"/>
              <a:gd name="T41" fmla="*/ 34 h 51"/>
              <a:gd name="T42" fmla="*/ 33 w 51"/>
              <a:gd name="T43" fmla="*/ 47 h 51"/>
              <a:gd name="T44" fmla="*/ 35 w 51"/>
              <a:gd name="T45" fmla="*/ 49 h 51"/>
              <a:gd name="T46" fmla="*/ 39 w 51"/>
              <a:gd name="T47" fmla="*/ 49 h 51"/>
              <a:gd name="T48" fmla="*/ 39 w 51"/>
              <a:gd name="T49" fmla="*/ 45 h 51"/>
              <a:gd name="T50" fmla="*/ 40 w 51"/>
              <a:gd name="T51" fmla="*/ 46 h 51"/>
              <a:gd name="T52" fmla="*/ 42 w 51"/>
              <a:gd name="T53" fmla="*/ 51 h 51"/>
              <a:gd name="T54" fmla="*/ 43 w 51"/>
              <a:gd name="T55" fmla="*/ 51 h 51"/>
              <a:gd name="T56" fmla="*/ 47 w 51"/>
              <a:gd name="T57" fmla="*/ 47 h 51"/>
              <a:gd name="T58" fmla="*/ 47 w 51"/>
              <a:gd name="T59" fmla="*/ 41 h 51"/>
              <a:gd name="T60" fmla="*/ 49 w 51"/>
              <a:gd name="T61" fmla="*/ 38 h 51"/>
              <a:gd name="T62" fmla="*/ 45 w 51"/>
              <a:gd name="T63" fmla="*/ 36 h 51"/>
              <a:gd name="T64" fmla="*/ 49 w 51"/>
              <a:gd name="T65" fmla="*/ 28 h 51"/>
              <a:gd name="T66" fmla="*/ 50 w 51"/>
              <a:gd name="T67" fmla="*/ 28 h 51"/>
              <a:gd name="T68" fmla="*/ 51 w 51"/>
              <a:gd name="T69" fmla="*/ 28 h 51"/>
              <a:gd name="T70" fmla="*/ 45 w 51"/>
              <a:gd name="T71" fmla="*/ 24 h 51"/>
              <a:gd name="T72" fmla="*/ 39 w 51"/>
              <a:gd name="T73" fmla="*/ 14 h 51"/>
              <a:gd name="T74" fmla="*/ 37 w 51"/>
              <a:gd name="T75" fmla="*/ 8 h 51"/>
              <a:gd name="T76" fmla="*/ 35 w 51"/>
              <a:gd name="T77" fmla="*/ 5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" h="51">
                <a:moveTo>
                  <a:pt x="35" y="5"/>
                </a:moveTo>
                <a:lnTo>
                  <a:pt x="34" y="6"/>
                </a:lnTo>
                <a:lnTo>
                  <a:pt x="31" y="7"/>
                </a:lnTo>
                <a:lnTo>
                  <a:pt x="28" y="7"/>
                </a:lnTo>
                <a:lnTo>
                  <a:pt x="27" y="6"/>
                </a:lnTo>
                <a:lnTo>
                  <a:pt x="24" y="4"/>
                </a:lnTo>
                <a:lnTo>
                  <a:pt x="21" y="3"/>
                </a:lnTo>
                <a:lnTo>
                  <a:pt x="20" y="3"/>
                </a:lnTo>
                <a:lnTo>
                  <a:pt x="18" y="4"/>
                </a:lnTo>
                <a:lnTo>
                  <a:pt x="14" y="4"/>
                </a:lnTo>
                <a:lnTo>
                  <a:pt x="9" y="2"/>
                </a:lnTo>
                <a:lnTo>
                  <a:pt x="5" y="0"/>
                </a:lnTo>
                <a:lnTo>
                  <a:pt x="4" y="0"/>
                </a:lnTo>
                <a:lnTo>
                  <a:pt x="2" y="2"/>
                </a:lnTo>
                <a:lnTo>
                  <a:pt x="2" y="3"/>
                </a:lnTo>
                <a:lnTo>
                  <a:pt x="1" y="4"/>
                </a:lnTo>
                <a:lnTo>
                  <a:pt x="1" y="5"/>
                </a:lnTo>
                <a:lnTo>
                  <a:pt x="2" y="7"/>
                </a:lnTo>
                <a:lnTo>
                  <a:pt x="1" y="10"/>
                </a:lnTo>
                <a:lnTo>
                  <a:pt x="1" y="12"/>
                </a:lnTo>
                <a:lnTo>
                  <a:pt x="0" y="14"/>
                </a:lnTo>
                <a:lnTo>
                  <a:pt x="0" y="17"/>
                </a:ln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5" y="24"/>
                </a:lnTo>
                <a:lnTo>
                  <a:pt x="9" y="25"/>
                </a:lnTo>
                <a:lnTo>
                  <a:pt x="10" y="27"/>
                </a:lnTo>
                <a:lnTo>
                  <a:pt x="11" y="28"/>
                </a:lnTo>
                <a:lnTo>
                  <a:pt x="12" y="28"/>
                </a:lnTo>
                <a:lnTo>
                  <a:pt x="13" y="24"/>
                </a:lnTo>
                <a:lnTo>
                  <a:pt x="13" y="23"/>
                </a:lnTo>
                <a:lnTo>
                  <a:pt x="11" y="21"/>
                </a:lnTo>
                <a:lnTo>
                  <a:pt x="11" y="20"/>
                </a:lnTo>
                <a:lnTo>
                  <a:pt x="12" y="19"/>
                </a:lnTo>
                <a:lnTo>
                  <a:pt x="14" y="19"/>
                </a:lnTo>
                <a:lnTo>
                  <a:pt x="17" y="21"/>
                </a:lnTo>
                <a:lnTo>
                  <a:pt x="18" y="25"/>
                </a:lnTo>
                <a:lnTo>
                  <a:pt x="19" y="27"/>
                </a:lnTo>
                <a:lnTo>
                  <a:pt x="21" y="30"/>
                </a:lnTo>
                <a:lnTo>
                  <a:pt x="22" y="30"/>
                </a:lnTo>
                <a:lnTo>
                  <a:pt x="29" y="34"/>
                </a:lnTo>
                <a:lnTo>
                  <a:pt x="33" y="37"/>
                </a:lnTo>
                <a:lnTo>
                  <a:pt x="33" y="47"/>
                </a:lnTo>
                <a:lnTo>
                  <a:pt x="33" y="47"/>
                </a:lnTo>
                <a:lnTo>
                  <a:pt x="35" y="49"/>
                </a:lnTo>
                <a:lnTo>
                  <a:pt x="38" y="49"/>
                </a:lnTo>
                <a:lnTo>
                  <a:pt x="39" y="49"/>
                </a:lnTo>
                <a:lnTo>
                  <a:pt x="38" y="46"/>
                </a:lnTo>
                <a:lnTo>
                  <a:pt x="39" y="45"/>
                </a:lnTo>
                <a:lnTo>
                  <a:pt x="39" y="45"/>
                </a:lnTo>
                <a:lnTo>
                  <a:pt x="40" y="46"/>
                </a:lnTo>
                <a:lnTo>
                  <a:pt x="42" y="47"/>
                </a:lnTo>
                <a:lnTo>
                  <a:pt x="42" y="51"/>
                </a:lnTo>
                <a:lnTo>
                  <a:pt x="43" y="51"/>
                </a:lnTo>
                <a:lnTo>
                  <a:pt x="43" y="51"/>
                </a:lnTo>
                <a:lnTo>
                  <a:pt x="45" y="48"/>
                </a:lnTo>
                <a:lnTo>
                  <a:pt x="47" y="47"/>
                </a:lnTo>
                <a:lnTo>
                  <a:pt x="47" y="43"/>
                </a:lnTo>
                <a:lnTo>
                  <a:pt x="47" y="41"/>
                </a:lnTo>
                <a:lnTo>
                  <a:pt x="49" y="40"/>
                </a:lnTo>
                <a:lnTo>
                  <a:pt x="49" y="38"/>
                </a:lnTo>
                <a:lnTo>
                  <a:pt x="48" y="37"/>
                </a:lnTo>
                <a:lnTo>
                  <a:pt x="45" y="36"/>
                </a:lnTo>
                <a:lnTo>
                  <a:pt x="47" y="31"/>
                </a:lnTo>
                <a:lnTo>
                  <a:pt x="49" y="28"/>
                </a:lnTo>
                <a:lnTo>
                  <a:pt x="50" y="28"/>
                </a:lnTo>
                <a:lnTo>
                  <a:pt x="50" y="28"/>
                </a:lnTo>
                <a:lnTo>
                  <a:pt x="51" y="28"/>
                </a:lnTo>
                <a:lnTo>
                  <a:pt x="51" y="28"/>
                </a:lnTo>
                <a:lnTo>
                  <a:pt x="50" y="26"/>
                </a:lnTo>
                <a:lnTo>
                  <a:pt x="45" y="24"/>
                </a:lnTo>
                <a:lnTo>
                  <a:pt x="41" y="17"/>
                </a:lnTo>
                <a:lnTo>
                  <a:pt x="39" y="14"/>
                </a:lnTo>
                <a:lnTo>
                  <a:pt x="37" y="9"/>
                </a:lnTo>
                <a:lnTo>
                  <a:pt x="37" y="8"/>
                </a:lnTo>
                <a:lnTo>
                  <a:pt x="35" y="5"/>
                </a:lnTo>
                <a:lnTo>
                  <a:pt x="35" y="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65" name="Freeform 865"/>
          <p:cNvSpPr>
            <a:spLocks/>
          </p:cNvSpPr>
          <p:nvPr/>
        </p:nvSpPr>
        <p:spPr bwMode="auto">
          <a:xfrm>
            <a:off x="2173288" y="3255928"/>
            <a:ext cx="80962" cy="80963"/>
          </a:xfrm>
          <a:custGeom>
            <a:avLst/>
            <a:gdLst>
              <a:gd name="T0" fmla="*/ 34 w 51"/>
              <a:gd name="T1" fmla="*/ 6 h 51"/>
              <a:gd name="T2" fmla="*/ 28 w 51"/>
              <a:gd name="T3" fmla="*/ 7 h 51"/>
              <a:gd name="T4" fmla="*/ 24 w 51"/>
              <a:gd name="T5" fmla="*/ 4 h 51"/>
              <a:gd name="T6" fmla="*/ 20 w 51"/>
              <a:gd name="T7" fmla="*/ 3 h 51"/>
              <a:gd name="T8" fmla="*/ 14 w 51"/>
              <a:gd name="T9" fmla="*/ 4 h 51"/>
              <a:gd name="T10" fmla="*/ 5 w 51"/>
              <a:gd name="T11" fmla="*/ 0 h 51"/>
              <a:gd name="T12" fmla="*/ 2 w 51"/>
              <a:gd name="T13" fmla="*/ 2 h 51"/>
              <a:gd name="T14" fmla="*/ 1 w 51"/>
              <a:gd name="T15" fmla="*/ 4 h 51"/>
              <a:gd name="T16" fmla="*/ 2 w 51"/>
              <a:gd name="T17" fmla="*/ 7 h 51"/>
              <a:gd name="T18" fmla="*/ 1 w 51"/>
              <a:gd name="T19" fmla="*/ 12 h 51"/>
              <a:gd name="T20" fmla="*/ 0 w 51"/>
              <a:gd name="T21" fmla="*/ 17 h 51"/>
              <a:gd name="T22" fmla="*/ 2 w 51"/>
              <a:gd name="T23" fmla="*/ 21 h 51"/>
              <a:gd name="T24" fmla="*/ 5 w 51"/>
              <a:gd name="T25" fmla="*/ 24 h 51"/>
              <a:gd name="T26" fmla="*/ 10 w 51"/>
              <a:gd name="T27" fmla="*/ 27 h 51"/>
              <a:gd name="T28" fmla="*/ 12 w 51"/>
              <a:gd name="T29" fmla="*/ 28 h 51"/>
              <a:gd name="T30" fmla="*/ 13 w 51"/>
              <a:gd name="T31" fmla="*/ 23 h 51"/>
              <a:gd name="T32" fmla="*/ 11 w 51"/>
              <a:gd name="T33" fmla="*/ 20 h 51"/>
              <a:gd name="T34" fmla="*/ 14 w 51"/>
              <a:gd name="T35" fmla="*/ 19 h 51"/>
              <a:gd name="T36" fmla="*/ 18 w 51"/>
              <a:gd name="T37" fmla="*/ 25 h 51"/>
              <a:gd name="T38" fmla="*/ 21 w 51"/>
              <a:gd name="T39" fmla="*/ 30 h 51"/>
              <a:gd name="T40" fmla="*/ 29 w 51"/>
              <a:gd name="T41" fmla="*/ 34 h 51"/>
              <a:gd name="T42" fmla="*/ 33 w 51"/>
              <a:gd name="T43" fmla="*/ 47 h 51"/>
              <a:gd name="T44" fmla="*/ 35 w 51"/>
              <a:gd name="T45" fmla="*/ 49 h 51"/>
              <a:gd name="T46" fmla="*/ 39 w 51"/>
              <a:gd name="T47" fmla="*/ 49 h 51"/>
              <a:gd name="T48" fmla="*/ 39 w 51"/>
              <a:gd name="T49" fmla="*/ 45 h 51"/>
              <a:gd name="T50" fmla="*/ 40 w 51"/>
              <a:gd name="T51" fmla="*/ 46 h 51"/>
              <a:gd name="T52" fmla="*/ 42 w 51"/>
              <a:gd name="T53" fmla="*/ 51 h 51"/>
              <a:gd name="T54" fmla="*/ 43 w 51"/>
              <a:gd name="T55" fmla="*/ 51 h 51"/>
              <a:gd name="T56" fmla="*/ 47 w 51"/>
              <a:gd name="T57" fmla="*/ 47 h 51"/>
              <a:gd name="T58" fmla="*/ 47 w 51"/>
              <a:gd name="T59" fmla="*/ 41 h 51"/>
              <a:gd name="T60" fmla="*/ 49 w 51"/>
              <a:gd name="T61" fmla="*/ 38 h 51"/>
              <a:gd name="T62" fmla="*/ 45 w 51"/>
              <a:gd name="T63" fmla="*/ 36 h 51"/>
              <a:gd name="T64" fmla="*/ 49 w 51"/>
              <a:gd name="T65" fmla="*/ 28 h 51"/>
              <a:gd name="T66" fmla="*/ 50 w 51"/>
              <a:gd name="T67" fmla="*/ 28 h 51"/>
              <a:gd name="T68" fmla="*/ 51 w 51"/>
              <a:gd name="T69" fmla="*/ 28 h 51"/>
              <a:gd name="T70" fmla="*/ 45 w 51"/>
              <a:gd name="T71" fmla="*/ 24 h 51"/>
              <a:gd name="T72" fmla="*/ 39 w 51"/>
              <a:gd name="T73" fmla="*/ 14 h 51"/>
              <a:gd name="T74" fmla="*/ 37 w 51"/>
              <a:gd name="T75" fmla="*/ 8 h 51"/>
              <a:gd name="T76" fmla="*/ 35 w 51"/>
              <a:gd name="T77" fmla="*/ 5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1" h="51">
                <a:moveTo>
                  <a:pt x="35" y="5"/>
                </a:moveTo>
                <a:lnTo>
                  <a:pt x="34" y="6"/>
                </a:lnTo>
                <a:lnTo>
                  <a:pt x="31" y="7"/>
                </a:lnTo>
                <a:lnTo>
                  <a:pt x="28" y="7"/>
                </a:lnTo>
                <a:lnTo>
                  <a:pt x="27" y="6"/>
                </a:lnTo>
                <a:lnTo>
                  <a:pt x="24" y="4"/>
                </a:lnTo>
                <a:lnTo>
                  <a:pt x="21" y="3"/>
                </a:lnTo>
                <a:lnTo>
                  <a:pt x="20" y="3"/>
                </a:lnTo>
                <a:lnTo>
                  <a:pt x="18" y="4"/>
                </a:lnTo>
                <a:lnTo>
                  <a:pt x="14" y="4"/>
                </a:lnTo>
                <a:lnTo>
                  <a:pt x="9" y="2"/>
                </a:lnTo>
                <a:lnTo>
                  <a:pt x="5" y="0"/>
                </a:lnTo>
                <a:lnTo>
                  <a:pt x="4" y="0"/>
                </a:lnTo>
                <a:lnTo>
                  <a:pt x="2" y="2"/>
                </a:lnTo>
                <a:lnTo>
                  <a:pt x="2" y="3"/>
                </a:lnTo>
                <a:lnTo>
                  <a:pt x="1" y="4"/>
                </a:lnTo>
                <a:lnTo>
                  <a:pt x="1" y="5"/>
                </a:lnTo>
                <a:lnTo>
                  <a:pt x="2" y="7"/>
                </a:lnTo>
                <a:lnTo>
                  <a:pt x="1" y="10"/>
                </a:lnTo>
                <a:lnTo>
                  <a:pt x="1" y="12"/>
                </a:lnTo>
                <a:lnTo>
                  <a:pt x="0" y="14"/>
                </a:lnTo>
                <a:lnTo>
                  <a:pt x="0" y="17"/>
                </a:ln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5" y="24"/>
                </a:lnTo>
                <a:lnTo>
                  <a:pt x="9" y="25"/>
                </a:lnTo>
                <a:lnTo>
                  <a:pt x="10" y="27"/>
                </a:lnTo>
                <a:lnTo>
                  <a:pt x="11" y="28"/>
                </a:lnTo>
                <a:lnTo>
                  <a:pt x="12" y="28"/>
                </a:lnTo>
                <a:lnTo>
                  <a:pt x="13" y="24"/>
                </a:lnTo>
                <a:lnTo>
                  <a:pt x="13" y="23"/>
                </a:lnTo>
                <a:lnTo>
                  <a:pt x="11" y="21"/>
                </a:lnTo>
                <a:lnTo>
                  <a:pt x="11" y="20"/>
                </a:lnTo>
                <a:lnTo>
                  <a:pt x="12" y="19"/>
                </a:lnTo>
                <a:lnTo>
                  <a:pt x="14" y="19"/>
                </a:lnTo>
                <a:lnTo>
                  <a:pt x="17" y="21"/>
                </a:lnTo>
                <a:lnTo>
                  <a:pt x="18" y="25"/>
                </a:lnTo>
                <a:lnTo>
                  <a:pt x="19" y="27"/>
                </a:lnTo>
                <a:lnTo>
                  <a:pt x="21" y="30"/>
                </a:lnTo>
                <a:lnTo>
                  <a:pt x="22" y="30"/>
                </a:lnTo>
                <a:lnTo>
                  <a:pt x="29" y="34"/>
                </a:lnTo>
                <a:lnTo>
                  <a:pt x="33" y="37"/>
                </a:lnTo>
                <a:lnTo>
                  <a:pt x="33" y="47"/>
                </a:lnTo>
                <a:lnTo>
                  <a:pt x="33" y="47"/>
                </a:lnTo>
                <a:lnTo>
                  <a:pt x="35" y="49"/>
                </a:lnTo>
                <a:lnTo>
                  <a:pt x="38" y="49"/>
                </a:lnTo>
                <a:lnTo>
                  <a:pt x="39" y="49"/>
                </a:lnTo>
                <a:lnTo>
                  <a:pt x="38" y="46"/>
                </a:lnTo>
                <a:lnTo>
                  <a:pt x="39" y="45"/>
                </a:lnTo>
                <a:lnTo>
                  <a:pt x="39" y="45"/>
                </a:lnTo>
                <a:lnTo>
                  <a:pt x="40" y="46"/>
                </a:lnTo>
                <a:lnTo>
                  <a:pt x="42" y="47"/>
                </a:lnTo>
                <a:lnTo>
                  <a:pt x="42" y="51"/>
                </a:lnTo>
                <a:lnTo>
                  <a:pt x="43" y="51"/>
                </a:lnTo>
                <a:lnTo>
                  <a:pt x="43" y="51"/>
                </a:lnTo>
                <a:lnTo>
                  <a:pt x="45" y="48"/>
                </a:lnTo>
                <a:lnTo>
                  <a:pt x="47" y="47"/>
                </a:lnTo>
                <a:lnTo>
                  <a:pt x="47" y="43"/>
                </a:lnTo>
                <a:lnTo>
                  <a:pt x="47" y="41"/>
                </a:lnTo>
                <a:lnTo>
                  <a:pt x="49" y="40"/>
                </a:lnTo>
                <a:lnTo>
                  <a:pt x="49" y="38"/>
                </a:lnTo>
                <a:lnTo>
                  <a:pt x="48" y="37"/>
                </a:lnTo>
                <a:lnTo>
                  <a:pt x="45" y="36"/>
                </a:lnTo>
                <a:lnTo>
                  <a:pt x="47" y="31"/>
                </a:lnTo>
                <a:lnTo>
                  <a:pt x="49" y="28"/>
                </a:lnTo>
                <a:lnTo>
                  <a:pt x="50" y="28"/>
                </a:lnTo>
                <a:lnTo>
                  <a:pt x="50" y="28"/>
                </a:lnTo>
                <a:lnTo>
                  <a:pt x="51" y="28"/>
                </a:lnTo>
                <a:lnTo>
                  <a:pt x="51" y="28"/>
                </a:lnTo>
                <a:lnTo>
                  <a:pt x="50" y="26"/>
                </a:lnTo>
                <a:lnTo>
                  <a:pt x="45" y="24"/>
                </a:lnTo>
                <a:lnTo>
                  <a:pt x="41" y="17"/>
                </a:lnTo>
                <a:lnTo>
                  <a:pt x="39" y="14"/>
                </a:lnTo>
                <a:lnTo>
                  <a:pt x="37" y="9"/>
                </a:lnTo>
                <a:lnTo>
                  <a:pt x="37" y="8"/>
                </a:lnTo>
                <a:lnTo>
                  <a:pt x="35" y="5"/>
                </a:lnTo>
                <a:lnTo>
                  <a:pt x="35" y="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66" name="Freeform 866"/>
          <p:cNvSpPr>
            <a:spLocks/>
          </p:cNvSpPr>
          <p:nvPr/>
        </p:nvSpPr>
        <p:spPr bwMode="auto">
          <a:xfrm>
            <a:off x="2525713" y="2997165"/>
            <a:ext cx="4762" cy="3175"/>
          </a:xfrm>
          <a:custGeom>
            <a:avLst/>
            <a:gdLst>
              <a:gd name="T0" fmla="*/ 1 w 3"/>
              <a:gd name="T1" fmla="*/ 0 h 2"/>
              <a:gd name="T2" fmla="*/ 2 w 3"/>
              <a:gd name="T3" fmla="*/ 0 h 2"/>
              <a:gd name="T4" fmla="*/ 3 w 3"/>
              <a:gd name="T5" fmla="*/ 1 h 2"/>
              <a:gd name="T6" fmla="*/ 3 w 3"/>
              <a:gd name="T7" fmla="*/ 2 h 2"/>
              <a:gd name="T8" fmla="*/ 1 w 3"/>
              <a:gd name="T9" fmla="*/ 2 h 2"/>
              <a:gd name="T10" fmla="*/ 0 w 3"/>
              <a:gd name="T11" fmla="*/ 2 h 2"/>
              <a:gd name="T12" fmla="*/ 0 w 3"/>
              <a:gd name="T13" fmla="*/ 1 h 2"/>
              <a:gd name="T14" fmla="*/ 0 w 3"/>
              <a:gd name="T15" fmla="*/ 0 h 2"/>
              <a:gd name="T16" fmla="*/ 1 w 3"/>
              <a:gd name="T17" fmla="*/ 0 h 2"/>
              <a:gd name="T18" fmla="*/ 1 w 3"/>
              <a:gd name="T1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" h="2">
                <a:moveTo>
                  <a:pt x="1" y="0"/>
                </a:moveTo>
                <a:lnTo>
                  <a:pt x="2" y="0"/>
                </a:lnTo>
                <a:lnTo>
                  <a:pt x="3" y="1"/>
                </a:lnTo>
                <a:lnTo>
                  <a:pt x="3" y="2"/>
                </a:lnTo>
                <a:lnTo>
                  <a:pt x="1" y="2"/>
                </a:lnTo>
                <a:lnTo>
                  <a:pt x="0" y="2"/>
                </a:ln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67" name="Freeform 867"/>
          <p:cNvSpPr>
            <a:spLocks/>
          </p:cNvSpPr>
          <p:nvPr/>
        </p:nvSpPr>
        <p:spPr bwMode="auto">
          <a:xfrm>
            <a:off x="2525713" y="2997165"/>
            <a:ext cx="4762" cy="3175"/>
          </a:xfrm>
          <a:custGeom>
            <a:avLst/>
            <a:gdLst>
              <a:gd name="T0" fmla="*/ 1 w 3"/>
              <a:gd name="T1" fmla="*/ 0 h 2"/>
              <a:gd name="T2" fmla="*/ 2 w 3"/>
              <a:gd name="T3" fmla="*/ 0 h 2"/>
              <a:gd name="T4" fmla="*/ 3 w 3"/>
              <a:gd name="T5" fmla="*/ 1 h 2"/>
              <a:gd name="T6" fmla="*/ 3 w 3"/>
              <a:gd name="T7" fmla="*/ 2 h 2"/>
              <a:gd name="T8" fmla="*/ 1 w 3"/>
              <a:gd name="T9" fmla="*/ 2 h 2"/>
              <a:gd name="T10" fmla="*/ 0 w 3"/>
              <a:gd name="T11" fmla="*/ 2 h 2"/>
              <a:gd name="T12" fmla="*/ 0 w 3"/>
              <a:gd name="T13" fmla="*/ 1 h 2"/>
              <a:gd name="T14" fmla="*/ 0 w 3"/>
              <a:gd name="T15" fmla="*/ 0 h 2"/>
              <a:gd name="T16" fmla="*/ 1 w 3"/>
              <a:gd name="T17" fmla="*/ 0 h 2"/>
              <a:gd name="T18" fmla="*/ 1 w 3"/>
              <a:gd name="T1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" h="2">
                <a:moveTo>
                  <a:pt x="1" y="0"/>
                </a:moveTo>
                <a:lnTo>
                  <a:pt x="2" y="0"/>
                </a:lnTo>
                <a:lnTo>
                  <a:pt x="3" y="1"/>
                </a:lnTo>
                <a:lnTo>
                  <a:pt x="3" y="2"/>
                </a:lnTo>
                <a:lnTo>
                  <a:pt x="1" y="2"/>
                </a:lnTo>
                <a:lnTo>
                  <a:pt x="0" y="2"/>
                </a:lnTo>
                <a:lnTo>
                  <a:pt x="0" y="1"/>
                </a:lnTo>
                <a:lnTo>
                  <a:pt x="0" y="0"/>
                </a:lnTo>
                <a:lnTo>
                  <a:pt x="1" y="0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68" name="Freeform 868"/>
          <p:cNvSpPr>
            <a:spLocks/>
          </p:cNvSpPr>
          <p:nvPr/>
        </p:nvSpPr>
        <p:spPr bwMode="auto">
          <a:xfrm>
            <a:off x="2511425" y="3030503"/>
            <a:ext cx="11112" cy="7938"/>
          </a:xfrm>
          <a:custGeom>
            <a:avLst/>
            <a:gdLst>
              <a:gd name="T0" fmla="*/ 4 w 7"/>
              <a:gd name="T1" fmla="*/ 0 h 5"/>
              <a:gd name="T2" fmla="*/ 7 w 7"/>
              <a:gd name="T3" fmla="*/ 1 h 5"/>
              <a:gd name="T4" fmla="*/ 7 w 7"/>
              <a:gd name="T5" fmla="*/ 5 h 5"/>
              <a:gd name="T6" fmla="*/ 6 w 7"/>
              <a:gd name="T7" fmla="*/ 4 h 5"/>
              <a:gd name="T8" fmla="*/ 1 w 7"/>
              <a:gd name="T9" fmla="*/ 3 h 5"/>
              <a:gd name="T10" fmla="*/ 0 w 7"/>
              <a:gd name="T11" fmla="*/ 0 h 5"/>
              <a:gd name="T12" fmla="*/ 2 w 7"/>
              <a:gd name="T13" fmla="*/ 0 h 5"/>
              <a:gd name="T14" fmla="*/ 4 w 7"/>
              <a:gd name="T15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" h="5">
                <a:moveTo>
                  <a:pt x="4" y="0"/>
                </a:moveTo>
                <a:lnTo>
                  <a:pt x="7" y="1"/>
                </a:lnTo>
                <a:lnTo>
                  <a:pt x="7" y="5"/>
                </a:lnTo>
                <a:lnTo>
                  <a:pt x="6" y="4"/>
                </a:lnTo>
                <a:lnTo>
                  <a:pt x="1" y="3"/>
                </a:lnTo>
                <a:lnTo>
                  <a:pt x="0" y="0"/>
                </a:lnTo>
                <a:lnTo>
                  <a:pt x="2" y="0"/>
                </a:lnTo>
                <a:lnTo>
                  <a:pt x="4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69" name="Freeform 869"/>
          <p:cNvSpPr>
            <a:spLocks/>
          </p:cNvSpPr>
          <p:nvPr/>
        </p:nvSpPr>
        <p:spPr bwMode="auto">
          <a:xfrm>
            <a:off x="2511425" y="3030503"/>
            <a:ext cx="11112" cy="7938"/>
          </a:xfrm>
          <a:custGeom>
            <a:avLst/>
            <a:gdLst>
              <a:gd name="T0" fmla="*/ 4 w 7"/>
              <a:gd name="T1" fmla="*/ 0 h 5"/>
              <a:gd name="T2" fmla="*/ 7 w 7"/>
              <a:gd name="T3" fmla="*/ 1 h 5"/>
              <a:gd name="T4" fmla="*/ 7 w 7"/>
              <a:gd name="T5" fmla="*/ 5 h 5"/>
              <a:gd name="T6" fmla="*/ 6 w 7"/>
              <a:gd name="T7" fmla="*/ 4 h 5"/>
              <a:gd name="T8" fmla="*/ 1 w 7"/>
              <a:gd name="T9" fmla="*/ 3 h 5"/>
              <a:gd name="T10" fmla="*/ 0 w 7"/>
              <a:gd name="T11" fmla="*/ 0 h 5"/>
              <a:gd name="T12" fmla="*/ 2 w 7"/>
              <a:gd name="T13" fmla="*/ 0 h 5"/>
              <a:gd name="T14" fmla="*/ 4 w 7"/>
              <a:gd name="T15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7" h="5">
                <a:moveTo>
                  <a:pt x="4" y="0"/>
                </a:moveTo>
                <a:lnTo>
                  <a:pt x="7" y="1"/>
                </a:lnTo>
                <a:lnTo>
                  <a:pt x="7" y="5"/>
                </a:lnTo>
                <a:lnTo>
                  <a:pt x="6" y="4"/>
                </a:lnTo>
                <a:lnTo>
                  <a:pt x="1" y="3"/>
                </a:lnTo>
                <a:lnTo>
                  <a:pt x="0" y="0"/>
                </a:lnTo>
                <a:lnTo>
                  <a:pt x="2" y="0"/>
                </a:lnTo>
                <a:lnTo>
                  <a:pt x="4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70" name="Freeform 870"/>
          <p:cNvSpPr>
            <a:spLocks/>
          </p:cNvSpPr>
          <p:nvPr/>
        </p:nvSpPr>
        <p:spPr bwMode="auto">
          <a:xfrm>
            <a:off x="2482850" y="3003515"/>
            <a:ext cx="73025" cy="53975"/>
          </a:xfrm>
          <a:custGeom>
            <a:avLst/>
            <a:gdLst>
              <a:gd name="T0" fmla="*/ 41 w 46"/>
              <a:gd name="T1" fmla="*/ 34 h 34"/>
              <a:gd name="T2" fmla="*/ 41 w 46"/>
              <a:gd name="T3" fmla="*/ 33 h 34"/>
              <a:gd name="T4" fmla="*/ 42 w 46"/>
              <a:gd name="T5" fmla="*/ 30 h 34"/>
              <a:gd name="T6" fmla="*/ 42 w 46"/>
              <a:gd name="T7" fmla="*/ 27 h 34"/>
              <a:gd name="T8" fmla="*/ 40 w 46"/>
              <a:gd name="T9" fmla="*/ 25 h 34"/>
              <a:gd name="T10" fmla="*/ 41 w 46"/>
              <a:gd name="T11" fmla="*/ 24 h 34"/>
              <a:gd name="T12" fmla="*/ 41 w 46"/>
              <a:gd name="T13" fmla="*/ 23 h 34"/>
              <a:gd name="T14" fmla="*/ 44 w 46"/>
              <a:gd name="T15" fmla="*/ 21 h 34"/>
              <a:gd name="T16" fmla="*/ 44 w 46"/>
              <a:gd name="T17" fmla="*/ 16 h 34"/>
              <a:gd name="T18" fmla="*/ 45 w 46"/>
              <a:gd name="T19" fmla="*/ 15 h 34"/>
              <a:gd name="T20" fmla="*/ 46 w 46"/>
              <a:gd name="T21" fmla="*/ 13 h 34"/>
              <a:gd name="T22" fmla="*/ 45 w 46"/>
              <a:gd name="T23" fmla="*/ 12 h 34"/>
              <a:gd name="T24" fmla="*/ 46 w 46"/>
              <a:gd name="T25" fmla="*/ 7 h 34"/>
              <a:gd name="T26" fmla="*/ 46 w 46"/>
              <a:gd name="T27" fmla="*/ 4 h 34"/>
              <a:gd name="T28" fmla="*/ 44 w 46"/>
              <a:gd name="T29" fmla="*/ 2 h 34"/>
              <a:gd name="T30" fmla="*/ 44 w 46"/>
              <a:gd name="T31" fmla="*/ 2 h 34"/>
              <a:gd name="T32" fmla="*/ 44 w 46"/>
              <a:gd name="T33" fmla="*/ 2 h 34"/>
              <a:gd name="T34" fmla="*/ 41 w 46"/>
              <a:gd name="T35" fmla="*/ 3 h 34"/>
              <a:gd name="T36" fmla="*/ 35 w 46"/>
              <a:gd name="T37" fmla="*/ 3 h 34"/>
              <a:gd name="T38" fmla="*/ 34 w 46"/>
              <a:gd name="T39" fmla="*/ 3 h 34"/>
              <a:gd name="T40" fmla="*/ 31 w 46"/>
              <a:gd name="T41" fmla="*/ 1 h 34"/>
              <a:gd name="T42" fmla="*/ 29 w 46"/>
              <a:gd name="T43" fmla="*/ 0 h 34"/>
              <a:gd name="T44" fmla="*/ 26 w 46"/>
              <a:gd name="T45" fmla="*/ 0 h 34"/>
              <a:gd name="T46" fmla="*/ 21 w 46"/>
              <a:gd name="T47" fmla="*/ 1 h 34"/>
              <a:gd name="T48" fmla="*/ 19 w 46"/>
              <a:gd name="T49" fmla="*/ 2 h 34"/>
              <a:gd name="T50" fmla="*/ 18 w 46"/>
              <a:gd name="T51" fmla="*/ 3 h 34"/>
              <a:gd name="T52" fmla="*/ 18 w 46"/>
              <a:gd name="T53" fmla="*/ 5 h 34"/>
              <a:gd name="T54" fmla="*/ 19 w 46"/>
              <a:gd name="T55" fmla="*/ 5 h 34"/>
              <a:gd name="T56" fmla="*/ 25 w 46"/>
              <a:gd name="T57" fmla="*/ 5 h 34"/>
              <a:gd name="T58" fmla="*/ 27 w 46"/>
              <a:gd name="T59" fmla="*/ 7 h 34"/>
              <a:gd name="T60" fmla="*/ 28 w 46"/>
              <a:gd name="T61" fmla="*/ 10 h 34"/>
              <a:gd name="T62" fmla="*/ 27 w 46"/>
              <a:gd name="T63" fmla="*/ 16 h 34"/>
              <a:gd name="T64" fmla="*/ 27 w 46"/>
              <a:gd name="T65" fmla="*/ 17 h 34"/>
              <a:gd name="T66" fmla="*/ 30 w 46"/>
              <a:gd name="T67" fmla="*/ 21 h 34"/>
              <a:gd name="T68" fmla="*/ 32 w 46"/>
              <a:gd name="T69" fmla="*/ 22 h 34"/>
              <a:gd name="T70" fmla="*/ 32 w 46"/>
              <a:gd name="T71" fmla="*/ 24 h 34"/>
              <a:gd name="T72" fmla="*/ 31 w 46"/>
              <a:gd name="T73" fmla="*/ 25 h 34"/>
              <a:gd name="T74" fmla="*/ 29 w 46"/>
              <a:gd name="T75" fmla="*/ 25 h 34"/>
              <a:gd name="T76" fmla="*/ 26 w 46"/>
              <a:gd name="T77" fmla="*/ 25 h 34"/>
              <a:gd name="T78" fmla="*/ 19 w 46"/>
              <a:gd name="T79" fmla="*/ 26 h 34"/>
              <a:gd name="T80" fmla="*/ 14 w 46"/>
              <a:gd name="T81" fmla="*/ 25 h 34"/>
              <a:gd name="T82" fmla="*/ 10 w 46"/>
              <a:gd name="T83" fmla="*/ 24 h 34"/>
              <a:gd name="T84" fmla="*/ 1 w 46"/>
              <a:gd name="T85" fmla="*/ 24 h 34"/>
              <a:gd name="T86" fmla="*/ 0 w 46"/>
              <a:gd name="T87" fmla="*/ 25 h 34"/>
              <a:gd name="T88" fmla="*/ 0 w 46"/>
              <a:gd name="T89" fmla="*/ 26 h 34"/>
              <a:gd name="T90" fmla="*/ 2 w 46"/>
              <a:gd name="T91" fmla="*/ 30 h 34"/>
              <a:gd name="T92" fmla="*/ 6 w 46"/>
              <a:gd name="T93" fmla="*/ 32 h 34"/>
              <a:gd name="T94" fmla="*/ 8 w 46"/>
              <a:gd name="T95" fmla="*/ 34 h 34"/>
              <a:gd name="T96" fmla="*/ 9 w 46"/>
              <a:gd name="T97" fmla="*/ 33 h 34"/>
              <a:gd name="T98" fmla="*/ 9 w 46"/>
              <a:gd name="T99" fmla="*/ 32 h 34"/>
              <a:gd name="T100" fmla="*/ 10 w 46"/>
              <a:gd name="T101" fmla="*/ 31 h 34"/>
              <a:gd name="T102" fmla="*/ 11 w 46"/>
              <a:gd name="T103" fmla="*/ 30 h 34"/>
              <a:gd name="T104" fmla="*/ 12 w 46"/>
              <a:gd name="T105" fmla="*/ 30 h 34"/>
              <a:gd name="T106" fmla="*/ 17 w 46"/>
              <a:gd name="T107" fmla="*/ 31 h 34"/>
              <a:gd name="T108" fmla="*/ 25 w 46"/>
              <a:gd name="T109" fmla="*/ 33 h 34"/>
              <a:gd name="T110" fmla="*/ 27 w 46"/>
              <a:gd name="T111" fmla="*/ 33 h 34"/>
              <a:gd name="T112" fmla="*/ 32 w 46"/>
              <a:gd name="T113" fmla="*/ 31 h 34"/>
              <a:gd name="T114" fmla="*/ 35 w 46"/>
              <a:gd name="T115" fmla="*/ 31 h 34"/>
              <a:gd name="T116" fmla="*/ 37 w 46"/>
              <a:gd name="T117" fmla="*/ 32 h 34"/>
              <a:gd name="T118" fmla="*/ 38 w 46"/>
              <a:gd name="T119" fmla="*/ 32 h 34"/>
              <a:gd name="T120" fmla="*/ 39 w 46"/>
              <a:gd name="T121" fmla="*/ 33 h 34"/>
              <a:gd name="T122" fmla="*/ 41 w 46"/>
              <a:gd name="T123" fmla="*/ 34 h 34"/>
              <a:gd name="T124" fmla="*/ 41 w 46"/>
              <a:gd name="T125" fmla="*/ 34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6" h="34">
                <a:moveTo>
                  <a:pt x="41" y="34"/>
                </a:moveTo>
                <a:lnTo>
                  <a:pt x="41" y="33"/>
                </a:lnTo>
                <a:lnTo>
                  <a:pt x="42" y="30"/>
                </a:lnTo>
                <a:lnTo>
                  <a:pt x="42" y="27"/>
                </a:lnTo>
                <a:lnTo>
                  <a:pt x="40" y="25"/>
                </a:lnTo>
                <a:lnTo>
                  <a:pt x="41" y="24"/>
                </a:lnTo>
                <a:lnTo>
                  <a:pt x="41" y="23"/>
                </a:lnTo>
                <a:lnTo>
                  <a:pt x="44" y="21"/>
                </a:lnTo>
                <a:lnTo>
                  <a:pt x="44" y="16"/>
                </a:lnTo>
                <a:lnTo>
                  <a:pt x="45" y="15"/>
                </a:lnTo>
                <a:lnTo>
                  <a:pt x="46" y="13"/>
                </a:lnTo>
                <a:lnTo>
                  <a:pt x="45" y="12"/>
                </a:lnTo>
                <a:lnTo>
                  <a:pt x="46" y="7"/>
                </a:lnTo>
                <a:lnTo>
                  <a:pt x="46" y="4"/>
                </a:lnTo>
                <a:lnTo>
                  <a:pt x="44" y="2"/>
                </a:lnTo>
                <a:lnTo>
                  <a:pt x="44" y="2"/>
                </a:lnTo>
                <a:lnTo>
                  <a:pt x="44" y="2"/>
                </a:lnTo>
                <a:lnTo>
                  <a:pt x="41" y="3"/>
                </a:lnTo>
                <a:lnTo>
                  <a:pt x="35" y="3"/>
                </a:lnTo>
                <a:lnTo>
                  <a:pt x="34" y="3"/>
                </a:lnTo>
                <a:lnTo>
                  <a:pt x="31" y="1"/>
                </a:lnTo>
                <a:lnTo>
                  <a:pt x="29" y="0"/>
                </a:lnTo>
                <a:lnTo>
                  <a:pt x="26" y="0"/>
                </a:lnTo>
                <a:lnTo>
                  <a:pt x="21" y="1"/>
                </a:lnTo>
                <a:lnTo>
                  <a:pt x="19" y="2"/>
                </a:lnTo>
                <a:lnTo>
                  <a:pt x="18" y="3"/>
                </a:lnTo>
                <a:lnTo>
                  <a:pt x="18" y="5"/>
                </a:lnTo>
                <a:lnTo>
                  <a:pt x="19" y="5"/>
                </a:lnTo>
                <a:lnTo>
                  <a:pt x="25" y="5"/>
                </a:lnTo>
                <a:lnTo>
                  <a:pt x="27" y="7"/>
                </a:lnTo>
                <a:lnTo>
                  <a:pt x="28" y="10"/>
                </a:lnTo>
                <a:lnTo>
                  <a:pt x="27" y="16"/>
                </a:lnTo>
                <a:lnTo>
                  <a:pt x="27" y="17"/>
                </a:lnTo>
                <a:lnTo>
                  <a:pt x="30" y="21"/>
                </a:lnTo>
                <a:lnTo>
                  <a:pt x="32" y="22"/>
                </a:lnTo>
                <a:lnTo>
                  <a:pt x="32" y="24"/>
                </a:lnTo>
                <a:lnTo>
                  <a:pt x="31" y="25"/>
                </a:lnTo>
                <a:lnTo>
                  <a:pt x="29" y="25"/>
                </a:lnTo>
                <a:lnTo>
                  <a:pt x="26" y="25"/>
                </a:lnTo>
                <a:lnTo>
                  <a:pt x="19" y="26"/>
                </a:lnTo>
                <a:lnTo>
                  <a:pt x="14" y="25"/>
                </a:lnTo>
                <a:lnTo>
                  <a:pt x="10" y="24"/>
                </a:lnTo>
                <a:lnTo>
                  <a:pt x="1" y="24"/>
                </a:lnTo>
                <a:lnTo>
                  <a:pt x="0" y="25"/>
                </a:lnTo>
                <a:lnTo>
                  <a:pt x="0" y="26"/>
                </a:lnTo>
                <a:lnTo>
                  <a:pt x="2" y="30"/>
                </a:lnTo>
                <a:lnTo>
                  <a:pt x="6" y="32"/>
                </a:lnTo>
                <a:lnTo>
                  <a:pt x="8" y="34"/>
                </a:lnTo>
                <a:lnTo>
                  <a:pt x="9" y="33"/>
                </a:lnTo>
                <a:lnTo>
                  <a:pt x="9" y="32"/>
                </a:lnTo>
                <a:lnTo>
                  <a:pt x="10" y="31"/>
                </a:lnTo>
                <a:lnTo>
                  <a:pt x="11" y="30"/>
                </a:lnTo>
                <a:lnTo>
                  <a:pt x="12" y="30"/>
                </a:lnTo>
                <a:lnTo>
                  <a:pt x="17" y="31"/>
                </a:lnTo>
                <a:lnTo>
                  <a:pt x="25" y="33"/>
                </a:lnTo>
                <a:lnTo>
                  <a:pt x="27" y="33"/>
                </a:lnTo>
                <a:lnTo>
                  <a:pt x="32" y="31"/>
                </a:lnTo>
                <a:lnTo>
                  <a:pt x="35" y="31"/>
                </a:lnTo>
                <a:lnTo>
                  <a:pt x="37" y="32"/>
                </a:lnTo>
                <a:lnTo>
                  <a:pt x="38" y="32"/>
                </a:lnTo>
                <a:lnTo>
                  <a:pt x="39" y="33"/>
                </a:lnTo>
                <a:lnTo>
                  <a:pt x="41" y="34"/>
                </a:lnTo>
                <a:lnTo>
                  <a:pt x="41" y="3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71" name="Freeform 871"/>
          <p:cNvSpPr>
            <a:spLocks/>
          </p:cNvSpPr>
          <p:nvPr/>
        </p:nvSpPr>
        <p:spPr bwMode="auto">
          <a:xfrm>
            <a:off x="2482850" y="3003515"/>
            <a:ext cx="73025" cy="53975"/>
          </a:xfrm>
          <a:custGeom>
            <a:avLst/>
            <a:gdLst>
              <a:gd name="T0" fmla="*/ 41 w 46"/>
              <a:gd name="T1" fmla="*/ 34 h 34"/>
              <a:gd name="T2" fmla="*/ 41 w 46"/>
              <a:gd name="T3" fmla="*/ 33 h 34"/>
              <a:gd name="T4" fmla="*/ 42 w 46"/>
              <a:gd name="T5" fmla="*/ 30 h 34"/>
              <a:gd name="T6" fmla="*/ 42 w 46"/>
              <a:gd name="T7" fmla="*/ 27 h 34"/>
              <a:gd name="T8" fmla="*/ 40 w 46"/>
              <a:gd name="T9" fmla="*/ 25 h 34"/>
              <a:gd name="T10" fmla="*/ 41 w 46"/>
              <a:gd name="T11" fmla="*/ 24 h 34"/>
              <a:gd name="T12" fmla="*/ 41 w 46"/>
              <a:gd name="T13" fmla="*/ 23 h 34"/>
              <a:gd name="T14" fmla="*/ 44 w 46"/>
              <a:gd name="T15" fmla="*/ 21 h 34"/>
              <a:gd name="T16" fmla="*/ 44 w 46"/>
              <a:gd name="T17" fmla="*/ 16 h 34"/>
              <a:gd name="T18" fmla="*/ 45 w 46"/>
              <a:gd name="T19" fmla="*/ 15 h 34"/>
              <a:gd name="T20" fmla="*/ 46 w 46"/>
              <a:gd name="T21" fmla="*/ 13 h 34"/>
              <a:gd name="T22" fmla="*/ 45 w 46"/>
              <a:gd name="T23" fmla="*/ 12 h 34"/>
              <a:gd name="T24" fmla="*/ 46 w 46"/>
              <a:gd name="T25" fmla="*/ 7 h 34"/>
              <a:gd name="T26" fmla="*/ 46 w 46"/>
              <a:gd name="T27" fmla="*/ 4 h 34"/>
              <a:gd name="T28" fmla="*/ 44 w 46"/>
              <a:gd name="T29" fmla="*/ 2 h 34"/>
              <a:gd name="T30" fmla="*/ 44 w 46"/>
              <a:gd name="T31" fmla="*/ 2 h 34"/>
              <a:gd name="T32" fmla="*/ 44 w 46"/>
              <a:gd name="T33" fmla="*/ 2 h 34"/>
              <a:gd name="T34" fmla="*/ 41 w 46"/>
              <a:gd name="T35" fmla="*/ 3 h 34"/>
              <a:gd name="T36" fmla="*/ 35 w 46"/>
              <a:gd name="T37" fmla="*/ 3 h 34"/>
              <a:gd name="T38" fmla="*/ 34 w 46"/>
              <a:gd name="T39" fmla="*/ 3 h 34"/>
              <a:gd name="T40" fmla="*/ 31 w 46"/>
              <a:gd name="T41" fmla="*/ 1 h 34"/>
              <a:gd name="T42" fmla="*/ 29 w 46"/>
              <a:gd name="T43" fmla="*/ 0 h 34"/>
              <a:gd name="T44" fmla="*/ 26 w 46"/>
              <a:gd name="T45" fmla="*/ 0 h 34"/>
              <a:gd name="T46" fmla="*/ 21 w 46"/>
              <a:gd name="T47" fmla="*/ 1 h 34"/>
              <a:gd name="T48" fmla="*/ 19 w 46"/>
              <a:gd name="T49" fmla="*/ 2 h 34"/>
              <a:gd name="T50" fmla="*/ 18 w 46"/>
              <a:gd name="T51" fmla="*/ 3 h 34"/>
              <a:gd name="T52" fmla="*/ 18 w 46"/>
              <a:gd name="T53" fmla="*/ 5 h 34"/>
              <a:gd name="T54" fmla="*/ 19 w 46"/>
              <a:gd name="T55" fmla="*/ 5 h 34"/>
              <a:gd name="T56" fmla="*/ 25 w 46"/>
              <a:gd name="T57" fmla="*/ 5 h 34"/>
              <a:gd name="T58" fmla="*/ 27 w 46"/>
              <a:gd name="T59" fmla="*/ 7 h 34"/>
              <a:gd name="T60" fmla="*/ 28 w 46"/>
              <a:gd name="T61" fmla="*/ 10 h 34"/>
              <a:gd name="T62" fmla="*/ 27 w 46"/>
              <a:gd name="T63" fmla="*/ 16 h 34"/>
              <a:gd name="T64" fmla="*/ 27 w 46"/>
              <a:gd name="T65" fmla="*/ 17 h 34"/>
              <a:gd name="T66" fmla="*/ 30 w 46"/>
              <a:gd name="T67" fmla="*/ 21 h 34"/>
              <a:gd name="T68" fmla="*/ 32 w 46"/>
              <a:gd name="T69" fmla="*/ 22 h 34"/>
              <a:gd name="T70" fmla="*/ 32 w 46"/>
              <a:gd name="T71" fmla="*/ 24 h 34"/>
              <a:gd name="T72" fmla="*/ 31 w 46"/>
              <a:gd name="T73" fmla="*/ 25 h 34"/>
              <a:gd name="T74" fmla="*/ 29 w 46"/>
              <a:gd name="T75" fmla="*/ 25 h 34"/>
              <a:gd name="T76" fmla="*/ 26 w 46"/>
              <a:gd name="T77" fmla="*/ 25 h 34"/>
              <a:gd name="T78" fmla="*/ 19 w 46"/>
              <a:gd name="T79" fmla="*/ 26 h 34"/>
              <a:gd name="T80" fmla="*/ 14 w 46"/>
              <a:gd name="T81" fmla="*/ 25 h 34"/>
              <a:gd name="T82" fmla="*/ 10 w 46"/>
              <a:gd name="T83" fmla="*/ 24 h 34"/>
              <a:gd name="T84" fmla="*/ 1 w 46"/>
              <a:gd name="T85" fmla="*/ 24 h 34"/>
              <a:gd name="T86" fmla="*/ 0 w 46"/>
              <a:gd name="T87" fmla="*/ 25 h 34"/>
              <a:gd name="T88" fmla="*/ 0 w 46"/>
              <a:gd name="T89" fmla="*/ 26 h 34"/>
              <a:gd name="T90" fmla="*/ 2 w 46"/>
              <a:gd name="T91" fmla="*/ 30 h 34"/>
              <a:gd name="T92" fmla="*/ 6 w 46"/>
              <a:gd name="T93" fmla="*/ 32 h 34"/>
              <a:gd name="T94" fmla="*/ 8 w 46"/>
              <a:gd name="T95" fmla="*/ 34 h 34"/>
              <a:gd name="T96" fmla="*/ 9 w 46"/>
              <a:gd name="T97" fmla="*/ 33 h 34"/>
              <a:gd name="T98" fmla="*/ 9 w 46"/>
              <a:gd name="T99" fmla="*/ 32 h 34"/>
              <a:gd name="T100" fmla="*/ 10 w 46"/>
              <a:gd name="T101" fmla="*/ 31 h 34"/>
              <a:gd name="T102" fmla="*/ 11 w 46"/>
              <a:gd name="T103" fmla="*/ 30 h 34"/>
              <a:gd name="T104" fmla="*/ 12 w 46"/>
              <a:gd name="T105" fmla="*/ 30 h 34"/>
              <a:gd name="T106" fmla="*/ 17 w 46"/>
              <a:gd name="T107" fmla="*/ 31 h 34"/>
              <a:gd name="T108" fmla="*/ 25 w 46"/>
              <a:gd name="T109" fmla="*/ 33 h 34"/>
              <a:gd name="T110" fmla="*/ 27 w 46"/>
              <a:gd name="T111" fmla="*/ 33 h 34"/>
              <a:gd name="T112" fmla="*/ 32 w 46"/>
              <a:gd name="T113" fmla="*/ 31 h 34"/>
              <a:gd name="T114" fmla="*/ 35 w 46"/>
              <a:gd name="T115" fmla="*/ 31 h 34"/>
              <a:gd name="T116" fmla="*/ 37 w 46"/>
              <a:gd name="T117" fmla="*/ 32 h 34"/>
              <a:gd name="T118" fmla="*/ 38 w 46"/>
              <a:gd name="T119" fmla="*/ 32 h 34"/>
              <a:gd name="T120" fmla="*/ 39 w 46"/>
              <a:gd name="T121" fmla="*/ 33 h 34"/>
              <a:gd name="T122" fmla="*/ 41 w 46"/>
              <a:gd name="T123" fmla="*/ 34 h 34"/>
              <a:gd name="T124" fmla="*/ 41 w 46"/>
              <a:gd name="T125" fmla="*/ 34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6" h="34">
                <a:moveTo>
                  <a:pt x="41" y="34"/>
                </a:moveTo>
                <a:lnTo>
                  <a:pt x="41" y="33"/>
                </a:lnTo>
                <a:lnTo>
                  <a:pt x="42" y="30"/>
                </a:lnTo>
                <a:lnTo>
                  <a:pt x="42" y="27"/>
                </a:lnTo>
                <a:lnTo>
                  <a:pt x="40" y="25"/>
                </a:lnTo>
                <a:lnTo>
                  <a:pt x="41" y="24"/>
                </a:lnTo>
                <a:lnTo>
                  <a:pt x="41" y="23"/>
                </a:lnTo>
                <a:lnTo>
                  <a:pt x="44" y="21"/>
                </a:lnTo>
                <a:lnTo>
                  <a:pt x="44" y="16"/>
                </a:lnTo>
                <a:lnTo>
                  <a:pt x="45" y="15"/>
                </a:lnTo>
                <a:lnTo>
                  <a:pt x="46" y="13"/>
                </a:lnTo>
                <a:lnTo>
                  <a:pt x="45" y="12"/>
                </a:lnTo>
                <a:lnTo>
                  <a:pt x="46" y="7"/>
                </a:lnTo>
                <a:lnTo>
                  <a:pt x="46" y="4"/>
                </a:lnTo>
                <a:lnTo>
                  <a:pt x="44" y="2"/>
                </a:lnTo>
                <a:lnTo>
                  <a:pt x="44" y="2"/>
                </a:lnTo>
                <a:lnTo>
                  <a:pt x="44" y="2"/>
                </a:lnTo>
                <a:lnTo>
                  <a:pt x="41" y="3"/>
                </a:lnTo>
                <a:lnTo>
                  <a:pt x="35" y="3"/>
                </a:lnTo>
                <a:lnTo>
                  <a:pt x="34" y="3"/>
                </a:lnTo>
                <a:lnTo>
                  <a:pt x="31" y="1"/>
                </a:lnTo>
                <a:lnTo>
                  <a:pt x="29" y="0"/>
                </a:lnTo>
                <a:lnTo>
                  <a:pt x="26" y="0"/>
                </a:lnTo>
                <a:lnTo>
                  <a:pt x="21" y="1"/>
                </a:lnTo>
                <a:lnTo>
                  <a:pt x="19" y="2"/>
                </a:lnTo>
                <a:lnTo>
                  <a:pt x="18" y="3"/>
                </a:lnTo>
                <a:lnTo>
                  <a:pt x="18" y="5"/>
                </a:lnTo>
                <a:lnTo>
                  <a:pt x="19" y="5"/>
                </a:lnTo>
                <a:lnTo>
                  <a:pt x="25" y="5"/>
                </a:lnTo>
                <a:lnTo>
                  <a:pt x="27" y="7"/>
                </a:lnTo>
                <a:lnTo>
                  <a:pt x="28" y="10"/>
                </a:lnTo>
                <a:lnTo>
                  <a:pt x="27" y="16"/>
                </a:lnTo>
                <a:lnTo>
                  <a:pt x="27" y="17"/>
                </a:lnTo>
                <a:lnTo>
                  <a:pt x="30" y="21"/>
                </a:lnTo>
                <a:lnTo>
                  <a:pt x="32" y="22"/>
                </a:lnTo>
                <a:lnTo>
                  <a:pt x="32" y="24"/>
                </a:lnTo>
                <a:lnTo>
                  <a:pt x="31" y="25"/>
                </a:lnTo>
                <a:lnTo>
                  <a:pt x="29" y="25"/>
                </a:lnTo>
                <a:lnTo>
                  <a:pt x="26" y="25"/>
                </a:lnTo>
                <a:lnTo>
                  <a:pt x="19" y="26"/>
                </a:lnTo>
                <a:lnTo>
                  <a:pt x="14" y="25"/>
                </a:lnTo>
                <a:lnTo>
                  <a:pt x="10" y="24"/>
                </a:lnTo>
                <a:lnTo>
                  <a:pt x="1" y="24"/>
                </a:lnTo>
                <a:lnTo>
                  <a:pt x="0" y="25"/>
                </a:lnTo>
                <a:lnTo>
                  <a:pt x="0" y="26"/>
                </a:lnTo>
                <a:lnTo>
                  <a:pt x="2" y="30"/>
                </a:lnTo>
                <a:lnTo>
                  <a:pt x="6" y="32"/>
                </a:lnTo>
                <a:lnTo>
                  <a:pt x="8" y="34"/>
                </a:lnTo>
                <a:lnTo>
                  <a:pt x="9" y="33"/>
                </a:lnTo>
                <a:lnTo>
                  <a:pt x="9" y="32"/>
                </a:lnTo>
                <a:lnTo>
                  <a:pt x="10" y="31"/>
                </a:lnTo>
                <a:lnTo>
                  <a:pt x="11" y="30"/>
                </a:lnTo>
                <a:lnTo>
                  <a:pt x="12" y="30"/>
                </a:lnTo>
                <a:lnTo>
                  <a:pt x="17" y="31"/>
                </a:lnTo>
                <a:lnTo>
                  <a:pt x="25" y="33"/>
                </a:lnTo>
                <a:lnTo>
                  <a:pt x="27" y="33"/>
                </a:lnTo>
                <a:lnTo>
                  <a:pt x="32" y="31"/>
                </a:lnTo>
                <a:lnTo>
                  <a:pt x="35" y="31"/>
                </a:lnTo>
                <a:lnTo>
                  <a:pt x="37" y="32"/>
                </a:lnTo>
                <a:lnTo>
                  <a:pt x="38" y="32"/>
                </a:lnTo>
                <a:lnTo>
                  <a:pt x="39" y="33"/>
                </a:lnTo>
                <a:lnTo>
                  <a:pt x="41" y="34"/>
                </a:lnTo>
                <a:lnTo>
                  <a:pt x="41" y="3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72" name="Freeform 872"/>
          <p:cNvSpPr>
            <a:spLocks/>
          </p:cNvSpPr>
          <p:nvPr/>
        </p:nvSpPr>
        <p:spPr bwMode="auto">
          <a:xfrm>
            <a:off x="2474913" y="3427378"/>
            <a:ext cx="987425" cy="1123950"/>
          </a:xfrm>
          <a:custGeom>
            <a:avLst/>
            <a:gdLst>
              <a:gd name="T0" fmla="*/ 173 w 622"/>
              <a:gd name="T1" fmla="*/ 23 h 708"/>
              <a:gd name="T2" fmla="*/ 151 w 622"/>
              <a:gd name="T3" fmla="*/ 28 h 708"/>
              <a:gd name="T4" fmla="*/ 164 w 622"/>
              <a:gd name="T5" fmla="*/ 56 h 708"/>
              <a:gd name="T6" fmla="*/ 144 w 622"/>
              <a:gd name="T7" fmla="*/ 71 h 708"/>
              <a:gd name="T8" fmla="*/ 116 w 622"/>
              <a:gd name="T9" fmla="*/ 81 h 708"/>
              <a:gd name="T10" fmla="*/ 90 w 622"/>
              <a:gd name="T11" fmla="*/ 62 h 708"/>
              <a:gd name="T12" fmla="*/ 63 w 622"/>
              <a:gd name="T13" fmla="*/ 78 h 708"/>
              <a:gd name="T14" fmla="*/ 58 w 622"/>
              <a:gd name="T15" fmla="*/ 86 h 708"/>
              <a:gd name="T16" fmla="*/ 62 w 622"/>
              <a:gd name="T17" fmla="*/ 153 h 708"/>
              <a:gd name="T18" fmla="*/ 23 w 622"/>
              <a:gd name="T19" fmla="*/ 185 h 708"/>
              <a:gd name="T20" fmla="*/ 0 w 622"/>
              <a:gd name="T21" fmla="*/ 233 h 708"/>
              <a:gd name="T22" fmla="*/ 25 w 622"/>
              <a:gd name="T23" fmla="*/ 269 h 708"/>
              <a:gd name="T24" fmla="*/ 55 w 622"/>
              <a:gd name="T25" fmla="*/ 283 h 708"/>
              <a:gd name="T26" fmla="*/ 92 w 622"/>
              <a:gd name="T27" fmla="*/ 294 h 708"/>
              <a:gd name="T28" fmla="*/ 138 w 622"/>
              <a:gd name="T29" fmla="*/ 280 h 708"/>
              <a:gd name="T30" fmla="*/ 172 w 622"/>
              <a:gd name="T31" fmla="*/ 323 h 708"/>
              <a:gd name="T32" fmla="*/ 215 w 622"/>
              <a:gd name="T33" fmla="*/ 344 h 708"/>
              <a:gd name="T34" fmla="*/ 227 w 622"/>
              <a:gd name="T35" fmla="*/ 390 h 708"/>
              <a:gd name="T36" fmla="*/ 261 w 622"/>
              <a:gd name="T37" fmla="*/ 410 h 708"/>
              <a:gd name="T38" fmla="*/ 268 w 622"/>
              <a:gd name="T39" fmla="*/ 458 h 708"/>
              <a:gd name="T40" fmla="*/ 280 w 622"/>
              <a:gd name="T41" fmla="*/ 498 h 708"/>
              <a:gd name="T42" fmla="*/ 311 w 622"/>
              <a:gd name="T43" fmla="*/ 525 h 708"/>
              <a:gd name="T44" fmla="*/ 330 w 622"/>
              <a:gd name="T45" fmla="*/ 554 h 708"/>
              <a:gd name="T46" fmla="*/ 334 w 622"/>
              <a:gd name="T47" fmla="*/ 594 h 708"/>
              <a:gd name="T48" fmla="*/ 298 w 622"/>
              <a:gd name="T49" fmla="*/ 640 h 708"/>
              <a:gd name="T50" fmla="*/ 319 w 622"/>
              <a:gd name="T51" fmla="*/ 656 h 708"/>
              <a:gd name="T52" fmla="*/ 344 w 622"/>
              <a:gd name="T53" fmla="*/ 667 h 708"/>
              <a:gd name="T54" fmla="*/ 368 w 622"/>
              <a:gd name="T55" fmla="*/ 692 h 708"/>
              <a:gd name="T56" fmla="*/ 377 w 622"/>
              <a:gd name="T57" fmla="*/ 696 h 708"/>
              <a:gd name="T58" fmla="*/ 404 w 622"/>
              <a:gd name="T59" fmla="*/ 654 h 708"/>
              <a:gd name="T60" fmla="*/ 427 w 622"/>
              <a:gd name="T61" fmla="*/ 609 h 708"/>
              <a:gd name="T62" fmla="*/ 422 w 622"/>
              <a:gd name="T63" fmla="*/ 571 h 708"/>
              <a:gd name="T64" fmla="*/ 447 w 622"/>
              <a:gd name="T65" fmla="*/ 536 h 708"/>
              <a:gd name="T66" fmla="*/ 481 w 622"/>
              <a:gd name="T67" fmla="*/ 517 h 708"/>
              <a:gd name="T68" fmla="*/ 498 w 622"/>
              <a:gd name="T69" fmla="*/ 512 h 708"/>
              <a:gd name="T70" fmla="*/ 533 w 622"/>
              <a:gd name="T71" fmla="*/ 494 h 708"/>
              <a:gd name="T72" fmla="*/ 553 w 622"/>
              <a:gd name="T73" fmla="*/ 430 h 708"/>
              <a:gd name="T74" fmla="*/ 559 w 622"/>
              <a:gd name="T75" fmla="*/ 364 h 708"/>
              <a:gd name="T76" fmla="*/ 579 w 622"/>
              <a:gd name="T77" fmla="*/ 314 h 708"/>
              <a:gd name="T78" fmla="*/ 618 w 622"/>
              <a:gd name="T79" fmla="*/ 259 h 708"/>
              <a:gd name="T80" fmla="*/ 594 w 622"/>
              <a:gd name="T81" fmla="*/ 189 h 708"/>
              <a:gd name="T82" fmla="*/ 552 w 622"/>
              <a:gd name="T83" fmla="*/ 155 h 708"/>
              <a:gd name="T84" fmla="*/ 482 w 622"/>
              <a:gd name="T85" fmla="*/ 138 h 708"/>
              <a:gd name="T86" fmla="*/ 467 w 622"/>
              <a:gd name="T87" fmla="*/ 135 h 708"/>
              <a:gd name="T88" fmla="*/ 453 w 622"/>
              <a:gd name="T89" fmla="*/ 121 h 708"/>
              <a:gd name="T90" fmla="*/ 407 w 622"/>
              <a:gd name="T91" fmla="*/ 114 h 708"/>
              <a:gd name="T92" fmla="*/ 390 w 622"/>
              <a:gd name="T93" fmla="*/ 140 h 708"/>
              <a:gd name="T94" fmla="*/ 370 w 622"/>
              <a:gd name="T95" fmla="*/ 130 h 708"/>
              <a:gd name="T96" fmla="*/ 359 w 622"/>
              <a:gd name="T97" fmla="*/ 128 h 708"/>
              <a:gd name="T98" fmla="*/ 366 w 622"/>
              <a:gd name="T99" fmla="*/ 113 h 708"/>
              <a:gd name="T100" fmla="*/ 357 w 622"/>
              <a:gd name="T101" fmla="*/ 103 h 708"/>
              <a:gd name="T102" fmla="*/ 380 w 622"/>
              <a:gd name="T103" fmla="*/ 66 h 708"/>
              <a:gd name="T104" fmla="*/ 362 w 622"/>
              <a:gd name="T105" fmla="*/ 23 h 708"/>
              <a:gd name="T106" fmla="*/ 330 w 622"/>
              <a:gd name="T107" fmla="*/ 57 h 708"/>
              <a:gd name="T108" fmla="*/ 299 w 622"/>
              <a:gd name="T109" fmla="*/ 50 h 708"/>
              <a:gd name="T110" fmla="*/ 267 w 622"/>
              <a:gd name="T111" fmla="*/ 59 h 708"/>
              <a:gd name="T112" fmla="*/ 234 w 622"/>
              <a:gd name="T113" fmla="*/ 71 h 708"/>
              <a:gd name="T114" fmla="*/ 224 w 622"/>
              <a:gd name="T115" fmla="*/ 32 h 708"/>
              <a:gd name="T116" fmla="*/ 219 w 622"/>
              <a:gd name="T117" fmla="*/ 0 h 7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22" h="708">
                <a:moveTo>
                  <a:pt x="209" y="1"/>
                </a:moveTo>
                <a:lnTo>
                  <a:pt x="209" y="6"/>
                </a:lnTo>
                <a:lnTo>
                  <a:pt x="207" y="10"/>
                </a:lnTo>
                <a:lnTo>
                  <a:pt x="205" y="12"/>
                </a:lnTo>
                <a:lnTo>
                  <a:pt x="204" y="12"/>
                </a:lnTo>
                <a:lnTo>
                  <a:pt x="198" y="13"/>
                </a:lnTo>
                <a:lnTo>
                  <a:pt x="197" y="14"/>
                </a:lnTo>
                <a:lnTo>
                  <a:pt x="194" y="16"/>
                </a:lnTo>
                <a:lnTo>
                  <a:pt x="193" y="18"/>
                </a:lnTo>
                <a:lnTo>
                  <a:pt x="190" y="19"/>
                </a:lnTo>
                <a:lnTo>
                  <a:pt x="183" y="20"/>
                </a:lnTo>
                <a:lnTo>
                  <a:pt x="178" y="21"/>
                </a:lnTo>
                <a:lnTo>
                  <a:pt x="173" y="23"/>
                </a:lnTo>
                <a:lnTo>
                  <a:pt x="172" y="24"/>
                </a:lnTo>
                <a:lnTo>
                  <a:pt x="170" y="24"/>
                </a:lnTo>
                <a:lnTo>
                  <a:pt x="164" y="24"/>
                </a:lnTo>
                <a:lnTo>
                  <a:pt x="158" y="22"/>
                </a:lnTo>
                <a:lnTo>
                  <a:pt x="153" y="19"/>
                </a:lnTo>
                <a:lnTo>
                  <a:pt x="146" y="18"/>
                </a:lnTo>
                <a:lnTo>
                  <a:pt x="144" y="17"/>
                </a:lnTo>
                <a:lnTo>
                  <a:pt x="143" y="17"/>
                </a:lnTo>
                <a:lnTo>
                  <a:pt x="143" y="18"/>
                </a:lnTo>
                <a:lnTo>
                  <a:pt x="143" y="20"/>
                </a:lnTo>
                <a:lnTo>
                  <a:pt x="144" y="23"/>
                </a:lnTo>
                <a:lnTo>
                  <a:pt x="147" y="24"/>
                </a:lnTo>
                <a:lnTo>
                  <a:pt x="151" y="28"/>
                </a:lnTo>
                <a:lnTo>
                  <a:pt x="152" y="29"/>
                </a:lnTo>
                <a:lnTo>
                  <a:pt x="151" y="32"/>
                </a:lnTo>
                <a:lnTo>
                  <a:pt x="149" y="37"/>
                </a:lnTo>
                <a:lnTo>
                  <a:pt x="149" y="39"/>
                </a:lnTo>
                <a:lnTo>
                  <a:pt x="149" y="41"/>
                </a:lnTo>
                <a:lnTo>
                  <a:pt x="152" y="47"/>
                </a:lnTo>
                <a:lnTo>
                  <a:pt x="152" y="49"/>
                </a:lnTo>
                <a:lnTo>
                  <a:pt x="152" y="51"/>
                </a:lnTo>
                <a:lnTo>
                  <a:pt x="156" y="52"/>
                </a:lnTo>
                <a:lnTo>
                  <a:pt x="157" y="52"/>
                </a:lnTo>
                <a:lnTo>
                  <a:pt x="165" y="52"/>
                </a:lnTo>
                <a:lnTo>
                  <a:pt x="165" y="54"/>
                </a:lnTo>
                <a:lnTo>
                  <a:pt x="164" y="56"/>
                </a:lnTo>
                <a:lnTo>
                  <a:pt x="164" y="57"/>
                </a:lnTo>
                <a:lnTo>
                  <a:pt x="161" y="57"/>
                </a:lnTo>
                <a:lnTo>
                  <a:pt x="158" y="58"/>
                </a:lnTo>
                <a:lnTo>
                  <a:pt x="158" y="59"/>
                </a:lnTo>
                <a:lnTo>
                  <a:pt x="156" y="60"/>
                </a:lnTo>
                <a:lnTo>
                  <a:pt x="154" y="60"/>
                </a:lnTo>
                <a:lnTo>
                  <a:pt x="153" y="62"/>
                </a:lnTo>
                <a:lnTo>
                  <a:pt x="151" y="68"/>
                </a:lnTo>
                <a:lnTo>
                  <a:pt x="149" y="69"/>
                </a:lnTo>
                <a:lnTo>
                  <a:pt x="148" y="69"/>
                </a:lnTo>
                <a:lnTo>
                  <a:pt x="146" y="69"/>
                </a:lnTo>
                <a:lnTo>
                  <a:pt x="145" y="70"/>
                </a:lnTo>
                <a:lnTo>
                  <a:pt x="144" y="71"/>
                </a:lnTo>
                <a:lnTo>
                  <a:pt x="143" y="72"/>
                </a:lnTo>
                <a:lnTo>
                  <a:pt x="141" y="72"/>
                </a:lnTo>
                <a:lnTo>
                  <a:pt x="137" y="74"/>
                </a:lnTo>
                <a:lnTo>
                  <a:pt x="136" y="74"/>
                </a:lnTo>
                <a:lnTo>
                  <a:pt x="134" y="76"/>
                </a:lnTo>
                <a:lnTo>
                  <a:pt x="132" y="77"/>
                </a:lnTo>
                <a:lnTo>
                  <a:pt x="131" y="78"/>
                </a:lnTo>
                <a:lnTo>
                  <a:pt x="128" y="80"/>
                </a:lnTo>
                <a:lnTo>
                  <a:pt x="127" y="81"/>
                </a:lnTo>
                <a:lnTo>
                  <a:pt x="122" y="82"/>
                </a:lnTo>
                <a:lnTo>
                  <a:pt x="117" y="82"/>
                </a:lnTo>
                <a:lnTo>
                  <a:pt x="116" y="81"/>
                </a:lnTo>
                <a:lnTo>
                  <a:pt x="116" y="81"/>
                </a:lnTo>
                <a:lnTo>
                  <a:pt x="112" y="79"/>
                </a:lnTo>
                <a:lnTo>
                  <a:pt x="111" y="78"/>
                </a:lnTo>
                <a:lnTo>
                  <a:pt x="110" y="76"/>
                </a:lnTo>
                <a:lnTo>
                  <a:pt x="110" y="74"/>
                </a:lnTo>
                <a:lnTo>
                  <a:pt x="108" y="71"/>
                </a:lnTo>
                <a:lnTo>
                  <a:pt x="107" y="72"/>
                </a:lnTo>
                <a:lnTo>
                  <a:pt x="104" y="74"/>
                </a:lnTo>
                <a:lnTo>
                  <a:pt x="103" y="64"/>
                </a:lnTo>
                <a:lnTo>
                  <a:pt x="101" y="61"/>
                </a:lnTo>
                <a:lnTo>
                  <a:pt x="98" y="59"/>
                </a:lnTo>
                <a:lnTo>
                  <a:pt x="96" y="59"/>
                </a:lnTo>
                <a:lnTo>
                  <a:pt x="91" y="62"/>
                </a:lnTo>
                <a:lnTo>
                  <a:pt x="90" y="62"/>
                </a:lnTo>
                <a:lnTo>
                  <a:pt x="88" y="60"/>
                </a:lnTo>
                <a:lnTo>
                  <a:pt x="87" y="59"/>
                </a:lnTo>
                <a:lnTo>
                  <a:pt x="86" y="59"/>
                </a:lnTo>
                <a:lnTo>
                  <a:pt x="86" y="61"/>
                </a:lnTo>
                <a:lnTo>
                  <a:pt x="85" y="63"/>
                </a:lnTo>
                <a:lnTo>
                  <a:pt x="84" y="64"/>
                </a:lnTo>
                <a:lnTo>
                  <a:pt x="61" y="64"/>
                </a:lnTo>
                <a:lnTo>
                  <a:pt x="61" y="64"/>
                </a:lnTo>
                <a:lnTo>
                  <a:pt x="61" y="74"/>
                </a:lnTo>
                <a:lnTo>
                  <a:pt x="61" y="74"/>
                </a:lnTo>
                <a:lnTo>
                  <a:pt x="61" y="76"/>
                </a:lnTo>
                <a:lnTo>
                  <a:pt x="62" y="76"/>
                </a:lnTo>
                <a:lnTo>
                  <a:pt x="63" y="78"/>
                </a:lnTo>
                <a:lnTo>
                  <a:pt x="64" y="78"/>
                </a:lnTo>
                <a:lnTo>
                  <a:pt x="65" y="77"/>
                </a:lnTo>
                <a:lnTo>
                  <a:pt x="68" y="77"/>
                </a:lnTo>
                <a:lnTo>
                  <a:pt x="70" y="79"/>
                </a:lnTo>
                <a:lnTo>
                  <a:pt x="70" y="81"/>
                </a:lnTo>
                <a:lnTo>
                  <a:pt x="71" y="84"/>
                </a:lnTo>
                <a:lnTo>
                  <a:pt x="71" y="84"/>
                </a:lnTo>
                <a:lnTo>
                  <a:pt x="70" y="86"/>
                </a:lnTo>
                <a:lnTo>
                  <a:pt x="70" y="84"/>
                </a:lnTo>
                <a:lnTo>
                  <a:pt x="68" y="83"/>
                </a:lnTo>
                <a:lnTo>
                  <a:pt x="65" y="83"/>
                </a:lnTo>
                <a:lnTo>
                  <a:pt x="63" y="84"/>
                </a:lnTo>
                <a:lnTo>
                  <a:pt x="58" y="86"/>
                </a:lnTo>
                <a:lnTo>
                  <a:pt x="56" y="86"/>
                </a:lnTo>
                <a:lnTo>
                  <a:pt x="56" y="99"/>
                </a:lnTo>
                <a:lnTo>
                  <a:pt x="58" y="100"/>
                </a:lnTo>
                <a:lnTo>
                  <a:pt x="62" y="103"/>
                </a:lnTo>
                <a:lnTo>
                  <a:pt x="63" y="106"/>
                </a:lnTo>
                <a:lnTo>
                  <a:pt x="65" y="109"/>
                </a:lnTo>
                <a:lnTo>
                  <a:pt x="67" y="119"/>
                </a:lnTo>
                <a:lnTo>
                  <a:pt x="67" y="121"/>
                </a:lnTo>
                <a:lnTo>
                  <a:pt x="66" y="123"/>
                </a:lnTo>
                <a:lnTo>
                  <a:pt x="64" y="144"/>
                </a:lnTo>
                <a:lnTo>
                  <a:pt x="64" y="145"/>
                </a:lnTo>
                <a:lnTo>
                  <a:pt x="63" y="151"/>
                </a:lnTo>
                <a:lnTo>
                  <a:pt x="62" y="153"/>
                </a:lnTo>
                <a:lnTo>
                  <a:pt x="62" y="158"/>
                </a:lnTo>
                <a:lnTo>
                  <a:pt x="61" y="159"/>
                </a:lnTo>
                <a:lnTo>
                  <a:pt x="61" y="161"/>
                </a:lnTo>
                <a:lnTo>
                  <a:pt x="61" y="167"/>
                </a:lnTo>
                <a:lnTo>
                  <a:pt x="60" y="169"/>
                </a:lnTo>
                <a:lnTo>
                  <a:pt x="60" y="171"/>
                </a:lnTo>
                <a:lnTo>
                  <a:pt x="58" y="171"/>
                </a:lnTo>
                <a:lnTo>
                  <a:pt x="57" y="173"/>
                </a:lnTo>
                <a:lnTo>
                  <a:pt x="51" y="172"/>
                </a:lnTo>
                <a:lnTo>
                  <a:pt x="47" y="174"/>
                </a:lnTo>
                <a:lnTo>
                  <a:pt x="33" y="179"/>
                </a:lnTo>
                <a:lnTo>
                  <a:pt x="27" y="181"/>
                </a:lnTo>
                <a:lnTo>
                  <a:pt x="23" y="185"/>
                </a:lnTo>
                <a:lnTo>
                  <a:pt x="20" y="188"/>
                </a:lnTo>
                <a:lnTo>
                  <a:pt x="15" y="193"/>
                </a:lnTo>
                <a:lnTo>
                  <a:pt x="13" y="198"/>
                </a:lnTo>
                <a:lnTo>
                  <a:pt x="11" y="202"/>
                </a:lnTo>
                <a:lnTo>
                  <a:pt x="11" y="204"/>
                </a:lnTo>
                <a:lnTo>
                  <a:pt x="11" y="214"/>
                </a:lnTo>
                <a:lnTo>
                  <a:pt x="9" y="214"/>
                </a:lnTo>
                <a:lnTo>
                  <a:pt x="5" y="215"/>
                </a:lnTo>
                <a:lnTo>
                  <a:pt x="4" y="218"/>
                </a:lnTo>
                <a:lnTo>
                  <a:pt x="3" y="223"/>
                </a:lnTo>
                <a:lnTo>
                  <a:pt x="0" y="230"/>
                </a:lnTo>
                <a:lnTo>
                  <a:pt x="0" y="231"/>
                </a:lnTo>
                <a:lnTo>
                  <a:pt x="0" y="233"/>
                </a:lnTo>
                <a:lnTo>
                  <a:pt x="3" y="241"/>
                </a:lnTo>
                <a:lnTo>
                  <a:pt x="4" y="244"/>
                </a:lnTo>
                <a:lnTo>
                  <a:pt x="4" y="245"/>
                </a:lnTo>
                <a:lnTo>
                  <a:pt x="7" y="249"/>
                </a:lnTo>
                <a:lnTo>
                  <a:pt x="9" y="252"/>
                </a:lnTo>
                <a:lnTo>
                  <a:pt x="13" y="256"/>
                </a:lnTo>
                <a:lnTo>
                  <a:pt x="15" y="259"/>
                </a:lnTo>
                <a:lnTo>
                  <a:pt x="15" y="261"/>
                </a:lnTo>
                <a:lnTo>
                  <a:pt x="14" y="264"/>
                </a:lnTo>
                <a:lnTo>
                  <a:pt x="14" y="265"/>
                </a:lnTo>
                <a:lnTo>
                  <a:pt x="19" y="266"/>
                </a:lnTo>
                <a:lnTo>
                  <a:pt x="24" y="268"/>
                </a:lnTo>
                <a:lnTo>
                  <a:pt x="25" y="269"/>
                </a:lnTo>
                <a:lnTo>
                  <a:pt x="26" y="270"/>
                </a:lnTo>
                <a:lnTo>
                  <a:pt x="27" y="273"/>
                </a:lnTo>
                <a:lnTo>
                  <a:pt x="29" y="274"/>
                </a:lnTo>
                <a:lnTo>
                  <a:pt x="33" y="276"/>
                </a:lnTo>
                <a:lnTo>
                  <a:pt x="36" y="276"/>
                </a:lnTo>
                <a:lnTo>
                  <a:pt x="40" y="275"/>
                </a:lnTo>
                <a:lnTo>
                  <a:pt x="44" y="273"/>
                </a:lnTo>
                <a:lnTo>
                  <a:pt x="51" y="268"/>
                </a:lnTo>
                <a:lnTo>
                  <a:pt x="53" y="264"/>
                </a:lnTo>
                <a:lnTo>
                  <a:pt x="54" y="264"/>
                </a:lnTo>
                <a:lnTo>
                  <a:pt x="54" y="264"/>
                </a:lnTo>
                <a:lnTo>
                  <a:pt x="55" y="283"/>
                </a:lnTo>
                <a:lnTo>
                  <a:pt x="55" y="283"/>
                </a:lnTo>
                <a:lnTo>
                  <a:pt x="55" y="293"/>
                </a:lnTo>
                <a:lnTo>
                  <a:pt x="56" y="294"/>
                </a:lnTo>
                <a:lnTo>
                  <a:pt x="58" y="295"/>
                </a:lnTo>
                <a:lnTo>
                  <a:pt x="60" y="295"/>
                </a:lnTo>
                <a:lnTo>
                  <a:pt x="62" y="295"/>
                </a:lnTo>
                <a:lnTo>
                  <a:pt x="62" y="295"/>
                </a:lnTo>
                <a:lnTo>
                  <a:pt x="64" y="294"/>
                </a:lnTo>
                <a:lnTo>
                  <a:pt x="68" y="293"/>
                </a:lnTo>
                <a:lnTo>
                  <a:pt x="70" y="293"/>
                </a:lnTo>
                <a:lnTo>
                  <a:pt x="72" y="293"/>
                </a:lnTo>
                <a:lnTo>
                  <a:pt x="77" y="294"/>
                </a:lnTo>
                <a:lnTo>
                  <a:pt x="88" y="295"/>
                </a:lnTo>
                <a:lnTo>
                  <a:pt x="92" y="294"/>
                </a:lnTo>
                <a:lnTo>
                  <a:pt x="93" y="293"/>
                </a:lnTo>
                <a:lnTo>
                  <a:pt x="101" y="290"/>
                </a:lnTo>
                <a:lnTo>
                  <a:pt x="102" y="289"/>
                </a:lnTo>
                <a:lnTo>
                  <a:pt x="110" y="281"/>
                </a:lnTo>
                <a:lnTo>
                  <a:pt x="114" y="274"/>
                </a:lnTo>
                <a:lnTo>
                  <a:pt x="115" y="273"/>
                </a:lnTo>
                <a:lnTo>
                  <a:pt x="120" y="272"/>
                </a:lnTo>
                <a:lnTo>
                  <a:pt x="122" y="272"/>
                </a:lnTo>
                <a:lnTo>
                  <a:pt x="129" y="270"/>
                </a:lnTo>
                <a:lnTo>
                  <a:pt x="135" y="271"/>
                </a:lnTo>
                <a:lnTo>
                  <a:pt x="136" y="272"/>
                </a:lnTo>
                <a:lnTo>
                  <a:pt x="137" y="274"/>
                </a:lnTo>
                <a:lnTo>
                  <a:pt x="138" y="280"/>
                </a:lnTo>
                <a:lnTo>
                  <a:pt x="139" y="290"/>
                </a:lnTo>
                <a:lnTo>
                  <a:pt x="138" y="293"/>
                </a:lnTo>
                <a:lnTo>
                  <a:pt x="137" y="295"/>
                </a:lnTo>
                <a:lnTo>
                  <a:pt x="137" y="298"/>
                </a:lnTo>
                <a:lnTo>
                  <a:pt x="137" y="300"/>
                </a:lnTo>
                <a:lnTo>
                  <a:pt x="139" y="308"/>
                </a:lnTo>
                <a:lnTo>
                  <a:pt x="142" y="311"/>
                </a:lnTo>
                <a:lnTo>
                  <a:pt x="144" y="313"/>
                </a:lnTo>
                <a:lnTo>
                  <a:pt x="153" y="320"/>
                </a:lnTo>
                <a:lnTo>
                  <a:pt x="156" y="321"/>
                </a:lnTo>
                <a:lnTo>
                  <a:pt x="162" y="322"/>
                </a:lnTo>
                <a:lnTo>
                  <a:pt x="167" y="322"/>
                </a:lnTo>
                <a:lnTo>
                  <a:pt x="172" y="323"/>
                </a:lnTo>
                <a:lnTo>
                  <a:pt x="174" y="325"/>
                </a:lnTo>
                <a:lnTo>
                  <a:pt x="174" y="326"/>
                </a:lnTo>
                <a:lnTo>
                  <a:pt x="176" y="329"/>
                </a:lnTo>
                <a:lnTo>
                  <a:pt x="178" y="330"/>
                </a:lnTo>
                <a:lnTo>
                  <a:pt x="190" y="333"/>
                </a:lnTo>
                <a:lnTo>
                  <a:pt x="195" y="337"/>
                </a:lnTo>
                <a:lnTo>
                  <a:pt x="197" y="340"/>
                </a:lnTo>
                <a:lnTo>
                  <a:pt x="199" y="340"/>
                </a:lnTo>
                <a:lnTo>
                  <a:pt x="203" y="339"/>
                </a:lnTo>
                <a:lnTo>
                  <a:pt x="204" y="339"/>
                </a:lnTo>
                <a:lnTo>
                  <a:pt x="207" y="340"/>
                </a:lnTo>
                <a:lnTo>
                  <a:pt x="213" y="343"/>
                </a:lnTo>
                <a:lnTo>
                  <a:pt x="215" y="344"/>
                </a:lnTo>
                <a:lnTo>
                  <a:pt x="217" y="347"/>
                </a:lnTo>
                <a:lnTo>
                  <a:pt x="219" y="353"/>
                </a:lnTo>
                <a:lnTo>
                  <a:pt x="219" y="357"/>
                </a:lnTo>
                <a:lnTo>
                  <a:pt x="220" y="361"/>
                </a:lnTo>
                <a:lnTo>
                  <a:pt x="223" y="362"/>
                </a:lnTo>
                <a:lnTo>
                  <a:pt x="223" y="365"/>
                </a:lnTo>
                <a:lnTo>
                  <a:pt x="222" y="371"/>
                </a:lnTo>
                <a:lnTo>
                  <a:pt x="219" y="371"/>
                </a:lnTo>
                <a:lnTo>
                  <a:pt x="219" y="372"/>
                </a:lnTo>
                <a:lnTo>
                  <a:pt x="220" y="374"/>
                </a:lnTo>
                <a:lnTo>
                  <a:pt x="223" y="379"/>
                </a:lnTo>
                <a:lnTo>
                  <a:pt x="225" y="386"/>
                </a:lnTo>
                <a:lnTo>
                  <a:pt x="227" y="390"/>
                </a:lnTo>
                <a:lnTo>
                  <a:pt x="232" y="390"/>
                </a:lnTo>
                <a:lnTo>
                  <a:pt x="235" y="391"/>
                </a:lnTo>
                <a:lnTo>
                  <a:pt x="238" y="391"/>
                </a:lnTo>
                <a:lnTo>
                  <a:pt x="240" y="391"/>
                </a:lnTo>
                <a:lnTo>
                  <a:pt x="253" y="392"/>
                </a:lnTo>
                <a:lnTo>
                  <a:pt x="254" y="392"/>
                </a:lnTo>
                <a:lnTo>
                  <a:pt x="255" y="393"/>
                </a:lnTo>
                <a:lnTo>
                  <a:pt x="255" y="394"/>
                </a:lnTo>
                <a:lnTo>
                  <a:pt x="255" y="397"/>
                </a:lnTo>
                <a:lnTo>
                  <a:pt x="255" y="400"/>
                </a:lnTo>
                <a:lnTo>
                  <a:pt x="255" y="402"/>
                </a:lnTo>
                <a:lnTo>
                  <a:pt x="256" y="407"/>
                </a:lnTo>
                <a:lnTo>
                  <a:pt x="261" y="410"/>
                </a:lnTo>
                <a:lnTo>
                  <a:pt x="263" y="411"/>
                </a:lnTo>
                <a:lnTo>
                  <a:pt x="264" y="415"/>
                </a:lnTo>
                <a:lnTo>
                  <a:pt x="267" y="421"/>
                </a:lnTo>
                <a:lnTo>
                  <a:pt x="268" y="424"/>
                </a:lnTo>
                <a:lnTo>
                  <a:pt x="269" y="432"/>
                </a:lnTo>
                <a:lnTo>
                  <a:pt x="269" y="442"/>
                </a:lnTo>
                <a:lnTo>
                  <a:pt x="269" y="443"/>
                </a:lnTo>
                <a:lnTo>
                  <a:pt x="268" y="445"/>
                </a:lnTo>
                <a:lnTo>
                  <a:pt x="267" y="450"/>
                </a:lnTo>
                <a:lnTo>
                  <a:pt x="267" y="451"/>
                </a:lnTo>
                <a:lnTo>
                  <a:pt x="267" y="454"/>
                </a:lnTo>
                <a:lnTo>
                  <a:pt x="268" y="455"/>
                </a:lnTo>
                <a:lnTo>
                  <a:pt x="268" y="458"/>
                </a:lnTo>
                <a:lnTo>
                  <a:pt x="268" y="460"/>
                </a:lnTo>
                <a:lnTo>
                  <a:pt x="266" y="460"/>
                </a:lnTo>
                <a:lnTo>
                  <a:pt x="266" y="461"/>
                </a:lnTo>
                <a:lnTo>
                  <a:pt x="265" y="462"/>
                </a:lnTo>
                <a:lnTo>
                  <a:pt x="265" y="463"/>
                </a:lnTo>
                <a:lnTo>
                  <a:pt x="268" y="467"/>
                </a:lnTo>
                <a:lnTo>
                  <a:pt x="268" y="467"/>
                </a:lnTo>
                <a:lnTo>
                  <a:pt x="270" y="483"/>
                </a:lnTo>
                <a:lnTo>
                  <a:pt x="270" y="493"/>
                </a:lnTo>
                <a:lnTo>
                  <a:pt x="273" y="495"/>
                </a:lnTo>
                <a:lnTo>
                  <a:pt x="274" y="496"/>
                </a:lnTo>
                <a:lnTo>
                  <a:pt x="278" y="497"/>
                </a:lnTo>
                <a:lnTo>
                  <a:pt x="280" y="498"/>
                </a:lnTo>
                <a:lnTo>
                  <a:pt x="285" y="500"/>
                </a:lnTo>
                <a:lnTo>
                  <a:pt x="288" y="500"/>
                </a:lnTo>
                <a:lnTo>
                  <a:pt x="293" y="500"/>
                </a:lnTo>
                <a:lnTo>
                  <a:pt x="294" y="498"/>
                </a:lnTo>
                <a:lnTo>
                  <a:pt x="296" y="497"/>
                </a:lnTo>
                <a:lnTo>
                  <a:pt x="298" y="498"/>
                </a:lnTo>
                <a:lnTo>
                  <a:pt x="305" y="501"/>
                </a:lnTo>
                <a:lnTo>
                  <a:pt x="307" y="504"/>
                </a:lnTo>
                <a:lnTo>
                  <a:pt x="307" y="505"/>
                </a:lnTo>
                <a:lnTo>
                  <a:pt x="309" y="513"/>
                </a:lnTo>
                <a:lnTo>
                  <a:pt x="310" y="516"/>
                </a:lnTo>
                <a:lnTo>
                  <a:pt x="310" y="524"/>
                </a:lnTo>
                <a:lnTo>
                  <a:pt x="311" y="525"/>
                </a:lnTo>
                <a:lnTo>
                  <a:pt x="313" y="527"/>
                </a:lnTo>
                <a:lnTo>
                  <a:pt x="315" y="530"/>
                </a:lnTo>
                <a:lnTo>
                  <a:pt x="317" y="530"/>
                </a:lnTo>
                <a:lnTo>
                  <a:pt x="320" y="530"/>
                </a:lnTo>
                <a:lnTo>
                  <a:pt x="321" y="530"/>
                </a:lnTo>
                <a:lnTo>
                  <a:pt x="325" y="530"/>
                </a:lnTo>
                <a:lnTo>
                  <a:pt x="327" y="528"/>
                </a:lnTo>
                <a:lnTo>
                  <a:pt x="329" y="530"/>
                </a:lnTo>
                <a:lnTo>
                  <a:pt x="330" y="533"/>
                </a:lnTo>
                <a:lnTo>
                  <a:pt x="331" y="539"/>
                </a:lnTo>
                <a:lnTo>
                  <a:pt x="331" y="541"/>
                </a:lnTo>
                <a:lnTo>
                  <a:pt x="330" y="546"/>
                </a:lnTo>
                <a:lnTo>
                  <a:pt x="330" y="554"/>
                </a:lnTo>
                <a:lnTo>
                  <a:pt x="330" y="559"/>
                </a:lnTo>
                <a:lnTo>
                  <a:pt x="332" y="559"/>
                </a:lnTo>
                <a:lnTo>
                  <a:pt x="334" y="559"/>
                </a:lnTo>
                <a:lnTo>
                  <a:pt x="338" y="559"/>
                </a:lnTo>
                <a:lnTo>
                  <a:pt x="340" y="562"/>
                </a:lnTo>
                <a:lnTo>
                  <a:pt x="346" y="573"/>
                </a:lnTo>
                <a:lnTo>
                  <a:pt x="347" y="583"/>
                </a:lnTo>
                <a:lnTo>
                  <a:pt x="346" y="586"/>
                </a:lnTo>
                <a:lnTo>
                  <a:pt x="346" y="587"/>
                </a:lnTo>
                <a:lnTo>
                  <a:pt x="345" y="588"/>
                </a:lnTo>
                <a:lnTo>
                  <a:pt x="339" y="593"/>
                </a:lnTo>
                <a:lnTo>
                  <a:pt x="337" y="594"/>
                </a:lnTo>
                <a:lnTo>
                  <a:pt x="334" y="594"/>
                </a:lnTo>
                <a:lnTo>
                  <a:pt x="331" y="595"/>
                </a:lnTo>
                <a:lnTo>
                  <a:pt x="329" y="598"/>
                </a:lnTo>
                <a:lnTo>
                  <a:pt x="327" y="602"/>
                </a:lnTo>
                <a:lnTo>
                  <a:pt x="316" y="613"/>
                </a:lnTo>
                <a:lnTo>
                  <a:pt x="316" y="614"/>
                </a:lnTo>
                <a:lnTo>
                  <a:pt x="315" y="616"/>
                </a:lnTo>
                <a:lnTo>
                  <a:pt x="310" y="624"/>
                </a:lnTo>
                <a:lnTo>
                  <a:pt x="310" y="625"/>
                </a:lnTo>
                <a:lnTo>
                  <a:pt x="306" y="631"/>
                </a:lnTo>
                <a:lnTo>
                  <a:pt x="303" y="635"/>
                </a:lnTo>
                <a:lnTo>
                  <a:pt x="300" y="637"/>
                </a:lnTo>
                <a:lnTo>
                  <a:pt x="298" y="639"/>
                </a:lnTo>
                <a:lnTo>
                  <a:pt x="298" y="640"/>
                </a:lnTo>
                <a:lnTo>
                  <a:pt x="296" y="643"/>
                </a:lnTo>
                <a:lnTo>
                  <a:pt x="294" y="645"/>
                </a:lnTo>
                <a:lnTo>
                  <a:pt x="298" y="645"/>
                </a:lnTo>
                <a:lnTo>
                  <a:pt x="300" y="644"/>
                </a:lnTo>
                <a:lnTo>
                  <a:pt x="301" y="643"/>
                </a:lnTo>
                <a:lnTo>
                  <a:pt x="303" y="642"/>
                </a:lnTo>
                <a:lnTo>
                  <a:pt x="304" y="642"/>
                </a:lnTo>
                <a:lnTo>
                  <a:pt x="306" y="643"/>
                </a:lnTo>
                <a:lnTo>
                  <a:pt x="310" y="645"/>
                </a:lnTo>
                <a:lnTo>
                  <a:pt x="311" y="647"/>
                </a:lnTo>
                <a:lnTo>
                  <a:pt x="315" y="649"/>
                </a:lnTo>
                <a:lnTo>
                  <a:pt x="317" y="652"/>
                </a:lnTo>
                <a:lnTo>
                  <a:pt x="319" y="656"/>
                </a:lnTo>
                <a:lnTo>
                  <a:pt x="320" y="658"/>
                </a:lnTo>
                <a:lnTo>
                  <a:pt x="323" y="659"/>
                </a:lnTo>
                <a:lnTo>
                  <a:pt x="324" y="658"/>
                </a:lnTo>
                <a:lnTo>
                  <a:pt x="327" y="655"/>
                </a:lnTo>
                <a:lnTo>
                  <a:pt x="328" y="656"/>
                </a:lnTo>
                <a:lnTo>
                  <a:pt x="329" y="657"/>
                </a:lnTo>
                <a:lnTo>
                  <a:pt x="331" y="660"/>
                </a:lnTo>
                <a:lnTo>
                  <a:pt x="334" y="663"/>
                </a:lnTo>
                <a:lnTo>
                  <a:pt x="335" y="664"/>
                </a:lnTo>
                <a:lnTo>
                  <a:pt x="336" y="664"/>
                </a:lnTo>
                <a:lnTo>
                  <a:pt x="338" y="664"/>
                </a:lnTo>
                <a:lnTo>
                  <a:pt x="340" y="666"/>
                </a:lnTo>
                <a:lnTo>
                  <a:pt x="344" y="667"/>
                </a:lnTo>
                <a:lnTo>
                  <a:pt x="345" y="667"/>
                </a:lnTo>
                <a:lnTo>
                  <a:pt x="347" y="670"/>
                </a:lnTo>
                <a:lnTo>
                  <a:pt x="349" y="673"/>
                </a:lnTo>
                <a:lnTo>
                  <a:pt x="351" y="674"/>
                </a:lnTo>
                <a:lnTo>
                  <a:pt x="352" y="674"/>
                </a:lnTo>
                <a:lnTo>
                  <a:pt x="357" y="676"/>
                </a:lnTo>
                <a:lnTo>
                  <a:pt x="359" y="678"/>
                </a:lnTo>
                <a:lnTo>
                  <a:pt x="360" y="683"/>
                </a:lnTo>
                <a:lnTo>
                  <a:pt x="361" y="684"/>
                </a:lnTo>
                <a:lnTo>
                  <a:pt x="368" y="688"/>
                </a:lnTo>
                <a:lnTo>
                  <a:pt x="370" y="690"/>
                </a:lnTo>
                <a:lnTo>
                  <a:pt x="370" y="692"/>
                </a:lnTo>
                <a:lnTo>
                  <a:pt x="368" y="692"/>
                </a:lnTo>
                <a:lnTo>
                  <a:pt x="368" y="694"/>
                </a:lnTo>
                <a:lnTo>
                  <a:pt x="367" y="694"/>
                </a:lnTo>
                <a:lnTo>
                  <a:pt x="366" y="696"/>
                </a:lnTo>
                <a:lnTo>
                  <a:pt x="366" y="698"/>
                </a:lnTo>
                <a:lnTo>
                  <a:pt x="367" y="703"/>
                </a:lnTo>
                <a:lnTo>
                  <a:pt x="367" y="706"/>
                </a:lnTo>
                <a:lnTo>
                  <a:pt x="367" y="707"/>
                </a:lnTo>
                <a:lnTo>
                  <a:pt x="368" y="708"/>
                </a:lnTo>
                <a:lnTo>
                  <a:pt x="368" y="707"/>
                </a:lnTo>
                <a:lnTo>
                  <a:pt x="369" y="706"/>
                </a:lnTo>
                <a:lnTo>
                  <a:pt x="371" y="705"/>
                </a:lnTo>
                <a:lnTo>
                  <a:pt x="375" y="702"/>
                </a:lnTo>
                <a:lnTo>
                  <a:pt x="377" y="696"/>
                </a:lnTo>
                <a:lnTo>
                  <a:pt x="379" y="693"/>
                </a:lnTo>
                <a:lnTo>
                  <a:pt x="380" y="685"/>
                </a:lnTo>
                <a:lnTo>
                  <a:pt x="381" y="683"/>
                </a:lnTo>
                <a:lnTo>
                  <a:pt x="385" y="678"/>
                </a:lnTo>
                <a:lnTo>
                  <a:pt x="386" y="677"/>
                </a:lnTo>
                <a:lnTo>
                  <a:pt x="391" y="673"/>
                </a:lnTo>
                <a:lnTo>
                  <a:pt x="394" y="672"/>
                </a:lnTo>
                <a:lnTo>
                  <a:pt x="396" y="669"/>
                </a:lnTo>
                <a:lnTo>
                  <a:pt x="397" y="667"/>
                </a:lnTo>
                <a:lnTo>
                  <a:pt x="398" y="666"/>
                </a:lnTo>
                <a:lnTo>
                  <a:pt x="399" y="663"/>
                </a:lnTo>
                <a:lnTo>
                  <a:pt x="402" y="657"/>
                </a:lnTo>
                <a:lnTo>
                  <a:pt x="404" y="654"/>
                </a:lnTo>
                <a:lnTo>
                  <a:pt x="407" y="649"/>
                </a:lnTo>
                <a:lnTo>
                  <a:pt x="407" y="643"/>
                </a:lnTo>
                <a:lnTo>
                  <a:pt x="409" y="635"/>
                </a:lnTo>
                <a:lnTo>
                  <a:pt x="410" y="633"/>
                </a:lnTo>
                <a:lnTo>
                  <a:pt x="411" y="629"/>
                </a:lnTo>
                <a:lnTo>
                  <a:pt x="412" y="627"/>
                </a:lnTo>
                <a:lnTo>
                  <a:pt x="413" y="626"/>
                </a:lnTo>
                <a:lnTo>
                  <a:pt x="418" y="619"/>
                </a:lnTo>
                <a:lnTo>
                  <a:pt x="419" y="618"/>
                </a:lnTo>
                <a:lnTo>
                  <a:pt x="421" y="617"/>
                </a:lnTo>
                <a:lnTo>
                  <a:pt x="423" y="616"/>
                </a:lnTo>
                <a:lnTo>
                  <a:pt x="425" y="612"/>
                </a:lnTo>
                <a:lnTo>
                  <a:pt x="427" y="609"/>
                </a:lnTo>
                <a:lnTo>
                  <a:pt x="427" y="603"/>
                </a:lnTo>
                <a:lnTo>
                  <a:pt x="426" y="592"/>
                </a:lnTo>
                <a:lnTo>
                  <a:pt x="427" y="591"/>
                </a:lnTo>
                <a:lnTo>
                  <a:pt x="429" y="591"/>
                </a:lnTo>
                <a:lnTo>
                  <a:pt x="429" y="589"/>
                </a:lnTo>
                <a:lnTo>
                  <a:pt x="428" y="588"/>
                </a:lnTo>
                <a:lnTo>
                  <a:pt x="426" y="585"/>
                </a:lnTo>
                <a:lnTo>
                  <a:pt x="425" y="585"/>
                </a:lnTo>
                <a:lnTo>
                  <a:pt x="425" y="581"/>
                </a:lnTo>
                <a:lnTo>
                  <a:pt x="423" y="579"/>
                </a:lnTo>
                <a:lnTo>
                  <a:pt x="423" y="575"/>
                </a:lnTo>
                <a:lnTo>
                  <a:pt x="422" y="573"/>
                </a:lnTo>
                <a:lnTo>
                  <a:pt x="422" y="571"/>
                </a:lnTo>
                <a:lnTo>
                  <a:pt x="422" y="569"/>
                </a:lnTo>
                <a:lnTo>
                  <a:pt x="423" y="567"/>
                </a:lnTo>
                <a:lnTo>
                  <a:pt x="423" y="564"/>
                </a:lnTo>
                <a:lnTo>
                  <a:pt x="426" y="559"/>
                </a:lnTo>
                <a:lnTo>
                  <a:pt x="427" y="557"/>
                </a:lnTo>
                <a:lnTo>
                  <a:pt x="430" y="554"/>
                </a:lnTo>
                <a:lnTo>
                  <a:pt x="436" y="547"/>
                </a:lnTo>
                <a:lnTo>
                  <a:pt x="436" y="547"/>
                </a:lnTo>
                <a:lnTo>
                  <a:pt x="437" y="546"/>
                </a:lnTo>
                <a:lnTo>
                  <a:pt x="439" y="543"/>
                </a:lnTo>
                <a:lnTo>
                  <a:pt x="443" y="541"/>
                </a:lnTo>
                <a:lnTo>
                  <a:pt x="445" y="538"/>
                </a:lnTo>
                <a:lnTo>
                  <a:pt x="447" y="536"/>
                </a:lnTo>
                <a:lnTo>
                  <a:pt x="450" y="533"/>
                </a:lnTo>
                <a:lnTo>
                  <a:pt x="455" y="530"/>
                </a:lnTo>
                <a:lnTo>
                  <a:pt x="457" y="530"/>
                </a:lnTo>
                <a:lnTo>
                  <a:pt x="458" y="530"/>
                </a:lnTo>
                <a:lnTo>
                  <a:pt x="460" y="527"/>
                </a:lnTo>
                <a:lnTo>
                  <a:pt x="463" y="526"/>
                </a:lnTo>
                <a:lnTo>
                  <a:pt x="468" y="526"/>
                </a:lnTo>
                <a:lnTo>
                  <a:pt x="471" y="523"/>
                </a:lnTo>
                <a:lnTo>
                  <a:pt x="472" y="523"/>
                </a:lnTo>
                <a:lnTo>
                  <a:pt x="475" y="520"/>
                </a:lnTo>
                <a:lnTo>
                  <a:pt x="476" y="518"/>
                </a:lnTo>
                <a:lnTo>
                  <a:pt x="479" y="517"/>
                </a:lnTo>
                <a:lnTo>
                  <a:pt x="481" y="517"/>
                </a:lnTo>
                <a:lnTo>
                  <a:pt x="482" y="517"/>
                </a:lnTo>
                <a:lnTo>
                  <a:pt x="481" y="516"/>
                </a:lnTo>
                <a:lnTo>
                  <a:pt x="480" y="515"/>
                </a:lnTo>
                <a:lnTo>
                  <a:pt x="480" y="514"/>
                </a:lnTo>
                <a:lnTo>
                  <a:pt x="482" y="512"/>
                </a:lnTo>
                <a:lnTo>
                  <a:pt x="483" y="512"/>
                </a:lnTo>
                <a:lnTo>
                  <a:pt x="483" y="512"/>
                </a:lnTo>
                <a:lnTo>
                  <a:pt x="483" y="513"/>
                </a:lnTo>
                <a:lnTo>
                  <a:pt x="486" y="513"/>
                </a:lnTo>
                <a:lnTo>
                  <a:pt x="492" y="511"/>
                </a:lnTo>
                <a:lnTo>
                  <a:pt x="493" y="511"/>
                </a:lnTo>
                <a:lnTo>
                  <a:pt x="494" y="512"/>
                </a:lnTo>
                <a:lnTo>
                  <a:pt x="498" y="512"/>
                </a:lnTo>
                <a:lnTo>
                  <a:pt x="502" y="511"/>
                </a:lnTo>
                <a:lnTo>
                  <a:pt x="504" y="511"/>
                </a:lnTo>
                <a:lnTo>
                  <a:pt x="506" y="511"/>
                </a:lnTo>
                <a:lnTo>
                  <a:pt x="509" y="512"/>
                </a:lnTo>
                <a:lnTo>
                  <a:pt x="512" y="512"/>
                </a:lnTo>
                <a:lnTo>
                  <a:pt x="519" y="511"/>
                </a:lnTo>
                <a:lnTo>
                  <a:pt x="520" y="510"/>
                </a:lnTo>
                <a:lnTo>
                  <a:pt x="521" y="507"/>
                </a:lnTo>
                <a:lnTo>
                  <a:pt x="521" y="504"/>
                </a:lnTo>
                <a:lnTo>
                  <a:pt x="523" y="501"/>
                </a:lnTo>
                <a:lnTo>
                  <a:pt x="526" y="500"/>
                </a:lnTo>
                <a:lnTo>
                  <a:pt x="531" y="497"/>
                </a:lnTo>
                <a:lnTo>
                  <a:pt x="533" y="494"/>
                </a:lnTo>
                <a:lnTo>
                  <a:pt x="534" y="492"/>
                </a:lnTo>
                <a:lnTo>
                  <a:pt x="534" y="490"/>
                </a:lnTo>
                <a:lnTo>
                  <a:pt x="534" y="485"/>
                </a:lnTo>
                <a:lnTo>
                  <a:pt x="536" y="481"/>
                </a:lnTo>
                <a:lnTo>
                  <a:pt x="538" y="476"/>
                </a:lnTo>
                <a:lnTo>
                  <a:pt x="543" y="470"/>
                </a:lnTo>
                <a:lnTo>
                  <a:pt x="546" y="465"/>
                </a:lnTo>
                <a:lnTo>
                  <a:pt x="548" y="456"/>
                </a:lnTo>
                <a:lnTo>
                  <a:pt x="551" y="451"/>
                </a:lnTo>
                <a:lnTo>
                  <a:pt x="552" y="448"/>
                </a:lnTo>
                <a:lnTo>
                  <a:pt x="553" y="440"/>
                </a:lnTo>
                <a:lnTo>
                  <a:pt x="552" y="434"/>
                </a:lnTo>
                <a:lnTo>
                  <a:pt x="553" y="430"/>
                </a:lnTo>
                <a:lnTo>
                  <a:pt x="553" y="425"/>
                </a:lnTo>
                <a:lnTo>
                  <a:pt x="556" y="423"/>
                </a:lnTo>
                <a:lnTo>
                  <a:pt x="559" y="417"/>
                </a:lnTo>
                <a:lnTo>
                  <a:pt x="559" y="415"/>
                </a:lnTo>
                <a:lnTo>
                  <a:pt x="559" y="411"/>
                </a:lnTo>
                <a:lnTo>
                  <a:pt x="560" y="399"/>
                </a:lnTo>
                <a:lnTo>
                  <a:pt x="560" y="396"/>
                </a:lnTo>
                <a:lnTo>
                  <a:pt x="561" y="387"/>
                </a:lnTo>
                <a:lnTo>
                  <a:pt x="562" y="382"/>
                </a:lnTo>
                <a:lnTo>
                  <a:pt x="561" y="379"/>
                </a:lnTo>
                <a:lnTo>
                  <a:pt x="560" y="375"/>
                </a:lnTo>
                <a:lnTo>
                  <a:pt x="560" y="367"/>
                </a:lnTo>
                <a:lnTo>
                  <a:pt x="559" y="364"/>
                </a:lnTo>
                <a:lnTo>
                  <a:pt x="559" y="357"/>
                </a:lnTo>
                <a:lnTo>
                  <a:pt x="559" y="349"/>
                </a:lnTo>
                <a:lnTo>
                  <a:pt x="560" y="343"/>
                </a:lnTo>
                <a:lnTo>
                  <a:pt x="560" y="339"/>
                </a:lnTo>
                <a:lnTo>
                  <a:pt x="560" y="334"/>
                </a:lnTo>
                <a:lnTo>
                  <a:pt x="561" y="334"/>
                </a:lnTo>
                <a:lnTo>
                  <a:pt x="563" y="331"/>
                </a:lnTo>
                <a:lnTo>
                  <a:pt x="564" y="330"/>
                </a:lnTo>
                <a:lnTo>
                  <a:pt x="568" y="331"/>
                </a:lnTo>
                <a:lnTo>
                  <a:pt x="568" y="331"/>
                </a:lnTo>
                <a:lnTo>
                  <a:pt x="572" y="326"/>
                </a:lnTo>
                <a:lnTo>
                  <a:pt x="575" y="322"/>
                </a:lnTo>
                <a:lnTo>
                  <a:pt x="579" y="314"/>
                </a:lnTo>
                <a:lnTo>
                  <a:pt x="580" y="309"/>
                </a:lnTo>
                <a:lnTo>
                  <a:pt x="582" y="304"/>
                </a:lnTo>
                <a:lnTo>
                  <a:pt x="584" y="300"/>
                </a:lnTo>
                <a:lnTo>
                  <a:pt x="589" y="295"/>
                </a:lnTo>
                <a:lnTo>
                  <a:pt x="590" y="293"/>
                </a:lnTo>
                <a:lnTo>
                  <a:pt x="593" y="290"/>
                </a:lnTo>
                <a:lnTo>
                  <a:pt x="599" y="286"/>
                </a:lnTo>
                <a:lnTo>
                  <a:pt x="601" y="284"/>
                </a:lnTo>
                <a:lnTo>
                  <a:pt x="603" y="280"/>
                </a:lnTo>
                <a:lnTo>
                  <a:pt x="607" y="274"/>
                </a:lnTo>
                <a:lnTo>
                  <a:pt x="612" y="268"/>
                </a:lnTo>
                <a:lnTo>
                  <a:pt x="617" y="260"/>
                </a:lnTo>
                <a:lnTo>
                  <a:pt x="618" y="259"/>
                </a:lnTo>
                <a:lnTo>
                  <a:pt x="619" y="255"/>
                </a:lnTo>
                <a:lnTo>
                  <a:pt x="619" y="255"/>
                </a:lnTo>
                <a:lnTo>
                  <a:pt x="622" y="241"/>
                </a:lnTo>
                <a:lnTo>
                  <a:pt x="622" y="236"/>
                </a:lnTo>
                <a:lnTo>
                  <a:pt x="622" y="224"/>
                </a:lnTo>
                <a:lnTo>
                  <a:pt x="622" y="217"/>
                </a:lnTo>
                <a:lnTo>
                  <a:pt x="620" y="210"/>
                </a:lnTo>
                <a:lnTo>
                  <a:pt x="618" y="200"/>
                </a:lnTo>
                <a:lnTo>
                  <a:pt x="615" y="194"/>
                </a:lnTo>
                <a:lnTo>
                  <a:pt x="612" y="190"/>
                </a:lnTo>
                <a:lnTo>
                  <a:pt x="610" y="189"/>
                </a:lnTo>
                <a:lnTo>
                  <a:pt x="595" y="189"/>
                </a:lnTo>
                <a:lnTo>
                  <a:pt x="594" y="189"/>
                </a:lnTo>
                <a:lnTo>
                  <a:pt x="592" y="188"/>
                </a:lnTo>
                <a:lnTo>
                  <a:pt x="591" y="188"/>
                </a:lnTo>
                <a:lnTo>
                  <a:pt x="589" y="187"/>
                </a:lnTo>
                <a:lnTo>
                  <a:pt x="587" y="187"/>
                </a:lnTo>
                <a:lnTo>
                  <a:pt x="585" y="184"/>
                </a:lnTo>
                <a:lnTo>
                  <a:pt x="582" y="181"/>
                </a:lnTo>
                <a:lnTo>
                  <a:pt x="581" y="180"/>
                </a:lnTo>
                <a:lnTo>
                  <a:pt x="578" y="179"/>
                </a:lnTo>
                <a:lnTo>
                  <a:pt x="574" y="175"/>
                </a:lnTo>
                <a:lnTo>
                  <a:pt x="566" y="165"/>
                </a:lnTo>
                <a:lnTo>
                  <a:pt x="561" y="162"/>
                </a:lnTo>
                <a:lnTo>
                  <a:pt x="557" y="159"/>
                </a:lnTo>
                <a:lnTo>
                  <a:pt x="552" y="155"/>
                </a:lnTo>
                <a:lnTo>
                  <a:pt x="548" y="152"/>
                </a:lnTo>
                <a:lnTo>
                  <a:pt x="544" y="150"/>
                </a:lnTo>
                <a:lnTo>
                  <a:pt x="541" y="149"/>
                </a:lnTo>
                <a:lnTo>
                  <a:pt x="526" y="149"/>
                </a:lnTo>
                <a:lnTo>
                  <a:pt x="523" y="149"/>
                </a:lnTo>
                <a:lnTo>
                  <a:pt x="521" y="149"/>
                </a:lnTo>
                <a:lnTo>
                  <a:pt x="512" y="149"/>
                </a:lnTo>
                <a:lnTo>
                  <a:pt x="509" y="148"/>
                </a:lnTo>
                <a:lnTo>
                  <a:pt x="503" y="147"/>
                </a:lnTo>
                <a:lnTo>
                  <a:pt x="488" y="140"/>
                </a:lnTo>
                <a:lnTo>
                  <a:pt x="485" y="141"/>
                </a:lnTo>
                <a:lnTo>
                  <a:pt x="485" y="140"/>
                </a:lnTo>
                <a:lnTo>
                  <a:pt x="482" y="138"/>
                </a:lnTo>
                <a:lnTo>
                  <a:pt x="480" y="139"/>
                </a:lnTo>
                <a:lnTo>
                  <a:pt x="478" y="141"/>
                </a:lnTo>
                <a:lnTo>
                  <a:pt x="476" y="142"/>
                </a:lnTo>
                <a:lnTo>
                  <a:pt x="471" y="144"/>
                </a:lnTo>
                <a:lnTo>
                  <a:pt x="468" y="144"/>
                </a:lnTo>
                <a:lnTo>
                  <a:pt x="468" y="143"/>
                </a:lnTo>
                <a:lnTo>
                  <a:pt x="469" y="141"/>
                </a:lnTo>
                <a:lnTo>
                  <a:pt x="470" y="139"/>
                </a:lnTo>
                <a:lnTo>
                  <a:pt x="470" y="138"/>
                </a:lnTo>
                <a:lnTo>
                  <a:pt x="470" y="135"/>
                </a:lnTo>
                <a:lnTo>
                  <a:pt x="468" y="134"/>
                </a:lnTo>
                <a:lnTo>
                  <a:pt x="468" y="134"/>
                </a:lnTo>
                <a:lnTo>
                  <a:pt x="467" y="135"/>
                </a:lnTo>
                <a:lnTo>
                  <a:pt x="466" y="135"/>
                </a:lnTo>
                <a:lnTo>
                  <a:pt x="465" y="134"/>
                </a:lnTo>
                <a:lnTo>
                  <a:pt x="465" y="133"/>
                </a:lnTo>
                <a:lnTo>
                  <a:pt x="467" y="133"/>
                </a:lnTo>
                <a:lnTo>
                  <a:pt x="467" y="130"/>
                </a:lnTo>
                <a:lnTo>
                  <a:pt x="465" y="125"/>
                </a:lnTo>
                <a:lnTo>
                  <a:pt x="461" y="122"/>
                </a:lnTo>
                <a:lnTo>
                  <a:pt x="459" y="123"/>
                </a:lnTo>
                <a:lnTo>
                  <a:pt x="458" y="123"/>
                </a:lnTo>
                <a:lnTo>
                  <a:pt x="456" y="125"/>
                </a:lnTo>
                <a:lnTo>
                  <a:pt x="455" y="127"/>
                </a:lnTo>
                <a:lnTo>
                  <a:pt x="455" y="123"/>
                </a:lnTo>
                <a:lnTo>
                  <a:pt x="453" y="121"/>
                </a:lnTo>
                <a:lnTo>
                  <a:pt x="452" y="119"/>
                </a:lnTo>
                <a:lnTo>
                  <a:pt x="448" y="118"/>
                </a:lnTo>
                <a:lnTo>
                  <a:pt x="445" y="116"/>
                </a:lnTo>
                <a:lnTo>
                  <a:pt x="442" y="116"/>
                </a:lnTo>
                <a:lnTo>
                  <a:pt x="440" y="113"/>
                </a:lnTo>
                <a:lnTo>
                  <a:pt x="436" y="113"/>
                </a:lnTo>
                <a:lnTo>
                  <a:pt x="435" y="113"/>
                </a:lnTo>
                <a:lnTo>
                  <a:pt x="426" y="108"/>
                </a:lnTo>
                <a:lnTo>
                  <a:pt x="422" y="107"/>
                </a:lnTo>
                <a:lnTo>
                  <a:pt x="413" y="107"/>
                </a:lnTo>
                <a:lnTo>
                  <a:pt x="411" y="109"/>
                </a:lnTo>
                <a:lnTo>
                  <a:pt x="409" y="113"/>
                </a:lnTo>
                <a:lnTo>
                  <a:pt x="407" y="114"/>
                </a:lnTo>
                <a:lnTo>
                  <a:pt x="406" y="118"/>
                </a:lnTo>
                <a:lnTo>
                  <a:pt x="406" y="120"/>
                </a:lnTo>
                <a:lnTo>
                  <a:pt x="404" y="122"/>
                </a:lnTo>
                <a:lnTo>
                  <a:pt x="401" y="122"/>
                </a:lnTo>
                <a:lnTo>
                  <a:pt x="399" y="123"/>
                </a:lnTo>
                <a:lnTo>
                  <a:pt x="398" y="124"/>
                </a:lnTo>
                <a:lnTo>
                  <a:pt x="396" y="125"/>
                </a:lnTo>
                <a:lnTo>
                  <a:pt x="395" y="132"/>
                </a:lnTo>
                <a:lnTo>
                  <a:pt x="394" y="134"/>
                </a:lnTo>
                <a:lnTo>
                  <a:pt x="392" y="135"/>
                </a:lnTo>
                <a:lnTo>
                  <a:pt x="392" y="137"/>
                </a:lnTo>
                <a:lnTo>
                  <a:pt x="391" y="140"/>
                </a:lnTo>
                <a:lnTo>
                  <a:pt x="390" y="140"/>
                </a:lnTo>
                <a:lnTo>
                  <a:pt x="390" y="140"/>
                </a:lnTo>
                <a:lnTo>
                  <a:pt x="389" y="138"/>
                </a:lnTo>
                <a:lnTo>
                  <a:pt x="389" y="134"/>
                </a:lnTo>
                <a:lnTo>
                  <a:pt x="390" y="129"/>
                </a:lnTo>
                <a:lnTo>
                  <a:pt x="389" y="129"/>
                </a:lnTo>
                <a:lnTo>
                  <a:pt x="387" y="129"/>
                </a:lnTo>
                <a:lnTo>
                  <a:pt x="385" y="130"/>
                </a:lnTo>
                <a:lnTo>
                  <a:pt x="382" y="130"/>
                </a:lnTo>
                <a:lnTo>
                  <a:pt x="376" y="130"/>
                </a:lnTo>
                <a:lnTo>
                  <a:pt x="374" y="130"/>
                </a:lnTo>
                <a:lnTo>
                  <a:pt x="372" y="130"/>
                </a:lnTo>
                <a:lnTo>
                  <a:pt x="371" y="130"/>
                </a:lnTo>
                <a:lnTo>
                  <a:pt x="370" y="130"/>
                </a:lnTo>
                <a:lnTo>
                  <a:pt x="369" y="130"/>
                </a:lnTo>
                <a:lnTo>
                  <a:pt x="365" y="131"/>
                </a:lnTo>
                <a:lnTo>
                  <a:pt x="362" y="131"/>
                </a:lnTo>
                <a:lnTo>
                  <a:pt x="359" y="130"/>
                </a:lnTo>
                <a:lnTo>
                  <a:pt x="358" y="130"/>
                </a:lnTo>
                <a:lnTo>
                  <a:pt x="357" y="130"/>
                </a:lnTo>
                <a:lnTo>
                  <a:pt x="357" y="133"/>
                </a:lnTo>
                <a:lnTo>
                  <a:pt x="356" y="133"/>
                </a:lnTo>
                <a:lnTo>
                  <a:pt x="356" y="133"/>
                </a:lnTo>
                <a:lnTo>
                  <a:pt x="355" y="130"/>
                </a:lnTo>
                <a:lnTo>
                  <a:pt x="356" y="130"/>
                </a:lnTo>
                <a:lnTo>
                  <a:pt x="357" y="128"/>
                </a:lnTo>
                <a:lnTo>
                  <a:pt x="359" y="128"/>
                </a:lnTo>
                <a:lnTo>
                  <a:pt x="361" y="129"/>
                </a:lnTo>
                <a:lnTo>
                  <a:pt x="365" y="129"/>
                </a:lnTo>
                <a:lnTo>
                  <a:pt x="368" y="128"/>
                </a:lnTo>
                <a:lnTo>
                  <a:pt x="369" y="127"/>
                </a:lnTo>
                <a:lnTo>
                  <a:pt x="369" y="127"/>
                </a:lnTo>
                <a:lnTo>
                  <a:pt x="369" y="119"/>
                </a:lnTo>
                <a:lnTo>
                  <a:pt x="369" y="118"/>
                </a:lnTo>
                <a:lnTo>
                  <a:pt x="367" y="118"/>
                </a:lnTo>
                <a:lnTo>
                  <a:pt x="366" y="117"/>
                </a:lnTo>
                <a:lnTo>
                  <a:pt x="365" y="116"/>
                </a:lnTo>
                <a:lnTo>
                  <a:pt x="365" y="116"/>
                </a:lnTo>
                <a:lnTo>
                  <a:pt x="365" y="114"/>
                </a:lnTo>
                <a:lnTo>
                  <a:pt x="366" y="113"/>
                </a:lnTo>
                <a:lnTo>
                  <a:pt x="367" y="112"/>
                </a:lnTo>
                <a:lnTo>
                  <a:pt x="367" y="110"/>
                </a:lnTo>
                <a:lnTo>
                  <a:pt x="366" y="110"/>
                </a:lnTo>
                <a:lnTo>
                  <a:pt x="365" y="111"/>
                </a:lnTo>
                <a:lnTo>
                  <a:pt x="364" y="111"/>
                </a:lnTo>
                <a:lnTo>
                  <a:pt x="362" y="113"/>
                </a:lnTo>
                <a:lnTo>
                  <a:pt x="361" y="117"/>
                </a:lnTo>
                <a:lnTo>
                  <a:pt x="358" y="117"/>
                </a:lnTo>
                <a:lnTo>
                  <a:pt x="358" y="116"/>
                </a:lnTo>
                <a:lnTo>
                  <a:pt x="358" y="114"/>
                </a:lnTo>
                <a:lnTo>
                  <a:pt x="358" y="109"/>
                </a:lnTo>
                <a:lnTo>
                  <a:pt x="357" y="107"/>
                </a:lnTo>
                <a:lnTo>
                  <a:pt x="357" y="103"/>
                </a:lnTo>
                <a:lnTo>
                  <a:pt x="357" y="102"/>
                </a:lnTo>
                <a:lnTo>
                  <a:pt x="359" y="100"/>
                </a:lnTo>
                <a:lnTo>
                  <a:pt x="360" y="98"/>
                </a:lnTo>
                <a:lnTo>
                  <a:pt x="362" y="94"/>
                </a:lnTo>
                <a:lnTo>
                  <a:pt x="367" y="90"/>
                </a:lnTo>
                <a:lnTo>
                  <a:pt x="372" y="86"/>
                </a:lnTo>
                <a:lnTo>
                  <a:pt x="375" y="81"/>
                </a:lnTo>
                <a:lnTo>
                  <a:pt x="376" y="80"/>
                </a:lnTo>
                <a:lnTo>
                  <a:pt x="378" y="78"/>
                </a:lnTo>
                <a:lnTo>
                  <a:pt x="379" y="74"/>
                </a:lnTo>
                <a:lnTo>
                  <a:pt x="379" y="73"/>
                </a:lnTo>
                <a:lnTo>
                  <a:pt x="380" y="67"/>
                </a:lnTo>
                <a:lnTo>
                  <a:pt x="380" y="66"/>
                </a:lnTo>
                <a:lnTo>
                  <a:pt x="379" y="64"/>
                </a:lnTo>
                <a:lnTo>
                  <a:pt x="377" y="64"/>
                </a:lnTo>
                <a:lnTo>
                  <a:pt x="372" y="62"/>
                </a:lnTo>
                <a:lnTo>
                  <a:pt x="371" y="59"/>
                </a:lnTo>
                <a:lnTo>
                  <a:pt x="369" y="51"/>
                </a:lnTo>
                <a:lnTo>
                  <a:pt x="369" y="50"/>
                </a:lnTo>
                <a:lnTo>
                  <a:pt x="368" y="47"/>
                </a:lnTo>
                <a:lnTo>
                  <a:pt x="367" y="43"/>
                </a:lnTo>
                <a:lnTo>
                  <a:pt x="366" y="39"/>
                </a:lnTo>
                <a:lnTo>
                  <a:pt x="365" y="36"/>
                </a:lnTo>
                <a:lnTo>
                  <a:pt x="364" y="31"/>
                </a:lnTo>
                <a:lnTo>
                  <a:pt x="364" y="27"/>
                </a:lnTo>
                <a:lnTo>
                  <a:pt x="362" y="23"/>
                </a:lnTo>
                <a:lnTo>
                  <a:pt x="359" y="19"/>
                </a:lnTo>
                <a:lnTo>
                  <a:pt x="358" y="18"/>
                </a:lnTo>
                <a:lnTo>
                  <a:pt x="357" y="18"/>
                </a:lnTo>
                <a:lnTo>
                  <a:pt x="356" y="21"/>
                </a:lnTo>
                <a:lnTo>
                  <a:pt x="355" y="21"/>
                </a:lnTo>
                <a:lnTo>
                  <a:pt x="351" y="26"/>
                </a:lnTo>
                <a:lnTo>
                  <a:pt x="350" y="28"/>
                </a:lnTo>
                <a:lnTo>
                  <a:pt x="346" y="34"/>
                </a:lnTo>
                <a:lnTo>
                  <a:pt x="344" y="39"/>
                </a:lnTo>
                <a:lnTo>
                  <a:pt x="342" y="40"/>
                </a:lnTo>
                <a:lnTo>
                  <a:pt x="339" y="48"/>
                </a:lnTo>
                <a:lnTo>
                  <a:pt x="331" y="56"/>
                </a:lnTo>
                <a:lnTo>
                  <a:pt x="330" y="57"/>
                </a:lnTo>
                <a:lnTo>
                  <a:pt x="329" y="58"/>
                </a:lnTo>
                <a:lnTo>
                  <a:pt x="326" y="58"/>
                </a:lnTo>
                <a:lnTo>
                  <a:pt x="325" y="57"/>
                </a:lnTo>
                <a:lnTo>
                  <a:pt x="323" y="57"/>
                </a:lnTo>
                <a:lnTo>
                  <a:pt x="321" y="57"/>
                </a:lnTo>
                <a:lnTo>
                  <a:pt x="317" y="59"/>
                </a:lnTo>
                <a:lnTo>
                  <a:pt x="315" y="59"/>
                </a:lnTo>
                <a:lnTo>
                  <a:pt x="314" y="59"/>
                </a:lnTo>
                <a:lnTo>
                  <a:pt x="311" y="57"/>
                </a:lnTo>
                <a:lnTo>
                  <a:pt x="308" y="53"/>
                </a:lnTo>
                <a:lnTo>
                  <a:pt x="307" y="53"/>
                </a:lnTo>
                <a:lnTo>
                  <a:pt x="306" y="52"/>
                </a:lnTo>
                <a:lnTo>
                  <a:pt x="299" y="50"/>
                </a:lnTo>
                <a:lnTo>
                  <a:pt x="293" y="52"/>
                </a:lnTo>
                <a:lnTo>
                  <a:pt x="291" y="52"/>
                </a:lnTo>
                <a:lnTo>
                  <a:pt x="289" y="51"/>
                </a:lnTo>
                <a:lnTo>
                  <a:pt x="287" y="51"/>
                </a:lnTo>
                <a:lnTo>
                  <a:pt x="285" y="52"/>
                </a:lnTo>
                <a:lnTo>
                  <a:pt x="285" y="60"/>
                </a:lnTo>
                <a:lnTo>
                  <a:pt x="285" y="61"/>
                </a:lnTo>
                <a:lnTo>
                  <a:pt x="279" y="61"/>
                </a:lnTo>
                <a:lnTo>
                  <a:pt x="276" y="60"/>
                </a:lnTo>
                <a:lnTo>
                  <a:pt x="273" y="60"/>
                </a:lnTo>
                <a:lnTo>
                  <a:pt x="268" y="61"/>
                </a:lnTo>
                <a:lnTo>
                  <a:pt x="267" y="60"/>
                </a:lnTo>
                <a:lnTo>
                  <a:pt x="267" y="59"/>
                </a:lnTo>
                <a:lnTo>
                  <a:pt x="266" y="59"/>
                </a:lnTo>
                <a:lnTo>
                  <a:pt x="264" y="59"/>
                </a:lnTo>
                <a:lnTo>
                  <a:pt x="260" y="61"/>
                </a:lnTo>
                <a:lnTo>
                  <a:pt x="258" y="64"/>
                </a:lnTo>
                <a:lnTo>
                  <a:pt x="254" y="64"/>
                </a:lnTo>
                <a:lnTo>
                  <a:pt x="251" y="66"/>
                </a:lnTo>
                <a:lnTo>
                  <a:pt x="250" y="67"/>
                </a:lnTo>
                <a:lnTo>
                  <a:pt x="247" y="67"/>
                </a:lnTo>
                <a:lnTo>
                  <a:pt x="245" y="68"/>
                </a:lnTo>
                <a:lnTo>
                  <a:pt x="243" y="71"/>
                </a:lnTo>
                <a:lnTo>
                  <a:pt x="240" y="72"/>
                </a:lnTo>
                <a:lnTo>
                  <a:pt x="237" y="72"/>
                </a:lnTo>
                <a:lnTo>
                  <a:pt x="234" y="71"/>
                </a:lnTo>
                <a:lnTo>
                  <a:pt x="229" y="68"/>
                </a:lnTo>
                <a:lnTo>
                  <a:pt x="228" y="67"/>
                </a:lnTo>
                <a:lnTo>
                  <a:pt x="227" y="64"/>
                </a:lnTo>
                <a:lnTo>
                  <a:pt x="226" y="63"/>
                </a:lnTo>
                <a:lnTo>
                  <a:pt x="225" y="62"/>
                </a:lnTo>
                <a:lnTo>
                  <a:pt x="225" y="61"/>
                </a:lnTo>
                <a:lnTo>
                  <a:pt x="225" y="57"/>
                </a:lnTo>
                <a:lnTo>
                  <a:pt x="225" y="54"/>
                </a:lnTo>
                <a:lnTo>
                  <a:pt x="222" y="51"/>
                </a:lnTo>
                <a:lnTo>
                  <a:pt x="220" y="50"/>
                </a:lnTo>
                <a:lnTo>
                  <a:pt x="222" y="39"/>
                </a:lnTo>
                <a:lnTo>
                  <a:pt x="223" y="34"/>
                </a:lnTo>
                <a:lnTo>
                  <a:pt x="224" y="32"/>
                </a:lnTo>
                <a:lnTo>
                  <a:pt x="224" y="29"/>
                </a:lnTo>
                <a:lnTo>
                  <a:pt x="227" y="24"/>
                </a:lnTo>
                <a:lnTo>
                  <a:pt x="227" y="23"/>
                </a:lnTo>
                <a:lnTo>
                  <a:pt x="227" y="21"/>
                </a:lnTo>
                <a:lnTo>
                  <a:pt x="226" y="19"/>
                </a:lnTo>
                <a:lnTo>
                  <a:pt x="226" y="14"/>
                </a:lnTo>
                <a:lnTo>
                  <a:pt x="223" y="13"/>
                </a:lnTo>
                <a:lnTo>
                  <a:pt x="222" y="12"/>
                </a:lnTo>
                <a:lnTo>
                  <a:pt x="219" y="12"/>
                </a:lnTo>
                <a:lnTo>
                  <a:pt x="220" y="8"/>
                </a:lnTo>
                <a:lnTo>
                  <a:pt x="220" y="6"/>
                </a:lnTo>
                <a:lnTo>
                  <a:pt x="220" y="3"/>
                </a:lnTo>
                <a:lnTo>
                  <a:pt x="219" y="0"/>
                </a:lnTo>
                <a:lnTo>
                  <a:pt x="216" y="0"/>
                </a:lnTo>
                <a:lnTo>
                  <a:pt x="213" y="2"/>
                </a:lnTo>
                <a:lnTo>
                  <a:pt x="209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73" name="Freeform 873"/>
          <p:cNvSpPr>
            <a:spLocks/>
          </p:cNvSpPr>
          <p:nvPr/>
        </p:nvSpPr>
        <p:spPr bwMode="auto">
          <a:xfrm>
            <a:off x="2474913" y="3427378"/>
            <a:ext cx="987425" cy="1123950"/>
          </a:xfrm>
          <a:custGeom>
            <a:avLst/>
            <a:gdLst>
              <a:gd name="T0" fmla="*/ 173 w 622"/>
              <a:gd name="T1" fmla="*/ 23 h 708"/>
              <a:gd name="T2" fmla="*/ 151 w 622"/>
              <a:gd name="T3" fmla="*/ 28 h 708"/>
              <a:gd name="T4" fmla="*/ 164 w 622"/>
              <a:gd name="T5" fmla="*/ 56 h 708"/>
              <a:gd name="T6" fmla="*/ 144 w 622"/>
              <a:gd name="T7" fmla="*/ 71 h 708"/>
              <a:gd name="T8" fmla="*/ 116 w 622"/>
              <a:gd name="T9" fmla="*/ 81 h 708"/>
              <a:gd name="T10" fmla="*/ 90 w 622"/>
              <a:gd name="T11" fmla="*/ 62 h 708"/>
              <a:gd name="T12" fmla="*/ 63 w 622"/>
              <a:gd name="T13" fmla="*/ 78 h 708"/>
              <a:gd name="T14" fmla="*/ 58 w 622"/>
              <a:gd name="T15" fmla="*/ 86 h 708"/>
              <a:gd name="T16" fmla="*/ 62 w 622"/>
              <a:gd name="T17" fmla="*/ 153 h 708"/>
              <a:gd name="T18" fmla="*/ 23 w 622"/>
              <a:gd name="T19" fmla="*/ 185 h 708"/>
              <a:gd name="T20" fmla="*/ 0 w 622"/>
              <a:gd name="T21" fmla="*/ 233 h 708"/>
              <a:gd name="T22" fmla="*/ 25 w 622"/>
              <a:gd name="T23" fmla="*/ 269 h 708"/>
              <a:gd name="T24" fmla="*/ 55 w 622"/>
              <a:gd name="T25" fmla="*/ 283 h 708"/>
              <a:gd name="T26" fmla="*/ 92 w 622"/>
              <a:gd name="T27" fmla="*/ 294 h 708"/>
              <a:gd name="T28" fmla="*/ 138 w 622"/>
              <a:gd name="T29" fmla="*/ 280 h 708"/>
              <a:gd name="T30" fmla="*/ 172 w 622"/>
              <a:gd name="T31" fmla="*/ 323 h 708"/>
              <a:gd name="T32" fmla="*/ 215 w 622"/>
              <a:gd name="T33" fmla="*/ 344 h 708"/>
              <a:gd name="T34" fmla="*/ 227 w 622"/>
              <a:gd name="T35" fmla="*/ 390 h 708"/>
              <a:gd name="T36" fmla="*/ 261 w 622"/>
              <a:gd name="T37" fmla="*/ 410 h 708"/>
              <a:gd name="T38" fmla="*/ 268 w 622"/>
              <a:gd name="T39" fmla="*/ 458 h 708"/>
              <a:gd name="T40" fmla="*/ 280 w 622"/>
              <a:gd name="T41" fmla="*/ 498 h 708"/>
              <a:gd name="T42" fmla="*/ 311 w 622"/>
              <a:gd name="T43" fmla="*/ 525 h 708"/>
              <a:gd name="T44" fmla="*/ 330 w 622"/>
              <a:gd name="T45" fmla="*/ 554 h 708"/>
              <a:gd name="T46" fmla="*/ 334 w 622"/>
              <a:gd name="T47" fmla="*/ 594 h 708"/>
              <a:gd name="T48" fmla="*/ 298 w 622"/>
              <a:gd name="T49" fmla="*/ 640 h 708"/>
              <a:gd name="T50" fmla="*/ 319 w 622"/>
              <a:gd name="T51" fmla="*/ 656 h 708"/>
              <a:gd name="T52" fmla="*/ 344 w 622"/>
              <a:gd name="T53" fmla="*/ 667 h 708"/>
              <a:gd name="T54" fmla="*/ 368 w 622"/>
              <a:gd name="T55" fmla="*/ 692 h 708"/>
              <a:gd name="T56" fmla="*/ 377 w 622"/>
              <a:gd name="T57" fmla="*/ 696 h 708"/>
              <a:gd name="T58" fmla="*/ 404 w 622"/>
              <a:gd name="T59" fmla="*/ 654 h 708"/>
              <a:gd name="T60" fmla="*/ 427 w 622"/>
              <a:gd name="T61" fmla="*/ 609 h 708"/>
              <a:gd name="T62" fmla="*/ 422 w 622"/>
              <a:gd name="T63" fmla="*/ 571 h 708"/>
              <a:gd name="T64" fmla="*/ 447 w 622"/>
              <a:gd name="T65" fmla="*/ 536 h 708"/>
              <a:gd name="T66" fmla="*/ 481 w 622"/>
              <a:gd name="T67" fmla="*/ 517 h 708"/>
              <a:gd name="T68" fmla="*/ 498 w 622"/>
              <a:gd name="T69" fmla="*/ 512 h 708"/>
              <a:gd name="T70" fmla="*/ 533 w 622"/>
              <a:gd name="T71" fmla="*/ 494 h 708"/>
              <a:gd name="T72" fmla="*/ 553 w 622"/>
              <a:gd name="T73" fmla="*/ 430 h 708"/>
              <a:gd name="T74" fmla="*/ 559 w 622"/>
              <a:gd name="T75" fmla="*/ 364 h 708"/>
              <a:gd name="T76" fmla="*/ 579 w 622"/>
              <a:gd name="T77" fmla="*/ 314 h 708"/>
              <a:gd name="T78" fmla="*/ 618 w 622"/>
              <a:gd name="T79" fmla="*/ 259 h 708"/>
              <a:gd name="T80" fmla="*/ 594 w 622"/>
              <a:gd name="T81" fmla="*/ 189 h 708"/>
              <a:gd name="T82" fmla="*/ 552 w 622"/>
              <a:gd name="T83" fmla="*/ 155 h 708"/>
              <a:gd name="T84" fmla="*/ 482 w 622"/>
              <a:gd name="T85" fmla="*/ 138 h 708"/>
              <a:gd name="T86" fmla="*/ 467 w 622"/>
              <a:gd name="T87" fmla="*/ 135 h 708"/>
              <a:gd name="T88" fmla="*/ 453 w 622"/>
              <a:gd name="T89" fmla="*/ 121 h 708"/>
              <a:gd name="T90" fmla="*/ 407 w 622"/>
              <a:gd name="T91" fmla="*/ 114 h 708"/>
              <a:gd name="T92" fmla="*/ 390 w 622"/>
              <a:gd name="T93" fmla="*/ 140 h 708"/>
              <a:gd name="T94" fmla="*/ 370 w 622"/>
              <a:gd name="T95" fmla="*/ 130 h 708"/>
              <a:gd name="T96" fmla="*/ 359 w 622"/>
              <a:gd name="T97" fmla="*/ 128 h 708"/>
              <a:gd name="T98" fmla="*/ 366 w 622"/>
              <a:gd name="T99" fmla="*/ 113 h 708"/>
              <a:gd name="T100" fmla="*/ 357 w 622"/>
              <a:gd name="T101" fmla="*/ 103 h 708"/>
              <a:gd name="T102" fmla="*/ 380 w 622"/>
              <a:gd name="T103" fmla="*/ 66 h 708"/>
              <a:gd name="T104" fmla="*/ 362 w 622"/>
              <a:gd name="T105" fmla="*/ 23 h 708"/>
              <a:gd name="T106" fmla="*/ 330 w 622"/>
              <a:gd name="T107" fmla="*/ 57 h 708"/>
              <a:gd name="T108" fmla="*/ 299 w 622"/>
              <a:gd name="T109" fmla="*/ 50 h 708"/>
              <a:gd name="T110" fmla="*/ 267 w 622"/>
              <a:gd name="T111" fmla="*/ 59 h 708"/>
              <a:gd name="T112" fmla="*/ 234 w 622"/>
              <a:gd name="T113" fmla="*/ 71 h 708"/>
              <a:gd name="T114" fmla="*/ 224 w 622"/>
              <a:gd name="T115" fmla="*/ 32 h 708"/>
              <a:gd name="T116" fmla="*/ 219 w 622"/>
              <a:gd name="T117" fmla="*/ 0 h 7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22" h="708">
                <a:moveTo>
                  <a:pt x="209" y="1"/>
                </a:moveTo>
                <a:lnTo>
                  <a:pt x="209" y="6"/>
                </a:lnTo>
                <a:lnTo>
                  <a:pt x="207" y="10"/>
                </a:lnTo>
                <a:lnTo>
                  <a:pt x="205" y="12"/>
                </a:lnTo>
                <a:lnTo>
                  <a:pt x="204" y="12"/>
                </a:lnTo>
                <a:lnTo>
                  <a:pt x="198" y="13"/>
                </a:lnTo>
                <a:lnTo>
                  <a:pt x="197" y="14"/>
                </a:lnTo>
                <a:lnTo>
                  <a:pt x="194" y="16"/>
                </a:lnTo>
                <a:lnTo>
                  <a:pt x="193" y="18"/>
                </a:lnTo>
                <a:lnTo>
                  <a:pt x="190" y="19"/>
                </a:lnTo>
                <a:lnTo>
                  <a:pt x="183" y="20"/>
                </a:lnTo>
                <a:lnTo>
                  <a:pt x="178" y="21"/>
                </a:lnTo>
                <a:lnTo>
                  <a:pt x="173" y="23"/>
                </a:lnTo>
                <a:lnTo>
                  <a:pt x="172" y="24"/>
                </a:lnTo>
                <a:lnTo>
                  <a:pt x="170" y="24"/>
                </a:lnTo>
                <a:lnTo>
                  <a:pt x="164" y="24"/>
                </a:lnTo>
                <a:lnTo>
                  <a:pt x="158" y="22"/>
                </a:lnTo>
                <a:lnTo>
                  <a:pt x="153" y="19"/>
                </a:lnTo>
                <a:lnTo>
                  <a:pt x="146" y="18"/>
                </a:lnTo>
                <a:lnTo>
                  <a:pt x="144" y="17"/>
                </a:lnTo>
                <a:lnTo>
                  <a:pt x="143" y="17"/>
                </a:lnTo>
                <a:lnTo>
                  <a:pt x="143" y="18"/>
                </a:lnTo>
                <a:lnTo>
                  <a:pt x="143" y="20"/>
                </a:lnTo>
                <a:lnTo>
                  <a:pt x="144" y="23"/>
                </a:lnTo>
                <a:lnTo>
                  <a:pt x="147" y="24"/>
                </a:lnTo>
                <a:lnTo>
                  <a:pt x="151" y="28"/>
                </a:lnTo>
                <a:lnTo>
                  <a:pt x="152" y="29"/>
                </a:lnTo>
                <a:lnTo>
                  <a:pt x="151" y="32"/>
                </a:lnTo>
                <a:lnTo>
                  <a:pt x="149" y="37"/>
                </a:lnTo>
                <a:lnTo>
                  <a:pt x="149" y="39"/>
                </a:lnTo>
                <a:lnTo>
                  <a:pt x="149" y="41"/>
                </a:lnTo>
                <a:lnTo>
                  <a:pt x="152" y="47"/>
                </a:lnTo>
                <a:lnTo>
                  <a:pt x="152" y="49"/>
                </a:lnTo>
                <a:lnTo>
                  <a:pt x="152" y="51"/>
                </a:lnTo>
                <a:lnTo>
                  <a:pt x="156" y="52"/>
                </a:lnTo>
                <a:lnTo>
                  <a:pt x="157" y="52"/>
                </a:lnTo>
                <a:lnTo>
                  <a:pt x="165" y="52"/>
                </a:lnTo>
                <a:lnTo>
                  <a:pt x="165" y="54"/>
                </a:lnTo>
                <a:lnTo>
                  <a:pt x="164" y="56"/>
                </a:lnTo>
                <a:lnTo>
                  <a:pt x="164" y="57"/>
                </a:lnTo>
                <a:lnTo>
                  <a:pt x="161" y="57"/>
                </a:lnTo>
                <a:lnTo>
                  <a:pt x="158" y="58"/>
                </a:lnTo>
                <a:lnTo>
                  <a:pt x="158" y="59"/>
                </a:lnTo>
                <a:lnTo>
                  <a:pt x="156" y="60"/>
                </a:lnTo>
                <a:lnTo>
                  <a:pt x="154" y="60"/>
                </a:lnTo>
                <a:lnTo>
                  <a:pt x="153" y="62"/>
                </a:lnTo>
                <a:lnTo>
                  <a:pt x="151" y="68"/>
                </a:lnTo>
                <a:lnTo>
                  <a:pt x="149" y="69"/>
                </a:lnTo>
                <a:lnTo>
                  <a:pt x="148" y="69"/>
                </a:lnTo>
                <a:lnTo>
                  <a:pt x="146" y="69"/>
                </a:lnTo>
                <a:lnTo>
                  <a:pt x="145" y="70"/>
                </a:lnTo>
                <a:lnTo>
                  <a:pt x="144" y="71"/>
                </a:lnTo>
                <a:lnTo>
                  <a:pt x="143" y="72"/>
                </a:lnTo>
                <a:lnTo>
                  <a:pt x="141" y="72"/>
                </a:lnTo>
                <a:lnTo>
                  <a:pt x="137" y="74"/>
                </a:lnTo>
                <a:lnTo>
                  <a:pt x="136" y="74"/>
                </a:lnTo>
                <a:lnTo>
                  <a:pt x="134" y="76"/>
                </a:lnTo>
                <a:lnTo>
                  <a:pt x="132" y="77"/>
                </a:lnTo>
                <a:lnTo>
                  <a:pt x="131" y="78"/>
                </a:lnTo>
                <a:lnTo>
                  <a:pt x="128" y="80"/>
                </a:lnTo>
                <a:lnTo>
                  <a:pt x="127" y="81"/>
                </a:lnTo>
                <a:lnTo>
                  <a:pt x="122" y="82"/>
                </a:lnTo>
                <a:lnTo>
                  <a:pt x="117" y="82"/>
                </a:lnTo>
                <a:lnTo>
                  <a:pt x="116" y="81"/>
                </a:lnTo>
                <a:lnTo>
                  <a:pt x="116" y="81"/>
                </a:lnTo>
                <a:lnTo>
                  <a:pt x="112" y="79"/>
                </a:lnTo>
                <a:lnTo>
                  <a:pt x="111" y="78"/>
                </a:lnTo>
                <a:lnTo>
                  <a:pt x="110" y="76"/>
                </a:lnTo>
                <a:lnTo>
                  <a:pt x="110" y="74"/>
                </a:lnTo>
                <a:lnTo>
                  <a:pt x="108" y="71"/>
                </a:lnTo>
                <a:lnTo>
                  <a:pt x="107" y="72"/>
                </a:lnTo>
                <a:lnTo>
                  <a:pt x="104" y="74"/>
                </a:lnTo>
                <a:lnTo>
                  <a:pt x="103" y="64"/>
                </a:lnTo>
                <a:lnTo>
                  <a:pt x="101" y="61"/>
                </a:lnTo>
                <a:lnTo>
                  <a:pt x="98" y="59"/>
                </a:lnTo>
                <a:lnTo>
                  <a:pt x="96" y="59"/>
                </a:lnTo>
                <a:lnTo>
                  <a:pt x="91" y="62"/>
                </a:lnTo>
                <a:lnTo>
                  <a:pt x="90" y="62"/>
                </a:lnTo>
                <a:lnTo>
                  <a:pt x="88" y="60"/>
                </a:lnTo>
                <a:lnTo>
                  <a:pt x="87" y="59"/>
                </a:lnTo>
                <a:lnTo>
                  <a:pt x="86" y="59"/>
                </a:lnTo>
                <a:lnTo>
                  <a:pt x="86" y="61"/>
                </a:lnTo>
                <a:lnTo>
                  <a:pt x="85" y="63"/>
                </a:lnTo>
                <a:lnTo>
                  <a:pt x="84" y="64"/>
                </a:lnTo>
                <a:lnTo>
                  <a:pt x="61" y="64"/>
                </a:lnTo>
                <a:lnTo>
                  <a:pt x="61" y="64"/>
                </a:lnTo>
                <a:lnTo>
                  <a:pt x="61" y="74"/>
                </a:lnTo>
                <a:lnTo>
                  <a:pt x="61" y="74"/>
                </a:lnTo>
                <a:lnTo>
                  <a:pt x="61" y="76"/>
                </a:lnTo>
                <a:lnTo>
                  <a:pt x="62" y="76"/>
                </a:lnTo>
                <a:lnTo>
                  <a:pt x="63" y="78"/>
                </a:lnTo>
                <a:lnTo>
                  <a:pt x="64" y="78"/>
                </a:lnTo>
                <a:lnTo>
                  <a:pt x="65" y="77"/>
                </a:lnTo>
                <a:lnTo>
                  <a:pt x="68" y="77"/>
                </a:lnTo>
                <a:lnTo>
                  <a:pt x="70" y="79"/>
                </a:lnTo>
                <a:lnTo>
                  <a:pt x="70" y="81"/>
                </a:lnTo>
                <a:lnTo>
                  <a:pt x="71" y="84"/>
                </a:lnTo>
                <a:lnTo>
                  <a:pt x="71" y="84"/>
                </a:lnTo>
                <a:lnTo>
                  <a:pt x="70" y="86"/>
                </a:lnTo>
                <a:lnTo>
                  <a:pt x="70" y="84"/>
                </a:lnTo>
                <a:lnTo>
                  <a:pt x="68" y="83"/>
                </a:lnTo>
                <a:lnTo>
                  <a:pt x="65" y="83"/>
                </a:lnTo>
                <a:lnTo>
                  <a:pt x="63" y="84"/>
                </a:lnTo>
                <a:lnTo>
                  <a:pt x="58" y="86"/>
                </a:lnTo>
                <a:lnTo>
                  <a:pt x="56" y="86"/>
                </a:lnTo>
                <a:lnTo>
                  <a:pt x="56" y="99"/>
                </a:lnTo>
                <a:lnTo>
                  <a:pt x="58" y="100"/>
                </a:lnTo>
                <a:lnTo>
                  <a:pt x="62" y="103"/>
                </a:lnTo>
                <a:lnTo>
                  <a:pt x="63" y="106"/>
                </a:lnTo>
                <a:lnTo>
                  <a:pt x="65" y="109"/>
                </a:lnTo>
                <a:lnTo>
                  <a:pt x="67" y="119"/>
                </a:lnTo>
                <a:lnTo>
                  <a:pt x="67" y="121"/>
                </a:lnTo>
                <a:lnTo>
                  <a:pt x="66" y="123"/>
                </a:lnTo>
                <a:lnTo>
                  <a:pt x="64" y="144"/>
                </a:lnTo>
                <a:lnTo>
                  <a:pt x="64" y="145"/>
                </a:lnTo>
                <a:lnTo>
                  <a:pt x="63" y="151"/>
                </a:lnTo>
                <a:lnTo>
                  <a:pt x="62" y="153"/>
                </a:lnTo>
                <a:lnTo>
                  <a:pt x="62" y="158"/>
                </a:lnTo>
                <a:lnTo>
                  <a:pt x="61" y="159"/>
                </a:lnTo>
                <a:lnTo>
                  <a:pt x="61" y="161"/>
                </a:lnTo>
                <a:lnTo>
                  <a:pt x="61" y="167"/>
                </a:lnTo>
                <a:lnTo>
                  <a:pt x="60" y="169"/>
                </a:lnTo>
                <a:lnTo>
                  <a:pt x="60" y="171"/>
                </a:lnTo>
                <a:lnTo>
                  <a:pt x="58" y="171"/>
                </a:lnTo>
                <a:lnTo>
                  <a:pt x="57" y="173"/>
                </a:lnTo>
                <a:lnTo>
                  <a:pt x="51" y="172"/>
                </a:lnTo>
                <a:lnTo>
                  <a:pt x="47" y="174"/>
                </a:lnTo>
                <a:lnTo>
                  <a:pt x="33" y="179"/>
                </a:lnTo>
                <a:lnTo>
                  <a:pt x="27" y="181"/>
                </a:lnTo>
                <a:lnTo>
                  <a:pt x="23" y="185"/>
                </a:lnTo>
                <a:lnTo>
                  <a:pt x="20" y="188"/>
                </a:lnTo>
                <a:lnTo>
                  <a:pt x="15" y="193"/>
                </a:lnTo>
                <a:lnTo>
                  <a:pt x="13" y="198"/>
                </a:lnTo>
                <a:lnTo>
                  <a:pt x="11" y="202"/>
                </a:lnTo>
                <a:lnTo>
                  <a:pt x="11" y="204"/>
                </a:lnTo>
                <a:lnTo>
                  <a:pt x="11" y="214"/>
                </a:lnTo>
                <a:lnTo>
                  <a:pt x="9" y="214"/>
                </a:lnTo>
                <a:lnTo>
                  <a:pt x="5" y="215"/>
                </a:lnTo>
                <a:lnTo>
                  <a:pt x="4" y="218"/>
                </a:lnTo>
                <a:lnTo>
                  <a:pt x="3" y="223"/>
                </a:lnTo>
                <a:lnTo>
                  <a:pt x="0" y="230"/>
                </a:lnTo>
                <a:lnTo>
                  <a:pt x="0" y="231"/>
                </a:lnTo>
                <a:lnTo>
                  <a:pt x="0" y="233"/>
                </a:lnTo>
                <a:lnTo>
                  <a:pt x="3" y="241"/>
                </a:lnTo>
                <a:lnTo>
                  <a:pt x="4" y="244"/>
                </a:lnTo>
                <a:lnTo>
                  <a:pt x="4" y="245"/>
                </a:lnTo>
                <a:lnTo>
                  <a:pt x="7" y="249"/>
                </a:lnTo>
                <a:lnTo>
                  <a:pt x="9" y="252"/>
                </a:lnTo>
                <a:lnTo>
                  <a:pt x="13" y="256"/>
                </a:lnTo>
                <a:lnTo>
                  <a:pt x="15" y="259"/>
                </a:lnTo>
                <a:lnTo>
                  <a:pt x="15" y="261"/>
                </a:lnTo>
                <a:lnTo>
                  <a:pt x="14" y="264"/>
                </a:lnTo>
                <a:lnTo>
                  <a:pt x="14" y="265"/>
                </a:lnTo>
                <a:lnTo>
                  <a:pt x="19" y="266"/>
                </a:lnTo>
                <a:lnTo>
                  <a:pt x="24" y="268"/>
                </a:lnTo>
                <a:lnTo>
                  <a:pt x="25" y="269"/>
                </a:lnTo>
                <a:lnTo>
                  <a:pt x="26" y="270"/>
                </a:lnTo>
                <a:lnTo>
                  <a:pt x="27" y="273"/>
                </a:lnTo>
                <a:lnTo>
                  <a:pt x="29" y="274"/>
                </a:lnTo>
                <a:lnTo>
                  <a:pt x="33" y="276"/>
                </a:lnTo>
                <a:lnTo>
                  <a:pt x="36" y="276"/>
                </a:lnTo>
                <a:lnTo>
                  <a:pt x="40" y="275"/>
                </a:lnTo>
                <a:lnTo>
                  <a:pt x="44" y="273"/>
                </a:lnTo>
                <a:lnTo>
                  <a:pt x="51" y="268"/>
                </a:lnTo>
                <a:lnTo>
                  <a:pt x="53" y="264"/>
                </a:lnTo>
                <a:lnTo>
                  <a:pt x="54" y="264"/>
                </a:lnTo>
                <a:lnTo>
                  <a:pt x="54" y="264"/>
                </a:lnTo>
                <a:lnTo>
                  <a:pt x="55" y="283"/>
                </a:lnTo>
                <a:lnTo>
                  <a:pt x="55" y="283"/>
                </a:lnTo>
                <a:lnTo>
                  <a:pt x="55" y="293"/>
                </a:lnTo>
                <a:lnTo>
                  <a:pt x="56" y="294"/>
                </a:lnTo>
                <a:lnTo>
                  <a:pt x="58" y="295"/>
                </a:lnTo>
                <a:lnTo>
                  <a:pt x="60" y="295"/>
                </a:lnTo>
                <a:lnTo>
                  <a:pt x="62" y="295"/>
                </a:lnTo>
                <a:lnTo>
                  <a:pt x="62" y="295"/>
                </a:lnTo>
                <a:lnTo>
                  <a:pt x="64" y="294"/>
                </a:lnTo>
                <a:lnTo>
                  <a:pt x="68" y="293"/>
                </a:lnTo>
                <a:lnTo>
                  <a:pt x="70" y="293"/>
                </a:lnTo>
                <a:lnTo>
                  <a:pt x="72" y="293"/>
                </a:lnTo>
                <a:lnTo>
                  <a:pt x="77" y="294"/>
                </a:lnTo>
                <a:lnTo>
                  <a:pt x="88" y="295"/>
                </a:lnTo>
                <a:lnTo>
                  <a:pt x="92" y="294"/>
                </a:lnTo>
                <a:lnTo>
                  <a:pt x="93" y="293"/>
                </a:lnTo>
                <a:lnTo>
                  <a:pt x="101" y="290"/>
                </a:lnTo>
                <a:lnTo>
                  <a:pt x="102" y="289"/>
                </a:lnTo>
                <a:lnTo>
                  <a:pt x="110" y="281"/>
                </a:lnTo>
                <a:lnTo>
                  <a:pt x="114" y="274"/>
                </a:lnTo>
                <a:lnTo>
                  <a:pt x="115" y="273"/>
                </a:lnTo>
                <a:lnTo>
                  <a:pt x="120" y="272"/>
                </a:lnTo>
                <a:lnTo>
                  <a:pt x="122" y="272"/>
                </a:lnTo>
                <a:lnTo>
                  <a:pt x="129" y="270"/>
                </a:lnTo>
                <a:lnTo>
                  <a:pt x="135" y="271"/>
                </a:lnTo>
                <a:lnTo>
                  <a:pt x="136" y="272"/>
                </a:lnTo>
                <a:lnTo>
                  <a:pt x="137" y="274"/>
                </a:lnTo>
                <a:lnTo>
                  <a:pt x="138" y="280"/>
                </a:lnTo>
                <a:lnTo>
                  <a:pt x="139" y="290"/>
                </a:lnTo>
                <a:lnTo>
                  <a:pt x="138" y="293"/>
                </a:lnTo>
                <a:lnTo>
                  <a:pt x="137" y="295"/>
                </a:lnTo>
                <a:lnTo>
                  <a:pt x="137" y="298"/>
                </a:lnTo>
                <a:lnTo>
                  <a:pt x="137" y="300"/>
                </a:lnTo>
                <a:lnTo>
                  <a:pt x="139" y="308"/>
                </a:lnTo>
                <a:lnTo>
                  <a:pt x="142" y="311"/>
                </a:lnTo>
                <a:lnTo>
                  <a:pt x="144" y="313"/>
                </a:lnTo>
                <a:lnTo>
                  <a:pt x="153" y="320"/>
                </a:lnTo>
                <a:lnTo>
                  <a:pt x="156" y="321"/>
                </a:lnTo>
                <a:lnTo>
                  <a:pt x="162" y="322"/>
                </a:lnTo>
                <a:lnTo>
                  <a:pt x="167" y="322"/>
                </a:lnTo>
                <a:lnTo>
                  <a:pt x="172" y="323"/>
                </a:lnTo>
                <a:lnTo>
                  <a:pt x="174" y="325"/>
                </a:lnTo>
                <a:lnTo>
                  <a:pt x="174" y="326"/>
                </a:lnTo>
                <a:lnTo>
                  <a:pt x="176" y="329"/>
                </a:lnTo>
                <a:lnTo>
                  <a:pt x="178" y="330"/>
                </a:lnTo>
                <a:lnTo>
                  <a:pt x="190" y="333"/>
                </a:lnTo>
                <a:lnTo>
                  <a:pt x="195" y="337"/>
                </a:lnTo>
                <a:lnTo>
                  <a:pt x="197" y="340"/>
                </a:lnTo>
                <a:lnTo>
                  <a:pt x="199" y="340"/>
                </a:lnTo>
                <a:lnTo>
                  <a:pt x="203" y="339"/>
                </a:lnTo>
                <a:lnTo>
                  <a:pt x="204" y="339"/>
                </a:lnTo>
                <a:lnTo>
                  <a:pt x="207" y="340"/>
                </a:lnTo>
                <a:lnTo>
                  <a:pt x="213" y="343"/>
                </a:lnTo>
                <a:lnTo>
                  <a:pt x="215" y="344"/>
                </a:lnTo>
                <a:lnTo>
                  <a:pt x="217" y="347"/>
                </a:lnTo>
                <a:lnTo>
                  <a:pt x="219" y="353"/>
                </a:lnTo>
                <a:lnTo>
                  <a:pt x="219" y="357"/>
                </a:lnTo>
                <a:lnTo>
                  <a:pt x="220" y="361"/>
                </a:lnTo>
                <a:lnTo>
                  <a:pt x="223" y="362"/>
                </a:lnTo>
                <a:lnTo>
                  <a:pt x="223" y="365"/>
                </a:lnTo>
                <a:lnTo>
                  <a:pt x="222" y="371"/>
                </a:lnTo>
                <a:lnTo>
                  <a:pt x="219" y="371"/>
                </a:lnTo>
                <a:lnTo>
                  <a:pt x="219" y="372"/>
                </a:lnTo>
                <a:lnTo>
                  <a:pt x="220" y="374"/>
                </a:lnTo>
                <a:lnTo>
                  <a:pt x="223" y="379"/>
                </a:lnTo>
                <a:lnTo>
                  <a:pt x="225" y="386"/>
                </a:lnTo>
                <a:lnTo>
                  <a:pt x="227" y="390"/>
                </a:lnTo>
                <a:lnTo>
                  <a:pt x="232" y="390"/>
                </a:lnTo>
                <a:lnTo>
                  <a:pt x="235" y="391"/>
                </a:lnTo>
                <a:lnTo>
                  <a:pt x="238" y="391"/>
                </a:lnTo>
                <a:lnTo>
                  <a:pt x="240" y="391"/>
                </a:lnTo>
                <a:lnTo>
                  <a:pt x="253" y="392"/>
                </a:lnTo>
                <a:lnTo>
                  <a:pt x="254" y="392"/>
                </a:lnTo>
                <a:lnTo>
                  <a:pt x="255" y="393"/>
                </a:lnTo>
                <a:lnTo>
                  <a:pt x="255" y="394"/>
                </a:lnTo>
                <a:lnTo>
                  <a:pt x="255" y="397"/>
                </a:lnTo>
                <a:lnTo>
                  <a:pt x="255" y="400"/>
                </a:lnTo>
                <a:lnTo>
                  <a:pt x="255" y="402"/>
                </a:lnTo>
                <a:lnTo>
                  <a:pt x="256" y="407"/>
                </a:lnTo>
                <a:lnTo>
                  <a:pt x="261" y="410"/>
                </a:lnTo>
                <a:lnTo>
                  <a:pt x="263" y="411"/>
                </a:lnTo>
                <a:lnTo>
                  <a:pt x="264" y="415"/>
                </a:lnTo>
                <a:lnTo>
                  <a:pt x="267" y="421"/>
                </a:lnTo>
                <a:lnTo>
                  <a:pt x="268" y="424"/>
                </a:lnTo>
                <a:lnTo>
                  <a:pt x="269" y="432"/>
                </a:lnTo>
                <a:lnTo>
                  <a:pt x="269" y="442"/>
                </a:lnTo>
                <a:lnTo>
                  <a:pt x="269" y="443"/>
                </a:lnTo>
                <a:lnTo>
                  <a:pt x="268" y="445"/>
                </a:lnTo>
                <a:lnTo>
                  <a:pt x="267" y="450"/>
                </a:lnTo>
                <a:lnTo>
                  <a:pt x="267" y="451"/>
                </a:lnTo>
                <a:lnTo>
                  <a:pt x="267" y="454"/>
                </a:lnTo>
                <a:lnTo>
                  <a:pt x="268" y="455"/>
                </a:lnTo>
                <a:lnTo>
                  <a:pt x="268" y="458"/>
                </a:lnTo>
                <a:lnTo>
                  <a:pt x="268" y="460"/>
                </a:lnTo>
                <a:lnTo>
                  <a:pt x="266" y="460"/>
                </a:lnTo>
                <a:lnTo>
                  <a:pt x="266" y="461"/>
                </a:lnTo>
                <a:lnTo>
                  <a:pt x="265" y="462"/>
                </a:lnTo>
                <a:lnTo>
                  <a:pt x="265" y="463"/>
                </a:lnTo>
                <a:lnTo>
                  <a:pt x="268" y="467"/>
                </a:lnTo>
                <a:lnTo>
                  <a:pt x="268" y="467"/>
                </a:lnTo>
                <a:lnTo>
                  <a:pt x="270" y="483"/>
                </a:lnTo>
                <a:lnTo>
                  <a:pt x="270" y="493"/>
                </a:lnTo>
                <a:lnTo>
                  <a:pt x="273" y="495"/>
                </a:lnTo>
                <a:lnTo>
                  <a:pt x="274" y="496"/>
                </a:lnTo>
                <a:lnTo>
                  <a:pt x="278" y="497"/>
                </a:lnTo>
                <a:lnTo>
                  <a:pt x="280" y="498"/>
                </a:lnTo>
                <a:lnTo>
                  <a:pt x="285" y="500"/>
                </a:lnTo>
                <a:lnTo>
                  <a:pt x="288" y="500"/>
                </a:lnTo>
                <a:lnTo>
                  <a:pt x="293" y="500"/>
                </a:lnTo>
                <a:lnTo>
                  <a:pt x="294" y="498"/>
                </a:lnTo>
                <a:lnTo>
                  <a:pt x="296" y="497"/>
                </a:lnTo>
                <a:lnTo>
                  <a:pt x="298" y="498"/>
                </a:lnTo>
                <a:lnTo>
                  <a:pt x="305" y="501"/>
                </a:lnTo>
                <a:lnTo>
                  <a:pt x="307" y="504"/>
                </a:lnTo>
                <a:lnTo>
                  <a:pt x="307" y="505"/>
                </a:lnTo>
                <a:lnTo>
                  <a:pt x="309" y="513"/>
                </a:lnTo>
                <a:lnTo>
                  <a:pt x="310" y="516"/>
                </a:lnTo>
                <a:lnTo>
                  <a:pt x="310" y="524"/>
                </a:lnTo>
                <a:lnTo>
                  <a:pt x="311" y="525"/>
                </a:lnTo>
                <a:lnTo>
                  <a:pt x="313" y="527"/>
                </a:lnTo>
                <a:lnTo>
                  <a:pt x="315" y="530"/>
                </a:lnTo>
                <a:lnTo>
                  <a:pt x="317" y="530"/>
                </a:lnTo>
                <a:lnTo>
                  <a:pt x="320" y="530"/>
                </a:lnTo>
                <a:lnTo>
                  <a:pt x="321" y="530"/>
                </a:lnTo>
                <a:lnTo>
                  <a:pt x="325" y="530"/>
                </a:lnTo>
                <a:lnTo>
                  <a:pt x="327" y="528"/>
                </a:lnTo>
                <a:lnTo>
                  <a:pt x="329" y="530"/>
                </a:lnTo>
                <a:lnTo>
                  <a:pt x="330" y="533"/>
                </a:lnTo>
                <a:lnTo>
                  <a:pt x="331" y="539"/>
                </a:lnTo>
                <a:lnTo>
                  <a:pt x="331" y="541"/>
                </a:lnTo>
                <a:lnTo>
                  <a:pt x="330" y="546"/>
                </a:lnTo>
                <a:lnTo>
                  <a:pt x="330" y="554"/>
                </a:lnTo>
                <a:lnTo>
                  <a:pt x="330" y="559"/>
                </a:lnTo>
                <a:lnTo>
                  <a:pt x="332" y="559"/>
                </a:lnTo>
                <a:lnTo>
                  <a:pt x="334" y="559"/>
                </a:lnTo>
                <a:lnTo>
                  <a:pt x="338" y="559"/>
                </a:lnTo>
                <a:lnTo>
                  <a:pt x="340" y="562"/>
                </a:lnTo>
                <a:lnTo>
                  <a:pt x="346" y="573"/>
                </a:lnTo>
                <a:lnTo>
                  <a:pt x="347" y="583"/>
                </a:lnTo>
                <a:lnTo>
                  <a:pt x="346" y="586"/>
                </a:lnTo>
                <a:lnTo>
                  <a:pt x="346" y="587"/>
                </a:lnTo>
                <a:lnTo>
                  <a:pt x="345" y="588"/>
                </a:lnTo>
                <a:lnTo>
                  <a:pt x="339" y="593"/>
                </a:lnTo>
                <a:lnTo>
                  <a:pt x="337" y="594"/>
                </a:lnTo>
                <a:lnTo>
                  <a:pt x="334" y="594"/>
                </a:lnTo>
                <a:lnTo>
                  <a:pt x="331" y="595"/>
                </a:lnTo>
                <a:lnTo>
                  <a:pt x="329" y="598"/>
                </a:lnTo>
                <a:lnTo>
                  <a:pt x="327" y="602"/>
                </a:lnTo>
                <a:lnTo>
                  <a:pt x="316" y="613"/>
                </a:lnTo>
                <a:lnTo>
                  <a:pt x="316" y="614"/>
                </a:lnTo>
                <a:lnTo>
                  <a:pt x="315" y="616"/>
                </a:lnTo>
                <a:lnTo>
                  <a:pt x="310" y="624"/>
                </a:lnTo>
                <a:lnTo>
                  <a:pt x="310" y="625"/>
                </a:lnTo>
                <a:lnTo>
                  <a:pt x="306" y="631"/>
                </a:lnTo>
                <a:lnTo>
                  <a:pt x="303" y="635"/>
                </a:lnTo>
                <a:lnTo>
                  <a:pt x="300" y="637"/>
                </a:lnTo>
                <a:lnTo>
                  <a:pt x="298" y="639"/>
                </a:lnTo>
                <a:lnTo>
                  <a:pt x="298" y="640"/>
                </a:lnTo>
                <a:lnTo>
                  <a:pt x="296" y="643"/>
                </a:lnTo>
                <a:lnTo>
                  <a:pt x="294" y="645"/>
                </a:lnTo>
                <a:lnTo>
                  <a:pt x="298" y="645"/>
                </a:lnTo>
                <a:lnTo>
                  <a:pt x="300" y="644"/>
                </a:lnTo>
                <a:lnTo>
                  <a:pt x="301" y="643"/>
                </a:lnTo>
                <a:lnTo>
                  <a:pt x="303" y="642"/>
                </a:lnTo>
                <a:lnTo>
                  <a:pt x="304" y="642"/>
                </a:lnTo>
                <a:lnTo>
                  <a:pt x="306" y="643"/>
                </a:lnTo>
                <a:lnTo>
                  <a:pt x="310" y="645"/>
                </a:lnTo>
                <a:lnTo>
                  <a:pt x="311" y="647"/>
                </a:lnTo>
                <a:lnTo>
                  <a:pt x="315" y="649"/>
                </a:lnTo>
                <a:lnTo>
                  <a:pt x="317" y="652"/>
                </a:lnTo>
                <a:lnTo>
                  <a:pt x="319" y="656"/>
                </a:lnTo>
                <a:lnTo>
                  <a:pt x="320" y="658"/>
                </a:lnTo>
                <a:lnTo>
                  <a:pt x="323" y="659"/>
                </a:lnTo>
                <a:lnTo>
                  <a:pt x="324" y="658"/>
                </a:lnTo>
                <a:lnTo>
                  <a:pt x="327" y="655"/>
                </a:lnTo>
                <a:lnTo>
                  <a:pt x="328" y="656"/>
                </a:lnTo>
                <a:lnTo>
                  <a:pt x="329" y="657"/>
                </a:lnTo>
                <a:lnTo>
                  <a:pt x="331" y="660"/>
                </a:lnTo>
                <a:lnTo>
                  <a:pt x="334" y="663"/>
                </a:lnTo>
                <a:lnTo>
                  <a:pt x="335" y="664"/>
                </a:lnTo>
                <a:lnTo>
                  <a:pt x="336" y="664"/>
                </a:lnTo>
                <a:lnTo>
                  <a:pt x="338" y="664"/>
                </a:lnTo>
                <a:lnTo>
                  <a:pt x="340" y="666"/>
                </a:lnTo>
                <a:lnTo>
                  <a:pt x="344" y="667"/>
                </a:lnTo>
                <a:lnTo>
                  <a:pt x="345" y="667"/>
                </a:lnTo>
                <a:lnTo>
                  <a:pt x="347" y="670"/>
                </a:lnTo>
                <a:lnTo>
                  <a:pt x="349" y="673"/>
                </a:lnTo>
                <a:lnTo>
                  <a:pt x="351" y="674"/>
                </a:lnTo>
                <a:lnTo>
                  <a:pt x="352" y="674"/>
                </a:lnTo>
                <a:lnTo>
                  <a:pt x="357" y="676"/>
                </a:lnTo>
                <a:lnTo>
                  <a:pt x="359" y="678"/>
                </a:lnTo>
                <a:lnTo>
                  <a:pt x="360" y="683"/>
                </a:lnTo>
                <a:lnTo>
                  <a:pt x="361" y="684"/>
                </a:lnTo>
                <a:lnTo>
                  <a:pt x="368" y="688"/>
                </a:lnTo>
                <a:lnTo>
                  <a:pt x="370" y="690"/>
                </a:lnTo>
                <a:lnTo>
                  <a:pt x="370" y="692"/>
                </a:lnTo>
                <a:lnTo>
                  <a:pt x="368" y="692"/>
                </a:lnTo>
                <a:lnTo>
                  <a:pt x="368" y="694"/>
                </a:lnTo>
                <a:lnTo>
                  <a:pt x="367" y="694"/>
                </a:lnTo>
                <a:lnTo>
                  <a:pt x="366" y="696"/>
                </a:lnTo>
                <a:lnTo>
                  <a:pt x="366" y="698"/>
                </a:lnTo>
                <a:lnTo>
                  <a:pt x="367" y="703"/>
                </a:lnTo>
                <a:lnTo>
                  <a:pt x="367" y="706"/>
                </a:lnTo>
                <a:lnTo>
                  <a:pt x="367" y="707"/>
                </a:lnTo>
                <a:lnTo>
                  <a:pt x="368" y="708"/>
                </a:lnTo>
                <a:lnTo>
                  <a:pt x="368" y="707"/>
                </a:lnTo>
                <a:lnTo>
                  <a:pt x="369" y="706"/>
                </a:lnTo>
                <a:lnTo>
                  <a:pt x="371" y="705"/>
                </a:lnTo>
                <a:lnTo>
                  <a:pt x="375" y="702"/>
                </a:lnTo>
                <a:lnTo>
                  <a:pt x="377" y="696"/>
                </a:lnTo>
                <a:lnTo>
                  <a:pt x="379" y="693"/>
                </a:lnTo>
                <a:lnTo>
                  <a:pt x="380" y="685"/>
                </a:lnTo>
                <a:lnTo>
                  <a:pt x="381" y="683"/>
                </a:lnTo>
                <a:lnTo>
                  <a:pt x="385" y="678"/>
                </a:lnTo>
                <a:lnTo>
                  <a:pt x="386" y="677"/>
                </a:lnTo>
                <a:lnTo>
                  <a:pt x="391" y="673"/>
                </a:lnTo>
                <a:lnTo>
                  <a:pt x="394" y="672"/>
                </a:lnTo>
                <a:lnTo>
                  <a:pt x="396" y="669"/>
                </a:lnTo>
                <a:lnTo>
                  <a:pt x="397" y="667"/>
                </a:lnTo>
                <a:lnTo>
                  <a:pt x="398" y="666"/>
                </a:lnTo>
                <a:lnTo>
                  <a:pt x="399" y="663"/>
                </a:lnTo>
                <a:lnTo>
                  <a:pt x="402" y="657"/>
                </a:lnTo>
                <a:lnTo>
                  <a:pt x="404" y="654"/>
                </a:lnTo>
                <a:lnTo>
                  <a:pt x="407" y="649"/>
                </a:lnTo>
                <a:lnTo>
                  <a:pt x="407" y="643"/>
                </a:lnTo>
                <a:lnTo>
                  <a:pt x="409" y="635"/>
                </a:lnTo>
                <a:lnTo>
                  <a:pt x="410" y="633"/>
                </a:lnTo>
                <a:lnTo>
                  <a:pt x="411" y="629"/>
                </a:lnTo>
                <a:lnTo>
                  <a:pt x="412" y="627"/>
                </a:lnTo>
                <a:lnTo>
                  <a:pt x="413" y="626"/>
                </a:lnTo>
                <a:lnTo>
                  <a:pt x="418" y="619"/>
                </a:lnTo>
                <a:lnTo>
                  <a:pt x="419" y="618"/>
                </a:lnTo>
                <a:lnTo>
                  <a:pt x="421" y="617"/>
                </a:lnTo>
                <a:lnTo>
                  <a:pt x="423" y="616"/>
                </a:lnTo>
                <a:lnTo>
                  <a:pt x="425" y="612"/>
                </a:lnTo>
                <a:lnTo>
                  <a:pt x="427" y="609"/>
                </a:lnTo>
                <a:lnTo>
                  <a:pt x="427" y="603"/>
                </a:lnTo>
                <a:lnTo>
                  <a:pt x="426" y="592"/>
                </a:lnTo>
                <a:lnTo>
                  <a:pt x="427" y="591"/>
                </a:lnTo>
                <a:lnTo>
                  <a:pt x="429" y="591"/>
                </a:lnTo>
                <a:lnTo>
                  <a:pt x="429" y="589"/>
                </a:lnTo>
                <a:lnTo>
                  <a:pt x="428" y="588"/>
                </a:lnTo>
                <a:lnTo>
                  <a:pt x="426" y="585"/>
                </a:lnTo>
                <a:lnTo>
                  <a:pt x="425" y="585"/>
                </a:lnTo>
                <a:lnTo>
                  <a:pt x="425" y="581"/>
                </a:lnTo>
                <a:lnTo>
                  <a:pt x="423" y="579"/>
                </a:lnTo>
                <a:lnTo>
                  <a:pt x="423" y="575"/>
                </a:lnTo>
                <a:lnTo>
                  <a:pt x="422" y="573"/>
                </a:lnTo>
                <a:lnTo>
                  <a:pt x="422" y="571"/>
                </a:lnTo>
                <a:lnTo>
                  <a:pt x="422" y="569"/>
                </a:lnTo>
                <a:lnTo>
                  <a:pt x="423" y="567"/>
                </a:lnTo>
                <a:lnTo>
                  <a:pt x="423" y="564"/>
                </a:lnTo>
                <a:lnTo>
                  <a:pt x="426" y="559"/>
                </a:lnTo>
                <a:lnTo>
                  <a:pt x="427" y="557"/>
                </a:lnTo>
                <a:lnTo>
                  <a:pt x="430" y="554"/>
                </a:lnTo>
                <a:lnTo>
                  <a:pt x="436" y="547"/>
                </a:lnTo>
                <a:lnTo>
                  <a:pt x="436" y="547"/>
                </a:lnTo>
                <a:lnTo>
                  <a:pt x="437" y="546"/>
                </a:lnTo>
                <a:lnTo>
                  <a:pt x="439" y="543"/>
                </a:lnTo>
                <a:lnTo>
                  <a:pt x="443" y="541"/>
                </a:lnTo>
                <a:lnTo>
                  <a:pt x="445" y="538"/>
                </a:lnTo>
                <a:lnTo>
                  <a:pt x="447" y="536"/>
                </a:lnTo>
                <a:lnTo>
                  <a:pt x="450" y="533"/>
                </a:lnTo>
                <a:lnTo>
                  <a:pt x="455" y="530"/>
                </a:lnTo>
                <a:lnTo>
                  <a:pt x="457" y="530"/>
                </a:lnTo>
                <a:lnTo>
                  <a:pt x="458" y="530"/>
                </a:lnTo>
                <a:lnTo>
                  <a:pt x="460" y="527"/>
                </a:lnTo>
                <a:lnTo>
                  <a:pt x="463" y="526"/>
                </a:lnTo>
                <a:lnTo>
                  <a:pt x="468" y="526"/>
                </a:lnTo>
                <a:lnTo>
                  <a:pt x="471" y="523"/>
                </a:lnTo>
                <a:lnTo>
                  <a:pt x="472" y="523"/>
                </a:lnTo>
                <a:lnTo>
                  <a:pt x="475" y="520"/>
                </a:lnTo>
                <a:lnTo>
                  <a:pt x="476" y="518"/>
                </a:lnTo>
                <a:lnTo>
                  <a:pt x="479" y="517"/>
                </a:lnTo>
                <a:lnTo>
                  <a:pt x="481" y="517"/>
                </a:lnTo>
                <a:lnTo>
                  <a:pt x="482" y="517"/>
                </a:lnTo>
                <a:lnTo>
                  <a:pt x="481" y="516"/>
                </a:lnTo>
                <a:lnTo>
                  <a:pt x="480" y="515"/>
                </a:lnTo>
                <a:lnTo>
                  <a:pt x="480" y="514"/>
                </a:lnTo>
                <a:lnTo>
                  <a:pt x="482" y="512"/>
                </a:lnTo>
                <a:lnTo>
                  <a:pt x="483" y="512"/>
                </a:lnTo>
                <a:lnTo>
                  <a:pt x="483" y="512"/>
                </a:lnTo>
                <a:lnTo>
                  <a:pt x="483" y="513"/>
                </a:lnTo>
                <a:lnTo>
                  <a:pt x="486" y="513"/>
                </a:lnTo>
                <a:lnTo>
                  <a:pt x="492" y="511"/>
                </a:lnTo>
                <a:lnTo>
                  <a:pt x="493" y="511"/>
                </a:lnTo>
                <a:lnTo>
                  <a:pt x="494" y="512"/>
                </a:lnTo>
                <a:lnTo>
                  <a:pt x="498" y="512"/>
                </a:lnTo>
                <a:lnTo>
                  <a:pt x="502" y="511"/>
                </a:lnTo>
                <a:lnTo>
                  <a:pt x="504" y="511"/>
                </a:lnTo>
                <a:lnTo>
                  <a:pt x="506" y="511"/>
                </a:lnTo>
                <a:lnTo>
                  <a:pt x="509" y="512"/>
                </a:lnTo>
                <a:lnTo>
                  <a:pt x="512" y="512"/>
                </a:lnTo>
                <a:lnTo>
                  <a:pt x="519" y="511"/>
                </a:lnTo>
                <a:lnTo>
                  <a:pt x="520" y="510"/>
                </a:lnTo>
                <a:lnTo>
                  <a:pt x="521" y="507"/>
                </a:lnTo>
                <a:lnTo>
                  <a:pt x="521" y="504"/>
                </a:lnTo>
                <a:lnTo>
                  <a:pt x="523" y="501"/>
                </a:lnTo>
                <a:lnTo>
                  <a:pt x="526" y="500"/>
                </a:lnTo>
                <a:lnTo>
                  <a:pt x="531" y="497"/>
                </a:lnTo>
                <a:lnTo>
                  <a:pt x="533" y="494"/>
                </a:lnTo>
                <a:lnTo>
                  <a:pt x="534" y="492"/>
                </a:lnTo>
                <a:lnTo>
                  <a:pt x="534" y="490"/>
                </a:lnTo>
                <a:lnTo>
                  <a:pt x="534" y="485"/>
                </a:lnTo>
                <a:lnTo>
                  <a:pt x="536" y="481"/>
                </a:lnTo>
                <a:lnTo>
                  <a:pt x="538" y="476"/>
                </a:lnTo>
                <a:lnTo>
                  <a:pt x="543" y="470"/>
                </a:lnTo>
                <a:lnTo>
                  <a:pt x="546" y="465"/>
                </a:lnTo>
                <a:lnTo>
                  <a:pt x="548" y="456"/>
                </a:lnTo>
                <a:lnTo>
                  <a:pt x="551" y="451"/>
                </a:lnTo>
                <a:lnTo>
                  <a:pt x="552" y="448"/>
                </a:lnTo>
                <a:lnTo>
                  <a:pt x="553" y="440"/>
                </a:lnTo>
                <a:lnTo>
                  <a:pt x="552" y="434"/>
                </a:lnTo>
                <a:lnTo>
                  <a:pt x="553" y="430"/>
                </a:lnTo>
                <a:lnTo>
                  <a:pt x="553" y="425"/>
                </a:lnTo>
                <a:lnTo>
                  <a:pt x="556" y="423"/>
                </a:lnTo>
                <a:lnTo>
                  <a:pt x="559" y="417"/>
                </a:lnTo>
                <a:lnTo>
                  <a:pt x="559" y="415"/>
                </a:lnTo>
                <a:lnTo>
                  <a:pt x="559" y="411"/>
                </a:lnTo>
                <a:lnTo>
                  <a:pt x="560" y="399"/>
                </a:lnTo>
                <a:lnTo>
                  <a:pt x="560" y="396"/>
                </a:lnTo>
                <a:lnTo>
                  <a:pt x="561" y="387"/>
                </a:lnTo>
                <a:lnTo>
                  <a:pt x="562" y="382"/>
                </a:lnTo>
                <a:lnTo>
                  <a:pt x="561" y="379"/>
                </a:lnTo>
                <a:lnTo>
                  <a:pt x="560" y="375"/>
                </a:lnTo>
                <a:lnTo>
                  <a:pt x="560" y="367"/>
                </a:lnTo>
                <a:lnTo>
                  <a:pt x="559" y="364"/>
                </a:lnTo>
                <a:lnTo>
                  <a:pt x="559" y="357"/>
                </a:lnTo>
                <a:lnTo>
                  <a:pt x="559" y="349"/>
                </a:lnTo>
                <a:lnTo>
                  <a:pt x="560" y="343"/>
                </a:lnTo>
                <a:lnTo>
                  <a:pt x="560" y="339"/>
                </a:lnTo>
                <a:lnTo>
                  <a:pt x="560" y="334"/>
                </a:lnTo>
                <a:lnTo>
                  <a:pt x="561" y="334"/>
                </a:lnTo>
                <a:lnTo>
                  <a:pt x="563" y="331"/>
                </a:lnTo>
                <a:lnTo>
                  <a:pt x="564" y="330"/>
                </a:lnTo>
                <a:lnTo>
                  <a:pt x="568" y="331"/>
                </a:lnTo>
                <a:lnTo>
                  <a:pt x="568" y="331"/>
                </a:lnTo>
                <a:lnTo>
                  <a:pt x="572" y="326"/>
                </a:lnTo>
                <a:lnTo>
                  <a:pt x="575" y="322"/>
                </a:lnTo>
                <a:lnTo>
                  <a:pt x="579" y="314"/>
                </a:lnTo>
                <a:lnTo>
                  <a:pt x="580" y="309"/>
                </a:lnTo>
                <a:lnTo>
                  <a:pt x="582" y="304"/>
                </a:lnTo>
                <a:lnTo>
                  <a:pt x="584" y="300"/>
                </a:lnTo>
                <a:lnTo>
                  <a:pt x="589" y="295"/>
                </a:lnTo>
                <a:lnTo>
                  <a:pt x="590" y="293"/>
                </a:lnTo>
                <a:lnTo>
                  <a:pt x="593" y="290"/>
                </a:lnTo>
                <a:lnTo>
                  <a:pt x="599" y="286"/>
                </a:lnTo>
                <a:lnTo>
                  <a:pt x="601" y="284"/>
                </a:lnTo>
                <a:lnTo>
                  <a:pt x="603" y="280"/>
                </a:lnTo>
                <a:lnTo>
                  <a:pt x="607" y="274"/>
                </a:lnTo>
                <a:lnTo>
                  <a:pt x="612" y="268"/>
                </a:lnTo>
                <a:lnTo>
                  <a:pt x="617" y="260"/>
                </a:lnTo>
                <a:lnTo>
                  <a:pt x="618" y="259"/>
                </a:lnTo>
                <a:lnTo>
                  <a:pt x="619" y="255"/>
                </a:lnTo>
                <a:lnTo>
                  <a:pt x="619" y="255"/>
                </a:lnTo>
                <a:lnTo>
                  <a:pt x="622" y="241"/>
                </a:lnTo>
                <a:lnTo>
                  <a:pt x="622" y="236"/>
                </a:lnTo>
                <a:lnTo>
                  <a:pt x="622" y="224"/>
                </a:lnTo>
                <a:lnTo>
                  <a:pt x="622" y="217"/>
                </a:lnTo>
                <a:lnTo>
                  <a:pt x="620" y="210"/>
                </a:lnTo>
                <a:lnTo>
                  <a:pt x="618" y="200"/>
                </a:lnTo>
                <a:lnTo>
                  <a:pt x="615" y="194"/>
                </a:lnTo>
                <a:lnTo>
                  <a:pt x="612" y="190"/>
                </a:lnTo>
                <a:lnTo>
                  <a:pt x="610" y="189"/>
                </a:lnTo>
                <a:lnTo>
                  <a:pt x="595" y="189"/>
                </a:lnTo>
                <a:lnTo>
                  <a:pt x="594" y="189"/>
                </a:lnTo>
                <a:lnTo>
                  <a:pt x="592" y="188"/>
                </a:lnTo>
                <a:lnTo>
                  <a:pt x="591" y="188"/>
                </a:lnTo>
                <a:lnTo>
                  <a:pt x="589" y="187"/>
                </a:lnTo>
                <a:lnTo>
                  <a:pt x="587" y="187"/>
                </a:lnTo>
                <a:lnTo>
                  <a:pt x="585" y="184"/>
                </a:lnTo>
                <a:lnTo>
                  <a:pt x="582" y="181"/>
                </a:lnTo>
                <a:lnTo>
                  <a:pt x="581" y="180"/>
                </a:lnTo>
                <a:lnTo>
                  <a:pt x="578" y="179"/>
                </a:lnTo>
                <a:lnTo>
                  <a:pt x="574" y="175"/>
                </a:lnTo>
                <a:lnTo>
                  <a:pt x="566" y="165"/>
                </a:lnTo>
                <a:lnTo>
                  <a:pt x="561" y="162"/>
                </a:lnTo>
                <a:lnTo>
                  <a:pt x="557" y="159"/>
                </a:lnTo>
                <a:lnTo>
                  <a:pt x="552" y="155"/>
                </a:lnTo>
                <a:lnTo>
                  <a:pt x="548" y="152"/>
                </a:lnTo>
                <a:lnTo>
                  <a:pt x="544" y="150"/>
                </a:lnTo>
                <a:lnTo>
                  <a:pt x="541" y="149"/>
                </a:lnTo>
                <a:lnTo>
                  <a:pt x="526" y="149"/>
                </a:lnTo>
                <a:lnTo>
                  <a:pt x="523" y="149"/>
                </a:lnTo>
                <a:lnTo>
                  <a:pt x="521" y="149"/>
                </a:lnTo>
                <a:lnTo>
                  <a:pt x="512" y="149"/>
                </a:lnTo>
                <a:lnTo>
                  <a:pt x="509" y="148"/>
                </a:lnTo>
                <a:lnTo>
                  <a:pt x="503" y="147"/>
                </a:lnTo>
                <a:lnTo>
                  <a:pt x="488" y="140"/>
                </a:lnTo>
                <a:lnTo>
                  <a:pt x="485" y="141"/>
                </a:lnTo>
                <a:lnTo>
                  <a:pt x="485" y="140"/>
                </a:lnTo>
                <a:lnTo>
                  <a:pt x="482" y="138"/>
                </a:lnTo>
                <a:lnTo>
                  <a:pt x="480" y="139"/>
                </a:lnTo>
                <a:lnTo>
                  <a:pt x="478" y="141"/>
                </a:lnTo>
                <a:lnTo>
                  <a:pt x="476" y="142"/>
                </a:lnTo>
                <a:lnTo>
                  <a:pt x="471" y="144"/>
                </a:lnTo>
                <a:lnTo>
                  <a:pt x="468" y="144"/>
                </a:lnTo>
                <a:lnTo>
                  <a:pt x="468" y="143"/>
                </a:lnTo>
                <a:lnTo>
                  <a:pt x="469" y="141"/>
                </a:lnTo>
                <a:lnTo>
                  <a:pt x="470" y="139"/>
                </a:lnTo>
                <a:lnTo>
                  <a:pt x="470" y="138"/>
                </a:lnTo>
                <a:lnTo>
                  <a:pt x="470" y="135"/>
                </a:lnTo>
                <a:lnTo>
                  <a:pt x="468" y="134"/>
                </a:lnTo>
                <a:lnTo>
                  <a:pt x="468" y="134"/>
                </a:lnTo>
                <a:lnTo>
                  <a:pt x="467" y="135"/>
                </a:lnTo>
                <a:lnTo>
                  <a:pt x="466" y="135"/>
                </a:lnTo>
                <a:lnTo>
                  <a:pt x="465" y="134"/>
                </a:lnTo>
                <a:lnTo>
                  <a:pt x="465" y="133"/>
                </a:lnTo>
                <a:lnTo>
                  <a:pt x="467" y="133"/>
                </a:lnTo>
                <a:lnTo>
                  <a:pt x="467" y="130"/>
                </a:lnTo>
                <a:lnTo>
                  <a:pt x="465" y="125"/>
                </a:lnTo>
                <a:lnTo>
                  <a:pt x="461" y="122"/>
                </a:lnTo>
                <a:lnTo>
                  <a:pt x="459" y="123"/>
                </a:lnTo>
                <a:lnTo>
                  <a:pt x="458" y="123"/>
                </a:lnTo>
                <a:lnTo>
                  <a:pt x="456" y="125"/>
                </a:lnTo>
                <a:lnTo>
                  <a:pt x="455" y="127"/>
                </a:lnTo>
                <a:lnTo>
                  <a:pt x="455" y="123"/>
                </a:lnTo>
                <a:lnTo>
                  <a:pt x="453" y="121"/>
                </a:lnTo>
                <a:lnTo>
                  <a:pt x="452" y="119"/>
                </a:lnTo>
                <a:lnTo>
                  <a:pt x="448" y="118"/>
                </a:lnTo>
                <a:lnTo>
                  <a:pt x="445" y="116"/>
                </a:lnTo>
                <a:lnTo>
                  <a:pt x="442" y="116"/>
                </a:lnTo>
                <a:lnTo>
                  <a:pt x="440" y="113"/>
                </a:lnTo>
                <a:lnTo>
                  <a:pt x="436" y="113"/>
                </a:lnTo>
                <a:lnTo>
                  <a:pt x="435" y="113"/>
                </a:lnTo>
                <a:lnTo>
                  <a:pt x="426" y="108"/>
                </a:lnTo>
                <a:lnTo>
                  <a:pt x="422" y="107"/>
                </a:lnTo>
                <a:lnTo>
                  <a:pt x="413" y="107"/>
                </a:lnTo>
                <a:lnTo>
                  <a:pt x="411" y="109"/>
                </a:lnTo>
                <a:lnTo>
                  <a:pt x="409" y="113"/>
                </a:lnTo>
                <a:lnTo>
                  <a:pt x="407" y="114"/>
                </a:lnTo>
                <a:lnTo>
                  <a:pt x="406" y="118"/>
                </a:lnTo>
                <a:lnTo>
                  <a:pt x="406" y="120"/>
                </a:lnTo>
                <a:lnTo>
                  <a:pt x="404" y="122"/>
                </a:lnTo>
                <a:lnTo>
                  <a:pt x="401" y="122"/>
                </a:lnTo>
                <a:lnTo>
                  <a:pt x="399" y="123"/>
                </a:lnTo>
                <a:lnTo>
                  <a:pt x="398" y="124"/>
                </a:lnTo>
                <a:lnTo>
                  <a:pt x="396" y="125"/>
                </a:lnTo>
                <a:lnTo>
                  <a:pt x="395" y="132"/>
                </a:lnTo>
                <a:lnTo>
                  <a:pt x="394" y="134"/>
                </a:lnTo>
                <a:lnTo>
                  <a:pt x="392" y="135"/>
                </a:lnTo>
                <a:lnTo>
                  <a:pt x="392" y="137"/>
                </a:lnTo>
                <a:lnTo>
                  <a:pt x="391" y="140"/>
                </a:lnTo>
                <a:lnTo>
                  <a:pt x="390" y="140"/>
                </a:lnTo>
                <a:lnTo>
                  <a:pt x="390" y="140"/>
                </a:lnTo>
                <a:lnTo>
                  <a:pt x="389" y="138"/>
                </a:lnTo>
                <a:lnTo>
                  <a:pt x="389" y="134"/>
                </a:lnTo>
                <a:lnTo>
                  <a:pt x="390" y="129"/>
                </a:lnTo>
                <a:lnTo>
                  <a:pt x="389" y="129"/>
                </a:lnTo>
                <a:lnTo>
                  <a:pt x="387" y="129"/>
                </a:lnTo>
                <a:lnTo>
                  <a:pt x="385" y="130"/>
                </a:lnTo>
                <a:lnTo>
                  <a:pt x="382" y="130"/>
                </a:lnTo>
                <a:lnTo>
                  <a:pt x="376" y="130"/>
                </a:lnTo>
                <a:lnTo>
                  <a:pt x="374" y="130"/>
                </a:lnTo>
                <a:lnTo>
                  <a:pt x="372" y="130"/>
                </a:lnTo>
                <a:lnTo>
                  <a:pt x="371" y="130"/>
                </a:lnTo>
                <a:lnTo>
                  <a:pt x="370" y="130"/>
                </a:lnTo>
                <a:lnTo>
                  <a:pt x="369" y="130"/>
                </a:lnTo>
                <a:lnTo>
                  <a:pt x="365" y="131"/>
                </a:lnTo>
                <a:lnTo>
                  <a:pt x="362" y="131"/>
                </a:lnTo>
                <a:lnTo>
                  <a:pt x="359" y="130"/>
                </a:lnTo>
                <a:lnTo>
                  <a:pt x="358" y="130"/>
                </a:lnTo>
                <a:lnTo>
                  <a:pt x="357" y="130"/>
                </a:lnTo>
                <a:lnTo>
                  <a:pt x="357" y="133"/>
                </a:lnTo>
                <a:lnTo>
                  <a:pt x="356" y="133"/>
                </a:lnTo>
                <a:lnTo>
                  <a:pt x="356" y="133"/>
                </a:lnTo>
                <a:lnTo>
                  <a:pt x="355" y="130"/>
                </a:lnTo>
                <a:lnTo>
                  <a:pt x="356" y="130"/>
                </a:lnTo>
                <a:lnTo>
                  <a:pt x="357" y="128"/>
                </a:lnTo>
                <a:lnTo>
                  <a:pt x="359" y="128"/>
                </a:lnTo>
                <a:lnTo>
                  <a:pt x="361" y="129"/>
                </a:lnTo>
                <a:lnTo>
                  <a:pt x="365" y="129"/>
                </a:lnTo>
                <a:lnTo>
                  <a:pt x="368" y="128"/>
                </a:lnTo>
                <a:lnTo>
                  <a:pt x="369" y="127"/>
                </a:lnTo>
                <a:lnTo>
                  <a:pt x="369" y="127"/>
                </a:lnTo>
                <a:lnTo>
                  <a:pt x="369" y="119"/>
                </a:lnTo>
                <a:lnTo>
                  <a:pt x="369" y="118"/>
                </a:lnTo>
                <a:lnTo>
                  <a:pt x="367" y="118"/>
                </a:lnTo>
                <a:lnTo>
                  <a:pt x="366" y="117"/>
                </a:lnTo>
                <a:lnTo>
                  <a:pt x="365" y="116"/>
                </a:lnTo>
                <a:lnTo>
                  <a:pt x="365" y="116"/>
                </a:lnTo>
                <a:lnTo>
                  <a:pt x="365" y="114"/>
                </a:lnTo>
                <a:lnTo>
                  <a:pt x="366" y="113"/>
                </a:lnTo>
                <a:lnTo>
                  <a:pt x="367" y="112"/>
                </a:lnTo>
                <a:lnTo>
                  <a:pt x="367" y="110"/>
                </a:lnTo>
                <a:lnTo>
                  <a:pt x="366" y="110"/>
                </a:lnTo>
                <a:lnTo>
                  <a:pt x="365" y="111"/>
                </a:lnTo>
                <a:lnTo>
                  <a:pt x="364" y="111"/>
                </a:lnTo>
                <a:lnTo>
                  <a:pt x="362" y="113"/>
                </a:lnTo>
                <a:lnTo>
                  <a:pt x="361" y="117"/>
                </a:lnTo>
                <a:lnTo>
                  <a:pt x="358" y="117"/>
                </a:lnTo>
                <a:lnTo>
                  <a:pt x="358" y="116"/>
                </a:lnTo>
                <a:lnTo>
                  <a:pt x="358" y="114"/>
                </a:lnTo>
                <a:lnTo>
                  <a:pt x="358" y="109"/>
                </a:lnTo>
                <a:lnTo>
                  <a:pt x="357" y="107"/>
                </a:lnTo>
                <a:lnTo>
                  <a:pt x="357" y="103"/>
                </a:lnTo>
                <a:lnTo>
                  <a:pt x="357" y="102"/>
                </a:lnTo>
                <a:lnTo>
                  <a:pt x="359" y="100"/>
                </a:lnTo>
                <a:lnTo>
                  <a:pt x="360" y="98"/>
                </a:lnTo>
                <a:lnTo>
                  <a:pt x="362" y="94"/>
                </a:lnTo>
                <a:lnTo>
                  <a:pt x="367" y="90"/>
                </a:lnTo>
                <a:lnTo>
                  <a:pt x="372" y="86"/>
                </a:lnTo>
                <a:lnTo>
                  <a:pt x="375" y="81"/>
                </a:lnTo>
                <a:lnTo>
                  <a:pt x="376" y="80"/>
                </a:lnTo>
                <a:lnTo>
                  <a:pt x="378" y="78"/>
                </a:lnTo>
                <a:lnTo>
                  <a:pt x="379" y="74"/>
                </a:lnTo>
                <a:lnTo>
                  <a:pt x="379" y="73"/>
                </a:lnTo>
                <a:lnTo>
                  <a:pt x="380" y="67"/>
                </a:lnTo>
                <a:lnTo>
                  <a:pt x="380" y="66"/>
                </a:lnTo>
                <a:lnTo>
                  <a:pt x="379" y="64"/>
                </a:lnTo>
                <a:lnTo>
                  <a:pt x="377" y="64"/>
                </a:lnTo>
                <a:lnTo>
                  <a:pt x="372" y="62"/>
                </a:lnTo>
                <a:lnTo>
                  <a:pt x="371" y="59"/>
                </a:lnTo>
                <a:lnTo>
                  <a:pt x="369" y="51"/>
                </a:lnTo>
                <a:lnTo>
                  <a:pt x="369" y="50"/>
                </a:lnTo>
                <a:lnTo>
                  <a:pt x="368" y="47"/>
                </a:lnTo>
                <a:lnTo>
                  <a:pt x="367" y="43"/>
                </a:lnTo>
                <a:lnTo>
                  <a:pt x="366" y="39"/>
                </a:lnTo>
                <a:lnTo>
                  <a:pt x="365" y="36"/>
                </a:lnTo>
                <a:lnTo>
                  <a:pt x="364" y="31"/>
                </a:lnTo>
                <a:lnTo>
                  <a:pt x="364" y="27"/>
                </a:lnTo>
                <a:lnTo>
                  <a:pt x="362" y="23"/>
                </a:lnTo>
                <a:lnTo>
                  <a:pt x="359" y="19"/>
                </a:lnTo>
                <a:lnTo>
                  <a:pt x="358" y="18"/>
                </a:lnTo>
                <a:lnTo>
                  <a:pt x="357" y="18"/>
                </a:lnTo>
                <a:lnTo>
                  <a:pt x="356" y="21"/>
                </a:lnTo>
                <a:lnTo>
                  <a:pt x="355" y="21"/>
                </a:lnTo>
                <a:lnTo>
                  <a:pt x="351" y="26"/>
                </a:lnTo>
                <a:lnTo>
                  <a:pt x="350" y="28"/>
                </a:lnTo>
                <a:lnTo>
                  <a:pt x="346" y="34"/>
                </a:lnTo>
                <a:lnTo>
                  <a:pt x="344" y="39"/>
                </a:lnTo>
                <a:lnTo>
                  <a:pt x="342" y="40"/>
                </a:lnTo>
                <a:lnTo>
                  <a:pt x="339" y="48"/>
                </a:lnTo>
                <a:lnTo>
                  <a:pt x="331" y="56"/>
                </a:lnTo>
                <a:lnTo>
                  <a:pt x="330" y="57"/>
                </a:lnTo>
                <a:lnTo>
                  <a:pt x="329" y="58"/>
                </a:lnTo>
                <a:lnTo>
                  <a:pt x="326" y="58"/>
                </a:lnTo>
                <a:lnTo>
                  <a:pt x="325" y="57"/>
                </a:lnTo>
                <a:lnTo>
                  <a:pt x="323" y="57"/>
                </a:lnTo>
                <a:lnTo>
                  <a:pt x="321" y="57"/>
                </a:lnTo>
                <a:lnTo>
                  <a:pt x="317" y="59"/>
                </a:lnTo>
                <a:lnTo>
                  <a:pt x="315" y="59"/>
                </a:lnTo>
                <a:lnTo>
                  <a:pt x="314" y="59"/>
                </a:lnTo>
                <a:lnTo>
                  <a:pt x="311" y="57"/>
                </a:lnTo>
                <a:lnTo>
                  <a:pt x="308" y="53"/>
                </a:lnTo>
                <a:lnTo>
                  <a:pt x="307" y="53"/>
                </a:lnTo>
                <a:lnTo>
                  <a:pt x="306" y="52"/>
                </a:lnTo>
                <a:lnTo>
                  <a:pt x="299" y="50"/>
                </a:lnTo>
                <a:lnTo>
                  <a:pt x="293" y="52"/>
                </a:lnTo>
                <a:lnTo>
                  <a:pt x="291" y="52"/>
                </a:lnTo>
                <a:lnTo>
                  <a:pt x="289" y="51"/>
                </a:lnTo>
                <a:lnTo>
                  <a:pt x="287" y="51"/>
                </a:lnTo>
                <a:lnTo>
                  <a:pt x="285" y="52"/>
                </a:lnTo>
                <a:lnTo>
                  <a:pt x="285" y="60"/>
                </a:lnTo>
                <a:lnTo>
                  <a:pt x="285" y="61"/>
                </a:lnTo>
                <a:lnTo>
                  <a:pt x="279" y="61"/>
                </a:lnTo>
                <a:lnTo>
                  <a:pt x="276" y="60"/>
                </a:lnTo>
                <a:lnTo>
                  <a:pt x="273" y="60"/>
                </a:lnTo>
                <a:lnTo>
                  <a:pt x="268" y="61"/>
                </a:lnTo>
                <a:lnTo>
                  <a:pt x="267" y="60"/>
                </a:lnTo>
                <a:lnTo>
                  <a:pt x="267" y="59"/>
                </a:lnTo>
                <a:lnTo>
                  <a:pt x="266" y="59"/>
                </a:lnTo>
                <a:lnTo>
                  <a:pt x="264" y="59"/>
                </a:lnTo>
                <a:lnTo>
                  <a:pt x="260" y="61"/>
                </a:lnTo>
                <a:lnTo>
                  <a:pt x="258" y="64"/>
                </a:lnTo>
                <a:lnTo>
                  <a:pt x="254" y="64"/>
                </a:lnTo>
                <a:lnTo>
                  <a:pt x="251" y="66"/>
                </a:lnTo>
                <a:lnTo>
                  <a:pt x="250" y="67"/>
                </a:lnTo>
                <a:lnTo>
                  <a:pt x="247" y="67"/>
                </a:lnTo>
                <a:lnTo>
                  <a:pt x="245" y="68"/>
                </a:lnTo>
                <a:lnTo>
                  <a:pt x="243" y="71"/>
                </a:lnTo>
                <a:lnTo>
                  <a:pt x="240" y="72"/>
                </a:lnTo>
                <a:lnTo>
                  <a:pt x="237" y="72"/>
                </a:lnTo>
                <a:lnTo>
                  <a:pt x="234" y="71"/>
                </a:lnTo>
                <a:lnTo>
                  <a:pt x="229" y="68"/>
                </a:lnTo>
                <a:lnTo>
                  <a:pt x="228" y="67"/>
                </a:lnTo>
                <a:lnTo>
                  <a:pt x="227" y="64"/>
                </a:lnTo>
                <a:lnTo>
                  <a:pt x="226" y="63"/>
                </a:lnTo>
                <a:lnTo>
                  <a:pt x="225" y="62"/>
                </a:lnTo>
                <a:lnTo>
                  <a:pt x="225" y="61"/>
                </a:lnTo>
                <a:lnTo>
                  <a:pt x="225" y="57"/>
                </a:lnTo>
                <a:lnTo>
                  <a:pt x="225" y="54"/>
                </a:lnTo>
                <a:lnTo>
                  <a:pt x="222" y="51"/>
                </a:lnTo>
                <a:lnTo>
                  <a:pt x="220" y="50"/>
                </a:lnTo>
                <a:lnTo>
                  <a:pt x="222" y="39"/>
                </a:lnTo>
                <a:lnTo>
                  <a:pt x="223" y="34"/>
                </a:lnTo>
                <a:lnTo>
                  <a:pt x="224" y="32"/>
                </a:lnTo>
                <a:lnTo>
                  <a:pt x="224" y="29"/>
                </a:lnTo>
                <a:lnTo>
                  <a:pt x="227" y="24"/>
                </a:lnTo>
                <a:lnTo>
                  <a:pt x="227" y="23"/>
                </a:lnTo>
                <a:lnTo>
                  <a:pt x="227" y="21"/>
                </a:lnTo>
                <a:lnTo>
                  <a:pt x="226" y="19"/>
                </a:lnTo>
                <a:lnTo>
                  <a:pt x="226" y="14"/>
                </a:lnTo>
                <a:lnTo>
                  <a:pt x="223" y="13"/>
                </a:lnTo>
                <a:lnTo>
                  <a:pt x="222" y="12"/>
                </a:lnTo>
                <a:lnTo>
                  <a:pt x="219" y="12"/>
                </a:lnTo>
                <a:lnTo>
                  <a:pt x="220" y="8"/>
                </a:lnTo>
                <a:lnTo>
                  <a:pt x="220" y="6"/>
                </a:lnTo>
                <a:lnTo>
                  <a:pt x="220" y="3"/>
                </a:lnTo>
                <a:lnTo>
                  <a:pt x="219" y="0"/>
                </a:lnTo>
                <a:lnTo>
                  <a:pt x="216" y="0"/>
                </a:lnTo>
                <a:lnTo>
                  <a:pt x="213" y="2"/>
                </a:lnTo>
                <a:lnTo>
                  <a:pt x="209" y="1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74" name="Freeform 874"/>
          <p:cNvSpPr>
            <a:spLocks/>
          </p:cNvSpPr>
          <p:nvPr/>
        </p:nvSpPr>
        <p:spPr bwMode="auto">
          <a:xfrm>
            <a:off x="4179888" y="1995453"/>
            <a:ext cx="53975" cy="34925"/>
          </a:xfrm>
          <a:custGeom>
            <a:avLst/>
            <a:gdLst>
              <a:gd name="T0" fmla="*/ 6 w 34"/>
              <a:gd name="T1" fmla="*/ 6 h 22"/>
              <a:gd name="T2" fmla="*/ 6 w 34"/>
              <a:gd name="T3" fmla="*/ 9 h 22"/>
              <a:gd name="T4" fmla="*/ 5 w 34"/>
              <a:gd name="T5" fmla="*/ 10 h 22"/>
              <a:gd name="T6" fmla="*/ 2 w 34"/>
              <a:gd name="T7" fmla="*/ 11 h 22"/>
              <a:gd name="T8" fmla="*/ 2 w 34"/>
              <a:gd name="T9" fmla="*/ 13 h 22"/>
              <a:gd name="T10" fmla="*/ 0 w 34"/>
              <a:gd name="T11" fmla="*/ 14 h 22"/>
              <a:gd name="T12" fmla="*/ 3 w 34"/>
              <a:gd name="T13" fmla="*/ 16 h 22"/>
              <a:gd name="T14" fmla="*/ 5 w 34"/>
              <a:gd name="T15" fmla="*/ 20 h 22"/>
              <a:gd name="T16" fmla="*/ 7 w 34"/>
              <a:gd name="T17" fmla="*/ 21 h 22"/>
              <a:gd name="T18" fmla="*/ 11 w 34"/>
              <a:gd name="T19" fmla="*/ 19 h 22"/>
              <a:gd name="T20" fmla="*/ 12 w 34"/>
              <a:gd name="T21" fmla="*/ 16 h 22"/>
              <a:gd name="T22" fmla="*/ 20 w 34"/>
              <a:gd name="T23" fmla="*/ 15 h 22"/>
              <a:gd name="T24" fmla="*/ 23 w 34"/>
              <a:gd name="T25" fmla="*/ 18 h 22"/>
              <a:gd name="T26" fmla="*/ 23 w 34"/>
              <a:gd name="T27" fmla="*/ 19 h 22"/>
              <a:gd name="T28" fmla="*/ 23 w 34"/>
              <a:gd name="T29" fmla="*/ 22 h 22"/>
              <a:gd name="T30" fmla="*/ 24 w 34"/>
              <a:gd name="T31" fmla="*/ 22 h 22"/>
              <a:gd name="T32" fmla="*/ 24 w 34"/>
              <a:gd name="T33" fmla="*/ 22 h 22"/>
              <a:gd name="T34" fmla="*/ 27 w 34"/>
              <a:gd name="T35" fmla="*/ 21 h 22"/>
              <a:gd name="T36" fmla="*/ 29 w 34"/>
              <a:gd name="T37" fmla="*/ 19 h 22"/>
              <a:gd name="T38" fmla="*/ 32 w 34"/>
              <a:gd name="T39" fmla="*/ 19 h 22"/>
              <a:gd name="T40" fmla="*/ 33 w 34"/>
              <a:gd name="T41" fmla="*/ 18 h 22"/>
              <a:gd name="T42" fmla="*/ 32 w 34"/>
              <a:gd name="T43" fmla="*/ 15 h 22"/>
              <a:gd name="T44" fmla="*/ 31 w 34"/>
              <a:gd name="T45" fmla="*/ 14 h 22"/>
              <a:gd name="T46" fmla="*/ 33 w 34"/>
              <a:gd name="T47" fmla="*/ 16 h 22"/>
              <a:gd name="T48" fmla="*/ 34 w 34"/>
              <a:gd name="T49" fmla="*/ 14 h 22"/>
              <a:gd name="T50" fmla="*/ 33 w 34"/>
              <a:gd name="T51" fmla="*/ 12 h 22"/>
              <a:gd name="T52" fmla="*/ 32 w 34"/>
              <a:gd name="T53" fmla="*/ 11 h 22"/>
              <a:gd name="T54" fmla="*/ 27 w 34"/>
              <a:gd name="T55" fmla="*/ 12 h 22"/>
              <a:gd name="T56" fmla="*/ 30 w 34"/>
              <a:gd name="T57" fmla="*/ 10 h 22"/>
              <a:gd name="T58" fmla="*/ 30 w 34"/>
              <a:gd name="T59" fmla="*/ 6 h 22"/>
              <a:gd name="T60" fmla="*/ 27 w 34"/>
              <a:gd name="T61" fmla="*/ 4 h 22"/>
              <a:gd name="T62" fmla="*/ 25 w 34"/>
              <a:gd name="T63" fmla="*/ 2 h 22"/>
              <a:gd name="T64" fmla="*/ 22 w 34"/>
              <a:gd name="T65" fmla="*/ 1 h 22"/>
              <a:gd name="T66" fmla="*/ 15 w 34"/>
              <a:gd name="T67" fmla="*/ 3 h 22"/>
              <a:gd name="T68" fmla="*/ 14 w 34"/>
              <a:gd name="T69" fmla="*/ 4 h 22"/>
              <a:gd name="T70" fmla="*/ 12 w 34"/>
              <a:gd name="T71" fmla="*/ 4 h 22"/>
              <a:gd name="T72" fmla="*/ 12 w 34"/>
              <a:gd name="T73" fmla="*/ 4 h 22"/>
              <a:gd name="T74" fmla="*/ 14 w 34"/>
              <a:gd name="T75" fmla="*/ 2 h 22"/>
              <a:gd name="T76" fmla="*/ 14 w 34"/>
              <a:gd name="T77" fmla="*/ 1 h 22"/>
              <a:gd name="T78" fmla="*/ 12 w 34"/>
              <a:gd name="T79" fmla="*/ 0 h 22"/>
              <a:gd name="T80" fmla="*/ 10 w 34"/>
              <a:gd name="T81" fmla="*/ 0 h 22"/>
              <a:gd name="T82" fmla="*/ 10 w 34"/>
              <a:gd name="T83" fmla="*/ 1 h 22"/>
              <a:gd name="T84" fmla="*/ 9 w 34"/>
              <a:gd name="T85" fmla="*/ 1 h 22"/>
              <a:gd name="T86" fmla="*/ 9 w 34"/>
              <a:gd name="T87" fmla="*/ 2 h 22"/>
              <a:gd name="T88" fmla="*/ 9 w 34"/>
              <a:gd name="T89" fmla="*/ 3 h 22"/>
              <a:gd name="T90" fmla="*/ 9 w 34"/>
              <a:gd name="T91" fmla="*/ 4 h 22"/>
              <a:gd name="T92" fmla="*/ 7 w 34"/>
              <a:gd name="T93" fmla="*/ 5 h 22"/>
              <a:gd name="T94" fmla="*/ 6 w 34"/>
              <a:gd name="T95" fmla="*/ 6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4" h="22">
                <a:moveTo>
                  <a:pt x="6" y="6"/>
                </a:moveTo>
                <a:lnTo>
                  <a:pt x="6" y="9"/>
                </a:lnTo>
                <a:lnTo>
                  <a:pt x="5" y="10"/>
                </a:lnTo>
                <a:lnTo>
                  <a:pt x="2" y="11"/>
                </a:lnTo>
                <a:lnTo>
                  <a:pt x="2" y="13"/>
                </a:lnTo>
                <a:lnTo>
                  <a:pt x="0" y="14"/>
                </a:lnTo>
                <a:lnTo>
                  <a:pt x="3" y="16"/>
                </a:lnTo>
                <a:lnTo>
                  <a:pt x="5" y="20"/>
                </a:lnTo>
                <a:lnTo>
                  <a:pt x="7" y="21"/>
                </a:lnTo>
                <a:lnTo>
                  <a:pt x="11" y="19"/>
                </a:lnTo>
                <a:lnTo>
                  <a:pt x="12" y="16"/>
                </a:lnTo>
                <a:lnTo>
                  <a:pt x="20" y="15"/>
                </a:lnTo>
                <a:lnTo>
                  <a:pt x="23" y="18"/>
                </a:lnTo>
                <a:lnTo>
                  <a:pt x="23" y="19"/>
                </a:lnTo>
                <a:lnTo>
                  <a:pt x="23" y="22"/>
                </a:lnTo>
                <a:lnTo>
                  <a:pt x="24" y="22"/>
                </a:lnTo>
                <a:lnTo>
                  <a:pt x="24" y="22"/>
                </a:lnTo>
                <a:lnTo>
                  <a:pt x="27" y="21"/>
                </a:lnTo>
                <a:lnTo>
                  <a:pt x="29" y="19"/>
                </a:lnTo>
                <a:lnTo>
                  <a:pt x="32" y="19"/>
                </a:lnTo>
                <a:lnTo>
                  <a:pt x="33" y="18"/>
                </a:lnTo>
                <a:lnTo>
                  <a:pt x="32" y="15"/>
                </a:lnTo>
                <a:lnTo>
                  <a:pt x="31" y="14"/>
                </a:lnTo>
                <a:lnTo>
                  <a:pt x="33" y="16"/>
                </a:lnTo>
                <a:lnTo>
                  <a:pt x="34" y="14"/>
                </a:lnTo>
                <a:lnTo>
                  <a:pt x="33" y="12"/>
                </a:lnTo>
                <a:lnTo>
                  <a:pt x="32" y="11"/>
                </a:lnTo>
                <a:lnTo>
                  <a:pt x="27" y="12"/>
                </a:lnTo>
                <a:lnTo>
                  <a:pt x="30" y="10"/>
                </a:lnTo>
                <a:lnTo>
                  <a:pt x="30" y="6"/>
                </a:lnTo>
                <a:lnTo>
                  <a:pt x="27" y="4"/>
                </a:lnTo>
                <a:lnTo>
                  <a:pt x="25" y="2"/>
                </a:lnTo>
                <a:lnTo>
                  <a:pt x="22" y="1"/>
                </a:lnTo>
                <a:lnTo>
                  <a:pt x="15" y="3"/>
                </a:lnTo>
                <a:lnTo>
                  <a:pt x="14" y="4"/>
                </a:lnTo>
                <a:lnTo>
                  <a:pt x="12" y="4"/>
                </a:lnTo>
                <a:lnTo>
                  <a:pt x="12" y="4"/>
                </a:lnTo>
                <a:lnTo>
                  <a:pt x="14" y="2"/>
                </a:lnTo>
                <a:lnTo>
                  <a:pt x="14" y="1"/>
                </a:lnTo>
                <a:lnTo>
                  <a:pt x="12" y="0"/>
                </a:lnTo>
                <a:lnTo>
                  <a:pt x="10" y="0"/>
                </a:lnTo>
                <a:lnTo>
                  <a:pt x="10" y="1"/>
                </a:lnTo>
                <a:lnTo>
                  <a:pt x="9" y="1"/>
                </a:lnTo>
                <a:lnTo>
                  <a:pt x="9" y="2"/>
                </a:lnTo>
                <a:lnTo>
                  <a:pt x="9" y="3"/>
                </a:lnTo>
                <a:lnTo>
                  <a:pt x="9" y="4"/>
                </a:lnTo>
                <a:lnTo>
                  <a:pt x="7" y="5"/>
                </a:lnTo>
                <a:lnTo>
                  <a:pt x="6" y="6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75" name="Freeform 875"/>
          <p:cNvSpPr>
            <a:spLocks/>
          </p:cNvSpPr>
          <p:nvPr/>
        </p:nvSpPr>
        <p:spPr bwMode="auto">
          <a:xfrm>
            <a:off x="4179888" y="1995453"/>
            <a:ext cx="53975" cy="34925"/>
          </a:xfrm>
          <a:custGeom>
            <a:avLst/>
            <a:gdLst>
              <a:gd name="T0" fmla="*/ 6 w 34"/>
              <a:gd name="T1" fmla="*/ 6 h 22"/>
              <a:gd name="T2" fmla="*/ 6 w 34"/>
              <a:gd name="T3" fmla="*/ 9 h 22"/>
              <a:gd name="T4" fmla="*/ 5 w 34"/>
              <a:gd name="T5" fmla="*/ 10 h 22"/>
              <a:gd name="T6" fmla="*/ 2 w 34"/>
              <a:gd name="T7" fmla="*/ 11 h 22"/>
              <a:gd name="T8" fmla="*/ 2 w 34"/>
              <a:gd name="T9" fmla="*/ 13 h 22"/>
              <a:gd name="T10" fmla="*/ 0 w 34"/>
              <a:gd name="T11" fmla="*/ 14 h 22"/>
              <a:gd name="T12" fmla="*/ 3 w 34"/>
              <a:gd name="T13" fmla="*/ 16 h 22"/>
              <a:gd name="T14" fmla="*/ 5 w 34"/>
              <a:gd name="T15" fmla="*/ 20 h 22"/>
              <a:gd name="T16" fmla="*/ 7 w 34"/>
              <a:gd name="T17" fmla="*/ 21 h 22"/>
              <a:gd name="T18" fmla="*/ 11 w 34"/>
              <a:gd name="T19" fmla="*/ 19 h 22"/>
              <a:gd name="T20" fmla="*/ 12 w 34"/>
              <a:gd name="T21" fmla="*/ 16 h 22"/>
              <a:gd name="T22" fmla="*/ 20 w 34"/>
              <a:gd name="T23" fmla="*/ 15 h 22"/>
              <a:gd name="T24" fmla="*/ 23 w 34"/>
              <a:gd name="T25" fmla="*/ 18 h 22"/>
              <a:gd name="T26" fmla="*/ 23 w 34"/>
              <a:gd name="T27" fmla="*/ 19 h 22"/>
              <a:gd name="T28" fmla="*/ 23 w 34"/>
              <a:gd name="T29" fmla="*/ 22 h 22"/>
              <a:gd name="T30" fmla="*/ 24 w 34"/>
              <a:gd name="T31" fmla="*/ 22 h 22"/>
              <a:gd name="T32" fmla="*/ 24 w 34"/>
              <a:gd name="T33" fmla="*/ 22 h 22"/>
              <a:gd name="T34" fmla="*/ 27 w 34"/>
              <a:gd name="T35" fmla="*/ 21 h 22"/>
              <a:gd name="T36" fmla="*/ 29 w 34"/>
              <a:gd name="T37" fmla="*/ 19 h 22"/>
              <a:gd name="T38" fmla="*/ 32 w 34"/>
              <a:gd name="T39" fmla="*/ 19 h 22"/>
              <a:gd name="T40" fmla="*/ 33 w 34"/>
              <a:gd name="T41" fmla="*/ 18 h 22"/>
              <a:gd name="T42" fmla="*/ 32 w 34"/>
              <a:gd name="T43" fmla="*/ 15 h 22"/>
              <a:gd name="T44" fmla="*/ 31 w 34"/>
              <a:gd name="T45" fmla="*/ 14 h 22"/>
              <a:gd name="T46" fmla="*/ 33 w 34"/>
              <a:gd name="T47" fmla="*/ 16 h 22"/>
              <a:gd name="T48" fmla="*/ 34 w 34"/>
              <a:gd name="T49" fmla="*/ 14 h 22"/>
              <a:gd name="T50" fmla="*/ 33 w 34"/>
              <a:gd name="T51" fmla="*/ 12 h 22"/>
              <a:gd name="T52" fmla="*/ 32 w 34"/>
              <a:gd name="T53" fmla="*/ 11 h 22"/>
              <a:gd name="T54" fmla="*/ 27 w 34"/>
              <a:gd name="T55" fmla="*/ 12 h 22"/>
              <a:gd name="T56" fmla="*/ 30 w 34"/>
              <a:gd name="T57" fmla="*/ 10 h 22"/>
              <a:gd name="T58" fmla="*/ 30 w 34"/>
              <a:gd name="T59" fmla="*/ 6 h 22"/>
              <a:gd name="T60" fmla="*/ 27 w 34"/>
              <a:gd name="T61" fmla="*/ 4 h 22"/>
              <a:gd name="T62" fmla="*/ 25 w 34"/>
              <a:gd name="T63" fmla="*/ 2 h 22"/>
              <a:gd name="T64" fmla="*/ 22 w 34"/>
              <a:gd name="T65" fmla="*/ 1 h 22"/>
              <a:gd name="T66" fmla="*/ 15 w 34"/>
              <a:gd name="T67" fmla="*/ 3 h 22"/>
              <a:gd name="T68" fmla="*/ 14 w 34"/>
              <a:gd name="T69" fmla="*/ 4 h 22"/>
              <a:gd name="T70" fmla="*/ 12 w 34"/>
              <a:gd name="T71" fmla="*/ 4 h 22"/>
              <a:gd name="T72" fmla="*/ 12 w 34"/>
              <a:gd name="T73" fmla="*/ 4 h 22"/>
              <a:gd name="T74" fmla="*/ 14 w 34"/>
              <a:gd name="T75" fmla="*/ 2 h 22"/>
              <a:gd name="T76" fmla="*/ 14 w 34"/>
              <a:gd name="T77" fmla="*/ 1 h 22"/>
              <a:gd name="T78" fmla="*/ 12 w 34"/>
              <a:gd name="T79" fmla="*/ 0 h 22"/>
              <a:gd name="T80" fmla="*/ 10 w 34"/>
              <a:gd name="T81" fmla="*/ 0 h 22"/>
              <a:gd name="T82" fmla="*/ 10 w 34"/>
              <a:gd name="T83" fmla="*/ 1 h 22"/>
              <a:gd name="T84" fmla="*/ 9 w 34"/>
              <a:gd name="T85" fmla="*/ 1 h 22"/>
              <a:gd name="T86" fmla="*/ 9 w 34"/>
              <a:gd name="T87" fmla="*/ 2 h 22"/>
              <a:gd name="T88" fmla="*/ 9 w 34"/>
              <a:gd name="T89" fmla="*/ 3 h 22"/>
              <a:gd name="T90" fmla="*/ 9 w 34"/>
              <a:gd name="T91" fmla="*/ 4 h 22"/>
              <a:gd name="T92" fmla="*/ 7 w 34"/>
              <a:gd name="T93" fmla="*/ 5 h 22"/>
              <a:gd name="T94" fmla="*/ 6 w 34"/>
              <a:gd name="T95" fmla="*/ 6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4" h="22">
                <a:moveTo>
                  <a:pt x="6" y="6"/>
                </a:moveTo>
                <a:lnTo>
                  <a:pt x="6" y="9"/>
                </a:lnTo>
                <a:lnTo>
                  <a:pt x="5" y="10"/>
                </a:lnTo>
                <a:lnTo>
                  <a:pt x="2" y="11"/>
                </a:lnTo>
                <a:lnTo>
                  <a:pt x="2" y="13"/>
                </a:lnTo>
                <a:lnTo>
                  <a:pt x="0" y="14"/>
                </a:lnTo>
                <a:lnTo>
                  <a:pt x="3" y="16"/>
                </a:lnTo>
                <a:lnTo>
                  <a:pt x="5" y="20"/>
                </a:lnTo>
                <a:lnTo>
                  <a:pt x="7" y="21"/>
                </a:lnTo>
                <a:lnTo>
                  <a:pt x="11" y="19"/>
                </a:lnTo>
                <a:lnTo>
                  <a:pt x="12" y="16"/>
                </a:lnTo>
                <a:lnTo>
                  <a:pt x="20" y="15"/>
                </a:lnTo>
                <a:lnTo>
                  <a:pt x="23" y="18"/>
                </a:lnTo>
                <a:lnTo>
                  <a:pt x="23" y="19"/>
                </a:lnTo>
                <a:lnTo>
                  <a:pt x="23" y="22"/>
                </a:lnTo>
                <a:lnTo>
                  <a:pt x="24" y="22"/>
                </a:lnTo>
                <a:lnTo>
                  <a:pt x="24" y="22"/>
                </a:lnTo>
                <a:lnTo>
                  <a:pt x="27" y="21"/>
                </a:lnTo>
                <a:lnTo>
                  <a:pt x="29" y="19"/>
                </a:lnTo>
                <a:lnTo>
                  <a:pt x="32" y="19"/>
                </a:lnTo>
                <a:lnTo>
                  <a:pt x="33" y="18"/>
                </a:lnTo>
                <a:lnTo>
                  <a:pt x="32" y="15"/>
                </a:lnTo>
                <a:lnTo>
                  <a:pt x="31" y="14"/>
                </a:lnTo>
                <a:lnTo>
                  <a:pt x="33" y="16"/>
                </a:lnTo>
                <a:lnTo>
                  <a:pt x="34" y="14"/>
                </a:lnTo>
                <a:lnTo>
                  <a:pt x="33" y="12"/>
                </a:lnTo>
                <a:lnTo>
                  <a:pt x="32" y="11"/>
                </a:lnTo>
                <a:lnTo>
                  <a:pt x="27" y="12"/>
                </a:lnTo>
                <a:lnTo>
                  <a:pt x="30" y="10"/>
                </a:lnTo>
                <a:lnTo>
                  <a:pt x="30" y="6"/>
                </a:lnTo>
                <a:lnTo>
                  <a:pt x="27" y="4"/>
                </a:lnTo>
                <a:lnTo>
                  <a:pt x="25" y="2"/>
                </a:lnTo>
                <a:lnTo>
                  <a:pt x="22" y="1"/>
                </a:lnTo>
                <a:lnTo>
                  <a:pt x="15" y="3"/>
                </a:lnTo>
                <a:lnTo>
                  <a:pt x="14" y="4"/>
                </a:lnTo>
                <a:lnTo>
                  <a:pt x="12" y="4"/>
                </a:lnTo>
                <a:lnTo>
                  <a:pt x="12" y="4"/>
                </a:lnTo>
                <a:lnTo>
                  <a:pt x="14" y="2"/>
                </a:lnTo>
                <a:lnTo>
                  <a:pt x="14" y="1"/>
                </a:lnTo>
                <a:lnTo>
                  <a:pt x="12" y="0"/>
                </a:lnTo>
                <a:lnTo>
                  <a:pt x="10" y="0"/>
                </a:lnTo>
                <a:lnTo>
                  <a:pt x="10" y="1"/>
                </a:lnTo>
                <a:lnTo>
                  <a:pt x="9" y="1"/>
                </a:lnTo>
                <a:lnTo>
                  <a:pt x="9" y="2"/>
                </a:lnTo>
                <a:lnTo>
                  <a:pt x="9" y="3"/>
                </a:lnTo>
                <a:lnTo>
                  <a:pt x="9" y="4"/>
                </a:lnTo>
                <a:lnTo>
                  <a:pt x="7" y="5"/>
                </a:lnTo>
                <a:lnTo>
                  <a:pt x="6" y="6"/>
                </a:lnTo>
              </a:path>
            </a:pathLst>
          </a:custGeom>
          <a:solidFill>
            <a:srgbClr val="00A6D3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76" name="Freeform 876"/>
          <p:cNvSpPr>
            <a:spLocks/>
          </p:cNvSpPr>
          <p:nvPr/>
        </p:nvSpPr>
        <p:spPr bwMode="auto">
          <a:xfrm>
            <a:off x="4724400" y="1611278"/>
            <a:ext cx="4762" cy="3175"/>
          </a:xfrm>
          <a:custGeom>
            <a:avLst/>
            <a:gdLst>
              <a:gd name="T0" fmla="*/ 2 w 3"/>
              <a:gd name="T1" fmla="*/ 0 h 2"/>
              <a:gd name="T2" fmla="*/ 2 w 3"/>
              <a:gd name="T3" fmla="*/ 0 h 2"/>
              <a:gd name="T4" fmla="*/ 3 w 3"/>
              <a:gd name="T5" fmla="*/ 0 h 2"/>
              <a:gd name="T6" fmla="*/ 3 w 3"/>
              <a:gd name="T7" fmla="*/ 1 h 2"/>
              <a:gd name="T8" fmla="*/ 3 w 3"/>
              <a:gd name="T9" fmla="*/ 2 h 2"/>
              <a:gd name="T10" fmla="*/ 2 w 3"/>
              <a:gd name="T11" fmla="*/ 2 h 2"/>
              <a:gd name="T12" fmla="*/ 1 w 3"/>
              <a:gd name="T13" fmla="*/ 2 h 2"/>
              <a:gd name="T14" fmla="*/ 1 w 3"/>
              <a:gd name="T15" fmla="*/ 1 h 2"/>
              <a:gd name="T16" fmla="*/ 1 w 3"/>
              <a:gd name="T17" fmla="*/ 2 h 2"/>
              <a:gd name="T18" fmla="*/ 0 w 3"/>
              <a:gd name="T19" fmla="*/ 2 h 2"/>
              <a:gd name="T20" fmla="*/ 0 w 3"/>
              <a:gd name="T21" fmla="*/ 1 h 2"/>
              <a:gd name="T22" fmla="*/ 0 w 3"/>
              <a:gd name="T23" fmla="*/ 0 h 2"/>
              <a:gd name="T24" fmla="*/ 2 w 3"/>
              <a:gd name="T2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" h="2">
                <a:moveTo>
                  <a:pt x="2" y="0"/>
                </a:moveTo>
                <a:lnTo>
                  <a:pt x="2" y="0"/>
                </a:lnTo>
                <a:lnTo>
                  <a:pt x="3" y="0"/>
                </a:lnTo>
                <a:lnTo>
                  <a:pt x="3" y="1"/>
                </a:lnTo>
                <a:lnTo>
                  <a:pt x="3" y="2"/>
                </a:lnTo>
                <a:lnTo>
                  <a:pt x="2" y="2"/>
                </a:lnTo>
                <a:lnTo>
                  <a:pt x="1" y="2"/>
                </a:lnTo>
                <a:lnTo>
                  <a:pt x="1" y="1"/>
                </a:lnTo>
                <a:lnTo>
                  <a:pt x="1" y="2"/>
                </a:lnTo>
                <a:lnTo>
                  <a:pt x="0" y="2"/>
                </a:lnTo>
                <a:lnTo>
                  <a:pt x="0" y="1"/>
                </a:lnTo>
                <a:lnTo>
                  <a:pt x="0" y="0"/>
                </a:lnTo>
                <a:lnTo>
                  <a:pt x="2" y="0"/>
                </a:lnTo>
                <a:close/>
              </a:path>
            </a:pathLst>
          </a:custGeom>
          <a:solidFill>
            <a:srgbClr val="00395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77" name="Freeform 877"/>
          <p:cNvSpPr>
            <a:spLocks/>
          </p:cNvSpPr>
          <p:nvPr/>
        </p:nvSpPr>
        <p:spPr bwMode="auto">
          <a:xfrm>
            <a:off x="4724400" y="1611278"/>
            <a:ext cx="4762" cy="3175"/>
          </a:xfrm>
          <a:custGeom>
            <a:avLst/>
            <a:gdLst>
              <a:gd name="T0" fmla="*/ 2 w 3"/>
              <a:gd name="T1" fmla="*/ 0 h 2"/>
              <a:gd name="T2" fmla="*/ 2 w 3"/>
              <a:gd name="T3" fmla="*/ 0 h 2"/>
              <a:gd name="T4" fmla="*/ 3 w 3"/>
              <a:gd name="T5" fmla="*/ 0 h 2"/>
              <a:gd name="T6" fmla="*/ 3 w 3"/>
              <a:gd name="T7" fmla="*/ 1 h 2"/>
              <a:gd name="T8" fmla="*/ 3 w 3"/>
              <a:gd name="T9" fmla="*/ 2 h 2"/>
              <a:gd name="T10" fmla="*/ 2 w 3"/>
              <a:gd name="T11" fmla="*/ 2 h 2"/>
              <a:gd name="T12" fmla="*/ 1 w 3"/>
              <a:gd name="T13" fmla="*/ 2 h 2"/>
              <a:gd name="T14" fmla="*/ 1 w 3"/>
              <a:gd name="T15" fmla="*/ 1 h 2"/>
              <a:gd name="T16" fmla="*/ 1 w 3"/>
              <a:gd name="T17" fmla="*/ 2 h 2"/>
              <a:gd name="T18" fmla="*/ 0 w 3"/>
              <a:gd name="T19" fmla="*/ 2 h 2"/>
              <a:gd name="T20" fmla="*/ 0 w 3"/>
              <a:gd name="T21" fmla="*/ 1 h 2"/>
              <a:gd name="T22" fmla="*/ 0 w 3"/>
              <a:gd name="T23" fmla="*/ 0 h 2"/>
              <a:gd name="T24" fmla="*/ 2 w 3"/>
              <a:gd name="T2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" h="2">
                <a:moveTo>
                  <a:pt x="2" y="0"/>
                </a:moveTo>
                <a:lnTo>
                  <a:pt x="2" y="0"/>
                </a:lnTo>
                <a:lnTo>
                  <a:pt x="3" y="0"/>
                </a:lnTo>
                <a:lnTo>
                  <a:pt x="3" y="1"/>
                </a:lnTo>
                <a:lnTo>
                  <a:pt x="3" y="2"/>
                </a:lnTo>
                <a:lnTo>
                  <a:pt x="2" y="2"/>
                </a:lnTo>
                <a:lnTo>
                  <a:pt x="1" y="2"/>
                </a:lnTo>
                <a:lnTo>
                  <a:pt x="1" y="1"/>
                </a:lnTo>
                <a:lnTo>
                  <a:pt x="1" y="2"/>
                </a:lnTo>
                <a:lnTo>
                  <a:pt x="0" y="2"/>
                </a:lnTo>
                <a:lnTo>
                  <a:pt x="0" y="1"/>
                </a:lnTo>
                <a:lnTo>
                  <a:pt x="0" y="0"/>
                </a:lnTo>
                <a:lnTo>
                  <a:pt x="2" y="0"/>
                </a:lnTo>
              </a:path>
            </a:pathLst>
          </a:custGeom>
          <a:solidFill>
            <a:srgbClr val="00395D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78" name="Freeform 878"/>
          <p:cNvSpPr>
            <a:spLocks/>
          </p:cNvSpPr>
          <p:nvPr/>
        </p:nvSpPr>
        <p:spPr bwMode="auto">
          <a:xfrm>
            <a:off x="4516438" y="1773203"/>
            <a:ext cx="14287" cy="4763"/>
          </a:xfrm>
          <a:custGeom>
            <a:avLst/>
            <a:gdLst>
              <a:gd name="T0" fmla="*/ 0 w 9"/>
              <a:gd name="T1" fmla="*/ 2 h 3"/>
              <a:gd name="T2" fmla="*/ 0 w 9"/>
              <a:gd name="T3" fmla="*/ 2 h 3"/>
              <a:gd name="T4" fmla="*/ 0 w 9"/>
              <a:gd name="T5" fmla="*/ 1 h 3"/>
              <a:gd name="T6" fmla="*/ 2 w 9"/>
              <a:gd name="T7" fmla="*/ 1 h 3"/>
              <a:gd name="T8" fmla="*/ 2 w 9"/>
              <a:gd name="T9" fmla="*/ 1 h 3"/>
              <a:gd name="T10" fmla="*/ 3 w 9"/>
              <a:gd name="T11" fmla="*/ 1 h 3"/>
              <a:gd name="T12" fmla="*/ 5 w 9"/>
              <a:gd name="T13" fmla="*/ 0 h 3"/>
              <a:gd name="T14" fmla="*/ 7 w 9"/>
              <a:gd name="T15" fmla="*/ 0 h 3"/>
              <a:gd name="T16" fmla="*/ 7 w 9"/>
              <a:gd name="T17" fmla="*/ 0 h 3"/>
              <a:gd name="T18" fmla="*/ 7 w 9"/>
              <a:gd name="T19" fmla="*/ 1 h 3"/>
              <a:gd name="T20" fmla="*/ 9 w 9"/>
              <a:gd name="T21" fmla="*/ 2 h 3"/>
              <a:gd name="T22" fmla="*/ 4 w 9"/>
              <a:gd name="T23" fmla="*/ 2 h 3"/>
              <a:gd name="T24" fmla="*/ 1 w 9"/>
              <a:gd name="T25" fmla="*/ 3 h 3"/>
              <a:gd name="T26" fmla="*/ 0 w 9"/>
              <a:gd name="T27" fmla="*/ 2 h 3"/>
              <a:gd name="T28" fmla="*/ 0 w 9"/>
              <a:gd name="T29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" h="3">
                <a:moveTo>
                  <a:pt x="0" y="2"/>
                </a:moveTo>
                <a:lnTo>
                  <a:pt x="0" y="2"/>
                </a:lnTo>
                <a:lnTo>
                  <a:pt x="0" y="1"/>
                </a:lnTo>
                <a:lnTo>
                  <a:pt x="2" y="1"/>
                </a:lnTo>
                <a:lnTo>
                  <a:pt x="2" y="1"/>
                </a:lnTo>
                <a:lnTo>
                  <a:pt x="3" y="1"/>
                </a:lnTo>
                <a:lnTo>
                  <a:pt x="5" y="0"/>
                </a:lnTo>
                <a:lnTo>
                  <a:pt x="7" y="0"/>
                </a:lnTo>
                <a:lnTo>
                  <a:pt x="7" y="0"/>
                </a:lnTo>
                <a:lnTo>
                  <a:pt x="7" y="1"/>
                </a:lnTo>
                <a:lnTo>
                  <a:pt x="9" y="2"/>
                </a:lnTo>
                <a:lnTo>
                  <a:pt x="4" y="2"/>
                </a:lnTo>
                <a:lnTo>
                  <a:pt x="1" y="3"/>
                </a:lnTo>
                <a:lnTo>
                  <a:pt x="0" y="2"/>
                </a:lnTo>
                <a:lnTo>
                  <a:pt x="0" y="2"/>
                </a:lnTo>
                <a:close/>
              </a:path>
            </a:pathLst>
          </a:custGeom>
          <a:solidFill>
            <a:srgbClr val="00395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79" name="Freeform 879"/>
          <p:cNvSpPr>
            <a:spLocks/>
          </p:cNvSpPr>
          <p:nvPr/>
        </p:nvSpPr>
        <p:spPr bwMode="auto">
          <a:xfrm>
            <a:off x="4516438" y="1773203"/>
            <a:ext cx="14287" cy="4763"/>
          </a:xfrm>
          <a:custGeom>
            <a:avLst/>
            <a:gdLst>
              <a:gd name="T0" fmla="*/ 0 w 9"/>
              <a:gd name="T1" fmla="*/ 2 h 3"/>
              <a:gd name="T2" fmla="*/ 0 w 9"/>
              <a:gd name="T3" fmla="*/ 2 h 3"/>
              <a:gd name="T4" fmla="*/ 0 w 9"/>
              <a:gd name="T5" fmla="*/ 1 h 3"/>
              <a:gd name="T6" fmla="*/ 2 w 9"/>
              <a:gd name="T7" fmla="*/ 1 h 3"/>
              <a:gd name="T8" fmla="*/ 2 w 9"/>
              <a:gd name="T9" fmla="*/ 1 h 3"/>
              <a:gd name="T10" fmla="*/ 3 w 9"/>
              <a:gd name="T11" fmla="*/ 1 h 3"/>
              <a:gd name="T12" fmla="*/ 5 w 9"/>
              <a:gd name="T13" fmla="*/ 0 h 3"/>
              <a:gd name="T14" fmla="*/ 7 w 9"/>
              <a:gd name="T15" fmla="*/ 0 h 3"/>
              <a:gd name="T16" fmla="*/ 7 w 9"/>
              <a:gd name="T17" fmla="*/ 0 h 3"/>
              <a:gd name="T18" fmla="*/ 7 w 9"/>
              <a:gd name="T19" fmla="*/ 1 h 3"/>
              <a:gd name="T20" fmla="*/ 9 w 9"/>
              <a:gd name="T21" fmla="*/ 2 h 3"/>
              <a:gd name="T22" fmla="*/ 4 w 9"/>
              <a:gd name="T23" fmla="*/ 2 h 3"/>
              <a:gd name="T24" fmla="*/ 1 w 9"/>
              <a:gd name="T25" fmla="*/ 3 h 3"/>
              <a:gd name="T26" fmla="*/ 0 w 9"/>
              <a:gd name="T27" fmla="*/ 2 h 3"/>
              <a:gd name="T28" fmla="*/ 0 w 9"/>
              <a:gd name="T29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" h="3">
                <a:moveTo>
                  <a:pt x="0" y="2"/>
                </a:moveTo>
                <a:lnTo>
                  <a:pt x="0" y="2"/>
                </a:lnTo>
                <a:lnTo>
                  <a:pt x="0" y="1"/>
                </a:lnTo>
                <a:lnTo>
                  <a:pt x="2" y="1"/>
                </a:lnTo>
                <a:lnTo>
                  <a:pt x="2" y="1"/>
                </a:lnTo>
                <a:lnTo>
                  <a:pt x="3" y="1"/>
                </a:lnTo>
                <a:lnTo>
                  <a:pt x="5" y="0"/>
                </a:lnTo>
                <a:lnTo>
                  <a:pt x="7" y="0"/>
                </a:lnTo>
                <a:lnTo>
                  <a:pt x="7" y="0"/>
                </a:lnTo>
                <a:lnTo>
                  <a:pt x="7" y="1"/>
                </a:lnTo>
                <a:lnTo>
                  <a:pt x="9" y="2"/>
                </a:lnTo>
                <a:lnTo>
                  <a:pt x="4" y="2"/>
                </a:lnTo>
                <a:lnTo>
                  <a:pt x="1" y="3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solidFill>
            <a:srgbClr val="00395D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80" name="Freeform 880"/>
          <p:cNvSpPr>
            <a:spLocks/>
          </p:cNvSpPr>
          <p:nvPr/>
        </p:nvSpPr>
        <p:spPr bwMode="auto">
          <a:xfrm>
            <a:off x="4445000" y="1838290"/>
            <a:ext cx="3175" cy="4763"/>
          </a:xfrm>
          <a:custGeom>
            <a:avLst/>
            <a:gdLst>
              <a:gd name="T0" fmla="*/ 2 w 2"/>
              <a:gd name="T1" fmla="*/ 1 h 3"/>
              <a:gd name="T2" fmla="*/ 2 w 2"/>
              <a:gd name="T3" fmla="*/ 0 h 3"/>
              <a:gd name="T4" fmla="*/ 0 w 2"/>
              <a:gd name="T5" fmla="*/ 2 h 3"/>
              <a:gd name="T6" fmla="*/ 0 w 2"/>
              <a:gd name="T7" fmla="*/ 3 h 3"/>
              <a:gd name="T8" fmla="*/ 0 w 2"/>
              <a:gd name="T9" fmla="*/ 3 h 3"/>
              <a:gd name="T10" fmla="*/ 1 w 2"/>
              <a:gd name="T11" fmla="*/ 3 h 3"/>
              <a:gd name="T12" fmla="*/ 2 w 2"/>
              <a:gd name="T13" fmla="*/ 1 h 3"/>
              <a:gd name="T14" fmla="*/ 2 w 2"/>
              <a:gd name="T15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3">
                <a:moveTo>
                  <a:pt x="2" y="1"/>
                </a:moveTo>
                <a:lnTo>
                  <a:pt x="2" y="0"/>
                </a:lnTo>
                <a:lnTo>
                  <a:pt x="0" y="2"/>
                </a:lnTo>
                <a:lnTo>
                  <a:pt x="0" y="3"/>
                </a:lnTo>
                <a:lnTo>
                  <a:pt x="0" y="3"/>
                </a:lnTo>
                <a:lnTo>
                  <a:pt x="1" y="3"/>
                </a:lnTo>
                <a:lnTo>
                  <a:pt x="2" y="1"/>
                </a:lnTo>
                <a:lnTo>
                  <a:pt x="2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81" name="Freeform 881"/>
          <p:cNvSpPr>
            <a:spLocks/>
          </p:cNvSpPr>
          <p:nvPr/>
        </p:nvSpPr>
        <p:spPr bwMode="auto">
          <a:xfrm>
            <a:off x="4445000" y="1838290"/>
            <a:ext cx="3175" cy="4763"/>
          </a:xfrm>
          <a:custGeom>
            <a:avLst/>
            <a:gdLst>
              <a:gd name="T0" fmla="*/ 2 w 2"/>
              <a:gd name="T1" fmla="*/ 1 h 3"/>
              <a:gd name="T2" fmla="*/ 2 w 2"/>
              <a:gd name="T3" fmla="*/ 0 h 3"/>
              <a:gd name="T4" fmla="*/ 0 w 2"/>
              <a:gd name="T5" fmla="*/ 2 h 3"/>
              <a:gd name="T6" fmla="*/ 0 w 2"/>
              <a:gd name="T7" fmla="*/ 3 h 3"/>
              <a:gd name="T8" fmla="*/ 0 w 2"/>
              <a:gd name="T9" fmla="*/ 3 h 3"/>
              <a:gd name="T10" fmla="*/ 1 w 2"/>
              <a:gd name="T11" fmla="*/ 3 h 3"/>
              <a:gd name="T12" fmla="*/ 2 w 2"/>
              <a:gd name="T13" fmla="*/ 1 h 3"/>
              <a:gd name="T14" fmla="*/ 2 w 2"/>
              <a:gd name="T15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3">
                <a:moveTo>
                  <a:pt x="2" y="1"/>
                </a:moveTo>
                <a:lnTo>
                  <a:pt x="2" y="0"/>
                </a:lnTo>
                <a:lnTo>
                  <a:pt x="0" y="2"/>
                </a:lnTo>
                <a:lnTo>
                  <a:pt x="0" y="3"/>
                </a:lnTo>
                <a:lnTo>
                  <a:pt x="0" y="3"/>
                </a:lnTo>
                <a:lnTo>
                  <a:pt x="1" y="3"/>
                </a:lnTo>
                <a:lnTo>
                  <a:pt x="2" y="1"/>
                </a:lnTo>
                <a:lnTo>
                  <a:pt x="2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82" name="Freeform 882"/>
          <p:cNvSpPr>
            <a:spLocks/>
          </p:cNvSpPr>
          <p:nvPr/>
        </p:nvSpPr>
        <p:spPr bwMode="auto">
          <a:xfrm>
            <a:off x="4464050" y="1806540"/>
            <a:ext cx="4762" cy="3175"/>
          </a:xfrm>
          <a:custGeom>
            <a:avLst/>
            <a:gdLst>
              <a:gd name="T0" fmla="*/ 2 w 3"/>
              <a:gd name="T1" fmla="*/ 2 h 2"/>
              <a:gd name="T2" fmla="*/ 3 w 3"/>
              <a:gd name="T3" fmla="*/ 1 h 2"/>
              <a:gd name="T4" fmla="*/ 3 w 3"/>
              <a:gd name="T5" fmla="*/ 0 h 2"/>
              <a:gd name="T6" fmla="*/ 0 w 3"/>
              <a:gd name="T7" fmla="*/ 0 h 2"/>
              <a:gd name="T8" fmla="*/ 0 w 3"/>
              <a:gd name="T9" fmla="*/ 0 h 2"/>
              <a:gd name="T10" fmla="*/ 0 w 3"/>
              <a:gd name="T11" fmla="*/ 2 h 2"/>
              <a:gd name="T12" fmla="*/ 2 w 3"/>
              <a:gd name="T13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" h="2">
                <a:moveTo>
                  <a:pt x="2" y="2"/>
                </a:moveTo>
                <a:lnTo>
                  <a:pt x="3" y="1"/>
                </a:lnTo>
                <a:lnTo>
                  <a:pt x="3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83" name="Freeform 883"/>
          <p:cNvSpPr>
            <a:spLocks/>
          </p:cNvSpPr>
          <p:nvPr/>
        </p:nvSpPr>
        <p:spPr bwMode="auto">
          <a:xfrm>
            <a:off x="4464050" y="1806540"/>
            <a:ext cx="4762" cy="3175"/>
          </a:xfrm>
          <a:custGeom>
            <a:avLst/>
            <a:gdLst>
              <a:gd name="T0" fmla="*/ 2 w 3"/>
              <a:gd name="T1" fmla="*/ 2 h 2"/>
              <a:gd name="T2" fmla="*/ 3 w 3"/>
              <a:gd name="T3" fmla="*/ 1 h 2"/>
              <a:gd name="T4" fmla="*/ 3 w 3"/>
              <a:gd name="T5" fmla="*/ 0 h 2"/>
              <a:gd name="T6" fmla="*/ 0 w 3"/>
              <a:gd name="T7" fmla="*/ 0 h 2"/>
              <a:gd name="T8" fmla="*/ 0 w 3"/>
              <a:gd name="T9" fmla="*/ 0 h 2"/>
              <a:gd name="T10" fmla="*/ 0 w 3"/>
              <a:gd name="T11" fmla="*/ 2 h 2"/>
              <a:gd name="T12" fmla="*/ 2 w 3"/>
              <a:gd name="T13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" h="2">
                <a:moveTo>
                  <a:pt x="2" y="2"/>
                </a:moveTo>
                <a:lnTo>
                  <a:pt x="3" y="1"/>
                </a:lnTo>
                <a:lnTo>
                  <a:pt x="3" y="0"/>
                </a:lnTo>
                <a:lnTo>
                  <a:pt x="0" y="0"/>
                </a:lnTo>
                <a:lnTo>
                  <a:pt x="0" y="0"/>
                </a:lnTo>
                <a:lnTo>
                  <a:pt x="0" y="2"/>
                </a:lnTo>
                <a:lnTo>
                  <a:pt x="2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84" name="Freeform 884"/>
          <p:cNvSpPr>
            <a:spLocks/>
          </p:cNvSpPr>
          <p:nvPr/>
        </p:nvSpPr>
        <p:spPr bwMode="auto">
          <a:xfrm>
            <a:off x="4448175" y="1820828"/>
            <a:ext cx="4762" cy="1588"/>
          </a:xfrm>
          <a:custGeom>
            <a:avLst/>
            <a:gdLst>
              <a:gd name="T0" fmla="*/ 0 w 3"/>
              <a:gd name="T1" fmla="*/ 1 h 1"/>
              <a:gd name="T2" fmla="*/ 0 w 3"/>
              <a:gd name="T3" fmla="*/ 1 h 1"/>
              <a:gd name="T4" fmla="*/ 3 w 3"/>
              <a:gd name="T5" fmla="*/ 0 h 1"/>
              <a:gd name="T6" fmla="*/ 3 w 3"/>
              <a:gd name="T7" fmla="*/ 0 h 1"/>
              <a:gd name="T8" fmla="*/ 0 w 3"/>
              <a:gd name="T9" fmla="*/ 0 h 1"/>
              <a:gd name="T10" fmla="*/ 0 w 3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1">
                <a:moveTo>
                  <a:pt x="0" y="1"/>
                </a:moveTo>
                <a:lnTo>
                  <a:pt x="0" y="1"/>
                </a:lnTo>
                <a:lnTo>
                  <a:pt x="3" y="0"/>
                </a:lnTo>
                <a:lnTo>
                  <a:pt x="3" y="0"/>
                </a:lnTo>
                <a:lnTo>
                  <a:pt x="0" y="0"/>
                </a:lnTo>
                <a:lnTo>
                  <a:pt x="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85" name="Freeform 885"/>
          <p:cNvSpPr>
            <a:spLocks/>
          </p:cNvSpPr>
          <p:nvPr/>
        </p:nvSpPr>
        <p:spPr bwMode="auto">
          <a:xfrm>
            <a:off x="4448175" y="1820828"/>
            <a:ext cx="4762" cy="1588"/>
          </a:xfrm>
          <a:custGeom>
            <a:avLst/>
            <a:gdLst>
              <a:gd name="T0" fmla="*/ 0 w 3"/>
              <a:gd name="T1" fmla="*/ 1 h 1"/>
              <a:gd name="T2" fmla="*/ 0 w 3"/>
              <a:gd name="T3" fmla="*/ 1 h 1"/>
              <a:gd name="T4" fmla="*/ 3 w 3"/>
              <a:gd name="T5" fmla="*/ 0 h 1"/>
              <a:gd name="T6" fmla="*/ 3 w 3"/>
              <a:gd name="T7" fmla="*/ 0 h 1"/>
              <a:gd name="T8" fmla="*/ 0 w 3"/>
              <a:gd name="T9" fmla="*/ 0 h 1"/>
              <a:gd name="T10" fmla="*/ 0 w 3"/>
              <a:gd name="T11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" h="1">
                <a:moveTo>
                  <a:pt x="0" y="1"/>
                </a:moveTo>
                <a:lnTo>
                  <a:pt x="0" y="1"/>
                </a:lnTo>
                <a:lnTo>
                  <a:pt x="3" y="0"/>
                </a:lnTo>
                <a:lnTo>
                  <a:pt x="3" y="0"/>
                </a:lnTo>
                <a:lnTo>
                  <a:pt x="0" y="0"/>
                </a:lnTo>
                <a:lnTo>
                  <a:pt x="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86" name="Freeform 886"/>
          <p:cNvSpPr>
            <a:spLocks/>
          </p:cNvSpPr>
          <p:nvPr/>
        </p:nvSpPr>
        <p:spPr bwMode="auto">
          <a:xfrm>
            <a:off x="4456113" y="1870040"/>
            <a:ext cx="3175" cy="4763"/>
          </a:xfrm>
          <a:custGeom>
            <a:avLst/>
            <a:gdLst>
              <a:gd name="T0" fmla="*/ 2 w 2"/>
              <a:gd name="T1" fmla="*/ 3 h 3"/>
              <a:gd name="T2" fmla="*/ 2 w 2"/>
              <a:gd name="T3" fmla="*/ 1 h 3"/>
              <a:gd name="T4" fmla="*/ 1 w 2"/>
              <a:gd name="T5" fmla="*/ 0 h 3"/>
              <a:gd name="T6" fmla="*/ 1 w 2"/>
              <a:gd name="T7" fmla="*/ 0 h 3"/>
              <a:gd name="T8" fmla="*/ 0 w 2"/>
              <a:gd name="T9" fmla="*/ 2 h 3"/>
              <a:gd name="T10" fmla="*/ 0 w 2"/>
              <a:gd name="T11" fmla="*/ 3 h 3"/>
              <a:gd name="T12" fmla="*/ 2 w 2"/>
              <a:gd name="T13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3">
                <a:moveTo>
                  <a:pt x="2" y="3"/>
                </a:moveTo>
                <a:lnTo>
                  <a:pt x="2" y="1"/>
                </a:lnTo>
                <a:lnTo>
                  <a:pt x="1" y="0"/>
                </a:lnTo>
                <a:lnTo>
                  <a:pt x="1" y="0"/>
                </a:lnTo>
                <a:lnTo>
                  <a:pt x="0" y="2"/>
                </a:lnTo>
                <a:lnTo>
                  <a:pt x="0" y="3"/>
                </a:lnTo>
                <a:lnTo>
                  <a:pt x="2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87" name="Freeform 887"/>
          <p:cNvSpPr>
            <a:spLocks/>
          </p:cNvSpPr>
          <p:nvPr/>
        </p:nvSpPr>
        <p:spPr bwMode="auto">
          <a:xfrm>
            <a:off x="4456113" y="1870040"/>
            <a:ext cx="3175" cy="4763"/>
          </a:xfrm>
          <a:custGeom>
            <a:avLst/>
            <a:gdLst>
              <a:gd name="T0" fmla="*/ 2 w 2"/>
              <a:gd name="T1" fmla="*/ 3 h 3"/>
              <a:gd name="T2" fmla="*/ 2 w 2"/>
              <a:gd name="T3" fmla="*/ 1 h 3"/>
              <a:gd name="T4" fmla="*/ 1 w 2"/>
              <a:gd name="T5" fmla="*/ 0 h 3"/>
              <a:gd name="T6" fmla="*/ 1 w 2"/>
              <a:gd name="T7" fmla="*/ 0 h 3"/>
              <a:gd name="T8" fmla="*/ 0 w 2"/>
              <a:gd name="T9" fmla="*/ 2 h 3"/>
              <a:gd name="T10" fmla="*/ 0 w 2"/>
              <a:gd name="T11" fmla="*/ 3 h 3"/>
              <a:gd name="T12" fmla="*/ 2 w 2"/>
              <a:gd name="T13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3">
                <a:moveTo>
                  <a:pt x="2" y="3"/>
                </a:moveTo>
                <a:lnTo>
                  <a:pt x="2" y="1"/>
                </a:lnTo>
                <a:lnTo>
                  <a:pt x="1" y="0"/>
                </a:lnTo>
                <a:lnTo>
                  <a:pt x="1" y="0"/>
                </a:lnTo>
                <a:lnTo>
                  <a:pt x="0" y="2"/>
                </a:lnTo>
                <a:lnTo>
                  <a:pt x="0" y="3"/>
                </a:lnTo>
                <a:lnTo>
                  <a:pt x="2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88" name="Freeform 888"/>
          <p:cNvSpPr>
            <a:spLocks/>
          </p:cNvSpPr>
          <p:nvPr/>
        </p:nvSpPr>
        <p:spPr bwMode="auto">
          <a:xfrm>
            <a:off x="4454525" y="1885915"/>
            <a:ext cx="3175" cy="4763"/>
          </a:xfrm>
          <a:custGeom>
            <a:avLst/>
            <a:gdLst>
              <a:gd name="T0" fmla="*/ 2 w 2"/>
              <a:gd name="T1" fmla="*/ 3 h 3"/>
              <a:gd name="T2" fmla="*/ 1 w 2"/>
              <a:gd name="T3" fmla="*/ 1 h 3"/>
              <a:gd name="T4" fmla="*/ 1 w 2"/>
              <a:gd name="T5" fmla="*/ 0 h 3"/>
              <a:gd name="T6" fmla="*/ 0 w 2"/>
              <a:gd name="T7" fmla="*/ 1 h 3"/>
              <a:gd name="T8" fmla="*/ 0 w 2"/>
              <a:gd name="T9" fmla="*/ 3 h 3"/>
              <a:gd name="T10" fmla="*/ 2 w 2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3">
                <a:moveTo>
                  <a:pt x="2" y="3"/>
                </a:moveTo>
                <a:lnTo>
                  <a:pt x="1" y="1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2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89" name="Freeform 889"/>
          <p:cNvSpPr>
            <a:spLocks/>
          </p:cNvSpPr>
          <p:nvPr/>
        </p:nvSpPr>
        <p:spPr bwMode="auto">
          <a:xfrm>
            <a:off x="4454525" y="1885915"/>
            <a:ext cx="3175" cy="4763"/>
          </a:xfrm>
          <a:custGeom>
            <a:avLst/>
            <a:gdLst>
              <a:gd name="T0" fmla="*/ 2 w 2"/>
              <a:gd name="T1" fmla="*/ 3 h 3"/>
              <a:gd name="T2" fmla="*/ 1 w 2"/>
              <a:gd name="T3" fmla="*/ 1 h 3"/>
              <a:gd name="T4" fmla="*/ 1 w 2"/>
              <a:gd name="T5" fmla="*/ 0 h 3"/>
              <a:gd name="T6" fmla="*/ 0 w 2"/>
              <a:gd name="T7" fmla="*/ 1 h 3"/>
              <a:gd name="T8" fmla="*/ 0 w 2"/>
              <a:gd name="T9" fmla="*/ 3 h 3"/>
              <a:gd name="T10" fmla="*/ 2 w 2"/>
              <a:gd name="T1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3">
                <a:moveTo>
                  <a:pt x="2" y="3"/>
                </a:moveTo>
                <a:lnTo>
                  <a:pt x="1" y="1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2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90" name="Freeform 890"/>
          <p:cNvSpPr>
            <a:spLocks/>
          </p:cNvSpPr>
          <p:nvPr/>
        </p:nvSpPr>
        <p:spPr bwMode="auto">
          <a:xfrm>
            <a:off x="4614863" y="1641440"/>
            <a:ext cx="41275" cy="19050"/>
          </a:xfrm>
          <a:custGeom>
            <a:avLst/>
            <a:gdLst>
              <a:gd name="T0" fmla="*/ 15 w 26"/>
              <a:gd name="T1" fmla="*/ 1 h 12"/>
              <a:gd name="T2" fmla="*/ 16 w 26"/>
              <a:gd name="T3" fmla="*/ 0 h 12"/>
              <a:gd name="T4" fmla="*/ 18 w 26"/>
              <a:gd name="T5" fmla="*/ 1 h 12"/>
              <a:gd name="T6" fmla="*/ 18 w 26"/>
              <a:gd name="T7" fmla="*/ 2 h 12"/>
              <a:gd name="T8" fmla="*/ 18 w 26"/>
              <a:gd name="T9" fmla="*/ 3 h 12"/>
              <a:gd name="T10" fmla="*/ 18 w 26"/>
              <a:gd name="T11" fmla="*/ 2 h 12"/>
              <a:gd name="T12" fmla="*/ 19 w 26"/>
              <a:gd name="T13" fmla="*/ 3 h 12"/>
              <a:gd name="T14" fmla="*/ 19 w 26"/>
              <a:gd name="T15" fmla="*/ 4 h 12"/>
              <a:gd name="T16" fmla="*/ 18 w 26"/>
              <a:gd name="T17" fmla="*/ 5 h 12"/>
              <a:gd name="T18" fmla="*/ 18 w 26"/>
              <a:gd name="T19" fmla="*/ 5 h 12"/>
              <a:gd name="T20" fmla="*/ 19 w 26"/>
              <a:gd name="T21" fmla="*/ 5 h 12"/>
              <a:gd name="T22" fmla="*/ 20 w 26"/>
              <a:gd name="T23" fmla="*/ 3 h 12"/>
              <a:gd name="T24" fmla="*/ 22 w 26"/>
              <a:gd name="T25" fmla="*/ 3 h 12"/>
              <a:gd name="T26" fmla="*/ 21 w 26"/>
              <a:gd name="T27" fmla="*/ 2 h 12"/>
              <a:gd name="T28" fmla="*/ 22 w 26"/>
              <a:gd name="T29" fmla="*/ 1 h 12"/>
              <a:gd name="T30" fmla="*/ 24 w 26"/>
              <a:gd name="T31" fmla="*/ 2 h 12"/>
              <a:gd name="T32" fmla="*/ 25 w 26"/>
              <a:gd name="T33" fmla="*/ 3 h 12"/>
              <a:gd name="T34" fmla="*/ 26 w 26"/>
              <a:gd name="T35" fmla="*/ 4 h 12"/>
              <a:gd name="T36" fmla="*/ 26 w 26"/>
              <a:gd name="T37" fmla="*/ 5 h 12"/>
              <a:gd name="T38" fmla="*/ 25 w 26"/>
              <a:gd name="T39" fmla="*/ 6 h 12"/>
              <a:gd name="T40" fmla="*/ 23 w 26"/>
              <a:gd name="T41" fmla="*/ 6 h 12"/>
              <a:gd name="T42" fmla="*/ 21 w 26"/>
              <a:gd name="T43" fmla="*/ 7 h 12"/>
              <a:gd name="T44" fmla="*/ 21 w 26"/>
              <a:gd name="T45" fmla="*/ 9 h 12"/>
              <a:gd name="T46" fmla="*/ 19 w 26"/>
              <a:gd name="T47" fmla="*/ 7 h 12"/>
              <a:gd name="T48" fmla="*/ 16 w 26"/>
              <a:gd name="T49" fmla="*/ 9 h 12"/>
              <a:gd name="T50" fmla="*/ 16 w 26"/>
              <a:gd name="T51" fmla="*/ 10 h 12"/>
              <a:gd name="T52" fmla="*/ 16 w 26"/>
              <a:gd name="T53" fmla="*/ 10 h 12"/>
              <a:gd name="T54" fmla="*/ 15 w 26"/>
              <a:gd name="T55" fmla="*/ 9 h 12"/>
              <a:gd name="T56" fmla="*/ 14 w 26"/>
              <a:gd name="T57" fmla="*/ 9 h 12"/>
              <a:gd name="T58" fmla="*/ 14 w 26"/>
              <a:gd name="T59" fmla="*/ 7 h 12"/>
              <a:gd name="T60" fmla="*/ 13 w 26"/>
              <a:gd name="T61" fmla="*/ 9 h 12"/>
              <a:gd name="T62" fmla="*/ 11 w 26"/>
              <a:gd name="T63" fmla="*/ 10 h 12"/>
              <a:gd name="T64" fmla="*/ 6 w 26"/>
              <a:gd name="T65" fmla="*/ 12 h 12"/>
              <a:gd name="T66" fmla="*/ 8 w 26"/>
              <a:gd name="T67" fmla="*/ 11 h 12"/>
              <a:gd name="T68" fmla="*/ 5 w 26"/>
              <a:gd name="T69" fmla="*/ 11 h 12"/>
              <a:gd name="T70" fmla="*/ 4 w 26"/>
              <a:gd name="T71" fmla="*/ 11 h 12"/>
              <a:gd name="T72" fmla="*/ 1 w 26"/>
              <a:gd name="T73" fmla="*/ 12 h 12"/>
              <a:gd name="T74" fmla="*/ 1 w 26"/>
              <a:gd name="T75" fmla="*/ 12 h 12"/>
              <a:gd name="T76" fmla="*/ 0 w 26"/>
              <a:gd name="T77" fmla="*/ 10 h 12"/>
              <a:gd name="T78" fmla="*/ 2 w 26"/>
              <a:gd name="T79" fmla="*/ 10 h 12"/>
              <a:gd name="T80" fmla="*/ 2 w 26"/>
              <a:gd name="T81" fmla="*/ 9 h 12"/>
              <a:gd name="T82" fmla="*/ 3 w 26"/>
              <a:gd name="T83" fmla="*/ 9 h 12"/>
              <a:gd name="T84" fmla="*/ 5 w 26"/>
              <a:gd name="T85" fmla="*/ 9 h 12"/>
              <a:gd name="T86" fmla="*/ 6 w 26"/>
              <a:gd name="T87" fmla="*/ 9 h 12"/>
              <a:gd name="T88" fmla="*/ 8 w 26"/>
              <a:gd name="T89" fmla="*/ 7 h 12"/>
              <a:gd name="T90" fmla="*/ 11 w 26"/>
              <a:gd name="T91" fmla="*/ 7 h 12"/>
              <a:gd name="T92" fmla="*/ 11 w 26"/>
              <a:gd name="T93" fmla="*/ 6 h 12"/>
              <a:gd name="T94" fmla="*/ 13 w 26"/>
              <a:gd name="T95" fmla="*/ 5 h 12"/>
              <a:gd name="T96" fmla="*/ 13 w 26"/>
              <a:gd name="T97" fmla="*/ 4 h 12"/>
              <a:gd name="T98" fmla="*/ 14 w 26"/>
              <a:gd name="T99" fmla="*/ 4 h 12"/>
              <a:gd name="T100" fmla="*/ 14 w 26"/>
              <a:gd name="T101" fmla="*/ 3 h 12"/>
              <a:gd name="T102" fmla="*/ 14 w 26"/>
              <a:gd name="T103" fmla="*/ 2 h 12"/>
              <a:gd name="T104" fmla="*/ 15 w 26"/>
              <a:gd name="T105" fmla="*/ 1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" h="12">
                <a:moveTo>
                  <a:pt x="15" y="1"/>
                </a:moveTo>
                <a:lnTo>
                  <a:pt x="16" y="0"/>
                </a:lnTo>
                <a:lnTo>
                  <a:pt x="18" y="1"/>
                </a:lnTo>
                <a:lnTo>
                  <a:pt x="18" y="2"/>
                </a:lnTo>
                <a:lnTo>
                  <a:pt x="18" y="3"/>
                </a:lnTo>
                <a:lnTo>
                  <a:pt x="18" y="2"/>
                </a:lnTo>
                <a:lnTo>
                  <a:pt x="19" y="3"/>
                </a:lnTo>
                <a:lnTo>
                  <a:pt x="19" y="4"/>
                </a:lnTo>
                <a:lnTo>
                  <a:pt x="18" y="5"/>
                </a:lnTo>
                <a:lnTo>
                  <a:pt x="18" y="5"/>
                </a:lnTo>
                <a:lnTo>
                  <a:pt x="19" y="5"/>
                </a:lnTo>
                <a:lnTo>
                  <a:pt x="20" y="3"/>
                </a:lnTo>
                <a:lnTo>
                  <a:pt x="22" y="3"/>
                </a:lnTo>
                <a:lnTo>
                  <a:pt x="21" y="2"/>
                </a:lnTo>
                <a:lnTo>
                  <a:pt x="22" y="1"/>
                </a:lnTo>
                <a:lnTo>
                  <a:pt x="24" y="2"/>
                </a:lnTo>
                <a:lnTo>
                  <a:pt x="25" y="3"/>
                </a:lnTo>
                <a:lnTo>
                  <a:pt x="26" y="4"/>
                </a:lnTo>
                <a:lnTo>
                  <a:pt x="26" y="5"/>
                </a:lnTo>
                <a:lnTo>
                  <a:pt x="25" y="6"/>
                </a:lnTo>
                <a:lnTo>
                  <a:pt x="23" y="6"/>
                </a:lnTo>
                <a:lnTo>
                  <a:pt x="21" y="7"/>
                </a:lnTo>
                <a:lnTo>
                  <a:pt x="21" y="9"/>
                </a:lnTo>
                <a:lnTo>
                  <a:pt x="19" y="7"/>
                </a:lnTo>
                <a:lnTo>
                  <a:pt x="16" y="9"/>
                </a:lnTo>
                <a:lnTo>
                  <a:pt x="16" y="10"/>
                </a:lnTo>
                <a:lnTo>
                  <a:pt x="16" y="10"/>
                </a:lnTo>
                <a:lnTo>
                  <a:pt x="15" y="9"/>
                </a:lnTo>
                <a:lnTo>
                  <a:pt x="14" y="9"/>
                </a:lnTo>
                <a:lnTo>
                  <a:pt x="14" y="7"/>
                </a:lnTo>
                <a:lnTo>
                  <a:pt x="13" y="9"/>
                </a:lnTo>
                <a:lnTo>
                  <a:pt x="11" y="10"/>
                </a:lnTo>
                <a:lnTo>
                  <a:pt x="6" y="12"/>
                </a:lnTo>
                <a:lnTo>
                  <a:pt x="8" y="11"/>
                </a:lnTo>
                <a:lnTo>
                  <a:pt x="5" y="11"/>
                </a:lnTo>
                <a:lnTo>
                  <a:pt x="4" y="11"/>
                </a:lnTo>
                <a:lnTo>
                  <a:pt x="1" y="12"/>
                </a:lnTo>
                <a:lnTo>
                  <a:pt x="1" y="12"/>
                </a:lnTo>
                <a:lnTo>
                  <a:pt x="0" y="10"/>
                </a:lnTo>
                <a:lnTo>
                  <a:pt x="2" y="10"/>
                </a:lnTo>
                <a:lnTo>
                  <a:pt x="2" y="9"/>
                </a:lnTo>
                <a:lnTo>
                  <a:pt x="3" y="9"/>
                </a:lnTo>
                <a:lnTo>
                  <a:pt x="5" y="9"/>
                </a:lnTo>
                <a:lnTo>
                  <a:pt x="6" y="9"/>
                </a:lnTo>
                <a:lnTo>
                  <a:pt x="8" y="7"/>
                </a:lnTo>
                <a:lnTo>
                  <a:pt x="11" y="7"/>
                </a:lnTo>
                <a:lnTo>
                  <a:pt x="11" y="6"/>
                </a:lnTo>
                <a:lnTo>
                  <a:pt x="13" y="5"/>
                </a:lnTo>
                <a:lnTo>
                  <a:pt x="13" y="4"/>
                </a:lnTo>
                <a:lnTo>
                  <a:pt x="14" y="4"/>
                </a:lnTo>
                <a:lnTo>
                  <a:pt x="14" y="3"/>
                </a:lnTo>
                <a:lnTo>
                  <a:pt x="14" y="2"/>
                </a:lnTo>
                <a:lnTo>
                  <a:pt x="15" y="1"/>
                </a:lnTo>
                <a:close/>
              </a:path>
            </a:pathLst>
          </a:custGeom>
          <a:solidFill>
            <a:srgbClr val="00395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91" name="Freeform 891"/>
          <p:cNvSpPr>
            <a:spLocks/>
          </p:cNvSpPr>
          <p:nvPr/>
        </p:nvSpPr>
        <p:spPr bwMode="auto">
          <a:xfrm>
            <a:off x="4614863" y="1641440"/>
            <a:ext cx="41275" cy="19050"/>
          </a:xfrm>
          <a:custGeom>
            <a:avLst/>
            <a:gdLst>
              <a:gd name="T0" fmla="*/ 15 w 26"/>
              <a:gd name="T1" fmla="*/ 1 h 12"/>
              <a:gd name="T2" fmla="*/ 16 w 26"/>
              <a:gd name="T3" fmla="*/ 0 h 12"/>
              <a:gd name="T4" fmla="*/ 18 w 26"/>
              <a:gd name="T5" fmla="*/ 1 h 12"/>
              <a:gd name="T6" fmla="*/ 18 w 26"/>
              <a:gd name="T7" fmla="*/ 2 h 12"/>
              <a:gd name="T8" fmla="*/ 18 w 26"/>
              <a:gd name="T9" fmla="*/ 3 h 12"/>
              <a:gd name="T10" fmla="*/ 18 w 26"/>
              <a:gd name="T11" fmla="*/ 2 h 12"/>
              <a:gd name="T12" fmla="*/ 19 w 26"/>
              <a:gd name="T13" fmla="*/ 3 h 12"/>
              <a:gd name="T14" fmla="*/ 19 w 26"/>
              <a:gd name="T15" fmla="*/ 4 h 12"/>
              <a:gd name="T16" fmla="*/ 18 w 26"/>
              <a:gd name="T17" fmla="*/ 5 h 12"/>
              <a:gd name="T18" fmla="*/ 18 w 26"/>
              <a:gd name="T19" fmla="*/ 5 h 12"/>
              <a:gd name="T20" fmla="*/ 19 w 26"/>
              <a:gd name="T21" fmla="*/ 5 h 12"/>
              <a:gd name="T22" fmla="*/ 20 w 26"/>
              <a:gd name="T23" fmla="*/ 3 h 12"/>
              <a:gd name="T24" fmla="*/ 22 w 26"/>
              <a:gd name="T25" fmla="*/ 3 h 12"/>
              <a:gd name="T26" fmla="*/ 21 w 26"/>
              <a:gd name="T27" fmla="*/ 2 h 12"/>
              <a:gd name="T28" fmla="*/ 22 w 26"/>
              <a:gd name="T29" fmla="*/ 1 h 12"/>
              <a:gd name="T30" fmla="*/ 24 w 26"/>
              <a:gd name="T31" fmla="*/ 2 h 12"/>
              <a:gd name="T32" fmla="*/ 25 w 26"/>
              <a:gd name="T33" fmla="*/ 3 h 12"/>
              <a:gd name="T34" fmla="*/ 26 w 26"/>
              <a:gd name="T35" fmla="*/ 4 h 12"/>
              <a:gd name="T36" fmla="*/ 26 w 26"/>
              <a:gd name="T37" fmla="*/ 5 h 12"/>
              <a:gd name="T38" fmla="*/ 25 w 26"/>
              <a:gd name="T39" fmla="*/ 6 h 12"/>
              <a:gd name="T40" fmla="*/ 23 w 26"/>
              <a:gd name="T41" fmla="*/ 6 h 12"/>
              <a:gd name="T42" fmla="*/ 21 w 26"/>
              <a:gd name="T43" fmla="*/ 7 h 12"/>
              <a:gd name="T44" fmla="*/ 21 w 26"/>
              <a:gd name="T45" fmla="*/ 9 h 12"/>
              <a:gd name="T46" fmla="*/ 19 w 26"/>
              <a:gd name="T47" fmla="*/ 7 h 12"/>
              <a:gd name="T48" fmla="*/ 16 w 26"/>
              <a:gd name="T49" fmla="*/ 9 h 12"/>
              <a:gd name="T50" fmla="*/ 16 w 26"/>
              <a:gd name="T51" fmla="*/ 10 h 12"/>
              <a:gd name="T52" fmla="*/ 16 w 26"/>
              <a:gd name="T53" fmla="*/ 10 h 12"/>
              <a:gd name="T54" fmla="*/ 15 w 26"/>
              <a:gd name="T55" fmla="*/ 9 h 12"/>
              <a:gd name="T56" fmla="*/ 14 w 26"/>
              <a:gd name="T57" fmla="*/ 9 h 12"/>
              <a:gd name="T58" fmla="*/ 14 w 26"/>
              <a:gd name="T59" fmla="*/ 7 h 12"/>
              <a:gd name="T60" fmla="*/ 13 w 26"/>
              <a:gd name="T61" fmla="*/ 9 h 12"/>
              <a:gd name="T62" fmla="*/ 11 w 26"/>
              <a:gd name="T63" fmla="*/ 10 h 12"/>
              <a:gd name="T64" fmla="*/ 6 w 26"/>
              <a:gd name="T65" fmla="*/ 12 h 12"/>
              <a:gd name="T66" fmla="*/ 8 w 26"/>
              <a:gd name="T67" fmla="*/ 11 h 12"/>
              <a:gd name="T68" fmla="*/ 5 w 26"/>
              <a:gd name="T69" fmla="*/ 11 h 12"/>
              <a:gd name="T70" fmla="*/ 4 w 26"/>
              <a:gd name="T71" fmla="*/ 11 h 12"/>
              <a:gd name="T72" fmla="*/ 1 w 26"/>
              <a:gd name="T73" fmla="*/ 12 h 12"/>
              <a:gd name="T74" fmla="*/ 1 w 26"/>
              <a:gd name="T75" fmla="*/ 12 h 12"/>
              <a:gd name="T76" fmla="*/ 0 w 26"/>
              <a:gd name="T77" fmla="*/ 10 h 12"/>
              <a:gd name="T78" fmla="*/ 2 w 26"/>
              <a:gd name="T79" fmla="*/ 10 h 12"/>
              <a:gd name="T80" fmla="*/ 2 w 26"/>
              <a:gd name="T81" fmla="*/ 9 h 12"/>
              <a:gd name="T82" fmla="*/ 3 w 26"/>
              <a:gd name="T83" fmla="*/ 9 h 12"/>
              <a:gd name="T84" fmla="*/ 5 w 26"/>
              <a:gd name="T85" fmla="*/ 9 h 12"/>
              <a:gd name="T86" fmla="*/ 6 w 26"/>
              <a:gd name="T87" fmla="*/ 9 h 12"/>
              <a:gd name="T88" fmla="*/ 8 w 26"/>
              <a:gd name="T89" fmla="*/ 7 h 12"/>
              <a:gd name="T90" fmla="*/ 11 w 26"/>
              <a:gd name="T91" fmla="*/ 7 h 12"/>
              <a:gd name="T92" fmla="*/ 11 w 26"/>
              <a:gd name="T93" fmla="*/ 6 h 12"/>
              <a:gd name="T94" fmla="*/ 13 w 26"/>
              <a:gd name="T95" fmla="*/ 5 h 12"/>
              <a:gd name="T96" fmla="*/ 13 w 26"/>
              <a:gd name="T97" fmla="*/ 4 h 12"/>
              <a:gd name="T98" fmla="*/ 14 w 26"/>
              <a:gd name="T99" fmla="*/ 4 h 12"/>
              <a:gd name="T100" fmla="*/ 14 w 26"/>
              <a:gd name="T101" fmla="*/ 3 h 12"/>
              <a:gd name="T102" fmla="*/ 14 w 26"/>
              <a:gd name="T103" fmla="*/ 2 h 12"/>
              <a:gd name="T104" fmla="*/ 15 w 26"/>
              <a:gd name="T105" fmla="*/ 1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6" h="12">
                <a:moveTo>
                  <a:pt x="15" y="1"/>
                </a:moveTo>
                <a:lnTo>
                  <a:pt x="16" y="0"/>
                </a:lnTo>
                <a:lnTo>
                  <a:pt x="18" y="1"/>
                </a:lnTo>
                <a:lnTo>
                  <a:pt x="18" y="2"/>
                </a:lnTo>
                <a:lnTo>
                  <a:pt x="18" y="3"/>
                </a:lnTo>
                <a:lnTo>
                  <a:pt x="18" y="2"/>
                </a:lnTo>
                <a:lnTo>
                  <a:pt x="19" y="3"/>
                </a:lnTo>
                <a:lnTo>
                  <a:pt x="19" y="4"/>
                </a:lnTo>
                <a:lnTo>
                  <a:pt x="18" y="5"/>
                </a:lnTo>
                <a:lnTo>
                  <a:pt x="18" y="5"/>
                </a:lnTo>
                <a:lnTo>
                  <a:pt x="19" y="5"/>
                </a:lnTo>
                <a:lnTo>
                  <a:pt x="20" y="3"/>
                </a:lnTo>
                <a:lnTo>
                  <a:pt x="22" y="3"/>
                </a:lnTo>
                <a:lnTo>
                  <a:pt x="21" y="2"/>
                </a:lnTo>
                <a:lnTo>
                  <a:pt x="22" y="1"/>
                </a:lnTo>
                <a:lnTo>
                  <a:pt x="24" y="2"/>
                </a:lnTo>
                <a:lnTo>
                  <a:pt x="25" y="3"/>
                </a:lnTo>
                <a:lnTo>
                  <a:pt x="26" y="4"/>
                </a:lnTo>
                <a:lnTo>
                  <a:pt x="26" y="5"/>
                </a:lnTo>
                <a:lnTo>
                  <a:pt x="25" y="6"/>
                </a:lnTo>
                <a:lnTo>
                  <a:pt x="23" y="6"/>
                </a:lnTo>
                <a:lnTo>
                  <a:pt x="21" y="7"/>
                </a:lnTo>
                <a:lnTo>
                  <a:pt x="21" y="9"/>
                </a:lnTo>
                <a:lnTo>
                  <a:pt x="19" y="7"/>
                </a:lnTo>
                <a:lnTo>
                  <a:pt x="16" y="9"/>
                </a:lnTo>
                <a:lnTo>
                  <a:pt x="16" y="10"/>
                </a:lnTo>
                <a:lnTo>
                  <a:pt x="16" y="10"/>
                </a:lnTo>
                <a:lnTo>
                  <a:pt x="15" y="9"/>
                </a:lnTo>
                <a:lnTo>
                  <a:pt x="14" y="9"/>
                </a:lnTo>
                <a:lnTo>
                  <a:pt x="14" y="7"/>
                </a:lnTo>
                <a:lnTo>
                  <a:pt x="13" y="9"/>
                </a:lnTo>
                <a:lnTo>
                  <a:pt x="11" y="10"/>
                </a:lnTo>
                <a:lnTo>
                  <a:pt x="6" y="12"/>
                </a:lnTo>
                <a:lnTo>
                  <a:pt x="8" y="11"/>
                </a:lnTo>
                <a:lnTo>
                  <a:pt x="5" y="11"/>
                </a:lnTo>
                <a:lnTo>
                  <a:pt x="4" y="11"/>
                </a:lnTo>
                <a:lnTo>
                  <a:pt x="1" y="12"/>
                </a:lnTo>
                <a:lnTo>
                  <a:pt x="1" y="12"/>
                </a:lnTo>
                <a:lnTo>
                  <a:pt x="0" y="10"/>
                </a:lnTo>
                <a:lnTo>
                  <a:pt x="2" y="10"/>
                </a:lnTo>
                <a:lnTo>
                  <a:pt x="2" y="9"/>
                </a:lnTo>
                <a:lnTo>
                  <a:pt x="3" y="9"/>
                </a:lnTo>
                <a:lnTo>
                  <a:pt x="5" y="9"/>
                </a:lnTo>
                <a:lnTo>
                  <a:pt x="6" y="9"/>
                </a:lnTo>
                <a:lnTo>
                  <a:pt x="8" y="7"/>
                </a:lnTo>
                <a:lnTo>
                  <a:pt x="11" y="7"/>
                </a:lnTo>
                <a:lnTo>
                  <a:pt x="11" y="6"/>
                </a:lnTo>
                <a:lnTo>
                  <a:pt x="13" y="5"/>
                </a:lnTo>
                <a:lnTo>
                  <a:pt x="13" y="4"/>
                </a:lnTo>
                <a:lnTo>
                  <a:pt x="14" y="4"/>
                </a:lnTo>
                <a:lnTo>
                  <a:pt x="14" y="3"/>
                </a:lnTo>
                <a:lnTo>
                  <a:pt x="14" y="2"/>
                </a:lnTo>
                <a:lnTo>
                  <a:pt x="15" y="1"/>
                </a:lnTo>
              </a:path>
            </a:pathLst>
          </a:custGeom>
          <a:solidFill>
            <a:srgbClr val="00395D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92" name="Freeform 892"/>
          <p:cNvSpPr>
            <a:spLocks/>
          </p:cNvSpPr>
          <p:nvPr/>
        </p:nvSpPr>
        <p:spPr bwMode="auto">
          <a:xfrm>
            <a:off x="4616450" y="1641440"/>
            <a:ext cx="17462" cy="9525"/>
          </a:xfrm>
          <a:custGeom>
            <a:avLst/>
            <a:gdLst>
              <a:gd name="T0" fmla="*/ 1 w 11"/>
              <a:gd name="T1" fmla="*/ 4 h 6"/>
              <a:gd name="T2" fmla="*/ 1 w 11"/>
              <a:gd name="T3" fmla="*/ 4 h 6"/>
              <a:gd name="T4" fmla="*/ 1 w 11"/>
              <a:gd name="T5" fmla="*/ 3 h 6"/>
              <a:gd name="T6" fmla="*/ 1 w 11"/>
              <a:gd name="T7" fmla="*/ 3 h 6"/>
              <a:gd name="T8" fmla="*/ 2 w 11"/>
              <a:gd name="T9" fmla="*/ 3 h 6"/>
              <a:gd name="T10" fmla="*/ 2 w 11"/>
              <a:gd name="T11" fmla="*/ 3 h 6"/>
              <a:gd name="T12" fmla="*/ 3 w 11"/>
              <a:gd name="T13" fmla="*/ 3 h 6"/>
              <a:gd name="T14" fmla="*/ 4 w 11"/>
              <a:gd name="T15" fmla="*/ 2 h 6"/>
              <a:gd name="T16" fmla="*/ 4 w 11"/>
              <a:gd name="T17" fmla="*/ 1 h 6"/>
              <a:gd name="T18" fmla="*/ 5 w 11"/>
              <a:gd name="T19" fmla="*/ 2 h 6"/>
              <a:gd name="T20" fmla="*/ 8 w 11"/>
              <a:gd name="T21" fmla="*/ 2 h 6"/>
              <a:gd name="T22" fmla="*/ 8 w 11"/>
              <a:gd name="T23" fmla="*/ 0 h 6"/>
              <a:gd name="T24" fmla="*/ 10 w 11"/>
              <a:gd name="T25" fmla="*/ 2 h 6"/>
              <a:gd name="T26" fmla="*/ 10 w 11"/>
              <a:gd name="T27" fmla="*/ 3 h 6"/>
              <a:gd name="T28" fmla="*/ 11 w 11"/>
              <a:gd name="T29" fmla="*/ 5 h 6"/>
              <a:gd name="T30" fmla="*/ 9 w 11"/>
              <a:gd name="T31" fmla="*/ 5 h 6"/>
              <a:gd name="T32" fmla="*/ 8 w 11"/>
              <a:gd name="T33" fmla="*/ 5 h 6"/>
              <a:gd name="T34" fmla="*/ 7 w 11"/>
              <a:gd name="T35" fmla="*/ 6 h 6"/>
              <a:gd name="T36" fmla="*/ 5 w 11"/>
              <a:gd name="T37" fmla="*/ 5 h 6"/>
              <a:gd name="T38" fmla="*/ 7 w 11"/>
              <a:gd name="T39" fmla="*/ 4 h 6"/>
              <a:gd name="T40" fmla="*/ 8 w 11"/>
              <a:gd name="T41" fmla="*/ 3 h 6"/>
              <a:gd name="T42" fmla="*/ 7 w 11"/>
              <a:gd name="T43" fmla="*/ 4 h 6"/>
              <a:gd name="T44" fmla="*/ 5 w 11"/>
              <a:gd name="T45" fmla="*/ 4 h 6"/>
              <a:gd name="T46" fmla="*/ 1 w 11"/>
              <a:gd name="T47" fmla="*/ 5 h 6"/>
              <a:gd name="T48" fmla="*/ 0 w 11"/>
              <a:gd name="T49" fmla="*/ 5 h 6"/>
              <a:gd name="T50" fmla="*/ 1 w 11"/>
              <a:gd name="T51" fmla="*/ 4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1" h="6">
                <a:moveTo>
                  <a:pt x="1" y="4"/>
                </a:moveTo>
                <a:lnTo>
                  <a:pt x="1" y="4"/>
                </a:lnTo>
                <a:lnTo>
                  <a:pt x="1" y="3"/>
                </a:lnTo>
                <a:lnTo>
                  <a:pt x="1" y="3"/>
                </a:lnTo>
                <a:lnTo>
                  <a:pt x="2" y="3"/>
                </a:lnTo>
                <a:lnTo>
                  <a:pt x="2" y="3"/>
                </a:lnTo>
                <a:lnTo>
                  <a:pt x="3" y="3"/>
                </a:lnTo>
                <a:lnTo>
                  <a:pt x="4" y="2"/>
                </a:lnTo>
                <a:lnTo>
                  <a:pt x="4" y="1"/>
                </a:lnTo>
                <a:lnTo>
                  <a:pt x="5" y="2"/>
                </a:lnTo>
                <a:lnTo>
                  <a:pt x="8" y="2"/>
                </a:lnTo>
                <a:lnTo>
                  <a:pt x="8" y="0"/>
                </a:lnTo>
                <a:lnTo>
                  <a:pt x="10" y="2"/>
                </a:lnTo>
                <a:lnTo>
                  <a:pt x="10" y="3"/>
                </a:lnTo>
                <a:lnTo>
                  <a:pt x="11" y="5"/>
                </a:lnTo>
                <a:lnTo>
                  <a:pt x="9" y="5"/>
                </a:lnTo>
                <a:lnTo>
                  <a:pt x="8" y="5"/>
                </a:lnTo>
                <a:lnTo>
                  <a:pt x="7" y="6"/>
                </a:lnTo>
                <a:lnTo>
                  <a:pt x="5" y="5"/>
                </a:lnTo>
                <a:lnTo>
                  <a:pt x="7" y="4"/>
                </a:lnTo>
                <a:lnTo>
                  <a:pt x="8" y="3"/>
                </a:lnTo>
                <a:lnTo>
                  <a:pt x="7" y="4"/>
                </a:lnTo>
                <a:lnTo>
                  <a:pt x="5" y="4"/>
                </a:lnTo>
                <a:lnTo>
                  <a:pt x="1" y="5"/>
                </a:lnTo>
                <a:lnTo>
                  <a:pt x="0" y="5"/>
                </a:lnTo>
                <a:lnTo>
                  <a:pt x="1" y="4"/>
                </a:lnTo>
                <a:close/>
              </a:path>
            </a:pathLst>
          </a:custGeom>
          <a:solidFill>
            <a:srgbClr val="00395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93" name="Freeform 893"/>
          <p:cNvSpPr>
            <a:spLocks/>
          </p:cNvSpPr>
          <p:nvPr/>
        </p:nvSpPr>
        <p:spPr bwMode="auto">
          <a:xfrm>
            <a:off x="4616450" y="1641440"/>
            <a:ext cx="17462" cy="9525"/>
          </a:xfrm>
          <a:custGeom>
            <a:avLst/>
            <a:gdLst>
              <a:gd name="T0" fmla="*/ 1 w 11"/>
              <a:gd name="T1" fmla="*/ 4 h 6"/>
              <a:gd name="T2" fmla="*/ 1 w 11"/>
              <a:gd name="T3" fmla="*/ 4 h 6"/>
              <a:gd name="T4" fmla="*/ 1 w 11"/>
              <a:gd name="T5" fmla="*/ 3 h 6"/>
              <a:gd name="T6" fmla="*/ 1 w 11"/>
              <a:gd name="T7" fmla="*/ 3 h 6"/>
              <a:gd name="T8" fmla="*/ 2 w 11"/>
              <a:gd name="T9" fmla="*/ 3 h 6"/>
              <a:gd name="T10" fmla="*/ 2 w 11"/>
              <a:gd name="T11" fmla="*/ 3 h 6"/>
              <a:gd name="T12" fmla="*/ 3 w 11"/>
              <a:gd name="T13" fmla="*/ 3 h 6"/>
              <a:gd name="T14" fmla="*/ 4 w 11"/>
              <a:gd name="T15" fmla="*/ 2 h 6"/>
              <a:gd name="T16" fmla="*/ 4 w 11"/>
              <a:gd name="T17" fmla="*/ 1 h 6"/>
              <a:gd name="T18" fmla="*/ 5 w 11"/>
              <a:gd name="T19" fmla="*/ 2 h 6"/>
              <a:gd name="T20" fmla="*/ 8 w 11"/>
              <a:gd name="T21" fmla="*/ 2 h 6"/>
              <a:gd name="T22" fmla="*/ 8 w 11"/>
              <a:gd name="T23" fmla="*/ 0 h 6"/>
              <a:gd name="T24" fmla="*/ 10 w 11"/>
              <a:gd name="T25" fmla="*/ 2 h 6"/>
              <a:gd name="T26" fmla="*/ 10 w 11"/>
              <a:gd name="T27" fmla="*/ 3 h 6"/>
              <a:gd name="T28" fmla="*/ 11 w 11"/>
              <a:gd name="T29" fmla="*/ 5 h 6"/>
              <a:gd name="T30" fmla="*/ 9 w 11"/>
              <a:gd name="T31" fmla="*/ 5 h 6"/>
              <a:gd name="T32" fmla="*/ 8 w 11"/>
              <a:gd name="T33" fmla="*/ 5 h 6"/>
              <a:gd name="T34" fmla="*/ 7 w 11"/>
              <a:gd name="T35" fmla="*/ 6 h 6"/>
              <a:gd name="T36" fmla="*/ 5 w 11"/>
              <a:gd name="T37" fmla="*/ 5 h 6"/>
              <a:gd name="T38" fmla="*/ 7 w 11"/>
              <a:gd name="T39" fmla="*/ 4 h 6"/>
              <a:gd name="T40" fmla="*/ 8 w 11"/>
              <a:gd name="T41" fmla="*/ 3 h 6"/>
              <a:gd name="T42" fmla="*/ 7 w 11"/>
              <a:gd name="T43" fmla="*/ 4 h 6"/>
              <a:gd name="T44" fmla="*/ 5 w 11"/>
              <a:gd name="T45" fmla="*/ 4 h 6"/>
              <a:gd name="T46" fmla="*/ 1 w 11"/>
              <a:gd name="T47" fmla="*/ 5 h 6"/>
              <a:gd name="T48" fmla="*/ 0 w 11"/>
              <a:gd name="T49" fmla="*/ 5 h 6"/>
              <a:gd name="T50" fmla="*/ 1 w 11"/>
              <a:gd name="T51" fmla="*/ 4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1" h="6">
                <a:moveTo>
                  <a:pt x="1" y="4"/>
                </a:moveTo>
                <a:lnTo>
                  <a:pt x="1" y="4"/>
                </a:lnTo>
                <a:lnTo>
                  <a:pt x="1" y="3"/>
                </a:lnTo>
                <a:lnTo>
                  <a:pt x="1" y="3"/>
                </a:lnTo>
                <a:lnTo>
                  <a:pt x="2" y="3"/>
                </a:lnTo>
                <a:lnTo>
                  <a:pt x="2" y="3"/>
                </a:lnTo>
                <a:lnTo>
                  <a:pt x="3" y="3"/>
                </a:lnTo>
                <a:lnTo>
                  <a:pt x="4" y="2"/>
                </a:lnTo>
                <a:lnTo>
                  <a:pt x="4" y="1"/>
                </a:lnTo>
                <a:lnTo>
                  <a:pt x="5" y="2"/>
                </a:lnTo>
                <a:lnTo>
                  <a:pt x="8" y="2"/>
                </a:lnTo>
                <a:lnTo>
                  <a:pt x="8" y="0"/>
                </a:lnTo>
                <a:lnTo>
                  <a:pt x="10" y="2"/>
                </a:lnTo>
                <a:lnTo>
                  <a:pt x="10" y="3"/>
                </a:lnTo>
                <a:lnTo>
                  <a:pt x="11" y="5"/>
                </a:lnTo>
                <a:lnTo>
                  <a:pt x="9" y="5"/>
                </a:lnTo>
                <a:lnTo>
                  <a:pt x="8" y="5"/>
                </a:lnTo>
                <a:lnTo>
                  <a:pt x="7" y="6"/>
                </a:lnTo>
                <a:lnTo>
                  <a:pt x="5" y="5"/>
                </a:lnTo>
                <a:lnTo>
                  <a:pt x="7" y="4"/>
                </a:lnTo>
                <a:lnTo>
                  <a:pt x="8" y="3"/>
                </a:lnTo>
                <a:lnTo>
                  <a:pt x="7" y="4"/>
                </a:lnTo>
                <a:lnTo>
                  <a:pt x="5" y="4"/>
                </a:lnTo>
                <a:lnTo>
                  <a:pt x="1" y="5"/>
                </a:lnTo>
                <a:lnTo>
                  <a:pt x="0" y="5"/>
                </a:lnTo>
                <a:lnTo>
                  <a:pt x="1" y="4"/>
                </a:lnTo>
              </a:path>
            </a:pathLst>
          </a:custGeom>
          <a:solidFill>
            <a:srgbClr val="00395D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94" name="Freeform 894"/>
          <p:cNvSpPr>
            <a:spLocks/>
          </p:cNvSpPr>
          <p:nvPr/>
        </p:nvSpPr>
        <p:spPr bwMode="auto">
          <a:xfrm>
            <a:off x="4635500" y="1631915"/>
            <a:ext cx="12700" cy="9525"/>
          </a:xfrm>
          <a:custGeom>
            <a:avLst/>
            <a:gdLst>
              <a:gd name="T0" fmla="*/ 3 w 8"/>
              <a:gd name="T1" fmla="*/ 2 h 6"/>
              <a:gd name="T2" fmla="*/ 5 w 8"/>
              <a:gd name="T3" fmla="*/ 2 h 6"/>
              <a:gd name="T4" fmla="*/ 5 w 8"/>
              <a:gd name="T5" fmla="*/ 0 h 6"/>
              <a:gd name="T6" fmla="*/ 6 w 8"/>
              <a:gd name="T7" fmla="*/ 0 h 6"/>
              <a:gd name="T8" fmla="*/ 8 w 8"/>
              <a:gd name="T9" fmla="*/ 1 h 6"/>
              <a:gd name="T10" fmla="*/ 7 w 8"/>
              <a:gd name="T11" fmla="*/ 1 h 6"/>
              <a:gd name="T12" fmla="*/ 7 w 8"/>
              <a:gd name="T13" fmla="*/ 3 h 6"/>
              <a:gd name="T14" fmla="*/ 6 w 8"/>
              <a:gd name="T15" fmla="*/ 5 h 6"/>
              <a:gd name="T16" fmla="*/ 3 w 8"/>
              <a:gd name="T17" fmla="*/ 6 h 6"/>
              <a:gd name="T18" fmla="*/ 2 w 8"/>
              <a:gd name="T19" fmla="*/ 6 h 6"/>
              <a:gd name="T20" fmla="*/ 1 w 8"/>
              <a:gd name="T21" fmla="*/ 6 h 6"/>
              <a:gd name="T22" fmla="*/ 0 w 8"/>
              <a:gd name="T23" fmla="*/ 5 h 6"/>
              <a:gd name="T24" fmla="*/ 1 w 8"/>
              <a:gd name="T25" fmla="*/ 3 h 6"/>
              <a:gd name="T26" fmla="*/ 3 w 8"/>
              <a:gd name="T27" fmla="*/ 2 h 6"/>
              <a:gd name="T28" fmla="*/ 3 w 8"/>
              <a:gd name="T29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8" h="6">
                <a:moveTo>
                  <a:pt x="3" y="2"/>
                </a:moveTo>
                <a:lnTo>
                  <a:pt x="5" y="2"/>
                </a:lnTo>
                <a:lnTo>
                  <a:pt x="5" y="0"/>
                </a:lnTo>
                <a:lnTo>
                  <a:pt x="6" y="0"/>
                </a:lnTo>
                <a:lnTo>
                  <a:pt x="8" y="1"/>
                </a:lnTo>
                <a:lnTo>
                  <a:pt x="7" y="1"/>
                </a:lnTo>
                <a:lnTo>
                  <a:pt x="7" y="3"/>
                </a:lnTo>
                <a:lnTo>
                  <a:pt x="6" y="5"/>
                </a:lnTo>
                <a:lnTo>
                  <a:pt x="3" y="6"/>
                </a:lnTo>
                <a:lnTo>
                  <a:pt x="2" y="6"/>
                </a:lnTo>
                <a:lnTo>
                  <a:pt x="1" y="6"/>
                </a:lnTo>
                <a:lnTo>
                  <a:pt x="0" y="5"/>
                </a:lnTo>
                <a:lnTo>
                  <a:pt x="1" y="3"/>
                </a:lnTo>
                <a:lnTo>
                  <a:pt x="3" y="2"/>
                </a:lnTo>
                <a:lnTo>
                  <a:pt x="3" y="2"/>
                </a:lnTo>
                <a:close/>
              </a:path>
            </a:pathLst>
          </a:custGeom>
          <a:solidFill>
            <a:srgbClr val="00395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95" name="Freeform 895"/>
          <p:cNvSpPr>
            <a:spLocks/>
          </p:cNvSpPr>
          <p:nvPr/>
        </p:nvSpPr>
        <p:spPr bwMode="auto">
          <a:xfrm>
            <a:off x="4635500" y="1631915"/>
            <a:ext cx="12700" cy="9525"/>
          </a:xfrm>
          <a:custGeom>
            <a:avLst/>
            <a:gdLst>
              <a:gd name="T0" fmla="*/ 3 w 8"/>
              <a:gd name="T1" fmla="*/ 2 h 6"/>
              <a:gd name="T2" fmla="*/ 5 w 8"/>
              <a:gd name="T3" fmla="*/ 2 h 6"/>
              <a:gd name="T4" fmla="*/ 5 w 8"/>
              <a:gd name="T5" fmla="*/ 0 h 6"/>
              <a:gd name="T6" fmla="*/ 6 w 8"/>
              <a:gd name="T7" fmla="*/ 0 h 6"/>
              <a:gd name="T8" fmla="*/ 8 w 8"/>
              <a:gd name="T9" fmla="*/ 1 h 6"/>
              <a:gd name="T10" fmla="*/ 7 w 8"/>
              <a:gd name="T11" fmla="*/ 1 h 6"/>
              <a:gd name="T12" fmla="*/ 7 w 8"/>
              <a:gd name="T13" fmla="*/ 3 h 6"/>
              <a:gd name="T14" fmla="*/ 6 w 8"/>
              <a:gd name="T15" fmla="*/ 5 h 6"/>
              <a:gd name="T16" fmla="*/ 3 w 8"/>
              <a:gd name="T17" fmla="*/ 6 h 6"/>
              <a:gd name="T18" fmla="*/ 2 w 8"/>
              <a:gd name="T19" fmla="*/ 6 h 6"/>
              <a:gd name="T20" fmla="*/ 1 w 8"/>
              <a:gd name="T21" fmla="*/ 6 h 6"/>
              <a:gd name="T22" fmla="*/ 0 w 8"/>
              <a:gd name="T23" fmla="*/ 5 h 6"/>
              <a:gd name="T24" fmla="*/ 1 w 8"/>
              <a:gd name="T25" fmla="*/ 3 h 6"/>
              <a:gd name="T26" fmla="*/ 3 w 8"/>
              <a:gd name="T27" fmla="*/ 2 h 6"/>
              <a:gd name="T28" fmla="*/ 3 w 8"/>
              <a:gd name="T29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8" h="6">
                <a:moveTo>
                  <a:pt x="3" y="2"/>
                </a:moveTo>
                <a:lnTo>
                  <a:pt x="5" y="2"/>
                </a:lnTo>
                <a:lnTo>
                  <a:pt x="5" y="0"/>
                </a:lnTo>
                <a:lnTo>
                  <a:pt x="6" y="0"/>
                </a:lnTo>
                <a:lnTo>
                  <a:pt x="8" y="1"/>
                </a:lnTo>
                <a:lnTo>
                  <a:pt x="7" y="1"/>
                </a:lnTo>
                <a:lnTo>
                  <a:pt x="7" y="3"/>
                </a:lnTo>
                <a:lnTo>
                  <a:pt x="6" y="5"/>
                </a:lnTo>
                <a:lnTo>
                  <a:pt x="3" y="6"/>
                </a:lnTo>
                <a:lnTo>
                  <a:pt x="2" y="6"/>
                </a:lnTo>
                <a:lnTo>
                  <a:pt x="1" y="6"/>
                </a:lnTo>
                <a:lnTo>
                  <a:pt x="0" y="5"/>
                </a:lnTo>
                <a:lnTo>
                  <a:pt x="1" y="3"/>
                </a:lnTo>
                <a:lnTo>
                  <a:pt x="3" y="2"/>
                </a:lnTo>
                <a:lnTo>
                  <a:pt x="3" y="2"/>
                </a:lnTo>
              </a:path>
            </a:pathLst>
          </a:custGeom>
          <a:solidFill>
            <a:srgbClr val="00395D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96" name="Freeform 896"/>
          <p:cNvSpPr>
            <a:spLocks/>
          </p:cNvSpPr>
          <p:nvPr/>
        </p:nvSpPr>
        <p:spPr bwMode="auto">
          <a:xfrm>
            <a:off x="4624388" y="1666840"/>
            <a:ext cx="11112" cy="6350"/>
          </a:xfrm>
          <a:custGeom>
            <a:avLst/>
            <a:gdLst>
              <a:gd name="T0" fmla="*/ 3 w 7"/>
              <a:gd name="T1" fmla="*/ 1 h 4"/>
              <a:gd name="T2" fmla="*/ 3 w 7"/>
              <a:gd name="T3" fmla="*/ 1 h 4"/>
              <a:gd name="T4" fmla="*/ 2 w 7"/>
              <a:gd name="T5" fmla="*/ 0 h 4"/>
              <a:gd name="T6" fmla="*/ 4 w 7"/>
              <a:gd name="T7" fmla="*/ 1 h 4"/>
              <a:gd name="T8" fmla="*/ 5 w 7"/>
              <a:gd name="T9" fmla="*/ 1 h 4"/>
              <a:gd name="T10" fmla="*/ 7 w 7"/>
              <a:gd name="T11" fmla="*/ 0 h 4"/>
              <a:gd name="T12" fmla="*/ 7 w 7"/>
              <a:gd name="T13" fmla="*/ 1 h 4"/>
              <a:gd name="T14" fmla="*/ 7 w 7"/>
              <a:gd name="T15" fmla="*/ 1 h 4"/>
              <a:gd name="T16" fmla="*/ 6 w 7"/>
              <a:gd name="T17" fmla="*/ 3 h 4"/>
              <a:gd name="T18" fmla="*/ 5 w 7"/>
              <a:gd name="T19" fmla="*/ 3 h 4"/>
              <a:gd name="T20" fmla="*/ 3 w 7"/>
              <a:gd name="T21" fmla="*/ 4 h 4"/>
              <a:gd name="T22" fmla="*/ 2 w 7"/>
              <a:gd name="T23" fmla="*/ 4 h 4"/>
              <a:gd name="T24" fmla="*/ 0 w 7"/>
              <a:gd name="T25" fmla="*/ 4 h 4"/>
              <a:gd name="T26" fmla="*/ 2 w 7"/>
              <a:gd name="T27" fmla="*/ 3 h 4"/>
              <a:gd name="T28" fmla="*/ 3 w 7"/>
              <a:gd name="T29" fmla="*/ 3 h 4"/>
              <a:gd name="T30" fmla="*/ 3 w 7"/>
              <a:gd name="T31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7" h="4">
                <a:moveTo>
                  <a:pt x="3" y="1"/>
                </a:moveTo>
                <a:lnTo>
                  <a:pt x="3" y="1"/>
                </a:lnTo>
                <a:lnTo>
                  <a:pt x="2" y="0"/>
                </a:lnTo>
                <a:lnTo>
                  <a:pt x="4" y="1"/>
                </a:lnTo>
                <a:lnTo>
                  <a:pt x="5" y="1"/>
                </a:lnTo>
                <a:lnTo>
                  <a:pt x="7" y="0"/>
                </a:lnTo>
                <a:lnTo>
                  <a:pt x="7" y="1"/>
                </a:lnTo>
                <a:lnTo>
                  <a:pt x="7" y="1"/>
                </a:lnTo>
                <a:lnTo>
                  <a:pt x="6" y="3"/>
                </a:lnTo>
                <a:lnTo>
                  <a:pt x="5" y="3"/>
                </a:lnTo>
                <a:lnTo>
                  <a:pt x="3" y="4"/>
                </a:lnTo>
                <a:lnTo>
                  <a:pt x="2" y="4"/>
                </a:lnTo>
                <a:lnTo>
                  <a:pt x="0" y="4"/>
                </a:lnTo>
                <a:lnTo>
                  <a:pt x="2" y="3"/>
                </a:lnTo>
                <a:lnTo>
                  <a:pt x="3" y="3"/>
                </a:lnTo>
                <a:lnTo>
                  <a:pt x="3" y="1"/>
                </a:lnTo>
                <a:close/>
              </a:path>
            </a:pathLst>
          </a:custGeom>
          <a:solidFill>
            <a:srgbClr val="00395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97" name="Freeform 897"/>
          <p:cNvSpPr>
            <a:spLocks/>
          </p:cNvSpPr>
          <p:nvPr/>
        </p:nvSpPr>
        <p:spPr bwMode="auto">
          <a:xfrm>
            <a:off x="4624388" y="1666840"/>
            <a:ext cx="11112" cy="6350"/>
          </a:xfrm>
          <a:custGeom>
            <a:avLst/>
            <a:gdLst>
              <a:gd name="T0" fmla="*/ 3 w 7"/>
              <a:gd name="T1" fmla="*/ 1 h 4"/>
              <a:gd name="T2" fmla="*/ 3 w 7"/>
              <a:gd name="T3" fmla="*/ 1 h 4"/>
              <a:gd name="T4" fmla="*/ 2 w 7"/>
              <a:gd name="T5" fmla="*/ 0 h 4"/>
              <a:gd name="T6" fmla="*/ 4 w 7"/>
              <a:gd name="T7" fmla="*/ 1 h 4"/>
              <a:gd name="T8" fmla="*/ 5 w 7"/>
              <a:gd name="T9" fmla="*/ 1 h 4"/>
              <a:gd name="T10" fmla="*/ 7 w 7"/>
              <a:gd name="T11" fmla="*/ 0 h 4"/>
              <a:gd name="T12" fmla="*/ 7 w 7"/>
              <a:gd name="T13" fmla="*/ 1 h 4"/>
              <a:gd name="T14" fmla="*/ 7 w 7"/>
              <a:gd name="T15" fmla="*/ 1 h 4"/>
              <a:gd name="T16" fmla="*/ 6 w 7"/>
              <a:gd name="T17" fmla="*/ 3 h 4"/>
              <a:gd name="T18" fmla="*/ 5 w 7"/>
              <a:gd name="T19" fmla="*/ 3 h 4"/>
              <a:gd name="T20" fmla="*/ 3 w 7"/>
              <a:gd name="T21" fmla="*/ 4 h 4"/>
              <a:gd name="T22" fmla="*/ 2 w 7"/>
              <a:gd name="T23" fmla="*/ 4 h 4"/>
              <a:gd name="T24" fmla="*/ 0 w 7"/>
              <a:gd name="T25" fmla="*/ 4 h 4"/>
              <a:gd name="T26" fmla="*/ 2 w 7"/>
              <a:gd name="T27" fmla="*/ 3 h 4"/>
              <a:gd name="T28" fmla="*/ 3 w 7"/>
              <a:gd name="T29" fmla="*/ 3 h 4"/>
              <a:gd name="T30" fmla="*/ 3 w 7"/>
              <a:gd name="T31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7" h="4">
                <a:moveTo>
                  <a:pt x="3" y="1"/>
                </a:moveTo>
                <a:lnTo>
                  <a:pt x="3" y="1"/>
                </a:lnTo>
                <a:lnTo>
                  <a:pt x="2" y="0"/>
                </a:lnTo>
                <a:lnTo>
                  <a:pt x="4" y="1"/>
                </a:lnTo>
                <a:lnTo>
                  <a:pt x="5" y="1"/>
                </a:lnTo>
                <a:lnTo>
                  <a:pt x="7" y="0"/>
                </a:lnTo>
                <a:lnTo>
                  <a:pt x="7" y="1"/>
                </a:lnTo>
                <a:lnTo>
                  <a:pt x="7" y="1"/>
                </a:lnTo>
                <a:lnTo>
                  <a:pt x="6" y="3"/>
                </a:lnTo>
                <a:lnTo>
                  <a:pt x="5" y="3"/>
                </a:lnTo>
                <a:lnTo>
                  <a:pt x="3" y="4"/>
                </a:lnTo>
                <a:lnTo>
                  <a:pt x="2" y="4"/>
                </a:lnTo>
                <a:lnTo>
                  <a:pt x="0" y="4"/>
                </a:lnTo>
                <a:lnTo>
                  <a:pt x="2" y="3"/>
                </a:lnTo>
                <a:lnTo>
                  <a:pt x="3" y="3"/>
                </a:lnTo>
                <a:lnTo>
                  <a:pt x="3" y="1"/>
                </a:lnTo>
              </a:path>
            </a:pathLst>
          </a:custGeom>
          <a:solidFill>
            <a:srgbClr val="00395D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98" name="Freeform 898"/>
          <p:cNvSpPr>
            <a:spLocks/>
          </p:cNvSpPr>
          <p:nvPr/>
        </p:nvSpPr>
        <p:spPr bwMode="auto">
          <a:xfrm>
            <a:off x="4660900" y="1627153"/>
            <a:ext cx="19050" cy="12700"/>
          </a:xfrm>
          <a:custGeom>
            <a:avLst/>
            <a:gdLst>
              <a:gd name="T0" fmla="*/ 1 w 12"/>
              <a:gd name="T1" fmla="*/ 5 h 8"/>
              <a:gd name="T2" fmla="*/ 0 w 12"/>
              <a:gd name="T3" fmla="*/ 4 h 8"/>
              <a:gd name="T4" fmla="*/ 1 w 12"/>
              <a:gd name="T5" fmla="*/ 5 h 8"/>
              <a:gd name="T6" fmla="*/ 1 w 12"/>
              <a:gd name="T7" fmla="*/ 4 h 8"/>
              <a:gd name="T8" fmla="*/ 1 w 12"/>
              <a:gd name="T9" fmla="*/ 4 h 8"/>
              <a:gd name="T10" fmla="*/ 0 w 12"/>
              <a:gd name="T11" fmla="*/ 3 h 8"/>
              <a:gd name="T12" fmla="*/ 1 w 12"/>
              <a:gd name="T13" fmla="*/ 3 h 8"/>
              <a:gd name="T14" fmla="*/ 1 w 12"/>
              <a:gd name="T15" fmla="*/ 3 h 8"/>
              <a:gd name="T16" fmla="*/ 2 w 12"/>
              <a:gd name="T17" fmla="*/ 2 h 8"/>
              <a:gd name="T18" fmla="*/ 3 w 12"/>
              <a:gd name="T19" fmla="*/ 3 h 8"/>
              <a:gd name="T20" fmla="*/ 4 w 12"/>
              <a:gd name="T21" fmla="*/ 2 h 8"/>
              <a:gd name="T22" fmla="*/ 3 w 12"/>
              <a:gd name="T23" fmla="*/ 1 h 8"/>
              <a:gd name="T24" fmla="*/ 4 w 12"/>
              <a:gd name="T25" fmla="*/ 1 h 8"/>
              <a:gd name="T26" fmla="*/ 6 w 12"/>
              <a:gd name="T27" fmla="*/ 1 h 8"/>
              <a:gd name="T28" fmla="*/ 6 w 12"/>
              <a:gd name="T29" fmla="*/ 1 h 8"/>
              <a:gd name="T30" fmla="*/ 6 w 12"/>
              <a:gd name="T31" fmla="*/ 0 h 8"/>
              <a:gd name="T32" fmla="*/ 7 w 12"/>
              <a:gd name="T33" fmla="*/ 1 h 8"/>
              <a:gd name="T34" fmla="*/ 7 w 12"/>
              <a:gd name="T35" fmla="*/ 0 h 8"/>
              <a:gd name="T36" fmla="*/ 8 w 12"/>
              <a:gd name="T37" fmla="*/ 0 h 8"/>
              <a:gd name="T38" fmla="*/ 11 w 12"/>
              <a:gd name="T39" fmla="*/ 1 h 8"/>
              <a:gd name="T40" fmla="*/ 12 w 12"/>
              <a:gd name="T41" fmla="*/ 1 h 8"/>
              <a:gd name="T42" fmla="*/ 12 w 12"/>
              <a:gd name="T43" fmla="*/ 3 h 8"/>
              <a:gd name="T44" fmla="*/ 11 w 12"/>
              <a:gd name="T45" fmla="*/ 4 h 8"/>
              <a:gd name="T46" fmla="*/ 12 w 12"/>
              <a:gd name="T47" fmla="*/ 5 h 8"/>
              <a:gd name="T48" fmla="*/ 8 w 12"/>
              <a:gd name="T49" fmla="*/ 6 h 8"/>
              <a:gd name="T50" fmla="*/ 7 w 12"/>
              <a:gd name="T51" fmla="*/ 5 h 8"/>
              <a:gd name="T52" fmla="*/ 6 w 12"/>
              <a:gd name="T53" fmla="*/ 5 h 8"/>
              <a:gd name="T54" fmla="*/ 5 w 12"/>
              <a:gd name="T55" fmla="*/ 6 h 8"/>
              <a:gd name="T56" fmla="*/ 2 w 12"/>
              <a:gd name="T57" fmla="*/ 8 h 8"/>
              <a:gd name="T58" fmla="*/ 0 w 12"/>
              <a:gd name="T59" fmla="*/ 8 h 8"/>
              <a:gd name="T60" fmla="*/ 0 w 12"/>
              <a:gd name="T61" fmla="*/ 6 h 8"/>
              <a:gd name="T62" fmla="*/ 1 w 12"/>
              <a:gd name="T63" fmla="*/ 6 h 8"/>
              <a:gd name="T64" fmla="*/ 2 w 12"/>
              <a:gd name="T65" fmla="*/ 5 h 8"/>
              <a:gd name="T66" fmla="*/ 1 w 12"/>
              <a:gd name="T67" fmla="*/ 5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2" h="8">
                <a:moveTo>
                  <a:pt x="1" y="5"/>
                </a:moveTo>
                <a:lnTo>
                  <a:pt x="0" y="4"/>
                </a:lnTo>
                <a:lnTo>
                  <a:pt x="1" y="5"/>
                </a:lnTo>
                <a:lnTo>
                  <a:pt x="1" y="4"/>
                </a:lnTo>
                <a:lnTo>
                  <a:pt x="1" y="4"/>
                </a:lnTo>
                <a:lnTo>
                  <a:pt x="0" y="3"/>
                </a:lnTo>
                <a:lnTo>
                  <a:pt x="1" y="3"/>
                </a:lnTo>
                <a:lnTo>
                  <a:pt x="1" y="3"/>
                </a:lnTo>
                <a:lnTo>
                  <a:pt x="2" y="2"/>
                </a:lnTo>
                <a:lnTo>
                  <a:pt x="3" y="3"/>
                </a:lnTo>
                <a:lnTo>
                  <a:pt x="4" y="2"/>
                </a:lnTo>
                <a:lnTo>
                  <a:pt x="3" y="1"/>
                </a:lnTo>
                <a:lnTo>
                  <a:pt x="4" y="1"/>
                </a:lnTo>
                <a:lnTo>
                  <a:pt x="6" y="1"/>
                </a:lnTo>
                <a:lnTo>
                  <a:pt x="6" y="1"/>
                </a:lnTo>
                <a:lnTo>
                  <a:pt x="6" y="0"/>
                </a:lnTo>
                <a:lnTo>
                  <a:pt x="7" y="1"/>
                </a:lnTo>
                <a:lnTo>
                  <a:pt x="7" y="0"/>
                </a:lnTo>
                <a:lnTo>
                  <a:pt x="8" y="0"/>
                </a:lnTo>
                <a:lnTo>
                  <a:pt x="11" y="1"/>
                </a:lnTo>
                <a:lnTo>
                  <a:pt x="12" y="1"/>
                </a:lnTo>
                <a:lnTo>
                  <a:pt x="12" y="3"/>
                </a:lnTo>
                <a:lnTo>
                  <a:pt x="11" y="4"/>
                </a:lnTo>
                <a:lnTo>
                  <a:pt x="12" y="5"/>
                </a:lnTo>
                <a:lnTo>
                  <a:pt x="8" y="6"/>
                </a:lnTo>
                <a:lnTo>
                  <a:pt x="7" y="5"/>
                </a:lnTo>
                <a:lnTo>
                  <a:pt x="6" y="5"/>
                </a:lnTo>
                <a:lnTo>
                  <a:pt x="5" y="6"/>
                </a:lnTo>
                <a:lnTo>
                  <a:pt x="2" y="8"/>
                </a:lnTo>
                <a:lnTo>
                  <a:pt x="0" y="8"/>
                </a:lnTo>
                <a:lnTo>
                  <a:pt x="0" y="6"/>
                </a:lnTo>
                <a:lnTo>
                  <a:pt x="1" y="6"/>
                </a:lnTo>
                <a:lnTo>
                  <a:pt x="2" y="5"/>
                </a:lnTo>
                <a:lnTo>
                  <a:pt x="1" y="5"/>
                </a:lnTo>
                <a:close/>
              </a:path>
            </a:pathLst>
          </a:custGeom>
          <a:solidFill>
            <a:srgbClr val="00395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899" name="Freeform 899"/>
          <p:cNvSpPr>
            <a:spLocks/>
          </p:cNvSpPr>
          <p:nvPr/>
        </p:nvSpPr>
        <p:spPr bwMode="auto">
          <a:xfrm>
            <a:off x="4660900" y="1627153"/>
            <a:ext cx="19050" cy="12700"/>
          </a:xfrm>
          <a:custGeom>
            <a:avLst/>
            <a:gdLst>
              <a:gd name="T0" fmla="*/ 1 w 12"/>
              <a:gd name="T1" fmla="*/ 5 h 8"/>
              <a:gd name="T2" fmla="*/ 0 w 12"/>
              <a:gd name="T3" fmla="*/ 4 h 8"/>
              <a:gd name="T4" fmla="*/ 1 w 12"/>
              <a:gd name="T5" fmla="*/ 5 h 8"/>
              <a:gd name="T6" fmla="*/ 1 w 12"/>
              <a:gd name="T7" fmla="*/ 4 h 8"/>
              <a:gd name="T8" fmla="*/ 1 w 12"/>
              <a:gd name="T9" fmla="*/ 4 h 8"/>
              <a:gd name="T10" fmla="*/ 0 w 12"/>
              <a:gd name="T11" fmla="*/ 3 h 8"/>
              <a:gd name="T12" fmla="*/ 1 w 12"/>
              <a:gd name="T13" fmla="*/ 3 h 8"/>
              <a:gd name="T14" fmla="*/ 1 w 12"/>
              <a:gd name="T15" fmla="*/ 3 h 8"/>
              <a:gd name="T16" fmla="*/ 2 w 12"/>
              <a:gd name="T17" fmla="*/ 2 h 8"/>
              <a:gd name="T18" fmla="*/ 3 w 12"/>
              <a:gd name="T19" fmla="*/ 3 h 8"/>
              <a:gd name="T20" fmla="*/ 4 w 12"/>
              <a:gd name="T21" fmla="*/ 2 h 8"/>
              <a:gd name="T22" fmla="*/ 3 w 12"/>
              <a:gd name="T23" fmla="*/ 1 h 8"/>
              <a:gd name="T24" fmla="*/ 4 w 12"/>
              <a:gd name="T25" fmla="*/ 1 h 8"/>
              <a:gd name="T26" fmla="*/ 6 w 12"/>
              <a:gd name="T27" fmla="*/ 1 h 8"/>
              <a:gd name="T28" fmla="*/ 6 w 12"/>
              <a:gd name="T29" fmla="*/ 1 h 8"/>
              <a:gd name="T30" fmla="*/ 6 w 12"/>
              <a:gd name="T31" fmla="*/ 0 h 8"/>
              <a:gd name="T32" fmla="*/ 7 w 12"/>
              <a:gd name="T33" fmla="*/ 1 h 8"/>
              <a:gd name="T34" fmla="*/ 7 w 12"/>
              <a:gd name="T35" fmla="*/ 0 h 8"/>
              <a:gd name="T36" fmla="*/ 8 w 12"/>
              <a:gd name="T37" fmla="*/ 0 h 8"/>
              <a:gd name="T38" fmla="*/ 11 w 12"/>
              <a:gd name="T39" fmla="*/ 1 h 8"/>
              <a:gd name="T40" fmla="*/ 12 w 12"/>
              <a:gd name="T41" fmla="*/ 1 h 8"/>
              <a:gd name="T42" fmla="*/ 12 w 12"/>
              <a:gd name="T43" fmla="*/ 3 h 8"/>
              <a:gd name="T44" fmla="*/ 11 w 12"/>
              <a:gd name="T45" fmla="*/ 4 h 8"/>
              <a:gd name="T46" fmla="*/ 12 w 12"/>
              <a:gd name="T47" fmla="*/ 5 h 8"/>
              <a:gd name="T48" fmla="*/ 8 w 12"/>
              <a:gd name="T49" fmla="*/ 6 h 8"/>
              <a:gd name="T50" fmla="*/ 7 w 12"/>
              <a:gd name="T51" fmla="*/ 5 h 8"/>
              <a:gd name="T52" fmla="*/ 6 w 12"/>
              <a:gd name="T53" fmla="*/ 5 h 8"/>
              <a:gd name="T54" fmla="*/ 5 w 12"/>
              <a:gd name="T55" fmla="*/ 6 h 8"/>
              <a:gd name="T56" fmla="*/ 2 w 12"/>
              <a:gd name="T57" fmla="*/ 8 h 8"/>
              <a:gd name="T58" fmla="*/ 0 w 12"/>
              <a:gd name="T59" fmla="*/ 8 h 8"/>
              <a:gd name="T60" fmla="*/ 0 w 12"/>
              <a:gd name="T61" fmla="*/ 6 h 8"/>
              <a:gd name="T62" fmla="*/ 1 w 12"/>
              <a:gd name="T63" fmla="*/ 6 h 8"/>
              <a:gd name="T64" fmla="*/ 2 w 12"/>
              <a:gd name="T65" fmla="*/ 5 h 8"/>
              <a:gd name="T66" fmla="*/ 1 w 12"/>
              <a:gd name="T67" fmla="*/ 5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2" h="8">
                <a:moveTo>
                  <a:pt x="1" y="5"/>
                </a:moveTo>
                <a:lnTo>
                  <a:pt x="0" y="4"/>
                </a:lnTo>
                <a:lnTo>
                  <a:pt x="1" y="5"/>
                </a:lnTo>
                <a:lnTo>
                  <a:pt x="1" y="4"/>
                </a:lnTo>
                <a:lnTo>
                  <a:pt x="1" y="4"/>
                </a:lnTo>
                <a:lnTo>
                  <a:pt x="0" y="3"/>
                </a:lnTo>
                <a:lnTo>
                  <a:pt x="1" y="3"/>
                </a:lnTo>
                <a:lnTo>
                  <a:pt x="1" y="3"/>
                </a:lnTo>
                <a:lnTo>
                  <a:pt x="2" y="2"/>
                </a:lnTo>
                <a:lnTo>
                  <a:pt x="3" y="3"/>
                </a:lnTo>
                <a:lnTo>
                  <a:pt x="4" y="2"/>
                </a:lnTo>
                <a:lnTo>
                  <a:pt x="3" y="1"/>
                </a:lnTo>
                <a:lnTo>
                  <a:pt x="4" y="1"/>
                </a:lnTo>
                <a:lnTo>
                  <a:pt x="6" y="1"/>
                </a:lnTo>
                <a:lnTo>
                  <a:pt x="6" y="1"/>
                </a:lnTo>
                <a:lnTo>
                  <a:pt x="6" y="0"/>
                </a:lnTo>
                <a:lnTo>
                  <a:pt x="7" y="1"/>
                </a:lnTo>
                <a:lnTo>
                  <a:pt x="7" y="0"/>
                </a:lnTo>
                <a:lnTo>
                  <a:pt x="8" y="0"/>
                </a:lnTo>
                <a:lnTo>
                  <a:pt x="11" y="1"/>
                </a:lnTo>
                <a:lnTo>
                  <a:pt x="12" y="1"/>
                </a:lnTo>
                <a:lnTo>
                  <a:pt x="12" y="3"/>
                </a:lnTo>
                <a:lnTo>
                  <a:pt x="11" y="4"/>
                </a:lnTo>
                <a:lnTo>
                  <a:pt x="12" y="5"/>
                </a:lnTo>
                <a:lnTo>
                  <a:pt x="8" y="6"/>
                </a:lnTo>
                <a:lnTo>
                  <a:pt x="7" y="5"/>
                </a:lnTo>
                <a:lnTo>
                  <a:pt x="6" y="5"/>
                </a:lnTo>
                <a:lnTo>
                  <a:pt x="5" y="6"/>
                </a:lnTo>
                <a:lnTo>
                  <a:pt x="2" y="8"/>
                </a:lnTo>
                <a:lnTo>
                  <a:pt x="0" y="8"/>
                </a:lnTo>
                <a:lnTo>
                  <a:pt x="0" y="6"/>
                </a:lnTo>
                <a:lnTo>
                  <a:pt x="1" y="6"/>
                </a:lnTo>
                <a:lnTo>
                  <a:pt x="2" y="5"/>
                </a:lnTo>
                <a:lnTo>
                  <a:pt x="1" y="5"/>
                </a:lnTo>
              </a:path>
            </a:pathLst>
          </a:custGeom>
          <a:solidFill>
            <a:srgbClr val="00395D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00" name="Freeform 900"/>
          <p:cNvSpPr>
            <a:spLocks/>
          </p:cNvSpPr>
          <p:nvPr/>
        </p:nvSpPr>
        <p:spPr bwMode="auto">
          <a:xfrm>
            <a:off x="4681538" y="1619215"/>
            <a:ext cx="15875" cy="7938"/>
          </a:xfrm>
          <a:custGeom>
            <a:avLst/>
            <a:gdLst>
              <a:gd name="T0" fmla="*/ 2 w 10"/>
              <a:gd name="T1" fmla="*/ 3 h 5"/>
              <a:gd name="T2" fmla="*/ 4 w 10"/>
              <a:gd name="T3" fmla="*/ 3 h 5"/>
              <a:gd name="T4" fmla="*/ 4 w 10"/>
              <a:gd name="T5" fmla="*/ 3 h 5"/>
              <a:gd name="T6" fmla="*/ 4 w 10"/>
              <a:gd name="T7" fmla="*/ 1 h 5"/>
              <a:gd name="T8" fmla="*/ 5 w 10"/>
              <a:gd name="T9" fmla="*/ 3 h 5"/>
              <a:gd name="T10" fmla="*/ 7 w 10"/>
              <a:gd name="T11" fmla="*/ 3 h 5"/>
              <a:gd name="T12" fmla="*/ 7 w 10"/>
              <a:gd name="T13" fmla="*/ 1 h 5"/>
              <a:gd name="T14" fmla="*/ 7 w 10"/>
              <a:gd name="T15" fmla="*/ 0 h 5"/>
              <a:gd name="T16" fmla="*/ 9 w 10"/>
              <a:gd name="T17" fmla="*/ 0 h 5"/>
              <a:gd name="T18" fmla="*/ 10 w 10"/>
              <a:gd name="T19" fmla="*/ 1 h 5"/>
              <a:gd name="T20" fmla="*/ 9 w 10"/>
              <a:gd name="T21" fmla="*/ 4 h 5"/>
              <a:gd name="T22" fmla="*/ 9 w 10"/>
              <a:gd name="T23" fmla="*/ 4 h 5"/>
              <a:gd name="T24" fmla="*/ 3 w 10"/>
              <a:gd name="T25" fmla="*/ 5 h 5"/>
              <a:gd name="T26" fmla="*/ 0 w 10"/>
              <a:gd name="T27" fmla="*/ 5 h 5"/>
              <a:gd name="T28" fmla="*/ 0 w 10"/>
              <a:gd name="T29" fmla="*/ 4 h 5"/>
              <a:gd name="T30" fmla="*/ 2 w 10"/>
              <a:gd name="T31" fmla="*/ 4 h 5"/>
              <a:gd name="T32" fmla="*/ 2 w 10"/>
              <a:gd name="T33" fmla="*/ 4 h 5"/>
              <a:gd name="T34" fmla="*/ 2 w 10"/>
              <a:gd name="T35" fmla="*/ 3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0" h="5">
                <a:moveTo>
                  <a:pt x="2" y="3"/>
                </a:moveTo>
                <a:lnTo>
                  <a:pt x="4" y="3"/>
                </a:lnTo>
                <a:lnTo>
                  <a:pt x="4" y="3"/>
                </a:lnTo>
                <a:lnTo>
                  <a:pt x="4" y="1"/>
                </a:lnTo>
                <a:lnTo>
                  <a:pt x="5" y="3"/>
                </a:lnTo>
                <a:lnTo>
                  <a:pt x="7" y="3"/>
                </a:lnTo>
                <a:lnTo>
                  <a:pt x="7" y="1"/>
                </a:lnTo>
                <a:lnTo>
                  <a:pt x="7" y="0"/>
                </a:lnTo>
                <a:lnTo>
                  <a:pt x="9" y="0"/>
                </a:lnTo>
                <a:lnTo>
                  <a:pt x="10" y="1"/>
                </a:lnTo>
                <a:lnTo>
                  <a:pt x="9" y="4"/>
                </a:lnTo>
                <a:lnTo>
                  <a:pt x="9" y="4"/>
                </a:lnTo>
                <a:lnTo>
                  <a:pt x="3" y="5"/>
                </a:lnTo>
                <a:lnTo>
                  <a:pt x="0" y="5"/>
                </a:lnTo>
                <a:lnTo>
                  <a:pt x="0" y="4"/>
                </a:lnTo>
                <a:lnTo>
                  <a:pt x="2" y="4"/>
                </a:lnTo>
                <a:lnTo>
                  <a:pt x="2" y="4"/>
                </a:lnTo>
                <a:lnTo>
                  <a:pt x="2" y="3"/>
                </a:lnTo>
                <a:close/>
              </a:path>
            </a:pathLst>
          </a:custGeom>
          <a:solidFill>
            <a:srgbClr val="00395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01" name="Freeform 901"/>
          <p:cNvSpPr>
            <a:spLocks/>
          </p:cNvSpPr>
          <p:nvPr/>
        </p:nvSpPr>
        <p:spPr bwMode="auto">
          <a:xfrm>
            <a:off x="4681538" y="1619215"/>
            <a:ext cx="15875" cy="7938"/>
          </a:xfrm>
          <a:custGeom>
            <a:avLst/>
            <a:gdLst>
              <a:gd name="T0" fmla="*/ 2 w 10"/>
              <a:gd name="T1" fmla="*/ 3 h 5"/>
              <a:gd name="T2" fmla="*/ 4 w 10"/>
              <a:gd name="T3" fmla="*/ 3 h 5"/>
              <a:gd name="T4" fmla="*/ 4 w 10"/>
              <a:gd name="T5" fmla="*/ 3 h 5"/>
              <a:gd name="T6" fmla="*/ 4 w 10"/>
              <a:gd name="T7" fmla="*/ 1 h 5"/>
              <a:gd name="T8" fmla="*/ 5 w 10"/>
              <a:gd name="T9" fmla="*/ 3 h 5"/>
              <a:gd name="T10" fmla="*/ 7 w 10"/>
              <a:gd name="T11" fmla="*/ 3 h 5"/>
              <a:gd name="T12" fmla="*/ 7 w 10"/>
              <a:gd name="T13" fmla="*/ 1 h 5"/>
              <a:gd name="T14" fmla="*/ 7 w 10"/>
              <a:gd name="T15" fmla="*/ 0 h 5"/>
              <a:gd name="T16" fmla="*/ 9 w 10"/>
              <a:gd name="T17" fmla="*/ 0 h 5"/>
              <a:gd name="T18" fmla="*/ 10 w 10"/>
              <a:gd name="T19" fmla="*/ 1 h 5"/>
              <a:gd name="T20" fmla="*/ 9 w 10"/>
              <a:gd name="T21" fmla="*/ 4 h 5"/>
              <a:gd name="T22" fmla="*/ 9 w 10"/>
              <a:gd name="T23" fmla="*/ 4 h 5"/>
              <a:gd name="T24" fmla="*/ 3 w 10"/>
              <a:gd name="T25" fmla="*/ 5 h 5"/>
              <a:gd name="T26" fmla="*/ 0 w 10"/>
              <a:gd name="T27" fmla="*/ 5 h 5"/>
              <a:gd name="T28" fmla="*/ 0 w 10"/>
              <a:gd name="T29" fmla="*/ 4 h 5"/>
              <a:gd name="T30" fmla="*/ 2 w 10"/>
              <a:gd name="T31" fmla="*/ 4 h 5"/>
              <a:gd name="T32" fmla="*/ 2 w 10"/>
              <a:gd name="T33" fmla="*/ 4 h 5"/>
              <a:gd name="T34" fmla="*/ 2 w 10"/>
              <a:gd name="T35" fmla="*/ 3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0" h="5">
                <a:moveTo>
                  <a:pt x="2" y="3"/>
                </a:moveTo>
                <a:lnTo>
                  <a:pt x="4" y="3"/>
                </a:lnTo>
                <a:lnTo>
                  <a:pt x="4" y="3"/>
                </a:lnTo>
                <a:lnTo>
                  <a:pt x="4" y="1"/>
                </a:lnTo>
                <a:lnTo>
                  <a:pt x="5" y="3"/>
                </a:lnTo>
                <a:lnTo>
                  <a:pt x="7" y="3"/>
                </a:lnTo>
                <a:lnTo>
                  <a:pt x="7" y="1"/>
                </a:lnTo>
                <a:lnTo>
                  <a:pt x="7" y="0"/>
                </a:lnTo>
                <a:lnTo>
                  <a:pt x="9" y="0"/>
                </a:lnTo>
                <a:lnTo>
                  <a:pt x="10" y="1"/>
                </a:lnTo>
                <a:lnTo>
                  <a:pt x="9" y="4"/>
                </a:lnTo>
                <a:lnTo>
                  <a:pt x="9" y="4"/>
                </a:lnTo>
                <a:lnTo>
                  <a:pt x="3" y="5"/>
                </a:lnTo>
                <a:lnTo>
                  <a:pt x="0" y="5"/>
                </a:lnTo>
                <a:lnTo>
                  <a:pt x="0" y="4"/>
                </a:lnTo>
                <a:lnTo>
                  <a:pt x="2" y="4"/>
                </a:lnTo>
                <a:lnTo>
                  <a:pt x="2" y="4"/>
                </a:lnTo>
                <a:lnTo>
                  <a:pt x="2" y="3"/>
                </a:lnTo>
              </a:path>
            </a:pathLst>
          </a:custGeom>
          <a:solidFill>
            <a:srgbClr val="00395D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02" name="Freeform 902"/>
          <p:cNvSpPr>
            <a:spLocks/>
          </p:cNvSpPr>
          <p:nvPr/>
        </p:nvSpPr>
        <p:spPr bwMode="auto">
          <a:xfrm>
            <a:off x="4689475" y="1614453"/>
            <a:ext cx="19050" cy="6350"/>
          </a:xfrm>
          <a:custGeom>
            <a:avLst/>
            <a:gdLst>
              <a:gd name="T0" fmla="*/ 3 w 12"/>
              <a:gd name="T1" fmla="*/ 1 h 4"/>
              <a:gd name="T2" fmla="*/ 2 w 12"/>
              <a:gd name="T3" fmla="*/ 1 h 4"/>
              <a:gd name="T4" fmla="*/ 2 w 12"/>
              <a:gd name="T5" fmla="*/ 1 h 4"/>
              <a:gd name="T6" fmla="*/ 0 w 12"/>
              <a:gd name="T7" fmla="*/ 0 h 4"/>
              <a:gd name="T8" fmla="*/ 2 w 12"/>
              <a:gd name="T9" fmla="*/ 0 h 4"/>
              <a:gd name="T10" fmla="*/ 3 w 12"/>
              <a:gd name="T11" fmla="*/ 0 h 4"/>
              <a:gd name="T12" fmla="*/ 5 w 12"/>
              <a:gd name="T13" fmla="*/ 0 h 4"/>
              <a:gd name="T14" fmla="*/ 6 w 12"/>
              <a:gd name="T15" fmla="*/ 0 h 4"/>
              <a:gd name="T16" fmla="*/ 6 w 12"/>
              <a:gd name="T17" fmla="*/ 0 h 4"/>
              <a:gd name="T18" fmla="*/ 6 w 12"/>
              <a:gd name="T19" fmla="*/ 1 h 4"/>
              <a:gd name="T20" fmla="*/ 7 w 12"/>
              <a:gd name="T21" fmla="*/ 1 h 4"/>
              <a:gd name="T22" fmla="*/ 7 w 12"/>
              <a:gd name="T23" fmla="*/ 1 h 4"/>
              <a:gd name="T24" fmla="*/ 8 w 12"/>
              <a:gd name="T25" fmla="*/ 1 h 4"/>
              <a:gd name="T26" fmla="*/ 12 w 12"/>
              <a:gd name="T27" fmla="*/ 1 h 4"/>
              <a:gd name="T28" fmla="*/ 9 w 12"/>
              <a:gd name="T29" fmla="*/ 3 h 4"/>
              <a:gd name="T30" fmla="*/ 7 w 12"/>
              <a:gd name="T31" fmla="*/ 4 h 4"/>
              <a:gd name="T32" fmla="*/ 3 w 12"/>
              <a:gd name="T33" fmla="*/ 2 h 4"/>
              <a:gd name="T34" fmla="*/ 3 w 12"/>
              <a:gd name="T35" fmla="*/ 1 h 4"/>
              <a:gd name="T36" fmla="*/ 4 w 12"/>
              <a:gd name="T37" fmla="*/ 2 h 4"/>
              <a:gd name="T38" fmla="*/ 4 w 12"/>
              <a:gd name="T39" fmla="*/ 1 h 4"/>
              <a:gd name="T40" fmla="*/ 3 w 12"/>
              <a:gd name="T41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" h="4">
                <a:moveTo>
                  <a:pt x="3" y="1"/>
                </a:moveTo>
                <a:lnTo>
                  <a:pt x="2" y="1"/>
                </a:lnTo>
                <a:lnTo>
                  <a:pt x="2" y="1"/>
                </a:lnTo>
                <a:lnTo>
                  <a:pt x="0" y="0"/>
                </a:lnTo>
                <a:lnTo>
                  <a:pt x="2" y="0"/>
                </a:lnTo>
                <a:lnTo>
                  <a:pt x="3" y="0"/>
                </a:lnTo>
                <a:lnTo>
                  <a:pt x="5" y="0"/>
                </a:lnTo>
                <a:lnTo>
                  <a:pt x="6" y="0"/>
                </a:lnTo>
                <a:lnTo>
                  <a:pt x="6" y="0"/>
                </a:lnTo>
                <a:lnTo>
                  <a:pt x="6" y="1"/>
                </a:lnTo>
                <a:lnTo>
                  <a:pt x="7" y="1"/>
                </a:lnTo>
                <a:lnTo>
                  <a:pt x="7" y="1"/>
                </a:lnTo>
                <a:lnTo>
                  <a:pt x="8" y="1"/>
                </a:lnTo>
                <a:lnTo>
                  <a:pt x="12" y="1"/>
                </a:lnTo>
                <a:lnTo>
                  <a:pt x="9" y="3"/>
                </a:lnTo>
                <a:lnTo>
                  <a:pt x="7" y="4"/>
                </a:lnTo>
                <a:lnTo>
                  <a:pt x="3" y="2"/>
                </a:lnTo>
                <a:lnTo>
                  <a:pt x="3" y="1"/>
                </a:lnTo>
                <a:lnTo>
                  <a:pt x="4" y="2"/>
                </a:lnTo>
                <a:lnTo>
                  <a:pt x="4" y="1"/>
                </a:lnTo>
                <a:lnTo>
                  <a:pt x="3" y="1"/>
                </a:lnTo>
                <a:close/>
              </a:path>
            </a:pathLst>
          </a:custGeom>
          <a:solidFill>
            <a:srgbClr val="00395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03" name="Freeform 903"/>
          <p:cNvSpPr>
            <a:spLocks/>
          </p:cNvSpPr>
          <p:nvPr/>
        </p:nvSpPr>
        <p:spPr bwMode="auto">
          <a:xfrm>
            <a:off x="4689475" y="1614453"/>
            <a:ext cx="19050" cy="6350"/>
          </a:xfrm>
          <a:custGeom>
            <a:avLst/>
            <a:gdLst>
              <a:gd name="T0" fmla="*/ 3 w 12"/>
              <a:gd name="T1" fmla="*/ 1 h 4"/>
              <a:gd name="T2" fmla="*/ 2 w 12"/>
              <a:gd name="T3" fmla="*/ 1 h 4"/>
              <a:gd name="T4" fmla="*/ 2 w 12"/>
              <a:gd name="T5" fmla="*/ 1 h 4"/>
              <a:gd name="T6" fmla="*/ 0 w 12"/>
              <a:gd name="T7" fmla="*/ 0 h 4"/>
              <a:gd name="T8" fmla="*/ 2 w 12"/>
              <a:gd name="T9" fmla="*/ 0 h 4"/>
              <a:gd name="T10" fmla="*/ 3 w 12"/>
              <a:gd name="T11" fmla="*/ 0 h 4"/>
              <a:gd name="T12" fmla="*/ 5 w 12"/>
              <a:gd name="T13" fmla="*/ 0 h 4"/>
              <a:gd name="T14" fmla="*/ 6 w 12"/>
              <a:gd name="T15" fmla="*/ 0 h 4"/>
              <a:gd name="T16" fmla="*/ 6 w 12"/>
              <a:gd name="T17" fmla="*/ 0 h 4"/>
              <a:gd name="T18" fmla="*/ 6 w 12"/>
              <a:gd name="T19" fmla="*/ 1 h 4"/>
              <a:gd name="T20" fmla="*/ 7 w 12"/>
              <a:gd name="T21" fmla="*/ 1 h 4"/>
              <a:gd name="T22" fmla="*/ 7 w 12"/>
              <a:gd name="T23" fmla="*/ 1 h 4"/>
              <a:gd name="T24" fmla="*/ 8 w 12"/>
              <a:gd name="T25" fmla="*/ 1 h 4"/>
              <a:gd name="T26" fmla="*/ 12 w 12"/>
              <a:gd name="T27" fmla="*/ 1 h 4"/>
              <a:gd name="T28" fmla="*/ 9 w 12"/>
              <a:gd name="T29" fmla="*/ 3 h 4"/>
              <a:gd name="T30" fmla="*/ 7 w 12"/>
              <a:gd name="T31" fmla="*/ 4 h 4"/>
              <a:gd name="T32" fmla="*/ 3 w 12"/>
              <a:gd name="T33" fmla="*/ 2 h 4"/>
              <a:gd name="T34" fmla="*/ 3 w 12"/>
              <a:gd name="T35" fmla="*/ 1 h 4"/>
              <a:gd name="T36" fmla="*/ 4 w 12"/>
              <a:gd name="T37" fmla="*/ 2 h 4"/>
              <a:gd name="T38" fmla="*/ 4 w 12"/>
              <a:gd name="T39" fmla="*/ 1 h 4"/>
              <a:gd name="T40" fmla="*/ 3 w 12"/>
              <a:gd name="T41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" h="4">
                <a:moveTo>
                  <a:pt x="3" y="1"/>
                </a:moveTo>
                <a:lnTo>
                  <a:pt x="2" y="1"/>
                </a:lnTo>
                <a:lnTo>
                  <a:pt x="2" y="1"/>
                </a:lnTo>
                <a:lnTo>
                  <a:pt x="0" y="0"/>
                </a:lnTo>
                <a:lnTo>
                  <a:pt x="2" y="0"/>
                </a:lnTo>
                <a:lnTo>
                  <a:pt x="3" y="0"/>
                </a:lnTo>
                <a:lnTo>
                  <a:pt x="5" y="0"/>
                </a:lnTo>
                <a:lnTo>
                  <a:pt x="6" y="0"/>
                </a:lnTo>
                <a:lnTo>
                  <a:pt x="6" y="0"/>
                </a:lnTo>
                <a:lnTo>
                  <a:pt x="6" y="1"/>
                </a:lnTo>
                <a:lnTo>
                  <a:pt x="7" y="1"/>
                </a:lnTo>
                <a:lnTo>
                  <a:pt x="7" y="1"/>
                </a:lnTo>
                <a:lnTo>
                  <a:pt x="8" y="1"/>
                </a:lnTo>
                <a:lnTo>
                  <a:pt x="12" y="1"/>
                </a:lnTo>
                <a:lnTo>
                  <a:pt x="9" y="3"/>
                </a:lnTo>
                <a:lnTo>
                  <a:pt x="7" y="4"/>
                </a:lnTo>
                <a:lnTo>
                  <a:pt x="3" y="2"/>
                </a:lnTo>
                <a:lnTo>
                  <a:pt x="3" y="1"/>
                </a:lnTo>
                <a:lnTo>
                  <a:pt x="4" y="2"/>
                </a:lnTo>
                <a:lnTo>
                  <a:pt x="4" y="1"/>
                </a:lnTo>
                <a:lnTo>
                  <a:pt x="3" y="1"/>
                </a:lnTo>
              </a:path>
            </a:pathLst>
          </a:custGeom>
          <a:solidFill>
            <a:srgbClr val="00395D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04" name="Freeform 904"/>
          <p:cNvSpPr>
            <a:spLocks/>
          </p:cNvSpPr>
          <p:nvPr/>
        </p:nvSpPr>
        <p:spPr bwMode="auto">
          <a:xfrm>
            <a:off x="4705350" y="1611278"/>
            <a:ext cx="9525" cy="4763"/>
          </a:xfrm>
          <a:custGeom>
            <a:avLst/>
            <a:gdLst>
              <a:gd name="T0" fmla="*/ 4 w 6"/>
              <a:gd name="T1" fmla="*/ 1 h 3"/>
              <a:gd name="T2" fmla="*/ 4 w 6"/>
              <a:gd name="T3" fmla="*/ 1 h 3"/>
              <a:gd name="T4" fmla="*/ 4 w 6"/>
              <a:gd name="T5" fmla="*/ 1 h 3"/>
              <a:gd name="T6" fmla="*/ 5 w 6"/>
              <a:gd name="T7" fmla="*/ 1 h 3"/>
              <a:gd name="T8" fmla="*/ 6 w 6"/>
              <a:gd name="T9" fmla="*/ 2 h 3"/>
              <a:gd name="T10" fmla="*/ 6 w 6"/>
              <a:gd name="T11" fmla="*/ 3 h 3"/>
              <a:gd name="T12" fmla="*/ 3 w 6"/>
              <a:gd name="T13" fmla="*/ 2 h 3"/>
              <a:gd name="T14" fmla="*/ 2 w 6"/>
              <a:gd name="T15" fmla="*/ 0 h 3"/>
              <a:gd name="T16" fmla="*/ 0 w 6"/>
              <a:gd name="T17" fmla="*/ 0 h 3"/>
              <a:gd name="T18" fmla="*/ 0 w 6"/>
              <a:gd name="T19" fmla="*/ 0 h 3"/>
              <a:gd name="T20" fmla="*/ 2 w 6"/>
              <a:gd name="T21" fmla="*/ 0 h 3"/>
              <a:gd name="T22" fmla="*/ 3 w 6"/>
              <a:gd name="T23" fmla="*/ 1 h 3"/>
              <a:gd name="T24" fmla="*/ 4 w 6"/>
              <a:gd name="T25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" h="3">
                <a:moveTo>
                  <a:pt x="4" y="1"/>
                </a:moveTo>
                <a:lnTo>
                  <a:pt x="4" y="1"/>
                </a:lnTo>
                <a:lnTo>
                  <a:pt x="4" y="1"/>
                </a:lnTo>
                <a:lnTo>
                  <a:pt x="5" y="1"/>
                </a:lnTo>
                <a:lnTo>
                  <a:pt x="6" y="2"/>
                </a:lnTo>
                <a:lnTo>
                  <a:pt x="6" y="3"/>
                </a:lnTo>
                <a:lnTo>
                  <a:pt x="3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3" y="1"/>
                </a:lnTo>
                <a:lnTo>
                  <a:pt x="4" y="1"/>
                </a:lnTo>
                <a:close/>
              </a:path>
            </a:pathLst>
          </a:custGeom>
          <a:solidFill>
            <a:srgbClr val="00395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05" name="Freeform 905"/>
          <p:cNvSpPr>
            <a:spLocks/>
          </p:cNvSpPr>
          <p:nvPr/>
        </p:nvSpPr>
        <p:spPr bwMode="auto">
          <a:xfrm>
            <a:off x="4705350" y="1611278"/>
            <a:ext cx="9525" cy="4763"/>
          </a:xfrm>
          <a:custGeom>
            <a:avLst/>
            <a:gdLst>
              <a:gd name="T0" fmla="*/ 4 w 6"/>
              <a:gd name="T1" fmla="*/ 1 h 3"/>
              <a:gd name="T2" fmla="*/ 4 w 6"/>
              <a:gd name="T3" fmla="*/ 1 h 3"/>
              <a:gd name="T4" fmla="*/ 4 w 6"/>
              <a:gd name="T5" fmla="*/ 1 h 3"/>
              <a:gd name="T6" fmla="*/ 5 w 6"/>
              <a:gd name="T7" fmla="*/ 1 h 3"/>
              <a:gd name="T8" fmla="*/ 6 w 6"/>
              <a:gd name="T9" fmla="*/ 2 h 3"/>
              <a:gd name="T10" fmla="*/ 6 w 6"/>
              <a:gd name="T11" fmla="*/ 3 h 3"/>
              <a:gd name="T12" fmla="*/ 3 w 6"/>
              <a:gd name="T13" fmla="*/ 2 h 3"/>
              <a:gd name="T14" fmla="*/ 2 w 6"/>
              <a:gd name="T15" fmla="*/ 0 h 3"/>
              <a:gd name="T16" fmla="*/ 0 w 6"/>
              <a:gd name="T17" fmla="*/ 0 h 3"/>
              <a:gd name="T18" fmla="*/ 0 w 6"/>
              <a:gd name="T19" fmla="*/ 0 h 3"/>
              <a:gd name="T20" fmla="*/ 2 w 6"/>
              <a:gd name="T21" fmla="*/ 0 h 3"/>
              <a:gd name="T22" fmla="*/ 3 w 6"/>
              <a:gd name="T23" fmla="*/ 1 h 3"/>
              <a:gd name="T24" fmla="*/ 4 w 6"/>
              <a:gd name="T25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" h="3">
                <a:moveTo>
                  <a:pt x="4" y="1"/>
                </a:moveTo>
                <a:lnTo>
                  <a:pt x="4" y="1"/>
                </a:lnTo>
                <a:lnTo>
                  <a:pt x="4" y="1"/>
                </a:lnTo>
                <a:lnTo>
                  <a:pt x="5" y="1"/>
                </a:lnTo>
                <a:lnTo>
                  <a:pt x="6" y="2"/>
                </a:lnTo>
                <a:lnTo>
                  <a:pt x="6" y="3"/>
                </a:lnTo>
                <a:lnTo>
                  <a:pt x="3" y="2"/>
                </a:lnTo>
                <a:lnTo>
                  <a:pt x="2" y="0"/>
                </a:lnTo>
                <a:lnTo>
                  <a:pt x="0" y="0"/>
                </a:lnTo>
                <a:lnTo>
                  <a:pt x="0" y="0"/>
                </a:lnTo>
                <a:lnTo>
                  <a:pt x="2" y="0"/>
                </a:lnTo>
                <a:lnTo>
                  <a:pt x="3" y="1"/>
                </a:lnTo>
                <a:lnTo>
                  <a:pt x="4" y="1"/>
                </a:lnTo>
              </a:path>
            </a:pathLst>
          </a:custGeom>
          <a:solidFill>
            <a:srgbClr val="00395D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06" name="Freeform 906"/>
          <p:cNvSpPr>
            <a:spLocks/>
          </p:cNvSpPr>
          <p:nvPr/>
        </p:nvSpPr>
        <p:spPr bwMode="auto">
          <a:xfrm>
            <a:off x="4759325" y="1608103"/>
            <a:ext cx="7937" cy="3175"/>
          </a:xfrm>
          <a:custGeom>
            <a:avLst/>
            <a:gdLst>
              <a:gd name="T0" fmla="*/ 3 w 5"/>
              <a:gd name="T1" fmla="*/ 2 h 2"/>
              <a:gd name="T2" fmla="*/ 0 w 5"/>
              <a:gd name="T3" fmla="*/ 1 h 2"/>
              <a:gd name="T4" fmla="*/ 0 w 5"/>
              <a:gd name="T5" fmla="*/ 0 h 2"/>
              <a:gd name="T6" fmla="*/ 0 w 5"/>
              <a:gd name="T7" fmla="*/ 0 h 2"/>
              <a:gd name="T8" fmla="*/ 3 w 5"/>
              <a:gd name="T9" fmla="*/ 0 h 2"/>
              <a:gd name="T10" fmla="*/ 5 w 5"/>
              <a:gd name="T11" fmla="*/ 1 h 2"/>
              <a:gd name="T12" fmla="*/ 5 w 5"/>
              <a:gd name="T13" fmla="*/ 2 h 2"/>
              <a:gd name="T14" fmla="*/ 3 w 5"/>
              <a:gd name="T1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2">
                <a:moveTo>
                  <a:pt x="3" y="2"/>
                </a:moveTo>
                <a:lnTo>
                  <a:pt x="0" y="1"/>
                </a:lnTo>
                <a:lnTo>
                  <a:pt x="0" y="0"/>
                </a:lnTo>
                <a:lnTo>
                  <a:pt x="0" y="0"/>
                </a:lnTo>
                <a:lnTo>
                  <a:pt x="3" y="0"/>
                </a:lnTo>
                <a:lnTo>
                  <a:pt x="5" y="1"/>
                </a:lnTo>
                <a:lnTo>
                  <a:pt x="5" y="2"/>
                </a:lnTo>
                <a:lnTo>
                  <a:pt x="3" y="2"/>
                </a:lnTo>
                <a:close/>
              </a:path>
            </a:pathLst>
          </a:custGeom>
          <a:solidFill>
            <a:srgbClr val="00395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07" name="Freeform 907"/>
          <p:cNvSpPr>
            <a:spLocks/>
          </p:cNvSpPr>
          <p:nvPr/>
        </p:nvSpPr>
        <p:spPr bwMode="auto">
          <a:xfrm>
            <a:off x="4759325" y="1608103"/>
            <a:ext cx="7937" cy="3175"/>
          </a:xfrm>
          <a:custGeom>
            <a:avLst/>
            <a:gdLst>
              <a:gd name="T0" fmla="*/ 3 w 5"/>
              <a:gd name="T1" fmla="*/ 2 h 2"/>
              <a:gd name="T2" fmla="*/ 0 w 5"/>
              <a:gd name="T3" fmla="*/ 1 h 2"/>
              <a:gd name="T4" fmla="*/ 0 w 5"/>
              <a:gd name="T5" fmla="*/ 0 h 2"/>
              <a:gd name="T6" fmla="*/ 0 w 5"/>
              <a:gd name="T7" fmla="*/ 0 h 2"/>
              <a:gd name="T8" fmla="*/ 3 w 5"/>
              <a:gd name="T9" fmla="*/ 0 h 2"/>
              <a:gd name="T10" fmla="*/ 5 w 5"/>
              <a:gd name="T11" fmla="*/ 1 h 2"/>
              <a:gd name="T12" fmla="*/ 5 w 5"/>
              <a:gd name="T13" fmla="*/ 2 h 2"/>
              <a:gd name="T14" fmla="*/ 3 w 5"/>
              <a:gd name="T15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2">
                <a:moveTo>
                  <a:pt x="3" y="2"/>
                </a:moveTo>
                <a:lnTo>
                  <a:pt x="0" y="1"/>
                </a:lnTo>
                <a:lnTo>
                  <a:pt x="0" y="0"/>
                </a:lnTo>
                <a:lnTo>
                  <a:pt x="0" y="0"/>
                </a:lnTo>
                <a:lnTo>
                  <a:pt x="3" y="0"/>
                </a:lnTo>
                <a:lnTo>
                  <a:pt x="5" y="1"/>
                </a:lnTo>
                <a:lnTo>
                  <a:pt x="5" y="2"/>
                </a:lnTo>
                <a:lnTo>
                  <a:pt x="3" y="2"/>
                </a:lnTo>
              </a:path>
            </a:pathLst>
          </a:custGeom>
          <a:solidFill>
            <a:srgbClr val="00395D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08" name="Freeform 908"/>
          <p:cNvSpPr>
            <a:spLocks/>
          </p:cNvSpPr>
          <p:nvPr/>
        </p:nvSpPr>
        <p:spPr bwMode="auto">
          <a:xfrm>
            <a:off x="4749800" y="1598578"/>
            <a:ext cx="17462" cy="6350"/>
          </a:xfrm>
          <a:custGeom>
            <a:avLst/>
            <a:gdLst>
              <a:gd name="T0" fmla="*/ 4 w 11"/>
              <a:gd name="T1" fmla="*/ 1 h 4"/>
              <a:gd name="T2" fmla="*/ 4 w 11"/>
              <a:gd name="T3" fmla="*/ 1 h 4"/>
              <a:gd name="T4" fmla="*/ 4 w 11"/>
              <a:gd name="T5" fmla="*/ 1 h 4"/>
              <a:gd name="T6" fmla="*/ 5 w 11"/>
              <a:gd name="T7" fmla="*/ 1 h 4"/>
              <a:gd name="T8" fmla="*/ 5 w 11"/>
              <a:gd name="T9" fmla="*/ 0 h 4"/>
              <a:gd name="T10" fmla="*/ 6 w 11"/>
              <a:gd name="T11" fmla="*/ 0 h 4"/>
              <a:gd name="T12" fmla="*/ 6 w 11"/>
              <a:gd name="T13" fmla="*/ 1 h 4"/>
              <a:gd name="T14" fmla="*/ 8 w 11"/>
              <a:gd name="T15" fmla="*/ 1 h 4"/>
              <a:gd name="T16" fmla="*/ 8 w 11"/>
              <a:gd name="T17" fmla="*/ 0 h 4"/>
              <a:gd name="T18" fmla="*/ 9 w 11"/>
              <a:gd name="T19" fmla="*/ 0 h 4"/>
              <a:gd name="T20" fmla="*/ 9 w 11"/>
              <a:gd name="T21" fmla="*/ 1 h 4"/>
              <a:gd name="T22" fmla="*/ 11 w 11"/>
              <a:gd name="T23" fmla="*/ 1 h 4"/>
              <a:gd name="T24" fmla="*/ 11 w 11"/>
              <a:gd name="T25" fmla="*/ 1 h 4"/>
              <a:gd name="T26" fmla="*/ 11 w 11"/>
              <a:gd name="T27" fmla="*/ 2 h 4"/>
              <a:gd name="T28" fmla="*/ 10 w 11"/>
              <a:gd name="T29" fmla="*/ 2 h 4"/>
              <a:gd name="T30" fmla="*/ 10 w 11"/>
              <a:gd name="T31" fmla="*/ 3 h 4"/>
              <a:gd name="T32" fmla="*/ 10 w 11"/>
              <a:gd name="T33" fmla="*/ 3 h 4"/>
              <a:gd name="T34" fmla="*/ 8 w 11"/>
              <a:gd name="T35" fmla="*/ 3 h 4"/>
              <a:gd name="T36" fmla="*/ 7 w 11"/>
              <a:gd name="T37" fmla="*/ 3 h 4"/>
              <a:gd name="T38" fmla="*/ 6 w 11"/>
              <a:gd name="T39" fmla="*/ 3 h 4"/>
              <a:gd name="T40" fmla="*/ 6 w 11"/>
              <a:gd name="T41" fmla="*/ 3 h 4"/>
              <a:gd name="T42" fmla="*/ 4 w 11"/>
              <a:gd name="T43" fmla="*/ 3 h 4"/>
              <a:gd name="T44" fmla="*/ 4 w 11"/>
              <a:gd name="T45" fmla="*/ 3 h 4"/>
              <a:gd name="T46" fmla="*/ 2 w 11"/>
              <a:gd name="T47" fmla="*/ 4 h 4"/>
              <a:gd name="T48" fmla="*/ 1 w 11"/>
              <a:gd name="T49" fmla="*/ 2 h 4"/>
              <a:gd name="T50" fmla="*/ 0 w 11"/>
              <a:gd name="T51" fmla="*/ 2 h 4"/>
              <a:gd name="T52" fmla="*/ 1 w 11"/>
              <a:gd name="T53" fmla="*/ 1 h 4"/>
              <a:gd name="T54" fmla="*/ 2 w 11"/>
              <a:gd name="T55" fmla="*/ 1 h 4"/>
              <a:gd name="T56" fmla="*/ 4 w 11"/>
              <a:gd name="T57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1" h="4">
                <a:moveTo>
                  <a:pt x="4" y="1"/>
                </a:moveTo>
                <a:lnTo>
                  <a:pt x="4" y="1"/>
                </a:lnTo>
                <a:lnTo>
                  <a:pt x="4" y="1"/>
                </a:lnTo>
                <a:lnTo>
                  <a:pt x="5" y="1"/>
                </a:lnTo>
                <a:lnTo>
                  <a:pt x="5" y="0"/>
                </a:lnTo>
                <a:lnTo>
                  <a:pt x="6" y="0"/>
                </a:lnTo>
                <a:lnTo>
                  <a:pt x="6" y="1"/>
                </a:lnTo>
                <a:lnTo>
                  <a:pt x="8" y="1"/>
                </a:lnTo>
                <a:lnTo>
                  <a:pt x="8" y="0"/>
                </a:lnTo>
                <a:lnTo>
                  <a:pt x="9" y="0"/>
                </a:lnTo>
                <a:lnTo>
                  <a:pt x="9" y="1"/>
                </a:lnTo>
                <a:lnTo>
                  <a:pt x="11" y="1"/>
                </a:lnTo>
                <a:lnTo>
                  <a:pt x="11" y="1"/>
                </a:lnTo>
                <a:lnTo>
                  <a:pt x="11" y="2"/>
                </a:lnTo>
                <a:lnTo>
                  <a:pt x="10" y="2"/>
                </a:lnTo>
                <a:lnTo>
                  <a:pt x="10" y="3"/>
                </a:lnTo>
                <a:lnTo>
                  <a:pt x="10" y="3"/>
                </a:lnTo>
                <a:lnTo>
                  <a:pt x="8" y="3"/>
                </a:lnTo>
                <a:lnTo>
                  <a:pt x="7" y="3"/>
                </a:lnTo>
                <a:lnTo>
                  <a:pt x="6" y="3"/>
                </a:lnTo>
                <a:lnTo>
                  <a:pt x="6" y="3"/>
                </a:lnTo>
                <a:lnTo>
                  <a:pt x="4" y="3"/>
                </a:lnTo>
                <a:lnTo>
                  <a:pt x="4" y="3"/>
                </a:lnTo>
                <a:lnTo>
                  <a:pt x="2" y="4"/>
                </a:lnTo>
                <a:lnTo>
                  <a:pt x="1" y="2"/>
                </a:lnTo>
                <a:lnTo>
                  <a:pt x="0" y="2"/>
                </a:lnTo>
                <a:lnTo>
                  <a:pt x="1" y="1"/>
                </a:lnTo>
                <a:lnTo>
                  <a:pt x="2" y="1"/>
                </a:lnTo>
                <a:lnTo>
                  <a:pt x="4" y="1"/>
                </a:lnTo>
                <a:close/>
              </a:path>
            </a:pathLst>
          </a:custGeom>
          <a:solidFill>
            <a:srgbClr val="00395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09" name="Freeform 909"/>
          <p:cNvSpPr>
            <a:spLocks/>
          </p:cNvSpPr>
          <p:nvPr/>
        </p:nvSpPr>
        <p:spPr bwMode="auto">
          <a:xfrm>
            <a:off x="4749800" y="1598578"/>
            <a:ext cx="17462" cy="6350"/>
          </a:xfrm>
          <a:custGeom>
            <a:avLst/>
            <a:gdLst>
              <a:gd name="T0" fmla="*/ 4 w 11"/>
              <a:gd name="T1" fmla="*/ 1 h 4"/>
              <a:gd name="T2" fmla="*/ 4 w 11"/>
              <a:gd name="T3" fmla="*/ 1 h 4"/>
              <a:gd name="T4" fmla="*/ 4 w 11"/>
              <a:gd name="T5" fmla="*/ 1 h 4"/>
              <a:gd name="T6" fmla="*/ 5 w 11"/>
              <a:gd name="T7" fmla="*/ 1 h 4"/>
              <a:gd name="T8" fmla="*/ 5 w 11"/>
              <a:gd name="T9" fmla="*/ 0 h 4"/>
              <a:gd name="T10" fmla="*/ 6 w 11"/>
              <a:gd name="T11" fmla="*/ 0 h 4"/>
              <a:gd name="T12" fmla="*/ 6 w 11"/>
              <a:gd name="T13" fmla="*/ 1 h 4"/>
              <a:gd name="T14" fmla="*/ 8 w 11"/>
              <a:gd name="T15" fmla="*/ 1 h 4"/>
              <a:gd name="T16" fmla="*/ 8 w 11"/>
              <a:gd name="T17" fmla="*/ 0 h 4"/>
              <a:gd name="T18" fmla="*/ 9 w 11"/>
              <a:gd name="T19" fmla="*/ 0 h 4"/>
              <a:gd name="T20" fmla="*/ 9 w 11"/>
              <a:gd name="T21" fmla="*/ 1 h 4"/>
              <a:gd name="T22" fmla="*/ 11 w 11"/>
              <a:gd name="T23" fmla="*/ 1 h 4"/>
              <a:gd name="T24" fmla="*/ 11 w 11"/>
              <a:gd name="T25" fmla="*/ 1 h 4"/>
              <a:gd name="T26" fmla="*/ 11 w 11"/>
              <a:gd name="T27" fmla="*/ 2 h 4"/>
              <a:gd name="T28" fmla="*/ 10 w 11"/>
              <a:gd name="T29" fmla="*/ 2 h 4"/>
              <a:gd name="T30" fmla="*/ 10 w 11"/>
              <a:gd name="T31" fmla="*/ 3 h 4"/>
              <a:gd name="T32" fmla="*/ 10 w 11"/>
              <a:gd name="T33" fmla="*/ 3 h 4"/>
              <a:gd name="T34" fmla="*/ 8 w 11"/>
              <a:gd name="T35" fmla="*/ 3 h 4"/>
              <a:gd name="T36" fmla="*/ 7 w 11"/>
              <a:gd name="T37" fmla="*/ 3 h 4"/>
              <a:gd name="T38" fmla="*/ 6 w 11"/>
              <a:gd name="T39" fmla="*/ 3 h 4"/>
              <a:gd name="T40" fmla="*/ 6 w 11"/>
              <a:gd name="T41" fmla="*/ 3 h 4"/>
              <a:gd name="T42" fmla="*/ 4 w 11"/>
              <a:gd name="T43" fmla="*/ 3 h 4"/>
              <a:gd name="T44" fmla="*/ 4 w 11"/>
              <a:gd name="T45" fmla="*/ 3 h 4"/>
              <a:gd name="T46" fmla="*/ 2 w 11"/>
              <a:gd name="T47" fmla="*/ 4 h 4"/>
              <a:gd name="T48" fmla="*/ 1 w 11"/>
              <a:gd name="T49" fmla="*/ 2 h 4"/>
              <a:gd name="T50" fmla="*/ 0 w 11"/>
              <a:gd name="T51" fmla="*/ 2 h 4"/>
              <a:gd name="T52" fmla="*/ 1 w 11"/>
              <a:gd name="T53" fmla="*/ 1 h 4"/>
              <a:gd name="T54" fmla="*/ 2 w 11"/>
              <a:gd name="T55" fmla="*/ 1 h 4"/>
              <a:gd name="T56" fmla="*/ 4 w 11"/>
              <a:gd name="T57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1" h="4">
                <a:moveTo>
                  <a:pt x="4" y="1"/>
                </a:moveTo>
                <a:lnTo>
                  <a:pt x="4" y="1"/>
                </a:lnTo>
                <a:lnTo>
                  <a:pt x="4" y="1"/>
                </a:lnTo>
                <a:lnTo>
                  <a:pt x="5" y="1"/>
                </a:lnTo>
                <a:lnTo>
                  <a:pt x="5" y="0"/>
                </a:lnTo>
                <a:lnTo>
                  <a:pt x="6" y="0"/>
                </a:lnTo>
                <a:lnTo>
                  <a:pt x="6" y="1"/>
                </a:lnTo>
                <a:lnTo>
                  <a:pt x="8" y="1"/>
                </a:lnTo>
                <a:lnTo>
                  <a:pt x="8" y="0"/>
                </a:lnTo>
                <a:lnTo>
                  <a:pt x="9" y="0"/>
                </a:lnTo>
                <a:lnTo>
                  <a:pt x="9" y="1"/>
                </a:lnTo>
                <a:lnTo>
                  <a:pt x="11" y="1"/>
                </a:lnTo>
                <a:lnTo>
                  <a:pt x="11" y="1"/>
                </a:lnTo>
                <a:lnTo>
                  <a:pt x="11" y="2"/>
                </a:lnTo>
                <a:lnTo>
                  <a:pt x="10" y="2"/>
                </a:lnTo>
                <a:lnTo>
                  <a:pt x="10" y="3"/>
                </a:lnTo>
                <a:lnTo>
                  <a:pt x="10" y="3"/>
                </a:lnTo>
                <a:lnTo>
                  <a:pt x="8" y="3"/>
                </a:lnTo>
                <a:lnTo>
                  <a:pt x="7" y="3"/>
                </a:lnTo>
                <a:lnTo>
                  <a:pt x="6" y="3"/>
                </a:lnTo>
                <a:lnTo>
                  <a:pt x="6" y="3"/>
                </a:lnTo>
                <a:lnTo>
                  <a:pt x="4" y="3"/>
                </a:lnTo>
                <a:lnTo>
                  <a:pt x="4" y="3"/>
                </a:lnTo>
                <a:lnTo>
                  <a:pt x="2" y="4"/>
                </a:lnTo>
                <a:lnTo>
                  <a:pt x="1" y="2"/>
                </a:lnTo>
                <a:lnTo>
                  <a:pt x="0" y="2"/>
                </a:lnTo>
                <a:lnTo>
                  <a:pt x="1" y="1"/>
                </a:lnTo>
                <a:lnTo>
                  <a:pt x="2" y="1"/>
                </a:lnTo>
                <a:lnTo>
                  <a:pt x="4" y="1"/>
                </a:lnTo>
              </a:path>
            </a:pathLst>
          </a:custGeom>
          <a:solidFill>
            <a:srgbClr val="00395D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10" name="Freeform 910"/>
          <p:cNvSpPr>
            <a:spLocks/>
          </p:cNvSpPr>
          <p:nvPr/>
        </p:nvSpPr>
        <p:spPr bwMode="auto">
          <a:xfrm>
            <a:off x="4765675" y="1601753"/>
            <a:ext cx="12700" cy="7938"/>
          </a:xfrm>
          <a:custGeom>
            <a:avLst/>
            <a:gdLst>
              <a:gd name="T0" fmla="*/ 6 w 8"/>
              <a:gd name="T1" fmla="*/ 4 h 5"/>
              <a:gd name="T2" fmla="*/ 6 w 8"/>
              <a:gd name="T3" fmla="*/ 4 h 5"/>
              <a:gd name="T4" fmla="*/ 6 w 8"/>
              <a:gd name="T5" fmla="*/ 5 h 5"/>
              <a:gd name="T6" fmla="*/ 5 w 8"/>
              <a:gd name="T7" fmla="*/ 5 h 5"/>
              <a:gd name="T8" fmla="*/ 2 w 8"/>
              <a:gd name="T9" fmla="*/ 5 h 5"/>
              <a:gd name="T10" fmla="*/ 1 w 8"/>
              <a:gd name="T11" fmla="*/ 4 h 5"/>
              <a:gd name="T12" fmla="*/ 1 w 8"/>
              <a:gd name="T13" fmla="*/ 4 h 5"/>
              <a:gd name="T14" fmla="*/ 1 w 8"/>
              <a:gd name="T15" fmla="*/ 2 h 5"/>
              <a:gd name="T16" fmla="*/ 0 w 8"/>
              <a:gd name="T17" fmla="*/ 2 h 5"/>
              <a:gd name="T18" fmla="*/ 1 w 8"/>
              <a:gd name="T19" fmla="*/ 1 h 5"/>
              <a:gd name="T20" fmla="*/ 2 w 8"/>
              <a:gd name="T21" fmla="*/ 1 h 5"/>
              <a:gd name="T22" fmla="*/ 2 w 8"/>
              <a:gd name="T23" fmla="*/ 1 h 5"/>
              <a:gd name="T24" fmla="*/ 5 w 8"/>
              <a:gd name="T25" fmla="*/ 1 h 5"/>
              <a:gd name="T26" fmla="*/ 6 w 8"/>
              <a:gd name="T27" fmla="*/ 0 h 5"/>
              <a:gd name="T28" fmla="*/ 8 w 8"/>
              <a:gd name="T29" fmla="*/ 1 h 5"/>
              <a:gd name="T30" fmla="*/ 8 w 8"/>
              <a:gd name="T31" fmla="*/ 2 h 5"/>
              <a:gd name="T32" fmla="*/ 7 w 8"/>
              <a:gd name="T33" fmla="*/ 4 h 5"/>
              <a:gd name="T34" fmla="*/ 6 w 8"/>
              <a:gd name="T35" fmla="*/ 4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8" h="5">
                <a:moveTo>
                  <a:pt x="6" y="4"/>
                </a:moveTo>
                <a:lnTo>
                  <a:pt x="6" y="4"/>
                </a:lnTo>
                <a:lnTo>
                  <a:pt x="6" y="5"/>
                </a:lnTo>
                <a:lnTo>
                  <a:pt x="5" y="5"/>
                </a:lnTo>
                <a:lnTo>
                  <a:pt x="2" y="5"/>
                </a:lnTo>
                <a:lnTo>
                  <a:pt x="1" y="4"/>
                </a:lnTo>
                <a:lnTo>
                  <a:pt x="1" y="4"/>
                </a:lnTo>
                <a:lnTo>
                  <a:pt x="1" y="2"/>
                </a:lnTo>
                <a:lnTo>
                  <a:pt x="0" y="2"/>
                </a:lnTo>
                <a:lnTo>
                  <a:pt x="1" y="1"/>
                </a:lnTo>
                <a:lnTo>
                  <a:pt x="2" y="1"/>
                </a:lnTo>
                <a:lnTo>
                  <a:pt x="2" y="1"/>
                </a:lnTo>
                <a:lnTo>
                  <a:pt x="5" y="1"/>
                </a:lnTo>
                <a:lnTo>
                  <a:pt x="6" y="0"/>
                </a:lnTo>
                <a:lnTo>
                  <a:pt x="8" y="1"/>
                </a:lnTo>
                <a:lnTo>
                  <a:pt x="8" y="2"/>
                </a:lnTo>
                <a:lnTo>
                  <a:pt x="7" y="4"/>
                </a:lnTo>
                <a:lnTo>
                  <a:pt x="6" y="4"/>
                </a:lnTo>
                <a:close/>
              </a:path>
            </a:pathLst>
          </a:custGeom>
          <a:solidFill>
            <a:srgbClr val="00395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11" name="Freeform 911"/>
          <p:cNvSpPr>
            <a:spLocks/>
          </p:cNvSpPr>
          <p:nvPr/>
        </p:nvSpPr>
        <p:spPr bwMode="auto">
          <a:xfrm>
            <a:off x="4765675" y="1601753"/>
            <a:ext cx="12700" cy="7938"/>
          </a:xfrm>
          <a:custGeom>
            <a:avLst/>
            <a:gdLst>
              <a:gd name="T0" fmla="*/ 6 w 8"/>
              <a:gd name="T1" fmla="*/ 4 h 5"/>
              <a:gd name="T2" fmla="*/ 6 w 8"/>
              <a:gd name="T3" fmla="*/ 4 h 5"/>
              <a:gd name="T4" fmla="*/ 6 w 8"/>
              <a:gd name="T5" fmla="*/ 5 h 5"/>
              <a:gd name="T6" fmla="*/ 5 w 8"/>
              <a:gd name="T7" fmla="*/ 5 h 5"/>
              <a:gd name="T8" fmla="*/ 2 w 8"/>
              <a:gd name="T9" fmla="*/ 5 h 5"/>
              <a:gd name="T10" fmla="*/ 1 w 8"/>
              <a:gd name="T11" fmla="*/ 4 h 5"/>
              <a:gd name="T12" fmla="*/ 1 w 8"/>
              <a:gd name="T13" fmla="*/ 4 h 5"/>
              <a:gd name="T14" fmla="*/ 1 w 8"/>
              <a:gd name="T15" fmla="*/ 2 h 5"/>
              <a:gd name="T16" fmla="*/ 0 w 8"/>
              <a:gd name="T17" fmla="*/ 2 h 5"/>
              <a:gd name="T18" fmla="*/ 1 w 8"/>
              <a:gd name="T19" fmla="*/ 1 h 5"/>
              <a:gd name="T20" fmla="*/ 2 w 8"/>
              <a:gd name="T21" fmla="*/ 1 h 5"/>
              <a:gd name="T22" fmla="*/ 2 w 8"/>
              <a:gd name="T23" fmla="*/ 1 h 5"/>
              <a:gd name="T24" fmla="*/ 5 w 8"/>
              <a:gd name="T25" fmla="*/ 1 h 5"/>
              <a:gd name="T26" fmla="*/ 6 w 8"/>
              <a:gd name="T27" fmla="*/ 0 h 5"/>
              <a:gd name="T28" fmla="*/ 8 w 8"/>
              <a:gd name="T29" fmla="*/ 1 h 5"/>
              <a:gd name="T30" fmla="*/ 8 w 8"/>
              <a:gd name="T31" fmla="*/ 2 h 5"/>
              <a:gd name="T32" fmla="*/ 7 w 8"/>
              <a:gd name="T33" fmla="*/ 4 h 5"/>
              <a:gd name="T34" fmla="*/ 6 w 8"/>
              <a:gd name="T35" fmla="*/ 4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8" h="5">
                <a:moveTo>
                  <a:pt x="6" y="4"/>
                </a:moveTo>
                <a:lnTo>
                  <a:pt x="6" y="4"/>
                </a:lnTo>
                <a:lnTo>
                  <a:pt x="6" y="5"/>
                </a:lnTo>
                <a:lnTo>
                  <a:pt x="5" y="5"/>
                </a:lnTo>
                <a:lnTo>
                  <a:pt x="2" y="5"/>
                </a:lnTo>
                <a:lnTo>
                  <a:pt x="1" y="4"/>
                </a:lnTo>
                <a:lnTo>
                  <a:pt x="1" y="4"/>
                </a:lnTo>
                <a:lnTo>
                  <a:pt x="1" y="2"/>
                </a:lnTo>
                <a:lnTo>
                  <a:pt x="0" y="2"/>
                </a:lnTo>
                <a:lnTo>
                  <a:pt x="1" y="1"/>
                </a:lnTo>
                <a:lnTo>
                  <a:pt x="2" y="1"/>
                </a:lnTo>
                <a:lnTo>
                  <a:pt x="2" y="1"/>
                </a:lnTo>
                <a:lnTo>
                  <a:pt x="5" y="1"/>
                </a:lnTo>
                <a:lnTo>
                  <a:pt x="6" y="0"/>
                </a:lnTo>
                <a:lnTo>
                  <a:pt x="8" y="1"/>
                </a:lnTo>
                <a:lnTo>
                  <a:pt x="8" y="2"/>
                </a:lnTo>
                <a:lnTo>
                  <a:pt x="7" y="4"/>
                </a:lnTo>
                <a:lnTo>
                  <a:pt x="6" y="4"/>
                </a:lnTo>
              </a:path>
            </a:pathLst>
          </a:custGeom>
          <a:solidFill>
            <a:srgbClr val="00395D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12" name="Freeform 912"/>
          <p:cNvSpPr>
            <a:spLocks/>
          </p:cNvSpPr>
          <p:nvPr/>
        </p:nvSpPr>
        <p:spPr bwMode="auto">
          <a:xfrm>
            <a:off x="4778375" y="1598578"/>
            <a:ext cx="9525" cy="4763"/>
          </a:xfrm>
          <a:custGeom>
            <a:avLst/>
            <a:gdLst>
              <a:gd name="T0" fmla="*/ 3 w 6"/>
              <a:gd name="T1" fmla="*/ 3 h 3"/>
              <a:gd name="T2" fmla="*/ 3 w 6"/>
              <a:gd name="T3" fmla="*/ 3 h 3"/>
              <a:gd name="T4" fmla="*/ 1 w 6"/>
              <a:gd name="T5" fmla="*/ 2 h 3"/>
              <a:gd name="T6" fmla="*/ 0 w 6"/>
              <a:gd name="T7" fmla="*/ 0 h 3"/>
              <a:gd name="T8" fmla="*/ 1 w 6"/>
              <a:gd name="T9" fmla="*/ 0 h 3"/>
              <a:gd name="T10" fmla="*/ 1 w 6"/>
              <a:gd name="T11" fmla="*/ 1 h 3"/>
              <a:gd name="T12" fmla="*/ 2 w 6"/>
              <a:gd name="T13" fmla="*/ 0 h 3"/>
              <a:gd name="T14" fmla="*/ 4 w 6"/>
              <a:gd name="T15" fmla="*/ 1 h 3"/>
              <a:gd name="T16" fmla="*/ 6 w 6"/>
              <a:gd name="T17" fmla="*/ 2 h 3"/>
              <a:gd name="T18" fmla="*/ 6 w 6"/>
              <a:gd name="T19" fmla="*/ 3 h 3"/>
              <a:gd name="T20" fmla="*/ 3 w 6"/>
              <a:gd name="T2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" h="3">
                <a:moveTo>
                  <a:pt x="3" y="3"/>
                </a:moveTo>
                <a:lnTo>
                  <a:pt x="3" y="3"/>
                </a:lnTo>
                <a:lnTo>
                  <a:pt x="1" y="2"/>
                </a:lnTo>
                <a:lnTo>
                  <a:pt x="0" y="0"/>
                </a:lnTo>
                <a:lnTo>
                  <a:pt x="1" y="0"/>
                </a:lnTo>
                <a:lnTo>
                  <a:pt x="1" y="1"/>
                </a:lnTo>
                <a:lnTo>
                  <a:pt x="2" y="0"/>
                </a:lnTo>
                <a:lnTo>
                  <a:pt x="4" y="1"/>
                </a:lnTo>
                <a:lnTo>
                  <a:pt x="6" y="2"/>
                </a:lnTo>
                <a:lnTo>
                  <a:pt x="6" y="3"/>
                </a:lnTo>
                <a:lnTo>
                  <a:pt x="3" y="3"/>
                </a:lnTo>
                <a:close/>
              </a:path>
            </a:pathLst>
          </a:custGeom>
          <a:solidFill>
            <a:srgbClr val="00395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13" name="Freeform 913"/>
          <p:cNvSpPr>
            <a:spLocks/>
          </p:cNvSpPr>
          <p:nvPr/>
        </p:nvSpPr>
        <p:spPr bwMode="auto">
          <a:xfrm>
            <a:off x="4778375" y="1598578"/>
            <a:ext cx="9525" cy="4763"/>
          </a:xfrm>
          <a:custGeom>
            <a:avLst/>
            <a:gdLst>
              <a:gd name="T0" fmla="*/ 3 w 6"/>
              <a:gd name="T1" fmla="*/ 3 h 3"/>
              <a:gd name="T2" fmla="*/ 3 w 6"/>
              <a:gd name="T3" fmla="*/ 3 h 3"/>
              <a:gd name="T4" fmla="*/ 1 w 6"/>
              <a:gd name="T5" fmla="*/ 2 h 3"/>
              <a:gd name="T6" fmla="*/ 0 w 6"/>
              <a:gd name="T7" fmla="*/ 0 h 3"/>
              <a:gd name="T8" fmla="*/ 1 w 6"/>
              <a:gd name="T9" fmla="*/ 0 h 3"/>
              <a:gd name="T10" fmla="*/ 1 w 6"/>
              <a:gd name="T11" fmla="*/ 1 h 3"/>
              <a:gd name="T12" fmla="*/ 2 w 6"/>
              <a:gd name="T13" fmla="*/ 0 h 3"/>
              <a:gd name="T14" fmla="*/ 4 w 6"/>
              <a:gd name="T15" fmla="*/ 1 h 3"/>
              <a:gd name="T16" fmla="*/ 6 w 6"/>
              <a:gd name="T17" fmla="*/ 2 h 3"/>
              <a:gd name="T18" fmla="*/ 6 w 6"/>
              <a:gd name="T19" fmla="*/ 3 h 3"/>
              <a:gd name="T20" fmla="*/ 3 w 6"/>
              <a:gd name="T21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" h="3">
                <a:moveTo>
                  <a:pt x="3" y="3"/>
                </a:moveTo>
                <a:lnTo>
                  <a:pt x="3" y="3"/>
                </a:lnTo>
                <a:lnTo>
                  <a:pt x="1" y="2"/>
                </a:lnTo>
                <a:lnTo>
                  <a:pt x="0" y="0"/>
                </a:lnTo>
                <a:lnTo>
                  <a:pt x="1" y="0"/>
                </a:lnTo>
                <a:lnTo>
                  <a:pt x="1" y="1"/>
                </a:lnTo>
                <a:lnTo>
                  <a:pt x="2" y="0"/>
                </a:lnTo>
                <a:lnTo>
                  <a:pt x="4" y="1"/>
                </a:lnTo>
                <a:lnTo>
                  <a:pt x="6" y="2"/>
                </a:lnTo>
                <a:lnTo>
                  <a:pt x="6" y="3"/>
                </a:lnTo>
                <a:lnTo>
                  <a:pt x="3" y="3"/>
                </a:lnTo>
              </a:path>
            </a:pathLst>
          </a:custGeom>
          <a:solidFill>
            <a:srgbClr val="00395D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14" name="Freeform 914"/>
          <p:cNvSpPr>
            <a:spLocks/>
          </p:cNvSpPr>
          <p:nvPr/>
        </p:nvSpPr>
        <p:spPr bwMode="auto">
          <a:xfrm>
            <a:off x="4806950" y="1589053"/>
            <a:ext cx="11112" cy="4763"/>
          </a:xfrm>
          <a:custGeom>
            <a:avLst/>
            <a:gdLst>
              <a:gd name="T0" fmla="*/ 5 w 7"/>
              <a:gd name="T1" fmla="*/ 0 h 3"/>
              <a:gd name="T2" fmla="*/ 7 w 7"/>
              <a:gd name="T3" fmla="*/ 2 h 3"/>
              <a:gd name="T4" fmla="*/ 7 w 7"/>
              <a:gd name="T5" fmla="*/ 3 h 3"/>
              <a:gd name="T6" fmla="*/ 6 w 7"/>
              <a:gd name="T7" fmla="*/ 3 h 3"/>
              <a:gd name="T8" fmla="*/ 5 w 7"/>
              <a:gd name="T9" fmla="*/ 3 h 3"/>
              <a:gd name="T10" fmla="*/ 4 w 7"/>
              <a:gd name="T11" fmla="*/ 3 h 3"/>
              <a:gd name="T12" fmla="*/ 1 w 7"/>
              <a:gd name="T13" fmla="*/ 3 h 3"/>
              <a:gd name="T14" fmla="*/ 1 w 7"/>
              <a:gd name="T15" fmla="*/ 3 h 3"/>
              <a:gd name="T16" fmla="*/ 2 w 7"/>
              <a:gd name="T17" fmla="*/ 2 h 3"/>
              <a:gd name="T18" fmla="*/ 3 w 7"/>
              <a:gd name="T19" fmla="*/ 2 h 3"/>
              <a:gd name="T20" fmla="*/ 0 w 7"/>
              <a:gd name="T21" fmla="*/ 2 h 3"/>
              <a:gd name="T22" fmla="*/ 0 w 7"/>
              <a:gd name="T23" fmla="*/ 2 h 3"/>
              <a:gd name="T24" fmla="*/ 1 w 7"/>
              <a:gd name="T25" fmla="*/ 2 h 3"/>
              <a:gd name="T26" fmla="*/ 3 w 7"/>
              <a:gd name="T27" fmla="*/ 2 h 3"/>
              <a:gd name="T28" fmla="*/ 3 w 7"/>
              <a:gd name="T29" fmla="*/ 0 h 3"/>
              <a:gd name="T30" fmla="*/ 3 w 7"/>
              <a:gd name="T31" fmla="*/ 0 h 3"/>
              <a:gd name="T32" fmla="*/ 5 w 7"/>
              <a:gd name="T33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7" h="3">
                <a:moveTo>
                  <a:pt x="5" y="0"/>
                </a:moveTo>
                <a:lnTo>
                  <a:pt x="7" y="2"/>
                </a:lnTo>
                <a:lnTo>
                  <a:pt x="7" y="3"/>
                </a:lnTo>
                <a:lnTo>
                  <a:pt x="6" y="3"/>
                </a:lnTo>
                <a:lnTo>
                  <a:pt x="5" y="3"/>
                </a:lnTo>
                <a:lnTo>
                  <a:pt x="4" y="3"/>
                </a:lnTo>
                <a:lnTo>
                  <a:pt x="1" y="3"/>
                </a:lnTo>
                <a:lnTo>
                  <a:pt x="1" y="3"/>
                </a:lnTo>
                <a:lnTo>
                  <a:pt x="2" y="2"/>
                </a:lnTo>
                <a:lnTo>
                  <a:pt x="3" y="2"/>
                </a:lnTo>
                <a:lnTo>
                  <a:pt x="0" y="2"/>
                </a:lnTo>
                <a:lnTo>
                  <a:pt x="0" y="2"/>
                </a:lnTo>
                <a:lnTo>
                  <a:pt x="1" y="2"/>
                </a:lnTo>
                <a:lnTo>
                  <a:pt x="3" y="2"/>
                </a:lnTo>
                <a:lnTo>
                  <a:pt x="3" y="0"/>
                </a:lnTo>
                <a:lnTo>
                  <a:pt x="3" y="0"/>
                </a:lnTo>
                <a:lnTo>
                  <a:pt x="5" y="0"/>
                </a:lnTo>
                <a:close/>
              </a:path>
            </a:pathLst>
          </a:custGeom>
          <a:solidFill>
            <a:srgbClr val="00395D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15" name="Freeform 915"/>
          <p:cNvSpPr>
            <a:spLocks/>
          </p:cNvSpPr>
          <p:nvPr/>
        </p:nvSpPr>
        <p:spPr bwMode="auto">
          <a:xfrm>
            <a:off x="4806950" y="1589053"/>
            <a:ext cx="11112" cy="4763"/>
          </a:xfrm>
          <a:custGeom>
            <a:avLst/>
            <a:gdLst>
              <a:gd name="T0" fmla="*/ 5 w 7"/>
              <a:gd name="T1" fmla="*/ 0 h 3"/>
              <a:gd name="T2" fmla="*/ 7 w 7"/>
              <a:gd name="T3" fmla="*/ 2 h 3"/>
              <a:gd name="T4" fmla="*/ 7 w 7"/>
              <a:gd name="T5" fmla="*/ 3 h 3"/>
              <a:gd name="T6" fmla="*/ 6 w 7"/>
              <a:gd name="T7" fmla="*/ 3 h 3"/>
              <a:gd name="T8" fmla="*/ 5 w 7"/>
              <a:gd name="T9" fmla="*/ 3 h 3"/>
              <a:gd name="T10" fmla="*/ 4 w 7"/>
              <a:gd name="T11" fmla="*/ 3 h 3"/>
              <a:gd name="T12" fmla="*/ 1 w 7"/>
              <a:gd name="T13" fmla="*/ 3 h 3"/>
              <a:gd name="T14" fmla="*/ 1 w 7"/>
              <a:gd name="T15" fmla="*/ 3 h 3"/>
              <a:gd name="T16" fmla="*/ 2 w 7"/>
              <a:gd name="T17" fmla="*/ 2 h 3"/>
              <a:gd name="T18" fmla="*/ 3 w 7"/>
              <a:gd name="T19" fmla="*/ 2 h 3"/>
              <a:gd name="T20" fmla="*/ 0 w 7"/>
              <a:gd name="T21" fmla="*/ 2 h 3"/>
              <a:gd name="T22" fmla="*/ 0 w 7"/>
              <a:gd name="T23" fmla="*/ 2 h 3"/>
              <a:gd name="T24" fmla="*/ 1 w 7"/>
              <a:gd name="T25" fmla="*/ 2 h 3"/>
              <a:gd name="T26" fmla="*/ 3 w 7"/>
              <a:gd name="T27" fmla="*/ 2 h 3"/>
              <a:gd name="T28" fmla="*/ 3 w 7"/>
              <a:gd name="T29" fmla="*/ 0 h 3"/>
              <a:gd name="T30" fmla="*/ 3 w 7"/>
              <a:gd name="T31" fmla="*/ 0 h 3"/>
              <a:gd name="T32" fmla="*/ 5 w 7"/>
              <a:gd name="T33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7" h="3">
                <a:moveTo>
                  <a:pt x="5" y="0"/>
                </a:moveTo>
                <a:lnTo>
                  <a:pt x="7" y="2"/>
                </a:lnTo>
                <a:lnTo>
                  <a:pt x="7" y="3"/>
                </a:lnTo>
                <a:lnTo>
                  <a:pt x="6" y="3"/>
                </a:lnTo>
                <a:lnTo>
                  <a:pt x="5" y="3"/>
                </a:lnTo>
                <a:lnTo>
                  <a:pt x="4" y="3"/>
                </a:lnTo>
                <a:lnTo>
                  <a:pt x="1" y="3"/>
                </a:lnTo>
                <a:lnTo>
                  <a:pt x="1" y="3"/>
                </a:lnTo>
                <a:lnTo>
                  <a:pt x="2" y="2"/>
                </a:lnTo>
                <a:lnTo>
                  <a:pt x="3" y="2"/>
                </a:lnTo>
                <a:lnTo>
                  <a:pt x="0" y="2"/>
                </a:lnTo>
                <a:lnTo>
                  <a:pt x="0" y="2"/>
                </a:lnTo>
                <a:lnTo>
                  <a:pt x="1" y="2"/>
                </a:lnTo>
                <a:lnTo>
                  <a:pt x="3" y="2"/>
                </a:lnTo>
                <a:lnTo>
                  <a:pt x="3" y="0"/>
                </a:lnTo>
                <a:lnTo>
                  <a:pt x="3" y="0"/>
                </a:lnTo>
                <a:lnTo>
                  <a:pt x="5" y="0"/>
                </a:lnTo>
              </a:path>
            </a:pathLst>
          </a:custGeom>
          <a:solidFill>
            <a:srgbClr val="00395D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16" name="Freeform 916"/>
          <p:cNvSpPr>
            <a:spLocks/>
          </p:cNvSpPr>
          <p:nvPr/>
        </p:nvSpPr>
        <p:spPr bwMode="auto">
          <a:xfrm>
            <a:off x="4448175" y="1589053"/>
            <a:ext cx="469900" cy="333375"/>
          </a:xfrm>
          <a:custGeom>
            <a:avLst/>
            <a:gdLst>
              <a:gd name="T0" fmla="*/ 281 w 296"/>
              <a:gd name="T1" fmla="*/ 20 h 210"/>
              <a:gd name="T2" fmla="*/ 272 w 296"/>
              <a:gd name="T3" fmla="*/ 15 h 210"/>
              <a:gd name="T4" fmla="*/ 278 w 296"/>
              <a:gd name="T5" fmla="*/ 7 h 210"/>
              <a:gd name="T6" fmla="*/ 263 w 296"/>
              <a:gd name="T7" fmla="*/ 7 h 210"/>
              <a:gd name="T8" fmla="*/ 257 w 296"/>
              <a:gd name="T9" fmla="*/ 5 h 210"/>
              <a:gd name="T10" fmla="*/ 249 w 296"/>
              <a:gd name="T11" fmla="*/ 7 h 210"/>
              <a:gd name="T12" fmla="*/ 239 w 296"/>
              <a:gd name="T13" fmla="*/ 4 h 210"/>
              <a:gd name="T14" fmla="*/ 227 w 296"/>
              <a:gd name="T15" fmla="*/ 10 h 210"/>
              <a:gd name="T16" fmla="*/ 218 w 296"/>
              <a:gd name="T17" fmla="*/ 3 h 210"/>
              <a:gd name="T18" fmla="*/ 206 w 296"/>
              <a:gd name="T19" fmla="*/ 15 h 210"/>
              <a:gd name="T20" fmla="*/ 194 w 296"/>
              <a:gd name="T21" fmla="*/ 14 h 210"/>
              <a:gd name="T22" fmla="*/ 191 w 296"/>
              <a:gd name="T23" fmla="*/ 17 h 210"/>
              <a:gd name="T24" fmla="*/ 179 w 296"/>
              <a:gd name="T25" fmla="*/ 19 h 210"/>
              <a:gd name="T26" fmla="*/ 172 w 296"/>
              <a:gd name="T27" fmla="*/ 20 h 210"/>
              <a:gd name="T28" fmla="*/ 165 w 296"/>
              <a:gd name="T29" fmla="*/ 28 h 210"/>
              <a:gd name="T30" fmla="*/ 149 w 296"/>
              <a:gd name="T31" fmla="*/ 27 h 210"/>
              <a:gd name="T32" fmla="*/ 146 w 296"/>
              <a:gd name="T33" fmla="*/ 35 h 210"/>
              <a:gd name="T34" fmla="*/ 131 w 296"/>
              <a:gd name="T35" fmla="*/ 39 h 210"/>
              <a:gd name="T36" fmla="*/ 131 w 296"/>
              <a:gd name="T37" fmla="*/ 42 h 210"/>
              <a:gd name="T38" fmla="*/ 123 w 296"/>
              <a:gd name="T39" fmla="*/ 46 h 210"/>
              <a:gd name="T40" fmla="*/ 118 w 296"/>
              <a:gd name="T41" fmla="*/ 54 h 210"/>
              <a:gd name="T42" fmla="*/ 109 w 296"/>
              <a:gd name="T43" fmla="*/ 59 h 210"/>
              <a:gd name="T44" fmla="*/ 97 w 296"/>
              <a:gd name="T45" fmla="*/ 68 h 210"/>
              <a:gd name="T46" fmla="*/ 94 w 296"/>
              <a:gd name="T47" fmla="*/ 76 h 210"/>
              <a:gd name="T48" fmla="*/ 90 w 296"/>
              <a:gd name="T49" fmla="*/ 83 h 210"/>
              <a:gd name="T50" fmla="*/ 84 w 296"/>
              <a:gd name="T51" fmla="*/ 90 h 210"/>
              <a:gd name="T52" fmla="*/ 78 w 296"/>
              <a:gd name="T53" fmla="*/ 96 h 210"/>
              <a:gd name="T54" fmla="*/ 67 w 296"/>
              <a:gd name="T55" fmla="*/ 104 h 210"/>
              <a:gd name="T56" fmla="*/ 71 w 296"/>
              <a:gd name="T57" fmla="*/ 115 h 210"/>
              <a:gd name="T58" fmla="*/ 64 w 296"/>
              <a:gd name="T59" fmla="*/ 120 h 210"/>
              <a:gd name="T60" fmla="*/ 50 w 296"/>
              <a:gd name="T61" fmla="*/ 120 h 210"/>
              <a:gd name="T62" fmla="*/ 37 w 296"/>
              <a:gd name="T63" fmla="*/ 124 h 210"/>
              <a:gd name="T64" fmla="*/ 30 w 296"/>
              <a:gd name="T65" fmla="*/ 133 h 210"/>
              <a:gd name="T66" fmla="*/ 17 w 296"/>
              <a:gd name="T67" fmla="*/ 136 h 210"/>
              <a:gd name="T68" fmla="*/ 13 w 296"/>
              <a:gd name="T69" fmla="*/ 143 h 210"/>
              <a:gd name="T70" fmla="*/ 13 w 296"/>
              <a:gd name="T71" fmla="*/ 146 h 210"/>
              <a:gd name="T72" fmla="*/ 4 w 296"/>
              <a:gd name="T73" fmla="*/ 150 h 210"/>
              <a:gd name="T74" fmla="*/ 18 w 296"/>
              <a:gd name="T75" fmla="*/ 156 h 210"/>
              <a:gd name="T76" fmla="*/ 30 w 296"/>
              <a:gd name="T77" fmla="*/ 156 h 210"/>
              <a:gd name="T78" fmla="*/ 14 w 296"/>
              <a:gd name="T79" fmla="*/ 158 h 210"/>
              <a:gd name="T80" fmla="*/ 2 w 296"/>
              <a:gd name="T81" fmla="*/ 164 h 210"/>
              <a:gd name="T82" fmla="*/ 8 w 296"/>
              <a:gd name="T83" fmla="*/ 171 h 210"/>
              <a:gd name="T84" fmla="*/ 22 w 296"/>
              <a:gd name="T85" fmla="*/ 167 h 210"/>
              <a:gd name="T86" fmla="*/ 10 w 296"/>
              <a:gd name="T87" fmla="*/ 179 h 210"/>
              <a:gd name="T88" fmla="*/ 6 w 296"/>
              <a:gd name="T89" fmla="*/ 187 h 210"/>
              <a:gd name="T90" fmla="*/ 17 w 296"/>
              <a:gd name="T91" fmla="*/ 189 h 210"/>
              <a:gd name="T92" fmla="*/ 23 w 296"/>
              <a:gd name="T93" fmla="*/ 206 h 210"/>
              <a:gd name="T94" fmla="*/ 48 w 296"/>
              <a:gd name="T95" fmla="*/ 205 h 210"/>
              <a:gd name="T96" fmla="*/ 70 w 296"/>
              <a:gd name="T97" fmla="*/ 187 h 210"/>
              <a:gd name="T98" fmla="*/ 71 w 296"/>
              <a:gd name="T99" fmla="*/ 179 h 210"/>
              <a:gd name="T100" fmla="*/ 83 w 296"/>
              <a:gd name="T101" fmla="*/ 196 h 210"/>
              <a:gd name="T102" fmla="*/ 94 w 296"/>
              <a:gd name="T103" fmla="*/ 163 h 210"/>
              <a:gd name="T104" fmla="*/ 88 w 296"/>
              <a:gd name="T105" fmla="*/ 133 h 210"/>
              <a:gd name="T106" fmla="*/ 109 w 296"/>
              <a:gd name="T107" fmla="*/ 110 h 210"/>
              <a:gd name="T108" fmla="*/ 117 w 296"/>
              <a:gd name="T109" fmla="*/ 77 h 210"/>
              <a:gd name="T110" fmla="*/ 134 w 296"/>
              <a:gd name="T111" fmla="*/ 53 h 210"/>
              <a:gd name="T112" fmla="*/ 152 w 296"/>
              <a:gd name="T113" fmla="*/ 39 h 210"/>
              <a:gd name="T114" fmla="*/ 171 w 296"/>
              <a:gd name="T115" fmla="*/ 32 h 210"/>
              <a:gd name="T116" fmla="*/ 200 w 296"/>
              <a:gd name="T117" fmla="*/ 36 h 210"/>
              <a:gd name="T118" fmla="*/ 238 w 296"/>
              <a:gd name="T119" fmla="*/ 32 h 210"/>
              <a:gd name="T120" fmla="*/ 275 w 296"/>
              <a:gd name="T121" fmla="*/ 22 h 210"/>
              <a:gd name="T122" fmla="*/ 287 w 296"/>
              <a:gd name="T123" fmla="*/ 23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96" h="210">
                <a:moveTo>
                  <a:pt x="295" y="20"/>
                </a:moveTo>
                <a:lnTo>
                  <a:pt x="290" y="20"/>
                </a:lnTo>
                <a:lnTo>
                  <a:pt x="290" y="23"/>
                </a:lnTo>
                <a:lnTo>
                  <a:pt x="289" y="23"/>
                </a:lnTo>
                <a:lnTo>
                  <a:pt x="289" y="22"/>
                </a:lnTo>
                <a:lnTo>
                  <a:pt x="287" y="22"/>
                </a:lnTo>
                <a:lnTo>
                  <a:pt x="286" y="20"/>
                </a:lnTo>
                <a:lnTo>
                  <a:pt x="286" y="23"/>
                </a:lnTo>
                <a:lnTo>
                  <a:pt x="286" y="23"/>
                </a:lnTo>
                <a:lnTo>
                  <a:pt x="285" y="22"/>
                </a:lnTo>
                <a:lnTo>
                  <a:pt x="281" y="22"/>
                </a:lnTo>
                <a:lnTo>
                  <a:pt x="280" y="23"/>
                </a:lnTo>
                <a:lnTo>
                  <a:pt x="280" y="22"/>
                </a:lnTo>
                <a:lnTo>
                  <a:pt x="281" y="20"/>
                </a:lnTo>
                <a:lnTo>
                  <a:pt x="283" y="20"/>
                </a:lnTo>
                <a:lnTo>
                  <a:pt x="283" y="19"/>
                </a:lnTo>
                <a:lnTo>
                  <a:pt x="283" y="19"/>
                </a:lnTo>
                <a:lnTo>
                  <a:pt x="281" y="18"/>
                </a:lnTo>
                <a:lnTo>
                  <a:pt x="278" y="18"/>
                </a:lnTo>
                <a:lnTo>
                  <a:pt x="278" y="18"/>
                </a:lnTo>
                <a:lnTo>
                  <a:pt x="277" y="17"/>
                </a:lnTo>
                <a:lnTo>
                  <a:pt x="273" y="17"/>
                </a:lnTo>
                <a:lnTo>
                  <a:pt x="271" y="16"/>
                </a:lnTo>
                <a:lnTo>
                  <a:pt x="268" y="16"/>
                </a:lnTo>
                <a:lnTo>
                  <a:pt x="267" y="15"/>
                </a:lnTo>
                <a:lnTo>
                  <a:pt x="268" y="15"/>
                </a:lnTo>
                <a:lnTo>
                  <a:pt x="268" y="14"/>
                </a:lnTo>
                <a:lnTo>
                  <a:pt x="272" y="15"/>
                </a:lnTo>
                <a:lnTo>
                  <a:pt x="283" y="16"/>
                </a:lnTo>
                <a:lnTo>
                  <a:pt x="290" y="13"/>
                </a:lnTo>
                <a:lnTo>
                  <a:pt x="292" y="13"/>
                </a:lnTo>
                <a:lnTo>
                  <a:pt x="293" y="12"/>
                </a:lnTo>
                <a:lnTo>
                  <a:pt x="292" y="10"/>
                </a:lnTo>
                <a:lnTo>
                  <a:pt x="290" y="10"/>
                </a:lnTo>
                <a:lnTo>
                  <a:pt x="288" y="9"/>
                </a:lnTo>
                <a:lnTo>
                  <a:pt x="285" y="9"/>
                </a:lnTo>
                <a:lnTo>
                  <a:pt x="283" y="8"/>
                </a:lnTo>
                <a:lnTo>
                  <a:pt x="285" y="8"/>
                </a:lnTo>
                <a:lnTo>
                  <a:pt x="281" y="7"/>
                </a:lnTo>
                <a:lnTo>
                  <a:pt x="280" y="6"/>
                </a:lnTo>
                <a:lnTo>
                  <a:pt x="279" y="7"/>
                </a:lnTo>
                <a:lnTo>
                  <a:pt x="278" y="7"/>
                </a:lnTo>
                <a:lnTo>
                  <a:pt x="277" y="7"/>
                </a:lnTo>
                <a:lnTo>
                  <a:pt x="277" y="6"/>
                </a:lnTo>
                <a:lnTo>
                  <a:pt x="272" y="7"/>
                </a:lnTo>
                <a:lnTo>
                  <a:pt x="272" y="7"/>
                </a:lnTo>
                <a:lnTo>
                  <a:pt x="272" y="6"/>
                </a:lnTo>
                <a:lnTo>
                  <a:pt x="272" y="6"/>
                </a:lnTo>
                <a:lnTo>
                  <a:pt x="272" y="5"/>
                </a:lnTo>
                <a:lnTo>
                  <a:pt x="271" y="5"/>
                </a:lnTo>
                <a:lnTo>
                  <a:pt x="270" y="4"/>
                </a:lnTo>
                <a:lnTo>
                  <a:pt x="268" y="5"/>
                </a:lnTo>
                <a:lnTo>
                  <a:pt x="267" y="4"/>
                </a:lnTo>
                <a:lnTo>
                  <a:pt x="266" y="4"/>
                </a:lnTo>
                <a:lnTo>
                  <a:pt x="263" y="6"/>
                </a:lnTo>
                <a:lnTo>
                  <a:pt x="263" y="7"/>
                </a:lnTo>
                <a:lnTo>
                  <a:pt x="265" y="8"/>
                </a:lnTo>
                <a:lnTo>
                  <a:pt x="265" y="10"/>
                </a:lnTo>
                <a:lnTo>
                  <a:pt x="262" y="10"/>
                </a:lnTo>
                <a:lnTo>
                  <a:pt x="260" y="10"/>
                </a:lnTo>
                <a:lnTo>
                  <a:pt x="258" y="10"/>
                </a:lnTo>
                <a:lnTo>
                  <a:pt x="258" y="9"/>
                </a:lnTo>
                <a:lnTo>
                  <a:pt x="259" y="9"/>
                </a:lnTo>
                <a:lnTo>
                  <a:pt x="261" y="7"/>
                </a:lnTo>
                <a:lnTo>
                  <a:pt x="260" y="7"/>
                </a:lnTo>
                <a:lnTo>
                  <a:pt x="257" y="8"/>
                </a:lnTo>
                <a:lnTo>
                  <a:pt x="255" y="8"/>
                </a:lnTo>
                <a:lnTo>
                  <a:pt x="258" y="7"/>
                </a:lnTo>
                <a:lnTo>
                  <a:pt x="256" y="6"/>
                </a:lnTo>
                <a:lnTo>
                  <a:pt x="257" y="5"/>
                </a:lnTo>
                <a:lnTo>
                  <a:pt x="260" y="5"/>
                </a:lnTo>
                <a:lnTo>
                  <a:pt x="261" y="4"/>
                </a:lnTo>
                <a:lnTo>
                  <a:pt x="261" y="3"/>
                </a:lnTo>
                <a:lnTo>
                  <a:pt x="259" y="3"/>
                </a:lnTo>
                <a:lnTo>
                  <a:pt x="259" y="2"/>
                </a:lnTo>
                <a:lnTo>
                  <a:pt x="258" y="0"/>
                </a:lnTo>
                <a:lnTo>
                  <a:pt x="257" y="0"/>
                </a:lnTo>
                <a:lnTo>
                  <a:pt x="253" y="2"/>
                </a:lnTo>
                <a:lnTo>
                  <a:pt x="251" y="0"/>
                </a:lnTo>
                <a:lnTo>
                  <a:pt x="251" y="3"/>
                </a:lnTo>
                <a:lnTo>
                  <a:pt x="251" y="4"/>
                </a:lnTo>
                <a:lnTo>
                  <a:pt x="250" y="5"/>
                </a:lnTo>
                <a:lnTo>
                  <a:pt x="249" y="6"/>
                </a:lnTo>
                <a:lnTo>
                  <a:pt x="249" y="7"/>
                </a:lnTo>
                <a:lnTo>
                  <a:pt x="249" y="8"/>
                </a:lnTo>
                <a:lnTo>
                  <a:pt x="248" y="8"/>
                </a:lnTo>
                <a:lnTo>
                  <a:pt x="247" y="8"/>
                </a:lnTo>
                <a:lnTo>
                  <a:pt x="248" y="10"/>
                </a:lnTo>
                <a:lnTo>
                  <a:pt x="245" y="10"/>
                </a:lnTo>
                <a:lnTo>
                  <a:pt x="242" y="12"/>
                </a:lnTo>
                <a:lnTo>
                  <a:pt x="242" y="10"/>
                </a:lnTo>
                <a:lnTo>
                  <a:pt x="242" y="8"/>
                </a:lnTo>
                <a:lnTo>
                  <a:pt x="240" y="7"/>
                </a:lnTo>
                <a:lnTo>
                  <a:pt x="242" y="6"/>
                </a:lnTo>
                <a:lnTo>
                  <a:pt x="242" y="4"/>
                </a:lnTo>
                <a:lnTo>
                  <a:pt x="241" y="4"/>
                </a:lnTo>
                <a:lnTo>
                  <a:pt x="240" y="3"/>
                </a:lnTo>
                <a:lnTo>
                  <a:pt x="239" y="4"/>
                </a:lnTo>
                <a:lnTo>
                  <a:pt x="233" y="9"/>
                </a:lnTo>
                <a:lnTo>
                  <a:pt x="232" y="9"/>
                </a:lnTo>
                <a:lnTo>
                  <a:pt x="231" y="10"/>
                </a:lnTo>
                <a:lnTo>
                  <a:pt x="229" y="12"/>
                </a:lnTo>
                <a:lnTo>
                  <a:pt x="229" y="14"/>
                </a:lnTo>
                <a:lnTo>
                  <a:pt x="230" y="13"/>
                </a:lnTo>
                <a:lnTo>
                  <a:pt x="227" y="16"/>
                </a:lnTo>
                <a:lnTo>
                  <a:pt x="225" y="16"/>
                </a:lnTo>
                <a:lnTo>
                  <a:pt x="225" y="15"/>
                </a:lnTo>
                <a:lnTo>
                  <a:pt x="225" y="14"/>
                </a:lnTo>
                <a:lnTo>
                  <a:pt x="226" y="14"/>
                </a:lnTo>
                <a:lnTo>
                  <a:pt x="227" y="13"/>
                </a:lnTo>
                <a:lnTo>
                  <a:pt x="226" y="13"/>
                </a:lnTo>
                <a:lnTo>
                  <a:pt x="227" y="10"/>
                </a:lnTo>
                <a:lnTo>
                  <a:pt x="226" y="10"/>
                </a:lnTo>
                <a:lnTo>
                  <a:pt x="227" y="8"/>
                </a:lnTo>
                <a:lnTo>
                  <a:pt x="231" y="6"/>
                </a:lnTo>
                <a:lnTo>
                  <a:pt x="232" y="5"/>
                </a:lnTo>
                <a:lnTo>
                  <a:pt x="230" y="4"/>
                </a:lnTo>
                <a:lnTo>
                  <a:pt x="227" y="5"/>
                </a:lnTo>
                <a:lnTo>
                  <a:pt x="226" y="5"/>
                </a:lnTo>
                <a:lnTo>
                  <a:pt x="225" y="4"/>
                </a:lnTo>
                <a:lnTo>
                  <a:pt x="223" y="4"/>
                </a:lnTo>
                <a:lnTo>
                  <a:pt x="222" y="3"/>
                </a:lnTo>
                <a:lnTo>
                  <a:pt x="222" y="3"/>
                </a:lnTo>
                <a:lnTo>
                  <a:pt x="220" y="4"/>
                </a:lnTo>
                <a:lnTo>
                  <a:pt x="219" y="3"/>
                </a:lnTo>
                <a:lnTo>
                  <a:pt x="218" y="3"/>
                </a:lnTo>
                <a:lnTo>
                  <a:pt x="218" y="5"/>
                </a:lnTo>
                <a:lnTo>
                  <a:pt x="215" y="5"/>
                </a:lnTo>
                <a:lnTo>
                  <a:pt x="217" y="6"/>
                </a:lnTo>
                <a:lnTo>
                  <a:pt x="218" y="7"/>
                </a:lnTo>
                <a:lnTo>
                  <a:pt x="219" y="7"/>
                </a:lnTo>
                <a:lnTo>
                  <a:pt x="216" y="8"/>
                </a:lnTo>
                <a:lnTo>
                  <a:pt x="215" y="9"/>
                </a:lnTo>
                <a:lnTo>
                  <a:pt x="216" y="10"/>
                </a:lnTo>
                <a:lnTo>
                  <a:pt x="210" y="10"/>
                </a:lnTo>
                <a:lnTo>
                  <a:pt x="208" y="12"/>
                </a:lnTo>
                <a:lnTo>
                  <a:pt x="208" y="13"/>
                </a:lnTo>
                <a:lnTo>
                  <a:pt x="205" y="14"/>
                </a:lnTo>
                <a:lnTo>
                  <a:pt x="205" y="15"/>
                </a:lnTo>
                <a:lnTo>
                  <a:pt x="206" y="15"/>
                </a:lnTo>
                <a:lnTo>
                  <a:pt x="206" y="16"/>
                </a:lnTo>
                <a:lnTo>
                  <a:pt x="206" y="17"/>
                </a:lnTo>
                <a:lnTo>
                  <a:pt x="204" y="17"/>
                </a:lnTo>
                <a:lnTo>
                  <a:pt x="202" y="17"/>
                </a:lnTo>
                <a:lnTo>
                  <a:pt x="202" y="16"/>
                </a:lnTo>
                <a:lnTo>
                  <a:pt x="204" y="16"/>
                </a:lnTo>
                <a:lnTo>
                  <a:pt x="200" y="16"/>
                </a:lnTo>
                <a:lnTo>
                  <a:pt x="201" y="15"/>
                </a:lnTo>
                <a:lnTo>
                  <a:pt x="201" y="14"/>
                </a:lnTo>
                <a:lnTo>
                  <a:pt x="195" y="14"/>
                </a:lnTo>
                <a:lnTo>
                  <a:pt x="196" y="15"/>
                </a:lnTo>
                <a:lnTo>
                  <a:pt x="195" y="15"/>
                </a:lnTo>
                <a:lnTo>
                  <a:pt x="194" y="15"/>
                </a:lnTo>
                <a:lnTo>
                  <a:pt x="194" y="14"/>
                </a:lnTo>
                <a:lnTo>
                  <a:pt x="192" y="14"/>
                </a:lnTo>
                <a:lnTo>
                  <a:pt x="191" y="14"/>
                </a:lnTo>
                <a:lnTo>
                  <a:pt x="191" y="13"/>
                </a:lnTo>
                <a:lnTo>
                  <a:pt x="190" y="13"/>
                </a:lnTo>
                <a:lnTo>
                  <a:pt x="189" y="13"/>
                </a:lnTo>
                <a:lnTo>
                  <a:pt x="188" y="14"/>
                </a:lnTo>
                <a:lnTo>
                  <a:pt x="188" y="15"/>
                </a:lnTo>
                <a:lnTo>
                  <a:pt x="187" y="14"/>
                </a:lnTo>
                <a:lnTo>
                  <a:pt x="186" y="13"/>
                </a:lnTo>
                <a:lnTo>
                  <a:pt x="185" y="13"/>
                </a:lnTo>
                <a:lnTo>
                  <a:pt x="186" y="15"/>
                </a:lnTo>
                <a:lnTo>
                  <a:pt x="189" y="16"/>
                </a:lnTo>
                <a:lnTo>
                  <a:pt x="190" y="16"/>
                </a:lnTo>
                <a:lnTo>
                  <a:pt x="191" y="17"/>
                </a:lnTo>
                <a:lnTo>
                  <a:pt x="190" y="18"/>
                </a:lnTo>
                <a:lnTo>
                  <a:pt x="190" y="19"/>
                </a:lnTo>
                <a:lnTo>
                  <a:pt x="191" y="20"/>
                </a:lnTo>
                <a:lnTo>
                  <a:pt x="192" y="22"/>
                </a:lnTo>
                <a:lnTo>
                  <a:pt x="190" y="20"/>
                </a:lnTo>
                <a:lnTo>
                  <a:pt x="186" y="18"/>
                </a:lnTo>
                <a:lnTo>
                  <a:pt x="182" y="17"/>
                </a:lnTo>
                <a:lnTo>
                  <a:pt x="184" y="18"/>
                </a:lnTo>
                <a:lnTo>
                  <a:pt x="182" y="18"/>
                </a:lnTo>
                <a:lnTo>
                  <a:pt x="182" y="19"/>
                </a:lnTo>
                <a:lnTo>
                  <a:pt x="181" y="19"/>
                </a:lnTo>
                <a:lnTo>
                  <a:pt x="180" y="20"/>
                </a:lnTo>
                <a:lnTo>
                  <a:pt x="179" y="19"/>
                </a:lnTo>
                <a:lnTo>
                  <a:pt x="179" y="19"/>
                </a:lnTo>
                <a:lnTo>
                  <a:pt x="180" y="18"/>
                </a:lnTo>
                <a:lnTo>
                  <a:pt x="178" y="18"/>
                </a:lnTo>
                <a:lnTo>
                  <a:pt x="177" y="19"/>
                </a:lnTo>
                <a:lnTo>
                  <a:pt x="177" y="20"/>
                </a:lnTo>
                <a:lnTo>
                  <a:pt x="176" y="20"/>
                </a:lnTo>
                <a:lnTo>
                  <a:pt x="176" y="23"/>
                </a:lnTo>
                <a:lnTo>
                  <a:pt x="177" y="23"/>
                </a:lnTo>
                <a:lnTo>
                  <a:pt x="174" y="25"/>
                </a:lnTo>
                <a:lnTo>
                  <a:pt x="172" y="26"/>
                </a:lnTo>
                <a:lnTo>
                  <a:pt x="171" y="27"/>
                </a:lnTo>
                <a:lnTo>
                  <a:pt x="172" y="25"/>
                </a:lnTo>
                <a:lnTo>
                  <a:pt x="172" y="24"/>
                </a:lnTo>
                <a:lnTo>
                  <a:pt x="172" y="22"/>
                </a:lnTo>
                <a:lnTo>
                  <a:pt x="172" y="20"/>
                </a:lnTo>
                <a:lnTo>
                  <a:pt x="171" y="18"/>
                </a:lnTo>
                <a:lnTo>
                  <a:pt x="169" y="18"/>
                </a:lnTo>
                <a:lnTo>
                  <a:pt x="168" y="19"/>
                </a:lnTo>
                <a:lnTo>
                  <a:pt x="167" y="22"/>
                </a:lnTo>
                <a:lnTo>
                  <a:pt x="166" y="24"/>
                </a:lnTo>
                <a:lnTo>
                  <a:pt x="166" y="26"/>
                </a:lnTo>
                <a:lnTo>
                  <a:pt x="165" y="20"/>
                </a:lnTo>
                <a:lnTo>
                  <a:pt x="159" y="20"/>
                </a:lnTo>
                <a:lnTo>
                  <a:pt x="158" y="23"/>
                </a:lnTo>
                <a:lnTo>
                  <a:pt x="158" y="23"/>
                </a:lnTo>
                <a:lnTo>
                  <a:pt x="158" y="25"/>
                </a:lnTo>
                <a:lnTo>
                  <a:pt x="160" y="26"/>
                </a:lnTo>
                <a:lnTo>
                  <a:pt x="162" y="27"/>
                </a:lnTo>
                <a:lnTo>
                  <a:pt x="165" y="28"/>
                </a:lnTo>
                <a:lnTo>
                  <a:pt x="164" y="29"/>
                </a:lnTo>
                <a:lnTo>
                  <a:pt x="162" y="29"/>
                </a:lnTo>
                <a:lnTo>
                  <a:pt x="160" y="27"/>
                </a:lnTo>
                <a:lnTo>
                  <a:pt x="158" y="27"/>
                </a:lnTo>
                <a:lnTo>
                  <a:pt x="156" y="25"/>
                </a:lnTo>
                <a:lnTo>
                  <a:pt x="155" y="24"/>
                </a:lnTo>
                <a:lnTo>
                  <a:pt x="151" y="25"/>
                </a:lnTo>
                <a:lnTo>
                  <a:pt x="154" y="26"/>
                </a:lnTo>
                <a:lnTo>
                  <a:pt x="157" y="27"/>
                </a:lnTo>
                <a:lnTo>
                  <a:pt x="155" y="28"/>
                </a:lnTo>
                <a:lnTo>
                  <a:pt x="152" y="27"/>
                </a:lnTo>
                <a:lnTo>
                  <a:pt x="152" y="28"/>
                </a:lnTo>
                <a:lnTo>
                  <a:pt x="151" y="27"/>
                </a:lnTo>
                <a:lnTo>
                  <a:pt x="149" y="27"/>
                </a:lnTo>
                <a:lnTo>
                  <a:pt x="149" y="27"/>
                </a:lnTo>
                <a:lnTo>
                  <a:pt x="150" y="26"/>
                </a:lnTo>
                <a:lnTo>
                  <a:pt x="149" y="25"/>
                </a:lnTo>
                <a:lnTo>
                  <a:pt x="148" y="26"/>
                </a:lnTo>
                <a:lnTo>
                  <a:pt x="147" y="28"/>
                </a:lnTo>
                <a:lnTo>
                  <a:pt x="147" y="28"/>
                </a:lnTo>
                <a:lnTo>
                  <a:pt x="149" y="29"/>
                </a:lnTo>
                <a:lnTo>
                  <a:pt x="144" y="30"/>
                </a:lnTo>
                <a:lnTo>
                  <a:pt x="142" y="32"/>
                </a:lnTo>
                <a:lnTo>
                  <a:pt x="142" y="33"/>
                </a:lnTo>
                <a:lnTo>
                  <a:pt x="142" y="33"/>
                </a:lnTo>
                <a:lnTo>
                  <a:pt x="142" y="34"/>
                </a:lnTo>
                <a:lnTo>
                  <a:pt x="145" y="34"/>
                </a:lnTo>
                <a:lnTo>
                  <a:pt x="146" y="35"/>
                </a:lnTo>
                <a:lnTo>
                  <a:pt x="144" y="35"/>
                </a:lnTo>
                <a:lnTo>
                  <a:pt x="145" y="35"/>
                </a:lnTo>
                <a:lnTo>
                  <a:pt x="145" y="36"/>
                </a:lnTo>
                <a:lnTo>
                  <a:pt x="141" y="36"/>
                </a:lnTo>
                <a:lnTo>
                  <a:pt x="140" y="36"/>
                </a:lnTo>
                <a:lnTo>
                  <a:pt x="142" y="37"/>
                </a:lnTo>
                <a:lnTo>
                  <a:pt x="141" y="37"/>
                </a:lnTo>
                <a:lnTo>
                  <a:pt x="139" y="37"/>
                </a:lnTo>
                <a:lnTo>
                  <a:pt x="138" y="37"/>
                </a:lnTo>
                <a:lnTo>
                  <a:pt x="137" y="37"/>
                </a:lnTo>
                <a:lnTo>
                  <a:pt x="134" y="38"/>
                </a:lnTo>
                <a:lnTo>
                  <a:pt x="133" y="39"/>
                </a:lnTo>
                <a:lnTo>
                  <a:pt x="131" y="39"/>
                </a:lnTo>
                <a:lnTo>
                  <a:pt x="131" y="39"/>
                </a:lnTo>
                <a:lnTo>
                  <a:pt x="134" y="40"/>
                </a:lnTo>
                <a:lnTo>
                  <a:pt x="136" y="40"/>
                </a:lnTo>
                <a:lnTo>
                  <a:pt x="137" y="39"/>
                </a:lnTo>
                <a:lnTo>
                  <a:pt x="140" y="40"/>
                </a:lnTo>
                <a:lnTo>
                  <a:pt x="142" y="39"/>
                </a:lnTo>
                <a:lnTo>
                  <a:pt x="144" y="40"/>
                </a:lnTo>
                <a:lnTo>
                  <a:pt x="144" y="40"/>
                </a:lnTo>
                <a:lnTo>
                  <a:pt x="141" y="40"/>
                </a:lnTo>
                <a:lnTo>
                  <a:pt x="141" y="42"/>
                </a:lnTo>
                <a:lnTo>
                  <a:pt x="140" y="43"/>
                </a:lnTo>
                <a:lnTo>
                  <a:pt x="137" y="42"/>
                </a:lnTo>
                <a:lnTo>
                  <a:pt x="135" y="42"/>
                </a:lnTo>
                <a:lnTo>
                  <a:pt x="135" y="42"/>
                </a:lnTo>
                <a:lnTo>
                  <a:pt x="131" y="42"/>
                </a:lnTo>
                <a:lnTo>
                  <a:pt x="129" y="42"/>
                </a:lnTo>
                <a:lnTo>
                  <a:pt x="128" y="43"/>
                </a:lnTo>
                <a:lnTo>
                  <a:pt x="130" y="45"/>
                </a:lnTo>
                <a:lnTo>
                  <a:pt x="131" y="45"/>
                </a:lnTo>
                <a:lnTo>
                  <a:pt x="129" y="45"/>
                </a:lnTo>
                <a:lnTo>
                  <a:pt x="130" y="47"/>
                </a:lnTo>
                <a:lnTo>
                  <a:pt x="131" y="48"/>
                </a:lnTo>
                <a:lnTo>
                  <a:pt x="129" y="48"/>
                </a:lnTo>
                <a:lnTo>
                  <a:pt x="129" y="49"/>
                </a:lnTo>
                <a:lnTo>
                  <a:pt x="128" y="49"/>
                </a:lnTo>
                <a:lnTo>
                  <a:pt x="126" y="45"/>
                </a:lnTo>
                <a:lnTo>
                  <a:pt x="125" y="45"/>
                </a:lnTo>
                <a:lnTo>
                  <a:pt x="124" y="47"/>
                </a:lnTo>
                <a:lnTo>
                  <a:pt x="123" y="46"/>
                </a:lnTo>
                <a:lnTo>
                  <a:pt x="121" y="47"/>
                </a:lnTo>
                <a:lnTo>
                  <a:pt x="124" y="47"/>
                </a:lnTo>
                <a:lnTo>
                  <a:pt x="124" y="48"/>
                </a:lnTo>
                <a:lnTo>
                  <a:pt x="121" y="48"/>
                </a:lnTo>
                <a:lnTo>
                  <a:pt x="120" y="48"/>
                </a:lnTo>
                <a:lnTo>
                  <a:pt x="120" y="49"/>
                </a:lnTo>
                <a:lnTo>
                  <a:pt x="120" y="50"/>
                </a:lnTo>
                <a:lnTo>
                  <a:pt x="123" y="52"/>
                </a:lnTo>
                <a:lnTo>
                  <a:pt x="120" y="52"/>
                </a:lnTo>
                <a:lnTo>
                  <a:pt x="121" y="53"/>
                </a:lnTo>
                <a:lnTo>
                  <a:pt x="120" y="53"/>
                </a:lnTo>
                <a:lnTo>
                  <a:pt x="120" y="54"/>
                </a:lnTo>
                <a:lnTo>
                  <a:pt x="119" y="54"/>
                </a:lnTo>
                <a:lnTo>
                  <a:pt x="118" y="54"/>
                </a:lnTo>
                <a:lnTo>
                  <a:pt x="118" y="55"/>
                </a:lnTo>
                <a:lnTo>
                  <a:pt x="120" y="55"/>
                </a:lnTo>
                <a:lnTo>
                  <a:pt x="125" y="54"/>
                </a:lnTo>
                <a:lnTo>
                  <a:pt x="121" y="56"/>
                </a:lnTo>
                <a:lnTo>
                  <a:pt x="120" y="56"/>
                </a:lnTo>
                <a:lnTo>
                  <a:pt x="116" y="56"/>
                </a:lnTo>
                <a:lnTo>
                  <a:pt x="116" y="55"/>
                </a:lnTo>
                <a:lnTo>
                  <a:pt x="115" y="55"/>
                </a:lnTo>
                <a:lnTo>
                  <a:pt x="114" y="55"/>
                </a:lnTo>
                <a:lnTo>
                  <a:pt x="111" y="56"/>
                </a:lnTo>
                <a:lnTo>
                  <a:pt x="110" y="57"/>
                </a:lnTo>
                <a:lnTo>
                  <a:pt x="108" y="58"/>
                </a:lnTo>
                <a:lnTo>
                  <a:pt x="108" y="59"/>
                </a:lnTo>
                <a:lnTo>
                  <a:pt x="109" y="59"/>
                </a:lnTo>
                <a:lnTo>
                  <a:pt x="109" y="60"/>
                </a:lnTo>
                <a:lnTo>
                  <a:pt x="109" y="60"/>
                </a:lnTo>
                <a:lnTo>
                  <a:pt x="107" y="62"/>
                </a:lnTo>
                <a:lnTo>
                  <a:pt x="107" y="64"/>
                </a:lnTo>
                <a:lnTo>
                  <a:pt x="105" y="63"/>
                </a:lnTo>
                <a:lnTo>
                  <a:pt x="104" y="64"/>
                </a:lnTo>
                <a:lnTo>
                  <a:pt x="103" y="64"/>
                </a:lnTo>
                <a:lnTo>
                  <a:pt x="100" y="65"/>
                </a:lnTo>
                <a:lnTo>
                  <a:pt x="103" y="66"/>
                </a:lnTo>
                <a:lnTo>
                  <a:pt x="101" y="66"/>
                </a:lnTo>
                <a:lnTo>
                  <a:pt x="99" y="67"/>
                </a:lnTo>
                <a:lnTo>
                  <a:pt x="99" y="68"/>
                </a:lnTo>
                <a:lnTo>
                  <a:pt x="97" y="68"/>
                </a:lnTo>
                <a:lnTo>
                  <a:pt x="97" y="68"/>
                </a:lnTo>
                <a:lnTo>
                  <a:pt x="96" y="69"/>
                </a:lnTo>
                <a:lnTo>
                  <a:pt x="96" y="70"/>
                </a:lnTo>
                <a:lnTo>
                  <a:pt x="99" y="70"/>
                </a:lnTo>
                <a:lnTo>
                  <a:pt x="98" y="70"/>
                </a:lnTo>
                <a:lnTo>
                  <a:pt x="97" y="72"/>
                </a:lnTo>
                <a:lnTo>
                  <a:pt x="96" y="72"/>
                </a:lnTo>
                <a:lnTo>
                  <a:pt x="95" y="72"/>
                </a:lnTo>
                <a:lnTo>
                  <a:pt x="96" y="73"/>
                </a:lnTo>
                <a:lnTo>
                  <a:pt x="97" y="74"/>
                </a:lnTo>
                <a:lnTo>
                  <a:pt x="98" y="73"/>
                </a:lnTo>
                <a:lnTo>
                  <a:pt x="99" y="74"/>
                </a:lnTo>
                <a:lnTo>
                  <a:pt x="98" y="75"/>
                </a:lnTo>
                <a:lnTo>
                  <a:pt x="94" y="75"/>
                </a:lnTo>
                <a:lnTo>
                  <a:pt x="94" y="76"/>
                </a:lnTo>
                <a:lnTo>
                  <a:pt x="94" y="77"/>
                </a:lnTo>
                <a:lnTo>
                  <a:pt x="91" y="78"/>
                </a:lnTo>
                <a:lnTo>
                  <a:pt x="89" y="78"/>
                </a:lnTo>
                <a:lnTo>
                  <a:pt x="88" y="80"/>
                </a:lnTo>
                <a:lnTo>
                  <a:pt x="90" y="79"/>
                </a:lnTo>
                <a:lnTo>
                  <a:pt x="93" y="79"/>
                </a:lnTo>
                <a:lnTo>
                  <a:pt x="95" y="78"/>
                </a:lnTo>
                <a:lnTo>
                  <a:pt x="95" y="79"/>
                </a:lnTo>
                <a:lnTo>
                  <a:pt x="96" y="80"/>
                </a:lnTo>
                <a:lnTo>
                  <a:pt x="91" y="80"/>
                </a:lnTo>
                <a:lnTo>
                  <a:pt x="91" y="81"/>
                </a:lnTo>
                <a:lnTo>
                  <a:pt x="93" y="81"/>
                </a:lnTo>
                <a:lnTo>
                  <a:pt x="91" y="83"/>
                </a:lnTo>
                <a:lnTo>
                  <a:pt x="90" y="83"/>
                </a:lnTo>
                <a:lnTo>
                  <a:pt x="91" y="84"/>
                </a:lnTo>
                <a:lnTo>
                  <a:pt x="90" y="84"/>
                </a:lnTo>
                <a:lnTo>
                  <a:pt x="89" y="84"/>
                </a:lnTo>
                <a:lnTo>
                  <a:pt x="88" y="85"/>
                </a:lnTo>
                <a:lnTo>
                  <a:pt x="89" y="86"/>
                </a:lnTo>
                <a:lnTo>
                  <a:pt x="90" y="86"/>
                </a:lnTo>
                <a:lnTo>
                  <a:pt x="91" y="88"/>
                </a:lnTo>
                <a:lnTo>
                  <a:pt x="89" y="88"/>
                </a:lnTo>
                <a:lnTo>
                  <a:pt x="88" y="87"/>
                </a:lnTo>
                <a:lnTo>
                  <a:pt x="86" y="86"/>
                </a:lnTo>
                <a:lnTo>
                  <a:pt x="87" y="88"/>
                </a:lnTo>
                <a:lnTo>
                  <a:pt x="86" y="88"/>
                </a:lnTo>
                <a:lnTo>
                  <a:pt x="85" y="89"/>
                </a:lnTo>
                <a:lnTo>
                  <a:pt x="84" y="90"/>
                </a:lnTo>
                <a:lnTo>
                  <a:pt x="85" y="90"/>
                </a:lnTo>
                <a:lnTo>
                  <a:pt x="87" y="90"/>
                </a:lnTo>
                <a:lnTo>
                  <a:pt x="87" y="89"/>
                </a:lnTo>
                <a:lnTo>
                  <a:pt x="88" y="89"/>
                </a:lnTo>
                <a:lnTo>
                  <a:pt x="88" y="90"/>
                </a:lnTo>
                <a:lnTo>
                  <a:pt x="88" y="90"/>
                </a:lnTo>
                <a:lnTo>
                  <a:pt x="88" y="91"/>
                </a:lnTo>
                <a:lnTo>
                  <a:pt x="87" y="93"/>
                </a:lnTo>
                <a:lnTo>
                  <a:pt x="85" y="91"/>
                </a:lnTo>
                <a:lnTo>
                  <a:pt x="84" y="93"/>
                </a:lnTo>
                <a:lnTo>
                  <a:pt x="81" y="93"/>
                </a:lnTo>
                <a:lnTo>
                  <a:pt x="80" y="94"/>
                </a:lnTo>
                <a:lnTo>
                  <a:pt x="80" y="95"/>
                </a:lnTo>
                <a:lnTo>
                  <a:pt x="78" y="96"/>
                </a:lnTo>
                <a:lnTo>
                  <a:pt x="77" y="96"/>
                </a:lnTo>
                <a:lnTo>
                  <a:pt x="76" y="98"/>
                </a:lnTo>
                <a:lnTo>
                  <a:pt x="78" y="98"/>
                </a:lnTo>
                <a:lnTo>
                  <a:pt x="80" y="97"/>
                </a:lnTo>
                <a:lnTo>
                  <a:pt x="80" y="98"/>
                </a:lnTo>
                <a:lnTo>
                  <a:pt x="77" y="99"/>
                </a:lnTo>
                <a:lnTo>
                  <a:pt x="77" y="100"/>
                </a:lnTo>
                <a:lnTo>
                  <a:pt x="78" y="101"/>
                </a:lnTo>
                <a:lnTo>
                  <a:pt x="77" y="103"/>
                </a:lnTo>
                <a:lnTo>
                  <a:pt x="75" y="103"/>
                </a:lnTo>
                <a:lnTo>
                  <a:pt x="71" y="101"/>
                </a:lnTo>
                <a:lnTo>
                  <a:pt x="71" y="101"/>
                </a:lnTo>
                <a:lnTo>
                  <a:pt x="69" y="104"/>
                </a:lnTo>
                <a:lnTo>
                  <a:pt x="67" y="104"/>
                </a:lnTo>
                <a:lnTo>
                  <a:pt x="67" y="105"/>
                </a:lnTo>
                <a:lnTo>
                  <a:pt x="65" y="106"/>
                </a:lnTo>
                <a:lnTo>
                  <a:pt x="61" y="109"/>
                </a:lnTo>
                <a:lnTo>
                  <a:pt x="61" y="109"/>
                </a:lnTo>
                <a:lnTo>
                  <a:pt x="63" y="110"/>
                </a:lnTo>
                <a:lnTo>
                  <a:pt x="63" y="111"/>
                </a:lnTo>
                <a:lnTo>
                  <a:pt x="57" y="113"/>
                </a:lnTo>
                <a:lnTo>
                  <a:pt x="57" y="115"/>
                </a:lnTo>
                <a:lnTo>
                  <a:pt x="58" y="115"/>
                </a:lnTo>
                <a:lnTo>
                  <a:pt x="61" y="115"/>
                </a:lnTo>
                <a:lnTo>
                  <a:pt x="60" y="116"/>
                </a:lnTo>
                <a:lnTo>
                  <a:pt x="61" y="118"/>
                </a:lnTo>
                <a:lnTo>
                  <a:pt x="64" y="118"/>
                </a:lnTo>
                <a:lnTo>
                  <a:pt x="71" y="115"/>
                </a:lnTo>
                <a:lnTo>
                  <a:pt x="76" y="114"/>
                </a:lnTo>
                <a:lnTo>
                  <a:pt x="77" y="113"/>
                </a:lnTo>
                <a:lnTo>
                  <a:pt x="78" y="113"/>
                </a:lnTo>
                <a:lnTo>
                  <a:pt x="77" y="114"/>
                </a:lnTo>
                <a:lnTo>
                  <a:pt x="75" y="115"/>
                </a:lnTo>
                <a:lnTo>
                  <a:pt x="73" y="115"/>
                </a:lnTo>
                <a:lnTo>
                  <a:pt x="70" y="116"/>
                </a:lnTo>
                <a:lnTo>
                  <a:pt x="69" y="117"/>
                </a:lnTo>
                <a:lnTo>
                  <a:pt x="70" y="118"/>
                </a:lnTo>
                <a:lnTo>
                  <a:pt x="70" y="118"/>
                </a:lnTo>
                <a:lnTo>
                  <a:pt x="66" y="119"/>
                </a:lnTo>
                <a:lnTo>
                  <a:pt x="64" y="119"/>
                </a:lnTo>
                <a:lnTo>
                  <a:pt x="63" y="119"/>
                </a:lnTo>
                <a:lnTo>
                  <a:pt x="64" y="120"/>
                </a:lnTo>
                <a:lnTo>
                  <a:pt x="63" y="120"/>
                </a:lnTo>
                <a:lnTo>
                  <a:pt x="60" y="120"/>
                </a:lnTo>
                <a:lnTo>
                  <a:pt x="60" y="119"/>
                </a:lnTo>
                <a:lnTo>
                  <a:pt x="58" y="117"/>
                </a:lnTo>
                <a:lnTo>
                  <a:pt x="57" y="117"/>
                </a:lnTo>
                <a:lnTo>
                  <a:pt x="56" y="117"/>
                </a:lnTo>
                <a:lnTo>
                  <a:pt x="56" y="117"/>
                </a:lnTo>
                <a:lnTo>
                  <a:pt x="54" y="117"/>
                </a:lnTo>
                <a:lnTo>
                  <a:pt x="53" y="118"/>
                </a:lnTo>
                <a:lnTo>
                  <a:pt x="53" y="119"/>
                </a:lnTo>
                <a:lnTo>
                  <a:pt x="54" y="120"/>
                </a:lnTo>
                <a:lnTo>
                  <a:pt x="55" y="120"/>
                </a:lnTo>
                <a:lnTo>
                  <a:pt x="52" y="121"/>
                </a:lnTo>
                <a:lnTo>
                  <a:pt x="50" y="120"/>
                </a:lnTo>
                <a:lnTo>
                  <a:pt x="50" y="119"/>
                </a:lnTo>
                <a:lnTo>
                  <a:pt x="50" y="118"/>
                </a:lnTo>
                <a:lnTo>
                  <a:pt x="44" y="120"/>
                </a:lnTo>
                <a:lnTo>
                  <a:pt x="44" y="120"/>
                </a:lnTo>
                <a:lnTo>
                  <a:pt x="43" y="123"/>
                </a:lnTo>
                <a:lnTo>
                  <a:pt x="42" y="123"/>
                </a:lnTo>
                <a:lnTo>
                  <a:pt x="42" y="124"/>
                </a:lnTo>
                <a:lnTo>
                  <a:pt x="42" y="124"/>
                </a:lnTo>
                <a:lnTo>
                  <a:pt x="39" y="124"/>
                </a:lnTo>
                <a:lnTo>
                  <a:pt x="39" y="124"/>
                </a:lnTo>
                <a:lnTo>
                  <a:pt x="38" y="123"/>
                </a:lnTo>
                <a:lnTo>
                  <a:pt x="38" y="123"/>
                </a:lnTo>
                <a:lnTo>
                  <a:pt x="37" y="124"/>
                </a:lnTo>
                <a:lnTo>
                  <a:pt x="37" y="124"/>
                </a:lnTo>
                <a:lnTo>
                  <a:pt x="37" y="125"/>
                </a:lnTo>
                <a:lnTo>
                  <a:pt x="35" y="125"/>
                </a:lnTo>
                <a:lnTo>
                  <a:pt x="32" y="125"/>
                </a:lnTo>
                <a:lnTo>
                  <a:pt x="32" y="127"/>
                </a:lnTo>
                <a:lnTo>
                  <a:pt x="30" y="128"/>
                </a:lnTo>
                <a:lnTo>
                  <a:pt x="28" y="128"/>
                </a:lnTo>
                <a:lnTo>
                  <a:pt x="27" y="128"/>
                </a:lnTo>
                <a:lnTo>
                  <a:pt x="25" y="129"/>
                </a:lnTo>
                <a:lnTo>
                  <a:pt x="24" y="129"/>
                </a:lnTo>
                <a:lnTo>
                  <a:pt x="26" y="130"/>
                </a:lnTo>
                <a:lnTo>
                  <a:pt x="25" y="131"/>
                </a:lnTo>
                <a:lnTo>
                  <a:pt x="27" y="131"/>
                </a:lnTo>
                <a:lnTo>
                  <a:pt x="30" y="131"/>
                </a:lnTo>
                <a:lnTo>
                  <a:pt x="30" y="133"/>
                </a:lnTo>
                <a:lnTo>
                  <a:pt x="33" y="133"/>
                </a:lnTo>
                <a:lnTo>
                  <a:pt x="30" y="134"/>
                </a:lnTo>
                <a:lnTo>
                  <a:pt x="32" y="135"/>
                </a:lnTo>
                <a:lnTo>
                  <a:pt x="29" y="134"/>
                </a:lnTo>
                <a:lnTo>
                  <a:pt x="28" y="134"/>
                </a:lnTo>
                <a:lnTo>
                  <a:pt x="23" y="134"/>
                </a:lnTo>
                <a:lnTo>
                  <a:pt x="20" y="134"/>
                </a:lnTo>
                <a:lnTo>
                  <a:pt x="19" y="134"/>
                </a:lnTo>
                <a:lnTo>
                  <a:pt x="18" y="134"/>
                </a:lnTo>
                <a:lnTo>
                  <a:pt x="17" y="135"/>
                </a:lnTo>
                <a:lnTo>
                  <a:pt x="17" y="135"/>
                </a:lnTo>
                <a:lnTo>
                  <a:pt x="18" y="135"/>
                </a:lnTo>
                <a:lnTo>
                  <a:pt x="17" y="136"/>
                </a:lnTo>
                <a:lnTo>
                  <a:pt x="17" y="136"/>
                </a:lnTo>
                <a:lnTo>
                  <a:pt x="19" y="136"/>
                </a:lnTo>
                <a:lnTo>
                  <a:pt x="20" y="136"/>
                </a:lnTo>
                <a:lnTo>
                  <a:pt x="18" y="137"/>
                </a:lnTo>
                <a:lnTo>
                  <a:pt x="19" y="138"/>
                </a:lnTo>
                <a:lnTo>
                  <a:pt x="20" y="140"/>
                </a:lnTo>
                <a:lnTo>
                  <a:pt x="19" y="140"/>
                </a:lnTo>
                <a:lnTo>
                  <a:pt x="18" y="139"/>
                </a:lnTo>
                <a:lnTo>
                  <a:pt x="17" y="138"/>
                </a:lnTo>
                <a:lnTo>
                  <a:pt x="15" y="139"/>
                </a:lnTo>
                <a:lnTo>
                  <a:pt x="14" y="140"/>
                </a:lnTo>
                <a:lnTo>
                  <a:pt x="13" y="141"/>
                </a:lnTo>
                <a:lnTo>
                  <a:pt x="14" y="141"/>
                </a:lnTo>
                <a:lnTo>
                  <a:pt x="15" y="143"/>
                </a:lnTo>
                <a:lnTo>
                  <a:pt x="13" y="143"/>
                </a:lnTo>
                <a:lnTo>
                  <a:pt x="12" y="141"/>
                </a:lnTo>
                <a:lnTo>
                  <a:pt x="9" y="141"/>
                </a:lnTo>
                <a:lnTo>
                  <a:pt x="7" y="141"/>
                </a:lnTo>
                <a:lnTo>
                  <a:pt x="6" y="143"/>
                </a:lnTo>
                <a:lnTo>
                  <a:pt x="7" y="143"/>
                </a:lnTo>
                <a:lnTo>
                  <a:pt x="3" y="141"/>
                </a:lnTo>
                <a:lnTo>
                  <a:pt x="3" y="141"/>
                </a:lnTo>
                <a:lnTo>
                  <a:pt x="4" y="144"/>
                </a:lnTo>
                <a:lnTo>
                  <a:pt x="3" y="145"/>
                </a:lnTo>
                <a:lnTo>
                  <a:pt x="4" y="145"/>
                </a:lnTo>
                <a:lnTo>
                  <a:pt x="9" y="145"/>
                </a:lnTo>
                <a:lnTo>
                  <a:pt x="16" y="144"/>
                </a:lnTo>
                <a:lnTo>
                  <a:pt x="12" y="145"/>
                </a:lnTo>
                <a:lnTo>
                  <a:pt x="13" y="146"/>
                </a:lnTo>
                <a:lnTo>
                  <a:pt x="15" y="146"/>
                </a:lnTo>
                <a:lnTo>
                  <a:pt x="17" y="145"/>
                </a:lnTo>
                <a:lnTo>
                  <a:pt x="18" y="146"/>
                </a:lnTo>
                <a:lnTo>
                  <a:pt x="16" y="146"/>
                </a:lnTo>
                <a:lnTo>
                  <a:pt x="13" y="147"/>
                </a:lnTo>
                <a:lnTo>
                  <a:pt x="8" y="147"/>
                </a:lnTo>
                <a:lnTo>
                  <a:pt x="7" y="146"/>
                </a:lnTo>
                <a:lnTo>
                  <a:pt x="6" y="146"/>
                </a:lnTo>
                <a:lnTo>
                  <a:pt x="4" y="147"/>
                </a:lnTo>
                <a:lnTo>
                  <a:pt x="3" y="148"/>
                </a:lnTo>
                <a:lnTo>
                  <a:pt x="2" y="148"/>
                </a:lnTo>
                <a:lnTo>
                  <a:pt x="0" y="148"/>
                </a:lnTo>
                <a:lnTo>
                  <a:pt x="0" y="149"/>
                </a:lnTo>
                <a:lnTo>
                  <a:pt x="4" y="150"/>
                </a:lnTo>
                <a:lnTo>
                  <a:pt x="4" y="150"/>
                </a:lnTo>
                <a:lnTo>
                  <a:pt x="4" y="151"/>
                </a:lnTo>
                <a:lnTo>
                  <a:pt x="3" y="153"/>
                </a:lnTo>
                <a:lnTo>
                  <a:pt x="2" y="154"/>
                </a:lnTo>
                <a:lnTo>
                  <a:pt x="2" y="155"/>
                </a:lnTo>
                <a:lnTo>
                  <a:pt x="2" y="155"/>
                </a:lnTo>
                <a:lnTo>
                  <a:pt x="2" y="156"/>
                </a:lnTo>
                <a:lnTo>
                  <a:pt x="3" y="157"/>
                </a:lnTo>
                <a:lnTo>
                  <a:pt x="3" y="158"/>
                </a:lnTo>
                <a:lnTo>
                  <a:pt x="6" y="158"/>
                </a:lnTo>
                <a:lnTo>
                  <a:pt x="13" y="157"/>
                </a:lnTo>
                <a:lnTo>
                  <a:pt x="15" y="157"/>
                </a:lnTo>
                <a:lnTo>
                  <a:pt x="17" y="157"/>
                </a:lnTo>
                <a:lnTo>
                  <a:pt x="18" y="156"/>
                </a:lnTo>
                <a:lnTo>
                  <a:pt x="19" y="154"/>
                </a:lnTo>
                <a:lnTo>
                  <a:pt x="20" y="155"/>
                </a:lnTo>
                <a:lnTo>
                  <a:pt x="19" y="157"/>
                </a:lnTo>
                <a:lnTo>
                  <a:pt x="20" y="157"/>
                </a:lnTo>
                <a:lnTo>
                  <a:pt x="24" y="157"/>
                </a:lnTo>
                <a:lnTo>
                  <a:pt x="25" y="157"/>
                </a:lnTo>
                <a:lnTo>
                  <a:pt x="26" y="157"/>
                </a:lnTo>
                <a:lnTo>
                  <a:pt x="29" y="156"/>
                </a:lnTo>
                <a:lnTo>
                  <a:pt x="29" y="153"/>
                </a:lnTo>
                <a:lnTo>
                  <a:pt x="33" y="151"/>
                </a:lnTo>
                <a:lnTo>
                  <a:pt x="33" y="151"/>
                </a:lnTo>
                <a:lnTo>
                  <a:pt x="30" y="154"/>
                </a:lnTo>
                <a:lnTo>
                  <a:pt x="30" y="156"/>
                </a:lnTo>
                <a:lnTo>
                  <a:pt x="30" y="156"/>
                </a:lnTo>
                <a:lnTo>
                  <a:pt x="32" y="156"/>
                </a:lnTo>
                <a:lnTo>
                  <a:pt x="33" y="156"/>
                </a:lnTo>
                <a:lnTo>
                  <a:pt x="35" y="156"/>
                </a:lnTo>
                <a:lnTo>
                  <a:pt x="32" y="158"/>
                </a:lnTo>
                <a:lnTo>
                  <a:pt x="27" y="158"/>
                </a:lnTo>
                <a:lnTo>
                  <a:pt x="27" y="160"/>
                </a:lnTo>
                <a:lnTo>
                  <a:pt x="28" y="160"/>
                </a:lnTo>
                <a:lnTo>
                  <a:pt x="25" y="163"/>
                </a:lnTo>
                <a:lnTo>
                  <a:pt x="25" y="160"/>
                </a:lnTo>
                <a:lnTo>
                  <a:pt x="25" y="159"/>
                </a:lnTo>
                <a:lnTo>
                  <a:pt x="22" y="158"/>
                </a:lnTo>
                <a:lnTo>
                  <a:pt x="19" y="158"/>
                </a:lnTo>
                <a:lnTo>
                  <a:pt x="17" y="159"/>
                </a:lnTo>
                <a:lnTo>
                  <a:pt x="14" y="158"/>
                </a:lnTo>
                <a:lnTo>
                  <a:pt x="12" y="159"/>
                </a:lnTo>
                <a:lnTo>
                  <a:pt x="9" y="159"/>
                </a:lnTo>
                <a:lnTo>
                  <a:pt x="8" y="160"/>
                </a:lnTo>
                <a:lnTo>
                  <a:pt x="4" y="159"/>
                </a:lnTo>
                <a:lnTo>
                  <a:pt x="3" y="161"/>
                </a:lnTo>
                <a:lnTo>
                  <a:pt x="2" y="163"/>
                </a:lnTo>
                <a:lnTo>
                  <a:pt x="4" y="163"/>
                </a:lnTo>
                <a:lnTo>
                  <a:pt x="5" y="163"/>
                </a:lnTo>
                <a:lnTo>
                  <a:pt x="5" y="165"/>
                </a:lnTo>
                <a:lnTo>
                  <a:pt x="4" y="164"/>
                </a:lnTo>
                <a:lnTo>
                  <a:pt x="2" y="164"/>
                </a:lnTo>
                <a:lnTo>
                  <a:pt x="2" y="164"/>
                </a:lnTo>
                <a:lnTo>
                  <a:pt x="2" y="164"/>
                </a:lnTo>
                <a:lnTo>
                  <a:pt x="2" y="164"/>
                </a:lnTo>
                <a:lnTo>
                  <a:pt x="4" y="167"/>
                </a:lnTo>
                <a:lnTo>
                  <a:pt x="5" y="167"/>
                </a:lnTo>
                <a:lnTo>
                  <a:pt x="8" y="166"/>
                </a:lnTo>
                <a:lnTo>
                  <a:pt x="10" y="165"/>
                </a:lnTo>
                <a:lnTo>
                  <a:pt x="7" y="167"/>
                </a:lnTo>
                <a:lnTo>
                  <a:pt x="6" y="168"/>
                </a:lnTo>
                <a:lnTo>
                  <a:pt x="7" y="169"/>
                </a:lnTo>
                <a:lnTo>
                  <a:pt x="5" y="170"/>
                </a:lnTo>
                <a:lnTo>
                  <a:pt x="4" y="170"/>
                </a:lnTo>
                <a:lnTo>
                  <a:pt x="4" y="171"/>
                </a:lnTo>
                <a:lnTo>
                  <a:pt x="5" y="173"/>
                </a:lnTo>
                <a:lnTo>
                  <a:pt x="6" y="174"/>
                </a:lnTo>
                <a:lnTo>
                  <a:pt x="7" y="173"/>
                </a:lnTo>
                <a:lnTo>
                  <a:pt x="8" y="171"/>
                </a:lnTo>
                <a:lnTo>
                  <a:pt x="8" y="174"/>
                </a:lnTo>
                <a:lnTo>
                  <a:pt x="10" y="176"/>
                </a:lnTo>
                <a:lnTo>
                  <a:pt x="9" y="176"/>
                </a:lnTo>
                <a:lnTo>
                  <a:pt x="7" y="177"/>
                </a:lnTo>
                <a:lnTo>
                  <a:pt x="7" y="177"/>
                </a:lnTo>
                <a:lnTo>
                  <a:pt x="8" y="178"/>
                </a:lnTo>
                <a:lnTo>
                  <a:pt x="10" y="177"/>
                </a:lnTo>
                <a:lnTo>
                  <a:pt x="12" y="175"/>
                </a:lnTo>
                <a:lnTo>
                  <a:pt x="12" y="174"/>
                </a:lnTo>
                <a:lnTo>
                  <a:pt x="14" y="173"/>
                </a:lnTo>
                <a:lnTo>
                  <a:pt x="16" y="170"/>
                </a:lnTo>
                <a:lnTo>
                  <a:pt x="18" y="168"/>
                </a:lnTo>
                <a:lnTo>
                  <a:pt x="20" y="166"/>
                </a:lnTo>
                <a:lnTo>
                  <a:pt x="22" y="167"/>
                </a:lnTo>
                <a:lnTo>
                  <a:pt x="22" y="168"/>
                </a:lnTo>
                <a:lnTo>
                  <a:pt x="25" y="167"/>
                </a:lnTo>
                <a:lnTo>
                  <a:pt x="27" y="167"/>
                </a:lnTo>
                <a:lnTo>
                  <a:pt x="23" y="168"/>
                </a:lnTo>
                <a:lnTo>
                  <a:pt x="23" y="170"/>
                </a:lnTo>
                <a:lnTo>
                  <a:pt x="23" y="171"/>
                </a:lnTo>
                <a:lnTo>
                  <a:pt x="22" y="169"/>
                </a:lnTo>
                <a:lnTo>
                  <a:pt x="20" y="169"/>
                </a:lnTo>
                <a:lnTo>
                  <a:pt x="18" y="171"/>
                </a:lnTo>
                <a:lnTo>
                  <a:pt x="16" y="173"/>
                </a:lnTo>
                <a:lnTo>
                  <a:pt x="18" y="174"/>
                </a:lnTo>
                <a:lnTo>
                  <a:pt x="18" y="175"/>
                </a:lnTo>
                <a:lnTo>
                  <a:pt x="15" y="175"/>
                </a:lnTo>
                <a:lnTo>
                  <a:pt x="10" y="179"/>
                </a:lnTo>
                <a:lnTo>
                  <a:pt x="13" y="179"/>
                </a:lnTo>
                <a:lnTo>
                  <a:pt x="17" y="179"/>
                </a:lnTo>
                <a:lnTo>
                  <a:pt x="18" y="179"/>
                </a:lnTo>
                <a:lnTo>
                  <a:pt x="19" y="179"/>
                </a:lnTo>
                <a:lnTo>
                  <a:pt x="14" y="180"/>
                </a:lnTo>
                <a:lnTo>
                  <a:pt x="13" y="181"/>
                </a:lnTo>
                <a:lnTo>
                  <a:pt x="13" y="182"/>
                </a:lnTo>
                <a:lnTo>
                  <a:pt x="10" y="182"/>
                </a:lnTo>
                <a:lnTo>
                  <a:pt x="9" y="182"/>
                </a:lnTo>
                <a:lnTo>
                  <a:pt x="8" y="182"/>
                </a:lnTo>
                <a:lnTo>
                  <a:pt x="6" y="184"/>
                </a:lnTo>
                <a:lnTo>
                  <a:pt x="5" y="186"/>
                </a:lnTo>
                <a:lnTo>
                  <a:pt x="5" y="187"/>
                </a:lnTo>
                <a:lnTo>
                  <a:pt x="6" y="187"/>
                </a:lnTo>
                <a:lnTo>
                  <a:pt x="6" y="188"/>
                </a:lnTo>
                <a:lnTo>
                  <a:pt x="8" y="188"/>
                </a:lnTo>
                <a:lnTo>
                  <a:pt x="9" y="186"/>
                </a:lnTo>
                <a:lnTo>
                  <a:pt x="9" y="188"/>
                </a:lnTo>
                <a:lnTo>
                  <a:pt x="12" y="188"/>
                </a:lnTo>
                <a:lnTo>
                  <a:pt x="12" y="187"/>
                </a:lnTo>
                <a:lnTo>
                  <a:pt x="12" y="186"/>
                </a:lnTo>
                <a:lnTo>
                  <a:pt x="14" y="187"/>
                </a:lnTo>
                <a:lnTo>
                  <a:pt x="16" y="185"/>
                </a:lnTo>
                <a:lnTo>
                  <a:pt x="18" y="185"/>
                </a:lnTo>
                <a:lnTo>
                  <a:pt x="19" y="185"/>
                </a:lnTo>
                <a:lnTo>
                  <a:pt x="16" y="187"/>
                </a:lnTo>
                <a:lnTo>
                  <a:pt x="17" y="187"/>
                </a:lnTo>
                <a:lnTo>
                  <a:pt x="17" y="189"/>
                </a:lnTo>
                <a:lnTo>
                  <a:pt x="16" y="190"/>
                </a:lnTo>
                <a:lnTo>
                  <a:pt x="15" y="191"/>
                </a:lnTo>
                <a:lnTo>
                  <a:pt x="14" y="192"/>
                </a:lnTo>
                <a:lnTo>
                  <a:pt x="14" y="194"/>
                </a:lnTo>
                <a:lnTo>
                  <a:pt x="14" y="195"/>
                </a:lnTo>
                <a:lnTo>
                  <a:pt x="13" y="194"/>
                </a:lnTo>
                <a:lnTo>
                  <a:pt x="12" y="195"/>
                </a:lnTo>
                <a:lnTo>
                  <a:pt x="10" y="194"/>
                </a:lnTo>
                <a:lnTo>
                  <a:pt x="10" y="194"/>
                </a:lnTo>
                <a:lnTo>
                  <a:pt x="8" y="198"/>
                </a:lnTo>
                <a:lnTo>
                  <a:pt x="12" y="201"/>
                </a:lnTo>
                <a:lnTo>
                  <a:pt x="17" y="204"/>
                </a:lnTo>
                <a:lnTo>
                  <a:pt x="20" y="206"/>
                </a:lnTo>
                <a:lnTo>
                  <a:pt x="23" y="206"/>
                </a:lnTo>
                <a:lnTo>
                  <a:pt x="25" y="204"/>
                </a:lnTo>
                <a:lnTo>
                  <a:pt x="25" y="207"/>
                </a:lnTo>
                <a:lnTo>
                  <a:pt x="24" y="209"/>
                </a:lnTo>
                <a:lnTo>
                  <a:pt x="26" y="208"/>
                </a:lnTo>
                <a:lnTo>
                  <a:pt x="28" y="209"/>
                </a:lnTo>
                <a:lnTo>
                  <a:pt x="28" y="207"/>
                </a:lnTo>
                <a:lnTo>
                  <a:pt x="33" y="207"/>
                </a:lnTo>
                <a:lnTo>
                  <a:pt x="30" y="209"/>
                </a:lnTo>
                <a:lnTo>
                  <a:pt x="35" y="210"/>
                </a:lnTo>
                <a:lnTo>
                  <a:pt x="37" y="209"/>
                </a:lnTo>
                <a:lnTo>
                  <a:pt x="40" y="207"/>
                </a:lnTo>
                <a:lnTo>
                  <a:pt x="42" y="205"/>
                </a:lnTo>
                <a:lnTo>
                  <a:pt x="43" y="207"/>
                </a:lnTo>
                <a:lnTo>
                  <a:pt x="48" y="205"/>
                </a:lnTo>
                <a:lnTo>
                  <a:pt x="53" y="200"/>
                </a:lnTo>
                <a:lnTo>
                  <a:pt x="55" y="199"/>
                </a:lnTo>
                <a:lnTo>
                  <a:pt x="56" y="198"/>
                </a:lnTo>
                <a:lnTo>
                  <a:pt x="57" y="197"/>
                </a:lnTo>
                <a:lnTo>
                  <a:pt x="58" y="196"/>
                </a:lnTo>
                <a:lnTo>
                  <a:pt x="61" y="194"/>
                </a:lnTo>
                <a:lnTo>
                  <a:pt x="60" y="191"/>
                </a:lnTo>
                <a:lnTo>
                  <a:pt x="64" y="192"/>
                </a:lnTo>
                <a:lnTo>
                  <a:pt x="67" y="192"/>
                </a:lnTo>
                <a:lnTo>
                  <a:pt x="68" y="192"/>
                </a:lnTo>
                <a:lnTo>
                  <a:pt x="69" y="190"/>
                </a:lnTo>
                <a:lnTo>
                  <a:pt x="69" y="189"/>
                </a:lnTo>
                <a:lnTo>
                  <a:pt x="71" y="188"/>
                </a:lnTo>
                <a:lnTo>
                  <a:pt x="70" y="187"/>
                </a:lnTo>
                <a:lnTo>
                  <a:pt x="69" y="186"/>
                </a:lnTo>
                <a:lnTo>
                  <a:pt x="68" y="185"/>
                </a:lnTo>
                <a:lnTo>
                  <a:pt x="69" y="184"/>
                </a:lnTo>
                <a:lnTo>
                  <a:pt x="69" y="184"/>
                </a:lnTo>
                <a:lnTo>
                  <a:pt x="68" y="181"/>
                </a:lnTo>
                <a:lnTo>
                  <a:pt x="69" y="181"/>
                </a:lnTo>
                <a:lnTo>
                  <a:pt x="70" y="182"/>
                </a:lnTo>
                <a:lnTo>
                  <a:pt x="70" y="185"/>
                </a:lnTo>
                <a:lnTo>
                  <a:pt x="71" y="184"/>
                </a:lnTo>
                <a:lnTo>
                  <a:pt x="73" y="182"/>
                </a:lnTo>
                <a:lnTo>
                  <a:pt x="71" y="181"/>
                </a:lnTo>
                <a:lnTo>
                  <a:pt x="70" y="179"/>
                </a:lnTo>
                <a:lnTo>
                  <a:pt x="71" y="179"/>
                </a:lnTo>
                <a:lnTo>
                  <a:pt x="71" y="179"/>
                </a:lnTo>
                <a:lnTo>
                  <a:pt x="73" y="178"/>
                </a:lnTo>
                <a:lnTo>
                  <a:pt x="74" y="179"/>
                </a:lnTo>
                <a:lnTo>
                  <a:pt x="75" y="180"/>
                </a:lnTo>
                <a:lnTo>
                  <a:pt x="73" y="180"/>
                </a:lnTo>
                <a:lnTo>
                  <a:pt x="73" y="181"/>
                </a:lnTo>
                <a:lnTo>
                  <a:pt x="74" y="184"/>
                </a:lnTo>
                <a:lnTo>
                  <a:pt x="74" y="188"/>
                </a:lnTo>
                <a:lnTo>
                  <a:pt x="75" y="189"/>
                </a:lnTo>
                <a:lnTo>
                  <a:pt x="77" y="189"/>
                </a:lnTo>
                <a:lnTo>
                  <a:pt x="79" y="190"/>
                </a:lnTo>
                <a:lnTo>
                  <a:pt x="80" y="190"/>
                </a:lnTo>
                <a:lnTo>
                  <a:pt x="81" y="191"/>
                </a:lnTo>
                <a:lnTo>
                  <a:pt x="83" y="192"/>
                </a:lnTo>
                <a:lnTo>
                  <a:pt x="83" y="196"/>
                </a:lnTo>
                <a:lnTo>
                  <a:pt x="83" y="194"/>
                </a:lnTo>
                <a:lnTo>
                  <a:pt x="84" y="195"/>
                </a:lnTo>
                <a:lnTo>
                  <a:pt x="86" y="194"/>
                </a:lnTo>
                <a:lnTo>
                  <a:pt x="87" y="188"/>
                </a:lnTo>
                <a:lnTo>
                  <a:pt x="86" y="186"/>
                </a:lnTo>
                <a:lnTo>
                  <a:pt x="86" y="184"/>
                </a:lnTo>
                <a:lnTo>
                  <a:pt x="88" y="180"/>
                </a:lnTo>
                <a:lnTo>
                  <a:pt x="88" y="178"/>
                </a:lnTo>
                <a:lnTo>
                  <a:pt x="95" y="177"/>
                </a:lnTo>
                <a:lnTo>
                  <a:pt x="96" y="175"/>
                </a:lnTo>
                <a:lnTo>
                  <a:pt x="96" y="173"/>
                </a:lnTo>
                <a:lnTo>
                  <a:pt x="95" y="171"/>
                </a:lnTo>
                <a:lnTo>
                  <a:pt x="96" y="167"/>
                </a:lnTo>
                <a:lnTo>
                  <a:pt x="94" y="163"/>
                </a:lnTo>
                <a:lnTo>
                  <a:pt x="91" y="160"/>
                </a:lnTo>
                <a:lnTo>
                  <a:pt x="91" y="159"/>
                </a:lnTo>
                <a:lnTo>
                  <a:pt x="95" y="158"/>
                </a:lnTo>
                <a:lnTo>
                  <a:pt x="97" y="157"/>
                </a:lnTo>
                <a:lnTo>
                  <a:pt x="98" y="154"/>
                </a:lnTo>
                <a:lnTo>
                  <a:pt x="97" y="151"/>
                </a:lnTo>
                <a:lnTo>
                  <a:pt x="93" y="149"/>
                </a:lnTo>
                <a:lnTo>
                  <a:pt x="90" y="147"/>
                </a:lnTo>
                <a:lnTo>
                  <a:pt x="89" y="144"/>
                </a:lnTo>
                <a:lnTo>
                  <a:pt x="89" y="138"/>
                </a:lnTo>
                <a:lnTo>
                  <a:pt x="88" y="136"/>
                </a:lnTo>
                <a:lnTo>
                  <a:pt x="87" y="136"/>
                </a:lnTo>
                <a:lnTo>
                  <a:pt x="87" y="134"/>
                </a:lnTo>
                <a:lnTo>
                  <a:pt x="88" y="133"/>
                </a:lnTo>
                <a:lnTo>
                  <a:pt x="88" y="130"/>
                </a:lnTo>
                <a:lnTo>
                  <a:pt x="88" y="128"/>
                </a:lnTo>
                <a:lnTo>
                  <a:pt x="88" y="127"/>
                </a:lnTo>
                <a:lnTo>
                  <a:pt x="89" y="126"/>
                </a:lnTo>
                <a:lnTo>
                  <a:pt x="88" y="125"/>
                </a:lnTo>
                <a:lnTo>
                  <a:pt x="87" y="123"/>
                </a:lnTo>
                <a:lnTo>
                  <a:pt x="86" y="120"/>
                </a:lnTo>
                <a:lnTo>
                  <a:pt x="87" y="118"/>
                </a:lnTo>
                <a:lnTo>
                  <a:pt x="88" y="116"/>
                </a:lnTo>
                <a:lnTo>
                  <a:pt x="93" y="113"/>
                </a:lnTo>
                <a:lnTo>
                  <a:pt x="97" y="110"/>
                </a:lnTo>
                <a:lnTo>
                  <a:pt x="101" y="110"/>
                </a:lnTo>
                <a:lnTo>
                  <a:pt x="106" y="110"/>
                </a:lnTo>
                <a:lnTo>
                  <a:pt x="109" y="110"/>
                </a:lnTo>
                <a:lnTo>
                  <a:pt x="110" y="109"/>
                </a:lnTo>
                <a:lnTo>
                  <a:pt x="111" y="107"/>
                </a:lnTo>
                <a:lnTo>
                  <a:pt x="111" y="105"/>
                </a:lnTo>
                <a:lnTo>
                  <a:pt x="109" y="104"/>
                </a:lnTo>
                <a:lnTo>
                  <a:pt x="106" y="101"/>
                </a:lnTo>
                <a:lnTo>
                  <a:pt x="106" y="100"/>
                </a:lnTo>
                <a:lnTo>
                  <a:pt x="109" y="96"/>
                </a:lnTo>
                <a:lnTo>
                  <a:pt x="113" y="91"/>
                </a:lnTo>
                <a:lnTo>
                  <a:pt x="114" y="86"/>
                </a:lnTo>
                <a:lnTo>
                  <a:pt x="114" y="83"/>
                </a:lnTo>
                <a:lnTo>
                  <a:pt x="114" y="79"/>
                </a:lnTo>
                <a:lnTo>
                  <a:pt x="113" y="78"/>
                </a:lnTo>
                <a:lnTo>
                  <a:pt x="115" y="77"/>
                </a:lnTo>
                <a:lnTo>
                  <a:pt x="117" y="77"/>
                </a:lnTo>
                <a:lnTo>
                  <a:pt x="120" y="76"/>
                </a:lnTo>
                <a:lnTo>
                  <a:pt x="121" y="75"/>
                </a:lnTo>
                <a:lnTo>
                  <a:pt x="121" y="72"/>
                </a:lnTo>
                <a:lnTo>
                  <a:pt x="123" y="70"/>
                </a:lnTo>
                <a:lnTo>
                  <a:pt x="127" y="67"/>
                </a:lnTo>
                <a:lnTo>
                  <a:pt x="128" y="65"/>
                </a:lnTo>
                <a:lnTo>
                  <a:pt x="131" y="64"/>
                </a:lnTo>
                <a:lnTo>
                  <a:pt x="133" y="63"/>
                </a:lnTo>
                <a:lnTo>
                  <a:pt x="133" y="62"/>
                </a:lnTo>
                <a:lnTo>
                  <a:pt x="133" y="60"/>
                </a:lnTo>
                <a:lnTo>
                  <a:pt x="129" y="57"/>
                </a:lnTo>
                <a:lnTo>
                  <a:pt x="129" y="56"/>
                </a:lnTo>
                <a:lnTo>
                  <a:pt x="133" y="54"/>
                </a:lnTo>
                <a:lnTo>
                  <a:pt x="134" y="53"/>
                </a:lnTo>
                <a:lnTo>
                  <a:pt x="134" y="52"/>
                </a:lnTo>
                <a:lnTo>
                  <a:pt x="135" y="49"/>
                </a:lnTo>
                <a:lnTo>
                  <a:pt x="136" y="48"/>
                </a:lnTo>
                <a:lnTo>
                  <a:pt x="139" y="46"/>
                </a:lnTo>
                <a:lnTo>
                  <a:pt x="142" y="46"/>
                </a:lnTo>
                <a:lnTo>
                  <a:pt x="145" y="47"/>
                </a:lnTo>
                <a:lnTo>
                  <a:pt x="147" y="48"/>
                </a:lnTo>
                <a:lnTo>
                  <a:pt x="148" y="48"/>
                </a:lnTo>
                <a:lnTo>
                  <a:pt x="150" y="47"/>
                </a:lnTo>
                <a:lnTo>
                  <a:pt x="150" y="45"/>
                </a:lnTo>
                <a:lnTo>
                  <a:pt x="151" y="44"/>
                </a:lnTo>
                <a:lnTo>
                  <a:pt x="150" y="40"/>
                </a:lnTo>
                <a:lnTo>
                  <a:pt x="151" y="40"/>
                </a:lnTo>
                <a:lnTo>
                  <a:pt x="152" y="39"/>
                </a:lnTo>
                <a:lnTo>
                  <a:pt x="154" y="39"/>
                </a:lnTo>
                <a:lnTo>
                  <a:pt x="160" y="39"/>
                </a:lnTo>
                <a:lnTo>
                  <a:pt x="170" y="42"/>
                </a:lnTo>
                <a:lnTo>
                  <a:pt x="172" y="42"/>
                </a:lnTo>
                <a:lnTo>
                  <a:pt x="174" y="40"/>
                </a:lnTo>
                <a:lnTo>
                  <a:pt x="171" y="39"/>
                </a:lnTo>
                <a:lnTo>
                  <a:pt x="170" y="38"/>
                </a:lnTo>
                <a:lnTo>
                  <a:pt x="171" y="37"/>
                </a:lnTo>
                <a:lnTo>
                  <a:pt x="172" y="36"/>
                </a:lnTo>
                <a:lnTo>
                  <a:pt x="174" y="35"/>
                </a:lnTo>
                <a:lnTo>
                  <a:pt x="174" y="34"/>
                </a:lnTo>
                <a:lnTo>
                  <a:pt x="172" y="33"/>
                </a:lnTo>
                <a:lnTo>
                  <a:pt x="171" y="33"/>
                </a:lnTo>
                <a:lnTo>
                  <a:pt x="171" y="32"/>
                </a:lnTo>
                <a:lnTo>
                  <a:pt x="172" y="32"/>
                </a:lnTo>
                <a:lnTo>
                  <a:pt x="177" y="32"/>
                </a:lnTo>
                <a:lnTo>
                  <a:pt x="178" y="30"/>
                </a:lnTo>
                <a:lnTo>
                  <a:pt x="179" y="30"/>
                </a:lnTo>
                <a:lnTo>
                  <a:pt x="181" y="30"/>
                </a:lnTo>
                <a:lnTo>
                  <a:pt x="184" y="30"/>
                </a:lnTo>
                <a:lnTo>
                  <a:pt x="182" y="29"/>
                </a:lnTo>
                <a:lnTo>
                  <a:pt x="182" y="28"/>
                </a:lnTo>
                <a:lnTo>
                  <a:pt x="185" y="27"/>
                </a:lnTo>
                <a:lnTo>
                  <a:pt x="188" y="28"/>
                </a:lnTo>
                <a:lnTo>
                  <a:pt x="190" y="29"/>
                </a:lnTo>
                <a:lnTo>
                  <a:pt x="198" y="34"/>
                </a:lnTo>
                <a:lnTo>
                  <a:pt x="199" y="35"/>
                </a:lnTo>
                <a:lnTo>
                  <a:pt x="200" y="36"/>
                </a:lnTo>
                <a:lnTo>
                  <a:pt x="206" y="36"/>
                </a:lnTo>
                <a:lnTo>
                  <a:pt x="209" y="37"/>
                </a:lnTo>
                <a:lnTo>
                  <a:pt x="211" y="37"/>
                </a:lnTo>
                <a:lnTo>
                  <a:pt x="215" y="36"/>
                </a:lnTo>
                <a:lnTo>
                  <a:pt x="218" y="34"/>
                </a:lnTo>
                <a:lnTo>
                  <a:pt x="220" y="35"/>
                </a:lnTo>
                <a:lnTo>
                  <a:pt x="222" y="36"/>
                </a:lnTo>
                <a:lnTo>
                  <a:pt x="223" y="37"/>
                </a:lnTo>
                <a:lnTo>
                  <a:pt x="226" y="37"/>
                </a:lnTo>
                <a:lnTo>
                  <a:pt x="229" y="37"/>
                </a:lnTo>
                <a:lnTo>
                  <a:pt x="231" y="36"/>
                </a:lnTo>
                <a:lnTo>
                  <a:pt x="232" y="34"/>
                </a:lnTo>
                <a:lnTo>
                  <a:pt x="238" y="33"/>
                </a:lnTo>
                <a:lnTo>
                  <a:pt x="238" y="32"/>
                </a:lnTo>
                <a:lnTo>
                  <a:pt x="237" y="28"/>
                </a:lnTo>
                <a:lnTo>
                  <a:pt x="237" y="27"/>
                </a:lnTo>
                <a:lnTo>
                  <a:pt x="237" y="24"/>
                </a:lnTo>
                <a:lnTo>
                  <a:pt x="238" y="20"/>
                </a:lnTo>
                <a:lnTo>
                  <a:pt x="240" y="19"/>
                </a:lnTo>
                <a:lnTo>
                  <a:pt x="242" y="18"/>
                </a:lnTo>
                <a:lnTo>
                  <a:pt x="248" y="18"/>
                </a:lnTo>
                <a:lnTo>
                  <a:pt x="256" y="16"/>
                </a:lnTo>
                <a:lnTo>
                  <a:pt x="260" y="16"/>
                </a:lnTo>
                <a:lnTo>
                  <a:pt x="261" y="16"/>
                </a:lnTo>
                <a:lnTo>
                  <a:pt x="265" y="18"/>
                </a:lnTo>
                <a:lnTo>
                  <a:pt x="267" y="19"/>
                </a:lnTo>
                <a:lnTo>
                  <a:pt x="270" y="19"/>
                </a:lnTo>
                <a:lnTo>
                  <a:pt x="275" y="22"/>
                </a:lnTo>
                <a:lnTo>
                  <a:pt x="277" y="24"/>
                </a:lnTo>
                <a:lnTo>
                  <a:pt x="278" y="26"/>
                </a:lnTo>
                <a:lnTo>
                  <a:pt x="275" y="28"/>
                </a:lnTo>
                <a:lnTo>
                  <a:pt x="273" y="29"/>
                </a:lnTo>
                <a:lnTo>
                  <a:pt x="275" y="30"/>
                </a:lnTo>
                <a:lnTo>
                  <a:pt x="277" y="32"/>
                </a:lnTo>
                <a:lnTo>
                  <a:pt x="277" y="32"/>
                </a:lnTo>
                <a:lnTo>
                  <a:pt x="279" y="30"/>
                </a:lnTo>
                <a:lnTo>
                  <a:pt x="279" y="30"/>
                </a:lnTo>
                <a:lnTo>
                  <a:pt x="279" y="29"/>
                </a:lnTo>
                <a:lnTo>
                  <a:pt x="279" y="28"/>
                </a:lnTo>
                <a:lnTo>
                  <a:pt x="286" y="26"/>
                </a:lnTo>
                <a:lnTo>
                  <a:pt x="287" y="26"/>
                </a:lnTo>
                <a:lnTo>
                  <a:pt x="287" y="23"/>
                </a:lnTo>
                <a:lnTo>
                  <a:pt x="292" y="24"/>
                </a:lnTo>
                <a:lnTo>
                  <a:pt x="295" y="24"/>
                </a:lnTo>
                <a:lnTo>
                  <a:pt x="295" y="24"/>
                </a:lnTo>
                <a:lnTo>
                  <a:pt x="296" y="22"/>
                </a:lnTo>
                <a:lnTo>
                  <a:pt x="296" y="22"/>
                </a:lnTo>
                <a:lnTo>
                  <a:pt x="295" y="2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17" name="Freeform 917"/>
          <p:cNvSpPr>
            <a:spLocks/>
          </p:cNvSpPr>
          <p:nvPr/>
        </p:nvSpPr>
        <p:spPr bwMode="auto">
          <a:xfrm>
            <a:off x="4448175" y="1589053"/>
            <a:ext cx="469900" cy="333375"/>
          </a:xfrm>
          <a:custGeom>
            <a:avLst/>
            <a:gdLst>
              <a:gd name="T0" fmla="*/ 281 w 296"/>
              <a:gd name="T1" fmla="*/ 20 h 210"/>
              <a:gd name="T2" fmla="*/ 272 w 296"/>
              <a:gd name="T3" fmla="*/ 15 h 210"/>
              <a:gd name="T4" fmla="*/ 278 w 296"/>
              <a:gd name="T5" fmla="*/ 7 h 210"/>
              <a:gd name="T6" fmla="*/ 263 w 296"/>
              <a:gd name="T7" fmla="*/ 7 h 210"/>
              <a:gd name="T8" fmla="*/ 257 w 296"/>
              <a:gd name="T9" fmla="*/ 5 h 210"/>
              <a:gd name="T10" fmla="*/ 249 w 296"/>
              <a:gd name="T11" fmla="*/ 7 h 210"/>
              <a:gd name="T12" fmla="*/ 239 w 296"/>
              <a:gd name="T13" fmla="*/ 4 h 210"/>
              <a:gd name="T14" fmla="*/ 227 w 296"/>
              <a:gd name="T15" fmla="*/ 10 h 210"/>
              <a:gd name="T16" fmla="*/ 218 w 296"/>
              <a:gd name="T17" fmla="*/ 3 h 210"/>
              <a:gd name="T18" fmla="*/ 206 w 296"/>
              <a:gd name="T19" fmla="*/ 15 h 210"/>
              <a:gd name="T20" fmla="*/ 194 w 296"/>
              <a:gd name="T21" fmla="*/ 14 h 210"/>
              <a:gd name="T22" fmla="*/ 191 w 296"/>
              <a:gd name="T23" fmla="*/ 17 h 210"/>
              <a:gd name="T24" fmla="*/ 179 w 296"/>
              <a:gd name="T25" fmla="*/ 19 h 210"/>
              <a:gd name="T26" fmla="*/ 172 w 296"/>
              <a:gd name="T27" fmla="*/ 20 h 210"/>
              <a:gd name="T28" fmla="*/ 165 w 296"/>
              <a:gd name="T29" fmla="*/ 28 h 210"/>
              <a:gd name="T30" fmla="*/ 149 w 296"/>
              <a:gd name="T31" fmla="*/ 27 h 210"/>
              <a:gd name="T32" fmla="*/ 146 w 296"/>
              <a:gd name="T33" fmla="*/ 35 h 210"/>
              <a:gd name="T34" fmla="*/ 131 w 296"/>
              <a:gd name="T35" fmla="*/ 39 h 210"/>
              <a:gd name="T36" fmla="*/ 131 w 296"/>
              <a:gd name="T37" fmla="*/ 42 h 210"/>
              <a:gd name="T38" fmla="*/ 123 w 296"/>
              <a:gd name="T39" fmla="*/ 46 h 210"/>
              <a:gd name="T40" fmla="*/ 118 w 296"/>
              <a:gd name="T41" fmla="*/ 54 h 210"/>
              <a:gd name="T42" fmla="*/ 109 w 296"/>
              <a:gd name="T43" fmla="*/ 59 h 210"/>
              <a:gd name="T44" fmla="*/ 97 w 296"/>
              <a:gd name="T45" fmla="*/ 68 h 210"/>
              <a:gd name="T46" fmla="*/ 94 w 296"/>
              <a:gd name="T47" fmla="*/ 76 h 210"/>
              <a:gd name="T48" fmla="*/ 90 w 296"/>
              <a:gd name="T49" fmla="*/ 83 h 210"/>
              <a:gd name="T50" fmla="*/ 84 w 296"/>
              <a:gd name="T51" fmla="*/ 90 h 210"/>
              <a:gd name="T52" fmla="*/ 78 w 296"/>
              <a:gd name="T53" fmla="*/ 96 h 210"/>
              <a:gd name="T54" fmla="*/ 67 w 296"/>
              <a:gd name="T55" fmla="*/ 104 h 210"/>
              <a:gd name="T56" fmla="*/ 71 w 296"/>
              <a:gd name="T57" fmla="*/ 115 h 210"/>
              <a:gd name="T58" fmla="*/ 64 w 296"/>
              <a:gd name="T59" fmla="*/ 120 h 210"/>
              <a:gd name="T60" fmla="*/ 50 w 296"/>
              <a:gd name="T61" fmla="*/ 120 h 210"/>
              <a:gd name="T62" fmla="*/ 37 w 296"/>
              <a:gd name="T63" fmla="*/ 124 h 210"/>
              <a:gd name="T64" fmla="*/ 30 w 296"/>
              <a:gd name="T65" fmla="*/ 133 h 210"/>
              <a:gd name="T66" fmla="*/ 17 w 296"/>
              <a:gd name="T67" fmla="*/ 136 h 210"/>
              <a:gd name="T68" fmla="*/ 13 w 296"/>
              <a:gd name="T69" fmla="*/ 143 h 210"/>
              <a:gd name="T70" fmla="*/ 13 w 296"/>
              <a:gd name="T71" fmla="*/ 146 h 210"/>
              <a:gd name="T72" fmla="*/ 4 w 296"/>
              <a:gd name="T73" fmla="*/ 150 h 210"/>
              <a:gd name="T74" fmla="*/ 18 w 296"/>
              <a:gd name="T75" fmla="*/ 156 h 210"/>
              <a:gd name="T76" fmla="*/ 30 w 296"/>
              <a:gd name="T77" fmla="*/ 156 h 210"/>
              <a:gd name="T78" fmla="*/ 14 w 296"/>
              <a:gd name="T79" fmla="*/ 158 h 210"/>
              <a:gd name="T80" fmla="*/ 2 w 296"/>
              <a:gd name="T81" fmla="*/ 164 h 210"/>
              <a:gd name="T82" fmla="*/ 8 w 296"/>
              <a:gd name="T83" fmla="*/ 171 h 210"/>
              <a:gd name="T84" fmla="*/ 22 w 296"/>
              <a:gd name="T85" fmla="*/ 167 h 210"/>
              <a:gd name="T86" fmla="*/ 10 w 296"/>
              <a:gd name="T87" fmla="*/ 179 h 210"/>
              <a:gd name="T88" fmla="*/ 6 w 296"/>
              <a:gd name="T89" fmla="*/ 187 h 210"/>
              <a:gd name="T90" fmla="*/ 17 w 296"/>
              <a:gd name="T91" fmla="*/ 189 h 210"/>
              <a:gd name="T92" fmla="*/ 23 w 296"/>
              <a:gd name="T93" fmla="*/ 206 h 210"/>
              <a:gd name="T94" fmla="*/ 48 w 296"/>
              <a:gd name="T95" fmla="*/ 205 h 210"/>
              <a:gd name="T96" fmla="*/ 70 w 296"/>
              <a:gd name="T97" fmla="*/ 187 h 210"/>
              <a:gd name="T98" fmla="*/ 71 w 296"/>
              <a:gd name="T99" fmla="*/ 179 h 210"/>
              <a:gd name="T100" fmla="*/ 83 w 296"/>
              <a:gd name="T101" fmla="*/ 196 h 210"/>
              <a:gd name="T102" fmla="*/ 94 w 296"/>
              <a:gd name="T103" fmla="*/ 163 h 210"/>
              <a:gd name="T104" fmla="*/ 88 w 296"/>
              <a:gd name="T105" fmla="*/ 133 h 210"/>
              <a:gd name="T106" fmla="*/ 109 w 296"/>
              <a:gd name="T107" fmla="*/ 110 h 210"/>
              <a:gd name="T108" fmla="*/ 117 w 296"/>
              <a:gd name="T109" fmla="*/ 77 h 210"/>
              <a:gd name="T110" fmla="*/ 134 w 296"/>
              <a:gd name="T111" fmla="*/ 53 h 210"/>
              <a:gd name="T112" fmla="*/ 152 w 296"/>
              <a:gd name="T113" fmla="*/ 39 h 210"/>
              <a:gd name="T114" fmla="*/ 171 w 296"/>
              <a:gd name="T115" fmla="*/ 32 h 210"/>
              <a:gd name="T116" fmla="*/ 200 w 296"/>
              <a:gd name="T117" fmla="*/ 36 h 210"/>
              <a:gd name="T118" fmla="*/ 238 w 296"/>
              <a:gd name="T119" fmla="*/ 32 h 210"/>
              <a:gd name="T120" fmla="*/ 275 w 296"/>
              <a:gd name="T121" fmla="*/ 22 h 210"/>
              <a:gd name="T122" fmla="*/ 287 w 296"/>
              <a:gd name="T123" fmla="*/ 23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96" h="210">
                <a:moveTo>
                  <a:pt x="295" y="20"/>
                </a:moveTo>
                <a:lnTo>
                  <a:pt x="290" y="20"/>
                </a:lnTo>
                <a:lnTo>
                  <a:pt x="290" y="23"/>
                </a:lnTo>
                <a:lnTo>
                  <a:pt x="289" y="23"/>
                </a:lnTo>
                <a:lnTo>
                  <a:pt x="289" y="22"/>
                </a:lnTo>
                <a:lnTo>
                  <a:pt x="287" y="22"/>
                </a:lnTo>
                <a:lnTo>
                  <a:pt x="286" y="20"/>
                </a:lnTo>
                <a:lnTo>
                  <a:pt x="286" y="23"/>
                </a:lnTo>
                <a:lnTo>
                  <a:pt x="286" y="23"/>
                </a:lnTo>
                <a:lnTo>
                  <a:pt x="285" y="22"/>
                </a:lnTo>
                <a:lnTo>
                  <a:pt x="281" y="22"/>
                </a:lnTo>
                <a:lnTo>
                  <a:pt x="280" y="23"/>
                </a:lnTo>
                <a:lnTo>
                  <a:pt x="280" y="22"/>
                </a:lnTo>
                <a:lnTo>
                  <a:pt x="281" y="20"/>
                </a:lnTo>
                <a:lnTo>
                  <a:pt x="283" y="20"/>
                </a:lnTo>
                <a:lnTo>
                  <a:pt x="283" y="19"/>
                </a:lnTo>
                <a:lnTo>
                  <a:pt x="283" y="19"/>
                </a:lnTo>
                <a:lnTo>
                  <a:pt x="281" y="18"/>
                </a:lnTo>
                <a:lnTo>
                  <a:pt x="278" y="18"/>
                </a:lnTo>
                <a:lnTo>
                  <a:pt x="278" y="18"/>
                </a:lnTo>
                <a:lnTo>
                  <a:pt x="277" y="17"/>
                </a:lnTo>
                <a:lnTo>
                  <a:pt x="273" y="17"/>
                </a:lnTo>
                <a:lnTo>
                  <a:pt x="271" y="16"/>
                </a:lnTo>
                <a:lnTo>
                  <a:pt x="268" y="16"/>
                </a:lnTo>
                <a:lnTo>
                  <a:pt x="267" y="15"/>
                </a:lnTo>
                <a:lnTo>
                  <a:pt x="268" y="15"/>
                </a:lnTo>
                <a:lnTo>
                  <a:pt x="268" y="14"/>
                </a:lnTo>
                <a:lnTo>
                  <a:pt x="272" y="15"/>
                </a:lnTo>
                <a:lnTo>
                  <a:pt x="283" y="16"/>
                </a:lnTo>
                <a:lnTo>
                  <a:pt x="290" y="13"/>
                </a:lnTo>
                <a:lnTo>
                  <a:pt x="292" y="13"/>
                </a:lnTo>
                <a:lnTo>
                  <a:pt x="293" y="12"/>
                </a:lnTo>
                <a:lnTo>
                  <a:pt x="292" y="10"/>
                </a:lnTo>
                <a:lnTo>
                  <a:pt x="290" y="10"/>
                </a:lnTo>
                <a:lnTo>
                  <a:pt x="288" y="9"/>
                </a:lnTo>
                <a:lnTo>
                  <a:pt x="285" y="9"/>
                </a:lnTo>
                <a:lnTo>
                  <a:pt x="283" y="8"/>
                </a:lnTo>
                <a:lnTo>
                  <a:pt x="285" y="8"/>
                </a:lnTo>
                <a:lnTo>
                  <a:pt x="281" y="7"/>
                </a:lnTo>
                <a:lnTo>
                  <a:pt x="280" y="6"/>
                </a:lnTo>
                <a:lnTo>
                  <a:pt x="279" y="7"/>
                </a:lnTo>
                <a:lnTo>
                  <a:pt x="278" y="7"/>
                </a:lnTo>
                <a:lnTo>
                  <a:pt x="277" y="7"/>
                </a:lnTo>
                <a:lnTo>
                  <a:pt x="277" y="6"/>
                </a:lnTo>
                <a:lnTo>
                  <a:pt x="272" y="7"/>
                </a:lnTo>
                <a:lnTo>
                  <a:pt x="272" y="7"/>
                </a:lnTo>
                <a:lnTo>
                  <a:pt x="272" y="6"/>
                </a:lnTo>
                <a:lnTo>
                  <a:pt x="272" y="6"/>
                </a:lnTo>
                <a:lnTo>
                  <a:pt x="272" y="5"/>
                </a:lnTo>
                <a:lnTo>
                  <a:pt x="271" y="5"/>
                </a:lnTo>
                <a:lnTo>
                  <a:pt x="270" y="4"/>
                </a:lnTo>
                <a:lnTo>
                  <a:pt x="268" y="5"/>
                </a:lnTo>
                <a:lnTo>
                  <a:pt x="267" y="4"/>
                </a:lnTo>
                <a:lnTo>
                  <a:pt x="266" y="4"/>
                </a:lnTo>
                <a:lnTo>
                  <a:pt x="263" y="6"/>
                </a:lnTo>
                <a:lnTo>
                  <a:pt x="263" y="7"/>
                </a:lnTo>
                <a:lnTo>
                  <a:pt x="265" y="8"/>
                </a:lnTo>
                <a:lnTo>
                  <a:pt x="265" y="10"/>
                </a:lnTo>
                <a:lnTo>
                  <a:pt x="262" y="10"/>
                </a:lnTo>
                <a:lnTo>
                  <a:pt x="260" y="10"/>
                </a:lnTo>
                <a:lnTo>
                  <a:pt x="258" y="10"/>
                </a:lnTo>
                <a:lnTo>
                  <a:pt x="258" y="9"/>
                </a:lnTo>
                <a:lnTo>
                  <a:pt x="259" y="9"/>
                </a:lnTo>
                <a:lnTo>
                  <a:pt x="261" y="7"/>
                </a:lnTo>
                <a:lnTo>
                  <a:pt x="260" y="7"/>
                </a:lnTo>
                <a:lnTo>
                  <a:pt x="257" y="8"/>
                </a:lnTo>
                <a:lnTo>
                  <a:pt x="255" y="8"/>
                </a:lnTo>
                <a:lnTo>
                  <a:pt x="258" y="7"/>
                </a:lnTo>
                <a:lnTo>
                  <a:pt x="256" y="6"/>
                </a:lnTo>
                <a:lnTo>
                  <a:pt x="257" y="5"/>
                </a:lnTo>
                <a:lnTo>
                  <a:pt x="260" y="5"/>
                </a:lnTo>
                <a:lnTo>
                  <a:pt x="261" y="4"/>
                </a:lnTo>
                <a:lnTo>
                  <a:pt x="261" y="3"/>
                </a:lnTo>
                <a:lnTo>
                  <a:pt x="259" y="3"/>
                </a:lnTo>
                <a:lnTo>
                  <a:pt x="259" y="2"/>
                </a:lnTo>
                <a:lnTo>
                  <a:pt x="258" y="0"/>
                </a:lnTo>
                <a:lnTo>
                  <a:pt x="257" y="0"/>
                </a:lnTo>
                <a:lnTo>
                  <a:pt x="253" y="2"/>
                </a:lnTo>
                <a:lnTo>
                  <a:pt x="251" y="0"/>
                </a:lnTo>
                <a:lnTo>
                  <a:pt x="251" y="3"/>
                </a:lnTo>
                <a:lnTo>
                  <a:pt x="251" y="4"/>
                </a:lnTo>
                <a:lnTo>
                  <a:pt x="250" y="5"/>
                </a:lnTo>
                <a:lnTo>
                  <a:pt x="249" y="6"/>
                </a:lnTo>
                <a:lnTo>
                  <a:pt x="249" y="7"/>
                </a:lnTo>
                <a:lnTo>
                  <a:pt x="249" y="8"/>
                </a:lnTo>
                <a:lnTo>
                  <a:pt x="248" y="8"/>
                </a:lnTo>
                <a:lnTo>
                  <a:pt x="247" y="8"/>
                </a:lnTo>
                <a:lnTo>
                  <a:pt x="248" y="10"/>
                </a:lnTo>
                <a:lnTo>
                  <a:pt x="245" y="10"/>
                </a:lnTo>
                <a:lnTo>
                  <a:pt x="242" y="12"/>
                </a:lnTo>
                <a:lnTo>
                  <a:pt x="242" y="10"/>
                </a:lnTo>
                <a:lnTo>
                  <a:pt x="242" y="8"/>
                </a:lnTo>
                <a:lnTo>
                  <a:pt x="240" y="7"/>
                </a:lnTo>
                <a:lnTo>
                  <a:pt x="242" y="6"/>
                </a:lnTo>
                <a:lnTo>
                  <a:pt x="242" y="4"/>
                </a:lnTo>
                <a:lnTo>
                  <a:pt x="241" y="4"/>
                </a:lnTo>
                <a:lnTo>
                  <a:pt x="240" y="3"/>
                </a:lnTo>
                <a:lnTo>
                  <a:pt x="239" y="4"/>
                </a:lnTo>
                <a:lnTo>
                  <a:pt x="233" y="9"/>
                </a:lnTo>
                <a:lnTo>
                  <a:pt x="232" y="9"/>
                </a:lnTo>
                <a:lnTo>
                  <a:pt x="231" y="10"/>
                </a:lnTo>
                <a:lnTo>
                  <a:pt x="229" y="12"/>
                </a:lnTo>
                <a:lnTo>
                  <a:pt x="229" y="14"/>
                </a:lnTo>
                <a:lnTo>
                  <a:pt x="230" y="13"/>
                </a:lnTo>
                <a:lnTo>
                  <a:pt x="227" y="16"/>
                </a:lnTo>
                <a:lnTo>
                  <a:pt x="225" y="16"/>
                </a:lnTo>
                <a:lnTo>
                  <a:pt x="225" y="15"/>
                </a:lnTo>
                <a:lnTo>
                  <a:pt x="225" y="14"/>
                </a:lnTo>
                <a:lnTo>
                  <a:pt x="226" y="14"/>
                </a:lnTo>
                <a:lnTo>
                  <a:pt x="227" y="13"/>
                </a:lnTo>
                <a:lnTo>
                  <a:pt x="226" y="13"/>
                </a:lnTo>
                <a:lnTo>
                  <a:pt x="227" y="10"/>
                </a:lnTo>
                <a:lnTo>
                  <a:pt x="226" y="10"/>
                </a:lnTo>
                <a:lnTo>
                  <a:pt x="227" y="8"/>
                </a:lnTo>
                <a:lnTo>
                  <a:pt x="231" y="6"/>
                </a:lnTo>
                <a:lnTo>
                  <a:pt x="232" y="5"/>
                </a:lnTo>
                <a:lnTo>
                  <a:pt x="230" y="4"/>
                </a:lnTo>
                <a:lnTo>
                  <a:pt x="227" y="5"/>
                </a:lnTo>
                <a:lnTo>
                  <a:pt x="226" y="5"/>
                </a:lnTo>
                <a:lnTo>
                  <a:pt x="225" y="4"/>
                </a:lnTo>
                <a:lnTo>
                  <a:pt x="223" y="4"/>
                </a:lnTo>
                <a:lnTo>
                  <a:pt x="222" y="3"/>
                </a:lnTo>
                <a:lnTo>
                  <a:pt x="222" y="3"/>
                </a:lnTo>
                <a:lnTo>
                  <a:pt x="220" y="4"/>
                </a:lnTo>
                <a:lnTo>
                  <a:pt x="219" y="3"/>
                </a:lnTo>
                <a:lnTo>
                  <a:pt x="218" y="3"/>
                </a:lnTo>
                <a:lnTo>
                  <a:pt x="218" y="5"/>
                </a:lnTo>
                <a:lnTo>
                  <a:pt x="215" y="5"/>
                </a:lnTo>
                <a:lnTo>
                  <a:pt x="217" y="6"/>
                </a:lnTo>
                <a:lnTo>
                  <a:pt x="218" y="7"/>
                </a:lnTo>
                <a:lnTo>
                  <a:pt x="219" y="7"/>
                </a:lnTo>
                <a:lnTo>
                  <a:pt x="216" y="8"/>
                </a:lnTo>
                <a:lnTo>
                  <a:pt x="215" y="9"/>
                </a:lnTo>
                <a:lnTo>
                  <a:pt x="216" y="10"/>
                </a:lnTo>
                <a:lnTo>
                  <a:pt x="210" y="10"/>
                </a:lnTo>
                <a:lnTo>
                  <a:pt x="208" y="12"/>
                </a:lnTo>
                <a:lnTo>
                  <a:pt x="208" y="13"/>
                </a:lnTo>
                <a:lnTo>
                  <a:pt x="205" y="14"/>
                </a:lnTo>
                <a:lnTo>
                  <a:pt x="205" y="15"/>
                </a:lnTo>
                <a:lnTo>
                  <a:pt x="206" y="15"/>
                </a:lnTo>
                <a:lnTo>
                  <a:pt x="206" y="16"/>
                </a:lnTo>
                <a:lnTo>
                  <a:pt x="206" y="17"/>
                </a:lnTo>
                <a:lnTo>
                  <a:pt x="204" y="17"/>
                </a:lnTo>
                <a:lnTo>
                  <a:pt x="202" y="17"/>
                </a:lnTo>
                <a:lnTo>
                  <a:pt x="202" y="16"/>
                </a:lnTo>
                <a:lnTo>
                  <a:pt x="204" y="16"/>
                </a:lnTo>
                <a:lnTo>
                  <a:pt x="200" y="16"/>
                </a:lnTo>
                <a:lnTo>
                  <a:pt x="201" y="15"/>
                </a:lnTo>
                <a:lnTo>
                  <a:pt x="201" y="14"/>
                </a:lnTo>
                <a:lnTo>
                  <a:pt x="195" y="14"/>
                </a:lnTo>
                <a:lnTo>
                  <a:pt x="196" y="15"/>
                </a:lnTo>
                <a:lnTo>
                  <a:pt x="195" y="15"/>
                </a:lnTo>
                <a:lnTo>
                  <a:pt x="194" y="15"/>
                </a:lnTo>
                <a:lnTo>
                  <a:pt x="194" y="14"/>
                </a:lnTo>
                <a:lnTo>
                  <a:pt x="192" y="14"/>
                </a:lnTo>
                <a:lnTo>
                  <a:pt x="191" y="14"/>
                </a:lnTo>
                <a:lnTo>
                  <a:pt x="191" y="13"/>
                </a:lnTo>
                <a:lnTo>
                  <a:pt x="190" y="13"/>
                </a:lnTo>
                <a:lnTo>
                  <a:pt x="189" y="13"/>
                </a:lnTo>
                <a:lnTo>
                  <a:pt x="188" y="14"/>
                </a:lnTo>
                <a:lnTo>
                  <a:pt x="188" y="15"/>
                </a:lnTo>
                <a:lnTo>
                  <a:pt x="187" y="14"/>
                </a:lnTo>
                <a:lnTo>
                  <a:pt x="186" y="13"/>
                </a:lnTo>
                <a:lnTo>
                  <a:pt x="185" y="13"/>
                </a:lnTo>
                <a:lnTo>
                  <a:pt x="186" y="15"/>
                </a:lnTo>
                <a:lnTo>
                  <a:pt x="189" y="16"/>
                </a:lnTo>
                <a:lnTo>
                  <a:pt x="190" y="16"/>
                </a:lnTo>
                <a:lnTo>
                  <a:pt x="191" y="17"/>
                </a:lnTo>
                <a:lnTo>
                  <a:pt x="190" y="18"/>
                </a:lnTo>
                <a:lnTo>
                  <a:pt x="190" y="19"/>
                </a:lnTo>
                <a:lnTo>
                  <a:pt x="191" y="20"/>
                </a:lnTo>
                <a:lnTo>
                  <a:pt x="192" y="22"/>
                </a:lnTo>
                <a:lnTo>
                  <a:pt x="190" y="20"/>
                </a:lnTo>
                <a:lnTo>
                  <a:pt x="186" y="18"/>
                </a:lnTo>
                <a:lnTo>
                  <a:pt x="182" y="17"/>
                </a:lnTo>
                <a:lnTo>
                  <a:pt x="184" y="18"/>
                </a:lnTo>
                <a:lnTo>
                  <a:pt x="182" y="18"/>
                </a:lnTo>
                <a:lnTo>
                  <a:pt x="182" y="19"/>
                </a:lnTo>
                <a:lnTo>
                  <a:pt x="181" y="19"/>
                </a:lnTo>
                <a:lnTo>
                  <a:pt x="180" y="20"/>
                </a:lnTo>
                <a:lnTo>
                  <a:pt x="179" y="19"/>
                </a:lnTo>
                <a:lnTo>
                  <a:pt x="179" y="19"/>
                </a:lnTo>
                <a:lnTo>
                  <a:pt x="180" y="18"/>
                </a:lnTo>
                <a:lnTo>
                  <a:pt x="178" y="18"/>
                </a:lnTo>
                <a:lnTo>
                  <a:pt x="177" y="19"/>
                </a:lnTo>
                <a:lnTo>
                  <a:pt x="177" y="20"/>
                </a:lnTo>
                <a:lnTo>
                  <a:pt x="176" y="20"/>
                </a:lnTo>
                <a:lnTo>
                  <a:pt x="176" y="23"/>
                </a:lnTo>
                <a:lnTo>
                  <a:pt x="177" y="23"/>
                </a:lnTo>
                <a:lnTo>
                  <a:pt x="174" y="25"/>
                </a:lnTo>
                <a:lnTo>
                  <a:pt x="172" y="26"/>
                </a:lnTo>
                <a:lnTo>
                  <a:pt x="171" y="27"/>
                </a:lnTo>
                <a:lnTo>
                  <a:pt x="172" y="25"/>
                </a:lnTo>
                <a:lnTo>
                  <a:pt x="172" y="24"/>
                </a:lnTo>
                <a:lnTo>
                  <a:pt x="172" y="22"/>
                </a:lnTo>
                <a:lnTo>
                  <a:pt x="172" y="20"/>
                </a:lnTo>
                <a:lnTo>
                  <a:pt x="171" y="18"/>
                </a:lnTo>
                <a:lnTo>
                  <a:pt x="169" y="18"/>
                </a:lnTo>
                <a:lnTo>
                  <a:pt x="168" y="19"/>
                </a:lnTo>
                <a:lnTo>
                  <a:pt x="167" y="22"/>
                </a:lnTo>
                <a:lnTo>
                  <a:pt x="166" y="24"/>
                </a:lnTo>
                <a:lnTo>
                  <a:pt x="166" y="26"/>
                </a:lnTo>
                <a:lnTo>
                  <a:pt x="165" y="20"/>
                </a:lnTo>
                <a:lnTo>
                  <a:pt x="159" y="20"/>
                </a:lnTo>
                <a:lnTo>
                  <a:pt x="158" y="23"/>
                </a:lnTo>
                <a:lnTo>
                  <a:pt x="158" y="23"/>
                </a:lnTo>
                <a:lnTo>
                  <a:pt x="158" y="25"/>
                </a:lnTo>
                <a:lnTo>
                  <a:pt x="160" y="26"/>
                </a:lnTo>
                <a:lnTo>
                  <a:pt x="162" y="27"/>
                </a:lnTo>
                <a:lnTo>
                  <a:pt x="165" y="28"/>
                </a:lnTo>
                <a:lnTo>
                  <a:pt x="164" y="29"/>
                </a:lnTo>
                <a:lnTo>
                  <a:pt x="162" y="29"/>
                </a:lnTo>
                <a:lnTo>
                  <a:pt x="160" y="27"/>
                </a:lnTo>
                <a:lnTo>
                  <a:pt x="158" y="27"/>
                </a:lnTo>
                <a:lnTo>
                  <a:pt x="156" y="25"/>
                </a:lnTo>
                <a:lnTo>
                  <a:pt x="155" y="24"/>
                </a:lnTo>
                <a:lnTo>
                  <a:pt x="151" y="25"/>
                </a:lnTo>
                <a:lnTo>
                  <a:pt x="154" y="26"/>
                </a:lnTo>
                <a:lnTo>
                  <a:pt x="157" y="27"/>
                </a:lnTo>
                <a:lnTo>
                  <a:pt x="155" y="28"/>
                </a:lnTo>
                <a:lnTo>
                  <a:pt x="152" y="27"/>
                </a:lnTo>
                <a:lnTo>
                  <a:pt x="152" y="28"/>
                </a:lnTo>
                <a:lnTo>
                  <a:pt x="151" y="27"/>
                </a:lnTo>
                <a:lnTo>
                  <a:pt x="149" y="27"/>
                </a:lnTo>
                <a:lnTo>
                  <a:pt x="149" y="27"/>
                </a:lnTo>
                <a:lnTo>
                  <a:pt x="150" y="26"/>
                </a:lnTo>
                <a:lnTo>
                  <a:pt x="149" y="25"/>
                </a:lnTo>
                <a:lnTo>
                  <a:pt x="148" y="26"/>
                </a:lnTo>
                <a:lnTo>
                  <a:pt x="147" y="28"/>
                </a:lnTo>
                <a:lnTo>
                  <a:pt x="147" y="28"/>
                </a:lnTo>
                <a:lnTo>
                  <a:pt x="149" y="29"/>
                </a:lnTo>
                <a:lnTo>
                  <a:pt x="144" y="30"/>
                </a:lnTo>
                <a:lnTo>
                  <a:pt x="142" y="32"/>
                </a:lnTo>
                <a:lnTo>
                  <a:pt x="142" y="33"/>
                </a:lnTo>
                <a:lnTo>
                  <a:pt x="142" y="33"/>
                </a:lnTo>
                <a:lnTo>
                  <a:pt x="142" y="34"/>
                </a:lnTo>
                <a:lnTo>
                  <a:pt x="145" y="34"/>
                </a:lnTo>
                <a:lnTo>
                  <a:pt x="146" y="35"/>
                </a:lnTo>
                <a:lnTo>
                  <a:pt x="144" y="35"/>
                </a:lnTo>
                <a:lnTo>
                  <a:pt x="145" y="35"/>
                </a:lnTo>
                <a:lnTo>
                  <a:pt x="145" y="36"/>
                </a:lnTo>
                <a:lnTo>
                  <a:pt x="141" y="36"/>
                </a:lnTo>
                <a:lnTo>
                  <a:pt x="140" y="36"/>
                </a:lnTo>
                <a:lnTo>
                  <a:pt x="142" y="37"/>
                </a:lnTo>
                <a:lnTo>
                  <a:pt x="141" y="37"/>
                </a:lnTo>
                <a:lnTo>
                  <a:pt x="139" y="37"/>
                </a:lnTo>
                <a:lnTo>
                  <a:pt x="138" y="37"/>
                </a:lnTo>
                <a:lnTo>
                  <a:pt x="137" y="37"/>
                </a:lnTo>
                <a:lnTo>
                  <a:pt x="134" y="38"/>
                </a:lnTo>
                <a:lnTo>
                  <a:pt x="133" y="39"/>
                </a:lnTo>
                <a:lnTo>
                  <a:pt x="131" y="39"/>
                </a:lnTo>
                <a:lnTo>
                  <a:pt x="131" y="39"/>
                </a:lnTo>
                <a:lnTo>
                  <a:pt x="134" y="40"/>
                </a:lnTo>
                <a:lnTo>
                  <a:pt x="136" y="40"/>
                </a:lnTo>
                <a:lnTo>
                  <a:pt x="137" y="39"/>
                </a:lnTo>
                <a:lnTo>
                  <a:pt x="140" y="40"/>
                </a:lnTo>
                <a:lnTo>
                  <a:pt x="142" y="39"/>
                </a:lnTo>
                <a:lnTo>
                  <a:pt x="144" y="40"/>
                </a:lnTo>
                <a:lnTo>
                  <a:pt x="144" y="40"/>
                </a:lnTo>
                <a:lnTo>
                  <a:pt x="141" y="40"/>
                </a:lnTo>
                <a:lnTo>
                  <a:pt x="141" y="42"/>
                </a:lnTo>
                <a:lnTo>
                  <a:pt x="140" y="43"/>
                </a:lnTo>
                <a:lnTo>
                  <a:pt x="137" y="42"/>
                </a:lnTo>
                <a:lnTo>
                  <a:pt x="135" y="42"/>
                </a:lnTo>
                <a:lnTo>
                  <a:pt x="135" y="42"/>
                </a:lnTo>
                <a:lnTo>
                  <a:pt x="131" y="42"/>
                </a:lnTo>
                <a:lnTo>
                  <a:pt x="129" y="42"/>
                </a:lnTo>
                <a:lnTo>
                  <a:pt x="128" y="43"/>
                </a:lnTo>
                <a:lnTo>
                  <a:pt x="130" y="45"/>
                </a:lnTo>
                <a:lnTo>
                  <a:pt x="131" y="45"/>
                </a:lnTo>
                <a:lnTo>
                  <a:pt x="129" y="45"/>
                </a:lnTo>
                <a:lnTo>
                  <a:pt x="130" y="47"/>
                </a:lnTo>
                <a:lnTo>
                  <a:pt x="131" y="48"/>
                </a:lnTo>
                <a:lnTo>
                  <a:pt x="129" y="48"/>
                </a:lnTo>
                <a:lnTo>
                  <a:pt x="129" y="49"/>
                </a:lnTo>
                <a:lnTo>
                  <a:pt x="128" y="49"/>
                </a:lnTo>
                <a:lnTo>
                  <a:pt x="126" y="45"/>
                </a:lnTo>
                <a:lnTo>
                  <a:pt x="125" y="45"/>
                </a:lnTo>
                <a:lnTo>
                  <a:pt x="124" y="47"/>
                </a:lnTo>
                <a:lnTo>
                  <a:pt x="123" y="46"/>
                </a:lnTo>
                <a:lnTo>
                  <a:pt x="121" y="47"/>
                </a:lnTo>
                <a:lnTo>
                  <a:pt x="124" y="47"/>
                </a:lnTo>
                <a:lnTo>
                  <a:pt x="124" y="48"/>
                </a:lnTo>
                <a:lnTo>
                  <a:pt x="121" y="48"/>
                </a:lnTo>
                <a:lnTo>
                  <a:pt x="120" y="48"/>
                </a:lnTo>
                <a:lnTo>
                  <a:pt x="120" y="49"/>
                </a:lnTo>
                <a:lnTo>
                  <a:pt x="120" y="50"/>
                </a:lnTo>
                <a:lnTo>
                  <a:pt x="123" y="52"/>
                </a:lnTo>
                <a:lnTo>
                  <a:pt x="120" y="52"/>
                </a:lnTo>
                <a:lnTo>
                  <a:pt x="121" y="53"/>
                </a:lnTo>
                <a:lnTo>
                  <a:pt x="120" y="53"/>
                </a:lnTo>
                <a:lnTo>
                  <a:pt x="120" y="54"/>
                </a:lnTo>
                <a:lnTo>
                  <a:pt x="119" y="54"/>
                </a:lnTo>
                <a:lnTo>
                  <a:pt x="118" y="54"/>
                </a:lnTo>
                <a:lnTo>
                  <a:pt x="118" y="55"/>
                </a:lnTo>
                <a:lnTo>
                  <a:pt x="120" y="55"/>
                </a:lnTo>
                <a:lnTo>
                  <a:pt x="125" y="54"/>
                </a:lnTo>
                <a:lnTo>
                  <a:pt x="121" y="56"/>
                </a:lnTo>
                <a:lnTo>
                  <a:pt x="120" y="56"/>
                </a:lnTo>
                <a:lnTo>
                  <a:pt x="116" y="56"/>
                </a:lnTo>
                <a:lnTo>
                  <a:pt x="116" y="55"/>
                </a:lnTo>
                <a:lnTo>
                  <a:pt x="115" y="55"/>
                </a:lnTo>
                <a:lnTo>
                  <a:pt x="114" y="55"/>
                </a:lnTo>
                <a:lnTo>
                  <a:pt x="111" y="56"/>
                </a:lnTo>
                <a:lnTo>
                  <a:pt x="110" y="57"/>
                </a:lnTo>
                <a:lnTo>
                  <a:pt x="108" y="58"/>
                </a:lnTo>
                <a:lnTo>
                  <a:pt x="108" y="59"/>
                </a:lnTo>
                <a:lnTo>
                  <a:pt x="109" y="59"/>
                </a:lnTo>
                <a:lnTo>
                  <a:pt x="109" y="60"/>
                </a:lnTo>
                <a:lnTo>
                  <a:pt x="109" y="60"/>
                </a:lnTo>
                <a:lnTo>
                  <a:pt x="107" y="62"/>
                </a:lnTo>
                <a:lnTo>
                  <a:pt x="107" y="64"/>
                </a:lnTo>
                <a:lnTo>
                  <a:pt x="105" y="63"/>
                </a:lnTo>
                <a:lnTo>
                  <a:pt x="104" y="64"/>
                </a:lnTo>
                <a:lnTo>
                  <a:pt x="103" y="64"/>
                </a:lnTo>
                <a:lnTo>
                  <a:pt x="100" y="65"/>
                </a:lnTo>
                <a:lnTo>
                  <a:pt x="103" y="66"/>
                </a:lnTo>
                <a:lnTo>
                  <a:pt x="101" y="66"/>
                </a:lnTo>
                <a:lnTo>
                  <a:pt x="99" y="67"/>
                </a:lnTo>
                <a:lnTo>
                  <a:pt x="99" y="68"/>
                </a:lnTo>
                <a:lnTo>
                  <a:pt x="97" y="68"/>
                </a:lnTo>
                <a:lnTo>
                  <a:pt x="97" y="68"/>
                </a:lnTo>
                <a:lnTo>
                  <a:pt x="96" y="69"/>
                </a:lnTo>
                <a:lnTo>
                  <a:pt x="96" y="70"/>
                </a:lnTo>
                <a:lnTo>
                  <a:pt x="99" y="70"/>
                </a:lnTo>
                <a:lnTo>
                  <a:pt x="98" y="70"/>
                </a:lnTo>
                <a:lnTo>
                  <a:pt x="97" y="72"/>
                </a:lnTo>
                <a:lnTo>
                  <a:pt x="96" y="72"/>
                </a:lnTo>
                <a:lnTo>
                  <a:pt x="95" y="72"/>
                </a:lnTo>
                <a:lnTo>
                  <a:pt x="96" y="73"/>
                </a:lnTo>
                <a:lnTo>
                  <a:pt x="97" y="74"/>
                </a:lnTo>
                <a:lnTo>
                  <a:pt x="98" y="73"/>
                </a:lnTo>
                <a:lnTo>
                  <a:pt x="99" y="74"/>
                </a:lnTo>
                <a:lnTo>
                  <a:pt x="98" y="75"/>
                </a:lnTo>
                <a:lnTo>
                  <a:pt x="94" y="75"/>
                </a:lnTo>
                <a:lnTo>
                  <a:pt x="94" y="76"/>
                </a:lnTo>
                <a:lnTo>
                  <a:pt x="94" y="77"/>
                </a:lnTo>
                <a:lnTo>
                  <a:pt x="91" y="78"/>
                </a:lnTo>
                <a:lnTo>
                  <a:pt x="89" y="78"/>
                </a:lnTo>
                <a:lnTo>
                  <a:pt x="88" y="80"/>
                </a:lnTo>
                <a:lnTo>
                  <a:pt x="90" y="79"/>
                </a:lnTo>
                <a:lnTo>
                  <a:pt x="93" y="79"/>
                </a:lnTo>
                <a:lnTo>
                  <a:pt x="95" y="78"/>
                </a:lnTo>
                <a:lnTo>
                  <a:pt x="95" y="79"/>
                </a:lnTo>
                <a:lnTo>
                  <a:pt x="96" y="80"/>
                </a:lnTo>
                <a:lnTo>
                  <a:pt x="91" y="80"/>
                </a:lnTo>
                <a:lnTo>
                  <a:pt x="91" y="81"/>
                </a:lnTo>
                <a:lnTo>
                  <a:pt x="93" y="81"/>
                </a:lnTo>
                <a:lnTo>
                  <a:pt x="91" y="83"/>
                </a:lnTo>
                <a:lnTo>
                  <a:pt x="90" y="83"/>
                </a:lnTo>
                <a:lnTo>
                  <a:pt x="91" y="84"/>
                </a:lnTo>
                <a:lnTo>
                  <a:pt x="90" y="84"/>
                </a:lnTo>
                <a:lnTo>
                  <a:pt x="89" y="84"/>
                </a:lnTo>
                <a:lnTo>
                  <a:pt x="88" y="85"/>
                </a:lnTo>
                <a:lnTo>
                  <a:pt x="89" y="86"/>
                </a:lnTo>
                <a:lnTo>
                  <a:pt x="90" y="86"/>
                </a:lnTo>
                <a:lnTo>
                  <a:pt x="91" y="88"/>
                </a:lnTo>
                <a:lnTo>
                  <a:pt x="89" y="88"/>
                </a:lnTo>
                <a:lnTo>
                  <a:pt x="88" y="87"/>
                </a:lnTo>
                <a:lnTo>
                  <a:pt x="86" y="86"/>
                </a:lnTo>
                <a:lnTo>
                  <a:pt x="87" y="88"/>
                </a:lnTo>
                <a:lnTo>
                  <a:pt x="86" y="88"/>
                </a:lnTo>
                <a:lnTo>
                  <a:pt x="85" y="89"/>
                </a:lnTo>
                <a:lnTo>
                  <a:pt x="84" y="90"/>
                </a:lnTo>
                <a:lnTo>
                  <a:pt x="85" y="90"/>
                </a:lnTo>
                <a:lnTo>
                  <a:pt x="87" y="90"/>
                </a:lnTo>
                <a:lnTo>
                  <a:pt x="87" y="89"/>
                </a:lnTo>
                <a:lnTo>
                  <a:pt x="88" y="89"/>
                </a:lnTo>
                <a:lnTo>
                  <a:pt x="88" y="90"/>
                </a:lnTo>
                <a:lnTo>
                  <a:pt x="88" y="90"/>
                </a:lnTo>
                <a:lnTo>
                  <a:pt x="88" y="91"/>
                </a:lnTo>
                <a:lnTo>
                  <a:pt x="87" y="93"/>
                </a:lnTo>
                <a:lnTo>
                  <a:pt x="85" y="91"/>
                </a:lnTo>
                <a:lnTo>
                  <a:pt x="84" y="93"/>
                </a:lnTo>
                <a:lnTo>
                  <a:pt x="81" y="93"/>
                </a:lnTo>
                <a:lnTo>
                  <a:pt x="80" y="94"/>
                </a:lnTo>
                <a:lnTo>
                  <a:pt x="80" y="95"/>
                </a:lnTo>
                <a:lnTo>
                  <a:pt x="78" y="96"/>
                </a:lnTo>
                <a:lnTo>
                  <a:pt x="77" y="96"/>
                </a:lnTo>
                <a:lnTo>
                  <a:pt x="76" y="98"/>
                </a:lnTo>
                <a:lnTo>
                  <a:pt x="78" y="98"/>
                </a:lnTo>
                <a:lnTo>
                  <a:pt x="80" y="97"/>
                </a:lnTo>
                <a:lnTo>
                  <a:pt x="80" y="98"/>
                </a:lnTo>
                <a:lnTo>
                  <a:pt x="77" y="99"/>
                </a:lnTo>
                <a:lnTo>
                  <a:pt x="77" y="100"/>
                </a:lnTo>
                <a:lnTo>
                  <a:pt x="78" y="101"/>
                </a:lnTo>
                <a:lnTo>
                  <a:pt x="77" y="103"/>
                </a:lnTo>
                <a:lnTo>
                  <a:pt x="75" y="103"/>
                </a:lnTo>
                <a:lnTo>
                  <a:pt x="71" y="101"/>
                </a:lnTo>
                <a:lnTo>
                  <a:pt x="71" y="101"/>
                </a:lnTo>
                <a:lnTo>
                  <a:pt x="69" y="104"/>
                </a:lnTo>
                <a:lnTo>
                  <a:pt x="67" y="104"/>
                </a:lnTo>
                <a:lnTo>
                  <a:pt x="67" y="105"/>
                </a:lnTo>
                <a:lnTo>
                  <a:pt x="65" y="106"/>
                </a:lnTo>
                <a:lnTo>
                  <a:pt x="61" y="109"/>
                </a:lnTo>
                <a:lnTo>
                  <a:pt x="61" y="109"/>
                </a:lnTo>
                <a:lnTo>
                  <a:pt x="63" y="110"/>
                </a:lnTo>
                <a:lnTo>
                  <a:pt x="63" y="111"/>
                </a:lnTo>
                <a:lnTo>
                  <a:pt x="57" y="113"/>
                </a:lnTo>
                <a:lnTo>
                  <a:pt x="57" y="115"/>
                </a:lnTo>
                <a:lnTo>
                  <a:pt x="58" y="115"/>
                </a:lnTo>
                <a:lnTo>
                  <a:pt x="61" y="115"/>
                </a:lnTo>
                <a:lnTo>
                  <a:pt x="60" y="116"/>
                </a:lnTo>
                <a:lnTo>
                  <a:pt x="61" y="118"/>
                </a:lnTo>
                <a:lnTo>
                  <a:pt x="64" y="118"/>
                </a:lnTo>
                <a:lnTo>
                  <a:pt x="71" y="115"/>
                </a:lnTo>
                <a:lnTo>
                  <a:pt x="76" y="114"/>
                </a:lnTo>
                <a:lnTo>
                  <a:pt x="77" y="113"/>
                </a:lnTo>
                <a:lnTo>
                  <a:pt x="78" y="113"/>
                </a:lnTo>
                <a:lnTo>
                  <a:pt x="77" y="114"/>
                </a:lnTo>
                <a:lnTo>
                  <a:pt x="75" y="115"/>
                </a:lnTo>
                <a:lnTo>
                  <a:pt x="73" y="115"/>
                </a:lnTo>
                <a:lnTo>
                  <a:pt x="70" y="116"/>
                </a:lnTo>
                <a:lnTo>
                  <a:pt x="69" y="117"/>
                </a:lnTo>
                <a:lnTo>
                  <a:pt x="70" y="118"/>
                </a:lnTo>
                <a:lnTo>
                  <a:pt x="70" y="118"/>
                </a:lnTo>
                <a:lnTo>
                  <a:pt x="66" y="119"/>
                </a:lnTo>
                <a:lnTo>
                  <a:pt x="64" y="119"/>
                </a:lnTo>
                <a:lnTo>
                  <a:pt x="63" y="119"/>
                </a:lnTo>
                <a:lnTo>
                  <a:pt x="64" y="120"/>
                </a:lnTo>
                <a:lnTo>
                  <a:pt x="63" y="120"/>
                </a:lnTo>
                <a:lnTo>
                  <a:pt x="60" y="120"/>
                </a:lnTo>
                <a:lnTo>
                  <a:pt x="60" y="119"/>
                </a:lnTo>
                <a:lnTo>
                  <a:pt x="58" y="117"/>
                </a:lnTo>
                <a:lnTo>
                  <a:pt x="57" y="117"/>
                </a:lnTo>
                <a:lnTo>
                  <a:pt x="56" y="117"/>
                </a:lnTo>
                <a:lnTo>
                  <a:pt x="56" y="117"/>
                </a:lnTo>
                <a:lnTo>
                  <a:pt x="54" y="117"/>
                </a:lnTo>
                <a:lnTo>
                  <a:pt x="53" y="118"/>
                </a:lnTo>
                <a:lnTo>
                  <a:pt x="53" y="119"/>
                </a:lnTo>
                <a:lnTo>
                  <a:pt x="54" y="120"/>
                </a:lnTo>
                <a:lnTo>
                  <a:pt x="55" y="120"/>
                </a:lnTo>
                <a:lnTo>
                  <a:pt x="52" y="121"/>
                </a:lnTo>
                <a:lnTo>
                  <a:pt x="50" y="120"/>
                </a:lnTo>
                <a:lnTo>
                  <a:pt x="50" y="119"/>
                </a:lnTo>
                <a:lnTo>
                  <a:pt x="50" y="118"/>
                </a:lnTo>
                <a:lnTo>
                  <a:pt x="44" y="120"/>
                </a:lnTo>
                <a:lnTo>
                  <a:pt x="44" y="120"/>
                </a:lnTo>
                <a:lnTo>
                  <a:pt x="43" y="123"/>
                </a:lnTo>
                <a:lnTo>
                  <a:pt x="42" y="123"/>
                </a:lnTo>
                <a:lnTo>
                  <a:pt x="42" y="124"/>
                </a:lnTo>
                <a:lnTo>
                  <a:pt x="42" y="124"/>
                </a:lnTo>
                <a:lnTo>
                  <a:pt x="39" y="124"/>
                </a:lnTo>
                <a:lnTo>
                  <a:pt x="39" y="124"/>
                </a:lnTo>
                <a:lnTo>
                  <a:pt x="38" y="123"/>
                </a:lnTo>
                <a:lnTo>
                  <a:pt x="38" y="123"/>
                </a:lnTo>
                <a:lnTo>
                  <a:pt x="37" y="124"/>
                </a:lnTo>
                <a:lnTo>
                  <a:pt x="37" y="124"/>
                </a:lnTo>
                <a:lnTo>
                  <a:pt x="37" y="125"/>
                </a:lnTo>
                <a:lnTo>
                  <a:pt x="35" y="125"/>
                </a:lnTo>
                <a:lnTo>
                  <a:pt x="32" y="125"/>
                </a:lnTo>
                <a:lnTo>
                  <a:pt x="32" y="127"/>
                </a:lnTo>
                <a:lnTo>
                  <a:pt x="30" y="128"/>
                </a:lnTo>
                <a:lnTo>
                  <a:pt x="28" y="128"/>
                </a:lnTo>
                <a:lnTo>
                  <a:pt x="27" y="128"/>
                </a:lnTo>
                <a:lnTo>
                  <a:pt x="25" y="129"/>
                </a:lnTo>
                <a:lnTo>
                  <a:pt x="24" y="129"/>
                </a:lnTo>
                <a:lnTo>
                  <a:pt x="26" y="130"/>
                </a:lnTo>
                <a:lnTo>
                  <a:pt x="25" y="131"/>
                </a:lnTo>
                <a:lnTo>
                  <a:pt x="27" y="131"/>
                </a:lnTo>
                <a:lnTo>
                  <a:pt x="30" y="131"/>
                </a:lnTo>
                <a:lnTo>
                  <a:pt x="30" y="133"/>
                </a:lnTo>
                <a:lnTo>
                  <a:pt x="33" y="133"/>
                </a:lnTo>
                <a:lnTo>
                  <a:pt x="30" y="134"/>
                </a:lnTo>
                <a:lnTo>
                  <a:pt x="32" y="135"/>
                </a:lnTo>
                <a:lnTo>
                  <a:pt x="29" y="134"/>
                </a:lnTo>
                <a:lnTo>
                  <a:pt x="28" y="134"/>
                </a:lnTo>
                <a:lnTo>
                  <a:pt x="23" y="134"/>
                </a:lnTo>
                <a:lnTo>
                  <a:pt x="20" y="134"/>
                </a:lnTo>
                <a:lnTo>
                  <a:pt x="19" y="134"/>
                </a:lnTo>
                <a:lnTo>
                  <a:pt x="18" y="134"/>
                </a:lnTo>
                <a:lnTo>
                  <a:pt x="17" y="135"/>
                </a:lnTo>
                <a:lnTo>
                  <a:pt x="17" y="135"/>
                </a:lnTo>
                <a:lnTo>
                  <a:pt x="18" y="135"/>
                </a:lnTo>
                <a:lnTo>
                  <a:pt x="17" y="136"/>
                </a:lnTo>
                <a:lnTo>
                  <a:pt x="17" y="136"/>
                </a:lnTo>
                <a:lnTo>
                  <a:pt x="19" y="136"/>
                </a:lnTo>
                <a:lnTo>
                  <a:pt x="20" y="136"/>
                </a:lnTo>
                <a:lnTo>
                  <a:pt x="18" y="137"/>
                </a:lnTo>
                <a:lnTo>
                  <a:pt x="19" y="138"/>
                </a:lnTo>
                <a:lnTo>
                  <a:pt x="20" y="140"/>
                </a:lnTo>
                <a:lnTo>
                  <a:pt x="19" y="140"/>
                </a:lnTo>
                <a:lnTo>
                  <a:pt x="18" y="139"/>
                </a:lnTo>
                <a:lnTo>
                  <a:pt x="17" y="138"/>
                </a:lnTo>
                <a:lnTo>
                  <a:pt x="15" y="139"/>
                </a:lnTo>
                <a:lnTo>
                  <a:pt x="14" y="140"/>
                </a:lnTo>
                <a:lnTo>
                  <a:pt x="13" y="141"/>
                </a:lnTo>
                <a:lnTo>
                  <a:pt x="14" y="141"/>
                </a:lnTo>
                <a:lnTo>
                  <a:pt x="15" y="143"/>
                </a:lnTo>
                <a:lnTo>
                  <a:pt x="13" y="143"/>
                </a:lnTo>
                <a:lnTo>
                  <a:pt x="12" y="141"/>
                </a:lnTo>
                <a:lnTo>
                  <a:pt x="9" y="141"/>
                </a:lnTo>
                <a:lnTo>
                  <a:pt x="7" y="141"/>
                </a:lnTo>
                <a:lnTo>
                  <a:pt x="6" y="143"/>
                </a:lnTo>
                <a:lnTo>
                  <a:pt x="7" y="143"/>
                </a:lnTo>
                <a:lnTo>
                  <a:pt x="3" y="141"/>
                </a:lnTo>
                <a:lnTo>
                  <a:pt x="3" y="141"/>
                </a:lnTo>
                <a:lnTo>
                  <a:pt x="4" y="144"/>
                </a:lnTo>
                <a:lnTo>
                  <a:pt x="3" y="145"/>
                </a:lnTo>
                <a:lnTo>
                  <a:pt x="4" y="145"/>
                </a:lnTo>
                <a:lnTo>
                  <a:pt x="9" y="145"/>
                </a:lnTo>
                <a:lnTo>
                  <a:pt x="16" y="144"/>
                </a:lnTo>
                <a:lnTo>
                  <a:pt x="12" y="145"/>
                </a:lnTo>
                <a:lnTo>
                  <a:pt x="13" y="146"/>
                </a:lnTo>
                <a:lnTo>
                  <a:pt x="15" y="146"/>
                </a:lnTo>
                <a:lnTo>
                  <a:pt x="17" y="145"/>
                </a:lnTo>
                <a:lnTo>
                  <a:pt x="18" y="146"/>
                </a:lnTo>
                <a:lnTo>
                  <a:pt x="16" y="146"/>
                </a:lnTo>
                <a:lnTo>
                  <a:pt x="13" y="147"/>
                </a:lnTo>
                <a:lnTo>
                  <a:pt x="8" y="147"/>
                </a:lnTo>
                <a:lnTo>
                  <a:pt x="7" y="146"/>
                </a:lnTo>
                <a:lnTo>
                  <a:pt x="6" y="146"/>
                </a:lnTo>
                <a:lnTo>
                  <a:pt x="4" y="147"/>
                </a:lnTo>
                <a:lnTo>
                  <a:pt x="3" y="148"/>
                </a:lnTo>
                <a:lnTo>
                  <a:pt x="2" y="148"/>
                </a:lnTo>
                <a:lnTo>
                  <a:pt x="0" y="148"/>
                </a:lnTo>
                <a:lnTo>
                  <a:pt x="0" y="149"/>
                </a:lnTo>
                <a:lnTo>
                  <a:pt x="4" y="150"/>
                </a:lnTo>
                <a:lnTo>
                  <a:pt x="4" y="150"/>
                </a:lnTo>
                <a:lnTo>
                  <a:pt x="4" y="151"/>
                </a:lnTo>
                <a:lnTo>
                  <a:pt x="3" y="153"/>
                </a:lnTo>
                <a:lnTo>
                  <a:pt x="2" y="154"/>
                </a:lnTo>
                <a:lnTo>
                  <a:pt x="2" y="155"/>
                </a:lnTo>
                <a:lnTo>
                  <a:pt x="2" y="155"/>
                </a:lnTo>
                <a:lnTo>
                  <a:pt x="2" y="156"/>
                </a:lnTo>
                <a:lnTo>
                  <a:pt x="3" y="157"/>
                </a:lnTo>
                <a:lnTo>
                  <a:pt x="3" y="158"/>
                </a:lnTo>
                <a:lnTo>
                  <a:pt x="6" y="158"/>
                </a:lnTo>
                <a:lnTo>
                  <a:pt x="13" y="157"/>
                </a:lnTo>
                <a:lnTo>
                  <a:pt x="15" y="157"/>
                </a:lnTo>
                <a:lnTo>
                  <a:pt x="17" y="157"/>
                </a:lnTo>
                <a:lnTo>
                  <a:pt x="18" y="156"/>
                </a:lnTo>
                <a:lnTo>
                  <a:pt x="19" y="154"/>
                </a:lnTo>
                <a:lnTo>
                  <a:pt x="20" y="155"/>
                </a:lnTo>
                <a:lnTo>
                  <a:pt x="19" y="157"/>
                </a:lnTo>
                <a:lnTo>
                  <a:pt x="20" y="157"/>
                </a:lnTo>
                <a:lnTo>
                  <a:pt x="24" y="157"/>
                </a:lnTo>
                <a:lnTo>
                  <a:pt x="25" y="157"/>
                </a:lnTo>
                <a:lnTo>
                  <a:pt x="26" y="157"/>
                </a:lnTo>
                <a:lnTo>
                  <a:pt x="29" y="156"/>
                </a:lnTo>
                <a:lnTo>
                  <a:pt x="29" y="153"/>
                </a:lnTo>
                <a:lnTo>
                  <a:pt x="33" y="151"/>
                </a:lnTo>
                <a:lnTo>
                  <a:pt x="33" y="151"/>
                </a:lnTo>
                <a:lnTo>
                  <a:pt x="30" y="154"/>
                </a:lnTo>
                <a:lnTo>
                  <a:pt x="30" y="156"/>
                </a:lnTo>
                <a:lnTo>
                  <a:pt x="30" y="156"/>
                </a:lnTo>
                <a:lnTo>
                  <a:pt x="32" y="156"/>
                </a:lnTo>
                <a:lnTo>
                  <a:pt x="33" y="156"/>
                </a:lnTo>
                <a:lnTo>
                  <a:pt x="35" y="156"/>
                </a:lnTo>
                <a:lnTo>
                  <a:pt x="32" y="158"/>
                </a:lnTo>
                <a:lnTo>
                  <a:pt x="27" y="158"/>
                </a:lnTo>
                <a:lnTo>
                  <a:pt x="27" y="160"/>
                </a:lnTo>
                <a:lnTo>
                  <a:pt x="28" y="160"/>
                </a:lnTo>
                <a:lnTo>
                  <a:pt x="25" y="163"/>
                </a:lnTo>
                <a:lnTo>
                  <a:pt x="25" y="160"/>
                </a:lnTo>
                <a:lnTo>
                  <a:pt x="25" y="159"/>
                </a:lnTo>
                <a:lnTo>
                  <a:pt x="22" y="158"/>
                </a:lnTo>
                <a:lnTo>
                  <a:pt x="19" y="158"/>
                </a:lnTo>
                <a:lnTo>
                  <a:pt x="17" y="159"/>
                </a:lnTo>
                <a:lnTo>
                  <a:pt x="14" y="158"/>
                </a:lnTo>
                <a:lnTo>
                  <a:pt x="12" y="159"/>
                </a:lnTo>
                <a:lnTo>
                  <a:pt x="9" y="159"/>
                </a:lnTo>
                <a:lnTo>
                  <a:pt x="8" y="160"/>
                </a:lnTo>
                <a:lnTo>
                  <a:pt x="4" y="159"/>
                </a:lnTo>
                <a:lnTo>
                  <a:pt x="3" y="161"/>
                </a:lnTo>
                <a:lnTo>
                  <a:pt x="2" y="163"/>
                </a:lnTo>
                <a:lnTo>
                  <a:pt x="4" y="163"/>
                </a:lnTo>
                <a:lnTo>
                  <a:pt x="5" y="163"/>
                </a:lnTo>
                <a:lnTo>
                  <a:pt x="5" y="165"/>
                </a:lnTo>
                <a:lnTo>
                  <a:pt x="4" y="164"/>
                </a:lnTo>
                <a:lnTo>
                  <a:pt x="2" y="164"/>
                </a:lnTo>
                <a:lnTo>
                  <a:pt x="2" y="164"/>
                </a:lnTo>
                <a:lnTo>
                  <a:pt x="2" y="164"/>
                </a:lnTo>
                <a:lnTo>
                  <a:pt x="2" y="164"/>
                </a:lnTo>
                <a:lnTo>
                  <a:pt x="4" y="167"/>
                </a:lnTo>
                <a:lnTo>
                  <a:pt x="5" y="167"/>
                </a:lnTo>
                <a:lnTo>
                  <a:pt x="8" y="166"/>
                </a:lnTo>
                <a:lnTo>
                  <a:pt x="10" y="165"/>
                </a:lnTo>
                <a:lnTo>
                  <a:pt x="7" y="167"/>
                </a:lnTo>
                <a:lnTo>
                  <a:pt x="6" y="168"/>
                </a:lnTo>
                <a:lnTo>
                  <a:pt x="7" y="169"/>
                </a:lnTo>
                <a:lnTo>
                  <a:pt x="5" y="170"/>
                </a:lnTo>
                <a:lnTo>
                  <a:pt x="4" y="170"/>
                </a:lnTo>
                <a:lnTo>
                  <a:pt x="4" y="171"/>
                </a:lnTo>
                <a:lnTo>
                  <a:pt x="5" y="173"/>
                </a:lnTo>
                <a:lnTo>
                  <a:pt x="6" y="174"/>
                </a:lnTo>
                <a:lnTo>
                  <a:pt x="7" y="173"/>
                </a:lnTo>
                <a:lnTo>
                  <a:pt x="8" y="171"/>
                </a:lnTo>
                <a:lnTo>
                  <a:pt x="8" y="174"/>
                </a:lnTo>
                <a:lnTo>
                  <a:pt x="10" y="176"/>
                </a:lnTo>
                <a:lnTo>
                  <a:pt x="9" y="176"/>
                </a:lnTo>
                <a:lnTo>
                  <a:pt x="7" y="177"/>
                </a:lnTo>
                <a:lnTo>
                  <a:pt x="7" y="177"/>
                </a:lnTo>
                <a:lnTo>
                  <a:pt x="8" y="178"/>
                </a:lnTo>
                <a:lnTo>
                  <a:pt x="10" y="177"/>
                </a:lnTo>
                <a:lnTo>
                  <a:pt x="12" y="175"/>
                </a:lnTo>
                <a:lnTo>
                  <a:pt x="12" y="174"/>
                </a:lnTo>
                <a:lnTo>
                  <a:pt x="14" y="173"/>
                </a:lnTo>
                <a:lnTo>
                  <a:pt x="16" y="170"/>
                </a:lnTo>
                <a:lnTo>
                  <a:pt x="18" y="168"/>
                </a:lnTo>
                <a:lnTo>
                  <a:pt x="20" y="166"/>
                </a:lnTo>
                <a:lnTo>
                  <a:pt x="22" y="167"/>
                </a:lnTo>
                <a:lnTo>
                  <a:pt x="22" y="168"/>
                </a:lnTo>
                <a:lnTo>
                  <a:pt x="25" y="167"/>
                </a:lnTo>
                <a:lnTo>
                  <a:pt x="27" y="167"/>
                </a:lnTo>
                <a:lnTo>
                  <a:pt x="23" y="168"/>
                </a:lnTo>
                <a:lnTo>
                  <a:pt x="23" y="170"/>
                </a:lnTo>
                <a:lnTo>
                  <a:pt x="23" y="171"/>
                </a:lnTo>
                <a:lnTo>
                  <a:pt x="22" y="169"/>
                </a:lnTo>
                <a:lnTo>
                  <a:pt x="20" y="169"/>
                </a:lnTo>
                <a:lnTo>
                  <a:pt x="18" y="171"/>
                </a:lnTo>
                <a:lnTo>
                  <a:pt x="16" y="173"/>
                </a:lnTo>
                <a:lnTo>
                  <a:pt x="18" y="174"/>
                </a:lnTo>
                <a:lnTo>
                  <a:pt x="18" y="175"/>
                </a:lnTo>
                <a:lnTo>
                  <a:pt x="15" y="175"/>
                </a:lnTo>
                <a:lnTo>
                  <a:pt x="10" y="179"/>
                </a:lnTo>
                <a:lnTo>
                  <a:pt x="13" y="179"/>
                </a:lnTo>
                <a:lnTo>
                  <a:pt x="17" y="179"/>
                </a:lnTo>
                <a:lnTo>
                  <a:pt x="18" y="179"/>
                </a:lnTo>
                <a:lnTo>
                  <a:pt x="19" y="179"/>
                </a:lnTo>
                <a:lnTo>
                  <a:pt x="14" y="180"/>
                </a:lnTo>
                <a:lnTo>
                  <a:pt x="13" y="181"/>
                </a:lnTo>
                <a:lnTo>
                  <a:pt x="13" y="182"/>
                </a:lnTo>
                <a:lnTo>
                  <a:pt x="10" y="182"/>
                </a:lnTo>
                <a:lnTo>
                  <a:pt x="9" y="182"/>
                </a:lnTo>
                <a:lnTo>
                  <a:pt x="8" y="182"/>
                </a:lnTo>
                <a:lnTo>
                  <a:pt x="6" y="184"/>
                </a:lnTo>
                <a:lnTo>
                  <a:pt x="5" y="186"/>
                </a:lnTo>
                <a:lnTo>
                  <a:pt x="5" y="187"/>
                </a:lnTo>
                <a:lnTo>
                  <a:pt x="6" y="187"/>
                </a:lnTo>
                <a:lnTo>
                  <a:pt x="6" y="188"/>
                </a:lnTo>
                <a:lnTo>
                  <a:pt x="8" y="188"/>
                </a:lnTo>
                <a:lnTo>
                  <a:pt x="9" y="186"/>
                </a:lnTo>
                <a:lnTo>
                  <a:pt x="9" y="188"/>
                </a:lnTo>
                <a:lnTo>
                  <a:pt x="12" y="188"/>
                </a:lnTo>
                <a:lnTo>
                  <a:pt x="12" y="187"/>
                </a:lnTo>
                <a:lnTo>
                  <a:pt x="12" y="186"/>
                </a:lnTo>
                <a:lnTo>
                  <a:pt x="14" y="187"/>
                </a:lnTo>
                <a:lnTo>
                  <a:pt x="16" y="185"/>
                </a:lnTo>
                <a:lnTo>
                  <a:pt x="18" y="185"/>
                </a:lnTo>
                <a:lnTo>
                  <a:pt x="19" y="185"/>
                </a:lnTo>
                <a:lnTo>
                  <a:pt x="16" y="187"/>
                </a:lnTo>
                <a:lnTo>
                  <a:pt x="17" y="187"/>
                </a:lnTo>
                <a:lnTo>
                  <a:pt x="17" y="189"/>
                </a:lnTo>
                <a:lnTo>
                  <a:pt x="16" y="190"/>
                </a:lnTo>
                <a:lnTo>
                  <a:pt x="15" y="191"/>
                </a:lnTo>
                <a:lnTo>
                  <a:pt x="14" y="192"/>
                </a:lnTo>
                <a:lnTo>
                  <a:pt x="14" y="194"/>
                </a:lnTo>
                <a:lnTo>
                  <a:pt x="14" y="195"/>
                </a:lnTo>
                <a:lnTo>
                  <a:pt x="13" y="194"/>
                </a:lnTo>
                <a:lnTo>
                  <a:pt x="12" y="195"/>
                </a:lnTo>
                <a:lnTo>
                  <a:pt x="10" y="194"/>
                </a:lnTo>
                <a:lnTo>
                  <a:pt x="10" y="194"/>
                </a:lnTo>
                <a:lnTo>
                  <a:pt x="8" y="198"/>
                </a:lnTo>
                <a:lnTo>
                  <a:pt x="12" y="201"/>
                </a:lnTo>
                <a:lnTo>
                  <a:pt x="17" y="204"/>
                </a:lnTo>
                <a:lnTo>
                  <a:pt x="20" y="206"/>
                </a:lnTo>
                <a:lnTo>
                  <a:pt x="23" y="206"/>
                </a:lnTo>
                <a:lnTo>
                  <a:pt x="25" y="204"/>
                </a:lnTo>
                <a:lnTo>
                  <a:pt x="25" y="207"/>
                </a:lnTo>
                <a:lnTo>
                  <a:pt x="24" y="209"/>
                </a:lnTo>
                <a:lnTo>
                  <a:pt x="26" y="208"/>
                </a:lnTo>
                <a:lnTo>
                  <a:pt x="28" y="209"/>
                </a:lnTo>
                <a:lnTo>
                  <a:pt x="28" y="207"/>
                </a:lnTo>
                <a:lnTo>
                  <a:pt x="33" y="207"/>
                </a:lnTo>
                <a:lnTo>
                  <a:pt x="30" y="209"/>
                </a:lnTo>
                <a:lnTo>
                  <a:pt x="35" y="210"/>
                </a:lnTo>
                <a:lnTo>
                  <a:pt x="37" y="209"/>
                </a:lnTo>
                <a:lnTo>
                  <a:pt x="40" y="207"/>
                </a:lnTo>
                <a:lnTo>
                  <a:pt x="42" y="205"/>
                </a:lnTo>
                <a:lnTo>
                  <a:pt x="43" y="207"/>
                </a:lnTo>
                <a:lnTo>
                  <a:pt x="48" y="205"/>
                </a:lnTo>
                <a:lnTo>
                  <a:pt x="53" y="200"/>
                </a:lnTo>
                <a:lnTo>
                  <a:pt x="55" y="199"/>
                </a:lnTo>
                <a:lnTo>
                  <a:pt x="56" y="198"/>
                </a:lnTo>
                <a:lnTo>
                  <a:pt x="57" y="197"/>
                </a:lnTo>
                <a:lnTo>
                  <a:pt x="58" y="196"/>
                </a:lnTo>
                <a:lnTo>
                  <a:pt x="61" y="194"/>
                </a:lnTo>
                <a:lnTo>
                  <a:pt x="60" y="191"/>
                </a:lnTo>
                <a:lnTo>
                  <a:pt x="64" y="192"/>
                </a:lnTo>
                <a:lnTo>
                  <a:pt x="67" y="192"/>
                </a:lnTo>
                <a:lnTo>
                  <a:pt x="68" y="192"/>
                </a:lnTo>
                <a:lnTo>
                  <a:pt x="69" y="190"/>
                </a:lnTo>
                <a:lnTo>
                  <a:pt x="69" y="189"/>
                </a:lnTo>
                <a:lnTo>
                  <a:pt x="71" y="188"/>
                </a:lnTo>
                <a:lnTo>
                  <a:pt x="70" y="187"/>
                </a:lnTo>
                <a:lnTo>
                  <a:pt x="69" y="186"/>
                </a:lnTo>
                <a:lnTo>
                  <a:pt x="68" y="185"/>
                </a:lnTo>
                <a:lnTo>
                  <a:pt x="69" y="184"/>
                </a:lnTo>
                <a:lnTo>
                  <a:pt x="69" y="184"/>
                </a:lnTo>
                <a:lnTo>
                  <a:pt x="68" y="181"/>
                </a:lnTo>
                <a:lnTo>
                  <a:pt x="69" y="181"/>
                </a:lnTo>
                <a:lnTo>
                  <a:pt x="70" y="182"/>
                </a:lnTo>
                <a:lnTo>
                  <a:pt x="70" y="185"/>
                </a:lnTo>
                <a:lnTo>
                  <a:pt x="71" y="184"/>
                </a:lnTo>
                <a:lnTo>
                  <a:pt x="73" y="182"/>
                </a:lnTo>
                <a:lnTo>
                  <a:pt x="71" y="181"/>
                </a:lnTo>
                <a:lnTo>
                  <a:pt x="70" y="179"/>
                </a:lnTo>
                <a:lnTo>
                  <a:pt x="71" y="179"/>
                </a:lnTo>
                <a:lnTo>
                  <a:pt x="71" y="179"/>
                </a:lnTo>
                <a:lnTo>
                  <a:pt x="73" y="178"/>
                </a:lnTo>
                <a:lnTo>
                  <a:pt x="74" y="179"/>
                </a:lnTo>
                <a:lnTo>
                  <a:pt x="75" y="180"/>
                </a:lnTo>
                <a:lnTo>
                  <a:pt x="73" y="180"/>
                </a:lnTo>
                <a:lnTo>
                  <a:pt x="73" y="181"/>
                </a:lnTo>
                <a:lnTo>
                  <a:pt x="74" y="184"/>
                </a:lnTo>
                <a:lnTo>
                  <a:pt x="74" y="188"/>
                </a:lnTo>
                <a:lnTo>
                  <a:pt x="75" y="189"/>
                </a:lnTo>
                <a:lnTo>
                  <a:pt x="77" y="189"/>
                </a:lnTo>
                <a:lnTo>
                  <a:pt x="79" y="190"/>
                </a:lnTo>
                <a:lnTo>
                  <a:pt x="80" y="190"/>
                </a:lnTo>
                <a:lnTo>
                  <a:pt x="81" y="191"/>
                </a:lnTo>
                <a:lnTo>
                  <a:pt x="83" y="192"/>
                </a:lnTo>
                <a:lnTo>
                  <a:pt x="83" y="196"/>
                </a:lnTo>
                <a:lnTo>
                  <a:pt x="83" y="194"/>
                </a:lnTo>
                <a:lnTo>
                  <a:pt x="84" y="195"/>
                </a:lnTo>
                <a:lnTo>
                  <a:pt x="86" y="194"/>
                </a:lnTo>
                <a:lnTo>
                  <a:pt x="87" y="188"/>
                </a:lnTo>
                <a:lnTo>
                  <a:pt x="86" y="186"/>
                </a:lnTo>
                <a:lnTo>
                  <a:pt x="86" y="184"/>
                </a:lnTo>
                <a:lnTo>
                  <a:pt x="88" y="180"/>
                </a:lnTo>
                <a:lnTo>
                  <a:pt x="88" y="178"/>
                </a:lnTo>
                <a:lnTo>
                  <a:pt x="95" y="177"/>
                </a:lnTo>
                <a:lnTo>
                  <a:pt x="96" y="175"/>
                </a:lnTo>
                <a:lnTo>
                  <a:pt x="96" y="173"/>
                </a:lnTo>
                <a:lnTo>
                  <a:pt x="95" y="171"/>
                </a:lnTo>
                <a:lnTo>
                  <a:pt x="96" y="167"/>
                </a:lnTo>
                <a:lnTo>
                  <a:pt x="94" y="163"/>
                </a:lnTo>
                <a:lnTo>
                  <a:pt x="91" y="160"/>
                </a:lnTo>
                <a:lnTo>
                  <a:pt x="91" y="159"/>
                </a:lnTo>
                <a:lnTo>
                  <a:pt x="95" y="158"/>
                </a:lnTo>
                <a:lnTo>
                  <a:pt x="97" y="157"/>
                </a:lnTo>
                <a:lnTo>
                  <a:pt x="98" y="154"/>
                </a:lnTo>
                <a:lnTo>
                  <a:pt x="97" y="151"/>
                </a:lnTo>
                <a:lnTo>
                  <a:pt x="93" y="149"/>
                </a:lnTo>
                <a:lnTo>
                  <a:pt x="90" y="147"/>
                </a:lnTo>
                <a:lnTo>
                  <a:pt x="89" y="144"/>
                </a:lnTo>
                <a:lnTo>
                  <a:pt x="89" y="138"/>
                </a:lnTo>
                <a:lnTo>
                  <a:pt x="88" y="136"/>
                </a:lnTo>
                <a:lnTo>
                  <a:pt x="87" y="136"/>
                </a:lnTo>
                <a:lnTo>
                  <a:pt x="87" y="134"/>
                </a:lnTo>
                <a:lnTo>
                  <a:pt x="88" y="133"/>
                </a:lnTo>
                <a:lnTo>
                  <a:pt x="88" y="130"/>
                </a:lnTo>
                <a:lnTo>
                  <a:pt x="88" y="128"/>
                </a:lnTo>
                <a:lnTo>
                  <a:pt x="88" y="127"/>
                </a:lnTo>
                <a:lnTo>
                  <a:pt x="89" y="126"/>
                </a:lnTo>
                <a:lnTo>
                  <a:pt x="88" y="125"/>
                </a:lnTo>
                <a:lnTo>
                  <a:pt x="87" y="123"/>
                </a:lnTo>
                <a:lnTo>
                  <a:pt x="86" y="120"/>
                </a:lnTo>
                <a:lnTo>
                  <a:pt x="87" y="118"/>
                </a:lnTo>
                <a:lnTo>
                  <a:pt x="88" y="116"/>
                </a:lnTo>
                <a:lnTo>
                  <a:pt x="93" y="113"/>
                </a:lnTo>
                <a:lnTo>
                  <a:pt x="97" y="110"/>
                </a:lnTo>
                <a:lnTo>
                  <a:pt x="101" y="110"/>
                </a:lnTo>
                <a:lnTo>
                  <a:pt x="106" y="110"/>
                </a:lnTo>
                <a:lnTo>
                  <a:pt x="109" y="110"/>
                </a:lnTo>
                <a:lnTo>
                  <a:pt x="110" y="109"/>
                </a:lnTo>
                <a:lnTo>
                  <a:pt x="111" y="107"/>
                </a:lnTo>
                <a:lnTo>
                  <a:pt x="111" y="105"/>
                </a:lnTo>
                <a:lnTo>
                  <a:pt x="109" y="104"/>
                </a:lnTo>
                <a:lnTo>
                  <a:pt x="106" y="101"/>
                </a:lnTo>
                <a:lnTo>
                  <a:pt x="106" y="100"/>
                </a:lnTo>
                <a:lnTo>
                  <a:pt x="109" y="96"/>
                </a:lnTo>
                <a:lnTo>
                  <a:pt x="113" y="91"/>
                </a:lnTo>
                <a:lnTo>
                  <a:pt x="114" y="86"/>
                </a:lnTo>
                <a:lnTo>
                  <a:pt x="114" y="83"/>
                </a:lnTo>
                <a:lnTo>
                  <a:pt x="114" y="79"/>
                </a:lnTo>
                <a:lnTo>
                  <a:pt x="113" y="78"/>
                </a:lnTo>
                <a:lnTo>
                  <a:pt x="115" y="77"/>
                </a:lnTo>
                <a:lnTo>
                  <a:pt x="117" y="77"/>
                </a:lnTo>
                <a:lnTo>
                  <a:pt x="120" y="76"/>
                </a:lnTo>
                <a:lnTo>
                  <a:pt x="121" y="75"/>
                </a:lnTo>
                <a:lnTo>
                  <a:pt x="121" y="72"/>
                </a:lnTo>
                <a:lnTo>
                  <a:pt x="123" y="70"/>
                </a:lnTo>
                <a:lnTo>
                  <a:pt x="127" y="67"/>
                </a:lnTo>
                <a:lnTo>
                  <a:pt x="128" y="65"/>
                </a:lnTo>
                <a:lnTo>
                  <a:pt x="131" y="64"/>
                </a:lnTo>
                <a:lnTo>
                  <a:pt x="133" y="63"/>
                </a:lnTo>
                <a:lnTo>
                  <a:pt x="133" y="62"/>
                </a:lnTo>
                <a:lnTo>
                  <a:pt x="133" y="60"/>
                </a:lnTo>
                <a:lnTo>
                  <a:pt x="129" y="57"/>
                </a:lnTo>
                <a:lnTo>
                  <a:pt x="129" y="56"/>
                </a:lnTo>
                <a:lnTo>
                  <a:pt x="133" y="54"/>
                </a:lnTo>
                <a:lnTo>
                  <a:pt x="134" y="53"/>
                </a:lnTo>
                <a:lnTo>
                  <a:pt x="134" y="52"/>
                </a:lnTo>
                <a:lnTo>
                  <a:pt x="135" y="49"/>
                </a:lnTo>
                <a:lnTo>
                  <a:pt x="136" y="48"/>
                </a:lnTo>
                <a:lnTo>
                  <a:pt x="139" y="46"/>
                </a:lnTo>
                <a:lnTo>
                  <a:pt x="142" y="46"/>
                </a:lnTo>
                <a:lnTo>
                  <a:pt x="145" y="47"/>
                </a:lnTo>
                <a:lnTo>
                  <a:pt x="147" y="48"/>
                </a:lnTo>
                <a:lnTo>
                  <a:pt x="148" y="48"/>
                </a:lnTo>
                <a:lnTo>
                  <a:pt x="150" y="47"/>
                </a:lnTo>
                <a:lnTo>
                  <a:pt x="150" y="45"/>
                </a:lnTo>
                <a:lnTo>
                  <a:pt x="151" y="44"/>
                </a:lnTo>
                <a:lnTo>
                  <a:pt x="150" y="40"/>
                </a:lnTo>
                <a:lnTo>
                  <a:pt x="151" y="40"/>
                </a:lnTo>
                <a:lnTo>
                  <a:pt x="152" y="39"/>
                </a:lnTo>
                <a:lnTo>
                  <a:pt x="154" y="39"/>
                </a:lnTo>
                <a:lnTo>
                  <a:pt x="160" y="39"/>
                </a:lnTo>
                <a:lnTo>
                  <a:pt x="170" y="42"/>
                </a:lnTo>
                <a:lnTo>
                  <a:pt x="172" y="42"/>
                </a:lnTo>
                <a:lnTo>
                  <a:pt x="174" y="40"/>
                </a:lnTo>
                <a:lnTo>
                  <a:pt x="171" y="39"/>
                </a:lnTo>
                <a:lnTo>
                  <a:pt x="170" y="38"/>
                </a:lnTo>
                <a:lnTo>
                  <a:pt x="171" y="37"/>
                </a:lnTo>
                <a:lnTo>
                  <a:pt x="172" y="36"/>
                </a:lnTo>
                <a:lnTo>
                  <a:pt x="174" y="35"/>
                </a:lnTo>
                <a:lnTo>
                  <a:pt x="174" y="34"/>
                </a:lnTo>
                <a:lnTo>
                  <a:pt x="172" y="33"/>
                </a:lnTo>
                <a:lnTo>
                  <a:pt x="171" y="33"/>
                </a:lnTo>
                <a:lnTo>
                  <a:pt x="171" y="32"/>
                </a:lnTo>
                <a:lnTo>
                  <a:pt x="172" y="32"/>
                </a:lnTo>
                <a:lnTo>
                  <a:pt x="177" y="32"/>
                </a:lnTo>
                <a:lnTo>
                  <a:pt x="178" y="30"/>
                </a:lnTo>
                <a:lnTo>
                  <a:pt x="179" y="30"/>
                </a:lnTo>
                <a:lnTo>
                  <a:pt x="181" y="30"/>
                </a:lnTo>
                <a:lnTo>
                  <a:pt x="184" y="30"/>
                </a:lnTo>
                <a:lnTo>
                  <a:pt x="182" y="29"/>
                </a:lnTo>
                <a:lnTo>
                  <a:pt x="182" y="28"/>
                </a:lnTo>
                <a:lnTo>
                  <a:pt x="185" y="27"/>
                </a:lnTo>
                <a:lnTo>
                  <a:pt x="188" y="28"/>
                </a:lnTo>
                <a:lnTo>
                  <a:pt x="190" y="29"/>
                </a:lnTo>
                <a:lnTo>
                  <a:pt x="198" y="34"/>
                </a:lnTo>
                <a:lnTo>
                  <a:pt x="199" y="35"/>
                </a:lnTo>
                <a:lnTo>
                  <a:pt x="200" y="36"/>
                </a:lnTo>
                <a:lnTo>
                  <a:pt x="206" y="36"/>
                </a:lnTo>
                <a:lnTo>
                  <a:pt x="209" y="37"/>
                </a:lnTo>
                <a:lnTo>
                  <a:pt x="211" y="37"/>
                </a:lnTo>
                <a:lnTo>
                  <a:pt x="215" y="36"/>
                </a:lnTo>
                <a:lnTo>
                  <a:pt x="218" y="34"/>
                </a:lnTo>
                <a:lnTo>
                  <a:pt x="220" y="35"/>
                </a:lnTo>
                <a:lnTo>
                  <a:pt x="222" y="36"/>
                </a:lnTo>
                <a:lnTo>
                  <a:pt x="223" y="37"/>
                </a:lnTo>
                <a:lnTo>
                  <a:pt x="226" y="37"/>
                </a:lnTo>
                <a:lnTo>
                  <a:pt x="229" y="37"/>
                </a:lnTo>
                <a:lnTo>
                  <a:pt x="231" y="36"/>
                </a:lnTo>
                <a:lnTo>
                  <a:pt x="232" y="34"/>
                </a:lnTo>
                <a:lnTo>
                  <a:pt x="238" y="33"/>
                </a:lnTo>
                <a:lnTo>
                  <a:pt x="238" y="32"/>
                </a:lnTo>
                <a:lnTo>
                  <a:pt x="237" y="28"/>
                </a:lnTo>
                <a:lnTo>
                  <a:pt x="237" y="27"/>
                </a:lnTo>
                <a:lnTo>
                  <a:pt x="237" y="24"/>
                </a:lnTo>
                <a:lnTo>
                  <a:pt x="238" y="20"/>
                </a:lnTo>
                <a:lnTo>
                  <a:pt x="240" y="19"/>
                </a:lnTo>
                <a:lnTo>
                  <a:pt x="242" y="18"/>
                </a:lnTo>
                <a:lnTo>
                  <a:pt x="248" y="18"/>
                </a:lnTo>
                <a:lnTo>
                  <a:pt x="256" y="16"/>
                </a:lnTo>
                <a:lnTo>
                  <a:pt x="260" y="16"/>
                </a:lnTo>
                <a:lnTo>
                  <a:pt x="261" y="16"/>
                </a:lnTo>
                <a:lnTo>
                  <a:pt x="265" y="18"/>
                </a:lnTo>
                <a:lnTo>
                  <a:pt x="267" y="19"/>
                </a:lnTo>
                <a:lnTo>
                  <a:pt x="270" y="19"/>
                </a:lnTo>
                <a:lnTo>
                  <a:pt x="275" y="22"/>
                </a:lnTo>
                <a:lnTo>
                  <a:pt x="277" y="24"/>
                </a:lnTo>
                <a:lnTo>
                  <a:pt x="278" y="26"/>
                </a:lnTo>
                <a:lnTo>
                  <a:pt x="275" y="28"/>
                </a:lnTo>
                <a:lnTo>
                  <a:pt x="273" y="29"/>
                </a:lnTo>
                <a:lnTo>
                  <a:pt x="275" y="30"/>
                </a:lnTo>
                <a:lnTo>
                  <a:pt x="277" y="32"/>
                </a:lnTo>
                <a:lnTo>
                  <a:pt x="277" y="32"/>
                </a:lnTo>
                <a:lnTo>
                  <a:pt x="279" y="30"/>
                </a:lnTo>
                <a:lnTo>
                  <a:pt x="279" y="30"/>
                </a:lnTo>
                <a:lnTo>
                  <a:pt x="279" y="29"/>
                </a:lnTo>
                <a:lnTo>
                  <a:pt x="279" y="28"/>
                </a:lnTo>
                <a:lnTo>
                  <a:pt x="286" y="26"/>
                </a:lnTo>
                <a:lnTo>
                  <a:pt x="287" y="26"/>
                </a:lnTo>
                <a:lnTo>
                  <a:pt x="287" y="23"/>
                </a:lnTo>
                <a:lnTo>
                  <a:pt x="292" y="24"/>
                </a:lnTo>
                <a:lnTo>
                  <a:pt x="295" y="24"/>
                </a:lnTo>
                <a:lnTo>
                  <a:pt x="295" y="24"/>
                </a:lnTo>
                <a:lnTo>
                  <a:pt x="296" y="22"/>
                </a:lnTo>
                <a:lnTo>
                  <a:pt x="296" y="22"/>
                </a:lnTo>
                <a:lnTo>
                  <a:pt x="295" y="20"/>
                </a:lnTo>
              </a:path>
            </a:pathLst>
          </a:custGeom>
          <a:solidFill>
            <a:schemeClr val="accent1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18" name="Freeform 918"/>
          <p:cNvSpPr>
            <a:spLocks/>
          </p:cNvSpPr>
          <p:nvPr/>
        </p:nvSpPr>
        <p:spPr bwMode="auto">
          <a:xfrm>
            <a:off x="4841875" y="2074828"/>
            <a:ext cx="400050" cy="223838"/>
          </a:xfrm>
          <a:custGeom>
            <a:avLst/>
            <a:gdLst>
              <a:gd name="T0" fmla="*/ 39 w 252"/>
              <a:gd name="T1" fmla="*/ 79 h 141"/>
              <a:gd name="T2" fmla="*/ 11 w 252"/>
              <a:gd name="T3" fmla="*/ 77 h 141"/>
              <a:gd name="T4" fmla="*/ 3 w 252"/>
              <a:gd name="T5" fmla="*/ 57 h 141"/>
              <a:gd name="T6" fmla="*/ 18 w 252"/>
              <a:gd name="T7" fmla="*/ 36 h 141"/>
              <a:gd name="T8" fmla="*/ 14 w 252"/>
              <a:gd name="T9" fmla="*/ 19 h 141"/>
              <a:gd name="T10" fmla="*/ 23 w 252"/>
              <a:gd name="T11" fmla="*/ 10 h 141"/>
              <a:gd name="T12" fmla="*/ 48 w 252"/>
              <a:gd name="T13" fmla="*/ 9 h 141"/>
              <a:gd name="T14" fmla="*/ 62 w 252"/>
              <a:gd name="T15" fmla="*/ 13 h 141"/>
              <a:gd name="T16" fmla="*/ 75 w 252"/>
              <a:gd name="T17" fmla="*/ 15 h 141"/>
              <a:gd name="T18" fmla="*/ 90 w 252"/>
              <a:gd name="T19" fmla="*/ 14 h 141"/>
              <a:gd name="T20" fmla="*/ 106 w 252"/>
              <a:gd name="T21" fmla="*/ 16 h 141"/>
              <a:gd name="T22" fmla="*/ 111 w 252"/>
              <a:gd name="T23" fmla="*/ 10 h 141"/>
              <a:gd name="T24" fmla="*/ 126 w 252"/>
              <a:gd name="T25" fmla="*/ 3 h 141"/>
              <a:gd name="T26" fmla="*/ 139 w 252"/>
              <a:gd name="T27" fmla="*/ 1 h 141"/>
              <a:gd name="T28" fmla="*/ 157 w 252"/>
              <a:gd name="T29" fmla="*/ 5 h 141"/>
              <a:gd name="T30" fmla="*/ 161 w 252"/>
              <a:gd name="T31" fmla="*/ 14 h 141"/>
              <a:gd name="T32" fmla="*/ 175 w 252"/>
              <a:gd name="T33" fmla="*/ 21 h 141"/>
              <a:gd name="T34" fmla="*/ 187 w 252"/>
              <a:gd name="T35" fmla="*/ 33 h 141"/>
              <a:gd name="T36" fmla="*/ 209 w 252"/>
              <a:gd name="T37" fmla="*/ 32 h 141"/>
              <a:gd name="T38" fmla="*/ 223 w 252"/>
              <a:gd name="T39" fmla="*/ 40 h 141"/>
              <a:gd name="T40" fmla="*/ 241 w 252"/>
              <a:gd name="T41" fmla="*/ 45 h 141"/>
              <a:gd name="T42" fmla="*/ 251 w 252"/>
              <a:gd name="T43" fmla="*/ 57 h 141"/>
              <a:gd name="T44" fmla="*/ 247 w 252"/>
              <a:gd name="T45" fmla="*/ 65 h 141"/>
              <a:gd name="T46" fmla="*/ 250 w 252"/>
              <a:gd name="T47" fmla="*/ 80 h 141"/>
              <a:gd name="T48" fmla="*/ 231 w 252"/>
              <a:gd name="T49" fmla="*/ 86 h 141"/>
              <a:gd name="T50" fmla="*/ 215 w 252"/>
              <a:gd name="T51" fmla="*/ 97 h 141"/>
              <a:gd name="T52" fmla="*/ 200 w 252"/>
              <a:gd name="T53" fmla="*/ 101 h 141"/>
              <a:gd name="T54" fmla="*/ 193 w 252"/>
              <a:gd name="T55" fmla="*/ 108 h 141"/>
              <a:gd name="T56" fmla="*/ 190 w 252"/>
              <a:gd name="T57" fmla="*/ 115 h 141"/>
              <a:gd name="T58" fmla="*/ 183 w 252"/>
              <a:gd name="T59" fmla="*/ 112 h 141"/>
              <a:gd name="T60" fmla="*/ 177 w 252"/>
              <a:gd name="T61" fmla="*/ 106 h 141"/>
              <a:gd name="T62" fmla="*/ 176 w 252"/>
              <a:gd name="T63" fmla="*/ 111 h 141"/>
              <a:gd name="T64" fmla="*/ 183 w 252"/>
              <a:gd name="T65" fmla="*/ 113 h 141"/>
              <a:gd name="T66" fmla="*/ 190 w 252"/>
              <a:gd name="T67" fmla="*/ 117 h 141"/>
              <a:gd name="T68" fmla="*/ 202 w 252"/>
              <a:gd name="T69" fmla="*/ 125 h 141"/>
              <a:gd name="T70" fmla="*/ 215 w 252"/>
              <a:gd name="T71" fmla="*/ 124 h 141"/>
              <a:gd name="T72" fmla="*/ 196 w 252"/>
              <a:gd name="T73" fmla="*/ 132 h 141"/>
              <a:gd name="T74" fmla="*/ 186 w 252"/>
              <a:gd name="T75" fmla="*/ 138 h 141"/>
              <a:gd name="T76" fmla="*/ 173 w 252"/>
              <a:gd name="T77" fmla="*/ 136 h 141"/>
              <a:gd name="T78" fmla="*/ 165 w 252"/>
              <a:gd name="T79" fmla="*/ 125 h 141"/>
              <a:gd name="T80" fmla="*/ 165 w 252"/>
              <a:gd name="T81" fmla="*/ 116 h 141"/>
              <a:gd name="T82" fmla="*/ 165 w 252"/>
              <a:gd name="T83" fmla="*/ 110 h 141"/>
              <a:gd name="T84" fmla="*/ 149 w 252"/>
              <a:gd name="T85" fmla="*/ 108 h 141"/>
              <a:gd name="T86" fmla="*/ 141 w 252"/>
              <a:gd name="T87" fmla="*/ 104 h 141"/>
              <a:gd name="T88" fmla="*/ 144 w 252"/>
              <a:gd name="T89" fmla="*/ 98 h 141"/>
              <a:gd name="T90" fmla="*/ 131 w 252"/>
              <a:gd name="T91" fmla="*/ 102 h 141"/>
              <a:gd name="T92" fmla="*/ 121 w 252"/>
              <a:gd name="T93" fmla="*/ 106 h 141"/>
              <a:gd name="T94" fmla="*/ 119 w 252"/>
              <a:gd name="T95" fmla="*/ 115 h 141"/>
              <a:gd name="T96" fmla="*/ 114 w 252"/>
              <a:gd name="T97" fmla="*/ 120 h 141"/>
              <a:gd name="T98" fmla="*/ 102 w 252"/>
              <a:gd name="T99" fmla="*/ 125 h 141"/>
              <a:gd name="T100" fmla="*/ 98 w 252"/>
              <a:gd name="T101" fmla="*/ 118 h 141"/>
              <a:gd name="T102" fmla="*/ 103 w 252"/>
              <a:gd name="T103" fmla="*/ 104 h 141"/>
              <a:gd name="T104" fmla="*/ 115 w 252"/>
              <a:gd name="T105" fmla="*/ 101 h 141"/>
              <a:gd name="T106" fmla="*/ 106 w 252"/>
              <a:gd name="T107" fmla="*/ 87 h 141"/>
              <a:gd name="T108" fmla="*/ 100 w 252"/>
              <a:gd name="T109" fmla="*/ 76 h 141"/>
              <a:gd name="T110" fmla="*/ 79 w 252"/>
              <a:gd name="T111" fmla="*/ 70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52" h="141">
                <a:moveTo>
                  <a:pt x="64" y="72"/>
                </a:moveTo>
                <a:lnTo>
                  <a:pt x="62" y="72"/>
                </a:lnTo>
                <a:lnTo>
                  <a:pt x="54" y="76"/>
                </a:lnTo>
                <a:lnTo>
                  <a:pt x="50" y="76"/>
                </a:lnTo>
                <a:lnTo>
                  <a:pt x="45" y="77"/>
                </a:lnTo>
                <a:lnTo>
                  <a:pt x="42" y="81"/>
                </a:lnTo>
                <a:lnTo>
                  <a:pt x="39" y="79"/>
                </a:lnTo>
                <a:lnTo>
                  <a:pt x="35" y="77"/>
                </a:lnTo>
                <a:lnTo>
                  <a:pt x="32" y="77"/>
                </a:lnTo>
                <a:lnTo>
                  <a:pt x="28" y="77"/>
                </a:lnTo>
                <a:lnTo>
                  <a:pt x="22" y="77"/>
                </a:lnTo>
                <a:lnTo>
                  <a:pt x="17" y="77"/>
                </a:lnTo>
                <a:lnTo>
                  <a:pt x="13" y="77"/>
                </a:lnTo>
                <a:lnTo>
                  <a:pt x="11" y="77"/>
                </a:lnTo>
                <a:lnTo>
                  <a:pt x="10" y="75"/>
                </a:lnTo>
                <a:lnTo>
                  <a:pt x="8" y="73"/>
                </a:lnTo>
                <a:lnTo>
                  <a:pt x="4" y="72"/>
                </a:lnTo>
                <a:lnTo>
                  <a:pt x="0" y="70"/>
                </a:lnTo>
                <a:lnTo>
                  <a:pt x="1" y="65"/>
                </a:lnTo>
                <a:lnTo>
                  <a:pt x="3" y="59"/>
                </a:lnTo>
                <a:lnTo>
                  <a:pt x="3" y="57"/>
                </a:lnTo>
                <a:lnTo>
                  <a:pt x="4" y="57"/>
                </a:lnTo>
                <a:lnTo>
                  <a:pt x="7" y="57"/>
                </a:lnTo>
                <a:lnTo>
                  <a:pt x="5" y="54"/>
                </a:lnTo>
                <a:lnTo>
                  <a:pt x="7" y="51"/>
                </a:lnTo>
                <a:lnTo>
                  <a:pt x="10" y="43"/>
                </a:lnTo>
                <a:lnTo>
                  <a:pt x="13" y="40"/>
                </a:lnTo>
                <a:lnTo>
                  <a:pt x="18" y="36"/>
                </a:lnTo>
                <a:lnTo>
                  <a:pt x="22" y="34"/>
                </a:lnTo>
                <a:lnTo>
                  <a:pt x="22" y="31"/>
                </a:lnTo>
                <a:lnTo>
                  <a:pt x="21" y="27"/>
                </a:lnTo>
                <a:lnTo>
                  <a:pt x="21" y="25"/>
                </a:lnTo>
                <a:lnTo>
                  <a:pt x="18" y="23"/>
                </a:lnTo>
                <a:lnTo>
                  <a:pt x="17" y="23"/>
                </a:lnTo>
                <a:lnTo>
                  <a:pt x="14" y="19"/>
                </a:lnTo>
                <a:lnTo>
                  <a:pt x="14" y="16"/>
                </a:lnTo>
                <a:lnTo>
                  <a:pt x="12" y="14"/>
                </a:lnTo>
                <a:lnTo>
                  <a:pt x="13" y="13"/>
                </a:lnTo>
                <a:lnTo>
                  <a:pt x="15" y="12"/>
                </a:lnTo>
                <a:lnTo>
                  <a:pt x="18" y="13"/>
                </a:lnTo>
                <a:lnTo>
                  <a:pt x="21" y="11"/>
                </a:lnTo>
                <a:lnTo>
                  <a:pt x="23" y="10"/>
                </a:lnTo>
                <a:lnTo>
                  <a:pt x="23" y="9"/>
                </a:lnTo>
                <a:lnTo>
                  <a:pt x="25" y="7"/>
                </a:lnTo>
                <a:lnTo>
                  <a:pt x="35" y="6"/>
                </a:lnTo>
                <a:lnTo>
                  <a:pt x="38" y="7"/>
                </a:lnTo>
                <a:lnTo>
                  <a:pt x="41" y="7"/>
                </a:lnTo>
                <a:lnTo>
                  <a:pt x="43" y="7"/>
                </a:lnTo>
                <a:lnTo>
                  <a:pt x="48" y="9"/>
                </a:lnTo>
                <a:lnTo>
                  <a:pt x="51" y="10"/>
                </a:lnTo>
                <a:lnTo>
                  <a:pt x="53" y="10"/>
                </a:lnTo>
                <a:lnTo>
                  <a:pt x="55" y="10"/>
                </a:lnTo>
                <a:lnTo>
                  <a:pt x="58" y="11"/>
                </a:lnTo>
                <a:lnTo>
                  <a:pt x="60" y="11"/>
                </a:lnTo>
                <a:lnTo>
                  <a:pt x="61" y="12"/>
                </a:lnTo>
                <a:lnTo>
                  <a:pt x="62" y="13"/>
                </a:lnTo>
                <a:lnTo>
                  <a:pt x="64" y="14"/>
                </a:lnTo>
                <a:lnTo>
                  <a:pt x="68" y="14"/>
                </a:lnTo>
                <a:lnTo>
                  <a:pt x="69" y="15"/>
                </a:lnTo>
                <a:lnTo>
                  <a:pt x="70" y="16"/>
                </a:lnTo>
                <a:lnTo>
                  <a:pt x="72" y="15"/>
                </a:lnTo>
                <a:lnTo>
                  <a:pt x="73" y="15"/>
                </a:lnTo>
                <a:lnTo>
                  <a:pt x="75" y="15"/>
                </a:lnTo>
                <a:lnTo>
                  <a:pt x="76" y="14"/>
                </a:lnTo>
                <a:lnTo>
                  <a:pt x="79" y="15"/>
                </a:lnTo>
                <a:lnTo>
                  <a:pt x="81" y="15"/>
                </a:lnTo>
                <a:lnTo>
                  <a:pt x="83" y="15"/>
                </a:lnTo>
                <a:lnTo>
                  <a:pt x="84" y="16"/>
                </a:lnTo>
                <a:lnTo>
                  <a:pt x="86" y="17"/>
                </a:lnTo>
                <a:lnTo>
                  <a:pt x="90" y="14"/>
                </a:lnTo>
                <a:lnTo>
                  <a:pt x="93" y="15"/>
                </a:lnTo>
                <a:lnTo>
                  <a:pt x="94" y="17"/>
                </a:lnTo>
                <a:lnTo>
                  <a:pt x="96" y="19"/>
                </a:lnTo>
                <a:lnTo>
                  <a:pt x="98" y="17"/>
                </a:lnTo>
                <a:lnTo>
                  <a:pt x="100" y="17"/>
                </a:lnTo>
                <a:lnTo>
                  <a:pt x="104" y="16"/>
                </a:lnTo>
                <a:lnTo>
                  <a:pt x="106" y="16"/>
                </a:lnTo>
                <a:lnTo>
                  <a:pt x="109" y="17"/>
                </a:lnTo>
                <a:lnTo>
                  <a:pt x="110" y="19"/>
                </a:lnTo>
                <a:lnTo>
                  <a:pt x="112" y="19"/>
                </a:lnTo>
                <a:lnTo>
                  <a:pt x="112" y="16"/>
                </a:lnTo>
                <a:lnTo>
                  <a:pt x="111" y="14"/>
                </a:lnTo>
                <a:lnTo>
                  <a:pt x="111" y="12"/>
                </a:lnTo>
                <a:lnTo>
                  <a:pt x="111" y="10"/>
                </a:lnTo>
                <a:lnTo>
                  <a:pt x="112" y="9"/>
                </a:lnTo>
                <a:lnTo>
                  <a:pt x="115" y="5"/>
                </a:lnTo>
                <a:lnTo>
                  <a:pt x="118" y="4"/>
                </a:lnTo>
                <a:lnTo>
                  <a:pt x="120" y="4"/>
                </a:lnTo>
                <a:lnTo>
                  <a:pt x="121" y="3"/>
                </a:lnTo>
                <a:lnTo>
                  <a:pt x="126" y="3"/>
                </a:lnTo>
                <a:lnTo>
                  <a:pt x="126" y="3"/>
                </a:lnTo>
                <a:lnTo>
                  <a:pt x="128" y="4"/>
                </a:lnTo>
                <a:lnTo>
                  <a:pt x="130" y="5"/>
                </a:lnTo>
                <a:lnTo>
                  <a:pt x="131" y="4"/>
                </a:lnTo>
                <a:lnTo>
                  <a:pt x="132" y="3"/>
                </a:lnTo>
                <a:lnTo>
                  <a:pt x="133" y="2"/>
                </a:lnTo>
                <a:lnTo>
                  <a:pt x="134" y="1"/>
                </a:lnTo>
                <a:lnTo>
                  <a:pt x="139" y="1"/>
                </a:lnTo>
                <a:lnTo>
                  <a:pt x="141" y="1"/>
                </a:lnTo>
                <a:lnTo>
                  <a:pt x="144" y="0"/>
                </a:lnTo>
                <a:lnTo>
                  <a:pt x="149" y="1"/>
                </a:lnTo>
                <a:lnTo>
                  <a:pt x="152" y="0"/>
                </a:lnTo>
                <a:lnTo>
                  <a:pt x="155" y="2"/>
                </a:lnTo>
                <a:lnTo>
                  <a:pt x="157" y="3"/>
                </a:lnTo>
                <a:lnTo>
                  <a:pt x="157" y="5"/>
                </a:lnTo>
                <a:lnTo>
                  <a:pt x="161" y="7"/>
                </a:lnTo>
                <a:lnTo>
                  <a:pt x="162" y="9"/>
                </a:lnTo>
                <a:lnTo>
                  <a:pt x="163" y="10"/>
                </a:lnTo>
                <a:lnTo>
                  <a:pt x="161" y="11"/>
                </a:lnTo>
                <a:lnTo>
                  <a:pt x="159" y="11"/>
                </a:lnTo>
                <a:lnTo>
                  <a:pt x="160" y="13"/>
                </a:lnTo>
                <a:lnTo>
                  <a:pt x="161" y="14"/>
                </a:lnTo>
                <a:lnTo>
                  <a:pt x="162" y="17"/>
                </a:lnTo>
                <a:lnTo>
                  <a:pt x="164" y="19"/>
                </a:lnTo>
                <a:lnTo>
                  <a:pt x="166" y="19"/>
                </a:lnTo>
                <a:lnTo>
                  <a:pt x="171" y="20"/>
                </a:lnTo>
                <a:lnTo>
                  <a:pt x="172" y="19"/>
                </a:lnTo>
                <a:lnTo>
                  <a:pt x="174" y="20"/>
                </a:lnTo>
                <a:lnTo>
                  <a:pt x="175" y="21"/>
                </a:lnTo>
                <a:lnTo>
                  <a:pt x="179" y="23"/>
                </a:lnTo>
                <a:lnTo>
                  <a:pt x="182" y="29"/>
                </a:lnTo>
                <a:lnTo>
                  <a:pt x="181" y="30"/>
                </a:lnTo>
                <a:lnTo>
                  <a:pt x="182" y="32"/>
                </a:lnTo>
                <a:lnTo>
                  <a:pt x="184" y="33"/>
                </a:lnTo>
                <a:lnTo>
                  <a:pt x="186" y="34"/>
                </a:lnTo>
                <a:lnTo>
                  <a:pt x="187" y="33"/>
                </a:lnTo>
                <a:lnTo>
                  <a:pt x="190" y="33"/>
                </a:lnTo>
                <a:lnTo>
                  <a:pt x="192" y="33"/>
                </a:lnTo>
                <a:lnTo>
                  <a:pt x="195" y="35"/>
                </a:lnTo>
                <a:lnTo>
                  <a:pt x="196" y="35"/>
                </a:lnTo>
                <a:lnTo>
                  <a:pt x="199" y="35"/>
                </a:lnTo>
                <a:lnTo>
                  <a:pt x="205" y="34"/>
                </a:lnTo>
                <a:lnTo>
                  <a:pt x="209" y="32"/>
                </a:lnTo>
                <a:lnTo>
                  <a:pt x="211" y="33"/>
                </a:lnTo>
                <a:lnTo>
                  <a:pt x="212" y="34"/>
                </a:lnTo>
                <a:lnTo>
                  <a:pt x="215" y="39"/>
                </a:lnTo>
                <a:lnTo>
                  <a:pt x="218" y="41"/>
                </a:lnTo>
                <a:lnTo>
                  <a:pt x="221" y="41"/>
                </a:lnTo>
                <a:lnTo>
                  <a:pt x="222" y="40"/>
                </a:lnTo>
                <a:lnTo>
                  <a:pt x="223" y="40"/>
                </a:lnTo>
                <a:lnTo>
                  <a:pt x="225" y="41"/>
                </a:lnTo>
                <a:lnTo>
                  <a:pt x="227" y="41"/>
                </a:lnTo>
                <a:lnTo>
                  <a:pt x="230" y="42"/>
                </a:lnTo>
                <a:lnTo>
                  <a:pt x="231" y="43"/>
                </a:lnTo>
                <a:lnTo>
                  <a:pt x="235" y="43"/>
                </a:lnTo>
                <a:lnTo>
                  <a:pt x="238" y="45"/>
                </a:lnTo>
                <a:lnTo>
                  <a:pt x="241" y="45"/>
                </a:lnTo>
                <a:lnTo>
                  <a:pt x="244" y="47"/>
                </a:lnTo>
                <a:lnTo>
                  <a:pt x="246" y="47"/>
                </a:lnTo>
                <a:lnTo>
                  <a:pt x="248" y="47"/>
                </a:lnTo>
                <a:lnTo>
                  <a:pt x="251" y="49"/>
                </a:lnTo>
                <a:lnTo>
                  <a:pt x="248" y="50"/>
                </a:lnTo>
                <a:lnTo>
                  <a:pt x="252" y="54"/>
                </a:lnTo>
                <a:lnTo>
                  <a:pt x="251" y="57"/>
                </a:lnTo>
                <a:lnTo>
                  <a:pt x="246" y="57"/>
                </a:lnTo>
                <a:lnTo>
                  <a:pt x="248" y="60"/>
                </a:lnTo>
                <a:lnTo>
                  <a:pt x="251" y="60"/>
                </a:lnTo>
                <a:lnTo>
                  <a:pt x="252" y="61"/>
                </a:lnTo>
                <a:lnTo>
                  <a:pt x="247" y="62"/>
                </a:lnTo>
                <a:lnTo>
                  <a:pt x="247" y="64"/>
                </a:lnTo>
                <a:lnTo>
                  <a:pt x="247" y="65"/>
                </a:lnTo>
                <a:lnTo>
                  <a:pt x="248" y="66"/>
                </a:lnTo>
                <a:lnTo>
                  <a:pt x="250" y="69"/>
                </a:lnTo>
                <a:lnTo>
                  <a:pt x="250" y="70"/>
                </a:lnTo>
                <a:lnTo>
                  <a:pt x="252" y="71"/>
                </a:lnTo>
                <a:lnTo>
                  <a:pt x="252" y="74"/>
                </a:lnTo>
                <a:lnTo>
                  <a:pt x="251" y="80"/>
                </a:lnTo>
                <a:lnTo>
                  <a:pt x="250" y="80"/>
                </a:lnTo>
                <a:lnTo>
                  <a:pt x="245" y="80"/>
                </a:lnTo>
                <a:lnTo>
                  <a:pt x="243" y="80"/>
                </a:lnTo>
                <a:lnTo>
                  <a:pt x="240" y="77"/>
                </a:lnTo>
                <a:lnTo>
                  <a:pt x="237" y="79"/>
                </a:lnTo>
                <a:lnTo>
                  <a:pt x="236" y="82"/>
                </a:lnTo>
                <a:lnTo>
                  <a:pt x="232" y="83"/>
                </a:lnTo>
                <a:lnTo>
                  <a:pt x="231" y="86"/>
                </a:lnTo>
                <a:lnTo>
                  <a:pt x="232" y="88"/>
                </a:lnTo>
                <a:lnTo>
                  <a:pt x="233" y="92"/>
                </a:lnTo>
                <a:lnTo>
                  <a:pt x="226" y="92"/>
                </a:lnTo>
                <a:lnTo>
                  <a:pt x="223" y="93"/>
                </a:lnTo>
                <a:lnTo>
                  <a:pt x="221" y="95"/>
                </a:lnTo>
                <a:lnTo>
                  <a:pt x="220" y="95"/>
                </a:lnTo>
                <a:lnTo>
                  <a:pt x="215" y="97"/>
                </a:lnTo>
                <a:lnTo>
                  <a:pt x="214" y="100"/>
                </a:lnTo>
                <a:lnTo>
                  <a:pt x="211" y="97"/>
                </a:lnTo>
                <a:lnTo>
                  <a:pt x="205" y="101"/>
                </a:lnTo>
                <a:lnTo>
                  <a:pt x="205" y="102"/>
                </a:lnTo>
                <a:lnTo>
                  <a:pt x="204" y="101"/>
                </a:lnTo>
                <a:lnTo>
                  <a:pt x="202" y="101"/>
                </a:lnTo>
                <a:lnTo>
                  <a:pt x="200" y="101"/>
                </a:lnTo>
                <a:lnTo>
                  <a:pt x="196" y="104"/>
                </a:lnTo>
                <a:lnTo>
                  <a:pt x="195" y="105"/>
                </a:lnTo>
                <a:lnTo>
                  <a:pt x="194" y="107"/>
                </a:lnTo>
                <a:lnTo>
                  <a:pt x="193" y="110"/>
                </a:lnTo>
                <a:lnTo>
                  <a:pt x="191" y="111"/>
                </a:lnTo>
                <a:lnTo>
                  <a:pt x="192" y="110"/>
                </a:lnTo>
                <a:lnTo>
                  <a:pt x="193" y="108"/>
                </a:lnTo>
                <a:lnTo>
                  <a:pt x="194" y="107"/>
                </a:lnTo>
                <a:lnTo>
                  <a:pt x="192" y="104"/>
                </a:lnTo>
                <a:lnTo>
                  <a:pt x="191" y="104"/>
                </a:lnTo>
                <a:lnTo>
                  <a:pt x="191" y="107"/>
                </a:lnTo>
                <a:lnTo>
                  <a:pt x="189" y="110"/>
                </a:lnTo>
                <a:lnTo>
                  <a:pt x="190" y="113"/>
                </a:lnTo>
                <a:lnTo>
                  <a:pt x="190" y="115"/>
                </a:lnTo>
                <a:lnTo>
                  <a:pt x="189" y="115"/>
                </a:lnTo>
                <a:lnTo>
                  <a:pt x="189" y="114"/>
                </a:lnTo>
                <a:lnTo>
                  <a:pt x="186" y="112"/>
                </a:lnTo>
                <a:lnTo>
                  <a:pt x="186" y="111"/>
                </a:lnTo>
                <a:lnTo>
                  <a:pt x="186" y="110"/>
                </a:lnTo>
                <a:lnTo>
                  <a:pt x="184" y="111"/>
                </a:lnTo>
                <a:lnTo>
                  <a:pt x="183" y="112"/>
                </a:lnTo>
                <a:lnTo>
                  <a:pt x="183" y="112"/>
                </a:lnTo>
                <a:lnTo>
                  <a:pt x="183" y="111"/>
                </a:lnTo>
                <a:lnTo>
                  <a:pt x="183" y="110"/>
                </a:lnTo>
                <a:lnTo>
                  <a:pt x="180" y="110"/>
                </a:lnTo>
                <a:lnTo>
                  <a:pt x="179" y="110"/>
                </a:lnTo>
                <a:lnTo>
                  <a:pt x="179" y="107"/>
                </a:lnTo>
                <a:lnTo>
                  <a:pt x="177" y="106"/>
                </a:lnTo>
                <a:lnTo>
                  <a:pt x="177" y="110"/>
                </a:lnTo>
                <a:lnTo>
                  <a:pt x="176" y="110"/>
                </a:lnTo>
                <a:lnTo>
                  <a:pt x="172" y="108"/>
                </a:lnTo>
                <a:lnTo>
                  <a:pt x="173" y="110"/>
                </a:lnTo>
                <a:lnTo>
                  <a:pt x="174" y="111"/>
                </a:lnTo>
                <a:lnTo>
                  <a:pt x="175" y="111"/>
                </a:lnTo>
                <a:lnTo>
                  <a:pt x="176" y="111"/>
                </a:lnTo>
                <a:lnTo>
                  <a:pt x="177" y="112"/>
                </a:lnTo>
                <a:lnTo>
                  <a:pt x="177" y="113"/>
                </a:lnTo>
                <a:lnTo>
                  <a:pt x="179" y="114"/>
                </a:lnTo>
                <a:lnTo>
                  <a:pt x="180" y="114"/>
                </a:lnTo>
                <a:lnTo>
                  <a:pt x="180" y="112"/>
                </a:lnTo>
                <a:lnTo>
                  <a:pt x="182" y="113"/>
                </a:lnTo>
                <a:lnTo>
                  <a:pt x="183" y="113"/>
                </a:lnTo>
                <a:lnTo>
                  <a:pt x="184" y="113"/>
                </a:lnTo>
                <a:lnTo>
                  <a:pt x="184" y="116"/>
                </a:lnTo>
                <a:lnTo>
                  <a:pt x="184" y="116"/>
                </a:lnTo>
                <a:lnTo>
                  <a:pt x="186" y="116"/>
                </a:lnTo>
                <a:lnTo>
                  <a:pt x="186" y="116"/>
                </a:lnTo>
                <a:lnTo>
                  <a:pt x="186" y="118"/>
                </a:lnTo>
                <a:lnTo>
                  <a:pt x="190" y="117"/>
                </a:lnTo>
                <a:lnTo>
                  <a:pt x="192" y="120"/>
                </a:lnTo>
                <a:lnTo>
                  <a:pt x="193" y="123"/>
                </a:lnTo>
                <a:lnTo>
                  <a:pt x="193" y="124"/>
                </a:lnTo>
                <a:lnTo>
                  <a:pt x="194" y="123"/>
                </a:lnTo>
                <a:lnTo>
                  <a:pt x="199" y="125"/>
                </a:lnTo>
                <a:lnTo>
                  <a:pt x="200" y="123"/>
                </a:lnTo>
                <a:lnTo>
                  <a:pt x="202" y="125"/>
                </a:lnTo>
                <a:lnTo>
                  <a:pt x="205" y="122"/>
                </a:lnTo>
                <a:lnTo>
                  <a:pt x="206" y="122"/>
                </a:lnTo>
                <a:lnTo>
                  <a:pt x="206" y="123"/>
                </a:lnTo>
                <a:lnTo>
                  <a:pt x="209" y="122"/>
                </a:lnTo>
                <a:lnTo>
                  <a:pt x="212" y="122"/>
                </a:lnTo>
                <a:lnTo>
                  <a:pt x="215" y="122"/>
                </a:lnTo>
                <a:lnTo>
                  <a:pt x="215" y="124"/>
                </a:lnTo>
                <a:lnTo>
                  <a:pt x="214" y="125"/>
                </a:lnTo>
                <a:lnTo>
                  <a:pt x="214" y="126"/>
                </a:lnTo>
                <a:lnTo>
                  <a:pt x="214" y="128"/>
                </a:lnTo>
                <a:lnTo>
                  <a:pt x="210" y="130"/>
                </a:lnTo>
                <a:lnTo>
                  <a:pt x="209" y="130"/>
                </a:lnTo>
                <a:lnTo>
                  <a:pt x="200" y="127"/>
                </a:lnTo>
                <a:lnTo>
                  <a:pt x="196" y="132"/>
                </a:lnTo>
                <a:lnTo>
                  <a:pt x="194" y="134"/>
                </a:lnTo>
                <a:lnTo>
                  <a:pt x="191" y="133"/>
                </a:lnTo>
                <a:lnTo>
                  <a:pt x="187" y="134"/>
                </a:lnTo>
                <a:lnTo>
                  <a:pt x="189" y="135"/>
                </a:lnTo>
                <a:lnTo>
                  <a:pt x="187" y="135"/>
                </a:lnTo>
                <a:lnTo>
                  <a:pt x="186" y="137"/>
                </a:lnTo>
                <a:lnTo>
                  <a:pt x="186" y="138"/>
                </a:lnTo>
                <a:lnTo>
                  <a:pt x="185" y="138"/>
                </a:lnTo>
                <a:lnTo>
                  <a:pt x="184" y="138"/>
                </a:lnTo>
                <a:lnTo>
                  <a:pt x="181" y="141"/>
                </a:lnTo>
                <a:lnTo>
                  <a:pt x="176" y="141"/>
                </a:lnTo>
                <a:lnTo>
                  <a:pt x="176" y="141"/>
                </a:lnTo>
                <a:lnTo>
                  <a:pt x="172" y="137"/>
                </a:lnTo>
                <a:lnTo>
                  <a:pt x="173" y="136"/>
                </a:lnTo>
                <a:lnTo>
                  <a:pt x="173" y="134"/>
                </a:lnTo>
                <a:lnTo>
                  <a:pt x="173" y="132"/>
                </a:lnTo>
                <a:lnTo>
                  <a:pt x="172" y="130"/>
                </a:lnTo>
                <a:lnTo>
                  <a:pt x="171" y="127"/>
                </a:lnTo>
                <a:lnTo>
                  <a:pt x="169" y="126"/>
                </a:lnTo>
                <a:lnTo>
                  <a:pt x="167" y="127"/>
                </a:lnTo>
                <a:lnTo>
                  <a:pt x="165" y="125"/>
                </a:lnTo>
                <a:lnTo>
                  <a:pt x="162" y="123"/>
                </a:lnTo>
                <a:lnTo>
                  <a:pt x="157" y="123"/>
                </a:lnTo>
                <a:lnTo>
                  <a:pt x="157" y="123"/>
                </a:lnTo>
                <a:lnTo>
                  <a:pt x="157" y="122"/>
                </a:lnTo>
                <a:lnTo>
                  <a:pt x="160" y="121"/>
                </a:lnTo>
                <a:lnTo>
                  <a:pt x="163" y="117"/>
                </a:lnTo>
                <a:lnTo>
                  <a:pt x="165" y="116"/>
                </a:lnTo>
                <a:lnTo>
                  <a:pt x="172" y="114"/>
                </a:lnTo>
                <a:lnTo>
                  <a:pt x="173" y="113"/>
                </a:lnTo>
                <a:lnTo>
                  <a:pt x="172" y="113"/>
                </a:lnTo>
                <a:lnTo>
                  <a:pt x="171" y="111"/>
                </a:lnTo>
                <a:lnTo>
                  <a:pt x="170" y="110"/>
                </a:lnTo>
                <a:lnTo>
                  <a:pt x="169" y="111"/>
                </a:lnTo>
                <a:lnTo>
                  <a:pt x="165" y="110"/>
                </a:lnTo>
                <a:lnTo>
                  <a:pt x="165" y="108"/>
                </a:lnTo>
                <a:lnTo>
                  <a:pt x="163" y="110"/>
                </a:lnTo>
                <a:lnTo>
                  <a:pt x="163" y="111"/>
                </a:lnTo>
                <a:lnTo>
                  <a:pt x="161" y="111"/>
                </a:lnTo>
                <a:lnTo>
                  <a:pt x="155" y="112"/>
                </a:lnTo>
                <a:lnTo>
                  <a:pt x="151" y="110"/>
                </a:lnTo>
                <a:lnTo>
                  <a:pt x="149" y="108"/>
                </a:lnTo>
                <a:lnTo>
                  <a:pt x="147" y="108"/>
                </a:lnTo>
                <a:lnTo>
                  <a:pt x="144" y="108"/>
                </a:lnTo>
                <a:lnTo>
                  <a:pt x="144" y="107"/>
                </a:lnTo>
                <a:lnTo>
                  <a:pt x="147" y="105"/>
                </a:lnTo>
                <a:lnTo>
                  <a:pt x="146" y="105"/>
                </a:lnTo>
                <a:lnTo>
                  <a:pt x="142" y="104"/>
                </a:lnTo>
                <a:lnTo>
                  <a:pt x="141" y="104"/>
                </a:lnTo>
                <a:lnTo>
                  <a:pt x="143" y="103"/>
                </a:lnTo>
                <a:lnTo>
                  <a:pt x="150" y="104"/>
                </a:lnTo>
                <a:lnTo>
                  <a:pt x="150" y="103"/>
                </a:lnTo>
                <a:lnTo>
                  <a:pt x="149" y="103"/>
                </a:lnTo>
                <a:lnTo>
                  <a:pt x="147" y="102"/>
                </a:lnTo>
                <a:lnTo>
                  <a:pt x="145" y="101"/>
                </a:lnTo>
                <a:lnTo>
                  <a:pt x="144" y="98"/>
                </a:lnTo>
                <a:lnTo>
                  <a:pt x="143" y="100"/>
                </a:lnTo>
                <a:lnTo>
                  <a:pt x="142" y="101"/>
                </a:lnTo>
                <a:lnTo>
                  <a:pt x="140" y="101"/>
                </a:lnTo>
                <a:lnTo>
                  <a:pt x="140" y="98"/>
                </a:lnTo>
                <a:lnTo>
                  <a:pt x="137" y="100"/>
                </a:lnTo>
                <a:lnTo>
                  <a:pt x="135" y="102"/>
                </a:lnTo>
                <a:lnTo>
                  <a:pt x="131" y="102"/>
                </a:lnTo>
                <a:lnTo>
                  <a:pt x="130" y="103"/>
                </a:lnTo>
                <a:lnTo>
                  <a:pt x="128" y="103"/>
                </a:lnTo>
                <a:lnTo>
                  <a:pt x="128" y="105"/>
                </a:lnTo>
                <a:lnTo>
                  <a:pt x="125" y="110"/>
                </a:lnTo>
                <a:lnTo>
                  <a:pt x="124" y="108"/>
                </a:lnTo>
                <a:lnTo>
                  <a:pt x="123" y="107"/>
                </a:lnTo>
                <a:lnTo>
                  <a:pt x="121" y="106"/>
                </a:lnTo>
                <a:lnTo>
                  <a:pt x="120" y="105"/>
                </a:lnTo>
                <a:lnTo>
                  <a:pt x="121" y="107"/>
                </a:lnTo>
                <a:lnTo>
                  <a:pt x="123" y="108"/>
                </a:lnTo>
                <a:lnTo>
                  <a:pt x="124" y="112"/>
                </a:lnTo>
                <a:lnTo>
                  <a:pt x="123" y="114"/>
                </a:lnTo>
                <a:lnTo>
                  <a:pt x="122" y="115"/>
                </a:lnTo>
                <a:lnTo>
                  <a:pt x="119" y="115"/>
                </a:lnTo>
                <a:lnTo>
                  <a:pt x="118" y="116"/>
                </a:lnTo>
                <a:lnTo>
                  <a:pt x="116" y="117"/>
                </a:lnTo>
                <a:lnTo>
                  <a:pt x="116" y="118"/>
                </a:lnTo>
                <a:lnTo>
                  <a:pt x="115" y="118"/>
                </a:lnTo>
                <a:lnTo>
                  <a:pt x="114" y="116"/>
                </a:lnTo>
                <a:lnTo>
                  <a:pt x="114" y="115"/>
                </a:lnTo>
                <a:lnTo>
                  <a:pt x="114" y="120"/>
                </a:lnTo>
                <a:lnTo>
                  <a:pt x="115" y="123"/>
                </a:lnTo>
                <a:lnTo>
                  <a:pt x="114" y="123"/>
                </a:lnTo>
                <a:lnTo>
                  <a:pt x="113" y="123"/>
                </a:lnTo>
                <a:lnTo>
                  <a:pt x="111" y="122"/>
                </a:lnTo>
                <a:lnTo>
                  <a:pt x="109" y="123"/>
                </a:lnTo>
                <a:lnTo>
                  <a:pt x="105" y="124"/>
                </a:lnTo>
                <a:lnTo>
                  <a:pt x="102" y="125"/>
                </a:lnTo>
                <a:lnTo>
                  <a:pt x="100" y="125"/>
                </a:lnTo>
                <a:lnTo>
                  <a:pt x="95" y="122"/>
                </a:lnTo>
                <a:lnTo>
                  <a:pt x="93" y="122"/>
                </a:lnTo>
                <a:lnTo>
                  <a:pt x="93" y="121"/>
                </a:lnTo>
                <a:lnTo>
                  <a:pt x="95" y="121"/>
                </a:lnTo>
                <a:lnTo>
                  <a:pt x="98" y="120"/>
                </a:lnTo>
                <a:lnTo>
                  <a:pt x="98" y="118"/>
                </a:lnTo>
                <a:lnTo>
                  <a:pt x="98" y="116"/>
                </a:lnTo>
                <a:lnTo>
                  <a:pt x="100" y="115"/>
                </a:lnTo>
                <a:lnTo>
                  <a:pt x="100" y="114"/>
                </a:lnTo>
                <a:lnTo>
                  <a:pt x="101" y="112"/>
                </a:lnTo>
                <a:lnTo>
                  <a:pt x="102" y="112"/>
                </a:lnTo>
                <a:lnTo>
                  <a:pt x="102" y="106"/>
                </a:lnTo>
                <a:lnTo>
                  <a:pt x="103" y="104"/>
                </a:lnTo>
                <a:lnTo>
                  <a:pt x="105" y="103"/>
                </a:lnTo>
                <a:lnTo>
                  <a:pt x="106" y="105"/>
                </a:lnTo>
                <a:lnTo>
                  <a:pt x="108" y="104"/>
                </a:lnTo>
                <a:lnTo>
                  <a:pt x="114" y="105"/>
                </a:lnTo>
                <a:lnTo>
                  <a:pt x="116" y="104"/>
                </a:lnTo>
                <a:lnTo>
                  <a:pt x="116" y="103"/>
                </a:lnTo>
                <a:lnTo>
                  <a:pt x="115" y="101"/>
                </a:lnTo>
                <a:lnTo>
                  <a:pt x="115" y="100"/>
                </a:lnTo>
                <a:lnTo>
                  <a:pt x="115" y="97"/>
                </a:lnTo>
                <a:lnTo>
                  <a:pt x="114" y="96"/>
                </a:lnTo>
                <a:lnTo>
                  <a:pt x="110" y="94"/>
                </a:lnTo>
                <a:lnTo>
                  <a:pt x="108" y="91"/>
                </a:lnTo>
                <a:lnTo>
                  <a:pt x="108" y="90"/>
                </a:lnTo>
                <a:lnTo>
                  <a:pt x="106" y="87"/>
                </a:lnTo>
                <a:lnTo>
                  <a:pt x="104" y="87"/>
                </a:lnTo>
                <a:lnTo>
                  <a:pt x="103" y="85"/>
                </a:lnTo>
                <a:lnTo>
                  <a:pt x="102" y="84"/>
                </a:lnTo>
                <a:lnTo>
                  <a:pt x="102" y="81"/>
                </a:lnTo>
                <a:lnTo>
                  <a:pt x="102" y="80"/>
                </a:lnTo>
                <a:lnTo>
                  <a:pt x="101" y="77"/>
                </a:lnTo>
                <a:lnTo>
                  <a:pt x="100" y="76"/>
                </a:lnTo>
                <a:lnTo>
                  <a:pt x="98" y="76"/>
                </a:lnTo>
                <a:lnTo>
                  <a:pt x="94" y="74"/>
                </a:lnTo>
                <a:lnTo>
                  <a:pt x="93" y="73"/>
                </a:lnTo>
                <a:lnTo>
                  <a:pt x="89" y="74"/>
                </a:lnTo>
                <a:lnTo>
                  <a:pt x="86" y="73"/>
                </a:lnTo>
                <a:lnTo>
                  <a:pt x="81" y="70"/>
                </a:lnTo>
                <a:lnTo>
                  <a:pt x="79" y="70"/>
                </a:lnTo>
                <a:lnTo>
                  <a:pt x="75" y="69"/>
                </a:lnTo>
                <a:lnTo>
                  <a:pt x="71" y="70"/>
                </a:lnTo>
                <a:lnTo>
                  <a:pt x="69" y="70"/>
                </a:lnTo>
                <a:lnTo>
                  <a:pt x="66" y="69"/>
                </a:lnTo>
                <a:lnTo>
                  <a:pt x="65" y="70"/>
                </a:lnTo>
                <a:lnTo>
                  <a:pt x="64" y="7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19" name="Freeform 919"/>
          <p:cNvSpPr>
            <a:spLocks/>
          </p:cNvSpPr>
          <p:nvPr/>
        </p:nvSpPr>
        <p:spPr bwMode="auto">
          <a:xfrm>
            <a:off x="4841875" y="2074828"/>
            <a:ext cx="400050" cy="223838"/>
          </a:xfrm>
          <a:custGeom>
            <a:avLst/>
            <a:gdLst>
              <a:gd name="T0" fmla="*/ 39 w 252"/>
              <a:gd name="T1" fmla="*/ 79 h 141"/>
              <a:gd name="T2" fmla="*/ 11 w 252"/>
              <a:gd name="T3" fmla="*/ 77 h 141"/>
              <a:gd name="T4" fmla="*/ 3 w 252"/>
              <a:gd name="T5" fmla="*/ 57 h 141"/>
              <a:gd name="T6" fmla="*/ 18 w 252"/>
              <a:gd name="T7" fmla="*/ 36 h 141"/>
              <a:gd name="T8" fmla="*/ 14 w 252"/>
              <a:gd name="T9" fmla="*/ 19 h 141"/>
              <a:gd name="T10" fmla="*/ 23 w 252"/>
              <a:gd name="T11" fmla="*/ 10 h 141"/>
              <a:gd name="T12" fmla="*/ 48 w 252"/>
              <a:gd name="T13" fmla="*/ 9 h 141"/>
              <a:gd name="T14" fmla="*/ 62 w 252"/>
              <a:gd name="T15" fmla="*/ 13 h 141"/>
              <a:gd name="T16" fmla="*/ 75 w 252"/>
              <a:gd name="T17" fmla="*/ 15 h 141"/>
              <a:gd name="T18" fmla="*/ 90 w 252"/>
              <a:gd name="T19" fmla="*/ 14 h 141"/>
              <a:gd name="T20" fmla="*/ 106 w 252"/>
              <a:gd name="T21" fmla="*/ 16 h 141"/>
              <a:gd name="T22" fmla="*/ 111 w 252"/>
              <a:gd name="T23" fmla="*/ 10 h 141"/>
              <a:gd name="T24" fmla="*/ 126 w 252"/>
              <a:gd name="T25" fmla="*/ 3 h 141"/>
              <a:gd name="T26" fmla="*/ 139 w 252"/>
              <a:gd name="T27" fmla="*/ 1 h 141"/>
              <a:gd name="T28" fmla="*/ 157 w 252"/>
              <a:gd name="T29" fmla="*/ 5 h 141"/>
              <a:gd name="T30" fmla="*/ 161 w 252"/>
              <a:gd name="T31" fmla="*/ 14 h 141"/>
              <a:gd name="T32" fmla="*/ 175 w 252"/>
              <a:gd name="T33" fmla="*/ 21 h 141"/>
              <a:gd name="T34" fmla="*/ 187 w 252"/>
              <a:gd name="T35" fmla="*/ 33 h 141"/>
              <a:gd name="T36" fmla="*/ 209 w 252"/>
              <a:gd name="T37" fmla="*/ 32 h 141"/>
              <a:gd name="T38" fmla="*/ 223 w 252"/>
              <a:gd name="T39" fmla="*/ 40 h 141"/>
              <a:gd name="T40" fmla="*/ 241 w 252"/>
              <a:gd name="T41" fmla="*/ 45 h 141"/>
              <a:gd name="T42" fmla="*/ 251 w 252"/>
              <a:gd name="T43" fmla="*/ 57 h 141"/>
              <a:gd name="T44" fmla="*/ 247 w 252"/>
              <a:gd name="T45" fmla="*/ 65 h 141"/>
              <a:gd name="T46" fmla="*/ 250 w 252"/>
              <a:gd name="T47" fmla="*/ 80 h 141"/>
              <a:gd name="T48" fmla="*/ 231 w 252"/>
              <a:gd name="T49" fmla="*/ 86 h 141"/>
              <a:gd name="T50" fmla="*/ 215 w 252"/>
              <a:gd name="T51" fmla="*/ 97 h 141"/>
              <a:gd name="T52" fmla="*/ 200 w 252"/>
              <a:gd name="T53" fmla="*/ 101 h 141"/>
              <a:gd name="T54" fmla="*/ 193 w 252"/>
              <a:gd name="T55" fmla="*/ 108 h 141"/>
              <a:gd name="T56" fmla="*/ 190 w 252"/>
              <a:gd name="T57" fmla="*/ 115 h 141"/>
              <a:gd name="T58" fmla="*/ 183 w 252"/>
              <a:gd name="T59" fmla="*/ 112 h 141"/>
              <a:gd name="T60" fmla="*/ 177 w 252"/>
              <a:gd name="T61" fmla="*/ 106 h 141"/>
              <a:gd name="T62" fmla="*/ 176 w 252"/>
              <a:gd name="T63" fmla="*/ 111 h 141"/>
              <a:gd name="T64" fmla="*/ 183 w 252"/>
              <a:gd name="T65" fmla="*/ 113 h 141"/>
              <a:gd name="T66" fmla="*/ 190 w 252"/>
              <a:gd name="T67" fmla="*/ 117 h 141"/>
              <a:gd name="T68" fmla="*/ 202 w 252"/>
              <a:gd name="T69" fmla="*/ 125 h 141"/>
              <a:gd name="T70" fmla="*/ 215 w 252"/>
              <a:gd name="T71" fmla="*/ 124 h 141"/>
              <a:gd name="T72" fmla="*/ 196 w 252"/>
              <a:gd name="T73" fmla="*/ 132 h 141"/>
              <a:gd name="T74" fmla="*/ 186 w 252"/>
              <a:gd name="T75" fmla="*/ 138 h 141"/>
              <a:gd name="T76" fmla="*/ 173 w 252"/>
              <a:gd name="T77" fmla="*/ 136 h 141"/>
              <a:gd name="T78" fmla="*/ 165 w 252"/>
              <a:gd name="T79" fmla="*/ 125 h 141"/>
              <a:gd name="T80" fmla="*/ 165 w 252"/>
              <a:gd name="T81" fmla="*/ 116 h 141"/>
              <a:gd name="T82" fmla="*/ 165 w 252"/>
              <a:gd name="T83" fmla="*/ 110 h 141"/>
              <a:gd name="T84" fmla="*/ 149 w 252"/>
              <a:gd name="T85" fmla="*/ 108 h 141"/>
              <a:gd name="T86" fmla="*/ 141 w 252"/>
              <a:gd name="T87" fmla="*/ 104 h 141"/>
              <a:gd name="T88" fmla="*/ 144 w 252"/>
              <a:gd name="T89" fmla="*/ 98 h 141"/>
              <a:gd name="T90" fmla="*/ 131 w 252"/>
              <a:gd name="T91" fmla="*/ 102 h 141"/>
              <a:gd name="T92" fmla="*/ 121 w 252"/>
              <a:gd name="T93" fmla="*/ 106 h 141"/>
              <a:gd name="T94" fmla="*/ 119 w 252"/>
              <a:gd name="T95" fmla="*/ 115 h 141"/>
              <a:gd name="T96" fmla="*/ 114 w 252"/>
              <a:gd name="T97" fmla="*/ 120 h 141"/>
              <a:gd name="T98" fmla="*/ 102 w 252"/>
              <a:gd name="T99" fmla="*/ 125 h 141"/>
              <a:gd name="T100" fmla="*/ 98 w 252"/>
              <a:gd name="T101" fmla="*/ 118 h 141"/>
              <a:gd name="T102" fmla="*/ 103 w 252"/>
              <a:gd name="T103" fmla="*/ 104 h 141"/>
              <a:gd name="T104" fmla="*/ 115 w 252"/>
              <a:gd name="T105" fmla="*/ 101 h 141"/>
              <a:gd name="T106" fmla="*/ 106 w 252"/>
              <a:gd name="T107" fmla="*/ 87 h 141"/>
              <a:gd name="T108" fmla="*/ 100 w 252"/>
              <a:gd name="T109" fmla="*/ 76 h 141"/>
              <a:gd name="T110" fmla="*/ 79 w 252"/>
              <a:gd name="T111" fmla="*/ 70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52" h="141">
                <a:moveTo>
                  <a:pt x="64" y="72"/>
                </a:moveTo>
                <a:lnTo>
                  <a:pt x="62" y="72"/>
                </a:lnTo>
                <a:lnTo>
                  <a:pt x="54" y="76"/>
                </a:lnTo>
                <a:lnTo>
                  <a:pt x="50" y="76"/>
                </a:lnTo>
                <a:lnTo>
                  <a:pt x="45" y="77"/>
                </a:lnTo>
                <a:lnTo>
                  <a:pt x="42" y="81"/>
                </a:lnTo>
                <a:lnTo>
                  <a:pt x="39" y="79"/>
                </a:lnTo>
                <a:lnTo>
                  <a:pt x="35" y="77"/>
                </a:lnTo>
                <a:lnTo>
                  <a:pt x="32" y="77"/>
                </a:lnTo>
                <a:lnTo>
                  <a:pt x="28" y="77"/>
                </a:lnTo>
                <a:lnTo>
                  <a:pt x="22" y="77"/>
                </a:lnTo>
                <a:lnTo>
                  <a:pt x="17" y="77"/>
                </a:lnTo>
                <a:lnTo>
                  <a:pt x="13" y="77"/>
                </a:lnTo>
                <a:lnTo>
                  <a:pt x="11" y="77"/>
                </a:lnTo>
                <a:lnTo>
                  <a:pt x="10" y="75"/>
                </a:lnTo>
                <a:lnTo>
                  <a:pt x="8" y="73"/>
                </a:lnTo>
                <a:lnTo>
                  <a:pt x="4" y="72"/>
                </a:lnTo>
                <a:lnTo>
                  <a:pt x="0" y="70"/>
                </a:lnTo>
                <a:lnTo>
                  <a:pt x="1" y="65"/>
                </a:lnTo>
                <a:lnTo>
                  <a:pt x="3" y="59"/>
                </a:lnTo>
                <a:lnTo>
                  <a:pt x="3" y="57"/>
                </a:lnTo>
                <a:lnTo>
                  <a:pt x="4" y="57"/>
                </a:lnTo>
                <a:lnTo>
                  <a:pt x="7" y="57"/>
                </a:lnTo>
                <a:lnTo>
                  <a:pt x="5" y="54"/>
                </a:lnTo>
                <a:lnTo>
                  <a:pt x="7" y="51"/>
                </a:lnTo>
                <a:lnTo>
                  <a:pt x="10" y="43"/>
                </a:lnTo>
                <a:lnTo>
                  <a:pt x="13" y="40"/>
                </a:lnTo>
                <a:lnTo>
                  <a:pt x="18" y="36"/>
                </a:lnTo>
                <a:lnTo>
                  <a:pt x="22" y="34"/>
                </a:lnTo>
                <a:lnTo>
                  <a:pt x="22" y="31"/>
                </a:lnTo>
                <a:lnTo>
                  <a:pt x="21" y="27"/>
                </a:lnTo>
                <a:lnTo>
                  <a:pt x="21" y="25"/>
                </a:lnTo>
                <a:lnTo>
                  <a:pt x="18" y="23"/>
                </a:lnTo>
                <a:lnTo>
                  <a:pt x="17" y="23"/>
                </a:lnTo>
                <a:lnTo>
                  <a:pt x="14" y="19"/>
                </a:lnTo>
                <a:lnTo>
                  <a:pt x="14" y="16"/>
                </a:lnTo>
                <a:lnTo>
                  <a:pt x="12" y="14"/>
                </a:lnTo>
                <a:lnTo>
                  <a:pt x="13" y="13"/>
                </a:lnTo>
                <a:lnTo>
                  <a:pt x="15" y="12"/>
                </a:lnTo>
                <a:lnTo>
                  <a:pt x="18" y="13"/>
                </a:lnTo>
                <a:lnTo>
                  <a:pt x="21" y="11"/>
                </a:lnTo>
                <a:lnTo>
                  <a:pt x="23" y="10"/>
                </a:lnTo>
                <a:lnTo>
                  <a:pt x="23" y="9"/>
                </a:lnTo>
                <a:lnTo>
                  <a:pt x="25" y="7"/>
                </a:lnTo>
                <a:lnTo>
                  <a:pt x="35" y="6"/>
                </a:lnTo>
                <a:lnTo>
                  <a:pt x="38" y="7"/>
                </a:lnTo>
                <a:lnTo>
                  <a:pt x="41" y="7"/>
                </a:lnTo>
                <a:lnTo>
                  <a:pt x="43" y="7"/>
                </a:lnTo>
                <a:lnTo>
                  <a:pt x="48" y="9"/>
                </a:lnTo>
                <a:lnTo>
                  <a:pt x="51" y="10"/>
                </a:lnTo>
                <a:lnTo>
                  <a:pt x="53" y="10"/>
                </a:lnTo>
                <a:lnTo>
                  <a:pt x="55" y="10"/>
                </a:lnTo>
                <a:lnTo>
                  <a:pt x="58" y="11"/>
                </a:lnTo>
                <a:lnTo>
                  <a:pt x="60" y="11"/>
                </a:lnTo>
                <a:lnTo>
                  <a:pt x="61" y="12"/>
                </a:lnTo>
                <a:lnTo>
                  <a:pt x="62" y="13"/>
                </a:lnTo>
                <a:lnTo>
                  <a:pt x="64" y="14"/>
                </a:lnTo>
                <a:lnTo>
                  <a:pt x="68" y="14"/>
                </a:lnTo>
                <a:lnTo>
                  <a:pt x="69" y="15"/>
                </a:lnTo>
                <a:lnTo>
                  <a:pt x="70" y="16"/>
                </a:lnTo>
                <a:lnTo>
                  <a:pt x="72" y="15"/>
                </a:lnTo>
                <a:lnTo>
                  <a:pt x="73" y="15"/>
                </a:lnTo>
                <a:lnTo>
                  <a:pt x="75" y="15"/>
                </a:lnTo>
                <a:lnTo>
                  <a:pt x="76" y="14"/>
                </a:lnTo>
                <a:lnTo>
                  <a:pt x="79" y="15"/>
                </a:lnTo>
                <a:lnTo>
                  <a:pt x="81" y="15"/>
                </a:lnTo>
                <a:lnTo>
                  <a:pt x="83" y="15"/>
                </a:lnTo>
                <a:lnTo>
                  <a:pt x="84" y="16"/>
                </a:lnTo>
                <a:lnTo>
                  <a:pt x="86" y="17"/>
                </a:lnTo>
                <a:lnTo>
                  <a:pt x="90" y="14"/>
                </a:lnTo>
                <a:lnTo>
                  <a:pt x="93" y="15"/>
                </a:lnTo>
                <a:lnTo>
                  <a:pt x="94" y="17"/>
                </a:lnTo>
                <a:lnTo>
                  <a:pt x="96" y="19"/>
                </a:lnTo>
                <a:lnTo>
                  <a:pt x="98" y="17"/>
                </a:lnTo>
                <a:lnTo>
                  <a:pt x="100" y="17"/>
                </a:lnTo>
                <a:lnTo>
                  <a:pt x="104" y="16"/>
                </a:lnTo>
                <a:lnTo>
                  <a:pt x="106" y="16"/>
                </a:lnTo>
                <a:lnTo>
                  <a:pt x="109" y="17"/>
                </a:lnTo>
                <a:lnTo>
                  <a:pt x="110" y="19"/>
                </a:lnTo>
                <a:lnTo>
                  <a:pt x="112" y="19"/>
                </a:lnTo>
                <a:lnTo>
                  <a:pt x="112" y="16"/>
                </a:lnTo>
                <a:lnTo>
                  <a:pt x="111" y="14"/>
                </a:lnTo>
                <a:lnTo>
                  <a:pt x="111" y="12"/>
                </a:lnTo>
                <a:lnTo>
                  <a:pt x="111" y="10"/>
                </a:lnTo>
                <a:lnTo>
                  <a:pt x="112" y="9"/>
                </a:lnTo>
                <a:lnTo>
                  <a:pt x="115" y="5"/>
                </a:lnTo>
                <a:lnTo>
                  <a:pt x="118" y="4"/>
                </a:lnTo>
                <a:lnTo>
                  <a:pt x="120" y="4"/>
                </a:lnTo>
                <a:lnTo>
                  <a:pt x="121" y="3"/>
                </a:lnTo>
                <a:lnTo>
                  <a:pt x="126" y="3"/>
                </a:lnTo>
                <a:lnTo>
                  <a:pt x="126" y="3"/>
                </a:lnTo>
                <a:lnTo>
                  <a:pt x="128" y="4"/>
                </a:lnTo>
                <a:lnTo>
                  <a:pt x="130" y="5"/>
                </a:lnTo>
                <a:lnTo>
                  <a:pt x="131" y="4"/>
                </a:lnTo>
                <a:lnTo>
                  <a:pt x="132" y="3"/>
                </a:lnTo>
                <a:lnTo>
                  <a:pt x="133" y="2"/>
                </a:lnTo>
                <a:lnTo>
                  <a:pt x="134" y="1"/>
                </a:lnTo>
                <a:lnTo>
                  <a:pt x="139" y="1"/>
                </a:lnTo>
                <a:lnTo>
                  <a:pt x="141" y="1"/>
                </a:lnTo>
                <a:lnTo>
                  <a:pt x="144" y="0"/>
                </a:lnTo>
                <a:lnTo>
                  <a:pt x="149" y="1"/>
                </a:lnTo>
                <a:lnTo>
                  <a:pt x="152" y="0"/>
                </a:lnTo>
                <a:lnTo>
                  <a:pt x="155" y="2"/>
                </a:lnTo>
                <a:lnTo>
                  <a:pt x="157" y="3"/>
                </a:lnTo>
                <a:lnTo>
                  <a:pt x="157" y="5"/>
                </a:lnTo>
                <a:lnTo>
                  <a:pt x="161" y="7"/>
                </a:lnTo>
                <a:lnTo>
                  <a:pt x="162" y="9"/>
                </a:lnTo>
                <a:lnTo>
                  <a:pt x="163" y="10"/>
                </a:lnTo>
                <a:lnTo>
                  <a:pt x="161" y="11"/>
                </a:lnTo>
                <a:lnTo>
                  <a:pt x="159" y="11"/>
                </a:lnTo>
                <a:lnTo>
                  <a:pt x="160" y="13"/>
                </a:lnTo>
                <a:lnTo>
                  <a:pt x="161" y="14"/>
                </a:lnTo>
                <a:lnTo>
                  <a:pt x="162" y="17"/>
                </a:lnTo>
                <a:lnTo>
                  <a:pt x="164" y="19"/>
                </a:lnTo>
                <a:lnTo>
                  <a:pt x="166" y="19"/>
                </a:lnTo>
                <a:lnTo>
                  <a:pt x="171" y="20"/>
                </a:lnTo>
                <a:lnTo>
                  <a:pt x="172" y="19"/>
                </a:lnTo>
                <a:lnTo>
                  <a:pt x="174" y="20"/>
                </a:lnTo>
                <a:lnTo>
                  <a:pt x="175" y="21"/>
                </a:lnTo>
                <a:lnTo>
                  <a:pt x="179" y="23"/>
                </a:lnTo>
                <a:lnTo>
                  <a:pt x="182" y="29"/>
                </a:lnTo>
                <a:lnTo>
                  <a:pt x="181" y="30"/>
                </a:lnTo>
                <a:lnTo>
                  <a:pt x="182" y="32"/>
                </a:lnTo>
                <a:lnTo>
                  <a:pt x="184" y="33"/>
                </a:lnTo>
                <a:lnTo>
                  <a:pt x="186" y="34"/>
                </a:lnTo>
                <a:lnTo>
                  <a:pt x="187" y="33"/>
                </a:lnTo>
                <a:lnTo>
                  <a:pt x="190" y="33"/>
                </a:lnTo>
                <a:lnTo>
                  <a:pt x="192" y="33"/>
                </a:lnTo>
                <a:lnTo>
                  <a:pt x="195" y="35"/>
                </a:lnTo>
                <a:lnTo>
                  <a:pt x="196" y="35"/>
                </a:lnTo>
                <a:lnTo>
                  <a:pt x="199" y="35"/>
                </a:lnTo>
                <a:lnTo>
                  <a:pt x="205" y="34"/>
                </a:lnTo>
                <a:lnTo>
                  <a:pt x="209" y="32"/>
                </a:lnTo>
                <a:lnTo>
                  <a:pt x="211" y="33"/>
                </a:lnTo>
                <a:lnTo>
                  <a:pt x="212" y="34"/>
                </a:lnTo>
                <a:lnTo>
                  <a:pt x="215" y="39"/>
                </a:lnTo>
                <a:lnTo>
                  <a:pt x="218" y="41"/>
                </a:lnTo>
                <a:lnTo>
                  <a:pt x="221" y="41"/>
                </a:lnTo>
                <a:lnTo>
                  <a:pt x="222" y="40"/>
                </a:lnTo>
                <a:lnTo>
                  <a:pt x="223" y="40"/>
                </a:lnTo>
                <a:lnTo>
                  <a:pt x="225" y="41"/>
                </a:lnTo>
                <a:lnTo>
                  <a:pt x="227" y="41"/>
                </a:lnTo>
                <a:lnTo>
                  <a:pt x="230" y="42"/>
                </a:lnTo>
                <a:lnTo>
                  <a:pt x="231" y="43"/>
                </a:lnTo>
                <a:lnTo>
                  <a:pt x="235" y="43"/>
                </a:lnTo>
                <a:lnTo>
                  <a:pt x="238" y="45"/>
                </a:lnTo>
                <a:lnTo>
                  <a:pt x="241" y="45"/>
                </a:lnTo>
                <a:lnTo>
                  <a:pt x="244" y="47"/>
                </a:lnTo>
                <a:lnTo>
                  <a:pt x="246" y="47"/>
                </a:lnTo>
                <a:lnTo>
                  <a:pt x="248" y="47"/>
                </a:lnTo>
                <a:lnTo>
                  <a:pt x="251" y="49"/>
                </a:lnTo>
                <a:lnTo>
                  <a:pt x="248" y="50"/>
                </a:lnTo>
                <a:lnTo>
                  <a:pt x="252" y="54"/>
                </a:lnTo>
                <a:lnTo>
                  <a:pt x="251" y="57"/>
                </a:lnTo>
                <a:lnTo>
                  <a:pt x="246" y="57"/>
                </a:lnTo>
                <a:lnTo>
                  <a:pt x="248" y="60"/>
                </a:lnTo>
                <a:lnTo>
                  <a:pt x="251" y="60"/>
                </a:lnTo>
                <a:lnTo>
                  <a:pt x="252" y="61"/>
                </a:lnTo>
                <a:lnTo>
                  <a:pt x="247" y="62"/>
                </a:lnTo>
                <a:lnTo>
                  <a:pt x="247" y="64"/>
                </a:lnTo>
                <a:lnTo>
                  <a:pt x="247" y="65"/>
                </a:lnTo>
                <a:lnTo>
                  <a:pt x="248" y="66"/>
                </a:lnTo>
                <a:lnTo>
                  <a:pt x="250" y="69"/>
                </a:lnTo>
                <a:lnTo>
                  <a:pt x="250" y="70"/>
                </a:lnTo>
                <a:lnTo>
                  <a:pt x="252" y="71"/>
                </a:lnTo>
                <a:lnTo>
                  <a:pt x="252" y="74"/>
                </a:lnTo>
                <a:lnTo>
                  <a:pt x="251" y="80"/>
                </a:lnTo>
                <a:lnTo>
                  <a:pt x="250" y="80"/>
                </a:lnTo>
                <a:lnTo>
                  <a:pt x="245" y="80"/>
                </a:lnTo>
                <a:lnTo>
                  <a:pt x="243" y="80"/>
                </a:lnTo>
                <a:lnTo>
                  <a:pt x="240" y="77"/>
                </a:lnTo>
                <a:lnTo>
                  <a:pt x="237" y="79"/>
                </a:lnTo>
                <a:lnTo>
                  <a:pt x="236" y="82"/>
                </a:lnTo>
                <a:lnTo>
                  <a:pt x="232" y="83"/>
                </a:lnTo>
                <a:lnTo>
                  <a:pt x="231" y="86"/>
                </a:lnTo>
                <a:lnTo>
                  <a:pt x="232" y="88"/>
                </a:lnTo>
                <a:lnTo>
                  <a:pt x="233" y="92"/>
                </a:lnTo>
                <a:lnTo>
                  <a:pt x="226" y="92"/>
                </a:lnTo>
                <a:lnTo>
                  <a:pt x="223" y="93"/>
                </a:lnTo>
                <a:lnTo>
                  <a:pt x="221" y="95"/>
                </a:lnTo>
                <a:lnTo>
                  <a:pt x="220" y="95"/>
                </a:lnTo>
                <a:lnTo>
                  <a:pt x="215" y="97"/>
                </a:lnTo>
                <a:lnTo>
                  <a:pt x="214" y="100"/>
                </a:lnTo>
                <a:lnTo>
                  <a:pt x="211" y="97"/>
                </a:lnTo>
                <a:lnTo>
                  <a:pt x="205" y="101"/>
                </a:lnTo>
                <a:lnTo>
                  <a:pt x="205" y="102"/>
                </a:lnTo>
                <a:lnTo>
                  <a:pt x="204" y="101"/>
                </a:lnTo>
                <a:lnTo>
                  <a:pt x="202" y="101"/>
                </a:lnTo>
                <a:lnTo>
                  <a:pt x="200" y="101"/>
                </a:lnTo>
                <a:lnTo>
                  <a:pt x="196" y="104"/>
                </a:lnTo>
                <a:lnTo>
                  <a:pt x="195" y="105"/>
                </a:lnTo>
                <a:lnTo>
                  <a:pt x="194" y="107"/>
                </a:lnTo>
                <a:lnTo>
                  <a:pt x="193" y="110"/>
                </a:lnTo>
                <a:lnTo>
                  <a:pt x="191" y="111"/>
                </a:lnTo>
                <a:lnTo>
                  <a:pt x="192" y="110"/>
                </a:lnTo>
                <a:lnTo>
                  <a:pt x="193" y="108"/>
                </a:lnTo>
                <a:lnTo>
                  <a:pt x="194" y="107"/>
                </a:lnTo>
                <a:lnTo>
                  <a:pt x="192" y="104"/>
                </a:lnTo>
                <a:lnTo>
                  <a:pt x="191" y="104"/>
                </a:lnTo>
                <a:lnTo>
                  <a:pt x="191" y="107"/>
                </a:lnTo>
                <a:lnTo>
                  <a:pt x="189" y="110"/>
                </a:lnTo>
                <a:lnTo>
                  <a:pt x="190" y="113"/>
                </a:lnTo>
                <a:lnTo>
                  <a:pt x="190" y="115"/>
                </a:lnTo>
                <a:lnTo>
                  <a:pt x="189" y="115"/>
                </a:lnTo>
                <a:lnTo>
                  <a:pt x="189" y="114"/>
                </a:lnTo>
                <a:lnTo>
                  <a:pt x="186" y="112"/>
                </a:lnTo>
                <a:lnTo>
                  <a:pt x="186" y="111"/>
                </a:lnTo>
                <a:lnTo>
                  <a:pt x="186" y="110"/>
                </a:lnTo>
                <a:lnTo>
                  <a:pt x="184" y="111"/>
                </a:lnTo>
                <a:lnTo>
                  <a:pt x="183" y="112"/>
                </a:lnTo>
                <a:lnTo>
                  <a:pt x="183" y="112"/>
                </a:lnTo>
                <a:lnTo>
                  <a:pt x="183" y="111"/>
                </a:lnTo>
                <a:lnTo>
                  <a:pt x="183" y="110"/>
                </a:lnTo>
                <a:lnTo>
                  <a:pt x="180" y="110"/>
                </a:lnTo>
                <a:lnTo>
                  <a:pt x="179" y="110"/>
                </a:lnTo>
                <a:lnTo>
                  <a:pt x="179" y="107"/>
                </a:lnTo>
                <a:lnTo>
                  <a:pt x="177" y="106"/>
                </a:lnTo>
                <a:lnTo>
                  <a:pt x="177" y="110"/>
                </a:lnTo>
                <a:lnTo>
                  <a:pt x="176" y="110"/>
                </a:lnTo>
                <a:lnTo>
                  <a:pt x="172" y="108"/>
                </a:lnTo>
                <a:lnTo>
                  <a:pt x="173" y="110"/>
                </a:lnTo>
                <a:lnTo>
                  <a:pt x="174" y="111"/>
                </a:lnTo>
                <a:lnTo>
                  <a:pt x="175" y="111"/>
                </a:lnTo>
                <a:lnTo>
                  <a:pt x="176" y="111"/>
                </a:lnTo>
                <a:lnTo>
                  <a:pt x="177" y="112"/>
                </a:lnTo>
                <a:lnTo>
                  <a:pt x="177" y="113"/>
                </a:lnTo>
                <a:lnTo>
                  <a:pt x="179" y="114"/>
                </a:lnTo>
                <a:lnTo>
                  <a:pt x="180" y="114"/>
                </a:lnTo>
                <a:lnTo>
                  <a:pt x="180" y="112"/>
                </a:lnTo>
                <a:lnTo>
                  <a:pt x="182" y="113"/>
                </a:lnTo>
                <a:lnTo>
                  <a:pt x="183" y="113"/>
                </a:lnTo>
                <a:lnTo>
                  <a:pt x="184" y="113"/>
                </a:lnTo>
                <a:lnTo>
                  <a:pt x="184" y="116"/>
                </a:lnTo>
                <a:lnTo>
                  <a:pt x="184" y="116"/>
                </a:lnTo>
                <a:lnTo>
                  <a:pt x="186" y="116"/>
                </a:lnTo>
                <a:lnTo>
                  <a:pt x="186" y="116"/>
                </a:lnTo>
                <a:lnTo>
                  <a:pt x="186" y="118"/>
                </a:lnTo>
                <a:lnTo>
                  <a:pt x="190" y="117"/>
                </a:lnTo>
                <a:lnTo>
                  <a:pt x="192" y="120"/>
                </a:lnTo>
                <a:lnTo>
                  <a:pt x="193" y="123"/>
                </a:lnTo>
                <a:lnTo>
                  <a:pt x="193" y="124"/>
                </a:lnTo>
                <a:lnTo>
                  <a:pt x="194" y="123"/>
                </a:lnTo>
                <a:lnTo>
                  <a:pt x="199" y="125"/>
                </a:lnTo>
                <a:lnTo>
                  <a:pt x="200" y="123"/>
                </a:lnTo>
                <a:lnTo>
                  <a:pt x="202" y="125"/>
                </a:lnTo>
                <a:lnTo>
                  <a:pt x="205" y="122"/>
                </a:lnTo>
                <a:lnTo>
                  <a:pt x="206" y="122"/>
                </a:lnTo>
                <a:lnTo>
                  <a:pt x="206" y="123"/>
                </a:lnTo>
                <a:lnTo>
                  <a:pt x="209" y="122"/>
                </a:lnTo>
                <a:lnTo>
                  <a:pt x="212" y="122"/>
                </a:lnTo>
                <a:lnTo>
                  <a:pt x="215" y="122"/>
                </a:lnTo>
                <a:lnTo>
                  <a:pt x="215" y="124"/>
                </a:lnTo>
                <a:lnTo>
                  <a:pt x="214" y="125"/>
                </a:lnTo>
                <a:lnTo>
                  <a:pt x="214" y="126"/>
                </a:lnTo>
                <a:lnTo>
                  <a:pt x="214" y="128"/>
                </a:lnTo>
                <a:lnTo>
                  <a:pt x="210" y="130"/>
                </a:lnTo>
                <a:lnTo>
                  <a:pt x="209" y="130"/>
                </a:lnTo>
                <a:lnTo>
                  <a:pt x="200" y="127"/>
                </a:lnTo>
                <a:lnTo>
                  <a:pt x="196" y="132"/>
                </a:lnTo>
                <a:lnTo>
                  <a:pt x="194" y="134"/>
                </a:lnTo>
                <a:lnTo>
                  <a:pt x="191" y="133"/>
                </a:lnTo>
                <a:lnTo>
                  <a:pt x="187" y="134"/>
                </a:lnTo>
                <a:lnTo>
                  <a:pt x="189" y="135"/>
                </a:lnTo>
                <a:lnTo>
                  <a:pt x="187" y="135"/>
                </a:lnTo>
                <a:lnTo>
                  <a:pt x="186" y="137"/>
                </a:lnTo>
                <a:lnTo>
                  <a:pt x="186" y="138"/>
                </a:lnTo>
                <a:lnTo>
                  <a:pt x="185" y="138"/>
                </a:lnTo>
                <a:lnTo>
                  <a:pt x="184" y="138"/>
                </a:lnTo>
                <a:lnTo>
                  <a:pt x="181" y="141"/>
                </a:lnTo>
                <a:lnTo>
                  <a:pt x="176" y="141"/>
                </a:lnTo>
                <a:lnTo>
                  <a:pt x="176" y="141"/>
                </a:lnTo>
                <a:lnTo>
                  <a:pt x="172" y="137"/>
                </a:lnTo>
                <a:lnTo>
                  <a:pt x="173" y="136"/>
                </a:lnTo>
                <a:lnTo>
                  <a:pt x="173" y="134"/>
                </a:lnTo>
                <a:lnTo>
                  <a:pt x="173" y="132"/>
                </a:lnTo>
                <a:lnTo>
                  <a:pt x="172" y="130"/>
                </a:lnTo>
                <a:lnTo>
                  <a:pt x="171" y="127"/>
                </a:lnTo>
                <a:lnTo>
                  <a:pt x="169" y="126"/>
                </a:lnTo>
                <a:lnTo>
                  <a:pt x="167" y="127"/>
                </a:lnTo>
                <a:lnTo>
                  <a:pt x="165" y="125"/>
                </a:lnTo>
                <a:lnTo>
                  <a:pt x="162" y="123"/>
                </a:lnTo>
                <a:lnTo>
                  <a:pt x="157" y="123"/>
                </a:lnTo>
                <a:lnTo>
                  <a:pt x="157" y="123"/>
                </a:lnTo>
                <a:lnTo>
                  <a:pt x="157" y="122"/>
                </a:lnTo>
                <a:lnTo>
                  <a:pt x="160" y="121"/>
                </a:lnTo>
                <a:lnTo>
                  <a:pt x="163" y="117"/>
                </a:lnTo>
                <a:lnTo>
                  <a:pt x="165" y="116"/>
                </a:lnTo>
                <a:lnTo>
                  <a:pt x="172" y="114"/>
                </a:lnTo>
                <a:lnTo>
                  <a:pt x="173" y="113"/>
                </a:lnTo>
                <a:lnTo>
                  <a:pt x="172" y="113"/>
                </a:lnTo>
                <a:lnTo>
                  <a:pt x="171" y="111"/>
                </a:lnTo>
                <a:lnTo>
                  <a:pt x="170" y="110"/>
                </a:lnTo>
                <a:lnTo>
                  <a:pt x="169" y="111"/>
                </a:lnTo>
                <a:lnTo>
                  <a:pt x="165" y="110"/>
                </a:lnTo>
                <a:lnTo>
                  <a:pt x="165" y="108"/>
                </a:lnTo>
                <a:lnTo>
                  <a:pt x="163" y="110"/>
                </a:lnTo>
                <a:lnTo>
                  <a:pt x="163" y="111"/>
                </a:lnTo>
                <a:lnTo>
                  <a:pt x="161" y="111"/>
                </a:lnTo>
                <a:lnTo>
                  <a:pt x="155" y="112"/>
                </a:lnTo>
                <a:lnTo>
                  <a:pt x="151" y="110"/>
                </a:lnTo>
                <a:lnTo>
                  <a:pt x="149" y="108"/>
                </a:lnTo>
                <a:lnTo>
                  <a:pt x="147" y="108"/>
                </a:lnTo>
                <a:lnTo>
                  <a:pt x="144" y="108"/>
                </a:lnTo>
                <a:lnTo>
                  <a:pt x="144" y="107"/>
                </a:lnTo>
                <a:lnTo>
                  <a:pt x="147" y="105"/>
                </a:lnTo>
                <a:lnTo>
                  <a:pt x="146" y="105"/>
                </a:lnTo>
                <a:lnTo>
                  <a:pt x="142" y="104"/>
                </a:lnTo>
                <a:lnTo>
                  <a:pt x="141" y="104"/>
                </a:lnTo>
                <a:lnTo>
                  <a:pt x="143" y="103"/>
                </a:lnTo>
                <a:lnTo>
                  <a:pt x="150" y="104"/>
                </a:lnTo>
                <a:lnTo>
                  <a:pt x="150" y="103"/>
                </a:lnTo>
                <a:lnTo>
                  <a:pt x="149" y="103"/>
                </a:lnTo>
                <a:lnTo>
                  <a:pt x="147" y="102"/>
                </a:lnTo>
                <a:lnTo>
                  <a:pt x="145" y="101"/>
                </a:lnTo>
                <a:lnTo>
                  <a:pt x="144" y="98"/>
                </a:lnTo>
                <a:lnTo>
                  <a:pt x="143" y="100"/>
                </a:lnTo>
                <a:lnTo>
                  <a:pt x="142" y="101"/>
                </a:lnTo>
                <a:lnTo>
                  <a:pt x="140" y="101"/>
                </a:lnTo>
                <a:lnTo>
                  <a:pt x="140" y="98"/>
                </a:lnTo>
                <a:lnTo>
                  <a:pt x="137" y="100"/>
                </a:lnTo>
                <a:lnTo>
                  <a:pt x="135" y="102"/>
                </a:lnTo>
                <a:lnTo>
                  <a:pt x="131" y="102"/>
                </a:lnTo>
                <a:lnTo>
                  <a:pt x="130" y="103"/>
                </a:lnTo>
                <a:lnTo>
                  <a:pt x="128" y="103"/>
                </a:lnTo>
                <a:lnTo>
                  <a:pt x="128" y="105"/>
                </a:lnTo>
                <a:lnTo>
                  <a:pt x="125" y="110"/>
                </a:lnTo>
                <a:lnTo>
                  <a:pt x="124" y="108"/>
                </a:lnTo>
                <a:lnTo>
                  <a:pt x="123" y="107"/>
                </a:lnTo>
                <a:lnTo>
                  <a:pt x="121" y="106"/>
                </a:lnTo>
                <a:lnTo>
                  <a:pt x="120" y="105"/>
                </a:lnTo>
                <a:lnTo>
                  <a:pt x="121" y="107"/>
                </a:lnTo>
                <a:lnTo>
                  <a:pt x="123" y="108"/>
                </a:lnTo>
                <a:lnTo>
                  <a:pt x="124" y="112"/>
                </a:lnTo>
                <a:lnTo>
                  <a:pt x="123" y="114"/>
                </a:lnTo>
                <a:lnTo>
                  <a:pt x="122" y="115"/>
                </a:lnTo>
                <a:lnTo>
                  <a:pt x="119" y="115"/>
                </a:lnTo>
                <a:lnTo>
                  <a:pt x="118" y="116"/>
                </a:lnTo>
                <a:lnTo>
                  <a:pt x="116" y="117"/>
                </a:lnTo>
                <a:lnTo>
                  <a:pt x="116" y="118"/>
                </a:lnTo>
                <a:lnTo>
                  <a:pt x="115" y="118"/>
                </a:lnTo>
                <a:lnTo>
                  <a:pt x="114" y="116"/>
                </a:lnTo>
                <a:lnTo>
                  <a:pt x="114" y="115"/>
                </a:lnTo>
                <a:lnTo>
                  <a:pt x="114" y="120"/>
                </a:lnTo>
                <a:lnTo>
                  <a:pt x="115" y="123"/>
                </a:lnTo>
                <a:lnTo>
                  <a:pt x="114" y="123"/>
                </a:lnTo>
                <a:lnTo>
                  <a:pt x="113" y="123"/>
                </a:lnTo>
                <a:lnTo>
                  <a:pt x="111" y="122"/>
                </a:lnTo>
                <a:lnTo>
                  <a:pt x="109" y="123"/>
                </a:lnTo>
                <a:lnTo>
                  <a:pt x="105" y="124"/>
                </a:lnTo>
                <a:lnTo>
                  <a:pt x="102" y="125"/>
                </a:lnTo>
                <a:lnTo>
                  <a:pt x="100" y="125"/>
                </a:lnTo>
                <a:lnTo>
                  <a:pt x="95" y="122"/>
                </a:lnTo>
                <a:lnTo>
                  <a:pt x="93" y="122"/>
                </a:lnTo>
                <a:lnTo>
                  <a:pt x="93" y="121"/>
                </a:lnTo>
                <a:lnTo>
                  <a:pt x="95" y="121"/>
                </a:lnTo>
                <a:lnTo>
                  <a:pt x="98" y="120"/>
                </a:lnTo>
                <a:lnTo>
                  <a:pt x="98" y="118"/>
                </a:lnTo>
                <a:lnTo>
                  <a:pt x="98" y="116"/>
                </a:lnTo>
                <a:lnTo>
                  <a:pt x="100" y="115"/>
                </a:lnTo>
                <a:lnTo>
                  <a:pt x="100" y="114"/>
                </a:lnTo>
                <a:lnTo>
                  <a:pt x="101" y="112"/>
                </a:lnTo>
                <a:lnTo>
                  <a:pt x="102" y="112"/>
                </a:lnTo>
                <a:lnTo>
                  <a:pt x="102" y="106"/>
                </a:lnTo>
                <a:lnTo>
                  <a:pt x="103" y="104"/>
                </a:lnTo>
                <a:lnTo>
                  <a:pt x="105" y="103"/>
                </a:lnTo>
                <a:lnTo>
                  <a:pt x="106" y="105"/>
                </a:lnTo>
                <a:lnTo>
                  <a:pt x="108" y="104"/>
                </a:lnTo>
                <a:lnTo>
                  <a:pt x="114" y="105"/>
                </a:lnTo>
                <a:lnTo>
                  <a:pt x="116" y="104"/>
                </a:lnTo>
                <a:lnTo>
                  <a:pt x="116" y="103"/>
                </a:lnTo>
                <a:lnTo>
                  <a:pt x="115" y="101"/>
                </a:lnTo>
                <a:lnTo>
                  <a:pt x="115" y="100"/>
                </a:lnTo>
                <a:lnTo>
                  <a:pt x="115" y="97"/>
                </a:lnTo>
                <a:lnTo>
                  <a:pt x="114" y="96"/>
                </a:lnTo>
                <a:lnTo>
                  <a:pt x="110" y="94"/>
                </a:lnTo>
                <a:lnTo>
                  <a:pt x="108" y="91"/>
                </a:lnTo>
                <a:lnTo>
                  <a:pt x="108" y="90"/>
                </a:lnTo>
                <a:lnTo>
                  <a:pt x="106" y="87"/>
                </a:lnTo>
                <a:lnTo>
                  <a:pt x="104" y="87"/>
                </a:lnTo>
                <a:lnTo>
                  <a:pt x="103" y="85"/>
                </a:lnTo>
                <a:lnTo>
                  <a:pt x="102" y="84"/>
                </a:lnTo>
                <a:lnTo>
                  <a:pt x="102" y="81"/>
                </a:lnTo>
                <a:lnTo>
                  <a:pt x="102" y="80"/>
                </a:lnTo>
                <a:lnTo>
                  <a:pt x="101" y="77"/>
                </a:lnTo>
                <a:lnTo>
                  <a:pt x="100" y="76"/>
                </a:lnTo>
                <a:lnTo>
                  <a:pt x="98" y="76"/>
                </a:lnTo>
                <a:lnTo>
                  <a:pt x="94" y="74"/>
                </a:lnTo>
                <a:lnTo>
                  <a:pt x="93" y="73"/>
                </a:lnTo>
                <a:lnTo>
                  <a:pt x="89" y="74"/>
                </a:lnTo>
                <a:lnTo>
                  <a:pt x="86" y="73"/>
                </a:lnTo>
                <a:lnTo>
                  <a:pt x="81" y="70"/>
                </a:lnTo>
                <a:lnTo>
                  <a:pt x="79" y="70"/>
                </a:lnTo>
                <a:lnTo>
                  <a:pt x="75" y="69"/>
                </a:lnTo>
                <a:lnTo>
                  <a:pt x="71" y="70"/>
                </a:lnTo>
                <a:lnTo>
                  <a:pt x="69" y="70"/>
                </a:lnTo>
                <a:lnTo>
                  <a:pt x="66" y="69"/>
                </a:lnTo>
                <a:lnTo>
                  <a:pt x="65" y="70"/>
                </a:lnTo>
                <a:lnTo>
                  <a:pt x="64" y="7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20" name="Freeform 920"/>
          <p:cNvSpPr>
            <a:spLocks/>
          </p:cNvSpPr>
          <p:nvPr/>
        </p:nvSpPr>
        <p:spPr bwMode="auto">
          <a:xfrm>
            <a:off x="4611688" y="2109753"/>
            <a:ext cx="153987" cy="71438"/>
          </a:xfrm>
          <a:custGeom>
            <a:avLst/>
            <a:gdLst>
              <a:gd name="T0" fmla="*/ 96 w 97"/>
              <a:gd name="T1" fmla="*/ 29 h 45"/>
              <a:gd name="T2" fmla="*/ 92 w 97"/>
              <a:gd name="T3" fmla="*/ 31 h 45"/>
              <a:gd name="T4" fmla="*/ 88 w 97"/>
              <a:gd name="T5" fmla="*/ 32 h 45"/>
              <a:gd name="T6" fmla="*/ 88 w 97"/>
              <a:gd name="T7" fmla="*/ 37 h 45"/>
              <a:gd name="T8" fmla="*/ 84 w 97"/>
              <a:gd name="T9" fmla="*/ 39 h 45"/>
              <a:gd name="T10" fmla="*/ 82 w 97"/>
              <a:gd name="T11" fmla="*/ 42 h 45"/>
              <a:gd name="T12" fmla="*/ 76 w 97"/>
              <a:gd name="T13" fmla="*/ 41 h 45"/>
              <a:gd name="T14" fmla="*/ 73 w 97"/>
              <a:gd name="T15" fmla="*/ 43 h 45"/>
              <a:gd name="T16" fmla="*/ 72 w 97"/>
              <a:gd name="T17" fmla="*/ 45 h 45"/>
              <a:gd name="T18" fmla="*/ 69 w 97"/>
              <a:gd name="T19" fmla="*/ 41 h 45"/>
              <a:gd name="T20" fmla="*/ 56 w 97"/>
              <a:gd name="T21" fmla="*/ 39 h 45"/>
              <a:gd name="T22" fmla="*/ 45 w 97"/>
              <a:gd name="T23" fmla="*/ 38 h 45"/>
              <a:gd name="T24" fmla="*/ 43 w 97"/>
              <a:gd name="T25" fmla="*/ 41 h 45"/>
              <a:gd name="T26" fmla="*/ 38 w 97"/>
              <a:gd name="T27" fmla="*/ 44 h 45"/>
              <a:gd name="T28" fmla="*/ 33 w 97"/>
              <a:gd name="T29" fmla="*/ 44 h 45"/>
              <a:gd name="T30" fmla="*/ 27 w 97"/>
              <a:gd name="T31" fmla="*/ 42 h 45"/>
              <a:gd name="T32" fmla="*/ 20 w 97"/>
              <a:gd name="T33" fmla="*/ 37 h 45"/>
              <a:gd name="T34" fmla="*/ 10 w 97"/>
              <a:gd name="T35" fmla="*/ 29 h 45"/>
              <a:gd name="T36" fmla="*/ 6 w 97"/>
              <a:gd name="T37" fmla="*/ 22 h 45"/>
              <a:gd name="T38" fmla="*/ 3 w 97"/>
              <a:gd name="T39" fmla="*/ 19 h 45"/>
              <a:gd name="T40" fmla="*/ 0 w 97"/>
              <a:gd name="T41" fmla="*/ 14 h 45"/>
              <a:gd name="T42" fmla="*/ 4 w 97"/>
              <a:gd name="T43" fmla="*/ 17 h 45"/>
              <a:gd name="T44" fmla="*/ 6 w 97"/>
              <a:gd name="T45" fmla="*/ 14 h 45"/>
              <a:gd name="T46" fmla="*/ 14 w 97"/>
              <a:gd name="T47" fmla="*/ 11 h 45"/>
              <a:gd name="T48" fmla="*/ 20 w 97"/>
              <a:gd name="T49" fmla="*/ 8 h 45"/>
              <a:gd name="T50" fmla="*/ 30 w 97"/>
              <a:gd name="T51" fmla="*/ 0 h 45"/>
              <a:gd name="T52" fmla="*/ 34 w 97"/>
              <a:gd name="T53" fmla="*/ 3 h 45"/>
              <a:gd name="T54" fmla="*/ 38 w 97"/>
              <a:gd name="T55" fmla="*/ 4 h 45"/>
              <a:gd name="T56" fmla="*/ 43 w 97"/>
              <a:gd name="T57" fmla="*/ 2 h 45"/>
              <a:gd name="T58" fmla="*/ 47 w 97"/>
              <a:gd name="T59" fmla="*/ 5 h 45"/>
              <a:gd name="T60" fmla="*/ 55 w 97"/>
              <a:gd name="T61" fmla="*/ 7 h 45"/>
              <a:gd name="T62" fmla="*/ 61 w 97"/>
              <a:gd name="T63" fmla="*/ 9 h 45"/>
              <a:gd name="T64" fmla="*/ 61 w 97"/>
              <a:gd name="T65" fmla="*/ 10 h 45"/>
              <a:gd name="T66" fmla="*/ 65 w 97"/>
              <a:gd name="T67" fmla="*/ 15 h 45"/>
              <a:gd name="T68" fmla="*/ 69 w 97"/>
              <a:gd name="T69" fmla="*/ 14 h 45"/>
              <a:gd name="T70" fmla="*/ 68 w 97"/>
              <a:gd name="T71" fmla="*/ 12 h 45"/>
              <a:gd name="T72" fmla="*/ 81 w 97"/>
              <a:gd name="T73" fmla="*/ 14 h 45"/>
              <a:gd name="T74" fmla="*/ 83 w 97"/>
              <a:gd name="T75" fmla="*/ 20 h 45"/>
              <a:gd name="T76" fmla="*/ 87 w 97"/>
              <a:gd name="T77" fmla="*/ 20 h 45"/>
              <a:gd name="T78" fmla="*/ 97 w 97"/>
              <a:gd name="T79" fmla="*/ 28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97" h="45">
                <a:moveTo>
                  <a:pt x="97" y="28"/>
                </a:moveTo>
                <a:lnTo>
                  <a:pt x="96" y="29"/>
                </a:lnTo>
                <a:lnTo>
                  <a:pt x="93" y="29"/>
                </a:lnTo>
                <a:lnTo>
                  <a:pt x="92" y="31"/>
                </a:lnTo>
                <a:lnTo>
                  <a:pt x="91" y="32"/>
                </a:lnTo>
                <a:lnTo>
                  <a:pt x="88" y="32"/>
                </a:lnTo>
                <a:lnTo>
                  <a:pt x="87" y="33"/>
                </a:lnTo>
                <a:lnTo>
                  <a:pt x="88" y="37"/>
                </a:lnTo>
                <a:lnTo>
                  <a:pt x="86" y="38"/>
                </a:lnTo>
                <a:lnTo>
                  <a:pt x="84" y="39"/>
                </a:lnTo>
                <a:lnTo>
                  <a:pt x="85" y="40"/>
                </a:lnTo>
                <a:lnTo>
                  <a:pt x="82" y="42"/>
                </a:lnTo>
                <a:lnTo>
                  <a:pt x="77" y="42"/>
                </a:lnTo>
                <a:lnTo>
                  <a:pt x="76" y="41"/>
                </a:lnTo>
                <a:lnTo>
                  <a:pt x="74" y="41"/>
                </a:lnTo>
                <a:lnTo>
                  <a:pt x="73" y="43"/>
                </a:lnTo>
                <a:lnTo>
                  <a:pt x="72" y="45"/>
                </a:lnTo>
                <a:lnTo>
                  <a:pt x="72" y="45"/>
                </a:lnTo>
                <a:lnTo>
                  <a:pt x="72" y="43"/>
                </a:lnTo>
                <a:lnTo>
                  <a:pt x="69" y="41"/>
                </a:lnTo>
                <a:lnTo>
                  <a:pt x="59" y="41"/>
                </a:lnTo>
                <a:lnTo>
                  <a:pt x="56" y="39"/>
                </a:lnTo>
                <a:lnTo>
                  <a:pt x="54" y="38"/>
                </a:lnTo>
                <a:lnTo>
                  <a:pt x="45" y="38"/>
                </a:lnTo>
                <a:lnTo>
                  <a:pt x="44" y="40"/>
                </a:lnTo>
                <a:lnTo>
                  <a:pt x="43" y="41"/>
                </a:lnTo>
                <a:lnTo>
                  <a:pt x="41" y="43"/>
                </a:lnTo>
                <a:lnTo>
                  <a:pt x="38" y="44"/>
                </a:lnTo>
                <a:lnTo>
                  <a:pt x="36" y="44"/>
                </a:lnTo>
                <a:lnTo>
                  <a:pt x="33" y="44"/>
                </a:lnTo>
                <a:lnTo>
                  <a:pt x="31" y="43"/>
                </a:lnTo>
                <a:lnTo>
                  <a:pt x="27" y="42"/>
                </a:lnTo>
                <a:lnTo>
                  <a:pt x="26" y="40"/>
                </a:lnTo>
                <a:lnTo>
                  <a:pt x="20" y="37"/>
                </a:lnTo>
                <a:lnTo>
                  <a:pt x="17" y="33"/>
                </a:lnTo>
                <a:lnTo>
                  <a:pt x="10" y="29"/>
                </a:lnTo>
                <a:lnTo>
                  <a:pt x="6" y="25"/>
                </a:lnTo>
                <a:lnTo>
                  <a:pt x="6" y="22"/>
                </a:lnTo>
                <a:lnTo>
                  <a:pt x="5" y="20"/>
                </a:lnTo>
                <a:lnTo>
                  <a:pt x="3" y="19"/>
                </a:lnTo>
                <a:lnTo>
                  <a:pt x="1" y="17"/>
                </a:lnTo>
                <a:lnTo>
                  <a:pt x="0" y="14"/>
                </a:lnTo>
                <a:lnTo>
                  <a:pt x="1" y="14"/>
                </a:lnTo>
                <a:lnTo>
                  <a:pt x="4" y="17"/>
                </a:lnTo>
                <a:lnTo>
                  <a:pt x="5" y="17"/>
                </a:lnTo>
                <a:lnTo>
                  <a:pt x="6" y="14"/>
                </a:lnTo>
                <a:lnTo>
                  <a:pt x="10" y="12"/>
                </a:lnTo>
                <a:lnTo>
                  <a:pt x="14" y="11"/>
                </a:lnTo>
                <a:lnTo>
                  <a:pt x="18" y="10"/>
                </a:lnTo>
                <a:lnTo>
                  <a:pt x="20" y="8"/>
                </a:lnTo>
                <a:lnTo>
                  <a:pt x="30" y="4"/>
                </a:lnTo>
                <a:lnTo>
                  <a:pt x="30" y="0"/>
                </a:lnTo>
                <a:lnTo>
                  <a:pt x="33" y="1"/>
                </a:lnTo>
                <a:lnTo>
                  <a:pt x="34" y="3"/>
                </a:lnTo>
                <a:lnTo>
                  <a:pt x="36" y="4"/>
                </a:lnTo>
                <a:lnTo>
                  <a:pt x="38" y="4"/>
                </a:lnTo>
                <a:lnTo>
                  <a:pt x="39" y="5"/>
                </a:lnTo>
                <a:lnTo>
                  <a:pt x="43" y="2"/>
                </a:lnTo>
                <a:lnTo>
                  <a:pt x="46" y="3"/>
                </a:lnTo>
                <a:lnTo>
                  <a:pt x="47" y="5"/>
                </a:lnTo>
                <a:lnTo>
                  <a:pt x="49" y="5"/>
                </a:lnTo>
                <a:lnTo>
                  <a:pt x="55" y="7"/>
                </a:lnTo>
                <a:lnTo>
                  <a:pt x="57" y="9"/>
                </a:lnTo>
                <a:lnTo>
                  <a:pt x="61" y="9"/>
                </a:lnTo>
                <a:lnTo>
                  <a:pt x="61" y="10"/>
                </a:lnTo>
                <a:lnTo>
                  <a:pt x="61" y="10"/>
                </a:lnTo>
                <a:lnTo>
                  <a:pt x="59" y="12"/>
                </a:lnTo>
                <a:lnTo>
                  <a:pt x="65" y="15"/>
                </a:lnTo>
                <a:lnTo>
                  <a:pt x="67" y="17"/>
                </a:lnTo>
                <a:lnTo>
                  <a:pt x="69" y="14"/>
                </a:lnTo>
                <a:lnTo>
                  <a:pt x="68" y="13"/>
                </a:lnTo>
                <a:lnTo>
                  <a:pt x="68" y="12"/>
                </a:lnTo>
                <a:lnTo>
                  <a:pt x="75" y="14"/>
                </a:lnTo>
                <a:lnTo>
                  <a:pt x="81" y="14"/>
                </a:lnTo>
                <a:lnTo>
                  <a:pt x="81" y="18"/>
                </a:lnTo>
                <a:lnTo>
                  <a:pt x="83" y="20"/>
                </a:lnTo>
                <a:lnTo>
                  <a:pt x="84" y="19"/>
                </a:lnTo>
                <a:lnTo>
                  <a:pt x="87" y="20"/>
                </a:lnTo>
                <a:lnTo>
                  <a:pt x="92" y="25"/>
                </a:lnTo>
                <a:lnTo>
                  <a:pt x="97" y="28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21" name="Freeform 921"/>
          <p:cNvSpPr>
            <a:spLocks/>
          </p:cNvSpPr>
          <p:nvPr/>
        </p:nvSpPr>
        <p:spPr bwMode="auto">
          <a:xfrm>
            <a:off x="4611688" y="2109753"/>
            <a:ext cx="153987" cy="71438"/>
          </a:xfrm>
          <a:custGeom>
            <a:avLst/>
            <a:gdLst>
              <a:gd name="T0" fmla="*/ 96 w 97"/>
              <a:gd name="T1" fmla="*/ 29 h 45"/>
              <a:gd name="T2" fmla="*/ 92 w 97"/>
              <a:gd name="T3" fmla="*/ 31 h 45"/>
              <a:gd name="T4" fmla="*/ 88 w 97"/>
              <a:gd name="T5" fmla="*/ 32 h 45"/>
              <a:gd name="T6" fmla="*/ 88 w 97"/>
              <a:gd name="T7" fmla="*/ 37 h 45"/>
              <a:gd name="T8" fmla="*/ 84 w 97"/>
              <a:gd name="T9" fmla="*/ 39 h 45"/>
              <a:gd name="T10" fmla="*/ 82 w 97"/>
              <a:gd name="T11" fmla="*/ 42 h 45"/>
              <a:gd name="T12" fmla="*/ 76 w 97"/>
              <a:gd name="T13" fmla="*/ 41 h 45"/>
              <a:gd name="T14" fmla="*/ 73 w 97"/>
              <a:gd name="T15" fmla="*/ 43 h 45"/>
              <a:gd name="T16" fmla="*/ 72 w 97"/>
              <a:gd name="T17" fmla="*/ 45 h 45"/>
              <a:gd name="T18" fmla="*/ 69 w 97"/>
              <a:gd name="T19" fmla="*/ 41 h 45"/>
              <a:gd name="T20" fmla="*/ 56 w 97"/>
              <a:gd name="T21" fmla="*/ 39 h 45"/>
              <a:gd name="T22" fmla="*/ 45 w 97"/>
              <a:gd name="T23" fmla="*/ 38 h 45"/>
              <a:gd name="T24" fmla="*/ 43 w 97"/>
              <a:gd name="T25" fmla="*/ 41 h 45"/>
              <a:gd name="T26" fmla="*/ 38 w 97"/>
              <a:gd name="T27" fmla="*/ 44 h 45"/>
              <a:gd name="T28" fmla="*/ 33 w 97"/>
              <a:gd name="T29" fmla="*/ 44 h 45"/>
              <a:gd name="T30" fmla="*/ 27 w 97"/>
              <a:gd name="T31" fmla="*/ 42 h 45"/>
              <a:gd name="T32" fmla="*/ 20 w 97"/>
              <a:gd name="T33" fmla="*/ 37 h 45"/>
              <a:gd name="T34" fmla="*/ 10 w 97"/>
              <a:gd name="T35" fmla="*/ 29 h 45"/>
              <a:gd name="T36" fmla="*/ 6 w 97"/>
              <a:gd name="T37" fmla="*/ 22 h 45"/>
              <a:gd name="T38" fmla="*/ 3 w 97"/>
              <a:gd name="T39" fmla="*/ 19 h 45"/>
              <a:gd name="T40" fmla="*/ 0 w 97"/>
              <a:gd name="T41" fmla="*/ 14 h 45"/>
              <a:gd name="T42" fmla="*/ 4 w 97"/>
              <a:gd name="T43" fmla="*/ 17 h 45"/>
              <a:gd name="T44" fmla="*/ 6 w 97"/>
              <a:gd name="T45" fmla="*/ 14 h 45"/>
              <a:gd name="T46" fmla="*/ 14 w 97"/>
              <a:gd name="T47" fmla="*/ 11 h 45"/>
              <a:gd name="T48" fmla="*/ 20 w 97"/>
              <a:gd name="T49" fmla="*/ 8 h 45"/>
              <a:gd name="T50" fmla="*/ 30 w 97"/>
              <a:gd name="T51" fmla="*/ 0 h 45"/>
              <a:gd name="T52" fmla="*/ 34 w 97"/>
              <a:gd name="T53" fmla="*/ 3 h 45"/>
              <a:gd name="T54" fmla="*/ 38 w 97"/>
              <a:gd name="T55" fmla="*/ 4 h 45"/>
              <a:gd name="T56" fmla="*/ 43 w 97"/>
              <a:gd name="T57" fmla="*/ 2 h 45"/>
              <a:gd name="T58" fmla="*/ 47 w 97"/>
              <a:gd name="T59" fmla="*/ 5 h 45"/>
              <a:gd name="T60" fmla="*/ 55 w 97"/>
              <a:gd name="T61" fmla="*/ 7 h 45"/>
              <a:gd name="T62" fmla="*/ 61 w 97"/>
              <a:gd name="T63" fmla="*/ 9 h 45"/>
              <a:gd name="T64" fmla="*/ 61 w 97"/>
              <a:gd name="T65" fmla="*/ 10 h 45"/>
              <a:gd name="T66" fmla="*/ 65 w 97"/>
              <a:gd name="T67" fmla="*/ 15 h 45"/>
              <a:gd name="T68" fmla="*/ 69 w 97"/>
              <a:gd name="T69" fmla="*/ 14 h 45"/>
              <a:gd name="T70" fmla="*/ 68 w 97"/>
              <a:gd name="T71" fmla="*/ 12 h 45"/>
              <a:gd name="T72" fmla="*/ 81 w 97"/>
              <a:gd name="T73" fmla="*/ 14 h 45"/>
              <a:gd name="T74" fmla="*/ 83 w 97"/>
              <a:gd name="T75" fmla="*/ 20 h 45"/>
              <a:gd name="T76" fmla="*/ 87 w 97"/>
              <a:gd name="T77" fmla="*/ 20 h 45"/>
              <a:gd name="T78" fmla="*/ 97 w 97"/>
              <a:gd name="T79" fmla="*/ 28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97" h="45">
                <a:moveTo>
                  <a:pt x="97" y="28"/>
                </a:moveTo>
                <a:lnTo>
                  <a:pt x="96" y="29"/>
                </a:lnTo>
                <a:lnTo>
                  <a:pt x="93" y="29"/>
                </a:lnTo>
                <a:lnTo>
                  <a:pt x="92" y="31"/>
                </a:lnTo>
                <a:lnTo>
                  <a:pt x="91" y="32"/>
                </a:lnTo>
                <a:lnTo>
                  <a:pt x="88" y="32"/>
                </a:lnTo>
                <a:lnTo>
                  <a:pt x="87" y="33"/>
                </a:lnTo>
                <a:lnTo>
                  <a:pt x="88" y="37"/>
                </a:lnTo>
                <a:lnTo>
                  <a:pt x="86" y="38"/>
                </a:lnTo>
                <a:lnTo>
                  <a:pt x="84" y="39"/>
                </a:lnTo>
                <a:lnTo>
                  <a:pt x="85" y="40"/>
                </a:lnTo>
                <a:lnTo>
                  <a:pt x="82" y="42"/>
                </a:lnTo>
                <a:lnTo>
                  <a:pt x="77" y="42"/>
                </a:lnTo>
                <a:lnTo>
                  <a:pt x="76" y="41"/>
                </a:lnTo>
                <a:lnTo>
                  <a:pt x="74" y="41"/>
                </a:lnTo>
                <a:lnTo>
                  <a:pt x="73" y="43"/>
                </a:lnTo>
                <a:lnTo>
                  <a:pt x="72" y="45"/>
                </a:lnTo>
                <a:lnTo>
                  <a:pt x="72" y="45"/>
                </a:lnTo>
                <a:lnTo>
                  <a:pt x="72" y="43"/>
                </a:lnTo>
                <a:lnTo>
                  <a:pt x="69" y="41"/>
                </a:lnTo>
                <a:lnTo>
                  <a:pt x="59" y="41"/>
                </a:lnTo>
                <a:lnTo>
                  <a:pt x="56" y="39"/>
                </a:lnTo>
                <a:lnTo>
                  <a:pt x="54" y="38"/>
                </a:lnTo>
                <a:lnTo>
                  <a:pt x="45" y="38"/>
                </a:lnTo>
                <a:lnTo>
                  <a:pt x="44" y="40"/>
                </a:lnTo>
                <a:lnTo>
                  <a:pt x="43" y="41"/>
                </a:lnTo>
                <a:lnTo>
                  <a:pt x="41" y="43"/>
                </a:lnTo>
                <a:lnTo>
                  <a:pt x="38" y="44"/>
                </a:lnTo>
                <a:lnTo>
                  <a:pt x="36" y="44"/>
                </a:lnTo>
                <a:lnTo>
                  <a:pt x="33" y="44"/>
                </a:lnTo>
                <a:lnTo>
                  <a:pt x="31" y="43"/>
                </a:lnTo>
                <a:lnTo>
                  <a:pt x="27" y="42"/>
                </a:lnTo>
                <a:lnTo>
                  <a:pt x="26" y="40"/>
                </a:lnTo>
                <a:lnTo>
                  <a:pt x="20" y="37"/>
                </a:lnTo>
                <a:lnTo>
                  <a:pt x="17" y="33"/>
                </a:lnTo>
                <a:lnTo>
                  <a:pt x="10" y="29"/>
                </a:lnTo>
                <a:lnTo>
                  <a:pt x="6" y="25"/>
                </a:lnTo>
                <a:lnTo>
                  <a:pt x="6" y="22"/>
                </a:lnTo>
                <a:lnTo>
                  <a:pt x="5" y="20"/>
                </a:lnTo>
                <a:lnTo>
                  <a:pt x="3" y="19"/>
                </a:lnTo>
                <a:lnTo>
                  <a:pt x="1" y="17"/>
                </a:lnTo>
                <a:lnTo>
                  <a:pt x="0" y="14"/>
                </a:lnTo>
                <a:lnTo>
                  <a:pt x="1" y="14"/>
                </a:lnTo>
                <a:lnTo>
                  <a:pt x="4" y="17"/>
                </a:lnTo>
                <a:lnTo>
                  <a:pt x="5" y="17"/>
                </a:lnTo>
                <a:lnTo>
                  <a:pt x="6" y="14"/>
                </a:lnTo>
                <a:lnTo>
                  <a:pt x="10" y="12"/>
                </a:lnTo>
                <a:lnTo>
                  <a:pt x="14" y="11"/>
                </a:lnTo>
                <a:lnTo>
                  <a:pt x="18" y="10"/>
                </a:lnTo>
                <a:lnTo>
                  <a:pt x="20" y="8"/>
                </a:lnTo>
                <a:lnTo>
                  <a:pt x="30" y="4"/>
                </a:lnTo>
                <a:lnTo>
                  <a:pt x="30" y="0"/>
                </a:lnTo>
                <a:lnTo>
                  <a:pt x="33" y="1"/>
                </a:lnTo>
                <a:lnTo>
                  <a:pt x="34" y="3"/>
                </a:lnTo>
                <a:lnTo>
                  <a:pt x="36" y="4"/>
                </a:lnTo>
                <a:lnTo>
                  <a:pt x="38" y="4"/>
                </a:lnTo>
                <a:lnTo>
                  <a:pt x="39" y="5"/>
                </a:lnTo>
                <a:lnTo>
                  <a:pt x="43" y="2"/>
                </a:lnTo>
                <a:lnTo>
                  <a:pt x="46" y="3"/>
                </a:lnTo>
                <a:lnTo>
                  <a:pt x="47" y="5"/>
                </a:lnTo>
                <a:lnTo>
                  <a:pt x="49" y="5"/>
                </a:lnTo>
                <a:lnTo>
                  <a:pt x="55" y="7"/>
                </a:lnTo>
                <a:lnTo>
                  <a:pt x="57" y="9"/>
                </a:lnTo>
                <a:lnTo>
                  <a:pt x="61" y="9"/>
                </a:lnTo>
                <a:lnTo>
                  <a:pt x="61" y="10"/>
                </a:lnTo>
                <a:lnTo>
                  <a:pt x="61" y="10"/>
                </a:lnTo>
                <a:lnTo>
                  <a:pt x="59" y="12"/>
                </a:lnTo>
                <a:lnTo>
                  <a:pt x="65" y="15"/>
                </a:lnTo>
                <a:lnTo>
                  <a:pt x="67" y="17"/>
                </a:lnTo>
                <a:lnTo>
                  <a:pt x="69" y="14"/>
                </a:lnTo>
                <a:lnTo>
                  <a:pt x="68" y="13"/>
                </a:lnTo>
                <a:lnTo>
                  <a:pt x="68" y="12"/>
                </a:lnTo>
                <a:lnTo>
                  <a:pt x="75" y="14"/>
                </a:lnTo>
                <a:lnTo>
                  <a:pt x="81" y="14"/>
                </a:lnTo>
                <a:lnTo>
                  <a:pt x="81" y="18"/>
                </a:lnTo>
                <a:lnTo>
                  <a:pt x="83" y="20"/>
                </a:lnTo>
                <a:lnTo>
                  <a:pt x="84" y="19"/>
                </a:lnTo>
                <a:lnTo>
                  <a:pt x="87" y="20"/>
                </a:lnTo>
                <a:lnTo>
                  <a:pt x="92" y="25"/>
                </a:lnTo>
                <a:lnTo>
                  <a:pt x="97" y="28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22" name="Freeform 922"/>
          <p:cNvSpPr>
            <a:spLocks/>
          </p:cNvSpPr>
          <p:nvPr/>
        </p:nvSpPr>
        <p:spPr bwMode="auto">
          <a:xfrm>
            <a:off x="4484688" y="2206590"/>
            <a:ext cx="98425" cy="50800"/>
          </a:xfrm>
          <a:custGeom>
            <a:avLst/>
            <a:gdLst>
              <a:gd name="T0" fmla="*/ 13 w 62"/>
              <a:gd name="T1" fmla="*/ 29 h 32"/>
              <a:gd name="T2" fmla="*/ 11 w 62"/>
              <a:gd name="T3" fmla="*/ 27 h 32"/>
              <a:gd name="T4" fmla="*/ 10 w 62"/>
              <a:gd name="T5" fmla="*/ 22 h 32"/>
              <a:gd name="T6" fmla="*/ 3 w 62"/>
              <a:gd name="T7" fmla="*/ 27 h 32"/>
              <a:gd name="T8" fmla="*/ 0 w 62"/>
              <a:gd name="T9" fmla="*/ 27 h 32"/>
              <a:gd name="T10" fmla="*/ 1 w 62"/>
              <a:gd name="T11" fmla="*/ 19 h 32"/>
              <a:gd name="T12" fmla="*/ 3 w 62"/>
              <a:gd name="T13" fmla="*/ 17 h 32"/>
              <a:gd name="T14" fmla="*/ 5 w 62"/>
              <a:gd name="T15" fmla="*/ 14 h 32"/>
              <a:gd name="T16" fmla="*/ 7 w 62"/>
              <a:gd name="T17" fmla="*/ 11 h 32"/>
              <a:gd name="T18" fmla="*/ 12 w 62"/>
              <a:gd name="T19" fmla="*/ 4 h 32"/>
              <a:gd name="T20" fmla="*/ 17 w 62"/>
              <a:gd name="T21" fmla="*/ 3 h 32"/>
              <a:gd name="T22" fmla="*/ 21 w 62"/>
              <a:gd name="T23" fmla="*/ 1 h 32"/>
              <a:gd name="T24" fmla="*/ 32 w 62"/>
              <a:gd name="T25" fmla="*/ 1 h 32"/>
              <a:gd name="T26" fmla="*/ 44 w 62"/>
              <a:gd name="T27" fmla="*/ 1 h 32"/>
              <a:gd name="T28" fmla="*/ 51 w 62"/>
              <a:gd name="T29" fmla="*/ 4 h 32"/>
              <a:gd name="T30" fmla="*/ 50 w 62"/>
              <a:gd name="T31" fmla="*/ 9 h 32"/>
              <a:gd name="T32" fmla="*/ 53 w 62"/>
              <a:gd name="T33" fmla="*/ 12 h 32"/>
              <a:gd name="T34" fmla="*/ 58 w 62"/>
              <a:gd name="T35" fmla="*/ 14 h 32"/>
              <a:gd name="T36" fmla="*/ 62 w 62"/>
              <a:gd name="T37" fmla="*/ 14 h 32"/>
              <a:gd name="T38" fmla="*/ 62 w 62"/>
              <a:gd name="T39" fmla="*/ 18 h 32"/>
              <a:gd name="T40" fmla="*/ 58 w 62"/>
              <a:gd name="T41" fmla="*/ 19 h 32"/>
              <a:gd name="T42" fmla="*/ 58 w 62"/>
              <a:gd name="T43" fmla="*/ 22 h 32"/>
              <a:gd name="T44" fmla="*/ 58 w 62"/>
              <a:gd name="T45" fmla="*/ 24 h 32"/>
              <a:gd name="T46" fmla="*/ 50 w 62"/>
              <a:gd name="T47" fmla="*/ 23 h 32"/>
              <a:gd name="T48" fmla="*/ 46 w 62"/>
              <a:gd name="T49" fmla="*/ 21 h 32"/>
              <a:gd name="T50" fmla="*/ 43 w 62"/>
              <a:gd name="T51" fmla="*/ 28 h 32"/>
              <a:gd name="T52" fmla="*/ 42 w 62"/>
              <a:gd name="T53" fmla="*/ 31 h 32"/>
              <a:gd name="T54" fmla="*/ 38 w 62"/>
              <a:gd name="T55" fmla="*/ 29 h 32"/>
              <a:gd name="T56" fmla="*/ 34 w 62"/>
              <a:gd name="T57" fmla="*/ 22 h 32"/>
              <a:gd name="T58" fmla="*/ 30 w 62"/>
              <a:gd name="T59" fmla="*/ 25 h 32"/>
              <a:gd name="T60" fmla="*/ 29 w 62"/>
              <a:gd name="T61" fmla="*/ 29 h 32"/>
              <a:gd name="T62" fmla="*/ 23 w 62"/>
              <a:gd name="T63" fmla="*/ 30 h 32"/>
              <a:gd name="T64" fmla="*/ 14 w 62"/>
              <a:gd name="T65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62" h="32">
                <a:moveTo>
                  <a:pt x="14" y="32"/>
                </a:moveTo>
                <a:lnTo>
                  <a:pt x="13" y="29"/>
                </a:lnTo>
                <a:lnTo>
                  <a:pt x="12" y="29"/>
                </a:lnTo>
                <a:lnTo>
                  <a:pt x="11" y="27"/>
                </a:lnTo>
                <a:lnTo>
                  <a:pt x="11" y="22"/>
                </a:lnTo>
                <a:lnTo>
                  <a:pt x="10" y="22"/>
                </a:lnTo>
                <a:lnTo>
                  <a:pt x="5" y="22"/>
                </a:lnTo>
                <a:lnTo>
                  <a:pt x="3" y="27"/>
                </a:lnTo>
                <a:lnTo>
                  <a:pt x="1" y="27"/>
                </a:lnTo>
                <a:lnTo>
                  <a:pt x="0" y="27"/>
                </a:lnTo>
                <a:lnTo>
                  <a:pt x="0" y="21"/>
                </a:lnTo>
                <a:lnTo>
                  <a:pt x="1" y="19"/>
                </a:lnTo>
                <a:lnTo>
                  <a:pt x="2" y="18"/>
                </a:lnTo>
                <a:lnTo>
                  <a:pt x="3" y="17"/>
                </a:lnTo>
                <a:lnTo>
                  <a:pt x="5" y="15"/>
                </a:lnTo>
                <a:lnTo>
                  <a:pt x="5" y="14"/>
                </a:lnTo>
                <a:lnTo>
                  <a:pt x="5" y="12"/>
                </a:lnTo>
                <a:lnTo>
                  <a:pt x="7" y="11"/>
                </a:lnTo>
                <a:lnTo>
                  <a:pt x="13" y="5"/>
                </a:lnTo>
                <a:lnTo>
                  <a:pt x="12" y="4"/>
                </a:lnTo>
                <a:lnTo>
                  <a:pt x="13" y="2"/>
                </a:lnTo>
                <a:lnTo>
                  <a:pt x="17" y="3"/>
                </a:lnTo>
                <a:lnTo>
                  <a:pt x="20" y="2"/>
                </a:lnTo>
                <a:lnTo>
                  <a:pt x="21" y="1"/>
                </a:lnTo>
                <a:lnTo>
                  <a:pt x="23" y="2"/>
                </a:lnTo>
                <a:lnTo>
                  <a:pt x="32" y="1"/>
                </a:lnTo>
                <a:lnTo>
                  <a:pt x="38" y="0"/>
                </a:lnTo>
                <a:lnTo>
                  <a:pt x="44" y="1"/>
                </a:lnTo>
                <a:lnTo>
                  <a:pt x="48" y="3"/>
                </a:lnTo>
                <a:lnTo>
                  <a:pt x="51" y="4"/>
                </a:lnTo>
                <a:lnTo>
                  <a:pt x="50" y="7"/>
                </a:lnTo>
                <a:lnTo>
                  <a:pt x="50" y="9"/>
                </a:lnTo>
                <a:lnTo>
                  <a:pt x="52" y="12"/>
                </a:lnTo>
                <a:lnTo>
                  <a:pt x="53" y="12"/>
                </a:lnTo>
                <a:lnTo>
                  <a:pt x="56" y="13"/>
                </a:lnTo>
                <a:lnTo>
                  <a:pt x="58" y="14"/>
                </a:lnTo>
                <a:lnTo>
                  <a:pt x="61" y="13"/>
                </a:lnTo>
                <a:lnTo>
                  <a:pt x="62" y="14"/>
                </a:lnTo>
                <a:lnTo>
                  <a:pt x="62" y="17"/>
                </a:lnTo>
                <a:lnTo>
                  <a:pt x="62" y="18"/>
                </a:lnTo>
                <a:lnTo>
                  <a:pt x="61" y="19"/>
                </a:lnTo>
                <a:lnTo>
                  <a:pt x="58" y="19"/>
                </a:lnTo>
                <a:lnTo>
                  <a:pt x="57" y="20"/>
                </a:lnTo>
                <a:lnTo>
                  <a:pt x="58" y="22"/>
                </a:lnTo>
                <a:lnTo>
                  <a:pt x="58" y="23"/>
                </a:lnTo>
                <a:lnTo>
                  <a:pt x="58" y="24"/>
                </a:lnTo>
                <a:lnTo>
                  <a:pt x="53" y="23"/>
                </a:lnTo>
                <a:lnTo>
                  <a:pt x="50" y="23"/>
                </a:lnTo>
                <a:lnTo>
                  <a:pt x="48" y="22"/>
                </a:lnTo>
                <a:lnTo>
                  <a:pt x="46" y="21"/>
                </a:lnTo>
                <a:lnTo>
                  <a:pt x="46" y="23"/>
                </a:lnTo>
                <a:lnTo>
                  <a:pt x="43" y="28"/>
                </a:lnTo>
                <a:lnTo>
                  <a:pt x="43" y="30"/>
                </a:lnTo>
                <a:lnTo>
                  <a:pt x="42" y="31"/>
                </a:lnTo>
                <a:lnTo>
                  <a:pt x="41" y="30"/>
                </a:lnTo>
                <a:lnTo>
                  <a:pt x="38" y="29"/>
                </a:lnTo>
                <a:lnTo>
                  <a:pt x="36" y="27"/>
                </a:lnTo>
                <a:lnTo>
                  <a:pt x="34" y="22"/>
                </a:lnTo>
                <a:lnTo>
                  <a:pt x="32" y="23"/>
                </a:lnTo>
                <a:lnTo>
                  <a:pt x="30" y="25"/>
                </a:lnTo>
                <a:lnTo>
                  <a:pt x="30" y="28"/>
                </a:lnTo>
                <a:lnTo>
                  <a:pt x="29" y="29"/>
                </a:lnTo>
                <a:lnTo>
                  <a:pt x="26" y="31"/>
                </a:lnTo>
                <a:lnTo>
                  <a:pt x="23" y="30"/>
                </a:lnTo>
                <a:lnTo>
                  <a:pt x="16" y="32"/>
                </a:lnTo>
                <a:lnTo>
                  <a:pt x="14" y="3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23" name="Freeform 923"/>
          <p:cNvSpPr>
            <a:spLocks/>
          </p:cNvSpPr>
          <p:nvPr/>
        </p:nvSpPr>
        <p:spPr bwMode="auto">
          <a:xfrm>
            <a:off x="4484688" y="2206590"/>
            <a:ext cx="98425" cy="50800"/>
          </a:xfrm>
          <a:custGeom>
            <a:avLst/>
            <a:gdLst>
              <a:gd name="T0" fmla="*/ 13 w 62"/>
              <a:gd name="T1" fmla="*/ 29 h 32"/>
              <a:gd name="T2" fmla="*/ 11 w 62"/>
              <a:gd name="T3" fmla="*/ 27 h 32"/>
              <a:gd name="T4" fmla="*/ 10 w 62"/>
              <a:gd name="T5" fmla="*/ 22 h 32"/>
              <a:gd name="T6" fmla="*/ 3 w 62"/>
              <a:gd name="T7" fmla="*/ 27 h 32"/>
              <a:gd name="T8" fmla="*/ 0 w 62"/>
              <a:gd name="T9" fmla="*/ 27 h 32"/>
              <a:gd name="T10" fmla="*/ 1 w 62"/>
              <a:gd name="T11" fmla="*/ 19 h 32"/>
              <a:gd name="T12" fmla="*/ 3 w 62"/>
              <a:gd name="T13" fmla="*/ 17 h 32"/>
              <a:gd name="T14" fmla="*/ 5 w 62"/>
              <a:gd name="T15" fmla="*/ 14 h 32"/>
              <a:gd name="T16" fmla="*/ 7 w 62"/>
              <a:gd name="T17" fmla="*/ 11 h 32"/>
              <a:gd name="T18" fmla="*/ 12 w 62"/>
              <a:gd name="T19" fmla="*/ 4 h 32"/>
              <a:gd name="T20" fmla="*/ 17 w 62"/>
              <a:gd name="T21" fmla="*/ 3 h 32"/>
              <a:gd name="T22" fmla="*/ 21 w 62"/>
              <a:gd name="T23" fmla="*/ 1 h 32"/>
              <a:gd name="T24" fmla="*/ 32 w 62"/>
              <a:gd name="T25" fmla="*/ 1 h 32"/>
              <a:gd name="T26" fmla="*/ 44 w 62"/>
              <a:gd name="T27" fmla="*/ 1 h 32"/>
              <a:gd name="T28" fmla="*/ 51 w 62"/>
              <a:gd name="T29" fmla="*/ 4 h 32"/>
              <a:gd name="T30" fmla="*/ 50 w 62"/>
              <a:gd name="T31" fmla="*/ 9 h 32"/>
              <a:gd name="T32" fmla="*/ 53 w 62"/>
              <a:gd name="T33" fmla="*/ 12 h 32"/>
              <a:gd name="T34" fmla="*/ 58 w 62"/>
              <a:gd name="T35" fmla="*/ 14 h 32"/>
              <a:gd name="T36" fmla="*/ 62 w 62"/>
              <a:gd name="T37" fmla="*/ 14 h 32"/>
              <a:gd name="T38" fmla="*/ 62 w 62"/>
              <a:gd name="T39" fmla="*/ 18 h 32"/>
              <a:gd name="T40" fmla="*/ 58 w 62"/>
              <a:gd name="T41" fmla="*/ 19 h 32"/>
              <a:gd name="T42" fmla="*/ 58 w 62"/>
              <a:gd name="T43" fmla="*/ 22 h 32"/>
              <a:gd name="T44" fmla="*/ 58 w 62"/>
              <a:gd name="T45" fmla="*/ 24 h 32"/>
              <a:gd name="T46" fmla="*/ 50 w 62"/>
              <a:gd name="T47" fmla="*/ 23 h 32"/>
              <a:gd name="T48" fmla="*/ 46 w 62"/>
              <a:gd name="T49" fmla="*/ 21 h 32"/>
              <a:gd name="T50" fmla="*/ 43 w 62"/>
              <a:gd name="T51" fmla="*/ 28 h 32"/>
              <a:gd name="T52" fmla="*/ 42 w 62"/>
              <a:gd name="T53" fmla="*/ 31 h 32"/>
              <a:gd name="T54" fmla="*/ 38 w 62"/>
              <a:gd name="T55" fmla="*/ 29 h 32"/>
              <a:gd name="T56" fmla="*/ 34 w 62"/>
              <a:gd name="T57" fmla="*/ 22 h 32"/>
              <a:gd name="T58" fmla="*/ 30 w 62"/>
              <a:gd name="T59" fmla="*/ 25 h 32"/>
              <a:gd name="T60" fmla="*/ 29 w 62"/>
              <a:gd name="T61" fmla="*/ 29 h 32"/>
              <a:gd name="T62" fmla="*/ 23 w 62"/>
              <a:gd name="T63" fmla="*/ 30 h 32"/>
              <a:gd name="T64" fmla="*/ 14 w 62"/>
              <a:gd name="T65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62" h="32">
                <a:moveTo>
                  <a:pt x="14" y="32"/>
                </a:moveTo>
                <a:lnTo>
                  <a:pt x="13" y="29"/>
                </a:lnTo>
                <a:lnTo>
                  <a:pt x="12" y="29"/>
                </a:lnTo>
                <a:lnTo>
                  <a:pt x="11" y="27"/>
                </a:lnTo>
                <a:lnTo>
                  <a:pt x="11" y="22"/>
                </a:lnTo>
                <a:lnTo>
                  <a:pt x="10" y="22"/>
                </a:lnTo>
                <a:lnTo>
                  <a:pt x="5" y="22"/>
                </a:lnTo>
                <a:lnTo>
                  <a:pt x="3" y="27"/>
                </a:lnTo>
                <a:lnTo>
                  <a:pt x="1" y="27"/>
                </a:lnTo>
                <a:lnTo>
                  <a:pt x="0" y="27"/>
                </a:lnTo>
                <a:lnTo>
                  <a:pt x="0" y="21"/>
                </a:lnTo>
                <a:lnTo>
                  <a:pt x="1" y="19"/>
                </a:lnTo>
                <a:lnTo>
                  <a:pt x="2" y="18"/>
                </a:lnTo>
                <a:lnTo>
                  <a:pt x="3" y="17"/>
                </a:lnTo>
                <a:lnTo>
                  <a:pt x="5" y="15"/>
                </a:lnTo>
                <a:lnTo>
                  <a:pt x="5" y="14"/>
                </a:lnTo>
                <a:lnTo>
                  <a:pt x="5" y="12"/>
                </a:lnTo>
                <a:lnTo>
                  <a:pt x="7" y="11"/>
                </a:lnTo>
                <a:lnTo>
                  <a:pt x="13" y="5"/>
                </a:lnTo>
                <a:lnTo>
                  <a:pt x="12" y="4"/>
                </a:lnTo>
                <a:lnTo>
                  <a:pt x="13" y="2"/>
                </a:lnTo>
                <a:lnTo>
                  <a:pt x="17" y="3"/>
                </a:lnTo>
                <a:lnTo>
                  <a:pt x="20" y="2"/>
                </a:lnTo>
                <a:lnTo>
                  <a:pt x="21" y="1"/>
                </a:lnTo>
                <a:lnTo>
                  <a:pt x="23" y="2"/>
                </a:lnTo>
                <a:lnTo>
                  <a:pt x="32" y="1"/>
                </a:lnTo>
                <a:lnTo>
                  <a:pt x="38" y="0"/>
                </a:lnTo>
                <a:lnTo>
                  <a:pt x="44" y="1"/>
                </a:lnTo>
                <a:lnTo>
                  <a:pt x="48" y="3"/>
                </a:lnTo>
                <a:lnTo>
                  <a:pt x="51" y="4"/>
                </a:lnTo>
                <a:lnTo>
                  <a:pt x="50" y="7"/>
                </a:lnTo>
                <a:lnTo>
                  <a:pt x="50" y="9"/>
                </a:lnTo>
                <a:lnTo>
                  <a:pt x="52" y="12"/>
                </a:lnTo>
                <a:lnTo>
                  <a:pt x="53" y="12"/>
                </a:lnTo>
                <a:lnTo>
                  <a:pt x="56" y="13"/>
                </a:lnTo>
                <a:lnTo>
                  <a:pt x="58" y="14"/>
                </a:lnTo>
                <a:lnTo>
                  <a:pt x="61" y="13"/>
                </a:lnTo>
                <a:lnTo>
                  <a:pt x="62" y="14"/>
                </a:lnTo>
                <a:lnTo>
                  <a:pt x="62" y="17"/>
                </a:lnTo>
                <a:lnTo>
                  <a:pt x="62" y="18"/>
                </a:lnTo>
                <a:lnTo>
                  <a:pt x="61" y="19"/>
                </a:lnTo>
                <a:lnTo>
                  <a:pt x="58" y="19"/>
                </a:lnTo>
                <a:lnTo>
                  <a:pt x="57" y="20"/>
                </a:lnTo>
                <a:lnTo>
                  <a:pt x="58" y="22"/>
                </a:lnTo>
                <a:lnTo>
                  <a:pt x="58" y="23"/>
                </a:lnTo>
                <a:lnTo>
                  <a:pt x="58" y="24"/>
                </a:lnTo>
                <a:lnTo>
                  <a:pt x="53" y="23"/>
                </a:lnTo>
                <a:lnTo>
                  <a:pt x="50" y="23"/>
                </a:lnTo>
                <a:lnTo>
                  <a:pt x="48" y="22"/>
                </a:lnTo>
                <a:lnTo>
                  <a:pt x="46" y="21"/>
                </a:lnTo>
                <a:lnTo>
                  <a:pt x="46" y="23"/>
                </a:lnTo>
                <a:lnTo>
                  <a:pt x="43" y="28"/>
                </a:lnTo>
                <a:lnTo>
                  <a:pt x="43" y="30"/>
                </a:lnTo>
                <a:lnTo>
                  <a:pt x="42" y="31"/>
                </a:lnTo>
                <a:lnTo>
                  <a:pt x="41" y="30"/>
                </a:lnTo>
                <a:lnTo>
                  <a:pt x="38" y="29"/>
                </a:lnTo>
                <a:lnTo>
                  <a:pt x="36" y="27"/>
                </a:lnTo>
                <a:lnTo>
                  <a:pt x="34" y="22"/>
                </a:lnTo>
                <a:lnTo>
                  <a:pt x="32" y="23"/>
                </a:lnTo>
                <a:lnTo>
                  <a:pt x="30" y="25"/>
                </a:lnTo>
                <a:lnTo>
                  <a:pt x="30" y="28"/>
                </a:lnTo>
                <a:lnTo>
                  <a:pt x="29" y="29"/>
                </a:lnTo>
                <a:lnTo>
                  <a:pt x="26" y="31"/>
                </a:lnTo>
                <a:lnTo>
                  <a:pt x="23" y="30"/>
                </a:lnTo>
                <a:lnTo>
                  <a:pt x="16" y="32"/>
                </a:lnTo>
                <a:lnTo>
                  <a:pt x="14" y="3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24" name="Freeform 924"/>
          <p:cNvSpPr>
            <a:spLocks/>
          </p:cNvSpPr>
          <p:nvPr/>
        </p:nvSpPr>
        <p:spPr bwMode="auto">
          <a:xfrm>
            <a:off x="4410075" y="2100228"/>
            <a:ext cx="76200" cy="53975"/>
          </a:xfrm>
          <a:custGeom>
            <a:avLst/>
            <a:gdLst>
              <a:gd name="T0" fmla="*/ 41 w 48"/>
              <a:gd name="T1" fmla="*/ 33 h 34"/>
              <a:gd name="T2" fmla="*/ 39 w 48"/>
              <a:gd name="T3" fmla="*/ 34 h 34"/>
              <a:gd name="T4" fmla="*/ 37 w 48"/>
              <a:gd name="T5" fmla="*/ 33 h 34"/>
              <a:gd name="T6" fmla="*/ 34 w 48"/>
              <a:gd name="T7" fmla="*/ 31 h 34"/>
              <a:gd name="T8" fmla="*/ 31 w 48"/>
              <a:gd name="T9" fmla="*/ 30 h 34"/>
              <a:gd name="T10" fmla="*/ 32 w 48"/>
              <a:gd name="T11" fmla="*/ 29 h 34"/>
              <a:gd name="T12" fmla="*/ 31 w 48"/>
              <a:gd name="T13" fmla="*/ 28 h 34"/>
              <a:gd name="T14" fmla="*/ 30 w 48"/>
              <a:gd name="T15" fmla="*/ 24 h 34"/>
              <a:gd name="T16" fmla="*/ 29 w 48"/>
              <a:gd name="T17" fmla="*/ 24 h 34"/>
              <a:gd name="T18" fmla="*/ 28 w 48"/>
              <a:gd name="T19" fmla="*/ 25 h 34"/>
              <a:gd name="T20" fmla="*/ 27 w 48"/>
              <a:gd name="T21" fmla="*/ 27 h 34"/>
              <a:gd name="T22" fmla="*/ 23 w 48"/>
              <a:gd name="T23" fmla="*/ 27 h 34"/>
              <a:gd name="T24" fmla="*/ 21 w 48"/>
              <a:gd name="T25" fmla="*/ 26 h 34"/>
              <a:gd name="T26" fmla="*/ 20 w 48"/>
              <a:gd name="T27" fmla="*/ 23 h 34"/>
              <a:gd name="T28" fmla="*/ 20 w 48"/>
              <a:gd name="T29" fmla="*/ 20 h 34"/>
              <a:gd name="T30" fmla="*/ 19 w 48"/>
              <a:gd name="T31" fmla="*/ 19 h 34"/>
              <a:gd name="T32" fmla="*/ 16 w 48"/>
              <a:gd name="T33" fmla="*/ 19 h 34"/>
              <a:gd name="T34" fmla="*/ 11 w 48"/>
              <a:gd name="T35" fmla="*/ 17 h 34"/>
              <a:gd name="T36" fmla="*/ 9 w 48"/>
              <a:gd name="T37" fmla="*/ 17 h 34"/>
              <a:gd name="T38" fmla="*/ 7 w 48"/>
              <a:gd name="T39" fmla="*/ 13 h 34"/>
              <a:gd name="T40" fmla="*/ 4 w 48"/>
              <a:gd name="T41" fmla="*/ 13 h 34"/>
              <a:gd name="T42" fmla="*/ 1 w 48"/>
              <a:gd name="T43" fmla="*/ 11 h 34"/>
              <a:gd name="T44" fmla="*/ 0 w 48"/>
              <a:gd name="T45" fmla="*/ 10 h 34"/>
              <a:gd name="T46" fmla="*/ 0 w 48"/>
              <a:gd name="T47" fmla="*/ 7 h 34"/>
              <a:gd name="T48" fmla="*/ 0 w 48"/>
              <a:gd name="T49" fmla="*/ 6 h 34"/>
              <a:gd name="T50" fmla="*/ 6 w 48"/>
              <a:gd name="T51" fmla="*/ 4 h 34"/>
              <a:gd name="T52" fmla="*/ 9 w 48"/>
              <a:gd name="T53" fmla="*/ 3 h 34"/>
              <a:gd name="T54" fmla="*/ 10 w 48"/>
              <a:gd name="T55" fmla="*/ 3 h 34"/>
              <a:gd name="T56" fmla="*/ 10 w 48"/>
              <a:gd name="T57" fmla="*/ 3 h 34"/>
              <a:gd name="T58" fmla="*/ 14 w 48"/>
              <a:gd name="T59" fmla="*/ 5 h 34"/>
              <a:gd name="T60" fmla="*/ 19 w 48"/>
              <a:gd name="T61" fmla="*/ 3 h 34"/>
              <a:gd name="T62" fmla="*/ 23 w 48"/>
              <a:gd name="T63" fmla="*/ 1 h 34"/>
              <a:gd name="T64" fmla="*/ 26 w 48"/>
              <a:gd name="T65" fmla="*/ 0 h 34"/>
              <a:gd name="T66" fmla="*/ 30 w 48"/>
              <a:gd name="T67" fmla="*/ 0 h 34"/>
              <a:gd name="T68" fmla="*/ 31 w 48"/>
              <a:gd name="T69" fmla="*/ 1 h 34"/>
              <a:gd name="T70" fmla="*/ 32 w 48"/>
              <a:gd name="T71" fmla="*/ 1 h 34"/>
              <a:gd name="T72" fmla="*/ 33 w 48"/>
              <a:gd name="T73" fmla="*/ 3 h 34"/>
              <a:gd name="T74" fmla="*/ 34 w 48"/>
              <a:gd name="T75" fmla="*/ 4 h 34"/>
              <a:gd name="T76" fmla="*/ 38 w 48"/>
              <a:gd name="T77" fmla="*/ 4 h 34"/>
              <a:gd name="T78" fmla="*/ 39 w 48"/>
              <a:gd name="T79" fmla="*/ 5 h 34"/>
              <a:gd name="T80" fmla="*/ 40 w 48"/>
              <a:gd name="T81" fmla="*/ 7 h 34"/>
              <a:gd name="T82" fmla="*/ 39 w 48"/>
              <a:gd name="T83" fmla="*/ 9 h 34"/>
              <a:gd name="T84" fmla="*/ 40 w 48"/>
              <a:gd name="T85" fmla="*/ 11 h 34"/>
              <a:gd name="T86" fmla="*/ 42 w 48"/>
              <a:gd name="T87" fmla="*/ 13 h 34"/>
              <a:gd name="T88" fmla="*/ 44 w 48"/>
              <a:gd name="T89" fmla="*/ 13 h 34"/>
              <a:gd name="T90" fmla="*/ 46 w 48"/>
              <a:gd name="T91" fmla="*/ 14 h 34"/>
              <a:gd name="T92" fmla="*/ 47 w 48"/>
              <a:gd name="T93" fmla="*/ 16 h 34"/>
              <a:gd name="T94" fmla="*/ 48 w 48"/>
              <a:gd name="T95" fmla="*/ 18 h 34"/>
              <a:gd name="T96" fmla="*/ 48 w 48"/>
              <a:gd name="T97" fmla="*/ 19 h 34"/>
              <a:gd name="T98" fmla="*/ 46 w 48"/>
              <a:gd name="T99" fmla="*/ 23 h 34"/>
              <a:gd name="T100" fmla="*/ 43 w 48"/>
              <a:gd name="T101" fmla="*/ 23 h 34"/>
              <a:gd name="T102" fmla="*/ 41 w 48"/>
              <a:gd name="T103" fmla="*/ 25 h 34"/>
              <a:gd name="T104" fmla="*/ 40 w 48"/>
              <a:gd name="T105" fmla="*/ 27 h 34"/>
              <a:gd name="T106" fmla="*/ 41 w 48"/>
              <a:gd name="T107" fmla="*/ 29 h 34"/>
              <a:gd name="T108" fmla="*/ 41 w 48"/>
              <a:gd name="T109" fmla="*/ 33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8" h="34">
                <a:moveTo>
                  <a:pt x="41" y="33"/>
                </a:moveTo>
                <a:lnTo>
                  <a:pt x="39" y="34"/>
                </a:lnTo>
                <a:lnTo>
                  <a:pt x="37" y="33"/>
                </a:lnTo>
                <a:lnTo>
                  <a:pt x="34" y="31"/>
                </a:lnTo>
                <a:lnTo>
                  <a:pt x="31" y="30"/>
                </a:lnTo>
                <a:lnTo>
                  <a:pt x="32" y="29"/>
                </a:lnTo>
                <a:lnTo>
                  <a:pt x="31" y="28"/>
                </a:lnTo>
                <a:lnTo>
                  <a:pt x="30" y="24"/>
                </a:lnTo>
                <a:lnTo>
                  <a:pt x="29" y="24"/>
                </a:lnTo>
                <a:lnTo>
                  <a:pt x="28" y="25"/>
                </a:lnTo>
                <a:lnTo>
                  <a:pt x="27" y="27"/>
                </a:lnTo>
                <a:lnTo>
                  <a:pt x="23" y="27"/>
                </a:lnTo>
                <a:lnTo>
                  <a:pt x="21" y="26"/>
                </a:lnTo>
                <a:lnTo>
                  <a:pt x="20" y="23"/>
                </a:lnTo>
                <a:lnTo>
                  <a:pt x="20" y="20"/>
                </a:lnTo>
                <a:lnTo>
                  <a:pt x="19" y="19"/>
                </a:lnTo>
                <a:lnTo>
                  <a:pt x="16" y="19"/>
                </a:lnTo>
                <a:lnTo>
                  <a:pt x="11" y="17"/>
                </a:lnTo>
                <a:lnTo>
                  <a:pt x="9" y="17"/>
                </a:lnTo>
                <a:lnTo>
                  <a:pt x="7" y="13"/>
                </a:lnTo>
                <a:lnTo>
                  <a:pt x="4" y="13"/>
                </a:lnTo>
                <a:lnTo>
                  <a:pt x="1" y="11"/>
                </a:lnTo>
                <a:lnTo>
                  <a:pt x="0" y="10"/>
                </a:lnTo>
                <a:lnTo>
                  <a:pt x="0" y="7"/>
                </a:lnTo>
                <a:lnTo>
                  <a:pt x="0" y="6"/>
                </a:lnTo>
                <a:lnTo>
                  <a:pt x="6" y="4"/>
                </a:lnTo>
                <a:lnTo>
                  <a:pt x="9" y="3"/>
                </a:lnTo>
                <a:lnTo>
                  <a:pt x="10" y="3"/>
                </a:lnTo>
                <a:lnTo>
                  <a:pt x="10" y="3"/>
                </a:lnTo>
                <a:lnTo>
                  <a:pt x="14" y="5"/>
                </a:lnTo>
                <a:lnTo>
                  <a:pt x="19" y="3"/>
                </a:lnTo>
                <a:lnTo>
                  <a:pt x="23" y="1"/>
                </a:lnTo>
                <a:lnTo>
                  <a:pt x="26" y="0"/>
                </a:lnTo>
                <a:lnTo>
                  <a:pt x="30" y="0"/>
                </a:lnTo>
                <a:lnTo>
                  <a:pt x="31" y="1"/>
                </a:lnTo>
                <a:lnTo>
                  <a:pt x="32" y="1"/>
                </a:lnTo>
                <a:lnTo>
                  <a:pt x="33" y="3"/>
                </a:lnTo>
                <a:lnTo>
                  <a:pt x="34" y="4"/>
                </a:lnTo>
                <a:lnTo>
                  <a:pt x="38" y="4"/>
                </a:lnTo>
                <a:lnTo>
                  <a:pt x="39" y="5"/>
                </a:lnTo>
                <a:lnTo>
                  <a:pt x="40" y="7"/>
                </a:lnTo>
                <a:lnTo>
                  <a:pt x="39" y="9"/>
                </a:lnTo>
                <a:lnTo>
                  <a:pt x="40" y="11"/>
                </a:lnTo>
                <a:lnTo>
                  <a:pt x="42" y="13"/>
                </a:lnTo>
                <a:lnTo>
                  <a:pt x="44" y="13"/>
                </a:lnTo>
                <a:lnTo>
                  <a:pt x="46" y="14"/>
                </a:lnTo>
                <a:lnTo>
                  <a:pt x="47" y="16"/>
                </a:lnTo>
                <a:lnTo>
                  <a:pt x="48" y="18"/>
                </a:lnTo>
                <a:lnTo>
                  <a:pt x="48" y="19"/>
                </a:lnTo>
                <a:lnTo>
                  <a:pt x="46" y="23"/>
                </a:lnTo>
                <a:lnTo>
                  <a:pt x="43" y="23"/>
                </a:lnTo>
                <a:lnTo>
                  <a:pt x="41" y="25"/>
                </a:lnTo>
                <a:lnTo>
                  <a:pt x="40" y="27"/>
                </a:lnTo>
                <a:lnTo>
                  <a:pt x="41" y="29"/>
                </a:lnTo>
                <a:lnTo>
                  <a:pt x="41" y="3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25" name="Freeform 925"/>
          <p:cNvSpPr>
            <a:spLocks/>
          </p:cNvSpPr>
          <p:nvPr/>
        </p:nvSpPr>
        <p:spPr bwMode="auto">
          <a:xfrm>
            <a:off x="4410075" y="2100228"/>
            <a:ext cx="76200" cy="53975"/>
          </a:xfrm>
          <a:custGeom>
            <a:avLst/>
            <a:gdLst>
              <a:gd name="T0" fmla="*/ 41 w 48"/>
              <a:gd name="T1" fmla="*/ 33 h 34"/>
              <a:gd name="T2" fmla="*/ 39 w 48"/>
              <a:gd name="T3" fmla="*/ 34 h 34"/>
              <a:gd name="T4" fmla="*/ 37 w 48"/>
              <a:gd name="T5" fmla="*/ 33 h 34"/>
              <a:gd name="T6" fmla="*/ 34 w 48"/>
              <a:gd name="T7" fmla="*/ 31 h 34"/>
              <a:gd name="T8" fmla="*/ 31 w 48"/>
              <a:gd name="T9" fmla="*/ 30 h 34"/>
              <a:gd name="T10" fmla="*/ 32 w 48"/>
              <a:gd name="T11" fmla="*/ 29 h 34"/>
              <a:gd name="T12" fmla="*/ 31 w 48"/>
              <a:gd name="T13" fmla="*/ 28 h 34"/>
              <a:gd name="T14" fmla="*/ 30 w 48"/>
              <a:gd name="T15" fmla="*/ 24 h 34"/>
              <a:gd name="T16" fmla="*/ 29 w 48"/>
              <a:gd name="T17" fmla="*/ 24 h 34"/>
              <a:gd name="T18" fmla="*/ 28 w 48"/>
              <a:gd name="T19" fmla="*/ 25 h 34"/>
              <a:gd name="T20" fmla="*/ 27 w 48"/>
              <a:gd name="T21" fmla="*/ 27 h 34"/>
              <a:gd name="T22" fmla="*/ 23 w 48"/>
              <a:gd name="T23" fmla="*/ 27 h 34"/>
              <a:gd name="T24" fmla="*/ 21 w 48"/>
              <a:gd name="T25" fmla="*/ 26 h 34"/>
              <a:gd name="T26" fmla="*/ 20 w 48"/>
              <a:gd name="T27" fmla="*/ 23 h 34"/>
              <a:gd name="T28" fmla="*/ 20 w 48"/>
              <a:gd name="T29" fmla="*/ 20 h 34"/>
              <a:gd name="T30" fmla="*/ 19 w 48"/>
              <a:gd name="T31" fmla="*/ 19 h 34"/>
              <a:gd name="T32" fmla="*/ 16 w 48"/>
              <a:gd name="T33" fmla="*/ 19 h 34"/>
              <a:gd name="T34" fmla="*/ 11 w 48"/>
              <a:gd name="T35" fmla="*/ 17 h 34"/>
              <a:gd name="T36" fmla="*/ 9 w 48"/>
              <a:gd name="T37" fmla="*/ 17 h 34"/>
              <a:gd name="T38" fmla="*/ 7 w 48"/>
              <a:gd name="T39" fmla="*/ 13 h 34"/>
              <a:gd name="T40" fmla="*/ 4 w 48"/>
              <a:gd name="T41" fmla="*/ 13 h 34"/>
              <a:gd name="T42" fmla="*/ 1 w 48"/>
              <a:gd name="T43" fmla="*/ 11 h 34"/>
              <a:gd name="T44" fmla="*/ 0 w 48"/>
              <a:gd name="T45" fmla="*/ 10 h 34"/>
              <a:gd name="T46" fmla="*/ 0 w 48"/>
              <a:gd name="T47" fmla="*/ 7 h 34"/>
              <a:gd name="T48" fmla="*/ 0 w 48"/>
              <a:gd name="T49" fmla="*/ 6 h 34"/>
              <a:gd name="T50" fmla="*/ 6 w 48"/>
              <a:gd name="T51" fmla="*/ 4 h 34"/>
              <a:gd name="T52" fmla="*/ 9 w 48"/>
              <a:gd name="T53" fmla="*/ 3 h 34"/>
              <a:gd name="T54" fmla="*/ 10 w 48"/>
              <a:gd name="T55" fmla="*/ 3 h 34"/>
              <a:gd name="T56" fmla="*/ 10 w 48"/>
              <a:gd name="T57" fmla="*/ 3 h 34"/>
              <a:gd name="T58" fmla="*/ 14 w 48"/>
              <a:gd name="T59" fmla="*/ 5 h 34"/>
              <a:gd name="T60" fmla="*/ 19 w 48"/>
              <a:gd name="T61" fmla="*/ 3 h 34"/>
              <a:gd name="T62" fmla="*/ 23 w 48"/>
              <a:gd name="T63" fmla="*/ 1 h 34"/>
              <a:gd name="T64" fmla="*/ 26 w 48"/>
              <a:gd name="T65" fmla="*/ 0 h 34"/>
              <a:gd name="T66" fmla="*/ 30 w 48"/>
              <a:gd name="T67" fmla="*/ 0 h 34"/>
              <a:gd name="T68" fmla="*/ 31 w 48"/>
              <a:gd name="T69" fmla="*/ 1 h 34"/>
              <a:gd name="T70" fmla="*/ 32 w 48"/>
              <a:gd name="T71" fmla="*/ 1 h 34"/>
              <a:gd name="T72" fmla="*/ 33 w 48"/>
              <a:gd name="T73" fmla="*/ 3 h 34"/>
              <a:gd name="T74" fmla="*/ 34 w 48"/>
              <a:gd name="T75" fmla="*/ 4 h 34"/>
              <a:gd name="T76" fmla="*/ 38 w 48"/>
              <a:gd name="T77" fmla="*/ 4 h 34"/>
              <a:gd name="T78" fmla="*/ 39 w 48"/>
              <a:gd name="T79" fmla="*/ 5 h 34"/>
              <a:gd name="T80" fmla="*/ 40 w 48"/>
              <a:gd name="T81" fmla="*/ 7 h 34"/>
              <a:gd name="T82" fmla="*/ 39 w 48"/>
              <a:gd name="T83" fmla="*/ 9 h 34"/>
              <a:gd name="T84" fmla="*/ 40 w 48"/>
              <a:gd name="T85" fmla="*/ 11 h 34"/>
              <a:gd name="T86" fmla="*/ 42 w 48"/>
              <a:gd name="T87" fmla="*/ 13 h 34"/>
              <a:gd name="T88" fmla="*/ 44 w 48"/>
              <a:gd name="T89" fmla="*/ 13 h 34"/>
              <a:gd name="T90" fmla="*/ 46 w 48"/>
              <a:gd name="T91" fmla="*/ 14 h 34"/>
              <a:gd name="T92" fmla="*/ 47 w 48"/>
              <a:gd name="T93" fmla="*/ 16 h 34"/>
              <a:gd name="T94" fmla="*/ 48 w 48"/>
              <a:gd name="T95" fmla="*/ 18 h 34"/>
              <a:gd name="T96" fmla="*/ 48 w 48"/>
              <a:gd name="T97" fmla="*/ 19 h 34"/>
              <a:gd name="T98" fmla="*/ 46 w 48"/>
              <a:gd name="T99" fmla="*/ 23 h 34"/>
              <a:gd name="T100" fmla="*/ 43 w 48"/>
              <a:gd name="T101" fmla="*/ 23 h 34"/>
              <a:gd name="T102" fmla="*/ 41 w 48"/>
              <a:gd name="T103" fmla="*/ 25 h 34"/>
              <a:gd name="T104" fmla="*/ 40 w 48"/>
              <a:gd name="T105" fmla="*/ 27 h 34"/>
              <a:gd name="T106" fmla="*/ 41 w 48"/>
              <a:gd name="T107" fmla="*/ 29 h 34"/>
              <a:gd name="T108" fmla="*/ 41 w 48"/>
              <a:gd name="T109" fmla="*/ 33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8" h="34">
                <a:moveTo>
                  <a:pt x="41" y="33"/>
                </a:moveTo>
                <a:lnTo>
                  <a:pt x="39" y="34"/>
                </a:lnTo>
                <a:lnTo>
                  <a:pt x="37" y="33"/>
                </a:lnTo>
                <a:lnTo>
                  <a:pt x="34" y="31"/>
                </a:lnTo>
                <a:lnTo>
                  <a:pt x="31" y="30"/>
                </a:lnTo>
                <a:lnTo>
                  <a:pt x="32" y="29"/>
                </a:lnTo>
                <a:lnTo>
                  <a:pt x="31" y="28"/>
                </a:lnTo>
                <a:lnTo>
                  <a:pt x="30" y="24"/>
                </a:lnTo>
                <a:lnTo>
                  <a:pt x="29" y="24"/>
                </a:lnTo>
                <a:lnTo>
                  <a:pt x="28" y="25"/>
                </a:lnTo>
                <a:lnTo>
                  <a:pt x="27" y="27"/>
                </a:lnTo>
                <a:lnTo>
                  <a:pt x="23" y="27"/>
                </a:lnTo>
                <a:lnTo>
                  <a:pt x="21" y="26"/>
                </a:lnTo>
                <a:lnTo>
                  <a:pt x="20" y="23"/>
                </a:lnTo>
                <a:lnTo>
                  <a:pt x="20" y="20"/>
                </a:lnTo>
                <a:lnTo>
                  <a:pt x="19" y="19"/>
                </a:lnTo>
                <a:lnTo>
                  <a:pt x="16" y="19"/>
                </a:lnTo>
                <a:lnTo>
                  <a:pt x="11" y="17"/>
                </a:lnTo>
                <a:lnTo>
                  <a:pt x="9" y="17"/>
                </a:lnTo>
                <a:lnTo>
                  <a:pt x="7" y="13"/>
                </a:lnTo>
                <a:lnTo>
                  <a:pt x="4" y="13"/>
                </a:lnTo>
                <a:lnTo>
                  <a:pt x="1" y="11"/>
                </a:lnTo>
                <a:lnTo>
                  <a:pt x="0" y="10"/>
                </a:lnTo>
                <a:lnTo>
                  <a:pt x="0" y="7"/>
                </a:lnTo>
                <a:lnTo>
                  <a:pt x="0" y="6"/>
                </a:lnTo>
                <a:lnTo>
                  <a:pt x="6" y="4"/>
                </a:lnTo>
                <a:lnTo>
                  <a:pt x="9" y="3"/>
                </a:lnTo>
                <a:lnTo>
                  <a:pt x="10" y="3"/>
                </a:lnTo>
                <a:lnTo>
                  <a:pt x="10" y="3"/>
                </a:lnTo>
                <a:lnTo>
                  <a:pt x="14" y="5"/>
                </a:lnTo>
                <a:lnTo>
                  <a:pt x="19" y="3"/>
                </a:lnTo>
                <a:lnTo>
                  <a:pt x="23" y="1"/>
                </a:lnTo>
                <a:lnTo>
                  <a:pt x="26" y="0"/>
                </a:lnTo>
                <a:lnTo>
                  <a:pt x="30" y="0"/>
                </a:lnTo>
                <a:lnTo>
                  <a:pt x="31" y="1"/>
                </a:lnTo>
                <a:lnTo>
                  <a:pt x="32" y="1"/>
                </a:lnTo>
                <a:lnTo>
                  <a:pt x="33" y="3"/>
                </a:lnTo>
                <a:lnTo>
                  <a:pt x="34" y="4"/>
                </a:lnTo>
                <a:lnTo>
                  <a:pt x="38" y="4"/>
                </a:lnTo>
                <a:lnTo>
                  <a:pt x="39" y="5"/>
                </a:lnTo>
                <a:lnTo>
                  <a:pt x="40" y="7"/>
                </a:lnTo>
                <a:lnTo>
                  <a:pt x="39" y="9"/>
                </a:lnTo>
                <a:lnTo>
                  <a:pt x="40" y="11"/>
                </a:lnTo>
                <a:lnTo>
                  <a:pt x="42" y="13"/>
                </a:lnTo>
                <a:lnTo>
                  <a:pt x="44" y="13"/>
                </a:lnTo>
                <a:lnTo>
                  <a:pt x="46" y="14"/>
                </a:lnTo>
                <a:lnTo>
                  <a:pt x="47" y="16"/>
                </a:lnTo>
                <a:lnTo>
                  <a:pt x="48" y="18"/>
                </a:lnTo>
                <a:lnTo>
                  <a:pt x="48" y="19"/>
                </a:lnTo>
                <a:lnTo>
                  <a:pt x="46" y="23"/>
                </a:lnTo>
                <a:lnTo>
                  <a:pt x="43" y="23"/>
                </a:lnTo>
                <a:lnTo>
                  <a:pt x="41" y="25"/>
                </a:lnTo>
                <a:lnTo>
                  <a:pt x="40" y="27"/>
                </a:lnTo>
                <a:lnTo>
                  <a:pt x="41" y="29"/>
                </a:lnTo>
                <a:lnTo>
                  <a:pt x="41" y="3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26" name="Freeform 926"/>
          <p:cNvSpPr>
            <a:spLocks/>
          </p:cNvSpPr>
          <p:nvPr/>
        </p:nvSpPr>
        <p:spPr bwMode="auto">
          <a:xfrm>
            <a:off x="4381500" y="2351053"/>
            <a:ext cx="9525" cy="4763"/>
          </a:xfrm>
          <a:custGeom>
            <a:avLst/>
            <a:gdLst>
              <a:gd name="T0" fmla="*/ 5 w 6"/>
              <a:gd name="T1" fmla="*/ 1 h 3"/>
              <a:gd name="T2" fmla="*/ 6 w 6"/>
              <a:gd name="T3" fmla="*/ 2 h 3"/>
              <a:gd name="T4" fmla="*/ 5 w 6"/>
              <a:gd name="T5" fmla="*/ 3 h 3"/>
              <a:gd name="T6" fmla="*/ 3 w 6"/>
              <a:gd name="T7" fmla="*/ 3 h 3"/>
              <a:gd name="T8" fmla="*/ 3 w 6"/>
              <a:gd name="T9" fmla="*/ 1 h 3"/>
              <a:gd name="T10" fmla="*/ 0 w 6"/>
              <a:gd name="T11" fmla="*/ 0 h 3"/>
              <a:gd name="T12" fmla="*/ 4 w 6"/>
              <a:gd name="T13" fmla="*/ 0 h 3"/>
              <a:gd name="T14" fmla="*/ 5 w 6"/>
              <a:gd name="T15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" h="3">
                <a:moveTo>
                  <a:pt x="5" y="1"/>
                </a:moveTo>
                <a:lnTo>
                  <a:pt x="6" y="2"/>
                </a:lnTo>
                <a:lnTo>
                  <a:pt x="5" y="3"/>
                </a:lnTo>
                <a:lnTo>
                  <a:pt x="3" y="3"/>
                </a:lnTo>
                <a:lnTo>
                  <a:pt x="3" y="1"/>
                </a:lnTo>
                <a:lnTo>
                  <a:pt x="0" y="0"/>
                </a:lnTo>
                <a:lnTo>
                  <a:pt x="4" y="0"/>
                </a:lnTo>
                <a:lnTo>
                  <a:pt x="5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27" name="Freeform 927"/>
          <p:cNvSpPr>
            <a:spLocks/>
          </p:cNvSpPr>
          <p:nvPr/>
        </p:nvSpPr>
        <p:spPr bwMode="auto">
          <a:xfrm>
            <a:off x="4381500" y="2351053"/>
            <a:ext cx="9525" cy="4763"/>
          </a:xfrm>
          <a:custGeom>
            <a:avLst/>
            <a:gdLst>
              <a:gd name="T0" fmla="*/ 5 w 6"/>
              <a:gd name="T1" fmla="*/ 1 h 3"/>
              <a:gd name="T2" fmla="*/ 6 w 6"/>
              <a:gd name="T3" fmla="*/ 2 h 3"/>
              <a:gd name="T4" fmla="*/ 5 w 6"/>
              <a:gd name="T5" fmla="*/ 3 h 3"/>
              <a:gd name="T6" fmla="*/ 3 w 6"/>
              <a:gd name="T7" fmla="*/ 3 h 3"/>
              <a:gd name="T8" fmla="*/ 3 w 6"/>
              <a:gd name="T9" fmla="*/ 1 h 3"/>
              <a:gd name="T10" fmla="*/ 0 w 6"/>
              <a:gd name="T11" fmla="*/ 0 h 3"/>
              <a:gd name="T12" fmla="*/ 4 w 6"/>
              <a:gd name="T13" fmla="*/ 0 h 3"/>
              <a:gd name="T14" fmla="*/ 5 w 6"/>
              <a:gd name="T15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" h="3">
                <a:moveTo>
                  <a:pt x="5" y="1"/>
                </a:moveTo>
                <a:lnTo>
                  <a:pt x="6" y="2"/>
                </a:lnTo>
                <a:lnTo>
                  <a:pt x="5" y="3"/>
                </a:lnTo>
                <a:lnTo>
                  <a:pt x="3" y="3"/>
                </a:lnTo>
                <a:lnTo>
                  <a:pt x="3" y="1"/>
                </a:lnTo>
                <a:lnTo>
                  <a:pt x="0" y="0"/>
                </a:lnTo>
                <a:lnTo>
                  <a:pt x="4" y="0"/>
                </a:lnTo>
                <a:lnTo>
                  <a:pt x="5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28" name="Freeform 928"/>
          <p:cNvSpPr>
            <a:spLocks/>
          </p:cNvSpPr>
          <p:nvPr/>
        </p:nvSpPr>
        <p:spPr bwMode="auto">
          <a:xfrm>
            <a:off x="4138613" y="2319303"/>
            <a:ext cx="288925" cy="219075"/>
          </a:xfrm>
          <a:custGeom>
            <a:avLst/>
            <a:gdLst>
              <a:gd name="T0" fmla="*/ 23 w 182"/>
              <a:gd name="T1" fmla="*/ 110 h 138"/>
              <a:gd name="T2" fmla="*/ 31 w 182"/>
              <a:gd name="T3" fmla="*/ 102 h 138"/>
              <a:gd name="T4" fmla="*/ 27 w 182"/>
              <a:gd name="T5" fmla="*/ 92 h 138"/>
              <a:gd name="T6" fmla="*/ 30 w 182"/>
              <a:gd name="T7" fmla="*/ 83 h 138"/>
              <a:gd name="T8" fmla="*/ 26 w 182"/>
              <a:gd name="T9" fmla="*/ 73 h 138"/>
              <a:gd name="T10" fmla="*/ 33 w 182"/>
              <a:gd name="T11" fmla="*/ 68 h 138"/>
              <a:gd name="T12" fmla="*/ 32 w 182"/>
              <a:gd name="T13" fmla="*/ 61 h 138"/>
              <a:gd name="T14" fmla="*/ 36 w 182"/>
              <a:gd name="T15" fmla="*/ 51 h 138"/>
              <a:gd name="T16" fmla="*/ 43 w 182"/>
              <a:gd name="T17" fmla="*/ 39 h 138"/>
              <a:gd name="T18" fmla="*/ 40 w 182"/>
              <a:gd name="T19" fmla="*/ 32 h 138"/>
              <a:gd name="T20" fmla="*/ 28 w 182"/>
              <a:gd name="T21" fmla="*/ 33 h 138"/>
              <a:gd name="T22" fmla="*/ 17 w 182"/>
              <a:gd name="T23" fmla="*/ 32 h 138"/>
              <a:gd name="T24" fmla="*/ 8 w 182"/>
              <a:gd name="T25" fmla="*/ 31 h 138"/>
              <a:gd name="T26" fmla="*/ 6 w 182"/>
              <a:gd name="T27" fmla="*/ 30 h 138"/>
              <a:gd name="T28" fmla="*/ 6 w 182"/>
              <a:gd name="T29" fmla="*/ 26 h 138"/>
              <a:gd name="T30" fmla="*/ 7 w 182"/>
              <a:gd name="T31" fmla="*/ 19 h 138"/>
              <a:gd name="T32" fmla="*/ 4 w 182"/>
              <a:gd name="T33" fmla="*/ 17 h 138"/>
              <a:gd name="T34" fmla="*/ 5 w 182"/>
              <a:gd name="T35" fmla="*/ 8 h 138"/>
              <a:gd name="T36" fmla="*/ 15 w 182"/>
              <a:gd name="T37" fmla="*/ 4 h 138"/>
              <a:gd name="T38" fmla="*/ 22 w 182"/>
              <a:gd name="T39" fmla="*/ 0 h 138"/>
              <a:gd name="T40" fmla="*/ 35 w 182"/>
              <a:gd name="T41" fmla="*/ 2 h 138"/>
              <a:gd name="T42" fmla="*/ 51 w 182"/>
              <a:gd name="T43" fmla="*/ 1 h 138"/>
              <a:gd name="T44" fmla="*/ 68 w 182"/>
              <a:gd name="T45" fmla="*/ 4 h 138"/>
              <a:gd name="T46" fmla="*/ 81 w 182"/>
              <a:gd name="T47" fmla="*/ 4 h 138"/>
              <a:gd name="T48" fmla="*/ 97 w 182"/>
              <a:gd name="T49" fmla="*/ 6 h 138"/>
              <a:gd name="T50" fmla="*/ 108 w 182"/>
              <a:gd name="T51" fmla="*/ 6 h 138"/>
              <a:gd name="T52" fmla="*/ 117 w 182"/>
              <a:gd name="T53" fmla="*/ 12 h 138"/>
              <a:gd name="T54" fmla="*/ 124 w 182"/>
              <a:gd name="T55" fmla="*/ 16 h 138"/>
              <a:gd name="T56" fmla="*/ 142 w 182"/>
              <a:gd name="T57" fmla="*/ 19 h 138"/>
              <a:gd name="T58" fmla="*/ 149 w 182"/>
              <a:gd name="T59" fmla="*/ 18 h 138"/>
              <a:gd name="T60" fmla="*/ 156 w 182"/>
              <a:gd name="T61" fmla="*/ 23 h 138"/>
              <a:gd name="T62" fmla="*/ 158 w 182"/>
              <a:gd name="T63" fmla="*/ 21 h 138"/>
              <a:gd name="T64" fmla="*/ 171 w 182"/>
              <a:gd name="T65" fmla="*/ 23 h 138"/>
              <a:gd name="T66" fmla="*/ 180 w 182"/>
              <a:gd name="T67" fmla="*/ 23 h 138"/>
              <a:gd name="T68" fmla="*/ 180 w 182"/>
              <a:gd name="T69" fmla="*/ 27 h 138"/>
              <a:gd name="T70" fmla="*/ 179 w 182"/>
              <a:gd name="T71" fmla="*/ 34 h 138"/>
              <a:gd name="T72" fmla="*/ 149 w 182"/>
              <a:gd name="T73" fmla="*/ 49 h 138"/>
              <a:gd name="T74" fmla="*/ 144 w 182"/>
              <a:gd name="T75" fmla="*/ 57 h 138"/>
              <a:gd name="T76" fmla="*/ 131 w 182"/>
              <a:gd name="T77" fmla="*/ 73 h 138"/>
              <a:gd name="T78" fmla="*/ 129 w 182"/>
              <a:gd name="T79" fmla="*/ 79 h 138"/>
              <a:gd name="T80" fmla="*/ 131 w 182"/>
              <a:gd name="T81" fmla="*/ 84 h 138"/>
              <a:gd name="T82" fmla="*/ 137 w 182"/>
              <a:gd name="T83" fmla="*/ 86 h 138"/>
              <a:gd name="T84" fmla="*/ 132 w 182"/>
              <a:gd name="T85" fmla="*/ 93 h 138"/>
              <a:gd name="T86" fmla="*/ 126 w 182"/>
              <a:gd name="T87" fmla="*/ 101 h 138"/>
              <a:gd name="T88" fmla="*/ 122 w 182"/>
              <a:gd name="T89" fmla="*/ 108 h 138"/>
              <a:gd name="T90" fmla="*/ 109 w 182"/>
              <a:gd name="T91" fmla="*/ 115 h 138"/>
              <a:gd name="T92" fmla="*/ 104 w 182"/>
              <a:gd name="T93" fmla="*/ 124 h 138"/>
              <a:gd name="T94" fmla="*/ 94 w 182"/>
              <a:gd name="T95" fmla="*/ 125 h 138"/>
              <a:gd name="T96" fmla="*/ 82 w 182"/>
              <a:gd name="T97" fmla="*/ 125 h 138"/>
              <a:gd name="T98" fmla="*/ 66 w 182"/>
              <a:gd name="T99" fmla="*/ 129 h 138"/>
              <a:gd name="T100" fmla="*/ 57 w 182"/>
              <a:gd name="T101" fmla="*/ 133 h 138"/>
              <a:gd name="T102" fmla="*/ 52 w 182"/>
              <a:gd name="T103" fmla="*/ 138 h 138"/>
              <a:gd name="T104" fmla="*/ 42 w 182"/>
              <a:gd name="T105" fmla="*/ 130 h 138"/>
              <a:gd name="T106" fmla="*/ 39 w 182"/>
              <a:gd name="T107" fmla="*/ 123 h 138"/>
              <a:gd name="T108" fmla="*/ 36 w 182"/>
              <a:gd name="T109" fmla="*/ 119 h 138"/>
              <a:gd name="T110" fmla="*/ 25 w 182"/>
              <a:gd name="T111" fmla="*/ 116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82" h="138">
                <a:moveTo>
                  <a:pt x="25" y="116"/>
                </a:moveTo>
                <a:lnTo>
                  <a:pt x="23" y="112"/>
                </a:lnTo>
                <a:lnTo>
                  <a:pt x="23" y="110"/>
                </a:lnTo>
                <a:lnTo>
                  <a:pt x="26" y="106"/>
                </a:lnTo>
                <a:lnTo>
                  <a:pt x="29" y="104"/>
                </a:lnTo>
                <a:lnTo>
                  <a:pt x="31" y="102"/>
                </a:lnTo>
                <a:lnTo>
                  <a:pt x="30" y="99"/>
                </a:lnTo>
                <a:lnTo>
                  <a:pt x="28" y="96"/>
                </a:lnTo>
                <a:lnTo>
                  <a:pt x="27" y="92"/>
                </a:lnTo>
                <a:lnTo>
                  <a:pt x="28" y="89"/>
                </a:lnTo>
                <a:lnTo>
                  <a:pt x="29" y="85"/>
                </a:lnTo>
                <a:lnTo>
                  <a:pt x="30" y="83"/>
                </a:lnTo>
                <a:lnTo>
                  <a:pt x="30" y="82"/>
                </a:lnTo>
                <a:lnTo>
                  <a:pt x="27" y="78"/>
                </a:lnTo>
                <a:lnTo>
                  <a:pt x="26" y="73"/>
                </a:lnTo>
                <a:lnTo>
                  <a:pt x="28" y="72"/>
                </a:lnTo>
                <a:lnTo>
                  <a:pt x="31" y="71"/>
                </a:lnTo>
                <a:lnTo>
                  <a:pt x="33" y="68"/>
                </a:lnTo>
                <a:lnTo>
                  <a:pt x="35" y="65"/>
                </a:lnTo>
                <a:lnTo>
                  <a:pt x="32" y="63"/>
                </a:lnTo>
                <a:lnTo>
                  <a:pt x="32" y="61"/>
                </a:lnTo>
                <a:lnTo>
                  <a:pt x="35" y="58"/>
                </a:lnTo>
                <a:lnTo>
                  <a:pt x="35" y="54"/>
                </a:lnTo>
                <a:lnTo>
                  <a:pt x="36" y="51"/>
                </a:lnTo>
                <a:lnTo>
                  <a:pt x="36" y="48"/>
                </a:lnTo>
                <a:lnTo>
                  <a:pt x="41" y="42"/>
                </a:lnTo>
                <a:lnTo>
                  <a:pt x="43" y="39"/>
                </a:lnTo>
                <a:lnTo>
                  <a:pt x="43" y="38"/>
                </a:lnTo>
                <a:lnTo>
                  <a:pt x="41" y="35"/>
                </a:lnTo>
                <a:lnTo>
                  <a:pt x="40" y="32"/>
                </a:lnTo>
                <a:lnTo>
                  <a:pt x="36" y="32"/>
                </a:lnTo>
                <a:lnTo>
                  <a:pt x="31" y="32"/>
                </a:lnTo>
                <a:lnTo>
                  <a:pt x="28" y="33"/>
                </a:lnTo>
                <a:lnTo>
                  <a:pt x="21" y="33"/>
                </a:lnTo>
                <a:lnTo>
                  <a:pt x="18" y="33"/>
                </a:lnTo>
                <a:lnTo>
                  <a:pt x="17" y="32"/>
                </a:lnTo>
                <a:lnTo>
                  <a:pt x="16" y="29"/>
                </a:lnTo>
                <a:lnTo>
                  <a:pt x="12" y="30"/>
                </a:lnTo>
                <a:lnTo>
                  <a:pt x="8" y="31"/>
                </a:lnTo>
                <a:lnTo>
                  <a:pt x="6" y="33"/>
                </a:lnTo>
                <a:lnTo>
                  <a:pt x="6" y="32"/>
                </a:lnTo>
                <a:lnTo>
                  <a:pt x="6" y="30"/>
                </a:lnTo>
                <a:lnTo>
                  <a:pt x="7" y="28"/>
                </a:lnTo>
                <a:lnTo>
                  <a:pt x="8" y="26"/>
                </a:lnTo>
                <a:lnTo>
                  <a:pt x="6" y="26"/>
                </a:lnTo>
                <a:lnTo>
                  <a:pt x="7" y="23"/>
                </a:lnTo>
                <a:lnTo>
                  <a:pt x="5" y="22"/>
                </a:lnTo>
                <a:lnTo>
                  <a:pt x="7" y="19"/>
                </a:lnTo>
                <a:lnTo>
                  <a:pt x="6" y="19"/>
                </a:lnTo>
                <a:lnTo>
                  <a:pt x="4" y="18"/>
                </a:lnTo>
                <a:lnTo>
                  <a:pt x="4" y="17"/>
                </a:lnTo>
                <a:lnTo>
                  <a:pt x="0" y="13"/>
                </a:lnTo>
                <a:lnTo>
                  <a:pt x="1" y="10"/>
                </a:lnTo>
                <a:lnTo>
                  <a:pt x="5" y="8"/>
                </a:lnTo>
                <a:lnTo>
                  <a:pt x="8" y="7"/>
                </a:lnTo>
                <a:lnTo>
                  <a:pt x="12" y="7"/>
                </a:lnTo>
                <a:lnTo>
                  <a:pt x="15" y="4"/>
                </a:lnTo>
                <a:lnTo>
                  <a:pt x="15" y="3"/>
                </a:lnTo>
                <a:lnTo>
                  <a:pt x="17" y="1"/>
                </a:lnTo>
                <a:lnTo>
                  <a:pt x="22" y="0"/>
                </a:lnTo>
                <a:lnTo>
                  <a:pt x="25" y="0"/>
                </a:lnTo>
                <a:lnTo>
                  <a:pt x="29" y="2"/>
                </a:lnTo>
                <a:lnTo>
                  <a:pt x="35" y="2"/>
                </a:lnTo>
                <a:lnTo>
                  <a:pt x="45" y="2"/>
                </a:lnTo>
                <a:lnTo>
                  <a:pt x="48" y="1"/>
                </a:lnTo>
                <a:lnTo>
                  <a:pt x="51" y="1"/>
                </a:lnTo>
                <a:lnTo>
                  <a:pt x="56" y="3"/>
                </a:lnTo>
                <a:lnTo>
                  <a:pt x="59" y="3"/>
                </a:lnTo>
                <a:lnTo>
                  <a:pt x="68" y="4"/>
                </a:lnTo>
                <a:lnTo>
                  <a:pt x="72" y="6"/>
                </a:lnTo>
                <a:lnTo>
                  <a:pt x="78" y="4"/>
                </a:lnTo>
                <a:lnTo>
                  <a:pt x="81" y="4"/>
                </a:lnTo>
                <a:lnTo>
                  <a:pt x="85" y="4"/>
                </a:lnTo>
                <a:lnTo>
                  <a:pt x="89" y="6"/>
                </a:lnTo>
                <a:lnTo>
                  <a:pt x="97" y="6"/>
                </a:lnTo>
                <a:lnTo>
                  <a:pt x="101" y="7"/>
                </a:lnTo>
                <a:lnTo>
                  <a:pt x="106" y="7"/>
                </a:lnTo>
                <a:lnTo>
                  <a:pt x="108" y="6"/>
                </a:lnTo>
                <a:lnTo>
                  <a:pt x="109" y="7"/>
                </a:lnTo>
                <a:lnTo>
                  <a:pt x="114" y="11"/>
                </a:lnTo>
                <a:lnTo>
                  <a:pt x="117" y="12"/>
                </a:lnTo>
                <a:lnTo>
                  <a:pt x="119" y="13"/>
                </a:lnTo>
                <a:lnTo>
                  <a:pt x="122" y="14"/>
                </a:lnTo>
                <a:lnTo>
                  <a:pt x="124" y="16"/>
                </a:lnTo>
                <a:lnTo>
                  <a:pt x="137" y="19"/>
                </a:lnTo>
                <a:lnTo>
                  <a:pt x="140" y="19"/>
                </a:lnTo>
                <a:lnTo>
                  <a:pt x="142" y="19"/>
                </a:lnTo>
                <a:lnTo>
                  <a:pt x="144" y="18"/>
                </a:lnTo>
                <a:lnTo>
                  <a:pt x="147" y="17"/>
                </a:lnTo>
                <a:lnTo>
                  <a:pt x="149" y="18"/>
                </a:lnTo>
                <a:lnTo>
                  <a:pt x="153" y="20"/>
                </a:lnTo>
                <a:lnTo>
                  <a:pt x="156" y="21"/>
                </a:lnTo>
                <a:lnTo>
                  <a:pt x="156" y="23"/>
                </a:lnTo>
                <a:lnTo>
                  <a:pt x="158" y="23"/>
                </a:lnTo>
                <a:lnTo>
                  <a:pt x="159" y="22"/>
                </a:lnTo>
                <a:lnTo>
                  <a:pt x="158" y="21"/>
                </a:lnTo>
                <a:lnTo>
                  <a:pt x="161" y="23"/>
                </a:lnTo>
                <a:lnTo>
                  <a:pt x="163" y="24"/>
                </a:lnTo>
                <a:lnTo>
                  <a:pt x="171" y="23"/>
                </a:lnTo>
                <a:lnTo>
                  <a:pt x="174" y="23"/>
                </a:lnTo>
                <a:lnTo>
                  <a:pt x="178" y="23"/>
                </a:lnTo>
                <a:lnTo>
                  <a:pt x="180" y="23"/>
                </a:lnTo>
                <a:lnTo>
                  <a:pt x="182" y="24"/>
                </a:lnTo>
                <a:lnTo>
                  <a:pt x="182" y="26"/>
                </a:lnTo>
                <a:lnTo>
                  <a:pt x="180" y="27"/>
                </a:lnTo>
                <a:lnTo>
                  <a:pt x="180" y="29"/>
                </a:lnTo>
                <a:lnTo>
                  <a:pt x="181" y="31"/>
                </a:lnTo>
                <a:lnTo>
                  <a:pt x="179" y="34"/>
                </a:lnTo>
                <a:lnTo>
                  <a:pt x="169" y="40"/>
                </a:lnTo>
                <a:lnTo>
                  <a:pt x="166" y="43"/>
                </a:lnTo>
                <a:lnTo>
                  <a:pt x="149" y="49"/>
                </a:lnTo>
                <a:lnTo>
                  <a:pt x="147" y="52"/>
                </a:lnTo>
                <a:lnTo>
                  <a:pt x="147" y="54"/>
                </a:lnTo>
                <a:lnTo>
                  <a:pt x="144" y="57"/>
                </a:lnTo>
                <a:lnTo>
                  <a:pt x="141" y="60"/>
                </a:lnTo>
                <a:lnTo>
                  <a:pt x="137" y="67"/>
                </a:lnTo>
                <a:lnTo>
                  <a:pt x="131" y="73"/>
                </a:lnTo>
                <a:lnTo>
                  <a:pt x="130" y="77"/>
                </a:lnTo>
                <a:lnTo>
                  <a:pt x="129" y="78"/>
                </a:lnTo>
                <a:lnTo>
                  <a:pt x="129" y="79"/>
                </a:lnTo>
                <a:lnTo>
                  <a:pt x="130" y="80"/>
                </a:lnTo>
                <a:lnTo>
                  <a:pt x="131" y="82"/>
                </a:lnTo>
                <a:lnTo>
                  <a:pt x="131" y="84"/>
                </a:lnTo>
                <a:lnTo>
                  <a:pt x="132" y="85"/>
                </a:lnTo>
                <a:lnTo>
                  <a:pt x="134" y="86"/>
                </a:lnTo>
                <a:lnTo>
                  <a:pt x="137" y="86"/>
                </a:lnTo>
                <a:lnTo>
                  <a:pt x="138" y="89"/>
                </a:lnTo>
                <a:lnTo>
                  <a:pt x="136" y="91"/>
                </a:lnTo>
                <a:lnTo>
                  <a:pt x="132" y="93"/>
                </a:lnTo>
                <a:lnTo>
                  <a:pt x="130" y="95"/>
                </a:lnTo>
                <a:lnTo>
                  <a:pt x="128" y="96"/>
                </a:lnTo>
                <a:lnTo>
                  <a:pt x="126" y="101"/>
                </a:lnTo>
                <a:lnTo>
                  <a:pt x="124" y="104"/>
                </a:lnTo>
                <a:lnTo>
                  <a:pt x="123" y="105"/>
                </a:lnTo>
                <a:lnTo>
                  <a:pt x="122" y="108"/>
                </a:lnTo>
                <a:lnTo>
                  <a:pt x="123" y="110"/>
                </a:lnTo>
                <a:lnTo>
                  <a:pt x="114" y="111"/>
                </a:lnTo>
                <a:lnTo>
                  <a:pt x="109" y="115"/>
                </a:lnTo>
                <a:lnTo>
                  <a:pt x="107" y="121"/>
                </a:lnTo>
                <a:lnTo>
                  <a:pt x="106" y="123"/>
                </a:lnTo>
                <a:lnTo>
                  <a:pt x="104" y="124"/>
                </a:lnTo>
                <a:lnTo>
                  <a:pt x="102" y="124"/>
                </a:lnTo>
                <a:lnTo>
                  <a:pt x="99" y="124"/>
                </a:lnTo>
                <a:lnTo>
                  <a:pt x="94" y="125"/>
                </a:lnTo>
                <a:lnTo>
                  <a:pt x="91" y="125"/>
                </a:lnTo>
                <a:lnTo>
                  <a:pt x="87" y="124"/>
                </a:lnTo>
                <a:lnTo>
                  <a:pt x="82" y="125"/>
                </a:lnTo>
                <a:lnTo>
                  <a:pt x="79" y="124"/>
                </a:lnTo>
                <a:lnTo>
                  <a:pt x="69" y="126"/>
                </a:lnTo>
                <a:lnTo>
                  <a:pt x="66" y="129"/>
                </a:lnTo>
                <a:lnTo>
                  <a:pt x="62" y="130"/>
                </a:lnTo>
                <a:lnTo>
                  <a:pt x="59" y="131"/>
                </a:lnTo>
                <a:lnTo>
                  <a:pt x="57" y="133"/>
                </a:lnTo>
                <a:lnTo>
                  <a:pt x="56" y="135"/>
                </a:lnTo>
                <a:lnTo>
                  <a:pt x="55" y="136"/>
                </a:lnTo>
                <a:lnTo>
                  <a:pt x="52" y="138"/>
                </a:lnTo>
                <a:lnTo>
                  <a:pt x="48" y="136"/>
                </a:lnTo>
                <a:lnTo>
                  <a:pt x="45" y="134"/>
                </a:lnTo>
                <a:lnTo>
                  <a:pt x="42" y="130"/>
                </a:lnTo>
                <a:lnTo>
                  <a:pt x="41" y="128"/>
                </a:lnTo>
                <a:lnTo>
                  <a:pt x="40" y="125"/>
                </a:lnTo>
                <a:lnTo>
                  <a:pt x="39" y="123"/>
                </a:lnTo>
                <a:lnTo>
                  <a:pt x="39" y="122"/>
                </a:lnTo>
                <a:lnTo>
                  <a:pt x="38" y="121"/>
                </a:lnTo>
                <a:lnTo>
                  <a:pt x="36" y="119"/>
                </a:lnTo>
                <a:lnTo>
                  <a:pt x="32" y="116"/>
                </a:lnTo>
                <a:lnTo>
                  <a:pt x="30" y="116"/>
                </a:lnTo>
                <a:lnTo>
                  <a:pt x="25" y="116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29" name="Freeform 929"/>
          <p:cNvSpPr>
            <a:spLocks/>
          </p:cNvSpPr>
          <p:nvPr/>
        </p:nvSpPr>
        <p:spPr bwMode="auto">
          <a:xfrm>
            <a:off x="4138613" y="2319303"/>
            <a:ext cx="288925" cy="219075"/>
          </a:xfrm>
          <a:custGeom>
            <a:avLst/>
            <a:gdLst>
              <a:gd name="T0" fmla="*/ 23 w 182"/>
              <a:gd name="T1" fmla="*/ 110 h 138"/>
              <a:gd name="T2" fmla="*/ 31 w 182"/>
              <a:gd name="T3" fmla="*/ 102 h 138"/>
              <a:gd name="T4" fmla="*/ 27 w 182"/>
              <a:gd name="T5" fmla="*/ 92 h 138"/>
              <a:gd name="T6" fmla="*/ 30 w 182"/>
              <a:gd name="T7" fmla="*/ 83 h 138"/>
              <a:gd name="T8" fmla="*/ 26 w 182"/>
              <a:gd name="T9" fmla="*/ 73 h 138"/>
              <a:gd name="T10" fmla="*/ 33 w 182"/>
              <a:gd name="T11" fmla="*/ 68 h 138"/>
              <a:gd name="T12" fmla="*/ 32 w 182"/>
              <a:gd name="T13" fmla="*/ 61 h 138"/>
              <a:gd name="T14" fmla="*/ 36 w 182"/>
              <a:gd name="T15" fmla="*/ 51 h 138"/>
              <a:gd name="T16" fmla="*/ 43 w 182"/>
              <a:gd name="T17" fmla="*/ 39 h 138"/>
              <a:gd name="T18" fmla="*/ 40 w 182"/>
              <a:gd name="T19" fmla="*/ 32 h 138"/>
              <a:gd name="T20" fmla="*/ 28 w 182"/>
              <a:gd name="T21" fmla="*/ 33 h 138"/>
              <a:gd name="T22" fmla="*/ 17 w 182"/>
              <a:gd name="T23" fmla="*/ 32 h 138"/>
              <a:gd name="T24" fmla="*/ 8 w 182"/>
              <a:gd name="T25" fmla="*/ 31 h 138"/>
              <a:gd name="T26" fmla="*/ 6 w 182"/>
              <a:gd name="T27" fmla="*/ 30 h 138"/>
              <a:gd name="T28" fmla="*/ 6 w 182"/>
              <a:gd name="T29" fmla="*/ 26 h 138"/>
              <a:gd name="T30" fmla="*/ 7 w 182"/>
              <a:gd name="T31" fmla="*/ 19 h 138"/>
              <a:gd name="T32" fmla="*/ 4 w 182"/>
              <a:gd name="T33" fmla="*/ 17 h 138"/>
              <a:gd name="T34" fmla="*/ 5 w 182"/>
              <a:gd name="T35" fmla="*/ 8 h 138"/>
              <a:gd name="T36" fmla="*/ 15 w 182"/>
              <a:gd name="T37" fmla="*/ 4 h 138"/>
              <a:gd name="T38" fmla="*/ 22 w 182"/>
              <a:gd name="T39" fmla="*/ 0 h 138"/>
              <a:gd name="T40" fmla="*/ 35 w 182"/>
              <a:gd name="T41" fmla="*/ 2 h 138"/>
              <a:gd name="T42" fmla="*/ 51 w 182"/>
              <a:gd name="T43" fmla="*/ 1 h 138"/>
              <a:gd name="T44" fmla="*/ 68 w 182"/>
              <a:gd name="T45" fmla="*/ 4 h 138"/>
              <a:gd name="T46" fmla="*/ 81 w 182"/>
              <a:gd name="T47" fmla="*/ 4 h 138"/>
              <a:gd name="T48" fmla="*/ 97 w 182"/>
              <a:gd name="T49" fmla="*/ 6 h 138"/>
              <a:gd name="T50" fmla="*/ 108 w 182"/>
              <a:gd name="T51" fmla="*/ 6 h 138"/>
              <a:gd name="T52" fmla="*/ 117 w 182"/>
              <a:gd name="T53" fmla="*/ 12 h 138"/>
              <a:gd name="T54" fmla="*/ 124 w 182"/>
              <a:gd name="T55" fmla="*/ 16 h 138"/>
              <a:gd name="T56" fmla="*/ 142 w 182"/>
              <a:gd name="T57" fmla="*/ 19 h 138"/>
              <a:gd name="T58" fmla="*/ 149 w 182"/>
              <a:gd name="T59" fmla="*/ 18 h 138"/>
              <a:gd name="T60" fmla="*/ 156 w 182"/>
              <a:gd name="T61" fmla="*/ 23 h 138"/>
              <a:gd name="T62" fmla="*/ 158 w 182"/>
              <a:gd name="T63" fmla="*/ 21 h 138"/>
              <a:gd name="T64" fmla="*/ 171 w 182"/>
              <a:gd name="T65" fmla="*/ 23 h 138"/>
              <a:gd name="T66" fmla="*/ 180 w 182"/>
              <a:gd name="T67" fmla="*/ 23 h 138"/>
              <a:gd name="T68" fmla="*/ 180 w 182"/>
              <a:gd name="T69" fmla="*/ 27 h 138"/>
              <a:gd name="T70" fmla="*/ 179 w 182"/>
              <a:gd name="T71" fmla="*/ 34 h 138"/>
              <a:gd name="T72" fmla="*/ 149 w 182"/>
              <a:gd name="T73" fmla="*/ 49 h 138"/>
              <a:gd name="T74" fmla="*/ 144 w 182"/>
              <a:gd name="T75" fmla="*/ 57 h 138"/>
              <a:gd name="T76" fmla="*/ 131 w 182"/>
              <a:gd name="T77" fmla="*/ 73 h 138"/>
              <a:gd name="T78" fmla="*/ 129 w 182"/>
              <a:gd name="T79" fmla="*/ 79 h 138"/>
              <a:gd name="T80" fmla="*/ 131 w 182"/>
              <a:gd name="T81" fmla="*/ 84 h 138"/>
              <a:gd name="T82" fmla="*/ 137 w 182"/>
              <a:gd name="T83" fmla="*/ 86 h 138"/>
              <a:gd name="T84" fmla="*/ 132 w 182"/>
              <a:gd name="T85" fmla="*/ 93 h 138"/>
              <a:gd name="T86" fmla="*/ 126 w 182"/>
              <a:gd name="T87" fmla="*/ 101 h 138"/>
              <a:gd name="T88" fmla="*/ 122 w 182"/>
              <a:gd name="T89" fmla="*/ 108 h 138"/>
              <a:gd name="T90" fmla="*/ 109 w 182"/>
              <a:gd name="T91" fmla="*/ 115 h 138"/>
              <a:gd name="T92" fmla="*/ 104 w 182"/>
              <a:gd name="T93" fmla="*/ 124 h 138"/>
              <a:gd name="T94" fmla="*/ 94 w 182"/>
              <a:gd name="T95" fmla="*/ 125 h 138"/>
              <a:gd name="T96" fmla="*/ 82 w 182"/>
              <a:gd name="T97" fmla="*/ 125 h 138"/>
              <a:gd name="T98" fmla="*/ 66 w 182"/>
              <a:gd name="T99" fmla="*/ 129 h 138"/>
              <a:gd name="T100" fmla="*/ 57 w 182"/>
              <a:gd name="T101" fmla="*/ 133 h 138"/>
              <a:gd name="T102" fmla="*/ 52 w 182"/>
              <a:gd name="T103" fmla="*/ 138 h 138"/>
              <a:gd name="T104" fmla="*/ 42 w 182"/>
              <a:gd name="T105" fmla="*/ 130 h 138"/>
              <a:gd name="T106" fmla="*/ 39 w 182"/>
              <a:gd name="T107" fmla="*/ 123 h 138"/>
              <a:gd name="T108" fmla="*/ 36 w 182"/>
              <a:gd name="T109" fmla="*/ 119 h 138"/>
              <a:gd name="T110" fmla="*/ 25 w 182"/>
              <a:gd name="T111" fmla="*/ 116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82" h="138">
                <a:moveTo>
                  <a:pt x="25" y="116"/>
                </a:moveTo>
                <a:lnTo>
                  <a:pt x="23" y="112"/>
                </a:lnTo>
                <a:lnTo>
                  <a:pt x="23" y="110"/>
                </a:lnTo>
                <a:lnTo>
                  <a:pt x="26" y="106"/>
                </a:lnTo>
                <a:lnTo>
                  <a:pt x="29" y="104"/>
                </a:lnTo>
                <a:lnTo>
                  <a:pt x="31" y="102"/>
                </a:lnTo>
                <a:lnTo>
                  <a:pt x="30" y="99"/>
                </a:lnTo>
                <a:lnTo>
                  <a:pt x="28" y="96"/>
                </a:lnTo>
                <a:lnTo>
                  <a:pt x="27" y="92"/>
                </a:lnTo>
                <a:lnTo>
                  <a:pt x="28" y="89"/>
                </a:lnTo>
                <a:lnTo>
                  <a:pt x="29" y="85"/>
                </a:lnTo>
                <a:lnTo>
                  <a:pt x="30" y="83"/>
                </a:lnTo>
                <a:lnTo>
                  <a:pt x="30" y="82"/>
                </a:lnTo>
                <a:lnTo>
                  <a:pt x="27" y="78"/>
                </a:lnTo>
                <a:lnTo>
                  <a:pt x="26" y="73"/>
                </a:lnTo>
                <a:lnTo>
                  <a:pt x="28" y="72"/>
                </a:lnTo>
                <a:lnTo>
                  <a:pt x="31" y="71"/>
                </a:lnTo>
                <a:lnTo>
                  <a:pt x="33" y="68"/>
                </a:lnTo>
                <a:lnTo>
                  <a:pt x="35" y="65"/>
                </a:lnTo>
                <a:lnTo>
                  <a:pt x="32" y="63"/>
                </a:lnTo>
                <a:lnTo>
                  <a:pt x="32" y="61"/>
                </a:lnTo>
                <a:lnTo>
                  <a:pt x="35" y="58"/>
                </a:lnTo>
                <a:lnTo>
                  <a:pt x="35" y="54"/>
                </a:lnTo>
                <a:lnTo>
                  <a:pt x="36" y="51"/>
                </a:lnTo>
                <a:lnTo>
                  <a:pt x="36" y="48"/>
                </a:lnTo>
                <a:lnTo>
                  <a:pt x="41" y="42"/>
                </a:lnTo>
                <a:lnTo>
                  <a:pt x="43" y="39"/>
                </a:lnTo>
                <a:lnTo>
                  <a:pt x="43" y="38"/>
                </a:lnTo>
                <a:lnTo>
                  <a:pt x="41" y="35"/>
                </a:lnTo>
                <a:lnTo>
                  <a:pt x="40" y="32"/>
                </a:lnTo>
                <a:lnTo>
                  <a:pt x="36" y="32"/>
                </a:lnTo>
                <a:lnTo>
                  <a:pt x="31" y="32"/>
                </a:lnTo>
                <a:lnTo>
                  <a:pt x="28" y="33"/>
                </a:lnTo>
                <a:lnTo>
                  <a:pt x="21" y="33"/>
                </a:lnTo>
                <a:lnTo>
                  <a:pt x="18" y="33"/>
                </a:lnTo>
                <a:lnTo>
                  <a:pt x="17" y="32"/>
                </a:lnTo>
                <a:lnTo>
                  <a:pt x="16" y="29"/>
                </a:lnTo>
                <a:lnTo>
                  <a:pt x="12" y="30"/>
                </a:lnTo>
                <a:lnTo>
                  <a:pt x="8" y="31"/>
                </a:lnTo>
                <a:lnTo>
                  <a:pt x="6" y="33"/>
                </a:lnTo>
                <a:lnTo>
                  <a:pt x="6" y="32"/>
                </a:lnTo>
                <a:lnTo>
                  <a:pt x="6" y="30"/>
                </a:lnTo>
                <a:lnTo>
                  <a:pt x="7" y="28"/>
                </a:lnTo>
                <a:lnTo>
                  <a:pt x="8" y="26"/>
                </a:lnTo>
                <a:lnTo>
                  <a:pt x="6" y="26"/>
                </a:lnTo>
                <a:lnTo>
                  <a:pt x="7" y="23"/>
                </a:lnTo>
                <a:lnTo>
                  <a:pt x="5" y="22"/>
                </a:lnTo>
                <a:lnTo>
                  <a:pt x="7" y="19"/>
                </a:lnTo>
                <a:lnTo>
                  <a:pt x="6" y="19"/>
                </a:lnTo>
                <a:lnTo>
                  <a:pt x="4" y="18"/>
                </a:lnTo>
                <a:lnTo>
                  <a:pt x="4" y="17"/>
                </a:lnTo>
                <a:lnTo>
                  <a:pt x="0" y="13"/>
                </a:lnTo>
                <a:lnTo>
                  <a:pt x="1" y="10"/>
                </a:lnTo>
                <a:lnTo>
                  <a:pt x="5" y="8"/>
                </a:lnTo>
                <a:lnTo>
                  <a:pt x="8" y="7"/>
                </a:lnTo>
                <a:lnTo>
                  <a:pt x="12" y="7"/>
                </a:lnTo>
                <a:lnTo>
                  <a:pt x="15" y="4"/>
                </a:lnTo>
                <a:lnTo>
                  <a:pt x="15" y="3"/>
                </a:lnTo>
                <a:lnTo>
                  <a:pt x="17" y="1"/>
                </a:lnTo>
                <a:lnTo>
                  <a:pt x="22" y="0"/>
                </a:lnTo>
                <a:lnTo>
                  <a:pt x="25" y="0"/>
                </a:lnTo>
                <a:lnTo>
                  <a:pt x="29" y="2"/>
                </a:lnTo>
                <a:lnTo>
                  <a:pt x="35" y="2"/>
                </a:lnTo>
                <a:lnTo>
                  <a:pt x="45" y="2"/>
                </a:lnTo>
                <a:lnTo>
                  <a:pt x="48" y="1"/>
                </a:lnTo>
                <a:lnTo>
                  <a:pt x="51" y="1"/>
                </a:lnTo>
                <a:lnTo>
                  <a:pt x="56" y="3"/>
                </a:lnTo>
                <a:lnTo>
                  <a:pt x="59" y="3"/>
                </a:lnTo>
                <a:lnTo>
                  <a:pt x="68" y="4"/>
                </a:lnTo>
                <a:lnTo>
                  <a:pt x="72" y="6"/>
                </a:lnTo>
                <a:lnTo>
                  <a:pt x="78" y="4"/>
                </a:lnTo>
                <a:lnTo>
                  <a:pt x="81" y="4"/>
                </a:lnTo>
                <a:lnTo>
                  <a:pt x="85" y="4"/>
                </a:lnTo>
                <a:lnTo>
                  <a:pt x="89" y="6"/>
                </a:lnTo>
                <a:lnTo>
                  <a:pt x="97" y="6"/>
                </a:lnTo>
                <a:lnTo>
                  <a:pt x="101" y="7"/>
                </a:lnTo>
                <a:lnTo>
                  <a:pt x="106" y="7"/>
                </a:lnTo>
                <a:lnTo>
                  <a:pt x="108" y="6"/>
                </a:lnTo>
                <a:lnTo>
                  <a:pt x="109" y="7"/>
                </a:lnTo>
                <a:lnTo>
                  <a:pt x="114" y="11"/>
                </a:lnTo>
                <a:lnTo>
                  <a:pt x="117" y="12"/>
                </a:lnTo>
                <a:lnTo>
                  <a:pt x="119" y="13"/>
                </a:lnTo>
                <a:lnTo>
                  <a:pt x="122" y="14"/>
                </a:lnTo>
                <a:lnTo>
                  <a:pt x="124" y="16"/>
                </a:lnTo>
                <a:lnTo>
                  <a:pt x="137" y="19"/>
                </a:lnTo>
                <a:lnTo>
                  <a:pt x="140" y="19"/>
                </a:lnTo>
                <a:lnTo>
                  <a:pt x="142" y="19"/>
                </a:lnTo>
                <a:lnTo>
                  <a:pt x="144" y="18"/>
                </a:lnTo>
                <a:lnTo>
                  <a:pt x="147" y="17"/>
                </a:lnTo>
                <a:lnTo>
                  <a:pt x="149" y="18"/>
                </a:lnTo>
                <a:lnTo>
                  <a:pt x="153" y="20"/>
                </a:lnTo>
                <a:lnTo>
                  <a:pt x="156" y="21"/>
                </a:lnTo>
                <a:lnTo>
                  <a:pt x="156" y="23"/>
                </a:lnTo>
                <a:lnTo>
                  <a:pt x="158" y="23"/>
                </a:lnTo>
                <a:lnTo>
                  <a:pt x="159" y="22"/>
                </a:lnTo>
                <a:lnTo>
                  <a:pt x="158" y="21"/>
                </a:lnTo>
                <a:lnTo>
                  <a:pt x="161" y="23"/>
                </a:lnTo>
                <a:lnTo>
                  <a:pt x="163" y="24"/>
                </a:lnTo>
                <a:lnTo>
                  <a:pt x="171" y="23"/>
                </a:lnTo>
                <a:lnTo>
                  <a:pt x="174" y="23"/>
                </a:lnTo>
                <a:lnTo>
                  <a:pt x="178" y="23"/>
                </a:lnTo>
                <a:lnTo>
                  <a:pt x="180" y="23"/>
                </a:lnTo>
                <a:lnTo>
                  <a:pt x="182" y="24"/>
                </a:lnTo>
                <a:lnTo>
                  <a:pt x="182" y="26"/>
                </a:lnTo>
                <a:lnTo>
                  <a:pt x="180" y="27"/>
                </a:lnTo>
                <a:lnTo>
                  <a:pt x="180" y="29"/>
                </a:lnTo>
                <a:lnTo>
                  <a:pt x="181" y="31"/>
                </a:lnTo>
                <a:lnTo>
                  <a:pt x="179" y="34"/>
                </a:lnTo>
                <a:lnTo>
                  <a:pt x="169" y="40"/>
                </a:lnTo>
                <a:lnTo>
                  <a:pt x="166" y="43"/>
                </a:lnTo>
                <a:lnTo>
                  <a:pt x="149" y="49"/>
                </a:lnTo>
                <a:lnTo>
                  <a:pt x="147" y="52"/>
                </a:lnTo>
                <a:lnTo>
                  <a:pt x="147" y="54"/>
                </a:lnTo>
                <a:lnTo>
                  <a:pt x="144" y="57"/>
                </a:lnTo>
                <a:lnTo>
                  <a:pt x="141" y="60"/>
                </a:lnTo>
                <a:lnTo>
                  <a:pt x="137" y="67"/>
                </a:lnTo>
                <a:lnTo>
                  <a:pt x="131" y="73"/>
                </a:lnTo>
                <a:lnTo>
                  <a:pt x="130" y="77"/>
                </a:lnTo>
                <a:lnTo>
                  <a:pt x="129" y="78"/>
                </a:lnTo>
                <a:lnTo>
                  <a:pt x="129" y="79"/>
                </a:lnTo>
                <a:lnTo>
                  <a:pt x="130" y="80"/>
                </a:lnTo>
                <a:lnTo>
                  <a:pt x="131" y="82"/>
                </a:lnTo>
                <a:lnTo>
                  <a:pt x="131" y="84"/>
                </a:lnTo>
                <a:lnTo>
                  <a:pt x="132" y="85"/>
                </a:lnTo>
                <a:lnTo>
                  <a:pt x="134" y="86"/>
                </a:lnTo>
                <a:lnTo>
                  <a:pt x="137" y="86"/>
                </a:lnTo>
                <a:lnTo>
                  <a:pt x="138" y="89"/>
                </a:lnTo>
                <a:lnTo>
                  <a:pt x="136" y="91"/>
                </a:lnTo>
                <a:lnTo>
                  <a:pt x="132" y="93"/>
                </a:lnTo>
                <a:lnTo>
                  <a:pt x="130" y="95"/>
                </a:lnTo>
                <a:lnTo>
                  <a:pt x="128" y="96"/>
                </a:lnTo>
                <a:lnTo>
                  <a:pt x="126" y="101"/>
                </a:lnTo>
                <a:lnTo>
                  <a:pt x="124" y="104"/>
                </a:lnTo>
                <a:lnTo>
                  <a:pt x="123" y="105"/>
                </a:lnTo>
                <a:lnTo>
                  <a:pt x="122" y="108"/>
                </a:lnTo>
                <a:lnTo>
                  <a:pt x="123" y="110"/>
                </a:lnTo>
                <a:lnTo>
                  <a:pt x="114" y="111"/>
                </a:lnTo>
                <a:lnTo>
                  <a:pt x="109" y="115"/>
                </a:lnTo>
                <a:lnTo>
                  <a:pt x="107" y="121"/>
                </a:lnTo>
                <a:lnTo>
                  <a:pt x="106" y="123"/>
                </a:lnTo>
                <a:lnTo>
                  <a:pt x="104" y="124"/>
                </a:lnTo>
                <a:lnTo>
                  <a:pt x="102" y="124"/>
                </a:lnTo>
                <a:lnTo>
                  <a:pt x="99" y="124"/>
                </a:lnTo>
                <a:lnTo>
                  <a:pt x="94" y="125"/>
                </a:lnTo>
                <a:lnTo>
                  <a:pt x="91" y="125"/>
                </a:lnTo>
                <a:lnTo>
                  <a:pt x="87" y="124"/>
                </a:lnTo>
                <a:lnTo>
                  <a:pt x="82" y="125"/>
                </a:lnTo>
                <a:lnTo>
                  <a:pt x="79" y="124"/>
                </a:lnTo>
                <a:lnTo>
                  <a:pt x="69" y="126"/>
                </a:lnTo>
                <a:lnTo>
                  <a:pt x="66" y="129"/>
                </a:lnTo>
                <a:lnTo>
                  <a:pt x="62" y="130"/>
                </a:lnTo>
                <a:lnTo>
                  <a:pt x="59" y="131"/>
                </a:lnTo>
                <a:lnTo>
                  <a:pt x="57" y="133"/>
                </a:lnTo>
                <a:lnTo>
                  <a:pt x="56" y="135"/>
                </a:lnTo>
                <a:lnTo>
                  <a:pt x="55" y="136"/>
                </a:lnTo>
                <a:lnTo>
                  <a:pt x="52" y="138"/>
                </a:lnTo>
                <a:lnTo>
                  <a:pt x="48" y="136"/>
                </a:lnTo>
                <a:lnTo>
                  <a:pt x="45" y="134"/>
                </a:lnTo>
                <a:lnTo>
                  <a:pt x="42" y="130"/>
                </a:lnTo>
                <a:lnTo>
                  <a:pt x="41" y="128"/>
                </a:lnTo>
                <a:lnTo>
                  <a:pt x="40" y="125"/>
                </a:lnTo>
                <a:lnTo>
                  <a:pt x="39" y="123"/>
                </a:lnTo>
                <a:lnTo>
                  <a:pt x="39" y="122"/>
                </a:lnTo>
                <a:lnTo>
                  <a:pt x="38" y="121"/>
                </a:lnTo>
                <a:lnTo>
                  <a:pt x="36" y="119"/>
                </a:lnTo>
                <a:lnTo>
                  <a:pt x="32" y="116"/>
                </a:lnTo>
                <a:lnTo>
                  <a:pt x="30" y="116"/>
                </a:lnTo>
                <a:lnTo>
                  <a:pt x="25" y="116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30" name="Freeform 930"/>
          <p:cNvSpPr>
            <a:spLocks/>
          </p:cNvSpPr>
          <p:nvPr/>
        </p:nvSpPr>
        <p:spPr bwMode="auto">
          <a:xfrm>
            <a:off x="5180013" y="2616165"/>
            <a:ext cx="31750" cy="115888"/>
          </a:xfrm>
          <a:custGeom>
            <a:avLst/>
            <a:gdLst>
              <a:gd name="T0" fmla="*/ 15 w 20"/>
              <a:gd name="T1" fmla="*/ 69 h 73"/>
              <a:gd name="T2" fmla="*/ 17 w 20"/>
              <a:gd name="T3" fmla="*/ 52 h 73"/>
              <a:gd name="T4" fmla="*/ 20 w 20"/>
              <a:gd name="T5" fmla="*/ 40 h 73"/>
              <a:gd name="T6" fmla="*/ 19 w 20"/>
              <a:gd name="T7" fmla="*/ 34 h 73"/>
              <a:gd name="T8" fmla="*/ 18 w 20"/>
              <a:gd name="T9" fmla="*/ 34 h 73"/>
              <a:gd name="T10" fmla="*/ 11 w 20"/>
              <a:gd name="T11" fmla="*/ 36 h 73"/>
              <a:gd name="T12" fmla="*/ 10 w 20"/>
              <a:gd name="T13" fmla="*/ 36 h 73"/>
              <a:gd name="T14" fmla="*/ 11 w 20"/>
              <a:gd name="T15" fmla="*/ 33 h 73"/>
              <a:gd name="T16" fmla="*/ 11 w 20"/>
              <a:gd name="T17" fmla="*/ 29 h 73"/>
              <a:gd name="T18" fmla="*/ 14 w 20"/>
              <a:gd name="T19" fmla="*/ 28 h 73"/>
              <a:gd name="T20" fmla="*/ 14 w 20"/>
              <a:gd name="T21" fmla="*/ 27 h 73"/>
              <a:gd name="T22" fmla="*/ 11 w 20"/>
              <a:gd name="T23" fmla="*/ 27 h 73"/>
              <a:gd name="T24" fmla="*/ 10 w 20"/>
              <a:gd name="T25" fmla="*/ 24 h 73"/>
              <a:gd name="T26" fmla="*/ 11 w 20"/>
              <a:gd name="T27" fmla="*/ 18 h 73"/>
              <a:gd name="T28" fmla="*/ 11 w 20"/>
              <a:gd name="T29" fmla="*/ 15 h 73"/>
              <a:gd name="T30" fmla="*/ 14 w 20"/>
              <a:gd name="T31" fmla="*/ 15 h 73"/>
              <a:gd name="T32" fmla="*/ 17 w 20"/>
              <a:gd name="T33" fmla="*/ 16 h 73"/>
              <a:gd name="T34" fmla="*/ 19 w 20"/>
              <a:gd name="T35" fmla="*/ 17 h 73"/>
              <a:gd name="T36" fmla="*/ 19 w 20"/>
              <a:gd name="T37" fmla="*/ 10 h 73"/>
              <a:gd name="T38" fmla="*/ 19 w 20"/>
              <a:gd name="T39" fmla="*/ 7 h 73"/>
              <a:gd name="T40" fmla="*/ 19 w 20"/>
              <a:gd name="T41" fmla="*/ 5 h 73"/>
              <a:gd name="T42" fmla="*/ 18 w 20"/>
              <a:gd name="T43" fmla="*/ 2 h 73"/>
              <a:gd name="T44" fmla="*/ 17 w 20"/>
              <a:gd name="T45" fmla="*/ 2 h 73"/>
              <a:gd name="T46" fmla="*/ 15 w 20"/>
              <a:gd name="T47" fmla="*/ 5 h 73"/>
              <a:gd name="T48" fmla="*/ 14 w 20"/>
              <a:gd name="T49" fmla="*/ 6 h 73"/>
              <a:gd name="T50" fmla="*/ 10 w 20"/>
              <a:gd name="T51" fmla="*/ 5 h 73"/>
              <a:gd name="T52" fmla="*/ 9 w 20"/>
              <a:gd name="T53" fmla="*/ 5 h 73"/>
              <a:gd name="T54" fmla="*/ 8 w 20"/>
              <a:gd name="T55" fmla="*/ 13 h 73"/>
              <a:gd name="T56" fmla="*/ 7 w 20"/>
              <a:gd name="T57" fmla="*/ 23 h 73"/>
              <a:gd name="T58" fmla="*/ 2 w 20"/>
              <a:gd name="T59" fmla="*/ 33 h 73"/>
              <a:gd name="T60" fmla="*/ 1 w 20"/>
              <a:gd name="T61" fmla="*/ 37 h 73"/>
              <a:gd name="T62" fmla="*/ 0 w 20"/>
              <a:gd name="T63" fmla="*/ 39 h 73"/>
              <a:gd name="T64" fmla="*/ 1 w 20"/>
              <a:gd name="T65" fmla="*/ 43 h 73"/>
              <a:gd name="T66" fmla="*/ 13 w 20"/>
              <a:gd name="T67" fmla="*/ 73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0" h="73">
                <a:moveTo>
                  <a:pt x="15" y="72"/>
                </a:moveTo>
                <a:lnTo>
                  <a:pt x="15" y="69"/>
                </a:lnTo>
                <a:lnTo>
                  <a:pt x="15" y="66"/>
                </a:lnTo>
                <a:lnTo>
                  <a:pt x="17" y="52"/>
                </a:lnTo>
                <a:lnTo>
                  <a:pt x="18" y="46"/>
                </a:lnTo>
                <a:lnTo>
                  <a:pt x="20" y="40"/>
                </a:lnTo>
                <a:lnTo>
                  <a:pt x="19" y="38"/>
                </a:lnTo>
                <a:lnTo>
                  <a:pt x="19" y="34"/>
                </a:lnTo>
                <a:lnTo>
                  <a:pt x="18" y="34"/>
                </a:lnTo>
                <a:lnTo>
                  <a:pt x="18" y="34"/>
                </a:lnTo>
                <a:lnTo>
                  <a:pt x="14" y="36"/>
                </a:lnTo>
                <a:lnTo>
                  <a:pt x="11" y="36"/>
                </a:lnTo>
                <a:lnTo>
                  <a:pt x="11" y="37"/>
                </a:lnTo>
                <a:lnTo>
                  <a:pt x="10" y="36"/>
                </a:lnTo>
                <a:lnTo>
                  <a:pt x="10" y="34"/>
                </a:lnTo>
                <a:lnTo>
                  <a:pt x="11" y="33"/>
                </a:lnTo>
                <a:lnTo>
                  <a:pt x="11" y="30"/>
                </a:lnTo>
                <a:lnTo>
                  <a:pt x="11" y="29"/>
                </a:lnTo>
                <a:lnTo>
                  <a:pt x="12" y="28"/>
                </a:lnTo>
                <a:lnTo>
                  <a:pt x="14" y="28"/>
                </a:lnTo>
                <a:lnTo>
                  <a:pt x="14" y="28"/>
                </a:lnTo>
                <a:lnTo>
                  <a:pt x="14" y="27"/>
                </a:lnTo>
                <a:lnTo>
                  <a:pt x="13" y="27"/>
                </a:lnTo>
                <a:lnTo>
                  <a:pt x="11" y="27"/>
                </a:lnTo>
                <a:lnTo>
                  <a:pt x="11" y="26"/>
                </a:lnTo>
                <a:lnTo>
                  <a:pt x="10" y="24"/>
                </a:lnTo>
                <a:lnTo>
                  <a:pt x="10" y="20"/>
                </a:lnTo>
                <a:lnTo>
                  <a:pt x="11" y="18"/>
                </a:lnTo>
                <a:lnTo>
                  <a:pt x="11" y="16"/>
                </a:lnTo>
                <a:lnTo>
                  <a:pt x="11" y="15"/>
                </a:lnTo>
                <a:lnTo>
                  <a:pt x="12" y="15"/>
                </a:lnTo>
                <a:lnTo>
                  <a:pt x="14" y="15"/>
                </a:lnTo>
                <a:lnTo>
                  <a:pt x="15" y="15"/>
                </a:lnTo>
                <a:lnTo>
                  <a:pt x="17" y="16"/>
                </a:lnTo>
                <a:lnTo>
                  <a:pt x="18" y="17"/>
                </a:lnTo>
                <a:lnTo>
                  <a:pt x="19" y="17"/>
                </a:lnTo>
                <a:lnTo>
                  <a:pt x="18" y="12"/>
                </a:lnTo>
                <a:lnTo>
                  <a:pt x="19" y="10"/>
                </a:lnTo>
                <a:lnTo>
                  <a:pt x="19" y="8"/>
                </a:lnTo>
                <a:lnTo>
                  <a:pt x="19" y="7"/>
                </a:lnTo>
                <a:lnTo>
                  <a:pt x="18" y="6"/>
                </a:lnTo>
                <a:lnTo>
                  <a:pt x="19" y="5"/>
                </a:lnTo>
                <a:lnTo>
                  <a:pt x="18" y="2"/>
                </a:lnTo>
                <a:lnTo>
                  <a:pt x="18" y="2"/>
                </a:lnTo>
                <a:lnTo>
                  <a:pt x="18" y="0"/>
                </a:lnTo>
                <a:lnTo>
                  <a:pt x="17" y="2"/>
                </a:lnTo>
                <a:lnTo>
                  <a:pt x="17" y="5"/>
                </a:lnTo>
                <a:lnTo>
                  <a:pt x="15" y="5"/>
                </a:lnTo>
                <a:lnTo>
                  <a:pt x="14" y="6"/>
                </a:lnTo>
                <a:lnTo>
                  <a:pt x="14" y="6"/>
                </a:lnTo>
                <a:lnTo>
                  <a:pt x="13" y="5"/>
                </a:lnTo>
                <a:lnTo>
                  <a:pt x="10" y="5"/>
                </a:lnTo>
                <a:lnTo>
                  <a:pt x="10" y="4"/>
                </a:lnTo>
                <a:lnTo>
                  <a:pt x="9" y="5"/>
                </a:lnTo>
                <a:lnTo>
                  <a:pt x="9" y="8"/>
                </a:lnTo>
                <a:lnTo>
                  <a:pt x="8" y="13"/>
                </a:lnTo>
                <a:lnTo>
                  <a:pt x="8" y="15"/>
                </a:lnTo>
                <a:lnTo>
                  <a:pt x="7" y="23"/>
                </a:lnTo>
                <a:lnTo>
                  <a:pt x="4" y="30"/>
                </a:lnTo>
                <a:lnTo>
                  <a:pt x="2" y="33"/>
                </a:lnTo>
                <a:lnTo>
                  <a:pt x="4" y="34"/>
                </a:lnTo>
                <a:lnTo>
                  <a:pt x="1" y="37"/>
                </a:lnTo>
                <a:lnTo>
                  <a:pt x="1" y="38"/>
                </a:lnTo>
                <a:lnTo>
                  <a:pt x="0" y="39"/>
                </a:lnTo>
                <a:lnTo>
                  <a:pt x="0" y="42"/>
                </a:lnTo>
                <a:lnTo>
                  <a:pt x="1" y="43"/>
                </a:lnTo>
                <a:lnTo>
                  <a:pt x="8" y="59"/>
                </a:lnTo>
                <a:lnTo>
                  <a:pt x="13" y="73"/>
                </a:lnTo>
                <a:lnTo>
                  <a:pt x="15" y="7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31" name="Freeform 931"/>
          <p:cNvSpPr>
            <a:spLocks/>
          </p:cNvSpPr>
          <p:nvPr/>
        </p:nvSpPr>
        <p:spPr bwMode="auto">
          <a:xfrm>
            <a:off x="5180013" y="2616165"/>
            <a:ext cx="31750" cy="115888"/>
          </a:xfrm>
          <a:custGeom>
            <a:avLst/>
            <a:gdLst>
              <a:gd name="T0" fmla="*/ 15 w 20"/>
              <a:gd name="T1" fmla="*/ 69 h 73"/>
              <a:gd name="T2" fmla="*/ 17 w 20"/>
              <a:gd name="T3" fmla="*/ 52 h 73"/>
              <a:gd name="T4" fmla="*/ 20 w 20"/>
              <a:gd name="T5" fmla="*/ 40 h 73"/>
              <a:gd name="T6" fmla="*/ 19 w 20"/>
              <a:gd name="T7" fmla="*/ 34 h 73"/>
              <a:gd name="T8" fmla="*/ 18 w 20"/>
              <a:gd name="T9" fmla="*/ 34 h 73"/>
              <a:gd name="T10" fmla="*/ 11 w 20"/>
              <a:gd name="T11" fmla="*/ 36 h 73"/>
              <a:gd name="T12" fmla="*/ 10 w 20"/>
              <a:gd name="T13" fmla="*/ 36 h 73"/>
              <a:gd name="T14" fmla="*/ 11 w 20"/>
              <a:gd name="T15" fmla="*/ 33 h 73"/>
              <a:gd name="T16" fmla="*/ 11 w 20"/>
              <a:gd name="T17" fmla="*/ 29 h 73"/>
              <a:gd name="T18" fmla="*/ 14 w 20"/>
              <a:gd name="T19" fmla="*/ 28 h 73"/>
              <a:gd name="T20" fmla="*/ 14 w 20"/>
              <a:gd name="T21" fmla="*/ 27 h 73"/>
              <a:gd name="T22" fmla="*/ 11 w 20"/>
              <a:gd name="T23" fmla="*/ 27 h 73"/>
              <a:gd name="T24" fmla="*/ 10 w 20"/>
              <a:gd name="T25" fmla="*/ 24 h 73"/>
              <a:gd name="T26" fmla="*/ 11 w 20"/>
              <a:gd name="T27" fmla="*/ 18 h 73"/>
              <a:gd name="T28" fmla="*/ 11 w 20"/>
              <a:gd name="T29" fmla="*/ 15 h 73"/>
              <a:gd name="T30" fmla="*/ 14 w 20"/>
              <a:gd name="T31" fmla="*/ 15 h 73"/>
              <a:gd name="T32" fmla="*/ 17 w 20"/>
              <a:gd name="T33" fmla="*/ 16 h 73"/>
              <a:gd name="T34" fmla="*/ 19 w 20"/>
              <a:gd name="T35" fmla="*/ 17 h 73"/>
              <a:gd name="T36" fmla="*/ 19 w 20"/>
              <a:gd name="T37" fmla="*/ 10 h 73"/>
              <a:gd name="T38" fmla="*/ 19 w 20"/>
              <a:gd name="T39" fmla="*/ 7 h 73"/>
              <a:gd name="T40" fmla="*/ 19 w 20"/>
              <a:gd name="T41" fmla="*/ 5 h 73"/>
              <a:gd name="T42" fmla="*/ 18 w 20"/>
              <a:gd name="T43" fmla="*/ 2 h 73"/>
              <a:gd name="T44" fmla="*/ 17 w 20"/>
              <a:gd name="T45" fmla="*/ 2 h 73"/>
              <a:gd name="T46" fmla="*/ 15 w 20"/>
              <a:gd name="T47" fmla="*/ 5 h 73"/>
              <a:gd name="T48" fmla="*/ 14 w 20"/>
              <a:gd name="T49" fmla="*/ 6 h 73"/>
              <a:gd name="T50" fmla="*/ 10 w 20"/>
              <a:gd name="T51" fmla="*/ 5 h 73"/>
              <a:gd name="T52" fmla="*/ 9 w 20"/>
              <a:gd name="T53" fmla="*/ 5 h 73"/>
              <a:gd name="T54" fmla="*/ 8 w 20"/>
              <a:gd name="T55" fmla="*/ 13 h 73"/>
              <a:gd name="T56" fmla="*/ 7 w 20"/>
              <a:gd name="T57" fmla="*/ 23 h 73"/>
              <a:gd name="T58" fmla="*/ 2 w 20"/>
              <a:gd name="T59" fmla="*/ 33 h 73"/>
              <a:gd name="T60" fmla="*/ 1 w 20"/>
              <a:gd name="T61" fmla="*/ 37 h 73"/>
              <a:gd name="T62" fmla="*/ 0 w 20"/>
              <a:gd name="T63" fmla="*/ 39 h 73"/>
              <a:gd name="T64" fmla="*/ 1 w 20"/>
              <a:gd name="T65" fmla="*/ 43 h 73"/>
              <a:gd name="T66" fmla="*/ 13 w 20"/>
              <a:gd name="T67" fmla="*/ 73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0" h="73">
                <a:moveTo>
                  <a:pt x="15" y="72"/>
                </a:moveTo>
                <a:lnTo>
                  <a:pt x="15" y="69"/>
                </a:lnTo>
                <a:lnTo>
                  <a:pt x="15" y="66"/>
                </a:lnTo>
                <a:lnTo>
                  <a:pt x="17" y="52"/>
                </a:lnTo>
                <a:lnTo>
                  <a:pt x="18" y="46"/>
                </a:lnTo>
                <a:lnTo>
                  <a:pt x="20" y="40"/>
                </a:lnTo>
                <a:lnTo>
                  <a:pt x="19" y="38"/>
                </a:lnTo>
                <a:lnTo>
                  <a:pt x="19" y="34"/>
                </a:lnTo>
                <a:lnTo>
                  <a:pt x="18" y="34"/>
                </a:lnTo>
                <a:lnTo>
                  <a:pt x="18" y="34"/>
                </a:lnTo>
                <a:lnTo>
                  <a:pt x="14" y="36"/>
                </a:lnTo>
                <a:lnTo>
                  <a:pt x="11" y="36"/>
                </a:lnTo>
                <a:lnTo>
                  <a:pt x="11" y="37"/>
                </a:lnTo>
                <a:lnTo>
                  <a:pt x="10" y="36"/>
                </a:lnTo>
                <a:lnTo>
                  <a:pt x="10" y="34"/>
                </a:lnTo>
                <a:lnTo>
                  <a:pt x="11" y="33"/>
                </a:lnTo>
                <a:lnTo>
                  <a:pt x="11" y="30"/>
                </a:lnTo>
                <a:lnTo>
                  <a:pt x="11" y="29"/>
                </a:lnTo>
                <a:lnTo>
                  <a:pt x="12" y="28"/>
                </a:lnTo>
                <a:lnTo>
                  <a:pt x="14" y="28"/>
                </a:lnTo>
                <a:lnTo>
                  <a:pt x="14" y="28"/>
                </a:lnTo>
                <a:lnTo>
                  <a:pt x="14" y="27"/>
                </a:lnTo>
                <a:lnTo>
                  <a:pt x="13" y="27"/>
                </a:lnTo>
                <a:lnTo>
                  <a:pt x="11" y="27"/>
                </a:lnTo>
                <a:lnTo>
                  <a:pt x="11" y="26"/>
                </a:lnTo>
                <a:lnTo>
                  <a:pt x="10" y="24"/>
                </a:lnTo>
                <a:lnTo>
                  <a:pt x="10" y="20"/>
                </a:lnTo>
                <a:lnTo>
                  <a:pt x="11" y="18"/>
                </a:lnTo>
                <a:lnTo>
                  <a:pt x="11" y="16"/>
                </a:lnTo>
                <a:lnTo>
                  <a:pt x="11" y="15"/>
                </a:lnTo>
                <a:lnTo>
                  <a:pt x="12" y="15"/>
                </a:lnTo>
                <a:lnTo>
                  <a:pt x="14" y="15"/>
                </a:lnTo>
                <a:lnTo>
                  <a:pt x="15" y="15"/>
                </a:lnTo>
                <a:lnTo>
                  <a:pt x="17" y="16"/>
                </a:lnTo>
                <a:lnTo>
                  <a:pt x="18" y="17"/>
                </a:lnTo>
                <a:lnTo>
                  <a:pt x="19" y="17"/>
                </a:lnTo>
                <a:lnTo>
                  <a:pt x="18" y="12"/>
                </a:lnTo>
                <a:lnTo>
                  <a:pt x="19" y="10"/>
                </a:lnTo>
                <a:lnTo>
                  <a:pt x="19" y="8"/>
                </a:lnTo>
                <a:lnTo>
                  <a:pt x="19" y="7"/>
                </a:lnTo>
                <a:lnTo>
                  <a:pt x="18" y="6"/>
                </a:lnTo>
                <a:lnTo>
                  <a:pt x="19" y="5"/>
                </a:lnTo>
                <a:lnTo>
                  <a:pt x="18" y="2"/>
                </a:lnTo>
                <a:lnTo>
                  <a:pt x="18" y="2"/>
                </a:lnTo>
                <a:lnTo>
                  <a:pt x="18" y="0"/>
                </a:lnTo>
                <a:lnTo>
                  <a:pt x="17" y="2"/>
                </a:lnTo>
                <a:lnTo>
                  <a:pt x="17" y="5"/>
                </a:lnTo>
                <a:lnTo>
                  <a:pt x="15" y="5"/>
                </a:lnTo>
                <a:lnTo>
                  <a:pt x="14" y="6"/>
                </a:lnTo>
                <a:lnTo>
                  <a:pt x="14" y="6"/>
                </a:lnTo>
                <a:lnTo>
                  <a:pt x="13" y="5"/>
                </a:lnTo>
                <a:lnTo>
                  <a:pt x="10" y="5"/>
                </a:lnTo>
                <a:lnTo>
                  <a:pt x="10" y="4"/>
                </a:lnTo>
                <a:lnTo>
                  <a:pt x="9" y="5"/>
                </a:lnTo>
                <a:lnTo>
                  <a:pt x="9" y="8"/>
                </a:lnTo>
                <a:lnTo>
                  <a:pt x="8" y="13"/>
                </a:lnTo>
                <a:lnTo>
                  <a:pt x="8" y="15"/>
                </a:lnTo>
                <a:lnTo>
                  <a:pt x="7" y="23"/>
                </a:lnTo>
                <a:lnTo>
                  <a:pt x="4" y="30"/>
                </a:lnTo>
                <a:lnTo>
                  <a:pt x="2" y="33"/>
                </a:lnTo>
                <a:lnTo>
                  <a:pt x="4" y="34"/>
                </a:lnTo>
                <a:lnTo>
                  <a:pt x="1" y="37"/>
                </a:lnTo>
                <a:lnTo>
                  <a:pt x="1" y="38"/>
                </a:lnTo>
                <a:lnTo>
                  <a:pt x="0" y="39"/>
                </a:lnTo>
                <a:lnTo>
                  <a:pt x="0" y="42"/>
                </a:lnTo>
                <a:lnTo>
                  <a:pt x="1" y="43"/>
                </a:lnTo>
                <a:lnTo>
                  <a:pt x="8" y="59"/>
                </a:lnTo>
                <a:lnTo>
                  <a:pt x="13" y="73"/>
                </a:lnTo>
                <a:lnTo>
                  <a:pt x="15" y="7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32" name="Freeform 932"/>
          <p:cNvSpPr>
            <a:spLocks/>
          </p:cNvSpPr>
          <p:nvPr/>
        </p:nvSpPr>
        <p:spPr bwMode="auto">
          <a:xfrm>
            <a:off x="5287963" y="2495515"/>
            <a:ext cx="247650" cy="242888"/>
          </a:xfrm>
          <a:custGeom>
            <a:avLst/>
            <a:gdLst>
              <a:gd name="T0" fmla="*/ 155 w 156"/>
              <a:gd name="T1" fmla="*/ 139 h 153"/>
              <a:gd name="T2" fmla="*/ 149 w 156"/>
              <a:gd name="T3" fmla="*/ 135 h 153"/>
              <a:gd name="T4" fmla="*/ 148 w 156"/>
              <a:gd name="T5" fmla="*/ 136 h 153"/>
              <a:gd name="T6" fmla="*/ 141 w 156"/>
              <a:gd name="T7" fmla="*/ 135 h 153"/>
              <a:gd name="T8" fmla="*/ 134 w 156"/>
              <a:gd name="T9" fmla="*/ 142 h 153"/>
              <a:gd name="T10" fmla="*/ 128 w 156"/>
              <a:gd name="T11" fmla="*/ 153 h 153"/>
              <a:gd name="T12" fmla="*/ 82 w 156"/>
              <a:gd name="T13" fmla="*/ 142 h 153"/>
              <a:gd name="T14" fmla="*/ 80 w 156"/>
              <a:gd name="T15" fmla="*/ 131 h 153"/>
              <a:gd name="T16" fmla="*/ 71 w 156"/>
              <a:gd name="T17" fmla="*/ 129 h 153"/>
              <a:gd name="T18" fmla="*/ 66 w 156"/>
              <a:gd name="T19" fmla="*/ 122 h 153"/>
              <a:gd name="T20" fmla="*/ 31 w 156"/>
              <a:gd name="T21" fmla="*/ 103 h 153"/>
              <a:gd name="T22" fmla="*/ 6 w 156"/>
              <a:gd name="T23" fmla="*/ 96 h 153"/>
              <a:gd name="T24" fmla="*/ 11 w 156"/>
              <a:gd name="T25" fmla="*/ 68 h 153"/>
              <a:gd name="T26" fmla="*/ 17 w 156"/>
              <a:gd name="T27" fmla="*/ 63 h 153"/>
              <a:gd name="T28" fmla="*/ 26 w 156"/>
              <a:gd name="T29" fmla="*/ 58 h 153"/>
              <a:gd name="T30" fmla="*/ 31 w 156"/>
              <a:gd name="T31" fmla="*/ 55 h 153"/>
              <a:gd name="T32" fmla="*/ 32 w 156"/>
              <a:gd name="T33" fmla="*/ 39 h 153"/>
              <a:gd name="T34" fmla="*/ 38 w 156"/>
              <a:gd name="T35" fmla="*/ 17 h 153"/>
              <a:gd name="T36" fmla="*/ 46 w 156"/>
              <a:gd name="T37" fmla="*/ 5 h 153"/>
              <a:gd name="T38" fmla="*/ 57 w 156"/>
              <a:gd name="T39" fmla="*/ 2 h 153"/>
              <a:gd name="T40" fmla="*/ 71 w 156"/>
              <a:gd name="T41" fmla="*/ 2 h 153"/>
              <a:gd name="T42" fmla="*/ 78 w 156"/>
              <a:gd name="T43" fmla="*/ 5 h 153"/>
              <a:gd name="T44" fmla="*/ 83 w 156"/>
              <a:gd name="T45" fmla="*/ 12 h 153"/>
              <a:gd name="T46" fmla="*/ 90 w 156"/>
              <a:gd name="T47" fmla="*/ 20 h 153"/>
              <a:gd name="T48" fmla="*/ 96 w 156"/>
              <a:gd name="T49" fmla="*/ 29 h 153"/>
              <a:gd name="T50" fmla="*/ 106 w 156"/>
              <a:gd name="T51" fmla="*/ 30 h 153"/>
              <a:gd name="T52" fmla="*/ 104 w 156"/>
              <a:gd name="T53" fmla="*/ 35 h 153"/>
              <a:gd name="T54" fmla="*/ 104 w 156"/>
              <a:gd name="T55" fmla="*/ 44 h 153"/>
              <a:gd name="T56" fmla="*/ 102 w 156"/>
              <a:gd name="T57" fmla="*/ 52 h 153"/>
              <a:gd name="T58" fmla="*/ 98 w 156"/>
              <a:gd name="T59" fmla="*/ 54 h 153"/>
              <a:gd name="T60" fmla="*/ 98 w 156"/>
              <a:gd name="T61" fmla="*/ 63 h 153"/>
              <a:gd name="T62" fmla="*/ 98 w 156"/>
              <a:gd name="T63" fmla="*/ 68 h 153"/>
              <a:gd name="T64" fmla="*/ 103 w 156"/>
              <a:gd name="T65" fmla="*/ 69 h 153"/>
              <a:gd name="T66" fmla="*/ 106 w 156"/>
              <a:gd name="T67" fmla="*/ 73 h 153"/>
              <a:gd name="T68" fmla="*/ 109 w 156"/>
              <a:gd name="T69" fmla="*/ 80 h 153"/>
              <a:gd name="T70" fmla="*/ 117 w 156"/>
              <a:gd name="T71" fmla="*/ 84 h 153"/>
              <a:gd name="T72" fmla="*/ 125 w 156"/>
              <a:gd name="T73" fmla="*/ 89 h 153"/>
              <a:gd name="T74" fmla="*/ 132 w 156"/>
              <a:gd name="T75" fmla="*/ 93 h 153"/>
              <a:gd name="T76" fmla="*/ 136 w 156"/>
              <a:gd name="T77" fmla="*/ 101 h 153"/>
              <a:gd name="T78" fmla="*/ 138 w 156"/>
              <a:gd name="T79" fmla="*/ 112 h 153"/>
              <a:gd name="T80" fmla="*/ 143 w 156"/>
              <a:gd name="T81" fmla="*/ 120 h 153"/>
              <a:gd name="T82" fmla="*/ 147 w 156"/>
              <a:gd name="T83" fmla="*/ 129 h 153"/>
              <a:gd name="T84" fmla="*/ 155 w 156"/>
              <a:gd name="T85" fmla="*/ 134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56" h="153">
                <a:moveTo>
                  <a:pt x="156" y="135"/>
                </a:moveTo>
                <a:lnTo>
                  <a:pt x="155" y="139"/>
                </a:lnTo>
                <a:lnTo>
                  <a:pt x="152" y="136"/>
                </a:lnTo>
                <a:lnTo>
                  <a:pt x="149" y="135"/>
                </a:lnTo>
                <a:lnTo>
                  <a:pt x="148" y="135"/>
                </a:lnTo>
                <a:lnTo>
                  <a:pt x="148" y="136"/>
                </a:lnTo>
                <a:lnTo>
                  <a:pt x="145" y="135"/>
                </a:lnTo>
                <a:lnTo>
                  <a:pt x="141" y="135"/>
                </a:lnTo>
                <a:lnTo>
                  <a:pt x="136" y="136"/>
                </a:lnTo>
                <a:lnTo>
                  <a:pt x="134" y="142"/>
                </a:lnTo>
                <a:lnTo>
                  <a:pt x="132" y="148"/>
                </a:lnTo>
                <a:lnTo>
                  <a:pt x="128" y="153"/>
                </a:lnTo>
                <a:lnTo>
                  <a:pt x="101" y="151"/>
                </a:lnTo>
                <a:lnTo>
                  <a:pt x="82" y="142"/>
                </a:lnTo>
                <a:lnTo>
                  <a:pt x="81" y="142"/>
                </a:lnTo>
                <a:lnTo>
                  <a:pt x="80" y="131"/>
                </a:lnTo>
                <a:lnTo>
                  <a:pt x="78" y="130"/>
                </a:lnTo>
                <a:lnTo>
                  <a:pt x="71" y="129"/>
                </a:lnTo>
                <a:lnTo>
                  <a:pt x="67" y="123"/>
                </a:lnTo>
                <a:lnTo>
                  <a:pt x="66" y="122"/>
                </a:lnTo>
                <a:lnTo>
                  <a:pt x="50" y="116"/>
                </a:lnTo>
                <a:lnTo>
                  <a:pt x="31" y="103"/>
                </a:lnTo>
                <a:lnTo>
                  <a:pt x="6" y="96"/>
                </a:lnTo>
                <a:lnTo>
                  <a:pt x="6" y="96"/>
                </a:lnTo>
                <a:lnTo>
                  <a:pt x="0" y="75"/>
                </a:lnTo>
                <a:lnTo>
                  <a:pt x="11" y="68"/>
                </a:lnTo>
                <a:lnTo>
                  <a:pt x="14" y="64"/>
                </a:lnTo>
                <a:lnTo>
                  <a:pt x="17" y="63"/>
                </a:lnTo>
                <a:lnTo>
                  <a:pt x="24" y="60"/>
                </a:lnTo>
                <a:lnTo>
                  <a:pt x="26" y="58"/>
                </a:lnTo>
                <a:lnTo>
                  <a:pt x="27" y="57"/>
                </a:lnTo>
                <a:lnTo>
                  <a:pt x="31" y="55"/>
                </a:lnTo>
                <a:lnTo>
                  <a:pt x="33" y="49"/>
                </a:lnTo>
                <a:lnTo>
                  <a:pt x="32" y="39"/>
                </a:lnTo>
                <a:lnTo>
                  <a:pt x="31" y="20"/>
                </a:lnTo>
                <a:lnTo>
                  <a:pt x="38" y="17"/>
                </a:lnTo>
                <a:lnTo>
                  <a:pt x="42" y="9"/>
                </a:lnTo>
                <a:lnTo>
                  <a:pt x="46" y="5"/>
                </a:lnTo>
                <a:lnTo>
                  <a:pt x="52" y="0"/>
                </a:lnTo>
                <a:lnTo>
                  <a:pt x="57" y="2"/>
                </a:lnTo>
                <a:lnTo>
                  <a:pt x="66" y="3"/>
                </a:lnTo>
                <a:lnTo>
                  <a:pt x="71" y="2"/>
                </a:lnTo>
                <a:lnTo>
                  <a:pt x="74" y="5"/>
                </a:lnTo>
                <a:lnTo>
                  <a:pt x="78" y="5"/>
                </a:lnTo>
                <a:lnTo>
                  <a:pt x="80" y="4"/>
                </a:lnTo>
                <a:lnTo>
                  <a:pt x="83" y="12"/>
                </a:lnTo>
                <a:lnTo>
                  <a:pt x="86" y="18"/>
                </a:lnTo>
                <a:lnTo>
                  <a:pt x="90" y="20"/>
                </a:lnTo>
                <a:lnTo>
                  <a:pt x="93" y="25"/>
                </a:lnTo>
                <a:lnTo>
                  <a:pt x="96" y="29"/>
                </a:lnTo>
                <a:lnTo>
                  <a:pt x="103" y="30"/>
                </a:lnTo>
                <a:lnTo>
                  <a:pt x="106" y="30"/>
                </a:lnTo>
                <a:lnTo>
                  <a:pt x="105" y="32"/>
                </a:lnTo>
                <a:lnTo>
                  <a:pt x="104" y="35"/>
                </a:lnTo>
                <a:lnTo>
                  <a:pt x="106" y="41"/>
                </a:lnTo>
                <a:lnTo>
                  <a:pt x="104" y="44"/>
                </a:lnTo>
                <a:lnTo>
                  <a:pt x="102" y="50"/>
                </a:lnTo>
                <a:lnTo>
                  <a:pt x="102" y="52"/>
                </a:lnTo>
                <a:lnTo>
                  <a:pt x="99" y="52"/>
                </a:lnTo>
                <a:lnTo>
                  <a:pt x="98" y="54"/>
                </a:lnTo>
                <a:lnTo>
                  <a:pt x="98" y="62"/>
                </a:lnTo>
                <a:lnTo>
                  <a:pt x="98" y="63"/>
                </a:lnTo>
                <a:lnTo>
                  <a:pt x="97" y="63"/>
                </a:lnTo>
                <a:lnTo>
                  <a:pt x="98" y="68"/>
                </a:lnTo>
                <a:lnTo>
                  <a:pt x="101" y="70"/>
                </a:lnTo>
                <a:lnTo>
                  <a:pt x="103" y="69"/>
                </a:lnTo>
                <a:lnTo>
                  <a:pt x="104" y="72"/>
                </a:lnTo>
                <a:lnTo>
                  <a:pt x="106" y="73"/>
                </a:lnTo>
                <a:lnTo>
                  <a:pt x="108" y="76"/>
                </a:lnTo>
                <a:lnTo>
                  <a:pt x="109" y="80"/>
                </a:lnTo>
                <a:lnTo>
                  <a:pt x="113" y="82"/>
                </a:lnTo>
                <a:lnTo>
                  <a:pt x="117" y="84"/>
                </a:lnTo>
                <a:lnTo>
                  <a:pt x="122" y="88"/>
                </a:lnTo>
                <a:lnTo>
                  <a:pt x="125" y="89"/>
                </a:lnTo>
                <a:lnTo>
                  <a:pt x="128" y="90"/>
                </a:lnTo>
                <a:lnTo>
                  <a:pt x="132" y="93"/>
                </a:lnTo>
                <a:lnTo>
                  <a:pt x="134" y="98"/>
                </a:lnTo>
                <a:lnTo>
                  <a:pt x="136" y="101"/>
                </a:lnTo>
                <a:lnTo>
                  <a:pt x="138" y="104"/>
                </a:lnTo>
                <a:lnTo>
                  <a:pt x="138" y="112"/>
                </a:lnTo>
                <a:lnTo>
                  <a:pt x="139" y="118"/>
                </a:lnTo>
                <a:lnTo>
                  <a:pt x="143" y="120"/>
                </a:lnTo>
                <a:lnTo>
                  <a:pt x="145" y="125"/>
                </a:lnTo>
                <a:lnTo>
                  <a:pt x="147" y="129"/>
                </a:lnTo>
                <a:lnTo>
                  <a:pt x="149" y="130"/>
                </a:lnTo>
                <a:lnTo>
                  <a:pt x="155" y="134"/>
                </a:lnTo>
                <a:lnTo>
                  <a:pt x="156" y="13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33" name="Freeform 933"/>
          <p:cNvSpPr>
            <a:spLocks/>
          </p:cNvSpPr>
          <p:nvPr/>
        </p:nvSpPr>
        <p:spPr bwMode="auto">
          <a:xfrm>
            <a:off x="5287963" y="2495515"/>
            <a:ext cx="247650" cy="242888"/>
          </a:xfrm>
          <a:custGeom>
            <a:avLst/>
            <a:gdLst>
              <a:gd name="T0" fmla="*/ 155 w 156"/>
              <a:gd name="T1" fmla="*/ 139 h 153"/>
              <a:gd name="T2" fmla="*/ 149 w 156"/>
              <a:gd name="T3" fmla="*/ 135 h 153"/>
              <a:gd name="T4" fmla="*/ 148 w 156"/>
              <a:gd name="T5" fmla="*/ 136 h 153"/>
              <a:gd name="T6" fmla="*/ 141 w 156"/>
              <a:gd name="T7" fmla="*/ 135 h 153"/>
              <a:gd name="T8" fmla="*/ 134 w 156"/>
              <a:gd name="T9" fmla="*/ 142 h 153"/>
              <a:gd name="T10" fmla="*/ 128 w 156"/>
              <a:gd name="T11" fmla="*/ 153 h 153"/>
              <a:gd name="T12" fmla="*/ 82 w 156"/>
              <a:gd name="T13" fmla="*/ 142 h 153"/>
              <a:gd name="T14" fmla="*/ 80 w 156"/>
              <a:gd name="T15" fmla="*/ 131 h 153"/>
              <a:gd name="T16" fmla="*/ 71 w 156"/>
              <a:gd name="T17" fmla="*/ 129 h 153"/>
              <a:gd name="T18" fmla="*/ 66 w 156"/>
              <a:gd name="T19" fmla="*/ 122 h 153"/>
              <a:gd name="T20" fmla="*/ 31 w 156"/>
              <a:gd name="T21" fmla="*/ 103 h 153"/>
              <a:gd name="T22" fmla="*/ 6 w 156"/>
              <a:gd name="T23" fmla="*/ 96 h 153"/>
              <a:gd name="T24" fmla="*/ 11 w 156"/>
              <a:gd name="T25" fmla="*/ 68 h 153"/>
              <a:gd name="T26" fmla="*/ 17 w 156"/>
              <a:gd name="T27" fmla="*/ 63 h 153"/>
              <a:gd name="T28" fmla="*/ 26 w 156"/>
              <a:gd name="T29" fmla="*/ 58 h 153"/>
              <a:gd name="T30" fmla="*/ 31 w 156"/>
              <a:gd name="T31" fmla="*/ 55 h 153"/>
              <a:gd name="T32" fmla="*/ 32 w 156"/>
              <a:gd name="T33" fmla="*/ 39 h 153"/>
              <a:gd name="T34" fmla="*/ 38 w 156"/>
              <a:gd name="T35" fmla="*/ 17 h 153"/>
              <a:gd name="T36" fmla="*/ 46 w 156"/>
              <a:gd name="T37" fmla="*/ 5 h 153"/>
              <a:gd name="T38" fmla="*/ 57 w 156"/>
              <a:gd name="T39" fmla="*/ 2 h 153"/>
              <a:gd name="T40" fmla="*/ 71 w 156"/>
              <a:gd name="T41" fmla="*/ 2 h 153"/>
              <a:gd name="T42" fmla="*/ 78 w 156"/>
              <a:gd name="T43" fmla="*/ 5 h 153"/>
              <a:gd name="T44" fmla="*/ 83 w 156"/>
              <a:gd name="T45" fmla="*/ 12 h 153"/>
              <a:gd name="T46" fmla="*/ 90 w 156"/>
              <a:gd name="T47" fmla="*/ 20 h 153"/>
              <a:gd name="T48" fmla="*/ 96 w 156"/>
              <a:gd name="T49" fmla="*/ 29 h 153"/>
              <a:gd name="T50" fmla="*/ 106 w 156"/>
              <a:gd name="T51" fmla="*/ 30 h 153"/>
              <a:gd name="T52" fmla="*/ 104 w 156"/>
              <a:gd name="T53" fmla="*/ 35 h 153"/>
              <a:gd name="T54" fmla="*/ 104 w 156"/>
              <a:gd name="T55" fmla="*/ 44 h 153"/>
              <a:gd name="T56" fmla="*/ 102 w 156"/>
              <a:gd name="T57" fmla="*/ 52 h 153"/>
              <a:gd name="T58" fmla="*/ 98 w 156"/>
              <a:gd name="T59" fmla="*/ 54 h 153"/>
              <a:gd name="T60" fmla="*/ 98 w 156"/>
              <a:gd name="T61" fmla="*/ 63 h 153"/>
              <a:gd name="T62" fmla="*/ 98 w 156"/>
              <a:gd name="T63" fmla="*/ 68 h 153"/>
              <a:gd name="T64" fmla="*/ 103 w 156"/>
              <a:gd name="T65" fmla="*/ 69 h 153"/>
              <a:gd name="T66" fmla="*/ 106 w 156"/>
              <a:gd name="T67" fmla="*/ 73 h 153"/>
              <a:gd name="T68" fmla="*/ 109 w 156"/>
              <a:gd name="T69" fmla="*/ 80 h 153"/>
              <a:gd name="T70" fmla="*/ 117 w 156"/>
              <a:gd name="T71" fmla="*/ 84 h 153"/>
              <a:gd name="T72" fmla="*/ 125 w 156"/>
              <a:gd name="T73" fmla="*/ 89 h 153"/>
              <a:gd name="T74" fmla="*/ 132 w 156"/>
              <a:gd name="T75" fmla="*/ 93 h 153"/>
              <a:gd name="T76" fmla="*/ 136 w 156"/>
              <a:gd name="T77" fmla="*/ 101 h 153"/>
              <a:gd name="T78" fmla="*/ 138 w 156"/>
              <a:gd name="T79" fmla="*/ 112 h 153"/>
              <a:gd name="T80" fmla="*/ 143 w 156"/>
              <a:gd name="T81" fmla="*/ 120 h 153"/>
              <a:gd name="T82" fmla="*/ 147 w 156"/>
              <a:gd name="T83" fmla="*/ 129 h 153"/>
              <a:gd name="T84" fmla="*/ 155 w 156"/>
              <a:gd name="T85" fmla="*/ 134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56" h="153">
                <a:moveTo>
                  <a:pt x="156" y="135"/>
                </a:moveTo>
                <a:lnTo>
                  <a:pt x="155" y="139"/>
                </a:lnTo>
                <a:lnTo>
                  <a:pt x="152" y="136"/>
                </a:lnTo>
                <a:lnTo>
                  <a:pt x="149" y="135"/>
                </a:lnTo>
                <a:lnTo>
                  <a:pt x="148" y="135"/>
                </a:lnTo>
                <a:lnTo>
                  <a:pt x="148" y="136"/>
                </a:lnTo>
                <a:lnTo>
                  <a:pt x="145" y="135"/>
                </a:lnTo>
                <a:lnTo>
                  <a:pt x="141" y="135"/>
                </a:lnTo>
                <a:lnTo>
                  <a:pt x="136" y="136"/>
                </a:lnTo>
                <a:lnTo>
                  <a:pt x="134" y="142"/>
                </a:lnTo>
                <a:lnTo>
                  <a:pt x="132" y="148"/>
                </a:lnTo>
                <a:lnTo>
                  <a:pt x="128" y="153"/>
                </a:lnTo>
                <a:lnTo>
                  <a:pt x="101" y="151"/>
                </a:lnTo>
                <a:lnTo>
                  <a:pt x="82" y="142"/>
                </a:lnTo>
                <a:lnTo>
                  <a:pt x="81" y="142"/>
                </a:lnTo>
                <a:lnTo>
                  <a:pt x="80" y="131"/>
                </a:lnTo>
                <a:lnTo>
                  <a:pt x="78" y="130"/>
                </a:lnTo>
                <a:lnTo>
                  <a:pt x="71" y="129"/>
                </a:lnTo>
                <a:lnTo>
                  <a:pt x="67" y="123"/>
                </a:lnTo>
                <a:lnTo>
                  <a:pt x="66" y="122"/>
                </a:lnTo>
                <a:lnTo>
                  <a:pt x="50" y="116"/>
                </a:lnTo>
                <a:lnTo>
                  <a:pt x="31" y="103"/>
                </a:lnTo>
                <a:lnTo>
                  <a:pt x="6" y="96"/>
                </a:lnTo>
                <a:lnTo>
                  <a:pt x="6" y="96"/>
                </a:lnTo>
                <a:lnTo>
                  <a:pt x="0" y="75"/>
                </a:lnTo>
                <a:lnTo>
                  <a:pt x="11" y="68"/>
                </a:lnTo>
                <a:lnTo>
                  <a:pt x="14" y="64"/>
                </a:lnTo>
                <a:lnTo>
                  <a:pt x="17" y="63"/>
                </a:lnTo>
                <a:lnTo>
                  <a:pt x="24" y="60"/>
                </a:lnTo>
                <a:lnTo>
                  <a:pt x="26" y="58"/>
                </a:lnTo>
                <a:lnTo>
                  <a:pt x="27" y="57"/>
                </a:lnTo>
                <a:lnTo>
                  <a:pt x="31" y="55"/>
                </a:lnTo>
                <a:lnTo>
                  <a:pt x="33" y="49"/>
                </a:lnTo>
                <a:lnTo>
                  <a:pt x="32" y="39"/>
                </a:lnTo>
                <a:lnTo>
                  <a:pt x="31" y="20"/>
                </a:lnTo>
                <a:lnTo>
                  <a:pt x="38" y="17"/>
                </a:lnTo>
                <a:lnTo>
                  <a:pt x="42" y="9"/>
                </a:lnTo>
                <a:lnTo>
                  <a:pt x="46" y="5"/>
                </a:lnTo>
                <a:lnTo>
                  <a:pt x="52" y="0"/>
                </a:lnTo>
                <a:lnTo>
                  <a:pt x="57" y="2"/>
                </a:lnTo>
                <a:lnTo>
                  <a:pt x="66" y="3"/>
                </a:lnTo>
                <a:lnTo>
                  <a:pt x="71" y="2"/>
                </a:lnTo>
                <a:lnTo>
                  <a:pt x="74" y="5"/>
                </a:lnTo>
                <a:lnTo>
                  <a:pt x="78" y="5"/>
                </a:lnTo>
                <a:lnTo>
                  <a:pt x="80" y="4"/>
                </a:lnTo>
                <a:lnTo>
                  <a:pt x="83" y="12"/>
                </a:lnTo>
                <a:lnTo>
                  <a:pt x="86" y="18"/>
                </a:lnTo>
                <a:lnTo>
                  <a:pt x="90" y="20"/>
                </a:lnTo>
                <a:lnTo>
                  <a:pt x="93" y="25"/>
                </a:lnTo>
                <a:lnTo>
                  <a:pt x="96" y="29"/>
                </a:lnTo>
                <a:lnTo>
                  <a:pt x="103" y="30"/>
                </a:lnTo>
                <a:lnTo>
                  <a:pt x="106" y="30"/>
                </a:lnTo>
                <a:lnTo>
                  <a:pt x="105" y="32"/>
                </a:lnTo>
                <a:lnTo>
                  <a:pt x="104" y="35"/>
                </a:lnTo>
                <a:lnTo>
                  <a:pt x="106" y="41"/>
                </a:lnTo>
                <a:lnTo>
                  <a:pt x="104" y="44"/>
                </a:lnTo>
                <a:lnTo>
                  <a:pt x="102" y="50"/>
                </a:lnTo>
                <a:lnTo>
                  <a:pt x="102" y="52"/>
                </a:lnTo>
                <a:lnTo>
                  <a:pt x="99" y="52"/>
                </a:lnTo>
                <a:lnTo>
                  <a:pt x="98" y="54"/>
                </a:lnTo>
                <a:lnTo>
                  <a:pt x="98" y="62"/>
                </a:lnTo>
                <a:lnTo>
                  <a:pt x="98" y="63"/>
                </a:lnTo>
                <a:lnTo>
                  <a:pt x="97" y="63"/>
                </a:lnTo>
                <a:lnTo>
                  <a:pt x="98" y="68"/>
                </a:lnTo>
                <a:lnTo>
                  <a:pt x="101" y="70"/>
                </a:lnTo>
                <a:lnTo>
                  <a:pt x="103" y="69"/>
                </a:lnTo>
                <a:lnTo>
                  <a:pt x="104" y="72"/>
                </a:lnTo>
                <a:lnTo>
                  <a:pt x="106" y="73"/>
                </a:lnTo>
                <a:lnTo>
                  <a:pt x="108" y="76"/>
                </a:lnTo>
                <a:lnTo>
                  <a:pt x="109" y="80"/>
                </a:lnTo>
                <a:lnTo>
                  <a:pt x="113" y="82"/>
                </a:lnTo>
                <a:lnTo>
                  <a:pt x="117" y="84"/>
                </a:lnTo>
                <a:lnTo>
                  <a:pt x="122" y="88"/>
                </a:lnTo>
                <a:lnTo>
                  <a:pt x="125" y="89"/>
                </a:lnTo>
                <a:lnTo>
                  <a:pt x="128" y="90"/>
                </a:lnTo>
                <a:lnTo>
                  <a:pt x="132" y="93"/>
                </a:lnTo>
                <a:lnTo>
                  <a:pt x="134" y="98"/>
                </a:lnTo>
                <a:lnTo>
                  <a:pt x="136" y="101"/>
                </a:lnTo>
                <a:lnTo>
                  <a:pt x="138" y="104"/>
                </a:lnTo>
                <a:lnTo>
                  <a:pt x="138" y="112"/>
                </a:lnTo>
                <a:lnTo>
                  <a:pt x="139" y="118"/>
                </a:lnTo>
                <a:lnTo>
                  <a:pt x="143" y="120"/>
                </a:lnTo>
                <a:lnTo>
                  <a:pt x="145" y="125"/>
                </a:lnTo>
                <a:lnTo>
                  <a:pt x="147" y="129"/>
                </a:lnTo>
                <a:lnTo>
                  <a:pt x="149" y="130"/>
                </a:lnTo>
                <a:lnTo>
                  <a:pt x="155" y="134"/>
                </a:lnTo>
                <a:lnTo>
                  <a:pt x="156" y="13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34" name="Freeform 934"/>
          <p:cNvSpPr>
            <a:spLocks/>
          </p:cNvSpPr>
          <p:nvPr/>
        </p:nvSpPr>
        <p:spPr bwMode="auto">
          <a:xfrm>
            <a:off x="5605463" y="2822540"/>
            <a:ext cx="20637" cy="47625"/>
          </a:xfrm>
          <a:custGeom>
            <a:avLst/>
            <a:gdLst>
              <a:gd name="T0" fmla="*/ 6 w 13"/>
              <a:gd name="T1" fmla="*/ 30 h 30"/>
              <a:gd name="T2" fmla="*/ 12 w 13"/>
              <a:gd name="T3" fmla="*/ 27 h 30"/>
              <a:gd name="T4" fmla="*/ 12 w 13"/>
              <a:gd name="T5" fmla="*/ 27 h 30"/>
              <a:gd name="T6" fmla="*/ 12 w 13"/>
              <a:gd name="T7" fmla="*/ 25 h 30"/>
              <a:gd name="T8" fmla="*/ 13 w 13"/>
              <a:gd name="T9" fmla="*/ 23 h 30"/>
              <a:gd name="T10" fmla="*/ 13 w 13"/>
              <a:gd name="T11" fmla="*/ 21 h 30"/>
              <a:gd name="T12" fmla="*/ 13 w 13"/>
              <a:gd name="T13" fmla="*/ 17 h 30"/>
              <a:gd name="T14" fmla="*/ 12 w 13"/>
              <a:gd name="T15" fmla="*/ 15 h 30"/>
              <a:gd name="T16" fmla="*/ 12 w 13"/>
              <a:gd name="T17" fmla="*/ 13 h 30"/>
              <a:gd name="T18" fmla="*/ 12 w 13"/>
              <a:gd name="T19" fmla="*/ 10 h 30"/>
              <a:gd name="T20" fmla="*/ 12 w 13"/>
              <a:gd name="T21" fmla="*/ 10 h 30"/>
              <a:gd name="T22" fmla="*/ 12 w 13"/>
              <a:gd name="T23" fmla="*/ 9 h 30"/>
              <a:gd name="T24" fmla="*/ 12 w 13"/>
              <a:gd name="T25" fmla="*/ 8 h 30"/>
              <a:gd name="T26" fmla="*/ 12 w 13"/>
              <a:gd name="T27" fmla="*/ 7 h 30"/>
              <a:gd name="T28" fmla="*/ 12 w 13"/>
              <a:gd name="T29" fmla="*/ 5 h 30"/>
              <a:gd name="T30" fmla="*/ 12 w 13"/>
              <a:gd name="T31" fmla="*/ 5 h 30"/>
              <a:gd name="T32" fmla="*/ 9 w 13"/>
              <a:gd name="T33" fmla="*/ 4 h 30"/>
              <a:gd name="T34" fmla="*/ 8 w 13"/>
              <a:gd name="T35" fmla="*/ 4 h 30"/>
              <a:gd name="T36" fmla="*/ 8 w 13"/>
              <a:gd name="T37" fmla="*/ 3 h 30"/>
              <a:gd name="T38" fmla="*/ 7 w 13"/>
              <a:gd name="T39" fmla="*/ 1 h 30"/>
              <a:gd name="T40" fmla="*/ 5 w 13"/>
              <a:gd name="T41" fmla="*/ 0 h 30"/>
              <a:gd name="T42" fmla="*/ 4 w 13"/>
              <a:gd name="T43" fmla="*/ 1 h 30"/>
              <a:gd name="T44" fmla="*/ 3 w 13"/>
              <a:gd name="T45" fmla="*/ 4 h 30"/>
              <a:gd name="T46" fmla="*/ 3 w 13"/>
              <a:gd name="T47" fmla="*/ 8 h 30"/>
              <a:gd name="T48" fmla="*/ 2 w 13"/>
              <a:gd name="T49" fmla="*/ 11 h 30"/>
              <a:gd name="T50" fmla="*/ 0 w 13"/>
              <a:gd name="T51" fmla="*/ 14 h 30"/>
              <a:gd name="T52" fmla="*/ 0 w 13"/>
              <a:gd name="T53" fmla="*/ 16 h 30"/>
              <a:gd name="T54" fmla="*/ 0 w 13"/>
              <a:gd name="T55" fmla="*/ 17 h 30"/>
              <a:gd name="T56" fmla="*/ 0 w 13"/>
              <a:gd name="T57" fmla="*/ 18 h 30"/>
              <a:gd name="T58" fmla="*/ 0 w 13"/>
              <a:gd name="T59" fmla="*/ 19 h 30"/>
              <a:gd name="T60" fmla="*/ 0 w 13"/>
              <a:gd name="T61" fmla="*/ 20 h 30"/>
              <a:gd name="T62" fmla="*/ 2 w 13"/>
              <a:gd name="T63" fmla="*/ 23 h 30"/>
              <a:gd name="T64" fmla="*/ 2 w 13"/>
              <a:gd name="T65" fmla="*/ 24 h 30"/>
              <a:gd name="T66" fmla="*/ 2 w 13"/>
              <a:gd name="T67" fmla="*/ 25 h 30"/>
              <a:gd name="T68" fmla="*/ 2 w 13"/>
              <a:gd name="T69" fmla="*/ 26 h 30"/>
              <a:gd name="T70" fmla="*/ 2 w 13"/>
              <a:gd name="T71" fmla="*/ 26 h 30"/>
              <a:gd name="T72" fmla="*/ 4 w 13"/>
              <a:gd name="T73" fmla="*/ 29 h 30"/>
              <a:gd name="T74" fmla="*/ 6 w 13"/>
              <a:gd name="T75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3" h="30">
                <a:moveTo>
                  <a:pt x="6" y="30"/>
                </a:moveTo>
                <a:lnTo>
                  <a:pt x="12" y="27"/>
                </a:lnTo>
                <a:lnTo>
                  <a:pt x="12" y="27"/>
                </a:lnTo>
                <a:lnTo>
                  <a:pt x="12" y="25"/>
                </a:lnTo>
                <a:lnTo>
                  <a:pt x="13" y="23"/>
                </a:lnTo>
                <a:lnTo>
                  <a:pt x="13" y="21"/>
                </a:lnTo>
                <a:lnTo>
                  <a:pt x="13" y="17"/>
                </a:lnTo>
                <a:lnTo>
                  <a:pt x="12" y="15"/>
                </a:lnTo>
                <a:lnTo>
                  <a:pt x="12" y="13"/>
                </a:lnTo>
                <a:lnTo>
                  <a:pt x="12" y="10"/>
                </a:lnTo>
                <a:lnTo>
                  <a:pt x="12" y="10"/>
                </a:lnTo>
                <a:lnTo>
                  <a:pt x="12" y="9"/>
                </a:lnTo>
                <a:lnTo>
                  <a:pt x="12" y="8"/>
                </a:lnTo>
                <a:lnTo>
                  <a:pt x="12" y="7"/>
                </a:lnTo>
                <a:lnTo>
                  <a:pt x="12" y="5"/>
                </a:lnTo>
                <a:lnTo>
                  <a:pt x="12" y="5"/>
                </a:lnTo>
                <a:lnTo>
                  <a:pt x="9" y="4"/>
                </a:lnTo>
                <a:lnTo>
                  <a:pt x="8" y="4"/>
                </a:lnTo>
                <a:lnTo>
                  <a:pt x="8" y="3"/>
                </a:lnTo>
                <a:lnTo>
                  <a:pt x="7" y="1"/>
                </a:lnTo>
                <a:lnTo>
                  <a:pt x="5" y="0"/>
                </a:lnTo>
                <a:lnTo>
                  <a:pt x="4" y="1"/>
                </a:lnTo>
                <a:lnTo>
                  <a:pt x="3" y="4"/>
                </a:lnTo>
                <a:lnTo>
                  <a:pt x="3" y="8"/>
                </a:lnTo>
                <a:lnTo>
                  <a:pt x="2" y="11"/>
                </a:lnTo>
                <a:lnTo>
                  <a:pt x="0" y="14"/>
                </a:lnTo>
                <a:lnTo>
                  <a:pt x="0" y="16"/>
                </a:lnTo>
                <a:lnTo>
                  <a:pt x="0" y="17"/>
                </a:lnTo>
                <a:lnTo>
                  <a:pt x="0" y="18"/>
                </a:lnTo>
                <a:lnTo>
                  <a:pt x="0" y="19"/>
                </a:lnTo>
                <a:lnTo>
                  <a:pt x="0" y="20"/>
                </a:lnTo>
                <a:lnTo>
                  <a:pt x="2" y="23"/>
                </a:lnTo>
                <a:lnTo>
                  <a:pt x="2" y="24"/>
                </a:lnTo>
                <a:lnTo>
                  <a:pt x="2" y="25"/>
                </a:lnTo>
                <a:lnTo>
                  <a:pt x="2" y="26"/>
                </a:lnTo>
                <a:lnTo>
                  <a:pt x="2" y="26"/>
                </a:lnTo>
                <a:lnTo>
                  <a:pt x="4" y="29"/>
                </a:lnTo>
                <a:lnTo>
                  <a:pt x="6" y="3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35" name="Freeform 935"/>
          <p:cNvSpPr>
            <a:spLocks/>
          </p:cNvSpPr>
          <p:nvPr/>
        </p:nvSpPr>
        <p:spPr bwMode="auto">
          <a:xfrm>
            <a:off x="5605463" y="2822540"/>
            <a:ext cx="20637" cy="47625"/>
          </a:xfrm>
          <a:custGeom>
            <a:avLst/>
            <a:gdLst>
              <a:gd name="T0" fmla="*/ 6 w 13"/>
              <a:gd name="T1" fmla="*/ 30 h 30"/>
              <a:gd name="T2" fmla="*/ 12 w 13"/>
              <a:gd name="T3" fmla="*/ 27 h 30"/>
              <a:gd name="T4" fmla="*/ 12 w 13"/>
              <a:gd name="T5" fmla="*/ 27 h 30"/>
              <a:gd name="T6" fmla="*/ 12 w 13"/>
              <a:gd name="T7" fmla="*/ 25 h 30"/>
              <a:gd name="T8" fmla="*/ 13 w 13"/>
              <a:gd name="T9" fmla="*/ 23 h 30"/>
              <a:gd name="T10" fmla="*/ 13 w 13"/>
              <a:gd name="T11" fmla="*/ 21 h 30"/>
              <a:gd name="T12" fmla="*/ 13 w 13"/>
              <a:gd name="T13" fmla="*/ 17 h 30"/>
              <a:gd name="T14" fmla="*/ 12 w 13"/>
              <a:gd name="T15" fmla="*/ 15 h 30"/>
              <a:gd name="T16" fmla="*/ 12 w 13"/>
              <a:gd name="T17" fmla="*/ 13 h 30"/>
              <a:gd name="T18" fmla="*/ 12 w 13"/>
              <a:gd name="T19" fmla="*/ 10 h 30"/>
              <a:gd name="T20" fmla="*/ 12 w 13"/>
              <a:gd name="T21" fmla="*/ 10 h 30"/>
              <a:gd name="T22" fmla="*/ 12 w 13"/>
              <a:gd name="T23" fmla="*/ 9 h 30"/>
              <a:gd name="T24" fmla="*/ 12 w 13"/>
              <a:gd name="T25" fmla="*/ 8 h 30"/>
              <a:gd name="T26" fmla="*/ 12 w 13"/>
              <a:gd name="T27" fmla="*/ 7 h 30"/>
              <a:gd name="T28" fmla="*/ 12 w 13"/>
              <a:gd name="T29" fmla="*/ 5 h 30"/>
              <a:gd name="T30" fmla="*/ 12 w 13"/>
              <a:gd name="T31" fmla="*/ 5 h 30"/>
              <a:gd name="T32" fmla="*/ 9 w 13"/>
              <a:gd name="T33" fmla="*/ 4 h 30"/>
              <a:gd name="T34" fmla="*/ 8 w 13"/>
              <a:gd name="T35" fmla="*/ 4 h 30"/>
              <a:gd name="T36" fmla="*/ 8 w 13"/>
              <a:gd name="T37" fmla="*/ 3 h 30"/>
              <a:gd name="T38" fmla="*/ 7 w 13"/>
              <a:gd name="T39" fmla="*/ 1 h 30"/>
              <a:gd name="T40" fmla="*/ 5 w 13"/>
              <a:gd name="T41" fmla="*/ 0 h 30"/>
              <a:gd name="T42" fmla="*/ 4 w 13"/>
              <a:gd name="T43" fmla="*/ 1 h 30"/>
              <a:gd name="T44" fmla="*/ 3 w 13"/>
              <a:gd name="T45" fmla="*/ 4 h 30"/>
              <a:gd name="T46" fmla="*/ 3 w 13"/>
              <a:gd name="T47" fmla="*/ 8 h 30"/>
              <a:gd name="T48" fmla="*/ 2 w 13"/>
              <a:gd name="T49" fmla="*/ 11 h 30"/>
              <a:gd name="T50" fmla="*/ 0 w 13"/>
              <a:gd name="T51" fmla="*/ 14 h 30"/>
              <a:gd name="T52" fmla="*/ 0 w 13"/>
              <a:gd name="T53" fmla="*/ 16 h 30"/>
              <a:gd name="T54" fmla="*/ 0 w 13"/>
              <a:gd name="T55" fmla="*/ 17 h 30"/>
              <a:gd name="T56" fmla="*/ 0 w 13"/>
              <a:gd name="T57" fmla="*/ 18 h 30"/>
              <a:gd name="T58" fmla="*/ 0 w 13"/>
              <a:gd name="T59" fmla="*/ 19 h 30"/>
              <a:gd name="T60" fmla="*/ 0 w 13"/>
              <a:gd name="T61" fmla="*/ 20 h 30"/>
              <a:gd name="T62" fmla="*/ 2 w 13"/>
              <a:gd name="T63" fmla="*/ 23 h 30"/>
              <a:gd name="T64" fmla="*/ 2 w 13"/>
              <a:gd name="T65" fmla="*/ 24 h 30"/>
              <a:gd name="T66" fmla="*/ 2 w 13"/>
              <a:gd name="T67" fmla="*/ 25 h 30"/>
              <a:gd name="T68" fmla="*/ 2 w 13"/>
              <a:gd name="T69" fmla="*/ 26 h 30"/>
              <a:gd name="T70" fmla="*/ 2 w 13"/>
              <a:gd name="T71" fmla="*/ 26 h 30"/>
              <a:gd name="T72" fmla="*/ 4 w 13"/>
              <a:gd name="T73" fmla="*/ 29 h 30"/>
              <a:gd name="T74" fmla="*/ 6 w 13"/>
              <a:gd name="T75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3" h="30">
                <a:moveTo>
                  <a:pt x="6" y="30"/>
                </a:moveTo>
                <a:lnTo>
                  <a:pt x="12" y="27"/>
                </a:lnTo>
                <a:lnTo>
                  <a:pt x="12" y="27"/>
                </a:lnTo>
                <a:lnTo>
                  <a:pt x="12" y="25"/>
                </a:lnTo>
                <a:lnTo>
                  <a:pt x="13" y="23"/>
                </a:lnTo>
                <a:lnTo>
                  <a:pt x="13" y="21"/>
                </a:lnTo>
                <a:lnTo>
                  <a:pt x="13" y="17"/>
                </a:lnTo>
                <a:lnTo>
                  <a:pt x="12" y="15"/>
                </a:lnTo>
                <a:lnTo>
                  <a:pt x="12" y="13"/>
                </a:lnTo>
                <a:lnTo>
                  <a:pt x="12" y="10"/>
                </a:lnTo>
                <a:lnTo>
                  <a:pt x="12" y="10"/>
                </a:lnTo>
                <a:lnTo>
                  <a:pt x="12" y="9"/>
                </a:lnTo>
                <a:lnTo>
                  <a:pt x="12" y="8"/>
                </a:lnTo>
                <a:lnTo>
                  <a:pt x="12" y="7"/>
                </a:lnTo>
                <a:lnTo>
                  <a:pt x="12" y="5"/>
                </a:lnTo>
                <a:lnTo>
                  <a:pt x="12" y="5"/>
                </a:lnTo>
                <a:lnTo>
                  <a:pt x="9" y="4"/>
                </a:lnTo>
                <a:lnTo>
                  <a:pt x="8" y="4"/>
                </a:lnTo>
                <a:lnTo>
                  <a:pt x="8" y="3"/>
                </a:lnTo>
                <a:lnTo>
                  <a:pt x="7" y="1"/>
                </a:lnTo>
                <a:lnTo>
                  <a:pt x="5" y="0"/>
                </a:lnTo>
                <a:lnTo>
                  <a:pt x="4" y="1"/>
                </a:lnTo>
                <a:lnTo>
                  <a:pt x="3" y="4"/>
                </a:lnTo>
                <a:lnTo>
                  <a:pt x="3" y="8"/>
                </a:lnTo>
                <a:lnTo>
                  <a:pt x="2" y="11"/>
                </a:lnTo>
                <a:lnTo>
                  <a:pt x="0" y="14"/>
                </a:lnTo>
                <a:lnTo>
                  <a:pt x="0" y="16"/>
                </a:lnTo>
                <a:lnTo>
                  <a:pt x="0" y="17"/>
                </a:lnTo>
                <a:lnTo>
                  <a:pt x="0" y="18"/>
                </a:lnTo>
                <a:lnTo>
                  <a:pt x="0" y="19"/>
                </a:lnTo>
                <a:lnTo>
                  <a:pt x="0" y="20"/>
                </a:lnTo>
                <a:lnTo>
                  <a:pt x="2" y="23"/>
                </a:lnTo>
                <a:lnTo>
                  <a:pt x="2" y="24"/>
                </a:lnTo>
                <a:lnTo>
                  <a:pt x="2" y="25"/>
                </a:lnTo>
                <a:lnTo>
                  <a:pt x="2" y="26"/>
                </a:lnTo>
                <a:lnTo>
                  <a:pt x="2" y="26"/>
                </a:lnTo>
                <a:lnTo>
                  <a:pt x="4" y="29"/>
                </a:lnTo>
                <a:lnTo>
                  <a:pt x="6" y="3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36" name="Freeform 936"/>
          <p:cNvSpPr>
            <a:spLocks/>
          </p:cNvSpPr>
          <p:nvPr/>
        </p:nvSpPr>
        <p:spPr bwMode="auto">
          <a:xfrm>
            <a:off x="7932738" y="3652803"/>
            <a:ext cx="242887" cy="233363"/>
          </a:xfrm>
          <a:custGeom>
            <a:avLst/>
            <a:gdLst>
              <a:gd name="T0" fmla="*/ 5 w 153"/>
              <a:gd name="T1" fmla="*/ 45 h 147"/>
              <a:gd name="T2" fmla="*/ 0 w 153"/>
              <a:gd name="T3" fmla="*/ 77 h 147"/>
              <a:gd name="T4" fmla="*/ 0 w 153"/>
              <a:gd name="T5" fmla="*/ 114 h 147"/>
              <a:gd name="T6" fmla="*/ 6 w 153"/>
              <a:gd name="T7" fmla="*/ 120 h 147"/>
              <a:gd name="T8" fmla="*/ 14 w 153"/>
              <a:gd name="T9" fmla="*/ 120 h 147"/>
              <a:gd name="T10" fmla="*/ 25 w 153"/>
              <a:gd name="T11" fmla="*/ 122 h 147"/>
              <a:gd name="T12" fmla="*/ 34 w 153"/>
              <a:gd name="T13" fmla="*/ 117 h 147"/>
              <a:gd name="T14" fmla="*/ 32 w 153"/>
              <a:gd name="T15" fmla="*/ 107 h 147"/>
              <a:gd name="T16" fmla="*/ 39 w 153"/>
              <a:gd name="T17" fmla="*/ 102 h 147"/>
              <a:gd name="T18" fmla="*/ 44 w 153"/>
              <a:gd name="T19" fmla="*/ 99 h 147"/>
              <a:gd name="T20" fmla="*/ 45 w 153"/>
              <a:gd name="T21" fmla="*/ 90 h 147"/>
              <a:gd name="T22" fmla="*/ 52 w 153"/>
              <a:gd name="T23" fmla="*/ 92 h 147"/>
              <a:gd name="T24" fmla="*/ 57 w 153"/>
              <a:gd name="T25" fmla="*/ 91 h 147"/>
              <a:gd name="T26" fmla="*/ 61 w 153"/>
              <a:gd name="T27" fmla="*/ 92 h 147"/>
              <a:gd name="T28" fmla="*/ 67 w 153"/>
              <a:gd name="T29" fmla="*/ 96 h 147"/>
              <a:gd name="T30" fmla="*/ 75 w 153"/>
              <a:gd name="T31" fmla="*/ 98 h 147"/>
              <a:gd name="T32" fmla="*/ 83 w 153"/>
              <a:gd name="T33" fmla="*/ 107 h 147"/>
              <a:gd name="T34" fmla="*/ 93 w 153"/>
              <a:gd name="T35" fmla="*/ 118 h 147"/>
              <a:gd name="T36" fmla="*/ 95 w 153"/>
              <a:gd name="T37" fmla="*/ 123 h 147"/>
              <a:gd name="T38" fmla="*/ 100 w 153"/>
              <a:gd name="T39" fmla="*/ 130 h 147"/>
              <a:gd name="T40" fmla="*/ 108 w 153"/>
              <a:gd name="T41" fmla="*/ 138 h 147"/>
              <a:gd name="T42" fmla="*/ 119 w 153"/>
              <a:gd name="T43" fmla="*/ 139 h 147"/>
              <a:gd name="T44" fmla="*/ 139 w 153"/>
              <a:gd name="T45" fmla="*/ 143 h 147"/>
              <a:gd name="T46" fmla="*/ 148 w 153"/>
              <a:gd name="T47" fmla="*/ 146 h 147"/>
              <a:gd name="T48" fmla="*/ 144 w 153"/>
              <a:gd name="T49" fmla="*/ 141 h 147"/>
              <a:gd name="T50" fmla="*/ 153 w 153"/>
              <a:gd name="T51" fmla="*/ 140 h 147"/>
              <a:gd name="T52" fmla="*/ 143 w 153"/>
              <a:gd name="T53" fmla="*/ 137 h 147"/>
              <a:gd name="T54" fmla="*/ 141 w 153"/>
              <a:gd name="T55" fmla="*/ 129 h 147"/>
              <a:gd name="T56" fmla="*/ 131 w 153"/>
              <a:gd name="T57" fmla="*/ 127 h 147"/>
              <a:gd name="T58" fmla="*/ 130 w 153"/>
              <a:gd name="T59" fmla="*/ 119 h 147"/>
              <a:gd name="T60" fmla="*/ 119 w 153"/>
              <a:gd name="T61" fmla="*/ 117 h 147"/>
              <a:gd name="T62" fmla="*/ 115 w 153"/>
              <a:gd name="T63" fmla="*/ 107 h 147"/>
              <a:gd name="T64" fmla="*/ 113 w 153"/>
              <a:gd name="T65" fmla="*/ 100 h 147"/>
              <a:gd name="T66" fmla="*/ 107 w 153"/>
              <a:gd name="T67" fmla="*/ 94 h 147"/>
              <a:gd name="T68" fmla="*/ 100 w 153"/>
              <a:gd name="T69" fmla="*/ 84 h 147"/>
              <a:gd name="T70" fmla="*/ 100 w 153"/>
              <a:gd name="T71" fmla="*/ 77 h 147"/>
              <a:gd name="T72" fmla="*/ 109 w 153"/>
              <a:gd name="T73" fmla="*/ 76 h 147"/>
              <a:gd name="T74" fmla="*/ 111 w 153"/>
              <a:gd name="T75" fmla="*/ 67 h 147"/>
              <a:gd name="T76" fmla="*/ 103 w 153"/>
              <a:gd name="T77" fmla="*/ 62 h 147"/>
              <a:gd name="T78" fmla="*/ 89 w 153"/>
              <a:gd name="T79" fmla="*/ 55 h 147"/>
              <a:gd name="T80" fmla="*/ 80 w 153"/>
              <a:gd name="T81" fmla="*/ 46 h 147"/>
              <a:gd name="T82" fmla="*/ 73 w 153"/>
              <a:gd name="T83" fmla="*/ 35 h 147"/>
              <a:gd name="T84" fmla="*/ 60 w 153"/>
              <a:gd name="T85" fmla="*/ 23 h 147"/>
              <a:gd name="T86" fmla="*/ 52 w 153"/>
              <a:gd name="T87" fmla="*/ 20 h 147"/>
              <a:gd name="T88" fmla="*/ 31 w 153"/>
              <a:gd name="T89" fmla="*/ 11 h 147"/>
              <a:gd name="T90" fmla="*/ 17 w 153"/>
              <a:gd name="T91" fmla="*/ 6 h 147"/>
              <a:gd name="T92" fmla="*/ 6 w 153"/>
              <a:gd name="T93" fmla="*/ 0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53" h="147">
                <a:moveTo>
                  <a:pt x="6" y="0"/>
                </a:moveTo>
                <a:lnTo>
                  <a:pt x="5" y="2"/>
                </a:lnTo>
                <a:lnTo>
                  <a:pt x="5" y="45"/>
                </a:lnTo>
                <a:lnTo>
                  <a:pt x="2" y="69"/>
                </a:lnTo>
                <a:lnTo>
                  <a:pt x="1" y="76"/>
                </a:lnTo>
                <a:lnTo>
                  <a:pt x="0" y="77"/>
                </a:lnTo>
                <a:lnTo>
                  <a:pt x="2" y="82"/>
                </a:lnTo>
                <a:lnTo>
                  <a:pt x="1" y="96"/>
                </a:lnTo>
                <a:lnTo>
                  <a:pt x="0" y="114"/>
                </a:lnTo>
                <a:lnTo>
                  <a:pt x="1" y="119"/>
                </a:lnTo>
                <a:lnTo>
                  <a:pt x="5" y="119"/>
                </a:lnTo>
                <a:lnTo>
                  <a:pt x="6" y="120"/>
                </a:lnTo>
                <a:lnTo>
                  <a:pt x="8" y="121"/>
                </a:lnTo>
                <a:lnTo>
                  <a:pt x="11" y="121"/>
                </a:lnTo>
                <a:lnTo>
                  <a:pt x="14" y="120"/>
                </a:lnTo>
                <a:lnTo>
                  <a:pt x="18" y="120"/>
                </a:lnTo>
                <a:lnTo>
                  <a:pt x="20" y="120"/>
                </a:lnTo>
                <a:lnTo>
                  <a:pt x="25" y="122"/>
                </a:lnTo>
                <a:lnTo>
                  <a:pt x="26" y="121"/>
                </a:lnTo>
                <a:lnTo>
                  <a:pt x="30" y="118"/>
                </a:lnTo>
                <a:lnTo>
                  <a:pt x="34" y="117"/>
                </a:lnTo>
                <a:lnTo>
                  <a:pt x="36" y="114"/>
                </a:lnTo>
                <a:lnTo>
                  <a:pt x="35" y="109"/>
                </a:lnTo>
                <a:lnTo>
                  <a:pt x="32" y="107"/>
                </a:lnTo>
                <a:lnTo>
                  <a:pt x="31" y="104"/>
                </a:lnTo>
                <a:lnTo>
                  <a:pt x="37" y="103"/>
                </a:lnTo>
                <a:lnTo>
                  <a:pt x="39" y="102"/>
                </a:lnTo>
                <a:lnTo>
                  <a:pt x="38" y="100"/>
                </a:lnTo>
                <a:lnTo>
                  <a:pt x="40" y="99"/>
                </a:lnTo>
                <a:lnTo>
                  <a:pt x="44" y="99"/>
                </a:lnTo>
                <a:lnTo>
                  <a:pt x="46" y="98"/>
                </a:lnTo>
                <a:lnTo>
                  <a:pt x="45" y="96"/>
                </a:lnTo>
                <a:lnTo>
                  <a:pt x="45" y="90"/>
                </a:lnTo>
                <a:lnTo>
                  <a:pt x="47" y="92"/>
                </a:lnTo>
                <a:lnTo>
                  <a:pt x="50" y="93"/>
                </a:lnTo>
                <a:lnTo>
                  <a:pt x="52" y="92"/>
                </a:lnTo>
                <a:lnTo>
                  <a:pt x="53" y="90"/>
                </a:lnTo>
                <a:lnTo>
                  <a:pt x="55" y="89"/>
                </a:lnTo>
                <a:lnTo>
                  <a:pt x="57" y="91"/>
                </a:lnTo>
                <a:lnTo>
                  <a:pt x="59" y="90"/>
                </a:lnTo>
                <a:lnTo>
                  <a:pt x="61" y="91"/>
                </a:lnTo>
                <a:lnTo>
                  <a:pt x="61" y="92"/>
                </a:lnTo>
                <a:lnTo>
                  <a:pt x="62" y="93"/>
                </a:lnTo>
                <a:lnTo>
                  <a:pt x="65" y="94"/>
                </a:lnTo>
                <a:lnTo>
                  <a:pt x="67" y="96"/>
                </a:lnTo>
                <a:lnTo>
                  <a:pt x="69" y="96"/>
                </a:lnTo>
                <a:lnTo>
                  <a:pt x="71" y="98"/>
                </a:lnTo>
                <a:lnTo>
                  <a:pt x="75" y="98"/>
                </a:lnTo>
                <a:lnTo>
                  <a:pt x="80" y="100"/>
                </a:lnTo>
                <a:lnTo>
                  <a:pt x="82" y="102"/>
                </a:lnTo>
                <a:lnTo>
                  <a:pt x="83" y="107"/>
                </a:lnTo>
                <a:lnTo>
                  <a:pt x="87" y="113"/>
                </a:lnTo>
                <a:lnTo>
                  <a:pt x="88" y="117"/>
                </a:lnTo>
                <a:lnTo>
                  <a:pt x="93" y="118"/>
                </a:lnTo>
                <a:lnTo>
                  <a:pt x="92" y="121"/>
                </a:lnTo>
                <a:lnTo>
                  <a:pt x="93" y="121"/>
                </a:lnTo>
                <a:lnTo>
                  <a:pt x="95" y="123"/>
                </a:lnTo>
                <a:lnTo>
                  <a:pt x="97" y="126"/>
                </a:lnTo>
                <a:lnTo>
                  <a:pt x="98" y="127"/>
                </a:lnTo>
                <a:lnTo>
                  <a:pt x="100" y="130"/>
                </a:lnTo>
                <a:lnTo>
                  <a:pt x="105" y="136"/>
                </a:lnTo>
                <a:lnTo>
                  <a:pt x="106" y="136"/>
                </a:lnTo>
                <a:lnTo>
                  <a:pt x="108" y="138"/>
                </a:lnTo>
                <a:lnTo>
                  <a:pt x="111" y="138"/>
                </a:lnTo>
                <a:lnTo>
                  <a:pt x="115" y="138"/>
                </a:lnTo>
                <a:lnTo>
                  <a:pt x="119" y="139"/>
                </a:lnTo>
                <a:lnTo>
                  <a:pt x="123" y="140"/>
                </a:lnTo>
                <a:lnTo>
                  <a:pt x="139" y="142"/>
                </a:lnTo>
                <a:lnTo>
                  <a:pt x="139" y="143"/>
                </a:lnTo>
                <a:lnTo>
                  <a:pt x="139" y="146"/>
                </a:lnTo>
                <a:lnTo>
                  <a:pt x="143" y="147"/>
                </a:lnTo>
                <a:lnTo>
                  <a:pt x="148" y="146"/>
                </a:lnTo>
                <a:lnTo>
                  <a:pt x="149" y="143"/>
                </a:lnTo>
                <a:lnTo>
                  <a:pt x="147" y="142"/>
                </a:lnTo>
                <a:lnTo>
                  <a:pt x="144" y="141"/>
                </a:lnTo>
                <a:lnTo>
                  <a:pt x="147" y="141"/>
                </a:lnTo>
                <a:lnTo>
                  <a:pt x="150" y="141"/>
                </a:lnTo>
                <a:lnTo>
                  <a:pt x="153" y="140"/>
                </a:lnTo>
                <a:lnTo>
                  <a:pt x="153" y="139"/>
                </a:lnTo>
                <a:lnTo>
                  <a:pt x="146" y="138"/>
                </a:lnTo>
                <a:lnTo>
                  <a:pt x="143" y="137"/>
                </a:lnTo>
                <a:lnTo>
                  <a:pt x="138" y="133"/>
                </a:lnTo>
                <a:lnTo>
                  <a:pt x="139" y="130"/>
                </a:lnTo>
                <a:lnTo>
                  <a:pt x="141" y="129"/>
                </a:lnTo>
                <a:lnTo>
                  <a:pt x="138" y="128"/>
                </a:lnTo>
                <a:lnTo>
                  <a:pt x="134" y="127"/>
                </a:lnTo>
                <a:lnTo>
                  <a:pt x="131" y="127"/>
                </a:lnTo>
                <a:lnTo>
                  <a:pt x="129" y="124"/>
                </a:lnTo>
                <a:lnTo>
                  <a:pt x="129" y="121"/>
                </a:lnTo>
                <a:lnTo>
                  <a:pt x="130" y="119"/>
                </a:lnTo>
                <a:lnTo>
                  <a:pt x="129" y="117"/>
                </a:lnTo>
                <a:lnTo>
                  <a:pt x="121" y="118"/>
                </a:lnTo>
                <a:lnTo>
                  <a:pt x="119" y="117"/>
                </a:lnTo>
                <a:lnTo>
                  <a:pt x="118" y="111"/>
                </a:lnTo>
                <a:lnTo>
                  <a:pt x="116" y="109"/>
                </a:lnTo>
                <a:lnTo>
                  <a:pt x="115" y="107"/>
                </a:lnTo>
                <a:lnTo>
                  <a:pt x="115" y="102"/>
                </a:lnTo>
                <a:lnTo>
                  <a:pt x="115" y="100"/>
                </a:lnTo>
                <a:lnTo>
                  <a:pt x="113" y="100"/>
                </a:lnTo>
                <a:lnTo>
                  <a:pt x="111" y="99"/>
                </a:lnTo>
                <a:lnTo>
                  <a:pt x="111" y="98"/>
                </a:lnTo>
                <a:lnTo>
                  <a:pt x="107" y="94"/>
                </a:lnTo>
                <a:lnTo>
                  <a:pt x="103" y="90"/>
                </a:lnTo>
                <a:lnTo>
                  <a:pt x="101" y="89"/>
                </a:lnTo>
                <a:lnTo>
                  <a:pt x="100" y="84"/>
                </a:lnTo>
                <a:lnTo>
                  <a:pt x="99" y="81"/>
                </a:lnTo>
                <a:lnTo>
                  <a:pt x="98" y="79"/>
                </a:lnTo>
                <a:lnTo>
                  <a:pt x="100" y="77"/>
                </a:lnTo>
                <a:lnTo>
                  <a:pt x="103" y="77"/>
                </a:lnTo>
                <a:lnTo>
                  <a:pt x="107" y="77"/>
                </a:lnTo>
                <a:lnTo>
                  <a:pt x="109" y="76"/>
                </a:lnTo>
                <a:lnTo>
                  <a:pt x="111" y="76"/>
                </a:lnTo>
                <a:lnTo>
                  <a:pt x="112" y="70"/>
                </a:lnTo>
                <a:lnTo>
                  <a:pt x="111" y="67"/>
                </a:lnTo>
                <a:lnTo>
                  <a:pt x="109" y="63"/>
                </a:lnTo>
                <a:lnTo>
                  <a:pt x="106" y="61"/>
                </a:lnTo>
                <a:lnTo>
                  <a:pt x="103" y="62"/>
                </a:lnTo>
                <a:lnTo>
                  <a:pt x="97" y="60"/>
                </a:lnTo>
                <a:lnTo>
                  <a:pt x="93" y="59"/>
                </a:lnTo>
                <a:lnTo>
                  <a:pt x="89" y="55"/>
                </a:lnTo>
                <a:lnTo>
                  <a:pt x="81" y="53"/>
                </a:lnTo>
                <a:lnTo>
                  <a:pt x="80" y="51"/>
                </a:lnTo>
                <a:lnTo>
                  <a:pt x="80" y="46"/>
                </a:lnTo>
                <a:lnTo>
                  <a:pt x="79" y="41"/>
                </a:lnTo>
                <a:lnTo>
                  <a:pt x="77" y="37"/>
                </a:lnTo>
                <a:lnTo>
                  <a:pt x="73" y="35"/>
                </a:lnTo>
                <a:lnTo>
                  <a:pt x="69" y="32"/>
                </a:lnTo>
                <a:lnTo>
                  <a:pt x="62" y="27"/>
                </a:lnTo>
                <a:lnTo>
                  <a:pt x="60" y="23"/>
                </a:lnTo>
                <a:lnTo>
                  <a:pt x="59" y="21"/>
                </a:lnTo>
                <a:lnTo>
                  <a:pt x="56" y="21"/>
                </a:lnTo>
                <a:lnTo>
                  <a:pt x="52" y="20"/>
                </a:lnTo>
                <a:lnTo>
                  <a:pt x="40" y="15"/>
                </a:lnTo>
                <a:lnTo>
                  <a:pt x="34" y="13"/>
                </a:lnTo>
                <a:lnTo>
                  <a:pt x="31" y="11"/>
                </a:lnTo>
                <a:lnTo>
                  <a:pt x="28" y="10"/>
                </a:lnTo>
                <a:lnTo>
                  <a:pt x="22" y="7"/>
                </a:lnTo>
                <a:lnTo>
                  <a:pt x="17" y="6"/>
                </a:lnTo>
                <a:lnTo>
                  <a:pt x="14" y="3"/>
                </a:lnTo>
                <a:lnTo>
                  <a:pt x="9" y="2"/>
                </a:lnTo>
                <a:lnTo>
                  <a:pt x="6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37" name="Freeform 937"/>
          <p:cNvSpPr>
            <a:spLocks/>
          </p:cNvSpPr>
          <p:nvPr/>
        </p:nvSpPr>
        <p:spPr bwMode="auto">
          <a:xfrm>
            <a:off x="7932738" y="3652803"/>
            <a:ext cx="242887" cy="233363"/>
          </a:xfrm>
          <a:custGeom>
            <a:avLst/>
            <a:gdLst>
              <a:gd name="T0" fmla="*/ 5 w 153"/>
              <a:gd name="T1" fmla="*/ 45 h 147"/>
              <a:gd name="T2" fmla="*/ 0 w 153"/>
              <a:gd name="T3" fmla="*/ 77 h 147"/>
              <a:gd name="T4" fmla="*/ 0 w 153"/>
              <a:gd name="T5" fmla="*/ 114 h 147"/>
              <a:gd name="T6" fmla="*/ 6 w 153"/>
              <a:gd name="T7" fmla="*/ 120 h 147"/>
              <a:gd name="T8" fmla="*/ 14 w 153"/>
              <a:gd name="T9" fmla="*/ 120 h 147"/>
              <a:gd name="T10" fmla="*/ 25 w 153"/>
              <a:gd name="T11" fmla="*/ 122 h 147"/>
              <a:gd name="T12" fmla="*/ 34 w 153"/>
              <a:gd name="T13" fmla="*/ 117 h 147"/>
              <a:gd name="T14" fmla="*/ 32 w 153"/>
              <a:gd name="T15" fmla="*/ 107 h 147"/>
              <a:gd name="T16" fmla="*/ 39 w 153"/>
              <a:gd name="T17" fmla="*/ 102 h 147"/>
              <a:gd name="T18" fmla="*/ 44 w 153"/>
              <a:gd name="T19" fmla="*/ 99 h 147"/>
              <a:gd name="T20" fmla="*/ 45 w 153"/>
              <a:gd name="T21" fmla="*/ 90 h 147"/>
              <a:gd name="T22" fmla="*/ 52 w 153"/>
              <a:gd name="T23" fmla="*/ 92 h 147"/>
              <a:gd name="T24" fmla="*/ 57 w 153"/>
              <a:gd name="T25" fmla="*/ 91 h 147"/>
              <a:gd name="T26" fmla="*/ 61 w 153"/>
              <a:gd name="T27" fmla="*/ 92 h 147"/>
              <a:gd name="T28" fmla="*/ 67 w 153"/>
              <a:gd name="T29" fmla="*/ 96 h 147"/>
              <a:gd name="T30" fmla="*/ 75 w 153"/>
              <a:gd name="T31" fmla="*/ 98 h 147"/>
              <a:gd name="T32" fmla="*/ 83 w 153"/>
              <a:gd name="T33" fmla="*/ 107 h 147"/>
              <a:gd name="T34" fmla="*/ 93 w 153"/>
              <a:gd name="T35" fmla="*/ 118 h 147"/>
              <a:gd name="T36" fmla="*/ 95 w 153"/>
              <a:gd name="T37" fmla="*/ 123 h 147"/>
              <a:gd name="T38" fmla="*/ 100 w 153"/>
              <a:gd name="T39" fmla="*/ 130 h 147"/>
              <a:gd name="T40" fmla="*/ 108 w 153"/>
              <a:gd name="T41" fmla="*/ 138 h 147"/>
              <a:gd name="T42" fmla="*/ 119 w 153"/>
              <a:gd name="T43" fmla="*/ 139 h 147"/>
              <a:gd name="T44" fmla="*/ 139 w 153"/>
              <a:gd name="T45" fmla="*/ 143 h 147"/>
              <a:gd name="T46" fmla="*/ 148 w 153"/>
              <a:gd name="T47" fmla="*/ 146 h 147"/>
              <a:gd name="T48" fmla="*/ 144 w 153"/>
              <a:gd name="T49" fmla="*/ 141 h 147"/>
              <a:gd name="T50" fmla="*/ 153 w 153"/>
              <a:gd name="T51" fmla="*/ 140 h 147"/>
              <a:gd name="T52" fmla="*/ 143 w 153"/>
              <a:gd name="T53" fmla="*/ 137 h 147"/>
              <a:gd name="T54" fmla="*/ 141 w 153"/>
              <a:gd name="T55" fmla="*/ 129 h 147"/>
              <a:gd name="T56" fmla="*/ 131 w 153"/>
              <a:gd name="T57" fmla="*/ 127 h 147"/>
              <a:gd name="T58" fmla="*/ 130 w 153"/>
              <a:gd name="T59" fmla="*/ 119 h 147"/>
              <a:gd name="T60" fmla="*/ 119 w 153"/>
              <a:gd name="T61" fmla="*/ 117 h 147"/>
              <a:gd name="T62" fmla="*/ 115 w 153"/>
              <a:gd name="T63" fmla="*/ 107 h 147"/>
              <a:gd name="T64" fmla="*/ 113 w 153"/>
              <a:gd name="T65" fmla="*/ 100 h 147"/>
              <a:gd name="T66" fmla="*/ 107 w 153"/>
              <a:gd name="T67" fmla="*/ 94 h 147"/>
              <a:gd name="T68" fmla="*/ 100 w 153"/>
              <a:gd name="T69" fmla="*/ 84 h 147"/>
              <a:gd name="T70" fmla="*/ 100 w 153"/>
              <a:gd name="T71" fmla="*/ 77 h 147"/>
              <a:gd name="T72" fmla="*/ 109 w 153"/>
              <a:gd name="T73" fmla="*/ 76 h 147"/>
              <a:gd name="T74" fmla="*/ 111 w 153"/>
              <a:gd name="T75" fmla="*/ 67 h 147"/>
              <a:gd name="T76" fmla="*/ 103 w 153"/>
              <a:gd name="T77" fmla="*/ 62 h 147"/>
              <a:gd name="T78" fmla="*/ 89 w 153"/>
              <a:gd name="T79" fmla="*/ 55 h 147"/>
              <a:gd name="T80" fmla="*/ 80 w 153"/>
              <a:gd name="T81" fmla="*/ 46 h 147"/>
              <a:gd name="T82" fmla="*/ 73 w 153"/>
              <a:gd name="T83" fmla="*/ 35 h 147"/>
              <a:gd name="T84" fmla="*/ 60 w 153"/>
              <a:gd name="T85" fmla="*/ 23 h 147"/>
              <a:gd name="T86" fmla="*/ 52 w 153"/>
              <a:gd name="T87" fmla="*/ 20 h 147"/>
              <a:gd name="T88" fmla="*/ 31 w 153"/>
              <a:gd name="T89" fmla="*/ 11 h 147"/>
              <a:gd name="T90" fmla="*/ 17 w 153"/>
              <a:gd name="T91" fmla="*/ 6 h 147"/>
              <a:gd name="T92" fmla="*/ 6 w 153"/>
              <a:gd name="T93" fmla="*/ 0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53" h="147">
                <a:moveTo>
                  <a:pt x="6" y="0"/>
                </a:moveTo>
                <a:lnTo>
                  <a:pt x="5" y="2"/>
                </a:lnTo>
                <a:lnTo>
                  <a:pt x="5" y="45"/>
                </a:lnTo>
                <a:lnTo>
                  <a:pt x="2" y="69"/>
                </a:lnTo>
                <a:lnTo>
                  <a:pt x="1" y="76"/>
                </a:lnTo>
                <a:lnTo>
                  <a:pt x="0" y="77"/>
                </a:lnTo>
                <a:lnTo>
                  <a:pt x="2" y="82"/>
                </a:lnTo>
                <a:lnTo>
                  <a:pt x="1" y="96"/>
                </a:lnTo>
                <a:lnTo>
                  <a:pt x="0" y="114"/>
                </a:lnTo>
                <a:lnTo>
                  <a:pt x="1" y="119"/>
                </a:lnTo>
                <a:lnTo>
                  <a:pt x="5" y="119"/>
                </a:lnTo>
                <a:lnTo>
                  <a:pt x="6" y="120"/>
                </a:lnTo>
                <a:lnTo>
                  <a:pt x="8" y="121"/>
                </a:lnTo>
                <a:lnTo>
                  <a:pt x="11" y="121"/>
                </a:lnTo>
                <a:lnTo>
                  <a:pt x="14" y="120"/>
                </a:lnTo>
                <a:lnTo>
                  <a:pt x="18" y="120"/>
                </a:lnTo>
                <a:lnTo>
                  <a:pt x="20" y="120"/>
                </a:lnTo>
                <a:lnTo>
                  <a:pt x="25" y="122"/>
                </a:lnTo>
                <a:lnTo>
                  <a:pt x="26" y="121"/>
                </a:lnTo>
                <a:lnTo>
                  <a:pt x="30" y="118"/>
                </a:lnTo>
                <a:lnTo>
                  <a:pt x="34" y="117"/>
                </a:lnTo>
                <a:lnTo>
                  <a:pt x="36" y="114"/>
                </a:lnTo>
                <a:lnTo>
                  <a:pt x="35" y="109"/>
                </a:lnTo>
                <a:lnTo>
                  <a:pt x="32" y="107"/>
                </a:lnTo>
                <a:lnTo>
                  <a:pt x="31" y="104"/>
                </a:lnTo>
                <a:lnTo>
                  <a:pt x="37" y="103"/>
                </a:lnTo>
                <a:lnTo>
                  <a:pt x="39" y="102"/>
                </a:lnTo>
                <a:lnTo>
                  <a:pt x="38" y="100"/>
                </a:lnTo>
                <a:lnTo>
                  <a:pt x="40" y="99"/>
                </a:lnTo>
                <a:lnTo>
                  <a:pt x="44" y="99"/>
                </a:lnTo>
                <a:lnTo>
                  <a:pt x="46" y="98"/>
                </a:lnTo>
                <a:lnTo>
                  <a:pt x="45" y="96"/>
                </a:lnTo>
                <a:lnTo>
                  <a:pt x="45" y="90"/>
                </a:lnTo>
                <a:lnTo>
                  <a:pt x="47" y="92"/>
                </a:lnTo>
                <a:lnTo>
                  <a:pt x="50" y="93"/>
                </a:lnTo>
                <a:lnTo>
                  <a:pt x="52" y="92"/>
                </a:lnTo>
                <a:lnTo>
                  <a:pt x="53" y="90"/>
                </a:lnTo>
                <a:lnTo>
                  <a:pt x="55" y="89"/>
                </a:lnTo>
                <a:lnTo>
                  <a:pt x="57" y="91"/>
                </a:lnTo>
                <a:lnTo>
                  <a:pt x="59" y="90"/>
                </a:lnTo>
                <a:lnTo>
                  <a:pt x="61" y="91"/>
                </a:lnTo>
                <a:lnTo>
                  <a:pt x="61" y="92"/>
                </a:lnTo>
                <a:lnTo>
                  <a:pt x="62" y="93"/>
                </a:lnTo>
                <a:lnTo>
                  <a:pt x="65" y="94"/>
                </a:lnTo>
                <a:lnTo>
                  <a:pt x="67" y="96"/>
                </a:lnTo>
                <a:lnTo>
                  <a:pt x="69" y="96"/>
                </a:lnTo>
                <a:lnTo>
                  <a:pt x="71" y="98"/>
                </a:lnTo>
                <a:lnTo>
                  <a:pt x="75" y="98"/>
                </a:lnTo>
                <a:lnTo>
                  <a:pt x="80" y="100"/>
                </a:lnTo>
                <a:lnTo>
                  <a:pt x="82" y="102"/>
                </a:lnTo>
                <a:lnTo>
                  <a:pt x="83" y="107"/>
                </a:lnTo>
                <a:lnTo>
                  <a:pt x="87" y="113"/>
                </a:lnTo>
                <a:lnTo>
                  <a:pt x="88" y="117"/>
                </a:lnTo>
                <a:lnTo>
                  <a:pt x="93" y="118"/>
                </a:lnTo>
                <a:lnTo>
                  <a:pt x="92" y="121"/>
                </a:lnTo>
                <a:lnTo>
                  <a:pt x="93" y="121"/>
                </a:lnTo>
                <a:lnTo>
                  <a:pt x="95" y="123"/>
                </a:lnTo>
                <a:lnTo>
                  <a:pt x="97" y="126"/>
                </a:lnTo>
                <a:lnTo>
                  <a:pt x="98" y="127"/>
                </a:lnTo>
                <a:lnTo>
                  <a:pt x="100" y="130"/>
                </a:lnTo>
                <a:lnTo>
                  <a:pt x="105" y="136"/>
                </a:lnTo>
                <a:lnTo>
                  <a:pt x="106" y="136"/>
                </a:lnTo>
                <a:lnTo>
                  <a:pt x="108" y="138"/>
                </a:lnTo>
                <a:lnTo>
                  <a:pt x="111" y="138"/>
                </a:lnTo>
                <a:lnTo>
                  <a:pt x="115" y="138"/>
                </a:lnTo>
                <a:lnTo>
                  <a:pt x="119" y="139"/>
                </a:lnTo>
                <a:lnTo>
                  <a:pt x="123" y="140"/>
                </a:lnTo>
                <a:lnTo>
                  <a:pt x="139" y="142"/>
                </a:lnTo>
                <a:lnTo>
                  <a:pt x="139" y="143"/>
                </a:lnTo>
                <a:lnTo>
                  <a:pt x="139" y="146"/>
                </a:lnTo>
                <a:lnTo>
                  <a:pt x="143" y="147"/>
                </a:lnTo>
                <a:lnTo>
                  <a:pt x="148" y="146"/>
                </a:lnTo>
                <a:lnTo>
                  <a:pt x="149" y="143"/>
                </a:lnTo>
                <a:lnTo>
                  <a:pt x="147" y="142"/>
                </a:lnTo>
                <a:lnTo>
                  <a:pt x="144" y="141"/>
                </a:lnTo>
                <a:lnTo>
                  <a:pt x="147" y="141"/>
                </a:lnTo>
                <a:lnTo>
                  <a:pt x="150" y="141"/>
                </a:lnTo>
                <a:lnTo>
                  <a:pt x="153" y="140"/>
                </a:lnTo>
                <a:lnTo>
                  <a:pt x="153" y="139"/>
                </a:lnTo>
                <a:lnTo>
                  <a:pt x="146" y="138"/>
                </a:lnTo>
                <a:lnTo>
                  <a:pt x="143" y="137"/>
                </a:lnTo>
                <a:lnTo>
                  <a:pt x="138" y="133"/>
                </a:lnTo>
                <a:lnTo>
                  <a:pt x="139" y="130"/>
                </a:lnTo>
                <a:lnTo>
                  <a:pt x="141" y="129"/>
                </a:lnTo>
                <a:lnTo>
                  <a:pt x="138" y="128"/>
                </a:lnTo>
                <a:lnTo>
                  <a:pt x="134" y="127"/>
                </a:lnTo>
                <a:lnTo>
                  <a:pt x="131" y="127"/>
                </a:lnTo>
                <a:lnTo>
                  <a:pt x="129" y="124"/>
                </a:lnTo>
                <a:lnTo>
                  <a:pt x="129" y="121"/>
                </a:lnTo>
                <a:lnTo>
                  <a:pt x="130" y="119"/>
                </a:lnTo>
                <a:lnTo>
                  <a:pt x="129" y="117"/>
                </a:lnTo>
                <a:lnTo>
                  <a:pt x="121" y="118"/>
                </a:lnTo>
                <a:lnTo>
                  <a:pt x="119" y="117"/>
                </a:lnTo>
                <a:lnTo>
                  <a:pt x="118" y="111"/>
                </a:lnTo>
                <a:lnTo>
                  <a:pt x="116" y="109"/>
                </a:lnTo>
                <a:lnTo>
                  <a:pt x="115" y="107"/>
                </a:lnTo>
                <a:lnTo>
                  <a:pt x="115" y="102"/>
                </a:lnTo>
                <a:lnTo>
                  <a:pt x="115" y="100"/>
                </a:lnTo>
                <a:lnTo>
                  <a:pt x="113" y="100"/>
                </a:lnTo>
                <a:lnTo>
                  <a:pt x="111" y="99"/>
                </a:lnTo>
                <a:lnTo>
                  <a:pt x="111" y="98"/>
                </a:lnTo>
                <a:lnTo>
                  <a:pt x="107" y="94"/>
                </a:lnTo>
                <a:lnTo>
                  <a:pt x="103" y="90"/>
                </a:lnTo>
                <a:lnTo>
                  <a:pt x="101" y="89"/>
                </a:lnTo>
                <a:lnTo>
                  <a:pt x="100" y="84"/>
                </a:lnTo>
                <a:lnTo>
                  <a:pt x="99" y="81"/>
                </a:lnTo>
                <a:lnTo>
                  <a:pt x="98" y="79"/>
                </a:lnTo>
                <a:lnTo>
                  <a:pt x="100" y="77"/>
                </a:lnTo>
                <a:lnTo>
                  <a:pt x="103" y="77"/>
                </a:lnTo>
                <a:lnTo>
                  <a:pt x="107" y="77"/>
                </a:lnTo>
                <a:lnTo>
                  <a:pt x="109" y="76"/>
                </a:lnTo>
                <a:lnTo>
                  <a:pt x="111" y="76"/>
                </a:lnTo>
                <a:lnTo>
                  <a:pt x="112" y="70"/>
                </a:lnTo>
                <a:lnTo>
                  <a:pt x="111" y="67"/>
                </a:lnTo>
                <a:lnTo>
                  <a:pt x="109" y="63"/>
                </a:lnTo>
                <a:lnTo>
                  <a:pt x="106" y="61"/>
                </a:lnTo>
                <a:lnTo>
                  <a:pt x="103" y="62"/>
                </a:lnTo>
                <a:lnTo>
                  <a:pt x="97" y="60"/>
                </a:lnTo>
                <a:lnTo>
                  <a:pt x="93" y="59"/>
                </a:lnTo>
                <a:lnTo>
                  <a:pt x="89" y="55"/>
                </a:lnTo>
                <a:lnTo>
                  <a:pt x="81" y="53"/>
                </a:lnTo>
                <a:lnTo>
                  <a:pt x="80" y="51"/>
                </a:lnTo>
                <a:lnTo>
                  <a:pt x="80" y="46"/>
                </a:lnTo>
                <a:lnTo>
                  <a:pt x="79" y="41"/>
                </a:lnTo>
                <a:lnTo>
                  <a:pt x="77" y="37"/>
                </a:lnTo>
                <a:lnTo>
                  <a:pt x="73" y="35"/>
                </a:lnTo>
                <a:lnTo>
                  <a:pt x="69" y="32"/>
                </a:lnTo>
                <a:lnTo>
                  <a:pt x="62" y="27"/>
                </a:lnTo>
                <a:lnTo>
                  <a:pt x="60" y="23"/>
                </a:lnTo>
                <a:lnTo>
                  <a:pt x="59" y="21"/>
                </a:lnTo>
                <a:lnTo>
                  <a:pt x="56" y="21"/>
                </a:lnTo>
                <a:lnTo>
                  <a:pt x="52" y="20"/>
                </a:lnTo>
                <a:lnTo>
                  <a:pt x="40" y="15"/>
                </a:lnTo>
                <a:lnTo>
                  <a:pt x="34" y="13"/>
                </a:lnTo>
                <a:lnTo>
                  <a:pt x="31" y="11"/>
                </a:lnTo>
                <a:lnTo>
                  <a:pt x="28" y="10"/>
                </a:lnTo>
                <a:lnTo>
                  <a:pt x="22" y="7"/>
                </a:lnTo>
                <a:lnTo>
                  <a:pt x="17" y="6"/>
                </a:lnTo>
                <a:lnTo>
                  <a:pt x="14" y="3"/>
                </a:lnTo>
                <a:lnTo>
                  <a:pt x="9" y="2"/>
                </a:lnTo>
                <a:lnTo>
                  <a:pt x="6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38" name="Freeform 938"/>
          <p:cNvSpPr>
            <a:spLocks/>
          </p:cNvSpPr>
          <p:nvPr/>
        </p:nvSpPr>
        <p:spPr bwMode="auto">
          <a:xfrm>
            <a:off x="4216400" y="3144803"/>
            <a:ext cx="193675" cy="158750"/>
          </a:xfrm>
          <a:custGeom>
            <a:avLst/>
            <a:gdLst>
              <a:gd name="T0" fmla="*/ 71 w 122"/>
              <a:gd name="T1" fmla="*/ 3 h 100"/>
              <a:gd name="T2" fmla="*/ 53 w 122"/>
              <a:gd name="T3" fmla="*/ 16 h 100"/>
              <a:gd name="T4" fmla="*/ 33 w 122"/>
              <a:gd name="T5" fmla="*/ 29 h 100"/>
              <a:gd name="T6" fmla="*/ 24 w 122"/>
              <a:gd name="T7" fmla="*/ 32 h 100"/>
              <a:gd name="T8" fmla="*/ 19 w 122"/>
              <a:gd name="T9" fmla="*/ 38 h 100"/>
              <a:gd name="T10" fmla="*/ 14 w 122"/>
              <a:gd name="T11" fmla="*/ 53 h 100"/>
              <a:gd name="T12" fmla="*/ 6 w 122"/>
              <a:gd name="T13" fmla="*/ 60 h 100"/>
              <a:gd name="T14" fmla="*/ 1 w 122"/>
              <a:gd name="T15" fmla="*/ 73 h 100"/>
              <a:gd name="T16" fmla="*/ 1 w 122"/>
              <a:gd name="T17" fmla="*/ 85 h 100"/>
              <a:gd name="T18" fmla="*/ 2 w 122"/>
              <a:gd name="T19" fmla="*/ 87 h 100"/>
              <a:gd name="T20" fmla="*/ 3 w 122"/>
              <a:gd name="T21" fmla="*/ 89 h 100"/>
              <a:gd name="T22" fmla="*/ 4 w 122"/>
              <a:gd name="T23" fmla="*/ 93 h 100"/>
              <a:gd name="T24" fmla="*/ 7 w 122"/>
              <a:gd name="T25" fmla="*/ 95 h 100"/>
              <a:gd name="T26" fmla="*/ 11 w 122"/>
              <a:gd name="T27" fmla="*/ 96 h 100"/>
              <a:gd name="T28" fmla="*/ 12 w 122"/>
              <a:gd name="T29" fmla="*/ 96 h 100"/>
              <a:gd name="T30" fmla="*/ 16 w 122"/>
              <a:gd name="T31" fmla="*/ 95 h 100"/>
              <a:gd name="T32" fmla="*/ 23 w 122"/>
              <a:gd name="T33" fmla="*/ 93 h 100"/>
              <a:gd name="T34" fmla="*/ 31 w 122"/>
              <a:gd name="T35" fmla="*/ 93 h 100"/>
              <a:gd name="T36" fmla="*/ 36 w 122"/>
              <a:gd name="T37" fmla="*/ 95 h 100"/>
              <a:gd name="T38" fmla="*/ 38 w 122"/>
              <a:gd name="T39" fmla="*/ 99 h 100"/>
              <a:gd name="T40" fmla="*/ 41 w 122"/>
              <a:gd name="T41" fmla="*/ 99 h 100"/>
              <a:gd name="T42" fmla="*/ 41 w 122"/>
              <a:gd name="T43" fmla="*/ 91 h 100"/>
              <a:gd name="T44" fmla="*/ 39 w 122"/>
              <a:gd name="T45" fmla="*/ 84 h 100"/>
              <a:gd name="T46" fmla="*/ 38 w 122"/>
              <a:gd name="T47" fmla="*/ 78 h 100"/>
              <a:gd name="T48" fmla="*/ 43 w 122"/>
              <a:gd name="T49" fmla="*/ 72 h 100"/>
              <a:gd name="T50" fmla="*/ 58 w 122"/>
              <a:gd name="T51" fmla="*/ 73 h 100"/>
              <a:gd name="T52" fmla="*/ 72 w 122"/>
              <a:gd name="T53" fmla="*/ 74 h 100"/>
              <a:gd name="T54" fmla="*/ 81 w 122"/>
              <a:gd name="T55" fmla="*/ 70 h 100"/>
              <a:gd name="T56" fmla="*/ 93 w 122"/>
              <a:gd name="T57" fmla="*/ 74 h 100"/>
              <a:gd name="T58" fmla="*/ 98 w 122"/>
              <a:gd name="T59" fmla="*/ 73 h 100"/>
              <a:gd name="T60" fmla="*/ 101 w 122"/>
              <a:gd name="T61" fmla="*/ 69 h 100"/>
              <a:gd name="T62" fmla="*/ 102 w 122"/>
              <a:gd name="T63" fmla="*/ 67 h 100"/>
              <a:gd name="T64" fmla="*/ 107 w 122"/>
              <a:gd name="T65" fmla="*/ 64 h 100"/>
              <a:gd name="T66" fmla="*/ 113 w 122"/>
              <a:gd name="T67" fmla="*/ 64 h 100"/>
              <a:gd name="T68" fmla="*/ 120 w 122"/>
              <a:gd name="T69" fmla="*/ 60 h 100"/>
              <a:gd name="T70" fmla="*/ 121 w 122"/>
              <a:gd name="T71" fmla="*/ 57 h 100"/>
              <a:gd name="T72" fmla="*/ 122 w 122"/>
              <a:gd name="T73" fmla="*/ 56 h 100"/>
              <a:gd name="T74" fmla="*/ 117 w 122"/>
              <a:gd name="T75" fmla="*/ 48 h 100"/>
              <a:gd name="T76" fmla="*/ 119 w 122"/>
              <a:gd name="T77" fmla="*/ 47 h 100"/>
              <a:gd name="T78" fmla="*/ 118 w 122"/>
              <a:gd name="T79" fmla="*/ 42 h 100"/>
              <a:gd name="T80" fmla="*/ 113 w 122"/>
              <a:gd name="T81" fmla="*/ 43 h 100"/>
              <a:gd name="T82" fmla="*/ 108 w 122"/>
              <a:gd name="T83" fmla="*/ 43 h 100"/>
              <a:gd name="T84" fmla="*/ 101 w 122"/>
              <a:gd name="T85" fmla="*/ 35 h 100"/>
              <a:gd name="T86" fmla="*/ 92 w 122"/>
              <a:gd name="T87" fmla="*/ 23 h 100"/>
              <a:gd name="T88" fmla="*/ 89 w 122"/>
              <a:gd name="T89" fmla="*/ 13 h 100"/>
              <a:gd name="T90" fmla="*/ 84 w 122"/>
              <a:gd name="T91" fmla="*/ 8 h 100"/>
              <a:gd name="T92" fmla="*/ 87 w 122"/>
              <a:gd name="T93" fmla="*/ 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22" h="100">
                <a:moveTo>
                  <a:pt x="87" y="0"/>
                </a:moveTo>
                <a:lnTo>
                  <a:pt x="77" y="0"/>
                </a:lnTo>
                <a:lnTo>
                  <a:pt x="71" y="3"/>
                </a:lnTo>
                <a:lnTo>
                  <a:pt x="69" y="4"/>
                </a:lnTo>
                <a:lnTo>
                  <a:pt x="64" y="8"/>
                </a:lnTo>
                <a:lnTo>
                  <a:pt x="53" y="16"/>
                </a:lnTo>
                <a:lnTo>
                  <a:pt x="50" y="22"/>
                </a:lnTo>
                <a:lnTo>
                  <a:pt x="44" y="25"/>
                </a:lnTo>
                <a:lnTo>
                  <a:pt x="33" y="29"/>
                </a:lnTo>
                <a:lnTo>
                  <a:pt x="30" y="30"/>
                </a:lnTo>
                <a:lnTo>
                  <a:pt x="27" y="30"/>
                </a:lnTo>
                <a:lnTo>
                  <a:pt x="24" y="32"/>
                </a:lnTo>
                <a:lnTo>
                  <a:pt x="22" y="33"/>
                </a:lnTo>
                <a:lnTo>
                  <a:pt x="21" y="35"/>
                </a:lnTo>
                <a:lnTo>
                  <a:pt x="19" y="38"/>
                </a:lnTo>
                <a:lnTo>
                  <a:pt x="18" y="44"/>
                </a:lnTo>
                <a:lnTo>
                  <a:pt x="16" y="49"/>
                </a:lnTo>
                <a:lnTo>
                  <a:pt x="14" y="53"/>
                </a:lnTo>
                <a:lnTo>
                  <a:pt x="9" y="56"/>
                </a:lnTo>
                <a:lnTo>
                  <a:pt x="7" y="59"/>
                </a:lnTo>
                <a:lnTo>
                  <a:pt x="6" y="60"/>
                </a:lnTo>
                <a:lnTo>
                  <a:pt x="3" y="64"/>
                </a:lnTo>
                <a:lnTo>
                  <a:pt x="3" y="67"/>
                </a:lnTo>
                <a:lnTo>
                  <a:pt x="1" y="73"/>
                </a:lnTo>
                <a:lnTo>
                  <a:pt x="0" y="76"/>
                </a:lnTo>
                <a:lnTo>
                  <a:pt x="0" y="80"/>
                </a:lnTo>
                <a:lnTo>
                  <a:pt x="1" y="85"/>
                </a:lnTo>
                <a:lnTo>
                  <a:pt x="1" y="85"/>
                </a:lnTo>
                <a:lnTo>
                  <a:pt x="1" y="85"/>
                </a:lnTo>
                <a:lnTo>
                  <a:pt x="2" y="87"/>
                </a:lnTo>
                <a:lnTo>
                  <a:pt x="2" y="87"/>
                </a:lnTo>
                <a:lnTo>
                  <a:pt x="2" y="87"/>
                </a:lnTo>
                <a:lnTo>
                  <a:pt x="3" y="89"/>
                </a:lnTo>
                <a:lnTo>
                  <a:pt x="4" y="90"/>
                </a:lnTo>
                <a:lnTo>
                  <a:pt x="4" y="90"/>
                </a:lnTo>
                <a:lnTo>
                  <a:pt x="4" y="93"/>
                </a:lnTo>
                <a:lnTo>
                  <a:pt x="6" y="93"/>
                </a:lnTo>
                <a:lnTo>
                  <a:pt x="7" y="94"/>
                </a:lnTo>
                <a:lnTo>
                  <a:pt x="7" y="95"/>
                </a:lnTo>
                <a:lnTo>
                  <a:pt x="9" y="96"/>
                </a:lnTo>
                <a:lnTo>
                  <a:pt x="9" y="96"/>
                </a:lnTo>
                <a:lnTo>
                  <a:pt x="11" y="96"/>
                </a:lnTo>
                <a:lnTo>
                  <a:pt x="11" y="95"/>
                </a:lnTo>
                <a:lnTo>
                  <a:pt x="11" y="95"/>
                </a:lnTo>
                <a:lnTo>
                  <a:pt x="12" y="96"/>
                </a:lnTo>
                <a:lnTo>
                  <a:pt x="14" y="97"/>
                </a:lnTo>
                <a:lnTo>
                  <a:pt x="16" y="96"/>
                </a:lnTo>
                <a:lnTo>
                  <a:pt x="16" y="95"/>
                </a:lnTo>
                <a:lnTo>
                  <a:pt x="18" y="94"/>
                </a:lnTo>
                <a:lnTo>
                  <a:pt x="20" y="93"/>
                </a:lnTo>
                <a:lnTo>
                  <a:pt x="23" y="93"/>
                </a:lnTo>
                <a:lnTo>
                  <a:pt x="27" y="91"/>
                </a:lnTo>
                <a:lnTo>
                  <a:pt x="28" y="91"/>
                </a:lnTo>
                <a:lnTo>
                  <a:pt x="31" y="93"/>
                </a:lnTo>
                <a:lnTo>
                  <a:pt x="33" y="91"/>
                </a:lnTo>
                <a:lnTo>
                  <a:pt x="33" y="91"/>
                </a:lnTo>
                <a:lnTo>
                  <a:pt x="36" y="95"/>
                </a:lnTo>
                <a:lnTo>
                  <a:pt x="37" y="95"/>
                </a:lnTo>
                <a:lnTo>
                  <a:pt x="37" y="96"/>
                </a:lnTo>
                <a:lnTo>
                  <a:pt x="38" y="99"/>
                </a:lnTo>
                <a:lnTo>
                  <a:pt x="39" y="100"/>
                </a:lnTo>
                <a:lnTo>
                  <a:pt x="41" y="100"/>
                </a:lnTo>
                <a:lnTo>
                  <a:pt x="41" y="99"/>
                </a:lnTo>
                <a:lnTo>
                  <a:pt x="41" y="97"/>
                </a:lnTo>
                <a:lnTo>
                  <a:pt x="40" y="96"/>
                </a:lnTo>
                <a:lnTo>
                  <a:pt x="41" y="91"/>
                </a:lnTo>
                <a:lnTo>
                  <a:pt x="40" y="89"/>
                </a:lnTo>
                <a:lnTo>
                  <a:pt x="40" y="85"/>
                </a:lnTo>
                <a:lnTo>
                  <a:pt x="39" y="84"/>
                </a:lnTo>
                <a:lnTo>
                  <a:pt x="39" y="82"/>
                </a:lnTo>
                <a:lnTo>
                  <a:pt x="38" y="80"/>
                </a:lnTo>
                <a:lnTo>
                  <a:pt x="38" y="78"/>
                </a:lnTo>
                <a:lnTo>
                  <a:pt x="38" y="76"/>
                </a:lnTo>
                <a:lnTo>
                  <a:pt x="39" y="73"/>
                </a:lnTo>
                <a:lnTo>
                  <a:pt x="43" y="72"/>
                </a:lnTo>
                <a:lnTo>
                  <a:pt x="47" y="72"/>
                </a:lnTo>
                <a:lnTo>
                  <a:pt x="50" y="73"/>
                </a:lnTo>
                <a:lnTo>
                  <a:pt x="58" y="73"/>
                </a:lnTo>
                <a:lnTo>
                  <a:pt x="65" y="74"/>
                </a:lnTo>
                <a:lnTo>
                  <a:pt x="71" y="74"/>
                </a:lnTo>
                <a:lnTo>
                  <a:pt x="72" y="74"/>
                </a:lnTo>
                <a:lnTo>
                  <a:pt x="75" y="72"/>
                </a:lnTo>
                <a:lnTo>
                  <a:pt x="81" y="70"/>
                </a:lnTo>
                <a:lnTo>
                  <a:pt x="81" y="70"/>
                </a:lnTo>
                <a:lnTo>
                  <a:pt x="90" y="73"/>
                </a:lnTo>
                <a:lnTo>
                  <a:pt x="92" y="74"/>
                </a:lnTo>
                <a:lnTo>
                  <a:pt x="93" y="74"/>
                </a:lnTo>
                <a:lnTo>
                  <a:pt x="93" y="73"/>
                </a:lnTo>
                <a:lnTo>
                  <a:pt x="98" y="73"/>
                </a:lnTo>
                <a:lnTo>
                  <a:pt x="98" y="73"/>
                </a:lnTo>
                <a:lnTo>
                  <a:pt x="99" y="72"/>
                </a:lnTo>
                <a:lnTo>
                  <a:pt x="100" y="72"/>
                </a:lnTo>
                <a:lnTo>
                  <a:pt x="101" y="69"/>
                </a:lnTo>
                <a:lnTo>
                  <a:pt x="101" y="69"/>
                </a:lnTo>
                <a:lnTo>
                  <a:pt x="102" y="68"/>
                </a:lnTo>
                <a:lnTo>
                  <a:pt x="102" y="67"/>
                </a:lnTo>
                <a:lnTo>
                  <a:pt x="103" y="68"/>
                </a:lnTo>
                <a:lnTo>
                  <a:pt x="105" y="64"/>
                </a:lnTo>
                <a:lnTo>
                  <a:pt x="107" y="64"/>
                </a:lnTo>
                <a:lnTo>
                  <a:pt x="109" y="64"/>
                </a:lnTo>
                <a:lnTo>
                  <a:pt x="111" y="65"/>
                </a:lnTo>
                <a:lnTo>
                  <a:pt x="113" y="64"/>
                </a:lnTo>
                <a:lnTo>
                  <a:pt x="115" y="65"/>
                </a:lnTo>
                <a:lnTo>
                  <a:pt x="117" y="64"/>
                </a:lnTo>
                <a:lnTo>
                  <a:pt x="120" y="60"/>
                </a:lnTo>
                <a:lnTo>
                  <a:pt x="120" y="59"/>
                </a:lnTo>
                <a:lnTo>
                  <a:pt x="120" y="58"/>
                </a:lnTo>
                <a:lnTo>
                  <a:pt x="121" y="57"/>
                </a:lnTo>
                <a:lnTo>
                  <a:pt x="122" y="56"/>
                </a:lnTo>
                <a:lnTo>
                  <a:pt x="122" y="55"/>
                </a:lnTo>
                <a:lnTo>
                  <a:pt x="122" y="56"/>
                </a:lnTo>
                <a:lnTo>
                  <a:pt x="119" y="53"/>
                </a:lnTo>
                <a:lnTo>
                  <a:pt x="117" y="49"/>
                </a:lnTo>
                <a:lnTo>
                  <a:pt x="117" y="48"/>
                </a:lnTo>
                <a:lnTo>
                  <a:pt x="117" y="47"/>
                </a:lnTo>
                <a:lnTo>
                  <a:pt x="118" y="47"/>
                </a:lnTo>
                <a:lnTo>
                  <a:pt x="119" y="47"/>
                </a:lnTo>
                <a:lnTo>
                  <a:pt x="120" y="46"/>
                </a:lnTo>
                <a:lnTo>
                  <a:pt x="119" y="46"/>
                </a:lnTo>
                <a:lnTo>
                  <a:pt x="118" y="42"/>
                </a:lnTo>
                <a:lnTo>
                  <a:pt x="115" y="42"/>
                </a:lnTo>
                <a:lnTo>
                  <a:pt x="114" y="42"/>
                </a:lnTo>
                <a:lnTo>
                  <a:pt x="113" y="43"/>
                </a:lnTo>
                <a:lnTo>
                  <a:pt x="112" y="44"/>
                </a:lnTo>
                <a:lnTo>
                  <a:pt x="110" y="44"/>
                </a:lnTo>
                <a:lnTo>
                  <a:pt x="108" y="43"/>
                </a:lnTo>
                <a:lnTo>
                  <a:pt x="105" y="42"/>
                </a:lnTo>
                <a:lnTo>
                  <a:pt x="102" y="37"/>
                </a:lnTo>
                <a:lnTo>
                  <a:pt x="101" y="35"/>
                </a:lnTo>
                <a:lnTo>
                  <a:pt x="99" y="30"/>
                </a:lnTo>
                <a:lnTo>
                  <a:pt x="98" y="27"/>
                </a:lnTo>
                <a:lnTo>
                  <a:pt x="92" y="23"/>
                </a:lnTo>
                <a:lnTo>
                  <a:pt x="89" y="18"/>
                </a:lnTo>
                <a:lnTo>
                  <a:pt x="88" y="16"/>
                </a:lnTo>
                <a:lnTo>
                  <a:pt x="89" y="13"/>
                </a:lnTo>
                <a:lnTo>
                  <a:pt x="88" y="12"/>
                </a:lnTo>
                <a:lnTo>
                  <a:pt x="85" y="9"/>
                </a:lnTo>
                <a:lnTo>
                  <a:pt x="84" y="8"/>
                </a:lnTo>
                <a:lnTo>
                  <a:pt x="85" y="5"/>
                </a:lnTo>
                <a:lnTo>
                  <a:pt x="85" y="2"/>
                </a:lnTo>
                <a:lnTo>
                  <a:pt x="87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39" name="Freeform 939"/>
          <p:cNvSpPr>
            <a:spLocks/>
          </p:cNvSpPr>
          <p:nvPr/>
        </p:nvSpPr>
        <p:spPr bwMode="auto">
          <a:xfrm>
            <a:off x="4216400" y="3144803"/>
            <a:ext cx="193675" cy="158750"/>
          </a:xfrm>
          <a:custGeom>
            <a:avLst/>
            <a:gdLst>
              <a:gd name="T0" fmla="*/ 71 w 122"/>
              <a:gd name="T1" fmla="*/ 3 h 100"/>
              <a:gd name="T2" fmla="*/ 53 w 122"/>
              <a:gd name="T3" fmla="*/ 16 h 100"/>
              <a:gd name="T4" fmla="*/ 33 w 122"/>
              <a:gd name="T5" fmla="*/ 29 h 100"/>
              <a:gd name="T6" fmla="*/ 24 w 122"/>
              <a:gd name="T7" fmla="*/ 32 h 100"/>
              <a:gd name="T8" fmla="*/ 19 w 122"/>
              <a:gd name="T9" fmla="*/ 38 h 100"/>
              <a:gd name="T10" fmla="*/ 14 w 122"/>
              <a:gd name="T11" fmla="*/ 53 h 100"/>
              <a:gd name="T12" fmla="*/ 6 w 122"/>
              <a:gd name="T13" fmla="*/ 60 h 100"/>
              <a:gd name="T14" fmla="*/ 1 w 122"/>
              <a:gd name="T15" fmla="*/ 73 h 100"/>
              <a:gd name="T16" fmla="*/ 1 w 122"/>
              <a:gd name="T17" fmla="*/ 85 h 100"/>
              <a:gd name="T18" fmla="*/ 2 w 122"/>
              <a:gd name="T19" fmla="*/ 87 h 100"/>
              <a:gd name="T20" fmla="*/ 3 w 122"/>
              <a:gd name="T21" fmla="*/ 89 h 100"/>
              <a:gd name="T22" fmla="*/ 4 w 122"/>
              <a:gd name="T23" fmla="*/ 93 h 100"/>
              <a:gd name="T24" fmla="*/ 7 w 122"/>
              <a:gd name="T25" fmla="*/ 95 h 100"/>
              <a:gd name="T26" fmla="*/ 11 w 122"/>
              <a:gd name="T27" fmla="*/ 96 h 100"/>
              <a:gd name="T28" fmla="*/ 12 w 122"/>
              <a:gd name="T29" fmla="*/ 96 h 100"/>
              <a:gd name="T30" fmla="*/ 16 w 122"/>
              <a:gd name="T31" fmla="*/ 95 h 100"/>
              <a:gd name="T32" fmla="*/ 23 w 122"/>
              <a:gd name="T33" fmla="*/ 93 h 100"/>
              <a:gd name="T34" fmla="*/ 31 w 122"/>
              <a:gd name="T35" fmla="*/ 93 h 100"/>
              <a:gd name="T36" fmla="*/ 36 w 122"/>
              <a:gd name="T37" fmla="*/ 95 h 100"/>
              <a:gd name="T38" fmla="*/ 38 w 122"/>
              <a:gd name="T39" fmla="*/ 99 h 100"/>
              <a:gd name="T40" fmla="*/ 41 w 122"/>
              <a:gd name="T41" fmla="*/ 99 h 100"/>
              <a:gd name="T42" fmla="*/ 41 w 122"/>
              <a:gd name="T43" fmla="*/ 91 h 100"/>
              <a:gd name="T44" fmla="*/ 39 w 122"/>
              <a:gd name="T45" fmla="*/ 84 h 100"/>
              <a:gd name="T46" fmla="*/ 38 w 122"/>
              <a:gd name="T47" fmla="*/ 78 h 100"/>
              <a:gd name="T48" fmla="*/ 43 w 122"/>
              <a:gd name="T49" fmla="*/ 72 h 100"/>
              <a:gd name="T50" fmla="*/ 58 w 122"/>
              <a:gd name="T51" fmla="*/ 73 h 100"/>
              <a:gd name="T52" fmla="*/ 72 w 122"/>
              <a:gd name="T53" fmla="*/ 74 h 100"/>
              <a:gd name="T54" fmla="*/ 81 w 122"/>
              <a:gd name="T55" fmla="*/ 70 h 100"/>
              <a:gd name="T56" fmla="*/ 93 w 122"/>
              <a:gd name="T57" fmla="*/ 74 h 100"/>
              <a:gd name="T58" fmla="*/ 98 w 122"/>
              <a:gd name="T59" fmla="*/ 73 h 100"/>
              <a:gd name="T60" fmla="*/ 101 w 122"/>
              <a:gd name="T61" fmla="*/ 69 h 100"/>
              <a:gd name="T62" fmla="*/ 102 w 122"/>
              <a:gd name="T63" fmla="*/ 67 h 100"/>
              <a:gd name="T64" fmla="*/ 107 w 122"/>
              <a:gd name="T65" fmla="*/ 64 h 100"/>
              <a:gd name="T66" fmla="*/ 113 w 122"/>
              <a:gd name="T67" fmla="*/ 64 h 100"/>
              <a:gd name="T68" fmla="*/ 120 w 122"/>
              <a:gd name="T69" fmla="*/ 60 h 100"/>
              <a:gd name="T70" fmla="*/ 121 w 122"/>
              <a:gd name="T71" fmla="*/ 57 h 100"/>
              <a:gd name="T72" fmla="*/ 122 w 122"/>
              <a:gd name="T73" fmla="*/ 56 h 100"/>
              <a:gd name="T74" fmla="*/ 117 w 122"/>
              <a:gd name="T75" fmla="*/ 48 h 100"/>
              <a:gd name="T76" fmla="*/ 119 w 122"/>
              <a:gd name="T77" fmla="*/ 47 h 100"/>
              <a:gd name="T78" fmla="*/ 118 w 122"/>
              <a:gd name="T79" fmla="*/ 42 h 100"/>
              <a:gd name="T80" fmla="*/ 113 w 122"/>
              <a:gd name="T81" fmla="*/ 43 h 100"/>
              <a:gd name="T82" fmla="*/ 108 w 122"/>
              <a:gd name="T83" fmla="*/ 43 h 100"/>
              <a:gd name="T84" fmla="*/ 101 w 122"/>
              <a:gd name="T85" fmla="*/ 35 h 100"/>
              <a:gd name="T86" fmla="*/ 92 w 122"/>
              <a:gd name="T87" fmla="*/ 23 h 100"/>
              <a:gd name="T88" fmla="*/ 89 w 122"/>
              <a:gd name="T89" fmla="*/ 13 h 100"/>
              <a:gd name="T90" fmla="*/ 84 w 122"/>
              <a:gd name="T91" fmla="*/ 8 h 100"/>
              <a:gd name="T92" fmla="*/ 87 w 122"/>
              <a:gd name="T93" fmla="*/ 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22" h="100">
                <a:moveTo>
                  <a:pt x="87" y="0"/>
                </a:moveTo>
                <a:lnTo>
                  <a:pt x="77" y="0"/>
                </a:lnTo>
                <a:lnTo>
                  <a:pt x="71" y="3"/>
                </a:lnTo>
                <a:lnTo>
                  <a:pt x="69" y="4"/>
                </a:lnTo>
                <a:lnTo>
                  <a:pt x="64" y="8"/>
                </a:lnTo>
                <a:lnTo>
                  <a:pt x="53" y="16"/>
                </a:lnTo>
                <a:lnTo>
                  <a:pt x="50" y="22"/>
                </a:lnTo>
                <a:lnTo>
                  <a:pt x="44" y="25"/>
                </a:lnTo>
                <a:lnTo>
                  <a:pt x="33" y="29"/>
                </a:lnTo>
                <a:lnTo>
                  <a:pt x="30" y="30"/>
                </a:lnTo>
                <a:lnTo>
                  <a:pt x="27" y="30"/>
                </a:lnTo>
                <a:lnTo>
                  <a:pt x="24" y="32"/>
                </a:lnTo>
                <a:lnTo>
                  <a:pt x="22" y="33"/>
                </a:lnTo>
                <a:lnTo>
                  <a:pt x="21" y="35"/>
                </a:lnTo>
                <a:lnTo>
                  <a:pt x="19" y="38"/>
                </a:lnTo>
                <a:lnTo>
                  <a:pt x="18" y="44"/>
                </a:lnTo>
                <a:lnTo>
                  <a:pt x="16" y="49"/>
                </a:lnTo>
                <a:lnTo>
                  <a:pt x="14" y="53"/>
                </a:lnTo>
                <a:lnTo>
                  <a:pt x="9" y="56"/>
                </a:lnTo>
                <a:lnTo>
                  <a:pt x="7" y="59"/>
                </a:lnTo>
                <a:lnTo>
                  <a:pt x="6" y="60"/>
                </a:lnTo>
                <a:lnTo>
                  <a:pt x="3" y="64"/>
                </a:lnTo>
                <a:lnTo>
                  <a:pt x="3" y="67"/>
                </a:lnTo>
                <a:lnTo>
                  <a:pt x="1" y="73"/>
                </a:lnTo>
                <a:lnTo>
                  <a:pt x="0" y="76"/>
                </a:lnTo>
                <a:lnTo>
                  <a:pt x="0" y="80"/>
                </a:lnTo>
                <a:lnTo>
                  <a:pt x="1" y="85"/>
                </a:lnTo>
                <a:lnTo>
                  <a:pt x="1" y="85"/>
                </a:lnTo>
                <a:lnTo>
                  <a:pt x="1" y="85"/>
                </a:lnTo>
                <a:lnTo>
                  <a:pt x="2" y="87"/>
                </a:lnTo>
                <a:lnTo>
                  <a:pt x="2" y="87"/>
                </a:lnTo>
                <a:lnTo>
                  <a:pt x="2" y="87"/>
                </a:lnTo>
                <a:lnTo>
                  <a:pt x="3" y="89"/>
                </a:lnTo>
                <a:lnTo>
                  <a:pt x="4" y="90"/>
                </a:lnTo>
                <a:lnTo>
                  <a:pt x="4" y="90"/>
                </a:lnTo>
                <a:lnTo>
                  <a:pt x="4" y="93"/>
                </a:lnTo>
                <a:lnTo>
                  <a:pt x="6" y="93"/>
                </a:lnTo>
                <a:lnTo>
                  <a:pt x="7" y="94"/>
                </a:lnTo>
                <a:lnTo>
                  <a:pt x="7" y="95"/>
                </a:lnTo>
                <a:lnTo>
                  <a:pt x="9" y="96"/>
                </a:lnTo>
                <a:lnTo>
                  <a:pt x="9" y="96"/>
                </a:lnTo>
                <a:lnTo>
                  <a:pt x="11" y="96"/>
                </a:lnTo>
                <a:lnTo>
                  <a:pt x="11" y="95"/>
                </a:lnTo>
                <a:lnTo>
                  <a:pt x="11" y="95"/>
                </a:lnTo>
                <a:lnTo>
                  <a:pt x="12" y="96"/>
                </a:lnTo>
                <a:lnTo>
                  <a:pt x="14" y="97"/>
                </a:lnTo>
                <a:lnTo>
                  <a:pt x="16" y="96"/>
                </a:lnTo>
                <a:lnTo>
                  <a:pt x="16" y="95"/>
                </a:lnTo>
                <a:lnTo>
                  <a:pt x="18" y="94"/>
                </a:lnTo>
                <a:lnTo>
                  <a:pt x="20" y="93"/>
                </a:lnTo>
                <a:lnTo>
                  <a:pt x="23" y="93"/>
                </a:lnTo>
                <a:lnTo>
                  <a:pt x="27" y="91"/>
                </a:lnTo>
                <a:lnTo>
                  <a:pt x="28" y="91"/>
                </a:lnTo>
                <a:lnTo>
                  <a:pt x="31" y="93"/>
                </a:lnTo>
                <a:lnTo>
                  <a:pt x="33" y="91"/>
                </a:lnTo>
                <a:lnTo>
                  <a:pt x="33" y="91"/>
                </a:lnTo>
                <a:lnTo>
                  <a:pt x="36" y="95"/>
                </a:lnTo>
                <a:lnTo>
                  <a:pt x="37" y="95"/>
                </a:lnTo>
                <a:lnTo>
                  <a:pt x="37" y="96"/>
                </a:lnTo>
                <a:lnTo>
                  <a:pt x="38" y="99"/>
                </a:lnTo>
                <a:lnTo>
                  <a:pt x="39" y="100"/>
                </a:lnTo>
                <a:lnTo>
                  <a:pt x="41" y="100"/>
                </a:lnTo>
                <a:lnTo>
                  <a:pt x="41" y="99"/>
                </a:lnTo>
                <a:lnTo>
                  <a:pt x="41" y="97"/>
                </a:lnTo>
                <a:lnTo>
                  <a:pt x="40" y="96"/>
                </a:lnTo>
                <a:lnTo>
                  <a:pt x="41" y="91"/>
                </a:lnTo>
                <a:lnTo>
                  <a:pt x="40" y="89"/>
                </a:lnTo>
                <a:lnTo>
                  <a:pt x="40" y="85"/>
                </a:lnTo>
                <a:lnTo>
                  <a:pt x="39" y="84"/>
                </a:lnTo>
                <a:lnTo>
                  <a:pt x="39" y="82"/>
                </a:lnTo>
                <a:lnTo>
                  <a:pt x="38" y="80"/>
                </a:lnTo>
                <a:lnTo>
                  <a:pt x="38" y="78"/>
                </a:lnTo>
                <a:lnTo>
                  <a:pt x="38" y="76"/>
                </a:lnTo>
                <a:lnTo>
                  <a:pt x="39" y="73"/>
                </a:lnTo>
                <a:lnTo>
                  <a:pt x="43" y="72"/>
                </a:lnTo>
                <a:lnTo>
                  <a:pt x="47" y="72"/>
                </a:lnTo>
                <a:lnTo>
                  <a:pt x="50" y="73"/>
                </a:lnTo>
                <a:lnTo>
                  <a:pt x="58" y="73"/>
                </a:lnTo>
                <a:lnTo>
                  <a:pt x="65" y="74"/>
                </a:lnTo>
                <a:lnTo>
                  <a:pt x="71" y="74"/>
                </a:lnTo>
                <a:lnTo>
                  <a:pt x="72" y="74"/>
                </a:lnTo>
                <a:lnTo>
                  <a:pt x="75" y="72"/>
                </a:lnTo>
                <a:lnTo>
                  <a:pt x="81" y="70"/>
                </a:lnTo>
                <a:lnTo>
                  <a:pt x="81" y="70"/>
                </a:lnTo>
                <a:lnTo>
                  <a:pt x="90" y="73"/>
                </a:lnTo>
                <a:lnTo>
                  <a:pt x="92" y="74"/>
                </a:lnTo>
                <a:lnTo>
                  <a:pt x="93" y="74"/>
                </a:lnTo>
                <a:lnTo>
                  <a:pt x="93" y="73"/>
                </a:lnTo>
                <a:lnTo>
                  <a:pt x="98" y="73"/>
                </a:lnTo>
                <a:lnTo>
                  <a:pt x="98" y="73"/>
                </a:lnTo>
                <a:lnTo>
                  <a:pt x="99" y="72"/>
                </a:lnTo>
                <a:lnTo>
                  <a:pt x="100" y="72"/>
                </a:lnTo>
                <a:lnTo>
                  <a:pt x="101" y="69"/>
                </a:lnTo>
                <a:lnTo>
                  <a:pt x="101" y="69"/>
                </a:lnTo>
                <a:lnTo>
                  <a:pt x="102" y="68"/>
                </a:lnTo>
                <a:lnTo>
                  <a:pt x="102" y="67"/>
                </a:lnTo>
                <a:lnTo>
                  <a:pt x="103" y="68"/>
                </a:lnTo>
                <a:lnTo>
                  <a:pt x="105" y="64"/>
                </a:lnTo>
                <a:lnTo>
                  <a:pt x="107" y="64"/>
                </a:lnTo>
                <a:lnTo>
                  <a:pt x="109" y="64"/>
                </a:lnTo>
                <a:lnTo>
                  <a:pt x="111" y="65"/>
                </a:lnTo>
                <a:lnTo>
                  <a:pt x="113" y="64"/>
                </a:lnTo>
                <a:lnTo>
                  <a:pt x="115" y="65"/>
                </a:lnTo>
                <a:lnTo>
                  <a:pt x="117" y="64"/>
                </a:lnTo>
                <a:lnTo>
                  <a:pt x="120" y="60"/>
                </a:lnTo>
                <a:lnTo>
                  <a:pt x="120" y="59"/>
                </a:lnTo>
                <a:lnTo>
                  <a:pt x="120" y="58"/>
                </a:lnTo>
                <a:lnTo>
                  <a:pt x="121" y="57"/>
                </a:lnTo>
                <a:lnTo>
                  <a:pt x="122" y="56"/>
                </a:lnTo>
                <a:lnTo>
                  <a:pt x="122" y="55"/>
                </a:lnTo>
                <a:lnTo>
                  <a:pt x="122" y="56"/>
                </a:lnTo>
                <a:lnTo>
                  <a:pt x="119" y="53"/>
                </a:lnTo>
                <a:lnTo>
                  <a:pt x="117" y="49"/>
                </a:lnTo>
                <a:lnTo>
                  <a:pt x="117" y="48"/>
                </a:lnTo>
                <a:lnTo>
                  <a:pt x="117" y="47"/>
                </a:lnTo>
                <a:lnTo>
                  <a:pt x="118" y="47"/>
                </a:lnTo>
                <a:lnTo>
                  <a:pt x="119" y="47"/>
                </a:lnTo>
                <a:lnTo>
                  <a:pt x="120" y="46"/>
                </a:lnTo>
                <a:lnTo>
                  <a:pt x="119" y="46"/>
                </a:lnTo>
                <a:lnTo>
                  <a:pt x="118" y="42"/>
                </a:lnTo>
                <a:lnTo>
                  <a:pt x="115" y="42"/>
                </a:lnTo>
                <a:lnTo>
                  <a:pt x="114" y="42"/>
                </a:lnTo>
                <a:lnTo>
                  <a:pt x="113" y="43"/>
                </a:lnTo>
                <a:lnTo>
                  <a:pt x="112" y="44"/>
                </a:lnTo>
                <a:lnTo>
                  <a:pt x="110" y="44"/>
                </a:lnTo>
                <a:lnTo>
                  <a:pt x="108" y="43"/>
                </a:lnTo>
                <a:lnTo>
                  <a:pt x="105" y="42"/>
                </a:lnTo>
                <a:lnTo>
                  <a:pt x="102" y="37"/>
                </a:lnTo>
                <a:lnTo>
                  <a:pt x="101" y="35"/>
                </a:lnTo>
                <a:lnTo>
                  <a:pt x="99" y="30"/>
                </a:lnTo>
                <a:lnTo>
                  <a:pt x="98" y="27"/>
                </a:lnTo>
                <a:lnTo>
                  <a:pt x="92" y="23"/>
                </a:lnTo>
                <a:lnTo>
                  <a:pt x="89" y="18"/>
                </a:lnTo>
                <a:lnTo>
                  <a:pt x="88" y="16"/>
                </a:lnTo>
                <a:lnTo>
                  <a:pt x="89" y="13"/>
                </a:lnTo>
                <a:lnTo>
                  <a:pt x="88" y="12"/>
                </a:lnTo>
                <a:lnTo>
                  <a:pt x="85" y="9"/>
                </a:lnTo>
                <a:lnTo>
                  <a:pt x="84" y="8"/>
                </a:lnTo>
                <a:lnTo>
                  <a:pt x="85" y="5"/>
                </a:lnTo>
                <a:lnTo>
                  <a:pt x="85" y="2"/>
                </a:lnTo>
                <a:lnTo>
                  <a:pt x="87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40" name="Freeform 940"/>
          <p:cNvSpPr>
            <a:spLocks/>
          </p:cNvSpPr>
          <p:nvPr/>
        </p:nvSpPr>
        <p:spPr bwMode="auto">
          <a:xfrm>
            <a:off x="3968750" y="3211478"/>
            <a:ext cx="185737" cy="157163"/>
          </a:xfrm>
          <a:custGeom>
            <a:avLst/>
            <a:gdLst>
              <a:gd name="T0" fmla="*/ 51 w 117"/>
              <a:gd name="T1" fmla="*/ 4 h 99"/>
              <a:gd name="T2" fmla="*/ 42 w 117"/>
              <a:gd name="T3" fmla="*/ 5 h 99"/>
              <a:gd name="T4" fmla="*/ 35 w 117"/>
              <a:gd name="T5" fmla="*/ 3 h 99"/>
              <a:gd name="T6" fmla="*/ 30 w 117"/>
              <a:gd name="T7" fmla="*/ 0 h 99"/>
              <a:gd name="T8" fmla="*/ 23 w 117"/>
              <a:gd name="T9" fmla="*/ 4 h 99"/>
              <a:gd name="T10" fmla="*/ 20 w 117"/>
              <a:gd name="T11" fmla="*/ 7 h 99"/>
              <a:gd name="T12" fmla="*/ 20 w 117"/>
              <a:gd name="T13" fmla="*/ 17 h 99"/>
              <a:gd name="T14" fmla="*/ 4 w 117"/>
              <a:gd name="T15" fmla="*/ 25 h 99"/>
              <a:gd name="T16" fmla="*/ 0 w 117"/>
              <a:gd name="T17" fmla="*/ 35 h 99"/>
              <a:gd name="T18" fmla="*/ 4 w 117"/>
              <a:gd name="T19" fmla="*/ 32 h 99"/>
              <a:gd name="T20" fmla="*/ 8 w 117"/>
              <a:gd name="T21" fmla="*/ 42 h 99"/>
              <a:gd name="T22" fmla="*/ 18 w 117"/>
              <a:gd name="T23" fmla="*/ 51 h 99"/>
              <a:gd name="T24" fmla="*/ 25 w 117"/>
              <a:gd name="T25" fmla="*/ 61 h 99"/>
              <a:gd name="T26" fmla="*/ 30 w 117"/>
              <a:gd name="T27" fmla="*/ 66 h 99"/>
              <a:gd name="T28" fmla="*/ 35 w 117"/>
              <a:gd name="T29" fmla="*/ 62 h 99"/>
              <a:gd name="T30" fmla="*/ 41 w 117"/>
              <a:gd name="T31" fmla="*/ 54 h 99"/>
              <a:gd name="T32" fmla="*/ 46 w 117"/>
              <a:gd name="T33" fmla="*/ 52 h 99"/>
              <a:gd name="T34" fmla="*/ 61 w 117"/>
              <a:gd name="T35" fmla="*/ 49 h 99"/>
              <a:gd name="T36" fmla="*/ 66 w 117"/>
              <a:gd name="T37" fmla="*/ 56 h 99"/>
              <a:gd name="T38" fmla="*/ 69 w 117"/>
              <a:gd name="T39" fmla="*/ 61 h 99"/>
              <a:gd name="T40" fmla="*/ 69 w 117"/>
              <a:gd name="T41" fmla="*/ 65 h 99"/>
              <a:gd name="T42" fmla="*/ 72 w 117"/>
              <a:gd name="T43" fmla="*/ 73 h 99"/>
              <a:gd name="T44" fmla="*/ 73 w 117"/>
              <a:gd name="T45" fmla="*/ 77 h 99"/>
              <a:gd name="T46" fmla="*/ 76 w 117"/>
              <a:gd name="T47" fmla="*/ 78 h 99"/>
              <a:gd name="T48" fmla="*/ 81 w 117"/>
              <a:gd name="T49" fmla="*/ 77 h 99"/>
              <a:gd name="T50" fmla="*/ 86 w 117"/>
              <a:gd name="T51" fmla="*/ 77 h 99"/>
              <a:gd name="T52" fmla="*/ 91 w 117"/>
              <a:gd name="T53" fmla="*/ 89 h 99"/>
              <a:gd name="T54" fmla="*/ 88 w 117"/>
              <a:gd name="T55" fmla="*/ 97 h 99"/>
              <a:gd name="T56" fmla="*/ 94 w 117"/>
              <a:gd name="T57" fmla="*/ 99 h 99"/>
              <a:gd name="T58" fmla="*/ 101 w 117"/>
              <a:gd name="T59" fmla="*/ 95 h 99"/>
              <a:gd name="T60" fmla="*/ 105 w 117"/>
              <a:gd name="T61" fmla="*/ 93 h 99"/>
              <a:gd name="T62" fmla="*/ 112 w 117"/>
              <a:gd name="T63" fmla="*/ 85 h 99"/>
              <a:gd name="T64" fmla="*/ 112 w 117"/>
              <a:gd name="T65" fmla="*/ 82 h 99"/>
              <a:gd name="T66" fmla="*/ 108 w 117"/>
              <a:gd name="T67" fmla="*/ 77 h 99"/>
              <a:gd name="T68" fmla="*/ 114 w 117"/>
              <a:gd name="T69" fmla="*/ 77 h 99"/>
              <a:gd name="T70" fmla="*/ 116 w 117"/>
              <a:gd name="T71" fmla="*/ 76 h 99"/>
              <a:gd name="T72" fmla="*/ 114 w 117"/>
              <a:gd name="T73" fmla="*/ 71 h 99"/>
              <a:gd name="T74" fmla="*/ 116 w 117"/>
              <a:gd name="T75" fmla="*/ 66 h 99"/>
              <a:gd name="T76" fmla="*/ 109 w 117"/>
              <a:gd name="T77" fmla="*/ 58 h 99"/>
              <a:gd name="T78" fmla="*/ 111 w 117"/>
              <a:gd name="T79" fmla="*/ 48 h 99"/>
              <a:gd name="T80" fmla="*/ 111 w 117"/>
              <a:gd name="T81" fmla="*/ 42 h 99"/>
              <a:gd name="T82" fmla="*/ 107 w 117"/>
              <a:gd name="T83" fmla="*/ 30 h 99"/>
              <a:gd name="T84" fmla="*/ 102 w 117"/>
              <a:gd name="T85" fmla="*/ 30 h 99"/>
              <a:gd name="T86" fmla="*/ 105 w 117"/>
              <a:gd name="T87" fmla="*/ 25 h 99"/>
              <a:gd name="T88" fmla="*/ 104 w 117"/>
              <a:gd name="T89" fmla="*/ 22 h 99"/>
              <a:gd name="T90" fmla="*/ 99 w 117"/>
              <a:gd name="T91" fmla="*/ 13 h 99"/>
              <a:gd name="T92" fmla="*/ 97 w 117"/>
              <a:gd name="T93" fmla="*/ 8 h 99"/>
              <a:gd name="T94" fmla="*/ 95 w 117"/>
              <a:gd name="T95" fmla="*/ 3 h 99"/>
              <a:gd name="T96" fmla="*/ 91 w 117"/>
              <a:gd name="T97" fmla="*/ 3 h 99"/>
              <a:gd name="T98" fmla="*/ 85 w 117"/>
              <a:gd name="T99" fmla="*/ 12 h 99"/>
              <a:gd name="T100" fmla="*/ 74 w 117"/>
              <a:gd name="T101" fmla="*/ 10 h 99"/>
              <a:gd name="T102" fmla="*/ 67 w 117"/>
              <a:gd name="T103" fmla="*/ 8 h 99"/>
              <a:gd name="T104" fmla="*/ 61 w 117"/>
              <a:gd name="T105" fmla="*/ 12 h 99"/>
              <a:gd name="T106" fmla="*/ 58 w 117"/>
              <a:gd name="T107" fmla="*/ 5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17" h="99">
                <a:moveTo>
                  <a:pt x="59" y="4"/>
                </a:moveTo>
                <a:lnTo>
                  <a:pt x="57" y="4"/>
                </a:lnTo>
                <a:lnTo>
                  <a:pt x="55" y="5"/>
                </a:lnTo>
                <a:lnTo>
                  <a:pt x="54" y="5"/>
                </a:lnTo>
                <a:lnTo>
                  <a:pt x="51" y="4"/>
                </a:lnTo>
                <a:lnTo>
                  <a:pt x="49" y="5"/>
                </a:lnTo>
                <a:lnTo>
                  <a:pt x="47" y="5"/>
                </a:lnTo>
                <a:lnTo>
                  <a:pt x="46" y="6"/>
                </a:lnTo>
                <a:lnTo>
                  <a:pt x="44" y="6"/>
                </a:lnTo>
                <a:lnTo>
                  <a:pt x="42" y="5"/>
                </a:lnTo>
                <a:lnTo>
                  <a:pt x="42" y="5"/>
                </a:lnTo>
                <a:lnTo>
                  <a:pt x="39" y="4"/>
                </a:lnTo>
                <a:lnTo>
                  <a:pt x="37" y="4"/>
                </a:lnTo>
                <a:lnTo>
                  <a:pt x="35" y="3"/>
                </a:lnTo>
                <a:lnTo>
                  <a:pt x="35" y="3"/>
                </a:lnTo>
                <a:lnTo>
                  <a:pt x="34" y="4"/>
                </a:lnTo>
                <a:lnTo>
                  <a:pt x="33" y="4"/>
                </a:lnTo>
                <a:lnTo>
                  <a:pt x="33" y="2"/>
                </a:lnTo>
                <a:lnTo>
                  <a:pt x="32" y="1"/>
                </a:lnTo>
                <a:lnTo>
                  <a:pt x="30" y="0"/>
                </a:lnTo>
                <a:lnTo>
                  <a:pt x="27" y="1"/>
                </a:lnTo>
                <a:lnTo>
                  <a:pt x="26" y="0"/>
                </a:lnTo>
                <a:lnTo>
                  <a:pt x="22" y="0"/>
                </a:lnTo>
                <a:lnTo>
                  <a:pt x="22" y="2"/>
                </a:lnTo>
                <a:lnTo>
                  <a:pt x="23" y="4"/>
                </a:lnTo>
                <a:lnTo>
                  <a:pt x="23" y="5"/>
                </a:lnTo>
                <a:lnTo>
                  <a:pt x="23" y="7"/>
                </a:lnTo>
                <a:lnTo>
                  <a:pt x="22" y="7"/>
                </a:lnTo>
                <a:lnTo>
                  <a:pt x="20" y="7"/>
                </a:lnTo>
                <a:lnTo>
                  <a:pt x="20" y="7"/>
                </a:lnTo>
                <a:lnTo>
                  <a:pt x="18" y="10"/>
                </a:lnTo>
                <a:lnTo>
                  <a:pt x="21" y="11"/>
                </a:lnTo>
                <a:lnTo>
                  <a:pt x="22" y="12"/>
                </a:lnTo>
                <a:lnTo>
                  <a:pt x="22" y="17"/>
                </a:lnTo>
                <a:lnTo>
                  <a:pt x="20" y="17"/>
                </a:lnTo>
                <a:lnTo>
                  <a:pt x="18" y="18"/>
                </a:lnTo>
                <a:lnTo>
                  <a:pt x="13" y="18"/>
                </a:lnTo>
                <a:lnTo>
                  <a:pt x="7" y="21"/>
                </a:lnTo>
                <a:lnTo>
                  <a:pt x="6" y="23"/>
                </a:lnTo>
                <a:lnTo>
                  <a:pt x="4" y="25"/>
                </a:lnTo>
                <a:lnTo>
                  <a:pt x="4" y="28"/>
                </a:lnTo>
                <a:lnTo>
                  <a:pt x="3" y="30"/>
                </a:lnTo>
                <a:lnTo>
                  <a:pt x="2" y="31"/>
                </a:lnTo>
                <a:lnTo>
                  <a:pt x="0" y="32"/>
                </a:lnTo>
                <a:lnTo>
                  <a:pt x="0" y="35"/>
                </a:lnTo>
                <a:lnTo>
                  <a:pt x="1" y="35"/>
                </a:lnTo>
                <a:lnTo>
                  <a:pt x="2" y="35"/>
                </a:lnTo>
                <a:lnTo>
                  <a:pt x="2" y="35"/>
                </a:lnTo>
                <a:lnTo>
                  <a:pt x="4" y="32"/>
                </a:lnTo>
                <a:lnTo>
                  <a:pt x="4" y="32"/>
                </a:lnTo>
                <a:lnTo>
                  <a:pt x="5" y="32"/>
                </a:lnTo>
                <a:lnTo>
                  <a:pt x="5" y="36"/>
                </a:lnTo>
                <a:lnTo>
                  <a:pt x="8" y="36"/>
                </a:lnTo>
                <a:lnTo>
                  <a:pt x="8" y="37"/>
                </a:lnTo>
                <a:lnTo>
                  <a:pt x="8" y="42"/>
                </a:lnTo>
                <a:lnTo>
                  <a:pt x="10" y="45"/>
                </a:lnTo>
                <a:lnTo>
                  <a:pt x="11" y="47"/>
                </a:lnTo>
                <a:lnTo>
                  <a:pt x="13" y="47"/>
                </a:lnTo>
                <a:lnTo>
                  <a:pt x="15" y="49"/>
                </a:lnTo>
                <a:lnTo>
                  <a:pt x="18" y="51"/>
                </a:lnTo>
                <a:lnTo>
                  <a:pt x="21" y="54"/>
                </a:lnTo>
                <a:lnTo>
                  <a:pt x="21" y="57"/>
                </a:lnTo>
                <a:lnTo>
                  <a:pt x="24" y="58"/>
                </a:lnTo>
                <a:lnTo>
                  <a:pt x="24" y="61"/>
                </a:lnTo>
                <a:lnTo>
                  <a:pt x="25" y="61"/>
                </a:lnTo>
                <a:lnTo>
                  <a:pt x="25" y="62"/>
                </a:lnTo>
                <a:lnTo>
                  <a:pt x="26" y="63"/>
                </a:lnTo>
                <a:lnTo>
                  <a:pt x="27" y="65"/>
                </a:lnTo>
                <a:lnTo>
                  <a:pt x="28" y="65"/>
                </a:lnTo>
                <a:lnTo>
                  <a:pt x="30" y="66"/>
                </a:lnTo>
                <a:lnTo>
                  <a:pt x="32" y="66"/>
                </a:lnTo>
                <a:lnTo>
                  <a:pt x="32" y="65"/>
                </a:lnTo>
                <a:lnTo>
                  <a:pt x="33" y="65"/>
                </a:lnTo>
                <a:lnTo>
                  <a:pt x="34" y="62"/>
                </a:lnTo>
                <a:lnTo>
                  <a:pt x="35" y="62"/>
                </a:lnTo>
                <a:lnTo>
                  <a:pt x="36" y="61"/>
                </a:lnTo>
                <a:lnTo>
                  <a:pt x="36" y="59"/>
                </a:lnTo>
                <a:lnTo>
                  <a:pt x="38" y="58"/>
                </a:lnTo>
                <a:lnTo>
                  <a:pt x="39" y="56"/>
                </a:lnTo>
                <a:lnTo>
                  <a:pt x="41" y="54"/>
                </a:lnTo>
                <a:lnTo>
                  <a:pt x="41" y="52"/>
                </a:lnTo>
                <a:lnTo>
                  <a:pt x="42" y="51"/>
                </a:lnTo>
                <a:lnTo>
                  <a:pt x="44" y="51"/>
                </a:lnTo>
                <a:lnTo>
                  <a:pt x="45" y="52"/>
                </a:lnTo>
                <a:lnTo>
                  <a:pt x="46" y="52"/>
                </a:lnTo>
                <a:lnTo>
                  <a:pt x="47" y="51"/>
                </a:lnTo>
                <a:lnTo>
                  <a:pt x="49" y="51"/>
                </a:lnTo>
                <a:lnTo>
                  <a:pt x="49" y="48"/>
                </a:lnTo>
                <a:lnTo>
                  <a:pt x="57" y="48"/>
                </a:lnTo>
                <a:lnTo>
                  <a:pt x="61" y="49"/>
                </a:lnTo>
                <a:lnTo>
                  <a:pt x="62" y="52"/>
                </a:lnTo>
                <a:lnTo>
                  <a:pt x="64" y="53"/>
                </a:lnTo>
                <a:lnTo>
                  <a:pt x="65" y="55"/>
                </a:lnTo>
                <a:lnTo>
                  <a:pt x="66" y="55"/>
                </a:lnTo>
                <a:lnTo>
                  <a:pt x="66" y="56"/>
                </a:lnTo>
                <a:lnTo>
                  <a:pt x="67" y="57"/>
                </a:lnTo>
                <a:lnTo>
                  <a:pt x="66" y="58"/>
                </a:lnTo>
                <a:lnTo>
                  <a:pt x="66" y="59"/>
                </a:lnTo>
                <a:lnTo>
                  <a:pt x="68" y="59"/>
                </a:lnTo>
                <a:lnTo>
                  <a:pt x="69" y="61"/>
                </a:lnTo>
                <a:lnTo>
                  <a:pt x="69" y="62"/>
                </a:lnTo>
                <a:lnTo>
                  <a:pt x="69" y="62"/>
                </a:lnTo>
                <a:lnTo>
                  <a:pt x="69" y="64"/>
                </a:lnTo>
                <a:lnTo>
                  <a:pt x="69" y="64"/>
                </a:lnTo>
                <a:lnTo>
                  <a:pt x="69" y="65"/>
                </a:lnTo>
                <a:lnTo>
                  <a:pt x="69" y="66"/>
                </a:lnTo>
                <a:lnTo>
                  <a:pt x="72" y="67"/>
                </a:lnTo>
                <a:lnTo>
                  <a:pt x="72" y="68"/>
                </a:lnTo>
                <a:lnTo>
                  <a:pt x="72" y="72"/>
                </a:lnTo>
                <a:lnTo>
                  <a:pt x="72" y="73"/>
                </a:lnTo>
                <a:lnTo>
                  <a:pt x="71" y="73"/>
                </a:lnTo>
                <a:lnTo>
                  <a:pt x="69" y="76"/>
                </a:lnTo>
                <a:lnTo>
                  <a:pt x="68" y="78"/>
                </a:lnTo>
                <a:lnTo>
                  <a:pt x="68" y="79"/>
                </a:lnTo>
                <a:lnTo>
                  <a:pt x="73" y="77"/>
                </a:lnTo>
                <a:lnTo>
                  <a:pt x="74" y="76"/>
                </a:lnTo>
                <a:lnTo>
                  <a:pt x="75" y="76"/>
                </a:lnTo>
                <a:lnTo>
                  <a:pt x="75" y="77"/>
                </a:lnTo>
                <a:lnTo>
                  <a:pt x="75" y="78"/>
                </a:lnTo>
                <a:lnTo>
                  <a:pt x="76" y="78"/>
                </a:lnTo>
                <a:lnTo>
                  <a:pt x="77" y="76"/>
                </a:lnTo>
                <a:lnTo>
                  <a:pt x="78" y="75"/>
                </a:lnTo>
                <a:lnTo>
                  <a:pt x="79" y="76"/>
                </a:lnTo>
                <a:lnTo>
                  <a:pt x="81" y="77"/>
                </a:lnTo>
                <a:lnTo>
                  <a:pt x="81" y="77"/>
                </a:lnTo>
                <a:lnTo>
                  <a:pt x="82" y="76"/>
                </a:lnTo>
                <a:lnTo>
                  <a:pt x="84" y="75"/>
                </a:lnTo>
                <a:lnTo>
                  <a:pt x="85" y="76"/>
                </a:lnTo>
                <a:lnTo>
                  <a:pt x="85" y="76"/>
                </a:lnTo>
                <a:lnTo>
                  <a:pt x="86" y="77"/>
                </a:lnTo>
                <a:lnTo>
                  <a:pt x="88" y="79"/>
                </a:lnTo>
                <a:lnTo>
                  <a:pt x="88" y="82"/>
                </a:lnTo>
                <a:lnTo>
                  <a:pt x="89" y="84"/>
                </a:lnTo>
                <a:lnTo>
                  <a:pt x="89" y="88"/>
                </a:lnTo>
                <a:lnTo>
                  <a:pt x="91" y="89"/>
                </a:lnTo>
                <a:lnTo>
                  <a:pt x="89" y="94"/>
                </a:lnTo>
                <a:lnTo>
                  <a:pt x="89" y="95"/>
                </a:lnTo>
                <a:lnTo>
                  <a:pt x="88" y="96"/>
                </a:lnTo>
                <a:lnTo>
                  <a:pt x="88" y="96"/>
                </a:lnTo>
                <a:lnTo>
                  <a:pt x="88" y="97"/>
                </a:lnTo>
                <a:lnTo>
                  <a:pt x="89" y="97"/>
                </a:lnTo>
                <a:lnTo>
                  <a:pt x="91" y="96"/>
                </a:lnTo>
                <a:lnTo>
                  <a:pt x="92" y="96"/>
                </a:lnTo>
                <a:lnTo>
                  <a:pt x="93" y="97"/>
                </a:lnTo>
                <a:lnTo>
                  <a:pt x="94" y="99"/>
                </a:lnTo>
                <a:lnTo>
                  <a:pt x="96" y="99"/>
                </a:lnTo>
                <a:lnTo>
                  <a:pt x="96" y="98"/>
                </a:lnTo>
                <a:lnTo>
                  <a:pt x="98" y="98"/>
                </a:lnTo>
                <a:lnTo>
                  <a:pt x="98" y="97"/>
                </a:lnTo>
                <a:lnTo>
                  <a:pt x="101" y="95"/>
                </a:lnTo>
                <a:lnTo>
                  <a:pt x="101" y="93"/>
                </a:lnTo>
                <a:lnTo>
                  <a:pt x="102" y="92"/>
                </a:lnTo>
                <a:lnTo>
                  <a:pt x="103" y="92"/>
                </a:lnTo>
                <a:lnTo>
                  <a:pt x="104" y="94"/>
                </a:lnTo>
                <a:lnTo>
                  <a:pt x="105" y="93"/>
                </a:lnTo>
                <a:lnTo>
                  <a:pt x="109" y="93"/>
                </a:lnTo>
                <a:lnTo>
                  <a:pt x="109" y="92"/>
                </a:lnTo>
                <a:lnTo>
                  <a:pt x="111" y="89"/>
                </a:lnTo>
                <a:lnTo>
                  <a:pt x="111" y="87"/>
                </a:lnTo>
                <a:lnTo>
                  <a:pt x="112" y="85"/>
                </a:lnTo>
                <a:lnTo>
                  <a:pt x="113" y="84"/>
                </a:lnTo>
                <a:lnTo>
                  <a:pt x="112" y="84"/>
                </a:lnTo>
                <a:lnTo>
                  <a:pt x="112" y="84"/>
                </a:lnTo>
                <a:lnTo>
                  <a:pt x="112" y="83"/>
                </a:lnTo>
                <a:lnTo>
                  <a:pt x="112" y="82"/>
                </a:lnTo>
                <a:lnTo>
                  <a:pt x="111" y="82"/>
                </a:lnTo>
                <a:lnTo>
                  <a:pt x="108" y="82"/>
                </a:lnTo>
                <a:lnTo>
                  <a:pt x="108" y="81"/>
                </a:lnTo>
                <a:lnTo>
                  <a:pt x="108" y="79"/>
                </a:lnTo>
                <a:lnTo>
                  <a:pt x="108" y="77"/>
                </a:lnTo>
                <a:lnTo>
                  <a:pt x="108" y="77"/>
                </a:lnTo>
                <a:lnTo>
                  <a:pt x="108" y="77"/>
                </a:lnTo>
                <a:lnTo>
                  <a:pt x="111" y="76"/>
                </a:lnTo>
                <a:lnTo>
                  <a:pt x="113" y="76"/>
                </a:lnTo>
                <a:lnTo>
                  <a:pt x="114" y="77"/>
                </a:lnTo>
                <a:lnTo>
                  <a:pt x="115" y="77"/>
                </a:lnTo>
                <a:lnTo>
                  <a:pt x="116" y="77"/>
                </a:lnTo>
                <a:lnTo>
                  <a:pt x="116" y="79"/>
                </a:lnTo>
                <a:lnTo>
                  <a:pt x="117" y="79"/>
                </a:lnTo>
                <a:lnTo>
                  <a:pt x="116" y="76"/>
                </a:lnTo>
                <a:lnTo>
                  <a:pt x="117" y="75"/>
                </a:lnTo>
                <a:lnTo>
                  <a:pt x="116" y="74"/>
                </a:lnTo>
                <a:lnTo>
                  <a:pt x="116" y="72"/>
                </a:lnTo>
                <a:lnTo>
                  <a:pt x="115" y="72"/>
                </a:lnTo>
                <a:lnTo>
                  <a:pt x="114" y="71"/>
                </a:lnTo>
                <a:lnTo>
                  <a:pt x="113" y="72"/>
                </a:lnTo>
                <a:lnTo>
                  <a:pt x="114" y="68"/>
                </a:lnTo>
                <a:lnTo>
                  <a:pt x="115" y="67"/>
                </a:lnTo>
                <a:lnTo>
                  <a:pt x="116" y="66"/>
                </a:lnTo>
                <a:lnTo>
                  <a:pt x="116" y="66"/>
                </a:lnTo>
                <a:lnTo>
                  <a:pt x="115" y="64"/>
                </a:lnTo>
                <a:lnTo>
                  <a:pt x="114" y="65"/>
                </a:lnTo>
                <a:lnTo>
                  <a:pt x="114" y="59"/>
                </a:lnTo>
                <a:lnTo>
                  <a:pt x="112" y="61"/>
                </a:lnTo>
                <a:lnTo>
                  <a:pt x="109" y="58"/>
                </a:lnTo>
                <a:lnTo>
                  <a:pt x="109" y="58"/>
                </a:lnTo>
                <a:lnTo>
                  <a:pt x="111" y="53"/>
                </a:lnTo>
                <a:lnTo>
                  <a:pt x="109" y="49"/>
                </a:lnTo>
                <a:lnTo>
                  <a:pt x="111" y="48"/>
                </a:lnTo>
                <a:lnTo>
                  <a:pt x="111" y="48"/>
                </a:lnTo>
                <a:lnTo>
                  <a:pt x="113" y="46"/>
                </a:lnTo>
                <a:lnTo>
                  <a:pt x="113" y="45"/>
                </a:lnTo>
                <a:lnTo>
                  <a:pt x="113" y="44"/>
                </a:lnTo>
                <a:lnTo>
                  <a:pt x="112" y="43"/>
                </a:lnTo>
                <a:lnTo>
                  <a:pt x="111" y="42"/>
                </a:lnTo>
                <a:lnTo>
                  <a:pt x="111" y="41"/>
                </a:lnTo>
                <a:lnTo>
                  <a:pt x="108" y="41"/>
                </a:lnTo>
                <a:lnTo>
                  <a:pt x="107" y="38"/>
                </a:lnTo>
                <a:lnTo>
                  <a:pt x="107" y="31"/>
                </a:lnTo>
                <a:lnTo>
                  <a:pt x="107" y="30"/>
                </a:lnTo>
                <a:lnTo>
                  <a:pt x="106" y="30"/>
                </a:lnTo>
                <a:lnTo>
                  <a:pt x="104" y="30"/>
                </a:lnTo>
                <a:lnTo>
                  <a:pt x="103" y="32"/>
                </a:lnTo>
                <a:lnTo>
                  <a:pt x="102" y="32"/>
                </a:lnTo>
                <a:lnTo>
                  <a:pt x="102" y="30"/>
                </a:lnTo>
                <a:lnTo>
                  <a:pt x="102" y="28"/>
                </a:lnTo>
                <a:lnTo>
                  <a:pt x="104" y="27"/>
                </a:lnTo>
                <a:lnTo>
                  <a:pt x="104" y="26"/>
                </a:lnTo>
                <a:lnTo>
                  <a:pt x="105" y="26"/>
                </a:lnTo>
                <a:lnTo>
                  <a:pt x="105" y="25"/>
                </a:lnTo>
                <a:lnTo>
                  <a:pt x="106" y="25"/>
                </a:lnTo>
                <a:lnTo>
                  <a:pt x="106" y="23"/>
                </a:lnTo>
                <a:lnTo>
                  <a:pt x="106" y="23"/>
                </a:lnTo>
                <a:lnTo>
                  <a:pt x="105" y="23"/>
                </a:lnTo>
                <a:lnTo>
                  <a:pt x="104" y="22"/>
                </a:lnTo>
                <a:lnTo>
                  <a:pt x="103" y="21"/>
                </a:lnTo>
                <a:lnTo>
                  <a:pt x="102" y="18"/>
                </a:lnTo>
                <a:lnTo>
                  <a:pt x="99" y="18"/>
                </a:lnTo>
                <a:lnTo>
                  <a:pt x="99" y="18"/>
                </a:lnTo>
                <a:lnTo>
                  <a:pt x="99" y="13"/>
                </a:lnTo>
                <a:lnTo>
                  <a:pt x="99" y="11"/>
                </a:lnTo>
                <a:lnTo>
                  <a:pt x="98" y="11"/>
                </a:lnTo>
                <a:lnTo>
                  <a:pt x="98" y="8"/>
                </a:lnTo>
                <a:lnTo>
                  <a:pt x="98" y="8"/>
                </a:lnTo>
                <a:lnTo>
                  <a:pt x="97" y="8"/>
                </a:lnTo>
                <a:lnTo>
                  <a:pt x="96" y="8"/>
                </a:lnTo>
                <a:lnTo>
                  <a:pt x="97" y="4"/>
                </a:lnTo>
                <a:lnTo>
                  <a:pt x="97" y="4"/>
                </a:lnTo>
                <a:lnTo>
                  <a:pt x="96" y="3"/>
                </a:lnTo>
                <a:lnTo>
                  <a:pt x="95" y="3"/>
                </a:lnTo>
                <a:lnTo>
                  <a:pt x="94" y="4"/>
                </a:lnTo>
                <a:lnTo>
                  <a:pt x="94" y="4"/>
                </a:lnTo>
                <a:lnTo>
                  <a:pt x="92" y="3"/>
                </a:lnTo>
                <a:lnTo>
                  <a:pt x="91" y="3"/>
                </a:lnTo>
                <a:lnTo>
                  <a:pt x="91" y="3"/>
                </a:lnTo>
                <a:lnTo>
                  <a:pt x="91" y="6"/>
                </a:lnTo>
                <a:lnTo>
                  <a:pt x="89" y="7"/>
                </a:lnTo>
                <a:lnTo>
                  <a:pt x="86" y="8"/>
                </a:lnTo>
                <a:lnTo>
                  <a:pt x="86" y="10"/>
                </a:lnTo>
                <a:lnTo>
                  <a:pt x="85" y="12"/>
                </a:lnTo>
                <a:lnTo>
                  <a:pt x="81" y="10"/>
                </a:lnTo>
                <a:lnTo>
                  <a:pt x="78" y="8"/>
                </a:lnTo>
                <a:lnTo>
                  <a:pt x="76" y="7"/>
                </a:lnTo>
                <a:lnTo>
                  <a:pt x="75" y="7"/>
                </a:lnTo>
                <a:lnTo>
                  <a:pt x="74" y="10"/>
                </a:lnTo>
                <a:lnTo>
                  <a:pt x="73" y="11"/>
                </a:lnTo>
                <a:lnTo>
                  <a:pt x="72" y="12"/>
                </a:lnTo>
                <a:lnTo>
                  <a:pt x="71" y="13"/>
                </a:lnTo>
                <a:lnTo>
                  <a:pt x="69" y="13"/>
                </a:lnTo>
                <a:lnTo>
                  <a:pt x="67" y="8"/>
                </a:lnTo>
                <a:lnTo>
                  <a:pt x="66" y="8"/>
                </a:lnTo>
                <a:lnTo>
                  <a:pt x="64" y="8"/>
                </a:lnTo>
                <a:lnTo>
                  <a:pt x="63" y="11"/>
                </a:lnTo>
                <a:lnTo>
                  <a:pt x="62" y="12"/>
                </a:lnTo>
                <a:lnTo>
                  <a:pt x="61" y="12"/>
                </a:lnTo>
                <a:lnTo>
                  <a:pt x="58" y="11"/>
                </a:lnTo>
                <a:lnTo>
                  <a:pt x="57" y="10"/>
                </a:lnTo>
                <a:lnTo>
                  <a:pt x="57" y="8"/>
                </a:lnTo>
                <a:lnTo>
                  <a:pt x="58" y="6"/>
                </a:lnTo>
                <a:lnTo>
                  <a:pt x="58" y="5"/>
                </a:lnTo>
                <a:lnTo>
                  <a:pt x="59" y="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41" name="Freeform 941"/>
          <p:cNvSpPr>
            <a:spLocks/>
          </p:cNvSpPr>
          <p:nvPr/>
        </p:nvSpPr>
        <p:spPr bwMode="auto">
          <a:xfrm>
            <a:off x="3968750" y="3211478"/>
            <a:ext cx="185737" cy="157163"/>
          </a:xfrm>
          <a:custGeom>
            <a:avLst/>
            <a:gdLst>
              <a:gd name="T0" fmla="*/ 51 w 117"/>
              <a:gd name="T1" fmla="*/ 4 h 99"/>
              <a:gd name="T2" fmla="*/ 42 w 117"/>
              <a:gd name="T3" fmla="*/ 5 h 99"/>
              <a:gd name="T4" fmla="*/ 35 w 117"/>
              <a:gd name="T5" fmla="*/ 3 h 99"/>
              <a:gd name="T6" fmla="*/ 30 w 117"/>
              <a:gd name="T7" fmla="*/ 0 h 99"/>
              <a:gd name="T8" fmla="*/ 23 w 117"/>
              <a:gd name="T9" fmla="*/ 4 h 99"/>
              <a:gd name="T10" fmla="*/ 20 w 117"/>
              <a:gd name="T11" fmla="*/ 7 h 99"/>
              <a:gd name="T12" fmla="*/ 20 w 117"/>
              <a:gd name="T13" fmla="*/ 17 h 99"/>
              <a:gd name="T14" fmla="*/ 4 w 117"/>
              <a:gd name="T15" fmla="*/ 25 h 99"/>
              <a:gd name="T16" fmla="*/ 0 w 117"/>
              <a:gd name="T17" fmla="*/ 35 h 99"/>
              <a:gd name="T18" fmla="*/ 4 w 117"/>
              <a:gd name="T19" fmla="*/ 32 h 99"/>
              <a:gd name="T20" fmla="*/ 8 w 117"/>
              <a:gd name="T21" fmla="*/ 42 h 99"/>
              <a:gd name="T22" fmla="*/ 18 w 117"/>
              <a:gd name="T23" fmla="*/ 51 h 99"/>
              <a:gd name="T24" fmla="*/ 25 w 117"/>
              <a:gd name="T25" fmla="*/ 61 h 99"/>
              <a:gd name="T26" fmla="*/ 30 w 117"/>
              <a:gd name="T27" fmla="*/ 66 h 99"/>
              <a:gd name="T28" fmla="*/ 35 w 117"/>
              <a:gd name="T29" fmla="*/ 62 h 99"/>
              <a:gd name="T30" fmla="*/ 41 w 117"/>
              <a:gd name="T31" fmla="*/ 54 h 99"/>
              <a:gd name="T32" fmla="*/ 46 w 117"/>
              <a:gd name="T33" fmla="*/ 52 h 99"/>
              <a:gd name="T34" fmla="*/ 61 w 117"/>
              <a:gd name="T35" fmla="*/ 49 h 99"/>
              <a:gd name="T36" fmla="*/ 66 w 117"/>
              <a:gd name="T37" fmla="*/ 56 h 99"/>
              <a:gd name="T38" fmla="*/ 69 w 117"/>
              <a:gd name="T39" fmla="*/ 61 h 99"/>
              <a:gd name="T40" fmla="*/ 69 w 117"/>
              <a:gd name="T41" fmla="*/ 65 h 99"/>
              <a:gd name="T42" fmla="*/ 72 w 117"/>
              <a:gd name="T43" fmla="*/ 73 h 99"/>
              <a:gd name="T44" fmla="*/ 73 w 117"/>
              <a:gd name="T45" fmla="*/ 77 h 99"/>
              <a:gd name="T46" fmla="*/ 76 w 117"/>
              <a:gd name="T47" fmla="*/ 78 h 99"/>
              <a:gd name="T48" fmla="*/ 81 w 117"/>
              <a:gd name="T49" fmla="*/ 77 h 99"/>
              <a:gd name="T50" fmla="*/ 86 w 117"/>
              <a:gd name="T51" fmla="*/ 77 h 99"/>
              <a:gd name="T52" fmla="*/ 91 w 117"/>
              <a:gd name="T53" fmla="*/ 89 h 99"/>
              <a:gd name="T54" fmla="*/ 88 w 117"/>
              <a:gd name="T55" fmla="*/ 97 h 99"/>
              <a:gd name="T56" fmla="*/ 94 w 117"/>
              <a:gd name="T57" fmla="*/ 99 h 99"/>
              <a:gd name="T58" fmla="*/ 101 w 117"/>
              <a:gd name="T59" fmla="*/ 95 h 99"/>
              <a:gd name="T60" fmla="*/ 105 w 117"/>
              <a:gd name="T61" fmla="*/ 93 h 99"/>
              <a:gd name="T62" fmla="*/ 112 w 117"/>
              <a:gd name="T63" fmla="*/ 85 h 99"/>
              <a:gd name="T64" fmla="*/ 112 w 117"/>
              <a:gd name="T65" fmla="*/ 82 h 99"/>
              <a:gd name="T66" fmla="*/ 108 w 117"/>
              <a:gd name="T67" fmla="*/ 77 h 99"/>
              <a:gd name="T68" fmla="*/ 114 w 117"/>
              <a:gd name="T69" fmla="*/ 77 h 99"/>
              <a:gd name="T70" fmla="*/ 116 w 117"/>
              <a:gd name="T71" fmla="*/ 76 h 99"/>
              <a:gd name="T72" fmla="*/ 114 w 117"/>
              <a:gd name="T73" fmla="*/ 71 h 99"/>
              <a:gd name="T74" fmla="*/ 116 w 117"/>
              <a:gd name="T75" fmla="*/ 66 h 99"/>
              <a:gd name="T76" fmla="*/ 109 w 117"/>
              <a:gd name="T77" fmla="*/ 58 h 99"/>
              <a:gd name="T78" fmla="*/ 111 w 117"/>
              <a:gd name="T79" fmla="*/ 48 h 99"/>
              <a:gd name="T80" fmla="*/ 111 w 117"/>
              <a:gd name="T81" fmla="*/ 42 h 99"/>
              <a:gd name="T82" fmla="*/ 107 w 117"/>
              <a:gd name="T83" fmla="*/ 30 h 99"/>
              <a:gd name="T84" fmla="*/ 102 w 117"/>
              <a:gd name="T85" fmla="*/ 30 h 99"/>
              <a:gd name="T86" fmla="*/ 105 w 117"/>
              <a:gd name="T87" fmla="*/ 25 h 99"/>
              <a:gd name="T88" fmla="*/ 104 w 117"/>
              <a:gd name="T89" fmla="*/ 22 h 99"/>
              <a:gd name="T90" fmla="*/ 99 w 117"/>
              <a:gd name="T91" fmla="*/ 13 h 99"/>
              <a:gd name="T92" fmla="*/ 97 w 117"/>
              <a:gd name="T93" fmla="*/ 8 h 99"/>
              <a:gd name="T94" fmla="*/ 95 w 117"/>
              <a:gd name="T95" fmla="*/ 3 h 99"/>
              <a:gd name="T96" fmla="*/ 91 w 117"/>
              <a:gd name="T97" fmla="*/ 3 h 99"/>
              <a:gd name="T98" fmla="*/ 85 w 117"/>
              <a:gd name="T99" fmla="*/ 12 h 99"/>
              <a:gd name="T100" fmla="*/ 74 w 117"/>
              <a:gd name="T101" fmla="*/ 10 h 99"/>
              <a:gd name="T102" fmla="*/ 67 w 117"/>
              <a:gd name="T103" fmla="*/ 8 h 99"/>
              <a:gd name="T104" fmla="*/ 61 w 117"/>
              <a:gd name="T105" fmla="*/ 12 h 99"/>
              <a:gd name="T106" fmla="*/ 58 w 117"/>
              <a:gd name="T107" fmla="*/ 5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17" h="99">
                <a:moveTo>
                  <a:pt x="59" y="4"/>
                </a:moveTo>
                <a:lnTo>
                  <a:pt x="57" y="4"/>
                </a:lnTo>
                <a:lnTo>
                  <a:pt x="55" y="5"/>
                </a:lnTo>
                <a:lnTo>
                  <a:pt x="54" y="5"/>
                </a:lnTo>
                <a:lnTo>
                  <a:pt x="51" y="4"/>
                </a:lnTo>
                <a:lnTo>
                  <a:pt x="49" y="5"/>
                </a:lnTo>
                <a:lnTo>
                  <a:pt x="47" y="5"/>
                </a:lnTo>
                <a:lnTo>
                  <a:pt x="46" y="6"/>
                </a:lnTo>
                <a:lnTo>
                  <a:pt x="44" y="6"/>
                </a:lnTo>
                <a:lnTo>
                  <a:pt x="42" y="5"/>
                </a:lnTo>
                <a:lnTo>
                  <a:pt x="42" y="5"/>
                </a:lnTo>
                <a:lnTo>
                  <a:pt x="39" y="4"/>
                </a:lnTo>
                <a:lnTo>
                  <a:pt x="37" y="4"/>
                </a:lnTo>
                <a:lnTo>
                  <a:pt x="35" y="3"/>
                </a:lnTo>
                <a:lnTo>
                  <a:pt x="35" y="3"/>
                </a:lnTo>
                <a:lnTo>
                  <a:pt x="34" y="4"/>
                </a:lnTo>
                <a:lnTo>
                  <a:pt x="33" y="4"/>
                </a:lnTo>
                <a:lnTo>
                  <a:pt x="33" y="2"/>
                </a:lnTo>
                <a:lnTo>
                  <a:pt x="32" y="1"/>
                </a:lnTo>
                <a:lnTo>
                  <a:pt x="30" y="0"/>
                </a:lnTo>
                <a:lnTo>
                  <a:pt x="27" y="1"/>
                </a:lnTo>
                <a:lnTo>
                  <a:pt x="26" y="0"/>
                </a:lnTo>
                <a:lnTo>
                  <a:pt x="22" y="0"/>
                </a:lnTo>
                <a:lnTo>
                  <a:pt x="22" y="2"/>
                </a:lnTo>
                <a:lnTo>
                  <a:pt x="23" y="4"/>
                </a:lnTo>
                <a:lnTo>
                  <a:pt x="23" y="5"/>
                </a:lnTo>
                <a:lnTo>
                  <a:pt x="23" y="7"/>
                </a:lnTo>
                <a:lnTo>
                  <a:pt x="22" y="7"/>
                </a:lnTo>
                <a:lnTo>
                  <a:pt x="20" y="7"/>
                </a:lnTo>
                <a:lnTo>
                  <a:pt x="20" y="7"/>
                </a:lnTo>
                <a:lnTo>
                  <a:pt x="18" y="10"/>
                </a:lnTo>
                <a:lnTo>
                  <a:pt x="21" y="11"/>
                </a:lnTo>
                <a:lnTo>
                  <a:pt x="22" y="12"/>
                </a:lnTo>
                <a:lnTo>
                  <a:pt x="22" y="17"/>
                </a:lnTo>
                <a:lnTo>
                  <a:pt x="20" y="17"/>
                </a:lnTo>
                <a:lnTo>
                  <a:pt x="18" y="18"/>
                </a:lnTo>
                <a:lnTo>
                  <a:pt x="13" y="18"/>
                </a:lnTo>
                <a:lnTo>
                  <a:pt x="7" y="21"/>
                </a:lnTo>
                <a:lnTo>
                  <a:pt x="6" y="23"/>
                </a:lnTo>
                <a:lnTo>
                  <a:pt x="4" y="25"/>
                </a:lnTo>
                <a:lnTo>
                  <a:pt x="4" y="28"/>
                </a:lnTo>
                <a:lnTo>
                  <a:pt x="3" y="30"/>
                </a:lnTo>
                <a:lnTo>
                  <a:pt x="2" y="31"/>
                </a:lnTo>
                <a:lnTo>
                  <a:pt x="0" y="32"/>
                </a:lnTo>
                <a:lnTo>
                  <a:pt x="0" y="35"/>
                </a:lnTo>
                <a:lnTo>
                  <a:pt x="1" y="35"/>
                </a:lnTo>
                <a:lnTo>
                  <a:pt x="2" y="35"/>
                </a:lnTo>
                <a:lnTo>
                  <a:pt x="2" y="35"/>
                </a:lnTo>
                <a:lnTo>
                  <a:pt x="4" y="32"/>
                </a:lnTo>
                <a:lnTo>
                  <a:pt x="4" y="32"/>
                </a:lnTo>
                <a:lnTo>
                  <a:pt x="5" y="32"/>
                </a:lnTo>
                <a:lnTo>
                  <a:pt x="5" y="36"/>
                </a:lnTo>
                <a:lnTo>
                  <a:pt x="8" y="36"/>
                </a:lnTo>
                <a:lnTo>
                  <a:pt x="8" y="37"/>
                </a:lnTo>
                <a:lnTo>
                  <a:pt x="8" y="42"/>
                </a:lnTo>
                <a:lnTo>
                  <a:pt x="10" y="45"/>
                </a:lnTo>
                <a:lnTo>
                  <a:pt x="11" y="47"/>
                </a:lnTo>
                <a:lnTo>
                  <a:pt x="13" y="47"/>
                </a:lnTo>
                <a:lnTo>
                  <a:pt x="15" y="49"/>
                </a:lnTo>
                <a:lnTo>
                  <a:pt x="18" y="51"/>
                </a:lnTo>
                <a:lnTo>
                  <a:pt x="21" y="54"/>
                </a:lnTo>
                <a:lnTo>
                  <a:pt x="21" y="57"/>
                </a:lnTo>
                <a:lnTo>
                  <a:pt x="24" y="58"/>
                </a:lnTo>
                <a:lnTo>
                  <a:pt x="24" y="61"/>
                </a:lnTo>
                <a:lnTo>
                  <a:pt x="25" y="61"/>
                </a:lnTo>
                <a:lnTo>
                  <a:pt x="25" y="62"/>
                </a:lnTo>
                <a:lnTo>
                  <a:pt x="26" y="63"/>
                </a:lnTo>
                <a:lnTo>
                  <a:pt x="27" y="65"/>
                </a:lnTo>
                <a:lnTo>
                  <a:pt x="28" y="65"/>
                </a:lnTo>
                <a:lnTo>
                  <a:pt x="30" y="66"/>
                </a:lnTo>
                <a:lnTo>
                  <a:pt x="32" y="66"/>
                </a:lnTo>
                <a:lnTo>
                  <a:pt x="32" y="65"/>
                </a:lnTo>
                <a:lnTo>
                  <a:pt x="33" y="65"/>
                </a:lnTo>
                <a:lnTo>
                  <a:pt x="34" y="62"/>
                </a:lnTo>
                <a:lnTo>
                  <a:pt x="35" y="62"/>
                </a:lnTo>
                <a:lnTo>
                  <a:pt x="36" y="61"/>
                </a:lnTo>
                <a:lnTo>
                  <a:pt x="36" y="59"/>
                </a:lnTo>
                <a:lnTo>
                  <a:pt x="38" y="58"/>
                </a:lnTo>
                <a:lnTo>
                  <a:pt x="39" y="56"/>
                </a:lnTo>
                <a:lnTo>
                  <a:pt x="41" y="54"/>
                </a:lnTo>
                <a:lnTo>
                  <a:pt x="41" y="52"/>
                </a:lnTo>
                <a:lnTo>
                  <a:pt x="42" y="51"/>
                </a:lnTo>
                <a:lnTo>
                  <a:pt x="44" y="51"/>
                </a:lnTo>
                <a:lnTo>
                  <a:pt x="45" y="52"/>
                </a:lnTo>
                <a:lnTo>
                  <a:pt x="46" y="52"/>
                </a:lnTo>
                <a:lnTo>
                  <a:pt x="47" y="51"/>
                </a:lnTo>
                <a:lnTo>
                  <a:pt x="49" y="51"/>
                </a:lnTo>
                <a:lnTo>
                  <a:pt x="49" y="48"/>
                </a:lnTo>
                <a:lnTo>
                  <a:pt x="57" y="48"/>
                </a:lnTo>
                <a:lnTo>
                  <a:pt x="61" y="49"/>
                </a:lnTo>
                <a:lnTo>
                  <a:pt x="62" y="52"/>
                </a:lnTo>
                <a:lnTo>
                  <a:pt x="64" y="53"/>
                </a:lnTo>
                <a:lnTo>
                  <a:pt x="65" y="55"/>
                </a:lnTo>
                <a:lnTo>
                  <a:pt x="66" y="55"/>
                </a:lnTo>
                <a:lnTo>
                  <a:pt x="66" y="56"/>
                </a:lnTo>
                <a:lnTo>
                  <a:pt x="67" y="57"/>
                </a:lnTo>
                <a:lnTo>
                  <a:pt x="66" y="58"/>
                </a:lnTo>
                <a:lnTo>
                  <a:pt x="66" y="59"/>
                </a:lnTo>
                <a:lnTo>
                  <a:pt x="68" y="59"/>
                </a:lnTo>
                <a:lnTo>
                  <a:pt x="69" y="61"/>
                </a:lnTo>
                <a:lnTo>
                  <a:pt x="69" y="62"/>
                </a:lnTo>
                <a:lnTo>
                  <a:pt x="69" y="62"/>
                </a:lnTo>
                <a:lnTo>
                  <a:pt x="69" y="64"/>
                </a:lnTo>
                <a:lnTo>
                  <a:pt x="69" y="64"/>
                </a:lnTo>
                <a:lnTo>
                  <a:pt x="69" y="65"/>
                </a:lnTo>
                <a:lnTo>
                  <a:pt x="69" y="66"/>
                </a:lnTo>
                <a:lnTo>
                  <a:pt x="72" y="67"/>
                </a:lnTo>
                <a:lnTo>
                  <a:pt x="72" y="68"/>
                </a:lnTo>
                <a:lnTo>
                  <a:pt x="72" y="72"/>
                </a:lnTo>
                <a:lnTo>
                  <a:pt x="72" y="73"/>
                </a:lnTo>
                <a:lnTo>
                  <a:pt x="71" y="73"/>
                </a:lnTo>
                <a:lnTo>
                  <a:pt x="69" y="76"/>
                </a:lnTo>
                <a:lnTo>
                  <a:pt x="68" y="78"/>
                </a:lnTo>
                <a:lnTo>
                  <a:pt x="68" y="79"/>
                </a:lnTo>
                <a:lnTo>
                  <a:pt x="73" y="77"/>
                </a:lnTo>
                <a:lnTo>
                  <a:pt x="74" y="76"/>
                </a:lnTo>
                <a:lnTo>
                  <a:pt x="75" y="76"/>
                </a:lnTo>
                <a:lnTo>
                  <a:pt x="75" y="77"/>
                </a:lnTo>
                <a:lnTo>
                  <a:pt x="75" y="78"/>
                </a:lnTo>
                <a:lnTo>
                  <a:pt x="76" y="78"/>
                </a:lnTo>
                <a:lnTo>
                  <a:pt x="77" y="76"/>
                </a:lnTo>
                <a:lnTo>
                  <a:pt x="78" y="75"/>
                </a:lnTo>
                <a:lnTo>
                  <a:pt x="79" y="76"/>
                </a:lnTo>
                <a:lnTo>
                  <a:pt x="81" y="77"/>
                </a:lnTo>
                <a:lnTo>
                  <a:pt x="81" y="77"/>
                </a:lnTo>
                <a:lnTo>
                  <a:pt x="82" y="76"/>
                </a:lnTo>
                <a:lnTo>
                  <a:pt x="84" y="75"/>
                </a:lnTo>
                <a:lnTo>
                  <a:pt x="85" y="76"/>
                </a:lnTo>
                <a:lnTo>
                  <a:pt x="85" y="76"/>
                </a:lnTo>
                <a:lnTo>
                  <a:pt x="86" y="77"/>
                </a:lnTo>
                <a:lnTo>
                  <a:pt x="88" y="79"/>
                </a:lnTo>
                <a:lnTo>
                  <a:pt x="88" y="82"/>
                </a:lnTo>
                <a:lnTo>
                  <a:pt x="89" y="84"/>
                </a:lnTo>
                <a:lnTo>
                  <a:pt x="89" y="88"/>
                </a:lnTo>
                <a:lnTo>
                  <a:pt x="91" y="89"/>
                </a:lnTo>
                <a:lnTo>
                  <a:pt x="89" y="94"/>
                </a:lnTo>
                <a:lnTo>
                  <a:pt x="89" y="95"/>
                </a:lnTo>
                <a:lnTo>
                  <a:pt x="88" y="96"/>
                </a:lnTo>
                <a:lnTo>
                  <a:pt x="88" y="96"/>
                </a:lnTo>
                <a:lnTo>
                  <a:pt x="88" y="97"/>
                </a:lnTo>
                <a:lnTo>
                  <a:pt x="89" y="97"/>
                </a:lnTo>
                <a:lnTo>
                  <a:pt x="91" y="96"/>
                </a:lnTo>
                <a:lnTo>
                  <a:pt x="92" y="96"/>
                </a:lnTo>
                <a:lnTo>
                  <a:pt x="93" y="97"/>
                </a:lnTo>
                <a:lnTo>
                  <a:pt x="94" y="99"/>
                </a:lnTo>
                <a:lnTo>
                  <a:pt x="96" y="99"/>
                </a:lnTo>
                <a:lnTo>
                  <a:pt x="96" y="98"/>
                </a:lnTo>
                <a:lnTo>
                  <a:pt x="98" y="98"/>
                </a:lnTo>
                <a:lnTo>
                  <a:pt x="98" y="97"/>
                </a:lnTo>
                <a:lnTo>
                  <a:pt x="101" y="95"/>
                </a:lnTo>
                <a:lnTo>
                  <a:pt x="101" y="93"/>
                </a:lnTo>
                <a:lnTo>
                  <a:pt x="102" y="92"/>
                </a:lnTo>
                <a:lnTo>
                  <a:pt x="103" y="92"/>
                </a:lnTo>
                <a:lnTo>
                  <a:pt x="104" y="94"/>
                </a:lnTo>
                <a:lnTo>
                  <a:pt x="105" y="93"/>
                </a:lnTo>
                <a:lnTo>
                  <a:pt x="109" y="93"/>
                </a:lnTo>
                <a:lnTo>
                  <a:pt x="109" y="92"/>
                </a:lnTo>
                <a:lnTo>
                  <a:pt x="111" y="89"/>
                </a:lnTo>
                <a:lnTo>
                  <a:pt x="111" y="87"/>
                </a:lnTo>
                <a:lnTo>
                  <a:pt x="112" y="85"/>
                </a:lnTo>
                <a:lnTo>
                  <a:pt x="113" y="84"/>
                </a:lnTo>
                <a:lnTo>
                  <a:pt x="112" y="84"/>
                </a:lnTo>
                <a:lnTo>
                  <a:pt x="112" y="84"/>
                </a:lnTo>
                <a:lnTo>
                  <a:pt x="112" y="83"/>
                </a:lnTo>
                <a:lnTo>
                  <a:pt x="112" y="82"/>
                </a:lnTo>
                <a:lnTo>
                  <a:pt x="111" y="82"/>
                </a:lnTo>
                <a:lnTo>
                  <a:pt x="108" y="82"/>
                </a:lnTo>
                <a:lnTo>
                  <a:pt x="108" y="81"/>
                </a:lnTo>
                <a:lnTo>
                  <a:pt x="108" y="79"/>
                </a:lnTo>
                <a:lnTo>
                  <a:pt x="108" y="77"/>
                </a:lnTo>
                <a:lnTo>
                  <a:pt x="108" y="77"/>
                </a:lnTo>
                <a:lnTo>
                  <a:pt x="108" y="77"/>
                </a:lnTo>
                <a:lnTo>
                  <a:pt x="111" y="76"/>
                </a:lnTo>
                <a:lnTo>
                  <a:pt x="113" y="76"/>
                </a:lnTo>
                <a:lnTo>
                  <a:pt x="114" y="77"/>
                </a:lnTo>
                <a:lnTo>
                  <a:pt x="115" y="77"/>
                </a:lnTo>
                <a:lnTo>
                  <a:pt x="116" y="77"/>
                </a:lnTo>
                <a:lnTo>
                  <a:pt x="116" y="79"/>
                </a:lnTo>
                <a:lnTo>
                  <a:pt x="117" y="79"/>
                </a:lnTo>
                <a:lnTo>
                  <a:pt x="116" y="76"/>
                </a:lnTo>
                <a:lnTo>
                  <a:pt x="117" y="75"/>
                </a:lnTo>
                <a:lnTo>
                  <a:pt x="116" y="74"/>
                </a:lnTo>
                <a:lnTo>
                  <a:pt x="116" y="72"/>
                </a:lnTo>
                <a:lnTo>
                  <a:pt x="115" y="72"/>
                </a:lnTo>
                <a:lnTo>
                  <a:pt x="114" y="71"/>
                </a:lnTo>
                <a:lnTo>
                  <a:pt x="113" y="72"/>
                </a:lnTo>
                <a:lnTo>
                  <a:pt x="114" y="68"/>
                </a:lnTo>
                <a:lnTo>
                  <a:pt x="115" y="67"/>
                </a:lnTo>
                <a:lnTo>
                  <a:pt x="116" y="66"/>
                </a:lnTo>
                <a:lnTo>
                  <a:pt x="116" y="66"/>
                </a:lnTo>
                <a:lnTo>
                  <a:pt x="115" y="64"/>
                </a:lnTo>
                <a:lnTo>
                  <a:pt x="114" y="65"/>
                </a:lnTo>
                <a:lnTo>
                  <a:pt x="114" y="59"/>
                </a:lnTo>
                <a:lnTo>
                  <a:pt x="112" y="61"/>
                </a:lnTo>
                <a:lnTo>
                  <a:pt x="109" y="58"/>
                </a:lnTo>
                <a:lnTo>
                  <a:pt x="109" y="58"/>
                </a:lnTo>
                <a:lnTo>
                  <a:pt x="111" y="53"/>
                </a:lnTo>
                <a:lnTo>
                  <a:pt x="109" y="49"/>
                </a:lnTo>
                <a:lnTo>
                  <a:pt x="111" y="48"/>
                </a:lnTo>
                <a:lnTo>
                  <a:pt x="111" y="48"/>
                </a:lnTo>
                <a:lnTo>
                  <a:pt x="113" y="46"/>
                </a:lnTo>
                <a:lnTo>
                  <a:pt x="113" y="45"/>
                </a:lnTo>
                <a:lnTo>
                  <a:pt x="113" y="44"/>
                </a:lnTo>
                <a:lnTo>
                  <a:pt x="112" y="43"/>
                </a:lnTo>
                <a:lnTo>
                  <a:pt x="111" y="42"/>
                </a:lnTo>
                <a:lnTo>
                  <a:pt x="111" y="41"/>
                </a:lnTo>
                <a:lnTo>
                  <a:pt x="108" y="41"/>
                </a:lnTo>
                <a:lnTo>
                  <a:pt x="107" y="38"/>
                </a:lnTo>
                <a:lnTo>
                  <a:pt x="107" y="31"/>
                </a:lnTo>
                <a:lnTo>
                  <a:pt x="107" y="30"/>
                </a:lnTo>
                <a:lnTo>
                  <a:pt x="106" y="30"/>
                </a:lnTo>
                <a:lnTo>
                  <a:pt x="104" y="30"/>
                </a:lnTo>
                <a:lnTo>
                  <a:pt x="103" y="32"/>
                </a:lnTo>
                <a:lnTo>
                  <a:pt x="102" y="32"/>
                </a:lnTo>
                <a:lnTo>
                  <a:pt x="102" y="30"/>
                </a:lnTo>
                <a:lnTo>
                  <a:pt x="102" y="28"/>
                </a:lnTo>
                <a:lnTo>
                  <a:pt x="104" y="27"/>
                </a:lnTo>
                <a:lnTo>
                  <a:pt x="104" y="26"/>
                </a:lnTo>
                <a:lnTo>
                  <a:pt x="105" y="26"/>
                </a:lnTo>
                <a:lnTo>
                  <a:pt x="105" y="25"/>
                </a:lnTo>
                <a:lnTo>
                  <a:pt x="106" y="25"/>
                </a:lnTo>
                <a:lnTo>
                  <a:pt x="106" y="23"/>
                </a:lnTo>
                <a:lnTo>
                  <a:pt x="106" y="23"/>
                </a:lnTo>
                <a:lnTo>
                  <a:pt x="105" y="23"/>
                </a:lnTo>
                <a:lnTo>
                  <a:pt x="104" y="22"/>
                </a:lnTo>
                <a:lnTo>
                  <a:pt x="103" y="21"/>
                </a:lnTo>
                <a:lnTo>
                  <a:pt x="102" y="18"/>
                </a:lnTo>
                <a:lnTo>
                  <a:pt x="99" y="18"/>
                </a:lnTo>
                <a:lnTo>
                  <a:pt x="99" y="18"/>
                </a:lnTo>
                <a:lnTo>
                  <a:pt x="99" y="13"/>
                </a:lnTo>
                <a:lnTo>
                  <a:pt x="99" y="11"/>
                </a:lnTo>
                <a:lnTo>
                  <a:pt x="98" y="11"/>
                </a:lnTo>
                <a:lnTo>
                  <a:pt x="98" y="8"/>
                </a:lnTo>
                <a:lnTo>
                  <a:pt x="98" y="8"/>
                </a:lnTo>
                <a:lnTo>
                  <a:pt x="97" y="8"/>
                </a:lnTo>
                <a:lnTo>
                  <a:pt x="96" y="8"/>
                </a:lnTo>
                <a:lnTo>
                  <a:pt x="97" y="4"/>
                </a:lnTo>
                <a:lnTo>
                  <a:pt x="97" y="4"/>
                </a:lnTo>
                <a:lnTo>
                  <a:pt x="96" y="3"/>
                </a:lnTo>
                <a:lnTo>
                  <a:pt x="95" y="3"/>
                </a:lnTo>
                <a:lnTo>
                  <a:pt x="94" y="4"/>
                </a:lnTo>
                <a:lnTo>
                  <a:pt x="94" y="4"/>
                </a:lnTo>
                <a:lnTo>
                  <a:pt x="92" y="3"/>
                </a:lnTo>
                <a:lnTo>
                  <a:pt x="91" y="3"/>
                </a:lnTo>
                <a:lnTo>
                  <a:pt x="91" y="3"/>
                </a:lnTo>
                <a:lnTo>
                  <a:pt x="91" y="6"/>
                </a:lnTo>
                <a:lnTo>
                  <a:pt x="89" y="7"/>
                </a:lnTo>
                <a:lnTo>
                  <a:pt x="86" y="8"/>
                </a:lnTo>
                <a:lnTo>
                  <a:pt x="86" y="10"/>
                </a:lnTo>
                <a:lnTo>
                  <a:pt x="85" y="12"/>
                </a:lnTo>
                <a:lnTo>
                  <a:pt x="81" y="10"/>
                </a:lnTo>
                <a:lnTo>
                  <a:pt x="78" y="8"/>
                </a:lnTo>
                <a:lnTo>
                  <a:pt x="76" y="7"/>
                </a:lnTo>
                <a:lnTo>
                  <a:pt x="75" y="7"/>
                </a:lnTo>
                <a:lnTo>
                  <a:pt x="74" y="10"/>
                </a:lnTo>
                <a:lnTo>
                  <a:pt x="73" y="11"/>
                </a:lnTo>
                <a:lnTo>
                  <a:pt x="72" y="12"/>
                </a:lnTo>
                <a:lnTo>
                  <a:pt x="71" y="13"/>
                </a:lnTo>
                <a:lnTo>
                  <a:pt x="69" y="13"/>
                </a:lnTo>
                <a:lnTo>
                  <a:pt x="67" y="8"/>
                </a:lnTo>
                <a:lnTo>
                  <a:pt x="66" y="8"/>
                </a:lnTo>
                <a:lnTo>
                  <a:pt x="64" y="8"/>
                </a:lnTo>
                <a:lnTo>
                  <a:pt x="63" y="11"/>
                </a:lnTo>
                <a:lnTo>
                  <a:pt x="62" y="12"/>
                </a:lnTo>
                <a:lnTo>
                  <a:pt x="61" y="12"/>
                </a:lnTo>
                <a:lnTo>
                  <a:pt x="58" y="11"/>
                </a:lnTo>
                <a:lnTo>
                  <a:pt x="57" y="10"/>
                </a:lnTo>
                <a:lnTo>
                  <a:pt x="57" y="8"/>
                </a:lnTo>
                <a:lnTo>
                  <a:pt x="58" y="6"/>
                </a:lnTo>
                <a:lnTo>
                  <a:pt x="58" y="5"/>
                </a:lnTo>
                <a:lnTo>
                  <a:pt x="59" y="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42" name="Freeform 942"/>
          <p:cNvSpPr>
            <a:spLocks/>
          </p:cNvSpPr>
          <p:nvPr/>
        </p:nvSpPr>
        <p:spPr bwMode="auto">
          <a:xfrm>
            <a:off x="4525963" y="2500278"/>
            <a:ext cx="96837" cy="203200"/>
          </a:xfrm>
          <a:custGeom>
            <a:avLst/>
            <a:gdLst>
              <a:gd name="T0" fmla="*/ 36 w 61"/>
              <a:gd name="T1" fmla="*/ 128 h 128"/>
              <a:gd name="T2" fmla="*/ 42 w 61"/>
              <a:gd name="T3" fmla="*/ 122 h 128"/>
              <a:gd name="T4" fmla="*/ 44 w 61"/>
              <a:gd name="T5" fmla="*/ 117 h 128"/>
              <a:gd name="T6" fmla="*/ 42 w 61"/>
              <a:gd name="T7" fmla="*/ 107 h 128"/>
              <a:gd name="T8" fmla="*/ 47 w 61"/>
              <a:gd name="T9" fmla="*/ 102 h 128"/>
              <a:gd name="T10" fmla="*/ 50 w 61"/>
              <a:gd name="T11" fmla="*/ 98 h 128"/>
              <a:gd name="T12" fmla="*/ 60 w 61"/>
              <a:gd name="T13" fmla="*/ 90 h 128"/>
              <a:gd name="T14" fmla="*/ 61 w 61"/>
              <a:gd name="T15" fmla="*/ 78 h 128"/>
              <a:gd name="T16" fmla="*/ 59 w 61"/>
              <a:gd name="T17" fmla="*/ 76 h 128"/>
              <a:gd name="T18" fmla="*/ 57 w 61"/>
              <a:gd name="T19" fmla="*/ 76 h 128"/>
              <a:gd name="T20" fmla="*/ 56 w 61"/>
              <a:gd name="T21" fmla="*/ 73 h 128"/>
              <a:gd name="T22" fmla="*/ 52 w 61"/>
              <a:gd name="T23" fmla="*/ 68 h 128"/>
              <a:gd name="T24" fmla="*/ 48 w 61"/>
              <a:gd name="T25" fmla="*/ 69 h 128"/>
              <a:gd name="T26" fmla="*/ 46 w 61"/>
              <a:gd name="T27" fmla="*/ 68 h 128"/>
              <a:gd name="T28" fmla="*/ 42 w 61"/>
              <a:gd name="T29" fmla="*/ 67 h 128"/>
              <a:gd name="T30" fmla="*/ 38 w 61"/>
              <a:gd name="T31" fmla="*/ 61 h 128"/>
              <a:gd name="T32" fmla="*/ 41 w 61"/>
              <a:gd name="T33" fmla="*/ 59 h 128"/>
              <a:gd name="T34" fmla="*/ 42 w 61"/>
              <a:gd name="T35" fmla="*/ 55 h 128"/>
              <a:gd name="T36" fmla="*/ 46 w 61"/>
              <a:gd name="T37" fmla="*/ 52 h 128"/>
              <a:gd name="T38" fmla="*/ 51 w 61"/>
              <a:gd name="T39" fmla="*/ 49 h 128"/>
              <a:gd name="T40" fmla="*/ 55 w 61"/>
              <a:gd name="T41" fmla="*/ 44 h 128"/>
              <a:gd name="T42" fmla="*/ 56 w 61"/>
              <a:gd name="T43" fmla="*/ 36 h 128"/>
              <a:gd name="T44" fmla="*/ 52 w 61"/>
              <a:gd name="T45" fmla="*/ 30 h 128"/>
              <a:gd name="T46" fmla="*/ 49 w 61"/>
              <a:gd name="T47" fmla="*/ 28 h 128"/>
              <a:gd name="T48" fmla="*/ 47 w 61"/>
              <a:gd name="T49" fmla="*/ 21 h 128"/>
              <a:gd name="T50" fmla="*/ 49 w 61"/>
              <a:gd name="T51" fmla="*/ 16 h 128"/>
              <a:gd name="T52" fmla="*/ 56 w 61"/>
              <a:gd name="T53" fmla="*/ 9 h 128"/>
              <a:gd name="T54" fmla="*/ 51 w 61"/>
              <a:gd name="T55" fmla="*/ 6 h 128"/>
              <a:gd name="T56" fmla="*/ 49 w 61"/>
              <a:gd name="T57" fmla="*/ 9 h 128"/>
              <a:gd name="T58" fmla="*/ 46 w 61"/>
              <a:gd name="T59" fmla="*/ 10 h 128"/>
              <a:gd name="T60" fmla="*/ 44 w 61"/>
              <a:gd name="T61" fmla="*/ 7 h 128"/>
              <a:gd name="T62" fmla="*/ 41 w 61"/>
              <a:gd name="T63" fmla="*/ 2 h 128"/>
              <a:gd name="T64" fmla="*/ 37 w 61"/>
              <a:gd name="T65" fmla="*/ 0 h 128"/>
              <a:gd name="T66" fmla="*/ 30 w 61"/>
              <a:gd name="T67" fmla="*/ 1 h 128"/>
              <a:gd name="T68" fmla="*/ 24 w 61"/>
              <a:gd name="T69" fmla="*/ 4 h 128"/>
              <a:gd name="T70" fmla="*/ 20 w 61"/>
              <a:gd name="T71" fmla="*/ 7 h 128"/>
              <a:gd name="T72" fmla="*/ 19 w 61"/>
              <a:gd name="T73" fmla="*/ 9 h 128"/>
              <a:gd name="T74" fmla="*/ 16 w 61"/>
              <a:gd name="T75" fmla="*/ 11 h 128"/>
              <a:gd name="T76" fmla="*/ 12 w 61"/>
              <a:gd name="T77" fmla="*/ 15 h 128"/>
              <a:gd name="T78" fmla="*/ 15 w 61"/>
              <a:gd name="T79" fmla="*/ 17 h 128"/>
              <a:gd name="T80" fmla="*/ 14 w 61"/>
              <a:gd name="T81" fmla="*/ 28 h 128"/>
              <a:gd name="T82" fmla="*/ 15 w 61"/>
              <a:gd name="T83" fmla="*/ 36 h 128"/>
              <a:gd name="T84" fmla="*/ 16 w 61"/>
              <a:gd name="T85" fmla="*/ 39 h 128"/>
              <a:gd name="T86" fmla="*/ 14 w 61"/>
              <a:gd name="T87" fmla="*/ 50 h 128"/>
              <a:gd name="T88" fmla="*/ 8 w 61"/>
              <a:gd name="T89" fmla="*/ 57 h 128"/>
              <a:gd name="T90" fmla="*/ 4 w 61"/>
              <a:gd name="T91" fmla="*/ 59 h 128"/>
              <a:gd name="T92" fmla="*/ 1 w 61"/>
              <a:gd name="T93" fmla="*/ 61 h 128"/>
              <a:gd name="T94" fmla="*/ 1 w 61"/>
              <a:gd name="T95" fmla="*/ 64 h 128"/>
              <a:gd name="T96" fmla="*/ 5 w 61"/>
              <a:gd name="T97" fmla="*/ 75 h 128"/>
              <a:gd name="T98" fmla="*/ 11 w 61"/>
              <a:gd name="T99" fmla="*/ 78 h 128"/>
              <a:gd name="T100" fmla="*/ 14 w 61"/>
              <a:gd name="T101" fmla="*/ 89 h 128"/>
              <a:gd name="T102" fmla="*/ 26 w 61"/>
              <a:gd name="T103" fmla="*/ 96 h 128"/>
              <a:gd name="T104" fmla="*/ 27 w 61"/>
              <a:gd name="T105" fmla="*/ 96 h 128"/>
              <a:gd name="T106" fmla="*/ 32 w 61"/>
              <a:gd name="T107" fmla="*/ 127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1" h="128">
                <a:moveTo>
                  <a:pt x="32" y="128"/>
                </a:moveTo>
                <a:lnTo>
                  <a:pt x="36" y="128"/>
                </a:lnTo>
                <a:lnTo>
                  <a:pt x="39" y="126"/>
                </a:lnTo>
                <a:lnTo>
                  <a:pt x="42" y="122"/>
                </a:lnTo>
                <a:lnTo>
                  <a:pt x="44" y="120"/>
                </a:lnTo>
                <a:lnTo>
                  <a:pt x="44" y="117"/>
                </a:lnTo>
                <a:lnTo>
                  <a:pt x="42" y="109"/>
                </a:lnTo>
                <a:lnTo>
                  <a:pt x="42" y="107"/>
                </a:lnTo>
                <a:lnTo>
                  <a:pt x="44" y="105"/>
                </a:lnTo>
                <a:lnTo>
                  <a:pt x="47" y="102"/>
                </a:lnTo>
                <a:lnTo>
                  <a:pt x="49" y="100"/>
                </a:lnTo>
                <a:lnTo>
                  <a:pt x="50" y="98"/>
                </a:lnTo>
                <a:lnTo>
                  <a:pt x="59" y="92"/>
                </a:lnTo>
                <a:lnTo>
                  <a:pt x="60" y="90"/>
                </a:lnTo>
                <a:lnTo>
                  <a:pt x="61" y="88"/>
                </a:lnTo>
                <a:lnTo>
                  <a:pt x="61" y="78"/>
                </a:lnTo>
                <a:lnTo>
                  <a:pt x="61" y="77"/>
                </a:lnTo>
                <a:lnTo>
                  <a:pt x="59" y="76"/>
                </a:lnTo>
                <a:lnTo>
                  <a:pt x="58" y="76"/>
                </a:lnTo>
                <a:lnTo>
                  <a:pt x="57" y="76"/>
                </a:lnTo>
                <a:lnTo>
                  <a:pt x="56" y="75"/>
                </a:lnTo>
                <a:lnTo>
                  <a:pt x="56" y="73"/>
                </a:lnTo>
                <a:lnTo>
                  <a:pt x="54" y="68"/>
                </a:lnTo>
                <a:lnTo>
                  <a:pt x="52" y="68"/>
                </a:lnTo>
                <a:lnTo>
                  <a:pt x="49" y="70"/>
                </a:lnTo>
                <a:lnTo>
                  <a:pt x="48" y="69"/>
                </a:lnTo>
                <a:lnTo>
                  <a:pt x="48" y="67"/>
                </a:lnTo>
                <a:lnTo>
                  <a:pt x="46" y="68"/>
                </a:lnTo>
                <a:lnTo>
                  <a:pt x="45" y="68"/>
                </a:lnTo>
                <a:lnTo>
                  <a:pt x="42" y="67"/>
                </a:lnTo>
                <a:lnTo>
                  <a:pt x="39" y="65"/>
                </a:lnTo>
                <a:lnTo>
                  <a:pt x="38" y="61"/>
                </a:lnTo>
                <a:lnTo>
                  <a:pt x="38" y="59"/>
                </a:lnTo>
                <a:lnTo>
                  <a:pt x="41" y="59"/>
                </a:lnTo>
                <a:lnTo>
                  <a:pt x="41" y="57"/>
                </a:lnTo>
                <a:lnTo>
                  <a:pt x="42" y="55"/>
                </a:lnTo>
                <a:lnTo>
                  <a:pt x="45" y="55"/>
                </a:lnTo>
                <a:lnTo>
                  <a:pt x="46" y="52"/>
                </a:lnTo>
                <a:lnTo>
                  <a:pt x="48" y="52"/>
                </a:lnTo>
                <a:lnTo>
                  <a:pt x="51" y="49"/>
                </a:lnTo>
                <a:lnTo>
                  <a:pt x="52" y="47"/>
                </a:lnTo>
                <a:lnTo>
                  <a:pt x="55" y="44"/>
                </a:lnTo>
                <a:lnTo>
                  <a:pt x="57" y="38"/>
                </a:lnTo>
                <a:lnTo>
                  <a:pt x="56" y="36"/>
                </a:lnTo>
                <a:lnTo>
                  <a:pt x="55" y="31"/>
                </a:lnTo>
                <a:lnTo>
                  <a:pt x="52" y="30"/>
                </a:lnTo>
                <a:lnTo>
                  <a:pt x="51" y="28"/>
                </a:lnTo>
                <a:lnTo>
                  <a:pt x="49" y="28"/>
                </a:lnTo>
                <a:lnTo>
                  <a:pt x="48" y="26"/>
                </a:lnTo>
                <a:lnTo>
                  <a:pt x="47" y="21"/>
                </a:lnTo>
                <a:lnTo>
                  <a:pt x="47" y="18"/>
                </a:lnTo>
                <a:lnTo>
                  <a:pt x="49" y="16"/>
                </a:lnTo>
                <a:lnTo>
                  <a:pt x="52" y="15"/>
                </a:lnTo>
                <a:lnTo>
                  <a:pt x="56" y="9"/>
                </a:lnTo>
                <a:lnTo>
                  <a:pt x="54" y="6"/>
                </a:lnTo>
                <a:lnTo>
                  <a:pt x="51" y="6"/>
                </a:lnTo>
                <a:lnTo>
                  <a:pt x="50" y="8"/>
                </a:lnTo>
                <a:lnTo>
                  <a:pt x="49" y="9"/>
                </a:lnTo>
                <a:lnTo>
                  <a:pt x="47" y="9"/>
                </a:lnTo>
                <a:lnTo>
                  <a:pt x="46" y="10"/>
                </a:lnTo>
                <a:lnTo>
                  <a:pt x="42" y="9"/>
                </a:lnTo>
                <a:lnTo>
                  <a:pt x="44" y="7"/>
                </a:lnTo>
                <a:lnTo>
                  <a:pt x="41" y="5"/>
                </a:lnTo>
                <a:lnTo>
                  <a:pt x="41" y="2"/>
                </a:lnTo>
                <a:lnTo>
                  <a:pt x="41" y="2"/>
                </a:lnTo>
                <a:lnTo>
                  <a:pt x="37" y="0"/>
                </a:lnTo>
                <a:lnTo>
                  <a:pt x="34" y="0"/>
                </a:lnTo>
                <a:lnTo>
                  <a:pt x="30" y="1"/>
                </a:lnTo>
                <a:lnTo>
                  <a:pt x="27" y="2"/>
                </a:lnTo>
                <a:lnTo>
                  <a:pt x="24" y="4"/>
                </a:lnTo>
                <a:lnTo>
                  <a:pt x="21" y="6"/>
                </a:lnTo>
                <a:lnTo>
                  <a:pt x="20" y="7"/>
                </a:lnTo>
                <a:lnTo>
                  <a:pt x="19" y="7"/>
                </a:lnTo>
                <a:lnTo>
                  <a:pt x="19" y="9"/>
                </a:lnTo>
                <a:lnTo>
                  <a:pt x="18" y="9"/>
                </a:lnTo>
                <a:lnTo>
                  <a:pt x="16" y="11"/>
                </a:lnTo>
                <a:lnTo>
                  <a:pt x="14" y="14"/>
                </a:lnTo>
                <a:lnTo>
                  <a:pt x="12" y="15"/>
                </a:lnTo>
                <a:lnTo>
                  <a:pt x="15" y="16"/>
                </a:lnTo>
                <a:lnTo>
                  <a:pt x="15" y="17"/>
                </a:lnTo>
                <a:lnTo>
                  <a:pt x="14" y="25"/>
                </a:lnTo>
                <a:lnTo>
                  <a:pt x="14" y="28"/>
                </a:lnTo>
                <a:lnTo>
                  <a:pt x="15" y="30"/>
                </a:lnTo>
                <a:lnTo>
                  <a:pt x="15" y="36"/>
                </a:lnTo>
                <a:lnTo>
                  <a:pt x="16" y="38"/>
                </a:lnTo>
                <a:lnTo>
                  <a:pt x="16" y="39"/>
                </a:lnTo>
                <a:lnTo>
                  <a:pt x="15" y="47"/>
                </a:lnTo>
                <a:lnTo>
                  <a:pt x="14" y="50"/>
                </a:lnTo>
                <a:lnTo>
                  <a:pt x="8" y="54"/>
                </a:lnTo>
                <a:lnTo>
                  <a:pt x="8" y="57"/>
                </a:lnTo>
                <a:lnTo>
                  <a:pt x="6" y="58"/>
                </a:lnTo>
                <a:lnTo>
                  <a:pt x="4" y="59"/>
                </a:lnTo>
                <a:lnTo>
                  <a:pt x="4" y="60"/>
                </a:lnTo>
                <a:lnTo>
                  <a:pt x="1" y="61"/>
                </a:lnTo>
                <a:lnTo>
                  <a:pt x="0" y="61"/>
                </a:lnTo>
                <a:lnTo>
                  <a:pt x="1" y="64"/>
                </a:lnTo>
                <a:lnTo>
                  <a:pt x="3" y="67"/>
                </a:lnTo>
                <a:lnTo>
                  <a:pt x="5" y="75"/>
                </a:lnTo>
                <a:lnTo>
                  <a:pt x="9" y="76"/>
                </a:lnTo>
                <a:lnTo>
                  <a:pt x="11" y="78"/>
                </a:lnTo>
                <a:lnTo>
                  <a:pt x="14" y="83"/>
                </a:lnTo>
                <a:lnTo>
                  <a:pt x="14" y="89"/>
                </a:lnTo>
                <a:lnTo>
                  <a:pt x="19" y="92"/>
                </a:lnTo>
                <a:lnTo>
                  <a:pt x="26" y="96"/>
                </a:lnTo>
                <a:lnTo>
                  <a:pt x="27" y="96"/>
                </a:lnTo>
                <a:lnTo>
                  <a:pt x="27" y="96"/>
                </a:lnTo>
                <a:lnTo>
                  <a:pt x="30" y="117"/>
                </a:lnTo>
                <a:lnTo>
                  <a:pt x="32" y="127"/>
                </a:lnTo>
                <a:lnTo>
                  <a:pt x="32" y="128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43" name="Freeform 943"/>
          <p:cNvSpPr>
            <a:spLocks/>
          </p:cNvSpPr>
          <p:nvPr/>
        </p:nvSpPr>
        <p:spPr bwMode="auto">
          <a:xfrm>
            <a:off x="4525963" y="2500278"/>
            <a:ext cx="96837" cy="203200"/>
          </a:xfrm>
          <a:custGeom>
            <a:avLst/>
            <a:gdLst>
              <a:gd name="T0" fmla="*/ 36 w 61"/>
              <a:gd name="T1" fmla="*/ 128 h 128"/>
              <a:gd name="T2" fmla="*/ 42 w 61"/>
              <a:gd name="T3" fmla="*/ 122 h 128"/>
              <a:gd name="T4" fmla="*/ 44 w 61"/>
              <a:gd name="T5" fmla="*/ 117 h 128"/>
              <a:gd name="T6" fmla="*/ 42 w 61"/>
              <a:gd name="T7" fmla="*/ 107 h 128"/>
              <a:gd name="T8" fmla="*/ 47 w 61"/>
              <a:gd name="T9" fmla="*/ 102 h 128"/>
              <a:gd name="T10" fmla="*/ 50 w 61"/>
              <a:gd name="T11" fmla="*/ 98 h 128"/>
              <a:gd name="T12" fmla="*/ 60 w 61"/>
              <a:gd name="T13" fmla="*/ 90 h 128"/>
              <a:gd name="T14" fmla="*/ 61 w 61"/>
              <a:gd name="T15" fmla="*/ 78 h 128"/>
              <a:gd name="T16" fmla="*/ 59 w 61"/>
              <a:gd name="T17" fmla="*/ 76 h 128"/>
              <a:gd name="T18" fmla="*/ 57 w 61"/>
              <a:gd name="T19" fmla="*/ 76 h 128"/>
              <a:gd name="T20" fmla="*/ 56 w 61"/>
              <a:gd name="T21" fmla="*/ 73 h 128"/>
              <a:gd name="T22" fmla="*/ 52 w 61"/>
              <a:gd name="T23" fmla="*/ 68 h 128"/>
              <a:gd name="T24" fmla="*/ 48 w 61"/>
              <a:gd name="T25" fmla="*/ 69 h 128"/>
              <a:gd name="T26" fmla="*/ 46 w 61"/>
              <a:gd name="T27" fmla="*/ 68 h 128"/>
              <a:gd name="T28" fmla="*/ 42 w 61"/>
              <a:gd name="T29" fmla="*/ 67 h 128"/>
              <a:gd name="T30" fmla="*/ 38 w 61"/>
              <a:gd name="T31" fmla="*/ 61 h 128"/>
              <a:gd name="T32" fmla="*/ 41 w 61"/>
              <a:gd name="T33" fmla="*/ 59 h 128"/>
              <a:gd name="T34" fmla="*/ 42 w 61"/>
              <a:gd name="T35" fmla="*/ 55 h 128"/>
              <a:gd name="T36" fmla="*/ 46 w 61"/>
              <a:gd name="T37" fmla="*/ 52 h 128"/>
              <a:gd name="T38" fmla="*/ 51 w 61"/>
              <a:gd name="T39" fmla="*/ 49 h 128"/>
              <a:gd name="T40" fmla="*/ 55 w 61"/>
              <a:gd name="T41" fmla="*/ 44 h 128"/>
              <a:gd name="T42" fmla="*/ 56 w 61"/>
              <a:gd name="T43" fmla="*/ 36 h 128"/>
              <a:gd name="T44" fmla="*/ 52 w 61"/>
              <a:gd name="T45" fmla="*/ 30 h 128"/>
              <a:gd name="T46" fmla="*/ 49 w 61"/>
              <a:gd name="T47" fmla="*/ 28 h 128"/>
              <a:gd name="T48" fmla="*/ 47 w 61"/>
              <a:gd name="T49" fmla="*/ 21 h 128"/>
              <a:gd name="T50" fmla="*/ 49 w 61"/>
              <a:gd name="T51" fmla="*/ 16 h 128"/>
              <a:gd name="T52" fmla="*/ 56 w 61"/>
              <a:gd name="T53" fmla="*/ 9 h 128"/>
              <a:gd name="T54" fmla="*/ 51 w 61"/>
              <a:gd name="T55" fmla="*/ 6 h 128"/>
              <a:gd name="T56" fmla="*/ 49 w 61"/>
              <a:gd name="T57" fmla="*/ 9 h 128"/>
              <a:gd name="T58" fmla="*/ 46 w 61"/>
              <a:gd name="T59" fmla="*/ 10 h 128"/>
              <a:gd name="T60" fmla="*/ 44 w 61"/>
              <a:gd name="T61" fmla="*/ 7 h 128"/>
              <a:gd name="T62" fmla="*/ 41 w 61"/>
              <a:gd name="T63" fmla="*/ 2 h 128"/>
              <a:gd name="T64" fmla="*/ 37 w 61"/>
              <a:gd name="T65" fmla="*/ 0 h 128"/>
              <a:gd name="T66" fmla="*/ 30 w 61"/>
              <a:gd name="T67" fmla="*/ 1 h 128"/>
              <a:gd name="T68" fmla="*/ 24 w 61"/>
              <a:gd name="T69" fmla="*/ 4 h 128"/>
              <a:gd name="T70" fmla="*/ 20 w 61"/>
              <a:gd name="T71" fmla="*/ 7 h 128"/>
              <a:gd name="T72" fmla="*/ 19 w 61"/>
              <a:gd name="T73" fmla="*/ 9 h 128"/>
              <a:gd name="T74" fmla="*/ 16 w 61"/>
              <a:gd name="T75" fmla="*/ 11 h 128"/>
              <a:gd name="T76" fmla="*/ 12 w 61"/>
              <a:gd name="T77" fmla="*/ 15 h 128"/>
              <a:gd name="T78" fmla="*/ 15 w 61"/>
              <a:gd name="T79" fmla="*/ 17 h 128"/>
              <a:gd name="T80" fmla="*/ 14 w 61"/>
              <a:gd name="T81" fmla="*/ 28 h 128"/>
              <a:gd name="T82" fmla="*/ 15 w 61"/>
              <a:gd name="T83" fmla="*/ 36 h 128"/>
              <a:gd name="T84" fmla="*/ 16 w 61"/>
              <a:gd name="T85" fmla="*/ 39 h 128"/>
              <a:gd name="T86" fmla="*/ 14 w 61"/>
              <a:gd name="T87" fmla="*/ 50 h 128"/>
              <a:gd name="T88" fmla="*/ 8 w 61"/>
              <a:gd name="T89" fmla="*/ 57 h 128"/>
              <a:gd name="T90" fmla="*/ 4 w 61"/>
              <a:gd name="T91" fmla="*/ 59 h 128"/>
              <a:gd name="T92" fmla="*/ 1 w 61"/>
              <a:gd name="T93" fmla="*/ 61 h 128"/>
              <a:gd name="T94" fmla="*/ 1 w 61"/>
              <a:gd name="T95" fmla="*/ 64 h 128"/>
              <a:gd name="T96" fmla="*/ 5 w 61"/>
              <a:gd name="T97" fmla="*/ 75 h 128"/>
              <a:gd name="T98" fmla="*/ 11 w 61"/>
              <a:gd name="T99" fmla="*/ 78 h 128"/>
              <a:gd name="T100" fmla="*/ 14 w 61"/>
              <a:gd name="T101" fmla="*/ 89 h 128"/>
              <a:gd name="T102" fmla="*/ 26 w 61"/>
              <a:gd name="T103" fmla="*/ 96 h 128"/>
              <a:gd name="T104" fmla="*/ 27 w 61"/>
              <a:gd name="T105" fmla="*/ 96 h 128"/>
              <a:gd name="T106" fmla="*/ 32 w 61"/>
              <a:gd name="T107" fmla="*/ 127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1" h="128">
                <a:moveTo>
                  <a:pt x="32" y="128"/>
                </a:moveTo>
                <a:lnTo>
                  <a:pt x="36" y="128"/>
                </a:lnTo>
                <a:lnTo>
                  <a:pt x="39" y="126"/>
                </a:lnTo>
                <a:lnTo>
                  <a:pt x="42" y="122"/>
                </a:lnTo>
                <a:lnTo>
                  <a:pt x="44" y="120"/>
                </a:lnTo>
                <a:lnTo>
                  <a:pt x="44" y="117"/>
                </a:lnTo>
                <a:lnTo>
                  <a:pt x="42" y="109"/>
                </a:lnTo>
                <a:lnTo>
                  <a:pt x="42" y="107"/>
                </a:lnTo>
                <a:lnTo>
                  <a:pt x="44" y="105"/>
                </a:lnTo>
                <a:lnTo>
                  <a:pt x="47" y="102"/>
                </a:lnTo>
                <a:lnTo>
                  <a:pt x="49" y="100"/>
                </a:lnTo>
                <a:lnTo>
                  <a:pt x="50" y="98"/>
                </a:lnTo>
                <a:lnTo>
                  <a:pt x="59" y="92"/>
                </a:lnTo>
                <a:lnTo>
                  <a:pt x="60" y="90"/>
                </a:lnTo>
                <a:lnTo>
                  <a:pt x="61" y="88"/>
                </a:lnTo>
                <a:lnTo>
                  <a:pt x="61" y="78"/>
                </a:lnTo>
                <a:lnTo>
                  <a:pt x="61" y="77"/>
                </a:lnTo>
                <a:lnTo>
                  <a:pt x="59" y="76"/>
                </a:lnTo>
                <a:lnTo>
                  <a:pt x="58" y="76"/>
                </a:lnTo>
                <a:lnTo>
                  <a:pt x="57" y="76"/>
                </a:lnTo>
                <a:lnTo>
                  <a:pt x="56" y="75"/>
                </a:lnTo>
                <a:lnTo>
                  <a:pt x="56" y="73"/>
                </a:lnTo>
                <a:lnTo>
                  <a:pt x="54" y="68"/>
                </a:lnTo>
                <a:lnTo>
                  <a:pt x="52" y="68"/>
                </a:lnTo>
                <a:lnTo>
                  <a:pt x="49" y="70"/>
                </a:lnTo>
                <a:lnTo>
                  <a:pt x="48" y="69"/>
                </a:lnTo>
                <a:lnTo>
                  <a:pt x="48" y="67"/>
                </a:lnTo>
                <a:lnTo>
                  <a:pt x="46" y="68"/>
                </a:lnTo>
                <a:lnTo>
                  <a:pt x="45" y="68"/>
                </a:lnTo>
                <a:lnTo>
                  <a:pt x="42" y="67"/>
                </a:lnTo>
                <a:lnTo>
                  <a:pt x="39" y="65"/>
                </a:lnTo>
                <a:lnTo>
                  <a:pt x="38" y="61"/>
                </a:lnTo>
                <a:lnTo>
                  <a:pt x="38" y="59"/>
                </a:lnTo>
                <a:lnTo>
                  <a:pt x="41" y="59"/>
                </a:lnTo>
                <a:lnTo>
                  <a:pt x="41" y="57"/>
                </a:lnTo>
                <a:lnTo>
                  <a:pt x="42" y="55"/>
                </a:lnTo>
                <a:lnTo>
                  <a:pt x="45" y="55"/>
                </a:lnTo>
                <a:lnTo>
                  <a:pt x="46" y="52"/>
                </a:lnTo>
                <a:lnTo>
                  <a:pt x="48" y="52"/>
                </a:lnTo>
                <a:lnTo>
                  <a:pt x="51" y="49"/>
                </a:lnTo>
                <a:lnTo>
                  <a:pt x="52" y="47"/>
                </a:lnTo>
                <a:lnTo>
                  <a:pt x="55" y="44"/>
                </a:lnTo>
                <a:lnTo>
                  <a:pt x="57" y="38"/>
                </a:lnTo>
                <a:lnTo>
                  <a:pt x="56" y="36"/>
                </a:lnTo>
                <a:lnTo>
                  <a:pt x="55" y="31"/>
                </a:lnTo>
                <a:lnTo>
                  <a:pt x="52" y="30"/>
                </a:lnTo>
                <a:lnTo>
                  <a:pt x="51" y="28"/>
                </a:lnTo>
                <a:lnTo>
                  <a:pt x="49" y="28"/>
                </a:lnTo>
                <a:lnTo>
                  <a:pt x="48" y="26"/>
                </a:lnTo>
                <a:lnTo>
                  <a:pt x="47" y="21"/>
                </a:lnTo>
                <a:lnTo>
                  <a:pt x="47" y="18"/>
                </a:lnTo>
                <a:lnTo>
                  <a:pt x="49" y="16"/>
                </a:lnTo>
                <a:lnTo>
                  <a:pt x="52" y="15"/>
                </a:lnTo>
                <a:lnTo>
                  <a:pt x="56" y="9"/>
                </a:lnTo>
                <a:lnTo>
                  <a:pt x="54" y="6"/>
                </a:lnTo>
                <a:lnTo>
                  <a:pt x="51" y="6"/>
                </a:lnTo>
                <a:lnTo>
                  <a:pt x="50" y="8"/>
                </a:lnTo>
                <a:lnTo>
                  <a:pt x="49" y="9"/>
                </a:lnTo>
                <a:lnTo>
                  <a:pt x="47" y="9"/>
                </a:lnTo>
                <a:lnTo>
                  <a:pt x="46" y="10"/>
                </a:lnTo>
                <a:lnTo>
                  <a:pt x="42" y="9"/>
                </a:lnTo>
                <a:lnTo>
                  <a:pt x="44" y="7"/>
                </a:lnTo>
                <a:lnTo>
                  <a:pt x="41" y="5"/>
                </a:lnTo>
                <a:lnTo>
                  <a:pt x="41" y="2"/>
                </a:lnTo>
                <a:lnTo>
                  <a:pt x="41" y="2"/>
                </a:lnTo>
                <a:lnTo>
                  <a:pt x="37" y="0"/>
                </a:lnTo>
                <a:lnTo>
                  <a:pt x="34" y="0"/>
                </a:lnTo>
                <a:lnTo>
                  <a:pt x="30" y="1"/>
                </a:lnTo>
                <a:lnTo>
                  <a:pt x="27" y="2"/>
                </a:lnTo>
                <a:lnTo>
                  <a:pt x="24" y="4"/>
                </a:lnTo>
                <a:lnTo>
                  <a:pt x="21" y="6"/>
                </a:lnTo>
                <a:lnTo>
                  <a:pt x="20" y="7"/>
                </a:lnTo>
                <a:lnTo>
                  <a:pt x="19" y="7"/>
                </a:lnTo>
                <a:lnTo>
                  <a:pt x="19" y="9"/>
                </a:lnTo>
                <a:lnTo>
                  <a:pt x="18" y="9"/>
                </a:lnTo>
                <a:lnTo>
                  <a:pt x="16" y="11"/>
                </a:lnTo>
                <a:lnTo>
                  <a:pt x="14" y="14"/>
                </a:lnTo>
                <a:lnTo>
                  <a:pt x="12" y="15"/>
                </a:lnTo>
                <a:lnTo>
                  <a:pt x="15" y="16"/>
                </a:lnTo>
                <a:lnTo>
                  <a:pt x="15" y="17"/>
                </a:lnTo>
                <a:lnTo>
                  <a:pt x="14" y="25"/>
                </a:lnTo>
                <a:lnTo>
                  <a:pt x="14" y="28"/>
                </a:lnTo>
                <a:lnTo>
                  <a:pt x="15" y="30"/>
                </a:lnTo>
                <a:lnTo>
                  <a:pt x="15" y="36"/>
                </a:lnTo>
                <a:lnTo>
                  <a:pt x="16" y="38"/>
                </a:lnTo>
                <a:lnTo>
                  <a:pt x="16" y="39"/>
                </a:lnTo>
                <a:lnTo>
                  <a:pt x="15" y="47"/>
                </a:lnTo>
                <a:lnTo>
                  <a:pt x="14" y="50"/>
                </a:lnTo>
                <a:lnTo>
                  <a:pt x="8" y="54"/>
                </a:lnTo>
                <a:lnTo>
                  <a:pt x="8" y="57"/>
                </a:lnTo>
                <a:lnTo>
                  <a:pt x="6" y="58"/>
                </a:lnTo>
                <a:lnTo>
                  <a:pt x="4" y="59"/>
                </a:lnTo>
                <a:lnTo>
                  <a:pt x="4" y="60"/>
                </a:lnTo>
                <a:lnTo>
                  <a:pt x="1" y="61"/>
                </a:lnTo>
                <a:lnTo>
                  <a:pt x="0" y="61"/>
                </a:lnTo>
                <a:lnTo>
                  <a:pt x="1" y="64"/>
                </a:lnTo>
                <a:lnTo>
                  <a:pt x="3" y="67"/>
                </a:lnTo>
                <a:lnTo>
                  <a:pt x="5" y="75"/>
                </a:lnTo>
                <a:lnTo>
                  <a:pt x="9" y="76"/>
                </a:lnTo>
                <a:lnTo>
                  <a:pt x="11" y="78"/>
                </a:lnTo>
                <a:lnTo>
                  <a:pt x="14" y="83"/>
                </a:lnTo>
                <a:lnTo>
                  <a:pt x="14" y="89"/>
                </a:lnTo>
                <a:lnTo>
                  <a:pt x="19" y="92"/>
                </a:lnTo>
                <a:lnTo>
                  <a:pt x="26" y="96"/>
                </a:lnTo>
                <a:lnTo>
                  <a:pt x="27" y="96"/>
                </a:lnTo>
                <a:lnTo>
                  <a:pt x="27" y="96"/>
                </a:lnTo>
                <a:lnTo>
                  <a:pt x="30" y="117"/>
                </a:lnTo>
                <a:lnTo>
                  <a:pt x="32" y="127"/>
                </a:lnTo>
                <a:lnTo>
                  <a:pt x="32" y="128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44" name="Freeform 944"/>
          <p:cNvSpPr>
            <a:spLocks/>
          </p:cNvSpPr>
          <p:nvPr/>
        </p:nvSpPr>
        <p:spPr bwMode="auto">
          <a:xfrm>
            <a:off x="4652963" y="3705190"/>
            <a:ext cx="26987" cy="41275"/>
          </a:xfrm>
          <a:custGeom>
            <a:avLst/>
            <a:gdLst>
              <a:gd name="T0" fmla="*/ 17 w 17"/>
              <a:gd name="T1" fmla="*/ 5 h 26"/>
              <a:gd name="T2" fmla="*/ 15 w 17"/>
              <a:gd name="T3" fmla="*/ 2 h 26"/>
              <a:gd name="T4" fmla="*/ 12 w 17"/>
              <a:gd name="T5" fmla="*/ 0 h 26"/>
              <a:gd name="T6" fmla="*/ 9 w 17"/>
              <a:gd name="T7" fmla="*/ 2 h 26"/>
              <a:gd name="T8" fmla="*/ 8 w 17"/>
              <a:gd name="T9" fmla="*/ 7 h 26"/>
              <a:gd name="T10" fmla="*/ 5 w 17"/>
              <a:gd name="T11" fmla="*/ 8 h 26"/>
              <a:gd name="T12" fmla="*/ 0 w 17"/>
              <a:gd name="T13" fmla="*/ 12 h 26"/>
              <a:gd name="T14" fmla="*/ 2 w 17"/>
              <a:gd name="T15" fmla="*/ 14 h 26"/>
              <a:gd name="T16" fmla="*/ 2 w 17"/>
              <a:gd name="T17" fmla="*/ 18 h 26"/>
              <a:gd name="T18" fmla="*/ 2 w 17"/>
              <a:gd name="T19" fmla="*/ 22 h 26"/>
              <a:gd name="T20" fmla="*/ 2 w 17"/>
              <a:gd name="T21" fmla="*/ 24 h 26"/>
              <a:gd name="T22" fmla="*/ 6 w 17"/>
              <a:gd name="T23" fmla="*/ 26 h 26"/>
              <a:gd name="T24" fmla="*/ 8 w 17"/>
              <a:gd name="T25" fmla="*/ 25 h 26"/>
              <a:gd name="T26" fmla="*/ 8 w 17"/>
              <a:gd name="T27" fmla="*/ 20 h 26"/>
              <a:gd name="T28" fmla="*/ 9 w 17"/>
              <a:gd name="T29" fmla="*/ 16 h 26"/>
              <a:gd name="T30" fmla="*/ 10 w 17"/>
              <a:gd name="T31" fmla="*/ 10 h 26"/>
              <a:gd name="T32" fmla="*/ 12 w 17"/>
              <a:gd name="T33" fmla="*/ 7 h 26"/>
              <a:gd name="T34" fmla="*/ 16 w 17"/>
              <a:gd name="T35" fmla="*/ 5 h 26"/>
              <a:gd name="T36" fmla="*/ 17 w 17"/>
              <a:gd name="T37" fmla="*/ 5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7" h="26">
                <a:moveTo>
                  <a:pt x="17" y="5"/>
                </a:moveTo>
                <a:lnTo>
                  <a:pt x="15" y="2"/>
                </a:lnTo>
                <a:lnTo>
                  <a:pt x="12" y="0"/>
                </a:lnTo>
                <a:lnTo>
                  <a:pt x="9" y="2"/>
                </a:lnTo>
                <a:lnTo>
                  <a:pt x="8" y="7"/>
                </a:lnTo>
                <a:lnTo>
                  <a:pt x="5" y="8"/>
                </a:lnTo>
                <a:lnTo>
                  <a:pt x="0" y="12"/>
                </a:lnTo>
                <a:lnTo>
                  <a:pt x="2" y="14"/>
                </a:lnTo>
                <a:lnTo>
                  <a:pt x="2" y="18"/>
                </a:lnTo>
                <a:lnTo>
                  <a:pt x="2" y="22"/>
                </a:lnTo>
                <a:lnTo>
                  <a:pt x="2" y="24"/>
                </a:lnTo>
                <a:lnTo>
                  <a:pt x="6" y="26"/>
                </a:lnTo>
                <a:lnTo>
                  <a:pt x="8" y="25"/>
                </a:lnTo>
                <a:lnTo>
                  <a:pt x="8" y="20"/>
                </a:lnTo>
                <a:lnTo>
                  <a:pt x="9" y="16"/>
                </a:lnTo>
                <a:lnTo>
                  <a:pt x="10" y="10"/>
                </a:lnTo>
                <a:lnTo>
                  <a:pt x="12" y="7"/>
                </a:lnTo>
                <a:lnTo>
                  <a:pt x="16" y="5"/>
                </a:lnTo>
                <a:lnTo>
                  <a:pt x="17" y="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45" name="Freeform 945"/>
          <p:cNvSpPr>
            <a:spLocks/>
          </p:cNvSpPr>
          <p:nvPr/>
        </p:nvSpPr>
        <p:spPr bwMode="auto">
          <a:xfrm>
            <a:off x="4652963" y="3705190"/>
            <a:ext cx="26987" cy="41275"/>
          </a:xfrm>
          <a:custGeom>
            <a:avLst/>
            <a:gdLst>
              <a:gd name="T0" fmla="*/ 17 w 17"/>
              <a:gd name="T1" fmla="*/ 5 h 26"/>
              <a:gd name="T2" fmla="*/ 15 w 17"/>
              <a:gd name="T3" fmla="*/ 2 h 26"/>
              <a:gd name="T4" fmla="*/ 12 w 17"/>
              <a:gd name="T5" fmla="*/ 0 h 26"/>
              <a:gd name="T6" fmla="*/ 9 w 17"/>
              <a:gd name="T7" fmla="*/ 2 h 26"/>
              <a:gd name="T8" fmla="*/ 8 w 17"/>
              <a:gd name="T9" fmla="*/ 7 h 26"/>
              <a:gd name="T10" fmla="*/ 5 w 17"/>
              <a:gd name="T11" fmla="*/ 8 h 26"/>
              <a:gd name="T12" fmla="*/ 0 w 17"/>
              <a:gd name="T13" fmla="*/ 12 h 26"/>
              <a:gd name="T14" fmla="*/ 2 w 17"/>
              <a:gd name="T15" fmla="*/ 14 h 26"/>
              <a:gd name="T16" fmla="*/ 2 w 17"/>
              <a:gd name="T17" fmla="*/ 18 h 26"/>
              <a:gd name="T18" fmla="*/ 2 w 17"/>
              <a:gd name="T19" fmla="*/ 22 h 26"/>
              <a:gd name="T20" fmla="*/ 2 w 17"/>
              <a:gd name="T21" fmla="*/ 24 h 26"/>
              <a:gd name="T22" fmla="*/ 6 w 17"/>
              <a:gd name="T23" fmla="*/ 26 h 26"/>
              <a:gd name="T24" fmla="*/ 8 w 17"/>
              <a:gd name="T25" fmla="*/ 25 h 26"/>
              <a:gd name="T26" fmla="*/ 8 w 17"/>
              <a:gd name="T27" fmla="*/ 20 h 26"/>
              <a:gd name="T28" fmla="*/ 9 w 17"/>
              <a:gd name="T29" fmla="*/ 16 h 26"/>
              <a:gd name="T30" fmla="*/ 10 w 17"/>
              <a:gd name="T31" fmla="*/ 10 h 26"/>
              <a:gd name="T32" fmla="*/ 12 w 17"/>
              <a:gd name="T33" fmla="*/ 7 h 26"/>
              <a:gd name="T34" fmla="*/ 16 w 17"/>
              <a:gd name="T35" fmla="*/ 5 h 26"/>
              <a:gd name="T36" fmla="*/ 17 w 17"/>
              <a:gd name="T37" fmla="*/ 5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7" h="26">
                <a:moveTo>
                  <a:pt x="17" y="5"/>
                </a:moveTo>
                <a:lnTo>
                  <a:pt x="15" y="2"/>
                </a:lnTo>
                <a:lnTo>
                  <a:pt x="12" y="0"/>
                </a:lnTo>
                <a:lnTo>
                  <a:pt x="9" y="2"/>
                </a:lnTo>
                <a:lnTo>
                  <a:pt x="8" y="7"/>
                </a:lnTo>
                <a:lnTo>
                  <a:pt x="5" y="8"/>
                </a:lnTo>
                <a:lnTo>
                  <a:pt x="0" y="12"/>
                </a:lnTo>
                <a:lnTo>
                  <a:pt x="2" y="14"/>
                </a:lnTo>
                <a:lnTo>
                  <a:pt x="2" y="18"/>
                </a:lnTo>
                <a:lnTo>
                  <a:pt x="2" y="22"/>
                </a:lnTo>
                <a:lnTo>
                  <a:pt x="2" y="24"/>
                </a:lnTo>
                <a:lnTo>
                  <a:pt x="6" y="26"/>
                </a:lnTo>
                <a:lnTo>
                  <a:pt x="8" y="25"/>
                </a:lnTo>
                <a:lnTo>
                  <a:pt x="8" y="20"/>
                </a:lnTo>
                <a:lnTo>
                  <a:pt x="9" y="16"/>
                </a:lnTo>
                <a:lnTo>
                  <a:pt x="10" y="10"/>
                </a:lnTo>
                <a:lnTo>
                  <a:pt x="12" y="7"/>
                </a:lnTo>
                <a:lnTo>
                  <a:pt x="16" y="5"/>
                </a:lnTo>
                <a:lnTo>
                  <a:pt x="17" y="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46" name="Freeform 946"/>
          <p:cNvSpPr>
            <a:spLocks/>
          </p:cNvSpPr>
          <p:nvPr/>
        </p:nvSpPr>
        <p:spPr bwMode="auto">
          <a:xfrm>
            <a:off x="4716463" y="3259103"/>
            <a:ext cx="333375" cy="236538"/>
          </a:xfrm>
          <a:custGeom>
            <a:avLst/>
            <a:gdLst>
              <a:gd name="T0" fmla="*/ 126 w 210"/>
              <a:gd name="T1" fmla="*/ 2 h 149"/>
              <a:gd name="T2" fmla="*/ 118 w 210"/>
              <a:gd name="T3" fmla="*/ 5 h 149"/>
              <a:gd name="T4" fmla="*/ 114 w 210"/>
              <a:gd name="T5" fmla="*/ 14 h 149"/>
              <a:gd name="T6" fmla="*/ 110 w 210"/>
              <a:gd name="T7" fmla="*/ 18 h 149"/>
              <a:gd name="T8" fmla="*/ 103 w 210"/>
              <a:gd name="T9" fmla="*/ 28 h 149"/>
              <a:gd name="T10" fmla="*/ 97 w 210"/>
              <a:gd name="T11" fmla="*/ 34 h 149"/>
              <a:gd name="T12" fmla="*/ 92 w 210"/>
              <a:gd name="T13" fmla="*/ 35 h 149"/>
              <a:gd name="T14" fmla="*/ 86 w 210"/>
              <a:gd name="T15" fmla="*/ 36 h 149"/>
              <a:gd name="T16" fmla="*/ 76 w 210"/>
              <a:gd name="T17" fmla="*/ 37 h 149"/>
              <a:gd name="T18" fmla="*/ 71 w 210"/>
              <a:gd name="T19" fmla="*/ 39 h 149"/>
              <a:gd name="T20" fmla="*/ 74 w 210"/>
              <a:gd name="T21" fmla="*/ 45 h 149"/>
              <a:gd name="T22" fmla="*/ 71 w 210"/>
              <a:gd name="T23" fmla="*/ 49 h 149"/>
              <a:gd name="T24" fmla="*/ 68 w 210"/>
              <a:gd name="T25" fmla="*/ 52 h 149"/>
              <a:gd name="T26" fmla="*/ 60 w 210"/>
              <a:gd name="T27" fmla="*/ 54 h 149"/>
              <a:gd name="T28" fmla="*/ 53 w 210"/>
              <a:gd name="T29" fmla="*/ 55 h 149"/>
              <a:gd name="T30" fmla="*/ 45 w 210"/>
              <a:gd name="T31" fmla="*/ 61 h 149"/>
              <a:gd name="T32" fmla="*/ 40 w 210"/>
              <a:gd name="T33" fmla="*/ 63 h 149"/>
              <a:gd name="T34" fmla="*/ 36 w 210"/>
              <a:gd name="T35" fmla="*/ 61 h 149"/>
              <a:gd name="T36" fmla="*/ 33 w 210"/>
              <a:gd name="T37" fmla="*/ 58 h 149"/>
              <a:gd name="T38" fmla="*/ 31 w 210"/>
              <a:gd name="T39" fmla="*/ 62 h 149"/>
              <a:gd name="T40" fmla="*/ 22 w 210"/>
              <a:gd name="T41" fmla="*/ 65 h 149"/>
              <a:gd name="T42" fmla="*/ 18 w 210"/>
              <a:gd name="T43" fmla="*/ 65 h 149"/>
              <a:gd name="T44" fmla="*/ 11 w 210"/>
              <a:gd name="T45" fmla="*/ 74 h 149"/>
              <a:gd name="T46" fmla="*/ 3 w 210"/>
              <a:gd name="T47" fmla="*/ 89 h 149"/>
              <a:gd name="T48" fmla="*/ 1 w 210"/>
              <a:gd name="T49" fmla="*/ 102 h 149"/>
              <a:gd name="T50" fmla="*/ 5 w 210"/>
              <a:gd name="T51" fmla="*/ 119 h 149"/>
              <a:gd name="T52" fmla="*/ 18 w 210"/>
              <a:gd name="T53" fmla="*/ 143 h 149"/>
              <a:gd name="T54" fmla="*/ 29 w 210"/>
              <a:gd name="T55" fmla="*/ 145 h 149"/>
              <a:gd name="T56" fmla="*/ 47 w 210"/>
              <a:gd name="T57" fmla="*/ 134 h 149"/>
              <a:gd name="T58" fmla="*/ 61 w 210"/>
              <a:gd name="T59" fmla="*/ 137 h 149"/>
              <a:gd name="T60" fmla="*/ 71 w 210"/>
              <a:gd name="T61" fmla="*/ 133 h 149"/>
              <a:gd name="T62" fmla="*/ 71 w 210"/>
              <a:gd name="T63" fmla="*/ 118 h 149"/>
              <a:gd name="T64" fmla="*/ 77 w 210"/>
              <a:gd name="T65" fmla="*/ 111 h 149"/>
              <a:gd name="T66" fmla="*/ 90 w 210"/>
              <a:gd name="T67" fmla="*/ 107 h 149"/>
              <a:gd name="T68" fmla="*/ 99 w 210"/>
              <a:gd name="T69" fmla="*/ 119 h 149"/>
              <a:gd name="T70" fmla="*/ 107 w 210"/>
              <a:gd name="T71" fmla="*/ 120 h 149"/>
              <a:gd name="T72" fmla="*/ 131 w 210"/>
              <a:gd name="T73" fmla="*/ 122 h 149"/>
              <a:gd name="T74" fmla="*/ 141 w 210"/>
              <a:gd name="T75" fmla="*/ 114 h 149"/>
              <a:gd name="T76" fmla="*/ 152 w 210"/>
              <a:gd name="T77" fmla="*/ 112 h 149"/>
              <a:gd name="T78" fmla="*/ 164 w 210"/>
              <a:gd name="T79" fmla="*/ 108 h 149"/>
              <a:gd name="T80" fmla="*/ 167 w 210"/>
              <a:gd name="T81" fmla="*/ 112 h 149"/>
              <a:gd name="T82" fmla="*/ 173 w 210"/>
              <a:gd name="T83" fmla="*/ 106 h 149"/>
              <a:gd name="T84" fmla="*/ 190 w 210"/>
              <a:gd name="T85" fmla="*/ 105 h 149"/>
              <a:gd name="T86" fmla="*/ 200 w 210"/>
              <a:gd name="T87" fmla="*/ 111 h 149"/>
              <a:gd name="T88" fmla="*/ 209 w 210"/>
              <a:gd name="T89" fmla="*/ 104 h 149"/>
              <a:gd name="T90" fmla="*/ 198 w 210"/>
              <a:gd name="T91" fmla="*/ 91 h 149"/>
              <a:gd name="T92" fmla="*/ 192 w 210"/>
              <a:gd name="T93" fmla="*/ 83 h 149"/>
              <a:gd name="T94" fmla="*/ 187 w 210"/>
              <a:gd name="T95" fmla="*/ 74 h 149"/>
              <a:gd name="T96" fmla="*/ 173 w 210"/>
              <a:gd name="T97" fmla="*/ 63 h 149"/>
              <a:gd name="T98" fmla="*/ 171 w 210"/>
              <a:gd name="T99" fmla="*/ 55 h 149"/>
              <a:gd name="T100" fmla="*/ 160 w 210"/>
              <a:gd name="T101" fmla="*/ 49 h 149"/>
              <a:gd name="T102" fmla="*/ 151 w 210"/>
              <a:gd name="T103" fmla="*/ 43 h 149"/>
              <a:gd name="T104" fmla="*/ 143 w 210"/>
              <a:gd name="T105" fmla="*/ 34 h 149"/>
              <a:gd name="T106" fmla="*/ 144 w 210"/>
              <a:gd name="T107" fmla="*/ 18 h 149"/>
              <a:gd name="T108" fmla="*/ 131 w 210"/>
              <a:gd name="T10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10" h="149">
                <a:moveTo>
                  <a:pt x="131" y="0"/>
                </a:moveTo>
                <a:lnTo>
                  <a:pt x="128" y="1"/>
                </a:lnTo>
                <a:lnTo>
                  <a:pt x="126" y="2"/>
                </a:lnTo>
                <a:lnTo>
                  <a:pt x="121" y="2"/>
                </a:lnTo>
                <a:lnTo>
                  <a:pt x="119" y="3"/>
                </a:lnTo>
                <a:lnTo>
                  <a:pt x="118" y="5"/>
                </a:lnTo>
                <a:lnTo>
                  <a:pt x="116" y="8"/>
                </a:lnTo>
                <a:lnTo>
                  <a:pt x="116" y="14"/>
                </a:lnTo>
                <a:lnTo>
                  <a:pt x="114" y="14"/>
                </a:lnTo>
                <a:lnTo>
                  <a:pt x="112" y="17"/>
                </a:lnTo>
                <a:lnTo>
                  <a:pt x="111" y="18"/>
                </a:lnTo>
                <a:lnTo>
                  <a:pt x="110" y="18"/>
                </a:lnTo>
                <a:lnTo>
                  <a:pt x="106" y="24"/>
                </a:lnTo>
                <a:lnTo>
                  <a:pt x="104" y="27"/>
                </a:lnTo>
                <a:lnTo>
                  <a:pt x="103" y="28"/>
                </a:lnTo>
                <a:lnTo>
                  <a:pt x="100" y="31"/>
                </a:lnTo>
                <a:lnTo>
                  <a:pt x="98" y="31"/>
                </a:lnTo>
                <a:lnTo>
                  <a:pt x="97" y="34"/>
                </a:lnTo>
                <a:lnTo>
                  <a:pt x="96" y="34"/>
                </a:lnTo>
                <a:lnTo>
                  <a:pt x="93" y="35"/>
                </a:lnTo>
                <a:lnTo>
                  <a:pt x="92" y="35"/>
                </a:lnTo>
                <a:lnTo>
                  <a:pt x="90" y="35"/>
                </a:lnTo>
                <a:lnTo>
                  <a:pt x="88" y="35"/>
                </a:lnTo>
                <a:lnTo>
                  <a:pt x="86" y="36"/>
                </a:lnTo>
                <a:lnTo>
                  <a:pt x="84" y="36"/>
                </a:lnTo>
                <a:lnTo>
                  <a:pt x="79" y="36"/>
                </a:lnTo>
                <a:lnTo>
                  <a:pt x="76" y="37"/>
                </a:lnTo>
                <a:lnTo>
                  <a:pt x="72" y="38"/>
                </a:lnTo>
                <a:lnTo>
                  <a:pt x="72" y="38"/>
                </a:lnTo>
                <a:lnTo>
                  <a:pt x="71" y="39"/>
                </a:lnTo>
                <a:lnTo>
                  <a:pt x="71" y="41"/>
                </a:lnTo>
                <a:lnTo>
                  <a:pt x="73" y="42"/>
                </a:lnTo>
                <a:lnTo>
                  <a:pt x="74" y="45"/>
                </a:lnTo>
                <a:lnTo>
                  <a:pt x="73" y="46"/>
                </a:lnTo>
                <a:lnTo>
                  <a:pt x="72" y="47"/>
                </a:lnTo>
                <a:lnTo>
                  <a:pt x="71" y="49"/>
                </a:lnTo>
                <a:lnTo>
                  <a:pt x="70" y="51"/>
                </a:lnTo>
                <a:lnTo>
                  <a:pt x="68" y="51"/>
                </a:lnTo>
                <a:lnTo>
                  <a:pt x="68" y="52"/>
                </a:lnTo>
                <a:lnTo>
                  <a:pt x="67" y="54"/>
                </a:lnTo>
                <a:lnTo>
                  <a:pt x="67" y="54"/>
                </a:lnTo>
                <a:lnTo>
                  <a:pt x="60" y="54"/>
                </a:lnTo>
                <a:lnTo>
                  <a:pt x="58" y="56"/>
                </a:lnTo>
                <a:lnTo>
                  <a:pt x="56" y="56"/>
                </a:lnTo>
                <a:lnTo>
                  <a:pt x="53" y="55"/>
                </a:lnTo>
                <a:lnTo>
                  <a:pt x="47" y="58"/>
                </a:lnTo>
                <a:lnTo>
                  <a:pt x="46" y="59"/>
                </a:lnTo>
                <a:lnTo>
                  <a:pt x="45" y="61"/>
                </a:lnTo>
                <a:lnTo>
                  <a:pt x="43" y="61"/>
                </a:lnTo>
                <a:lnTo>
                  <a:pt x="40" y="62"/>
                </a:lnTo>
                <a:lnTo>
                  <a:pt x="40" y="63"/>
                </a:lnTo>
                <a:lnTo>
                  <a:pt x="39" y="64"/>
                </a:lnTo>
                <a:lnTo>
                  <a:pt x="37" y="61"/>
                </a:lnTo>
                <a:lnTo>
                  <a:pt x="36" y="61"/>
                </a:lnTo>
                <a:lnTo>
                  <a:pt x="35" y="58"/>
                </a:lnTo>
                <a:lnTo>
                  <a:pt x="33" y="58"/>
                </a:lnTo>
                <a:lnTo>
                  <a:pt x="33" y="58"/>
                </a:lnTo>
                <a:lnTo>
                  <a:pt x="32" y="58"/>
                </a:lnTo>
                <a:lnTo>
                  <a:pt x="31" y="59"/>
                </a:lnTo>
                <a:lnTo>
                  <a:pt x="31" y="62"/>
                </a:lnTo>
                <a:lnTo>
                  <a:pt x="27" y="62"/>
                </a:lnTo>
                <a:lnTo>
                  <a:pt x="25" y="65"/>
                </a:lnTo>
                <a:lnTo>
                  <a:pt x="22" y="65"/>
                </a:lnTo>
                <a:lnTo>
                  <a:pt x="21" y="64"/>
                </a:lnTo>
                <a:lnTo>
                  <a:pt x="19" y="64"/>
                </a:lnTo>
                <a:lnTo>
                  <a:pt x="18" y="65"/>
                </a:lnTo>
                <a:lnTo>
                  <a:pt x="16" y="65"/>
                </a:lnTo>
                <a:lnTo>
                  <a:pt x="15" y="66"/>
                </a:lnTo>
                <a:lnTo>
                  <a:pt x="11" y="74"/>
                </a:lnTo>
                <a:lnTo>
                  <a:pt x="8" y="79"/>
                </a:lnTo>
                <a:lnTo>
                  <a:pt x="6" y="85"/>
                </a:lnTo>
                <a:lnTo>
                  <a:pt x="3" y="89"/>
                </a:lnTo>
                <a:lnTo>
                  <a:pt x="0" y="93"/>
                </a:lnTo>
                <a:lnTo>
                  <a:pt x="0" y="97"/>
                </a:lnTo>
                <a:lnTo>
                  <a:pt x="1" y="102"/>
                </a:lnTo>
                <a:lnTo>
                  <a:pt x="1" y="108"/>
                </a:lnTo>
                <a:lnTo>
                  <a:pt x="1" y="113"/>
                </a:lnTo>
                <a:lnTo>
                  <a:pt x="5" y="119"/>
                </a:lnTo>
                <a:lnTo>
                  <a:pt x="7" y="123"/>
                </a:lnTo>
                <a:lnTo>
                  <a:pt x="15" y="138"/>
                </a:lnTo>
                <a:lnTo>
                  <a:pt x="18" y="143"/>
                </a:lnTo>
                <a:lnTo>
                  <a:pt x="25" y="149"/>
                </a:lnTo>
                <a:lnTo>
                  <a:pt x="27" y="149"/>
                </a:lnTo>
                <a:lnTo>
                  <a:pt x="29" y="145"/>
                </a:lnTo>
                <a:lnTo>
                  <a:pt x="33" y="139"/>
                </a:lnTo>
                <a:lnTo>
                  <a:pt x="41" y="135"/>
                </a:lnTo>
                <a:lnTo>
                  <a:pt x="47" y="134"/>
                </a:lnTo>
                <a:lnTo>
                  <a:pt x="51" y="137"/>
                </a:lnTo>
                <a:lnTo>
                  <a:pt x="57" y="138"/>
                </a:lnTo>
                <a:lnTo>
                  <a:pt x="61" y="137"/>
                </a:lnTo>
                <a:lnTo>
                  <a:pt x="66" y="135"/>
                </a:lnTo>
                <a:lnTo>
                  <a:pt x="67" y="134"/>
                </a:lnTo>
                <a:lnTo>
                  <a:pt x="71" y="133"/>
                </a:lnTo>
                <a:lnTo>
                  <a:pt x="70" y="130"/>
                </a:lnTo>
                <a:lnTo>
                  <a:pt x="70" y="124"/>
                </a:lnTo>
                <a:lnTo>
                  <a:pt x="71" y="118"/>
                </a:lnTo>
                <a:lnTo>
                  <a:pt x="73" y="117"/>
                </a:lnTo>
                <a:lnTo>
                  <a:pt x="76" y="112"/>
                </a:lnTo>
                <a:lnTo>
                  <a:pt x="77" y="111"/>
                </a:lnTo>
                <a:lnTo>
                  <a:pt x="81" y="106"/>
                </a:lnTo>
                <a:lnTo>
                  <a:pt x="84" y="106"/>
                </a:lnTo>
                <a:lnTo>
                  <a:pt x="90" y="107"/>
                </a:lnTo>
                <a:lnTo>
                  <a:pt x="92" y="111"/>
                </a:lnTo>
                <a:lnTo>
                  <a:pt x="92" y="113"/>
                </a:lnTo>
                <a:lnTo>
                  <a:pt x="99" y="119"/>
                </a:lnTo>
                <a:lnTo>
                  <a:pt x="101" y="119"/>
                </a:lnTo>
                <a:lnTo>
                  <a:pt x="103" y="117"/>
                </a:lnTo>
                <a:lnTo>
                  <a:pt x="107" y="120"/>
                </a:lnTo>
                <a:lnTo>
                  <a:pt x="113" y="123"/>
                </a:lnTo>
                <a:lnTo>
                  <a:pt x="129" y="123"/>
                </a:lnTo>
                <a:lnTo>
                  <a:pt x="131" y="122"/>
                </a:lnTo>
                <a:lnTo>
                  <a:pt x="131" y="116"/>
                </a:lnTo>
                <a:lnTo>
                  <a:pt x="135" y="113"/>
                </a:lnTo>
                <a:lnTo>
                  <a:pt x="141" y="114"/>
                </a:lnTo>
                <a:lnTo>
                  <a:pt x="143" y="116"/>
                </a:lnTo>
                <a:lnTo>
                  <a:pt x="149" y="114"/>
                </a:lnTo>
                <a:lnTo>
                  <a:pt x="152" y="112"/>
                </a:lnTo>
                <a:lnTo>
                  <a:pt x="159" y="111"/>
                </a:lnTo>
                <a:lnTo>
                  <a:pt x="162" y="108"/>
                </a:lnTo>
                <a:lnTo>
                  <a:pt x="164" y="108"/>
                </a:lnTo>
                <a:lnTo>
                  <a:pt x="164" y="111"/>
                </a:lnTo>
                <a:lnTo>
                  <a:pt x="164" y="111"/>
                </a:lnTo>
                <a:lnTo>
                  <a:pt x="167" y="112"/>
                </a:lnTo>
                <a:lnTo>
                  <a:pt x="169" y="111"/>
                </a:lnTo>
                <a:lnTo>
                  <a:pt x="172" y="111"/>
                </a:lnTo>
                <a:lnTo>
                  <a:pt x="173" y="106"/>
                </a:lnTo>
                <a:lnTo>
                  <a:pt x="179" y="107"/>
                </a:lnTo>
                <a:lnTo>
                  <a:pt x="185" y="106"/>
                </a:lnTo>
                <a:lnTo>
                  <a:pt x="190" y="105"/>
                </a:lnTo>
                <a:lnTo>
                  <a:pt x="194" y="111"/>
                </a:lnTo>
                <a:lnTo>
                  <a:pt x="197" y="107"/>
                </a:lnTo>
                <a:lnTo>
                  <a:pt x="200" y="111"/>
                </a:lnTo>
                <a:lnTo>
                  <a:pt x="202" y="106"/>
                </a:lnTo>
                <a:lnTo>
                  <a:pt x="210" y="106"/>
                </a:lnTo>
                <a:lnTo>
                  <a:pt x="209" y="104"/>
                </a:lnTo>
                <a:lnTo>
                  <a:pt x="208" y="101"/>
                </a:lnTo>
                <a:lnTo>
                  <a:pt x="207" y="97"/>
                </a:lnTo>
                <a:lnTo>
                  <a:pt x="198" y="91"/>
                </a:lnTo>
                <a:lnTo>
                  <a:pt x="194" y="89"/>
                </a:lnTo>
                <a:lnTo>
                  <a:pt x="194" y="86"/>
                </a:lnTo>
                <a:lnTo>
                  <a:pt x="192" y="83"/>
                </a:lnTo>
                <a:lnTo>
                  <a:pt x="191" y="79"/>
                </a:lnTo>
                <a:lnTo>
                  <a:pt x="190" y="76"/>
                </a:lnTo>
                <a:lnTo>
                  <a:pt x="187" y="74"/>
                </a:lnTo>
                <a:lnTo>
                  <a:pt x="184" y="71"/>
                </a:lnTo>
                <a:lnTo>
                  <a:pt x="179" y="67"/>
                </a:lnTo>
                <a:lnTo>
                  <a:pt x="173" y="63"/>
                </a:lnTo>
                <a:lnTo>
                  <a:pt x="171" y="59"/>
                </a:lnTo>
                <a:lnTo>
                  <a:pt x="172" y="56"/>
                </a:lnTo>
                <a:lnTo>
                  <a:pt x="171" y="55"/>
                </a:lnTo>
                <a:lnTo>
                  <a:pt x="169" y="52"/>
                </a:lnTo>
                <a:lnTo>
                  <a:pt x="165" y="51"/>
                </a:lnTo>
                <a:lnTo>
                  <a:pt x="160" y="49"/>
                </a:lnTo>
                <a:lnTo>
                  <a:pt x="157" y="48"/>
                </a:lnTo>
                <a:lnTo>
                  <a:pt x="154" y="44"/>
                </a:lnTo>
                <a:lnTo>
                  <a:pt x="151" y="43"/>
                </a:lnTo>
                <a:lnTo>
                  <a:pt x="148" y="42"/>
                </a:lnTo>
                <a:lnTo>
                  <a:pt x="144" y="38"/>
                </a:lnTo>
                <a:lnTo>
                  <a:pt x="143" y="34"/>
                </a:lnTo>
                <a:lnTo>
                  <a:pt x="144" y="28"/>
                </a:lnTo>
                <a:lnTo>
                  <a:pt x="145" y="23"/>
                </a:lnTo>
                <a:lnTo>
                  <a:pt x="144" y="18"/>
                </a:lnTo>
                <a:lnTo>
                  <a:pt x="139" y="11"/>
                </a:lnTo>
                <a:lnTo>
                  <a:pt x="134" y="5"/>
                </a:lnTo>
                <a:lnTo>
                  <a:pt x="13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47" name="Freeform 947"/>
          <p:cNvSpPr>
            <a:spLocks/>
          </p:cNvSpPr>
          <p:nvPr/>
        </p:nvSpPr>
        <p:spPr bwMode="auto">
          <a:xfrm>
            <a:off x="4716463" y="3259103"/>
            <a:ext cx="333375" cy="236538"/>
          </a:xfrm>
          <a:custGeom>
            <a:avLst/>
            <a:gdLst>
              <a:gd name="T0" fmla="*/ 126 w 210"/>
              <a:gd name="T1" fmla="*/ 2 h 149"/>
              <a:gd name="T2" fmla="*/ 118 w 210"/>
              <a:gd name="T3" fmla="*/ 5 h 149"/>
              <a:gd name="T4" fmla="*/ 114 w 210"/>
              <a:gd name="T5" fmla="*/ 14 h 149"/>
              <a:gd name="T6" fmla="*/ 110 w 210"/>
              <a:gd name="T7" fmla="*/ 18 h 149"/>
              <a:gd name="T8" fmla="*/ 103 w 210"/>
              <a:gd name="T9" fmla="*/ 28 h 149"/>
              <a:gd name="T10" fmla="*/ 97 w 210"/>
              <a:gd name="T11" fmla="*/ 34 h 149"/>
              <a:gd name="T12" fmla="*/ 92 w 210"/>
              <a:gd name="T13" fmla="*/ 35 h 149"/>
              <a:gd name="T14" fmla="*/ 86 w 210"/>
              <a:gd name="T15" fmla="*/ 36 h 149"/>
              <a:gd name="T16" fmla="*/ 76 w 210"/>
              <a:gd name="T17" fmla="*/ 37 h 149"/>
              <a:gd name="T18" fmla="*/ 71 w 210"/>
              <a:gd name="T19" fmla="*/ 39 h 149"/>
              <a:gd name="T20" fmla="*/ 74 w 210"/>
              <a:gd name="T21" fmla="*/ 45 h 149"/>
              <a:gd name="T22" fmla="*/ 71 w 210"/>
              <a:gd name="T23" fmla="*/ 49 h 149"/>
              <a:gd name="T24" fmla="*/ 68 w 210"/>
              <a:gd name="T25" fmla="*/ 52 h 149"/>
              <a:gd name="T26" fmla="*/ 60 w 210"/>
              <a:gd name="T27" fmla="*/ 54 h 149"/>
              <a:gd name="T28" fmla="*/ 53 w 210"/>
              <a:gd name="T29" fmla="*/ 55 h 149"/>
              <a:gd name="T30" fmla="*/ 45 w 210"/>
              <a:gd name="T31" fmla="*/ 61 h 149"/>
              <a:gd name="T32" fmla="*/ 40 w 210"/>
              <a:gd name="T33" fmla="*/ 63 h 149"/>
              <a:gd name="T34" fmla="*/ 36 w 210"/>
              <a:gd name="T35" fmla="*/ 61 h 149"/>
              <a:gd name="T36" fmla="*/ 33 w 210"/>
              <a:gd name="T37" fmla="*/ 58 h 149"/>
              <a:gd name="T38" fmla="*/ 31 w 210"/>
              <a:gd name="T39" fmla="*/ 62 h 149"/>
              <a:gd name="T40" fmla="*/ 22 w 210"/>
              <a:gd name="T41" fmla="*/ 65 h 149"/>
              <a:gd name="T42" fmla="*/ 18 w 210"/>
              <a:gd name="T43" fmla="*/ 65 h 149"/>
              <a:gd name="T44" fmla="*/ 11 w 210"/>
              <a:gd name="T45" fmla="*/ 74 h 149"/>
              <a:gd name="T46" fmla="*/ 3 w 210"/>
              <a:gd name="T47" fmla="*/ 89 h 149"/>
              <a:gd name="T48" fmla="*/ 1 w 210"/>
              <a:gd name="T49" fmla="*/ 102 h 149"/>
              <a:gd name="T50" fmla="*/ 5 w 210"/>
              <a:gd name="T51" fmla="*/ 119 h 149"/>
              <a:gd name="T52" fmla="*/ 18 w 210"/>
              <a:gd name="T53" fmla="*/ 143 h 149"/>
              <a:gd name="T54" fmla="*/ 29 w 210"/>
              <a:gd name="T55" fmla="*/ 145 h 149"/>
              <a:gd name="T56" fmla="*/ 47 w 210"/>
              <a:gd name="T57" fmla="*/ 134 h 149"/>
              <a:gd name="T58" fmla="*/ 61 w 210"/>
              <a:gd name="T59" fmla="*/ 137 h 149"/>
              <a:gd name="T60" fmla="*/ 71 w 210"/>
              <a:gd name="T61" fmla="*/ 133 h 149"/>
              <a:gd name="T62" fmla="*/ 71 w 210"/>
              <a:gd name="T63" fmla="*/ 118 h 149"/>
              <a:gd name="T64" fmla="*/ 77 w 210"/>
              <a:gd name="T65" fmla="*/ 111 h 149"/>
              <a:gd name="T66" fmla="*/ 90 w 210"/>
              <a:gd name="T67" fmla="*/ 107 h 149"/>
              <a:gd name="T68" fmla="*/ 99 w 210"/>
              <a:gd name="T69" fmla="*/ 119 h 149"/>
              <a:gd name="T70" fmla="*/ 107 w 210"/>
              <a:gd name="T71" fmla="*/ 120 h 149"/>
              <a:gd name="T72" fmla="*/ 131 w 210"/>
              <a:gd name="T73" fmla="*/ 122 h 149"/>
              <a:gd name="T74" fmla="*/ 141 w 210"/>
              <a:gd name="T75" fmla="*/ 114 h 149"/>
              <a:gd name="T76" fmla="*/ 152 w 210"/>
              <a:gd name="T77" fmla="*/ 112 h 149"/>
              <a:gd name="T78" fmla="*/ 164 w 210"/>
              <a:gd name="T79" fmla="*/ 108 h 149"/>
              <a:gd name="T80" fmla="*/ 167 w 210"/>
              <a:gd name="T81" fmla="*/ 112 h 149"/>
              <a:gd name="T82" fmla="*/ 173 w 210"/>
              <a:gd name="T83" fmla="*/ 106 h 149"/>
              <a:gd name="T84" fmla="*/ 190 w 210"/>
              <a:gd name="T85" fmla="*/ 105 h 149"/>
              <a:gd name="T86" fmla="*/ 200 w 210"/>
              <a:gd name="T87" fmla="*/ 111 h 149"/>
              <a:gd name="T88" fmla="*/ 209 w 210"/>
              <a:gd name="T89" fmla="*/ 104 h 149"/>
              <a:gd name="T90" fmla="*/ 198 w 210"/>
              <a:gd name="T91" fmla="*/ 91 h 149"/>
              <a:gd name="T92" fmla="*/ 192 w 210"/>
              <a:gd name="T93" fmla="*/ 83 h 149"/>
              <a:gd name="T94" fmla="*/ 187 w 210"/>
              <a:gd name="T95" fmla="*/ 74 h 149"/>
              <a:gd name="T96" fmla="*/ 173 w 210"/>
              <a:gd name="T97" fmla="*/ 63 h 149"/>
              <a:gd name="T98" fmla="*/ 171 w 210"/>
              <a:gd name="T99" fmla="*/ 55 h 149"/>
              <a:gd name="T100" fmla="*/ 160 w 210"/>
              <a:gd name="T101" fmla="*/ 49 h 149"/>
              <a:gd name="T102" fmla="*/ 151 w 210"/>
              <a:gd name="T103" fmla="*/ 43 h 149"/>
              <a:gd name="T104" fmla="*/ 143 w 210"/>
              <a:gd name="T105" fmla="*/ 34 h 149"/>
              <a:gd name="T106" fmla="*/ 144 w 210"/>
              <a:gd name="T107" fmla="*/ 18 h 149"/>
              <a:gd name="T108" fmla="*/ 131 w 210"/>
              <a:gd name="T109" fmla="*/ 0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10" h="149">
                <a:moveTo>
                  <a:pt x="131" y="0"/>
                </a:moveTo>
                <a:lnTo>
                  <a:pt x="128" y="1"/>
                </a:lnTo>
                <a:lnTo>
                  <a:pt x="126" y="2"/>
                </a:lnTo>
                <a:lnTo>
                  <a:pt x="121" y="2"/>
                </a:lnTo>
                <a:lnTo>
                  <a:pt x="119" y="3"/>
                </a:lnTo>
                <a:lnTo>
                  <a:pt x="118" y="5"/>
                </a:lnTo>
                <a:lnTo>
                  <a:pt x="116" y="8"/>
                </a:lnTo>
                <a:lnTo>
                  <a:pt x="116" y="14"/>
                </a:lnTo>
                <a:lnTo>
                  <a:pt x="114" y="14"/>
                </a:lnTo>
                <a:lnTo>
                  <a:pt x="112" y="17"/>
                </a:lnTo>
                <a:lnTo>
                  <a:pt x="111" y="18"/>
                </a:lnTo>
                <a:lnTo>
                  <a:pt x="110" y="18"/>
                </a:lnTo>
                <a:lnTo>
                  <a:pt x="106" y="24"/>
                </a:lnTo>
                <a:lnTo>
                  <a:pt x="104" y="27"/>
                </a:lnTo>
                <a:lnTo>
                  <a:pt x="103" y="28"/>
                </a:lnTo>
                <a:lnTo>
                  <a:pt x="100" y="31"/>
                </a:lnTo>
                <a:lnTo>
                  <a:pt x="98" y="31"/>
                </a:lnTo>
                <a:lnTo>
                  <a:pt x="97" y="34"/>
                </a:lnTo>
                <a:lnTo>
                  <a:pt x="96" y="34"/>
                </a:lnTo>
                <a:lnTo>
                  <a:pt x="93" y="35"/>
                </a:lnTo>
                <a:lnTo>
                  <a:pt x="92" y="35"/>
                </a:lnTo>
                <a:lnTo>
                  <a:pt x="90" y="35"/>
                </a:lnTo>
                <a:lnTo>
                  <a:pt x="88" y="35"/>
                </a:lnTo>
                <a:lnTo>
                  <a:pt x="86" y="36"/>
                </a:lnTo>
                <a:lnTo>
                  <a:pt x="84" y="36"/>
                </a:lnTo>
                <a:lnTo>
                  <a:pt x="79" y="36"/>
                </a:lnTo>
                <a:lnTo>
                  <a:pt x="76" y="37"/>
                </a:lnTo>
                <a:lnTo>
                  <a:pt x="72" y="38"/>
                </a:lnTo>
                <a:lnTo>
                  <a:pt x="72" y="38"/>
                </a:lnTo>
                <a:lnTo>
                  <a:pt x="71" y="39"/>
                </a:lnTo>
                <a:lnTo>
                  <a:pt x="71" y="41"/>
                </a:lnTo>
                <a:lnTo>
                  <a:pt x="73" y="42"/>
                </a:lnTo>
                <a:lnTo>
                  <a:pt x="74" y="45"/>
                </a:lnTo>
                <a:lnTo>
                  <a:pt x="73" y="46"/>
                </a:lnTo>
                <a:lnTo>
                  <a:pt x="72" y="47"/>
                </a:lnTo>
                <a:lnTo>
                  <a:pt x="71" y="49"/>
                </a:lnTo>
                <a:lnTo>
                  <a:pt x="70" y="51"/>
                </a:lnTo>
                <a:lnTo>
                  <a:pt x="68" y="51"/>
                </a:lnTo>
                <a:lnTo>
                  <a:pt x="68" y="52"/>
                </a:lnTo>
                <a:lnTo>
                  <a:pt x="67" y="54"/>
                </a:lnTo>
                <a:lnTo>
                  <a:pt x="67" y="54"/>
                </a:lnTo>
                <a:lnTo>
                  <a:pt x="60" y="54"/>
                </a:lnTo>
                <a:lnTo>
                  <a:pt x="58" y="56"/>
                </a:lnTo>
                <a:lnTo>
                  <a:pt x="56" y="56"/>
                </a:lnTo>
                <a:lnTo>
                  <a:pt x="53" y="55"/>
                </a:lnTo>
                <a:lnTo>
                  <a:pt x="47" y="58"/>
                </a:lnTo>
                <a:lnTo>
                  <a:pt x="46" y="59"/>
                </a:lnTo>
                <a:lnTo>
                  <a:pt x="45" y="61"/>
                </a:lnTo>
                <a:lnTo>
                  <a:pt x="43" y="61"/>
                </a:lnTo>
                <a:lnTo>
                  <a:pt x="40" y="62"/>
                </a:lnTo>
                <a:lnTo>
                  <a:pt x="40" y="63"/>
                </a:lnTo>
                <a:lnTo>
                  <a:pt x="39" y="64"/>
                </a:lnTo>
                <a:lnTo>
                  <a:pt x="37" y="61"/>
                </a:lnTo>
                <a:lnTo>
                  <a:pt x="36" y="61"/>
                </a:lnTo>
                <a:lnTo>
                  <a:pt x="35" y="58"/>
                </a:lnTo>
                <a:lnTo>
                  <a:pt x="33" y="58"/>
                </a:lnTo>
                <a:lnTo>
                  <a:pt x="33" y="58"/>
                </a:lnTo>
                <a:lnTo>
                  <a:pt x="32" y="58"/>
                </a:lnTo>
                <a:lnTo>
                  <a:pt x="31" y="59"/>
                </a:lnTo>
                <a:lnTo>
                  <a:pt x="31" y="62"/>
                </a:lnTo>
                <a:lnTo>
                  <a:pt x="27" y="62"/>
                </a:lnTo>
                <a:lnTo>
                  <a:pt x="25" y="65"/>
                </a:lnTo>
                <a:lnTo>
                  <a:pt x="22" y="65"/>
                </a:lnTo>
                <a:lnTo>
                  <a:pt x="21" y="64"/>
                </a:lnTo>
                <a:lnTo>
                  <a:pt x="19" y="64"/>
                </a:lnTo>
                <a:lnTo>
                  <a:pt x="18" y="65"/>
                </a:lnTo>
                <a:lnTo>
                  <a:pt x="16" y="65"/>
                </a:lnTo>
                <a:lnTo>
                  <a:pt x="15" y="66"/>
                </a:lnTo>
                <a:lnTo>
                  <a:pt x="11" y="74"/>
                </a:lnTo>
                <a:lnTo>
                  <a:pt x="8" y="79"/>
                </a:lnTo>
                <a:lnTo>
                  <a:pt x="6" y="85"/>
                </a:lnTo>
                <a:lnTo>
                  <a:pt x="3" y="89"/>
                </a:lnTo>
                <a:lnTo>
                  <a:pt x="0" y="93"/>
                </a:lnTo>
                <a:lnTo>
                  <a:pt x="0" y="97"/>
                </a:lnTo>
                <a:lnTo>
                  <a:pt x="1" y="102"/>
                </a:lnTo>
                <a:lnTo>
                  <a:pt x="1" y="108"/>
                </a:lnTo>
                <a:lnTo>
                  <a:pt x="1" y="113"/>
                </a:lnTo>
                <a:lnTo>
                  <a:pt x="5" y="119"/>
                </a:lnTo>
                <a:lnTo>
                  <a:pt x="7" y="123"/>
                </a:lnTo>
                <a:lnTo>
                  <a:pt x="15" y="138"/>
                </a:lnTo>
                <a:lnTo>
                  <a:pt x="18" y="143"/>
                </a:lnTo>
                <a:lnTo>
                  <a:pt x="25" y="149"/>
                </a:lnTo>
                <a:lnTo>
                  <a:pt x="27" y="149"/>
                </a:lnTo>
                <a:lnTo>
                  <a:pt x="29" y="145"/>
                </a:lnTo>
                <a:lnTo>
                  <a:pt x="33" y="139"/>
                </a:lnTo>
                <a:lnTo>
                  <a:pt x="41" y="135"/>
                </a:lnTo>
                <a:lnTo>
                  <a:pt x="47" y="134"/>
                </a:lnTo>
                <a:lnTo>
                  <a:pt x="51" y="137"/>
                </a:lnTo>
                <a:lnTo>
                  <a:pt x="57" y="138"/>
                </a:lnTo>
                <a:lnTo>
                  <a:pt x="61" y="137"/>
                </a:lnTo>
                <a:lnTo>
                  <a:pt x="66" y="135"/>
                </a:lnTo>
                <a:lnTo>
                  <a:pt x="67" y="134"/>
                </a:lnTo>
                <a:lnTo>
                  <a:pt x="71" y="133"/>
                </a:lnTo>
                <a:lnTo>
                  <a:pt x="70" y="130"/>
                </a:lnTo>
                <a:lnTo>
                  <a:pt x="70" y="124"/>
                </a:lnTo>
                <a:lnTo>
                  <a:pt x="71" y="118"/>
                </a:lnTo>
                <a:lnTo>
                  <a:pt x="73" y="117"/>
                </a:lnTo>
                <a:lnTo>
                  <a:pt x="76" y="112"/>
                </a:lnTo>
                <a:lnTo>
                  <a:pt x="77" y="111"/>
                </a:lnTo>
                <a:lnTo>
                  <a:pt x="81" y="106"/>
                </a:lnTo>
                <a:lnTo>
                  <a:pt x="84" y="106"/>
                </a:lnTo>
                <a:lnTo>
                  <a:pt x="90" y="107"/>
                </a:lnTo>
                <a:lnTo>
                  <a:pt x="92" y="111"/>
                </a:lnTo>
                <a:lnTo>
                  <a:pt x="92" y="113"/>
                </a:lnTo>
                <a:lnTo>
                  <a:pt x="99" y="119"/>
                </a:lnTo>
                <a:lnTo>
                  <a:pt x="101" y="119"/>
                </a:lnTo>
                <a:lnTo>
                  <a:pt x="103" y="117"/>
                </a:lnTo>
                <a:lnTo>
                  <a:pt x="107" y="120"/>
                </a:lnTo>
                <a:lnTo>
                  <a:pt x="113" y="123"/>
                </a:lnTo>
                <a:lnTo>
                  <a:pt x="129" y="123"/>
                </a:lnTo>
                <a:lnTo>
                  <a:pt x="131" y="122"/>
                </a:lnTo>
                <a:lnTo>
                  <a:pt x="131" y="116"/>
                </a:lnTo>
                <a:lnTo>
                  <a:pt x="135" y="113"/>
                </a:lnTo>
                <a:lnTo>
                  <a:pt x="141" y="114"/>
                </a:lnTo>
                <a:lnTo>
                  <a:pt x="143" y="116"/>
                </a:lnTo>
                <a:lnTo>
                  <a:pt x="149" y="114"/>
                </a:lnTo>
                <a:lnTo>
                  <a:pt x="152" y="112"/>
                </a:lnTo>
                <a:lnTo>
                  <a:pt x="159" y="111"/>
                </a:lnTo>
                <a:lnTo>
                  <a:pt x="162" y="108"/>
                </a:lnTo>
                <a:lnTo>
                  <a:pt x="164" y="108"/>
                </a:lnTo>
                <a:lnTo>
                  <a:pt x="164" y="111"/>
                </a:lnTo>
                <a:lnTo>
                  <a:pt x="164" y="111"/>
                </a:lnTo>
                <a:lnTo>
                  <a:pt x="167" y="112"/>
                </a:lnTo>
                <a:lnTo>
                  <a:pt x="169" y="111"/>
                </a:lnTo>
                <a:lnTo>
                  <a:pt x="172" y="111"/>
                </a:lnTo>
                <a:lnTo>
                  <a:pt x="173" y="106"/>
                </a:lnTo>
                <a:lnTo>
                  <a:pt x="179" y="107"/>
                </a:lnTo>
                <a:lnTo>
                  <a:pt x="185" y="106"/>
                </a:lnTo>
                <a:lnTo>
                  <a:pt x="190" y="105"/>
                </a:lnTo>
                <a:lnTo>
                  <a:pt x="194" y="111"/>
                </a:lnTo>
                <a:lnTo>
                  <a:pt x="197" y="107"/>
                </a:lnTo>
                <a:lnTo>
                  <a:pt x="200" y="111"/>
                </a:lnTo>
                <a:lnTo>
                  <a:pt x="202" y="106"/>
                </a:lnTo>
                <a:lnTo>
                  <a:pt x="210" y="106"/>
                </a:lnTo>
                <a:lnTo>
                  <a:pt x="209" y="104"/>
                </a:lnTo>
                <a:lnTo>
                  <a:pt x="208" y="101"/>
                </a:lnTo>
                <a:lnTo>
                  <a:pt x="207" y="97"/>
                </a:lnTo>
                <a:lnTo>
                  <a:pt x="198" y="91"/>
                </a:lnTo>
                <a:lnTo>
                  <a:pt x="194" y="89"/>
                </a:lnTo>
                <a:lnTo>
                  <a:pt x="194" y="86"/>
                </a:lnTo>
                <a:lnTo>
                  <a:pt x="192" y="83"/>
                </a:lnTo>
                <a:lnTo>
                  <a:pt x="191" y="79"/>
                </a:lnTo>
                <a:lnTo>
                  <a:pt x="190" y="76"/>
                </a:lnTo>
                <a:lnTo>
                  <a:pt x="187" y="74"/>
                </a:lnTo>
                <a:lnTo>
                  <a:pt x="184" y="71"/>
                </a:lnTo>
                <a:lnTo>
                  <a:pt x="179" y="67"/>
                </a:lnTo>
                <a:lnTo>
                  <a:pt x="173" y="63"/>
                </a:lnTo>
                <a:lnTo>
                  <a:pt x="171" y="59"/>
                </a:lnTo>
                <a:lnTo>
                  <a:pt x="172" y="56"/>
                </a:lnTo>
                <a:lnTo>
                  <a:pt x="171" y="55"/>
                </a:lnTo>
                <a:lnTo>
                  <a:pt x="169" y="52"/>
                </a:lnTo>
                <a:lnTo>
                  <a:pt x="165" y="51"/>
                </a:lnTo>
                <a:lnTo>
                  <a:pt x="160" y="49"/>
                </a:lnTo>
                <a:lnTo>
                  <a:pt x="157" y="48"/>
                </a:lnTo>
                <a:lnTo>
                  <a:pt x="154" y="44"/>
                </a:lnTo>
                <a:lnTo>
                  <a:pt x="151" y="43"/>
                </a:lnTo>
                <a:lnTo>
                  <a:pt x="148" y="42"/>
                </a:lnTo>
                <a:lnTo>
                  <a:pt x="144" y="38"/>
                </a:lnTo>
                <a:lnTo>
                  <a:pt x="143" y="34"/>
                </a:lnTo>
                <a:lnTo>
                  <a:pt x="144" y="28"/>
                </a:lnTo>
                <a:lnTo>
                  <a:pt x="145" y="23"/>
                </a:lnTo>
                <a:lnTo>
                  <a:pt x="144" y="18"/>
                </a:lnTo>
                <a:lnTo>
                  <a:pt x="139" y="11"/>
                </a:lnTo>
                <a:lnTo>
                  <a:pt x="134" y="5"/>
                </a:lnTo>
                <a:lnTo>
                  <a:pt x="13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48" name="Freeform 948"/>
          <p:cNvSpPr>
            <a:spLocks/>
          </p:cNvSpPr>
          <p:nvPr/>
        </p:nvSpPr>
        <p:spPr bwMode="auto">
          <a:xfrm>
            <a:off x="5408613" y="3208303"/>
            <a:ext cx="36512" cy="55563"/>
          </a:xfrm>
          <a:custGeom>
            <a:avLst/>
            <a:gdLst>
              <a:gd name="T0" fmla="*/ 18 w 23"/>
              <a:gd name="T1" fmla="*/ 0 h 35"/>
              <a:gd name="T2" fmla="*/ 14 w 23"/>
              <a:gd name="T3" fmla="*/ 4 h 35"/>
              <a:gd name="T4" fmla="*/ 9 w 23"/>
              <a:gd name="T5" fmla="*/ 6 h 35"/>
              <a:gd name="T6" fmla="*/ 8 w 23"/>
              <a:gd name="T7" fmla="*/ 8 h 35"/>
              <a:gd name="T8" fmla="*/ 6 w 23"/>
              <a:gd name="T9" fmla="*/ 10 h 35"/>
              <a:gd name="T10" fmla="*/ 5 w 23"/>
              <a:gd name="T11" fmla="*/ 17 h 35"/>
              <a:gd name="T12" fmla="*/ 4 w 23"/>
              <a:gd name="T13" fmla="*/ 20 h 35"/>
              <a:gd name="T14" fmla="*/ 2 w 23"/>
              <a:gd name="T15" fmla="*/ 25 h 35"/>
              <a:gd name="T16" fmla="*/ 0 w 23"/>
              <a:gd name="T17" fmla="*/ 28 h 35"/>
              <a:gd name="T18" fmla="*/ 0 w 23"/>
              <a:gd name="T19" fmla="*/ 29 h 35"/>
              <a:gd name="T20" fmla="*/ 0 w 23"/>
              <a:gd name="T21" fmla="*/ 33 h 35"/>
              <a:gd name="T22" fmla="*/ 2 w 23"/>
              <a:gd name="T23" fmla="*/ 34 h 35"/>
              <a:gd name="T24" fmla="*/ 6 w 23"/>
              <a:gd name="T25" fmla="*/ 35 h 35"/>
              <a:gd name="T26" fmla="*/ 8 w 23"/>
              <a:gd name="T27" fmla="*/ 34 h 35"/>
              <a:gd name="T28" fmla="*/ 9 w 23"/>
              <a:gd name="T29" fmla="*/ 35 h 35"/>
              <a:gd name="T30" fmla="*/ 9 w 23"/>
              <a:gd name="T31" fmla="*/ 35 h 35"/>
              <a:gd name="T32" fmla="*/ 10 w 23"/>
              <a:gd name="T33" fmla="*/ 34 h 35"/>
              <a:gd name="T34" fmla="*/ 14 w 23"/>
              <a:gd name="T35" fmla="*/ 32 h 35"/>
              <a:gd name="T36" fmla="*/ 15 w 23"/>
              <a:gd name="T37" fmla="*/ 33 h 35"/>
              <a:gd name="T38" fmla="*/ 18 w 23"/>
              <a:gd name="T39" fmla="*/ 35 h 35"/>
              <a:gd name="T40" fmla="*/ 18 w 23"/>
              <a:gd name="T41" fmla="*/ 35 h 35"/>
              <a:gd name="T42" fmla="*/ 18 w 23"/>
              <a:gd name="T43" fmla="*/ 33 h 35"/>
              <a:gd name="T44" fmla="*/ 21 w 23"/>
              <a:gd name="T45" fmla="*/ 29 h 35"/>
              <a:gd name="T46" fmla="*/ 22 w 23"/>
              <a:gd name="T47" fmla="*/ 25 h 35"/>
              <a:gd name="T48" fmla="*/ 22 w 23"/>
              <a:gd name="T49" fmla="*/ 25 h 35"/>
              <a:gd name="T50" fmla="*/ 22 w 23"/>
              <a:gd name="T51" fmla="*/ 24 h 35"/>
              <a:gd name="T52" fmla="*/ 21 w 23"/>
              <a:gd name="T53" fmla="*/ 24 h 35"/>
              <a:gd name="T54" fmla="*/ 20 w 23"/>
              <a:gd name="T55" fmla="*/ 23 h 35"/>
              <a:gd name="T56" fmla="*/ 18 w 23"/>
              <a:gd name="T57" fmla="*/ 24 h 35"/>
              <a:gd name="T58" fmla="*/ 16 w 23"/>
              <a:gd name="T59" fmla="*/ 23 h 35"/>
              <a:gd name="T60" fmla="*/ 14 w 23"/>
              <a:gd name="T61" fmla="*/ 24 h 35"/>
              <a:gd name="T62" fmla="*/ 14 w 23"/>
              <a:gd name="T63" fmla="*/ 25 h 35"/>
              <a:gd name="T64" fmla="*/ 12 w 23"/>
              <a:gd name="T65" fmla="*/ 25 h 35"/>
              <a:gd name="T66" fmla="*/ 11 w 23"/>
              <a:gd name="T67" fmla="*/ 25 h 35"/>
              <a:gd name="T68" fmla="*/ 11 w 23"/>
              <a:gd name="T69" fmla="*/ 24 h 35"/>
              <a:gd name="T70" fmla="*/ 11 w 23"/>
              <a:gd name="T71" fmla="*/ 23 h 35"/>
              <a:gd name="T72" fmla="*/ 12 w 23"/>
              <a:gd name="T73" fmla="*/ 24 h 35"/>
              <a:gd name="T74" fmla="*/ 14 w 23"/>
              <a:gd name="T75" fmla="*/ 24 h 35"/>
              <a:gd name="T76" fmla="*/ 14 w 23"/>
              <a:gd name="T77" fmla="*/ 23 h 35"/>
              <a:gd name="T78" fmla="*/ 15 w 23"/>
              <a:gd name="T79" fmla="*/ 19 h 35"/>
              <a:gd name="T80" fmla="*/ 16 w 23"/>
              <a:gd name="T81" fmla="*/ 19 h 35"/>
              <a:gd name="T82" fmla="*/ 18 w 23"/>
              <a:gd name="T83" fmla="*/ 19 h 35"/>
              <a:gd name="T84" fmla="*/ 19 w 23"/>
              <a:gd name="T85" fmla="*/ 17 h 35"/>
              <a:gd name="T86" fmla="*/ 22 w 23"/>
              <a:gd name="T87" fmla="*/ 16 h 35"/>
              <a:gd name="T88" fmla="*/ 23 w 23"/>
              <a:gd name="T89" fmla="*/ 15 h 35"/>
              <a:gd name="T90" fmla="*/ 23 w 23"/>
              <a:gd name="T91" fmla="*/ 13 h 35"/>
              <a:gd name="T92" fmla="*/ 22 w 23"/>
              <a:gd name="T93" fmla="*/ 8 h 35"/>
              <a:gd name="T94" fmla="*/ 22 w 23"/>
              <a:gd name="T95" fmla="*/ 7 h 35"/>
              <a:gd name="T96" fmla="*/ 21 w 23"/>
              <a:gd name="T97" fmla="*/ 6 h 35"/>
              <a:gd name="T98" fmla="*/ 20 w 23"/>
              <a:gd name="T99" fmla="*/ 4 h 35"/>
              <a:gd name="T100" fmla="*/ 18 w 23"/>
              <a:gd name="T101" fmla="*/ 2 h 35"/>
              <a:gd name="T102" fmla="*/ 18 w 23"/>
              <a:gd name="T103" fmla="*/ 0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3" h="35">
                <a:moveTo>
                  <a:pt x="18" y="0"/>
                </a:moveTo>
                <a:lnTo>
                  <a:pt x="14" y="4"/>
                </a:lnTo>
                <a:lnTo>
                  <a:pt x="9" y="6"/>
                </a:lnTo>
                <a:lnTo>
                  <a:pt x="8" y="8"/>
                </a:lnTo>
                <a:lnTo>
                  <a:pt x="6" y="10"/>
                </a:lnTo>
                <a:lnTo>
                  <a:pt x="5" y="17"/>
                </a:lnTo>
                <a:lnTo>
                  <a:pt x="4" y="20"/>
                </a:lnTo>
                <a:lnTo>
                  <a:pt x="2" y="25"/>
                </a:lnTo>
                <a:lnTo>
                  <a:pt x="0" y="28"/>
                </a:lnTo>
                <a:lnTo>
                  <a:pt x="0" y="29"/>
                </a:lnTo>
                <a:lnTo>
                  <a:pt x="0" y="33"/>
                </a:lnTo>
                <a:lnTo>
                  <a:pt x="2" y="34"/>
                </a:lnTo>
                <a:lnTo>
                  <a:pt x="6" y="35"/>
                </a:lnTo>
                <a:lnTo>
                  <a:pt x="8" y="34"/>
                </a:lnTo>
                <a:lnTo>
                  <a:pt x="9" y="35"/>
                </a:lnTo>
                <a:lnTo>
                  <a:pt x="9" y="35"/>
                </a:lnTo>
                <a:lnTo>
                  <a:pt x="10" y="34"/>
                </a:lnTo>
                <a:lnTo>
                  <a:pt x="14" y="32"/>
                </a:lnTo>
                <a:lnTo>
                  <a:pt x="15" y="33"/>
                </a:lnTo>
                <a:lnTo>
                  <a:pt x="18" y="35"/>
                </a:lnTo>
                <a:lnTo>
                  <a:pt x="18" y="35"/>
                </a:lnTo>
                <a:lnTo>
                  <a:pt x="18" y="33"/>
                </a:lnTo>
                <a:lnTo>
                  <a:pt x="21" y="29"/>
                </a:lnTo>
                <a:lnTo>
                  <a:pt x="22" y="25"/>
                </a:lnTo>
                <a:lnTo>
                  <a:pt x="22" y="25"/>
                </a:lnTo>
                <a:lnTo>
                  <a:pt x="22" y="24"/>
                </a:lnTo>
                <a:lnTo>
                  <a:pt x="21" y="24"/>
                </a:lnTo>
                <a:lnTo>
                  <a:pt x="20" y="23"/>
                </a:lnTo>
                <a:lnTo>
                  <a:pt x="18" y="24"/>
                </a:lnTo>
                <a:lnTo>
                  <a:pt x="16" y="23"/>
                </a:lnTo>
                <a:lnTo>
                  <a:pt x="14" y="24"/>
                </a:lnTo>
                <a:lnTo>
                  <a:pt x="14" y="25"/>
                </a:lnTo>
                <a:lnTo>
                  <a:pt x="12" y="25"/>
                </a:lnTo>
                <a:lnTo>
                  <a:pt x="11" y="25"/>
                </a:lnTo>
                <a:lnTo>
                  <a:pt x="11" y="24"/>
                </a:lnTo>
                <a:lnTo>
                  <a:pt x="11" y="23"/>
                </a:lnTo>
                <a:lnTo>
                  <a:pt x="12" y="24"/>
                </a:lnTo>
                <a:lnTo>
                  <a:pt x="14" y="24"/>
                </a:lnTo>
                <a:lnTo>
                  <a:pt x="14" y="23"/>
                </a:lnTo>
                <a:lnTo>
                  <a:pt x="15" y="19"/>
                </a:lnTo>
                <a:lnTo>
                  <a:pt x="16" y="19"/>
                </a:lnTo>
                <a:lnTo>
                  <a:pt x="18" y="19"/>
                </a:lnTo>
                <a:lnTo>
                  <a:pt x="19" y="17"/>
                </a:lnTo>
                <a:lnTo>
                  <a:pt x="22" y="16"/>
                </a:lnTo>
                <a:lnTo>
                  <a:pt x="23" y="15"/>
                </a:lnTo>
                <a:lnTo>
                  <a:pt x="23" y="13"/>
                </a:lnTo>
                <a:lnTo>
                  <a:pt x="22" y="8"/>
                </a:lnTo>
                <a:lnTo>
                  <a:pt x="22" y="7"/>
                </a:lnTo>
                <a:lnTo>
                  <a:pt x="21" y="6"/>
                </a:lnTo>
                <a:lnTo>
                  <a:pt x="20" y="4"/>
                </a:lnTo>
                <a:lnTo>
                  <a:pt x="18" y="2"/>
                </a:lnTo>
                <a:lnTo>
                  <a:pt x="18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49" name="Freeform 949"/>
          <p:cNvSpPr>
            <a:spLocks/>
          </p:cNvSpPr>
          <p:nvPr/>
        </p:nvSpPr>
        <p:spPr bwMode="auto">
          <a:xfrm>
            <a:off x="5408613" y="3208303"/>
            <a:ext cx="36512" cy="55563"/>
          </a:xfrm>
          <a:custGeom>
            <a:avLst/>
            <a:gdLst>
              <a:gd name="T0" fmla="*/ 18 w 23"/>
              <a:gd name="T1" fmla="*/ 0 h 35"/>
              <a:gd name="T2" fmla="*/ 14 w 23"/>
              <a:gd name="T3" fmla="*/ 4 h 35"/>
              <a:gd name="T4" fmla="*/ 9 w 23"/>
              <a:gd name="T5" fmla="*/ 6 h 35"/>
              <a:gd name="T6" fmla="*/ 8 w 23"/>
              <a:gd name="T7" fmla="*/ 8 h 35"/>
              <a:gd name="T8" fmla="*/ 6 w 23"/>
              <a:gd name="T9" fmla="*/ 10 h 35"/>
              <a:gd name="T10" fmla="*/ 5 w 23"/>
              <a:gd name="T11" fmla="*/ 17 h 35"/>
              <a:gd name="T12" fmla="*/ 4 w 23"/>
              <a:gd name="T13" fmla="*/ 20 h 35"/>
              <a:gd name="T14" fmla="*/ 2 w 23"/>
              <a:gd name="T15" fmla="*/ 25 h 35"/>
              <a:gd name="T16" fmla="*/ 0 w 23"/>
              <a:gd name="T17" fmla="*/ 28 h 35"/>
              <a:gd name="T18" fmla="*/ 0 w 23"/>
              <a:gd name="T19" fmla="*/ 29 h 35"/>
              <a:gd name="T20" fmla="*/ 0 w 23"/>
              <a:gd name="T21" fmla="*/ 33 h 35"/>
              <a:gd name="T22" fmla="*/ 2 w 23"/>
              <a:gd name="T23" fmla="*/ 34 h 35"/>
              <a:gd name="T24" fmla="*/ 6 w 23"/>
              <a:gd name="T25" fmla="*/ 35 h 35"/>
              <a:gd name="T26" fmla="*/ 8 w 23"/>
              <a:gd name="T27" fmla="*/ 34 h 35"/>
              <a:gd name="T28" fmla="*/ 9 w 23"/>
              <a:gd name="T29" fmla="*/ 35 h 35"/>
              <a:gd name="T30" fmla="*/ 9 w 23"/>
              <a:gd name="T31" fmla="*/ 35 h 35"/>
              <a:gd name="T32" fmla="*/ 10 w 23"/>
              <a:gd name="T33" fmla="*/ 34 h 35"/>
              <a:gd name="T34" fmla="*/ 14 w 23"/>
              <a:gd name="T35" fmla="*/ 32 h 35"/>
              <a:gd name="T36" fmla="*/ 15 w 23"/>
              <a:gd name="T37" fmla="*/ 33 h 35"/>
              <a:gd name="T38" fmla="*/ 18 w 23"/>
              <a:gd name="T39" fmla="*/ 35 h 35"/>
              <a:gd name="T40" fmla="*/ 18 w 23"/>
              <a:gd name="T41" fmla="*/ 35 h 35"/>
              <a:gd name="T42" fmla="*/ 18 w 23"/>
              <a:gd name="T43" fmla="*/ 33 h 35"/>
              <a:gd name="T44" fmla="*/ 21 w 23"/>
              <a:gd name="T45" fmla="*/ 29 h 35"/>
              <a:gd name="T46" fmla="*/ 22 w 23"/>
              <a:gd name="T47" fmla="*/ 25 h 35"/>
              <a:gd name="T48" fmla="*/ 22 w 23"/>
              <a:gd name="T49" fmla="*/ 25 h 35"/>
              <a:gd name="T50" fmla="*/ 22 w 23"/>
              <a:gd name="T51" fmla="*/ 24 h 35"/>
              <a:gd name="T52" fmla="*/ 21 w 23"/>
              <a:gd name="T53" fmla="*/ 24 h 35"/>
              <a:gd name="T54" fmla="*/ 20 w 23"/>
              <a:gd name="T55" fmla="*/ 23 h 35"/>
              <a:gd name="T56" fmla="*/ 18 w 23"/>
              <a:gd name="T57" fmla="*/ 24 h 35"/>
              <a:gd name="T58" fmla="*/ 16 w 23"/>
              <a:gd name="T59" fmla="*/ 23 h 35"/>
              <a:gd name="T60" fmla="*/ 14 w 23"/>
              <a:gd name="T61" fmla="*/ 24 h 35"/>
              <a:gd name="T62" fmla="*/ 14 w 23"/>
              <a:gd name="T63" fmla="*/ 25 h 35"/>
              <a:gd name="T64" fmla="*/ 12 w 23"/>
              <a:gd name="T65" fmla="*/ 25 h 35"/>
              <a:gd name="T66" fmla="*/ 11 w 23"/>
              <a:gd name="T67" fmla="*/ 25 h 35"/>
              <a:gd name="T68" fmla="*/ 11 w 23"/>
              <a:gd name="T69" fmla="*/ 24 h 35"/>
              <a:gd name="T70" fmla="*/ 11 w 23"/>
              <a:gd name="T71" fmla="*/ 23 h 35"/>
              <a:gd name="T72" fmla="*/ 12 w 23"/>
              <a:gd name="T73" fmla="*/ 24 h 35"/>
              <a:gd name="T74" fmla="*/ 14 w 23"/>
              <a:gd name="T75" fmla="*/ 24 h 35"/>
              <a:gd name="T76" fmla="*/ 14 w 23"/>
              <a:gd name="T77" fmla="*/ 23 h 35"/>
              <a:gd name="T78" fmla="*/ 15 w 23"/>
              <a:gd name="T79" fmla="*/ 19 h 35"/>
              <a:gd name="T80" fmla="*/ 16 w 23"/>
              <a:gd name="T81" fmla="*/ 19 h 35"/>
              <a:gd name="T82" fmla="*/ 18 w 23"/>
              <a:gd name="T83" fmla="*/ 19 h 35"/>
              <a:gd name="T84" fmla="*/ 19 w 23"/>
              <a:gd name="T85" fmla="*/ 17 h 35"/>
              <a:gd name="T86" fmla="*/ 22 w 23"/>
              <a:gd name="T87" fmla="*/ 16 h 35"/>
              <a:gd name="T88" fmla="*/ 23 w 23"/>
              <a:gd name="T89" fmla="*/ 15 h 35"/>
              <a:gd name="T90" fmla="*/ 23 w 23"/>
              <a:gd name="T91" fmla="*/ 13 h 35"/>
              <a:gd name="T92" fmla="*/ 22 w 23"/>
              <a:gd name="T93" fmla="*/ 8 h 35"/>
              <a:gd name="T94" fmla="*/ 22 w 23"/>
              <a:gd name="T95" fmla="*/ 7 h 35"/>
              <a:gd name="T96" fmla="*/ 21 w 23"/>
              <a:gd name="T97" fmla="*/ 6 h 35"/>
              <a:gd name="T98" fmla="*/ 20 w 23"/>
              <a:gd name="T99" fmla="*/ 4 h 35"/>
              <a:gd name="T100" fmla="*/ 18 w 23"/>
              <a:gd name="T101" fmla="*/ 2 h 35"/>
              <a:gd name="T102" fmla="*/ 18 w 23"/>
              <a:gd name="T103" fmla="*/ 0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3" h="35">
                <a:moveTo>
                  <a:pt x="18" y="0"/>
                </a:moveTo>
                <a:lnTo>
                  <a:pt x="14" y="4"/>
                </a:lnTo>
                <a:lnTo>
                  <a:pt x="9" y="6"/>
                </a:lnTo>
                <a:lnTo>
                  <a:pt x="8" y="8"/>
                </a:lnTo>
                <a:lnTo>
                  <a:pt x="6" y="10"/>
                </a:lnTo>
                <a:lnTo>
                  <a:pt x="5" y="17"/>
                </a:lnTo>
                <a:lnTo>
                  <a:pt x="4" y="20"/>
                </a:lnTo>
                <a:lnTo>
                  <a:pt x="2" y="25"/>
                </a:lnTo>
                <a:lnTo>
                  <a:pt x="0" y="28"/>
                </a:lnTo>
                <a:lnTo>
                  <a:pt x="0" y="29"/>
                </a:lnTo>
                <a:lnTo>
                  <a:pt x="0" y="33"/>
                </a:lnTo>
                <a:lnTo>
                  <a:pt x="2" y="34"/>
                </a:lnTo>
                <a:lnTo>
                  <a:pt x="6" y="35"/>
                </a:lnTo>
                <a:lnTo>
                  <a:pt x="8" y="34"/>
                </a:lnTo>
                <a:lnTo>
                  <a:pt x="9" y="35"/>
                </a:lnTo>
                <a:lnTo>
                  <a:pt x="9" y="35"/>
                </a:lnTo>
                <a:lnTo>
                  <a:pt x="10" y="34"/>
                </a:lnTo>
                <a:lnTo>
                  <a:pt x="14" y="32"/>
                </a:lnTo>
                <a:lnTo>
                  <a:pt x="15" y="33"/>
                </a:lnTo>
                <a:lnTo>
                  <a:pt x="18" y="35"/>
                </a:lnTo>
                <a:lnTo>
                  <a:pt x="18" y="35"/>
                </a:lnTo>
                <a:lnTo>
                  <a:pt x="18" y="33"/>
                </a:lnTo>
                <a:lnTo>
                  <a:pt x="21" y="29"/>
                </a:lnTo>
                <a:lnTo>
                  <a:pt x="22" y="25"/>
                </a:lnTo>
                <a:lnTo>
                  <a:pt x="22" y="25"/>
                </a:lnTo>
                <a:lnTo>
                  <a:pt x="22" y="24"/>
                </a:lnTo>
                <a:lnTo>
                  <a:pt x="21" y="24"/>
                </a:lnTo>
                <a:lnTo>
                  <a:pt x="20" y="23"/>
                </a:lnTo>
                <a:lnTo>
                  <a:pt x="18" y="24"/>
                </a:lnTo>
                <a:lnTo>
                  <a:pt x="16" y="23"/>
                </a:lnTo>
                <a:lnTo>
                  <a:pt x="14" y="24"/>
                </a:lnTo>
                <a:lnTo>
                  <a:pt x="14" y="25"/>
                </a:lnTo>
                <a:lnTo>
                  <a:pt x="12" y="25"/>
                </a:lnTo>
                <a:lnTo>
                  <a:pt x="11" y="25"/>
                </a:lnTo>
                <a:lnTo>
                  <a:pt x="11" y="24"/>
                </a:lnTo>
                <a:lnTo>
                  <a:pt x="11" y="23"/>
                </a:lnTo>
                <a:lnTo>
                  <a:pt x="12" y="24"/>
                </a:lnTo>
                <a:lnTo>
                  <a:pt x="14" y="24"/>
                </a:lnTo>
                <a:lnTo>
                  <a:pt x="14" y="23"/>
                </a:lnTo>
                <a:lnTo>
                  <a:pt x="15" y="19"/>
                </a:lnTo>
                <a:lnTo>
                  <a:pt x="16" y="19"/>
                </a:lnTo>
                <a:lnTo>
                  <a:pt x="18" y="19"/>
                </a:lnTo>
                <a:lnTo>
                  <a:pt x="19" y="17"/>
                </a:lnTo>
                <a:lnTo>
                  <a:pt x="22" y="16"/>
                </a:lnTo>
                <a:lnTo>
                  <a:pt x="23" y="15"/>
                </a:lnTo>
                <a:lnTo>
                  <a:pt x="23" y="13"/>
                </a:lnTo>
                <a:lnTo>
                  <a:pt x="22" y="8"/>
                </a:lnTo>
                <a:lnTo>
                  <a:pt x="22" y="7"/>
                </a:lnTo>
                <a:lnTo>
                  <a:pt x="21" y="6"/>
                </a:lnTo>
                <a:lnTo>
                  <a:pt x="20" y="4"/>
                </a:lnTo>
                <a:lnTo>
                  <a:pt x="18" y="2"/>
                </a:lnTo>
                <a:lnTo>
                  <a:pt x="18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50" name="Freeform 950"/>
          <p:cNvSpPr>
            <a:spLocks/>
          </p:cNvSpPr>
          <p:nvPr/>
        </p:nvSpPr>
        <p:spPr bwMode="auto">
          <a:xfrm>
            <a:off x="5087938" y="3606765"/>
            <a:ext cx="47625" cy="49213"/>
          </a:xfrm>
          <a:custGeom>
            <a:avLst/>
            <a:gdLst>
              <a:gd name="T0" fmla="*/ 2 w 30"/>
              <a:gd name="T1" fmla="*/ 30 h 31"/>
              <a:gd name="T2" fmla="*/ 2 w 30"/>
              <a:gd name="T3" fmla="*/ 30 h 31"/>
              <a:gd name="T4" fmla="*/ 2 w 30"/>
              <a:gd name="T5" fmla="*/ 28 h 31"/>
              <a:gd name="T6" fmla="*/ 4 w 30"/>
              <a:gd name="T7" fmla="*/ 27 h 31"/>
              <a:gd name="T8" fmla="*/ 6 w 30"/>
              <a:gd name="T9" fmla="*/ 27 h 31"/>
              <a:gd name="T10" fmla="*/ 6 w 30"/>
              <a:gd name="T11" fmla="*/ 27 h 31"/>
              <a:gd name="T12" fmla="*/ 7 w 30"/>
              <a:gd name="T13" fmla="*/ 29 h 31"/>
              <a:gd name="T14" fmla="*/ 8 w 30"/>
              <a:gd name="T15" fmla="*/ 31 h 31"/>
              <a:gd name="T16" fmla="*/ 9 w 30"/>
              <a:gd name="T17" fmla="*/ 31 h 31"/>
              <a:gd name="T18" fmla="*/ 10 w 30"/>
              <a:gd name="T19" fmla="*/ 31 h 31"/>
              <a:gd name="T20" fmla="*/ 12 w 30"/>
              <a:gd name="T21" fmla="*/ 30 h 31"/>
              <a:gd name="T22" fmla="*/ 15 w 30"/>
              <a:gd name="T23" fmla="*/ 30 h 31"/>
              <a:gd name="T24" fmla="*/ 16 w 30"/>
              <a:gd name="T25" fmla="*/ 29 h 31"/>
              <a:gd name="T26" fmla="*/ 16 w 30"/>
              <a:gd name="T27" fmla="*/ 27 h 31"/>
              <a:gd name="T28" fmla="*/ 16 w 30"/>
              <a:gd name="T29" fmla="*/ 26 h 31"/>
              <a:gd name="T30" fmla="*/ 17 w 30"/>
              <a:gd name="T31" fmla="*/ 25 h 31"/>
              <a:gd name="T32" fmla="*/ 19 w 30"/>
              <a:gd name="T33" fmla="*/ 25 h 31"/>
              <a:gd name="T34" fmla="*/ 24 w 30"/>
              <a:gd name="T35" fmla="*/ 24 h 31"/>
              <a:gd name="T36" fmla="*/ 25 w 30"/>
              <a:gd name="T37" fmla="*/ 24 h 31"/>
              <a:gd name="T38" fmla="*/ 25 w 30"/>
              <a:gd name="T39" fmla="*/ 24 h 31"/>
              <a:gd name="T40" fmla="*/ 26 w 30"/>
              <a:gd name="T41" fmla="*/ 24 h 31"/>
              <a:gd name="T42" fmla="*/ 27 w 30"/>
              <a:gd name="T43" fmla="*/ 25 h 31"/>
              <a:gd name="T44" fmla="*/ 30 w 30"/>
              <a:gd name="T45" fmla="*/ 20 h 31"/>
              <a:gd name="T46" fmla="*/ 30 w 30"/>
              <a:gd name="T47" fmla="*/ 17 h 31"/>
              <a:gd name="T48" fmla="*/ 30 w 30"/>
              <a:gd name="T49" fmla="*/ 15 h 31"/>
              <a:gd name="T50" fmla="*/ 29 w 30"/>
              <a:gd name="T51" fmla="*/ 9 h 31"/>
              <a:gd name="T52" fmla="*/ 26 w 30"/>
              <a:gd name="T53" fmla="*/ 3 h 31"/>
              <a:gd name="T54" fmla="*/ 24 w 30"/>
              <a:gd name="T55" fmla="*/ 0 h 31"/>
              <a:gd name="T56" fmla="*/ 22 w 30"/>
              <a:gd name="T57" fmla="*/ 1 h 31"/>
              <a:gd name="T58" fmla="*/ 20 w 30"/>
              <a:gd name="T59" fmla="*/ 1 h 31"/>
              <a:gd name="T60" fmla="*/ 19 w 30"/>
              <a:gd name="T61" fmla="*/ 3 h 31"/>
              <a:gd name="T62" fmla="*/ 17 w 30"/>
              <a:gd name="T63" fmla="*/ 7 h 31"/>
              <a:gd name="T64" fmla="*/ 15 w 30"/>
              <a:gd name="T65" fmla="*/ 7 h 31"/>
              <a:gd name="T66" fmla="*/ 14 w 30"/>
              <a:gd name="T67" fmla="*/ 6 h 31"/>
              <a:gd name="T68" fmla="*/ 11 w 30"/>
              <a:gd name="T69" fmla="*/ 5 h 31"/>
              <a:gd name="T70" fmla="*/ 11 w 30"/>
              <a:gd name="T71" fmla="*/ 6 h 31"/>
              <a:gd name="T72" fmla="*/ 9 w 30"/>
              <a:gd name="T73" fmla="*/ 8 h 31"/>
              <a:gd name="T74" fmla="*/ 7 w 30"/>
              <a:gd name="T75" fmla="*/ 11 h 31"/>
              <a:gd name="T76" fmla="*/ 5 w 30"/>
              <a:gd name="T77" fmla="*/ 17 h 31"/>
              <a:gd name="T78" fmla="*/ 4 w 30"/>
              <a:gd name="T79" fmla="*/ 20 h 31"/>
              <a:gd name="T80" fmla="*/ 0 w 30"/>
              <a:gd name="T81" fmla="*/ 25 h 31"/>
              <a:gd name="T82" fmla="*/ 0 w 30"/>
              <a:gd name="T83" fmla="*/ 27 h 31"/>
              <a:gd name="T84" fmla="*/ 0 w 30"/>
              <a:gd name="T85" fmla="*/ 28 h 31"/>
              <a:gd name="T86" fmla="*/ 2 w 30"/>
              <a:gd name="T87" fmla="*/ 3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0" h="31">
                <a:moveTo>
                  <a:pt x="2" y="30"/>
                </a:moveTo>
                <a:lnTo>
                  <a:pt x="2" y="30"/>
                </a:lnTo>
                <a:lnTo>
                  <a:pt x="2" y="28"/>
                </a:lnTo>
                <a:lnTo>
                  <a:pt x="4" y="27"/>
                </a:lnTo>
                <a:lnTo>
                  <a:pt x="6" y="27"/>
                </a:lnTo>
                <a:lnTo>
                  <a:pt x="6" y="27"/>
                </a:lnTo>
                <a:lnTo>
                  <a:pt x="7" y="29"/>
                </a:lnTo>
                <a:lnTo>
                  <a:pt x="8" y="31"/>
                </a:lnTo>
                <a:lnTo>
                  <a:pt x="9" y="31"/>
                </a:lnTo>
                <a:lnTo>
                  <a:pt x="10" y="31"/>
                </a:lnTo>
                <a:lnTo>
                  <a:pt x="12" y="30"/>
                </a:lnTo>
                <a:lnTo>
                  <a:pt x="15" y="30"/>
                </a:lnTo>
                <a:lnTo>
                  <a:pt x="16" y="29"/>
                </a:lnTo>
                <a:lnTo>
                  <a:pt x="16" y="27"/>
                </a:lnTo>
                <a:lnTo>
                  <a:pt x="16" y="26"/>
                </a:lnTo>
                <a:lnTo>
                  <a:pt x="17" y="25"/>
                </a:lnTo>
                <a:lnTo>
                  <a:pt x="19" y="25"/>
                </a:lnTo>
                <a:lnTo>
                  <a:pt x="24" y="24"/>
                </a:lnTo>
                <a:lnTo>
                  <a:pt x="25" y="24"/>
                </a:lnTo>
                <a:lnTo>
                  <a:pt x="25" y="24"/>
                </a:lnTo>
                <a:lnTo>
                  <a:pt x="26" y="24"/>
                </a:lnTo>
                <a:lnTo>
                  <a:pt x="27" y="25"/>
                </a:lnTo>
                <a:lnTo>
                  <a:pt x="30" y="20"/>
                </a:lnTo>
                <a:lnTo>
                  <a:pt x="30" y="17"/>
                </a:lnTo>
                <a:lnTo>
                  <a:pt x="30" y="15"/>
                </a:lnTo>
                <a:lnTo>
                  <a:pt x="29" y="9"/>
                </a:lnTo>
                <a:lnTo>
                  <a:pt x="26" y="3"/>
                </a:lnTo>
                <a:lnTo>
                  <a:pt x="24" y="0"/>
                </a:lnTo>
                <a:lnTo>
                  <a:pt x="22" y="1"/>
                </a:lnTo>
                <a:lnTo>
                  <a:pt x="20" y="1"/>
                </a:lnTo>
                <a:lnTo>
                  <a:pt x="19" y="3"/>
                </a:lnTo>
                <a:lnTo>
                  <a:pt x="17" y="7"/>
                </a:lnTo>
                <a:lnTo>
                  <a:pt x="15" y="7"/>
                </a:lnTo>
                <a:lnTo>
                  <a:pt x="14" y="6"/>
                </a:lnTo>
                <a:lnTo>
                  <a:pt x="11" y="5"/>
                </a:lnTo>
                <a:lnTo>
                  <a:pt x="11" y="6"/>
                </a:lnTo>
                <a:lnTo>
                  <a:pt x="9" y="8"/>
                </a:lnTo>
                <a:lnTo>
                  <a:pt x="7" y="11"/>
                </a:lnTo>
                <a:lnTo>
                  <a:pt x="5" y="17"/>
                </a:lnTo>
                <a:lnTo>
                  <a:pt x="4" y="20"/>
                </a:lnTo>
                <a:lnTo>
                  <a:pt x="0" y="25"/>
                </a:lnTo>
                <a:lnTo>
                  <a:pt x="0" y="27"/>
                </a:lnTo>
                <a:lnTo>
                  <a:pt x="0" y="28"/>
                </a:lnTo>
                <a:lnTo>
                  <a:pt x="2" y="3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51" name="Freeform 951"/>
          <p:cNvSpPr>
            <a:spLocks/>
          </p:cNvSpPr>
          <p:nvPr/>
        </p:nvSpPr>
        <p:spPr bwMode="auto">
          <a:xfrm>
            <a:off x="5087938" y="3606765"/>
            <a:ext cx="47625" cy="49213"/>
          </a:xfrm>
          <a:custGeom>
            <a:avLst/>
            <a:gdLst>
              <a:gd name="T0" fmla="*/ 2 w 30"/>
              <a:gd name="T1" fmla="*/ 30 h 31"/>
              <a:gd name="T2" fmla="*/ 2 w 30"/>
              <a:gd name="T3" fmla="*/ 30 h 31"/>
              <a:gd name="T4" fmla="*/ 2 w 30"/>
              <a:gd name="T5" fmla="*/ 28 h 31"/>
              <a:gd name="T6" fmla="*/ 4 w 30"/>
              <a:gd name="T7" fmla="*/ 27 h 31"/>
              <a:gd name="T8" fmla="*/ 6 w 30"/>
              <a:gd name="T9" fmla="*/ 27 h 31"/>
              <a:gd name="T10" fmla="*/ 6 w 30"/>
              <a:gd name="T11" fmla="*/ 27 h 31"/>
              <a:gd name="T12" fmla="*/ 7 w 30"/>
              <a:gd name="T13" fmla="*/ 29 h 31"/>
              <a:gd name="T14" fmla="*/ 8 w 30"/>
              <a:gd name="T15" fmla="*/ 31 h 31"/>
              <a:gd name="T16" fmla="*/ 9 w 30"/>
              <a:gd name="T17" fmla="*/ 31 h 31"/>
              <a:gd name="T18" fmla="*/ 10 w 30"/>
              <a:gd name="T19" fmla="*/ 31 h 31"/>
              <a:gd name="T20" fmla="*/ 12 w 30"/>
              <a:gd name="T21" fmla="*/ 30 h 31"/>
              <a:gd name="T22" fmla="*/ 15 w 30"/>
              <a:gd name="T23" fmla="*/ 30 h 31"/>
              <a:gd name="T24" fmla="*/ 16 w 30"/>
              <a:gd name="T25" fmla="*/ 29 h 31"/>
              <a:gd name="T26" fmla="*/ 16 w 30"/>
              <a:gd name="T27" fmla="*/ 27 h 31"/>
              <a:gd name="T28" fmla="*/ 16 w 30"/>
              <a:gd name="T29" fmla="*/ 26 h 31"/>
              <a:gd name="T30" fmla="*/ 17 w 30"/>
              <a:gd name="T31" fmla="*/ 25 h 31"/>
              <a:gd name="T32" fmla="*/ 19 w 30"/>
              <a:gd name="T33" fmla="*/ 25 h 31"/>
              <a:gd name="T34" fmla="*/ 24 w 30"/>
              <a:gd name="T35" fmla="*/ 24 h 31"/>
              <a:gd name="T36" fmla="*/ 25 w 30"/>
              <a:gd name="T37" fmla="*/ 24 h 31"/>
              <a:gd name="T38" fmla="*/ 25 w 30"/>
              <a:gd name="T39" fmla="*/ 24 h 31"/>
              <a:gd name="T40" fmla="*/ 26 w 30"/>
              <a:gd name="T41" fmla="*/ 24 h 31"/>
              <a:gd name="T42" fmla="*/ 27 w 30"/>
              <a:gd name="T43" fmla="*/ 25 h 31"/>
              <a:gd name="T44" fmla="*/ 30 w 30"/>
              <a:gd name="T45" fmla="*/ 20 h 31"/>
              <a:gd name="T46" fmla="*/ 30 w 30"/>
              <a:gd name="T47" fmla="*/ 17 h 31"/>
              <a:gd name="T48" fmla="*/ 30 w 30"/>
              <a:gd name="T49" fmla="*/ 15 h 31"/>
              <a:gd name="T50" fmla="*/ 29 w 30"/>
              <a:gd name="T51" fmla="*/ 9 h 31"/>
              <a:gd name="T52" fmla="*/ 26 w 30"/>
              <a:gd name="T53" fmla="*/ 3 h 31"/>
              <a:gd name="T54" fmla="*/ 24 w 30"/>
              <a:gd name="T55" fmla="*/ 0 h 31"/>
              <a:gd name="T56" fmla="*/ 22 w 30"/>
              <a:gd name="T57" fmla="*/ 1 h 31"/>
              <a:gd name="T58" fmla="*/ 20 w 30"/>
              <a:gd name="T59" fmla="*/ 1 h 31"/>
              <a:gd name="T60" fmla="*/ 19 w 30"/>
              <a:gd name="T61" fmla="*/ 3 h 31"/>
              <a:gd name="T62" fmla="*/ 17 w 30"/>
              <a:gd name="T63" fmla="*/ 7 h 31"/>
              <a:gd name="T64" fmla="*/ 15 w 30"/>
              <a:gd name="T65" fmla="*/ 7 h 31"/>
              <a:gd name="T66" fmla="*/ 14 w 30"/>
              <a:gd name="T67" fmla="*/ 6 h 31"/>
              <a:gd name="T68" fmla="*/ 11 w 30"/>
              <a:gd name="T69" fmla="*/ 5 h 31"/>
              <a:gd name="T70" fmla="*/ 11 w 30"/>
              <a:gd name="T71" fmla="*/ 6 h 31"/>
              <a:gd name="T72" fmla="*/ 9 w 30"/>
              <a:gd name="T73" fmla="*/ 8 h 31"/>
              <a:gd name="T74" fmla="*/ 7 w 30"/>
              <a:gd name="T75" fmla="*/ 11 h 31"/>
              <a:gd name="T76" fmla="*/ 5 w 30"/>
              <a:gd name="T77" fmla="*/ 17 h 31"/>
              <a:gd name="T78" fmla="*/ 4 w 30"/>
              <a:gd name="T79" fmla="*/ 20 h 31"/>
              <a:gd name="T80" fmla="*/ 0 w 30"/>
              <a:gd name="T81" fmla="*/ 25 h 31"/>
              <a:gd name="T82" fmla="*/ 0 w 30"/>
              <a:gd name="T83" fmla="*/ 27 h 31"/>
              <a:gd name="T84" fmla="*/ 0 w 30"/>
              <a:gd name="T85" fmla="*/ 28 h 31"/>
              <a:gd name="T86" fmla="*/ 2 w 30"/>
              <a:gd name="T87" fmla="*/ 3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0" h="31">
                <a:moveTo>
                  <a:pt x="2" y="30"/>
                </a:moveTo>
                <a:lnTo>
                  <a:pt x="2" y="30"/>
                </a:lnTo>
                <a:lnTo>
                  <a:pt x="2" y="28"/>
                </a:lnTo>
                <a:lnTo>
                  <a:pt x="4" y="27"/>
                </a:lnTo>
                <a:lnTo>
                  <a:pt x="6" y="27"/>
                </a:lnTo>
                <a:lnTo>
                  <a:pt x="6" y="27"/>
                </a:lnTo>
                <a:lnTo>
                  <a:pt x="7" y="29"/>
                </a:lnTo>
                <a:lnTo>
                  <a:pt x="8" y="31"/>
                </a:lnTo>
                <a:lnTo>
                  <a:pt x="9" y="31"/>
                </a:lnTo>
                <a:lnTo>
                  <a:pt x="10" y="31"/>
                </a:lnTo>
                <a:lnTo>
                  <a:pt x="12" y="30"/>
                </a:lnTo>
                <a:lnTo>
                  <a:pt x="15" y="30"/>
                </a:lnTo>
                <a:lnTo>
                  <a:pt x="16" y="29"/>
                </a:lnTo>
                <a:lnTo>
                  <a:pt x="16" y="27"/>
                </a:lnTo>
                <a:lnTo>
                  <a:pt x="16" y="26"/>
                </a:lnTo>
                <a:lnTo>
                  <a:pt x="17" y="25"/>
                </a:lnTo>
                <a:lnTo>
                  <a:pt x="19" y="25"/>
                </a:lnTo>
                <a:lnTo>
                  <a:pt x="24" y="24"/>
                </a:lnTo>
                <a:lnTo>
                  <a:pt x="25" y="24"/>
                </a:lnTo>
                <a:lnTo>
                  <a:pt x="25" y="24"/>
                </a:lnTo>
                <a:lnTo>
                  <a:pt x="26" y="24"/>
                </a:lnTo>
                <a:lnTo>
                  <a:pt x="27" y="25"/>
                </a:lnTo>
                <a:lnTo>
                  <a:pt x="30" y="20"/>
                </a:lnTo>
                <a:lnTo>
                  <a:pt x="30" y="17"/>
                </a:lnTo>
                <a:lnTo>
                  <a:pt x="30" y="15"/>
                </a:lnTo>
                <a:lnTo>
                  <a:pt x="29" y="9"/>
                </a:lnTo>
                <a:lnTo>
                  <a:pt x="26" y="3"/>
                </a:lnTo>
                <a:lnTo>
                  <a:pt x="24" y="0"/>
                </a:lnTo>
                <a:lnTo>
                  <a:pt x="22" y="1"/>
                </a:lnTo>
                <a:lnTo>
                  <a:pt x="20" y="1"/>
                </a:lnTo>
                <a:lnTo>
                  <a:pt x="19" y="3"/>
                </a:lnTo>
                <a:lnTo>
                  <a:pt x="17" y="7"/>
                </a:lnTo>
                <a:lnTo>
                  <a:pt x="15" y="7"/>
                </a:lnTo>
                <a:lnTo>
                  <a:pt x="14" y="6"/>
                </a:lnTo>
                <a:lnTo>
                  <a:pt x="11" y="5"/>
                </a:lnTo>
                <a:lnTo>
                  <a:pt x="11" y="6"/>
                </a:lnTo>
                <a:lnTo>
                  <a:pt x="9" y="8"/>
                </a:lnTo>
                <a:lnTo>
                  <a:pt x="7" y="11"/>
                </a:lnTo>
                <a:lnTo>
                  <a:pt x="5" y="17"/>
                </a:lnTo>
                <a:lnTo>
                  <a:pt x="4" y="20"/>
                </a:lnTo>
                <a:lnTo>
                  <a:pt x="0" y="25"/>
                </a:lnTo>
                <a:lnTo>
                  <a:pt x="0" y="27"/>
                </a:lnTo>
                <a:lnTo>
                  <a:pt x="0" y="28"/>
                </a:lnTo>
                <a:lnTo>
                  <a:pt x="2" y="3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52" name="Freeform 952"/>
          <p:cNvSpPr>
            <a:spLocks/>
          </p:cNvSpPr>
          <p:nvPr/>
        </p:nvSpPr>
        <p:spPr bwMode="auto">
          <a:xfrm>
            <a:off x="5110163" y="4319553"/>
            <a:ext cx="31750" cy="41275"/>
          </a:xfrm>
          <a:custGeom>
            <a:avLst/>
            <a:gdLst>
              <a:gd name="T0" fmla="*/ 18 w 20"/>
              <a:gd name="T1" fmla="*/ 19 h 26"/>
              <a:gd name="T2" fmla="*/ 18 w 20"/>
              <a:gd name="T3" fmla="*/ 10 h 26"/>
              <a:gd name="T4" fmla="*/ 20 w 20"/>
              <a:gd name="T5" fmla="*/ 4 h 26"/>
              <a:gd name="T6" fmla="*/ 18 w 20"/>
              <a:gd name="T7" fmla="*/ 2 h 26"/>
              <a:gd name="T8" fmla="*/ 16 w 20"/>
              <a:gd name="T9" fmla="*/ 4 h 26"/>
              <a:gd name="T10" fmla="*/ 11 w 20"/>
              <a:gd name="T11" fmla="*/ 0 h 26"/>
              <a:gd name="T12" fmla="*/ 6 w 20"/>
              <a:gd name="T13" fmla="*/ 2 h 26"/>
              <a:gd name="T14" fmla="*/ 4 w 20"/>
              <a:gd name="T15" fmla="*/ 6 h 26"/>
              <a:gd name="T16" fmla="*/ 2 w 20"/>
              <a:gd name="T17" fmla="*/ 11 h 26"/>
              <a:gd name="T18" fmla="*/ 0 w 20"/>
              <a:gd name="T19" fmla="*/ 16 h 26"/>
              <a:gd name="T20" fmla="*/ 1 w 20"/>
              <a:gd name="T21" fmla="*/ 20 h 26"/>
              <a:gd name="T22" fmla="*/ 3 w 20"/>
              <a:gd name="T23" fmla="*/ 25 h 26"/>
              <a:gd name="T24" fmla="*/ 10 w 20"/>
              <a:gd name="T25" fmla="*/ 26 h 26"/>
              <a:gd name="T26" fmla="*/ 13 w 20"/>
              <a:gd name="T27" fmla="*/ 26 h 26"/>
              <a:gd name="T28" fmla="*/ 15 w 20"/>
              <a:gd name="T29" fmla="*/ 24 h 26"/>
              <a:gd name="T30" fmla="*/ 16 w 20"/>
              <a:gd name="T31" fmla="*/ 20 h 26"/>
              <a:gd name="T32" fmla="*/ 18 w 20"/>
              <a:gd name="T33" fmla="*/ 19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0" h="26">
                <a:moveTo>
                  <a:pt x="18" y="19"/>
                </a:moveTo>
                <a:lnTo>
                  <a:pt x="18" y="10"/>
                </a:lnTo>
                <a:lnTo>
                  <a:pt x="20" y="4"/>
                </a:lnTo>
                <a:lnTo>
                  <a:pt x="18" y="2"/>
                </a:lnTo>
                <a:lnTo>
                  <a:pt x="16" y="4"/>
                </a:lnTo>
                <a:lnTo>
                  <a:pt x="11" y="0"/>
                </a:lnTo>
                <a:lnTo>
                  <a:pt x="6" y="2"/>
                </a:lnTo>
                <a:lnTo>
                  <a:pt x="4" y="6"/>
                </a:lnTo>
                <a:lnTo>
                  <a:pt x="2" y="11"/>
                </a:lnTo>
                <a:lnTo>
                  <a:pt x="0" y="16"/>
                </a:lnTo>
                <a:lnTo>
                  <a:pt x="1" y="20"/>
                </a:lnTo>
                <a:lnTo>
                  <a:pt x="3" y="25"/>
                </a:lnTo>
                <a:lnTo>
                  <a:pt x="10" y="26"/>
                </a:lnTo>
                <a:lnTo>
                  <a:pt x="13" y="26"/>
                </a:lnTo>
                <a:lnTo>
                  <a:pt x="15" y="24"/>
                </a:lnTo>
                <a:lnTo>
                  <a:pt x="16" y="20"/>
                </a:lnTo>
                <a:lnTo>
                  <a:pt x="18" y="19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53" name="Freeform 953"/>
          <p:cNvSpPr>
            <a:spLocks/>
          </p:cNvSpPr>
          <p:nvPr/>
        </p:nvSpPr>
        <p:spPr bwMode="auto">
          <a:xfrm>
            <a:off x="5110163" y="4319553"/>
            <a:ext cx="31750" cy="41275"/>
          </a:xfrm>
          <a:custGeom>
            <a:avLst/>
            <a:gdLst>
              <a:gd name="T0" fmla="*/ 18 w 20"/>
              <a:gd name="T1" fmla="*/ 19 h 26"/>
              <a:gd name="T2" fmla="*/ 18 w 20"/>
              <a:gd name="T3" fmla="*/ 10 h 26"/>
              <a:gd name="T4" fmla="*/ 20 w 20"/>
              <a:gd name="T5" fmla="*/ 4 h 26"/>
              <a:gd name="T6" fmla="*/ 18 w 20"/>
              <a:gd name="T7" fmla="*/ 2 h 26"/>
              <a:gd name="T8" fmla="*/ 16 w 20"/>
              <a:gd name="T9" fmla="*/ 4 h 26"/>
              <a:gd name="T10" fmla="*/ 11 w 20"/>
              <a:gd name="T11" fmla="*/ 0 h 26"/>
              <a:gd name="T12" fmla="*/ 6 w 20"/>
              <a:gd name="T13" fmla="*/ 2 h 26"/>
              <a:gd name="T14" fmla="*/ 4 w 20"/>
              <a:gd name="T15" fmla="*/ 6 h 26"/>
              <a:gd name="T16" fmla="*/ 2 w 20"/>
              <a:gd name="T17" fmla="*/ 11 h 26"/>
              <a:gd name="T18" fmla="*/ 0 w 20"/>
              <a:gd name="T19" fmla="*/ 16 h 26"/>
              <a:gd name="T20" fmla="*/ 1 w 20"/>
              <a:gd name="T21" fmla="*/ 20 h 26"/>
              <a:gd name="T22" fmla="*/ 3 w 20"/>
              <a:gd name="T23" fmla="*/ 25 h 26"/>
              <a:gd name="T24" fmla="*/ 10 w 20"/>
              <a:gd name="T25" fmla="*/ 26 h 26"/>
              <a:gd name="T26" fmla="*/ 13 w 20"/>
              <a:gd name="T27" fmla="*/ 26 h 26"/>
              <a:gd name="T28" fmla="*/ 15 w 20"/>
              <a:gd name="T29" fmla="*/ 24 h 26"/>
              <a:gd name="T30" fmla="*/ 16 w 20"/>
              <a:gd name="T31" fmla="*/ 20 h 26"/>
              <a:gd name="T32" fmla="*/ 18 w 20"/>
              <a:gd name="T33" fmla="*/ 19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0" h="26">
                <a:moveTo>
                  <a:pt x="18" y="19"/>
                </a:moveTo>
                <a:lnTo>
                  <a:pt x="18" y="10"/>
                </a:lnTo>
                <a:lnTo>
                  <a:pt x="20" y="4"/>
                </a:lnTo>
                <a:lnTo>
                  <a:pt x="18" y="2"/>
                </a:lnTo>
                <a:lnTo>
                  <a:pt x="16" y="4"/>
                </a:lnTo>
                <a:lnTo>
                  <a:pt x="11" y="0"/>
                </a:lnTo>
                <a:lnTo>
                  <a:pt x="6" y="2"/>
                </a:lnTo>
                <a:lnTo>
                  <a:pt x="4" y="6"/>
                </a:lnTo>
                <a:lnTo>
                  <a:pt x="2" y="11"/>
                </a:lnTo>
                <a:lnTo>
                  <a:pt x="0" y="16"/>
                </a:lnTo>
                <a:lnTo>
                  <a:pt x="1" y="20"/>
                </a:lnTo>
                <a:lnTo>
                  <a:pt x="3" y="25"/>
                </a:lnTo>
                <a:lnTo>
                  <a:pt x="10" y="26"/>
                </a:lnTo>
                <a:lnTo>
                  <a:pt x="13" y="26"/>
                </a:lnTo>
                <a:lnTo>
                  <a:pt x="15" y="24"/>
                </a:lnTo>
                <a:lnTo>
                  <a:pt x="16" y="20"/>
                </a:lnTo>
                <a:lnTo>
                  <a:pt x="18" y="19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54" name="Freeform 954"/>
          <p:cNvSpPr>
            <a:spLocks/>
          </p:cNvSpPr>
          <p:nvPr/>
        </p:nvSpPr>
        <p:spPr bwMode="auto">
          <a:xfrm>
            <a:off x="5013325" y="4400515"/>
            <a:ext cx="57150" cy="58738"/>
          </a:xfrm>
          <a:custGeom>
            <a:avLst/>
            <a:gdLst>
              <a:gd name="T0" fmla="*/ 35 w 36"/>
              <a:gd name="T1" fmla="*/ 14 h 37"/>
              <a:gd name="T2" fmla="*/ 36 w 36"/>
              <a:gd name="T3" fmla="*/ 14 h 37"/>
              <a:gd name="T4" fmla="*/ 35 w 36"/>
              <a:gd name="T5" fmla="*/ 16 h 37"/>
              <a:gd name="T6" fmla="*/ 27 w 36"/>
              <a:gd name="T7" fmla="*/ 27 h 37"/>
              <a:gd name="T8" fmla="*/ 20 w 36"/>
              <a:gd name="T9" fmla="*/ 31 h 37"/>
              <a:gd name="T10" fmla="*/ 16 w 36"/>
              <a:gd name="T11" fmla="*/ 35 h 37"/>
              <a:gd name="T12" fmla="*/ 14 w 36"/>
              <a:gd name="T13" fmla="*/ 36 h 37"/>
              <a:gd name="T14" fmla="*/ 11 w 36"/>
              <a:gd name="T15" fmla="*/ 37 h 37"/>
              <a:gd name="T16" fmla="*/ 5 w 36"/>
              <a:gd name="T17" fmla="*/ 32 h 37"/>
              <a:gd name="T18" fmla="*/ 2 w 36"/>
              <a:gd name="T19" fmla="*/ 29 h 37"/>
              <a:gd name="T20" fmla="*/ 1 w 36"/>
              <a:gd name="T21" fmla="*/ 25 h 37"/>
              <a:gd name="T22" fmla="*/ 0 w 36"/>
              <a:gd name="T23" fmla="*/ 21 h 37"/>
              <a:gd name="T24" fmla="*/ 1 w 36"/>
              <a:gd name="T25" fmla="*/ 18 h 37"/>
              <a:gd name="T26" fmla="*/ 8 w 36"/>
              <a:gd name="T27" fmla="*/ 8 h 37"/>
              <a:gd name="T28" fmla="*/ 12 w 36"/>
              <a:gd name="T29" fmla="*/ 4 h 37"/>
              <a:gd name="T30" fmla="*/ 21 w 36"/>
              <a:gd name="T31" fmla="*/ 0 h 37"/>
              <a:gd name="T32" fmla="*/ 24 w 36"/>
              <a:gd name="T33" fmla="*/ 0 h 37"/>
              <a:gd name="T34" fmla="*/ 27 w 36"/>
              <a:gd name="T35" fmla="*/ 1 h 37"/>
              <a:gd name="T36" fmla="*/ 31 w 36"/>
              <a:gd name="T37" fmla="*/ 4 h 37"/>
              <a:gd name="T38" fmla="*/ 32 w 36"/>
              <a:gd name="T39" fmla="*/ 9 h 37"/>
              <a:gd name="T40" fmla="*/ 34 w 36"/>
              <a:gd name="T41" fmla="*/ 12 h 37"/>
              <a:gd name="T42" fmla="*/ 35 w 36"/>
              <a:gd name="T43" fmla="*/ 14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6" h="37">
                <a:moveTo>
                  <a:pt x="35" y="14"/>
                </a:moveTo>
                <a:lnTo>
                  <a:pt x="36" y="14"/>
                </a:lnTo>
                <a:lnTo>
                  <a:pt x="35" y="16"/>
                </a:lnTo>
                <a:lnTo>
                  <a:pt x="27" y="27"/>
                </a:lnTo>
                <a:lnTo>
                  <a:pt x="20" y="31"/>
                </a:lnTo>
                <a:lnTo>
                  <a:pt x="16" y="35"/>
                </a:lnTo>
                <a:lnTo>
                  <a:pt x="14" y="36"/>
                </a:lnTo>
                <a:lnTo>
                  <a:pt x="11" y="37"/>
                </a:lnTo>
                <a:lnTo>
                  <a:pt x="5" y="32"/>
                </a:lnTo>
                <a:lnTo>
                  <a:pt x="2" y="29"/>
                </a:lnTo>
                <a:lnTo>
                  <a:pt x="1" y="25"/>
                </a:lnTo>
                <a:lnTo>
                  <a:pt x="0" y="21"/>
                </a:lnTo>
                <a:lnTo>
                  <a:pt x="1" y="18"/>
                </a:lnTo>
                <a:lnTo>
                  <a:pt x="8" y="8"/>
                </a:lnTo>
                <a:lnTo>
                  <a:pt x="12" y="4"/>
                </a:lnTo>
                <a:lnTo>
                  <a:pt x="21" y="0"/>
                </a:lnTo>
                <a:lnTo>
                  <a:pt x="24" y="0"/>
                </a:lnTo>
                <a:lnTo>
                  <a:pt x="27" y="1"/>
                </a:lnTo>
                <a:lnTo>
                  <a:pt x="31" y="4"/>
                </a:lnTo>
                <a:lnTo>
                  <a:pt x="32" y="9"/>
                </a:lnTo>
                <a:lnTo>
                  <a:pt x="34" y="12"/>
                </a:lnTo>
                <a:lnTo>
                  <a:pt x="35" y="1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55" name="Freeform 955"/>
          <p:cNvSpPr>
            <a:spLocks/>
          </p:cNvSpPr>
          <p:nvPr/>
        </p:nvSpPr>
        <p:spPr bwMode="auto">
          <a:xfrm>
            <a:off x="5013325" y="4400515"/>
            <a:ext cx="57150" cy="58738"/>
          </a:xfrm>
          <a:custGeom>
            <a:avLst/>
            <a:gdLst>
              <a:gd name="T0" fmla="*/ 35 w 36"/>
              <a:gd name="T1" fmla="*/ 14 h 37"/>
              <a:gd name="T2" fmla="*/ 36 w 36"/>
              <a:gd name="T3" fmla="*/ 14 h 37"/>
              <a:gd name="T4" fmla="*/ 35 w 36"/>
              <a:gd name="T5" fmla="*/ 16 h 37"/>
              <a:gd name="T6" fmla="*/ 27 w 36"/>
              <a:gd name="T7" fmla="*/ 27 h 37"/>
              <a:gd name="T8" fmla="*/ 20 w 36"/>
              <a:gd name="T9" fmla="*/ 31 h 37"/>
              <a:gd name="T10" fmla="*/ 16 w 36"/>
              <a:gd name="T11" fmla="*/ 35 h 37"/>
              <a:gd name="T12" fmla="*/ 14 w 36"/>
              <a:gd name="T13" fmla="*/ 36 h 37"/>
              <a:gd name="T14" fmla="*/ 11 w 36"/>
              <a:gd name="T15" fmla="*/ 37 h 37"/>
              <a:gd name="T16" fmla="*/ 5 w 36"/>
              <a:gd name="T17" fmla="*/ 32 h 37"/>
              <a:gd name="T18" fmla="*/ 2 w 36"/>
              <a:gd name="T19" fmla="*/ 29 h 37"/>
              <a:gd name="T20" fmla="*/ 1 w 36"/>
              <a:gd name="T21" fmla="*/ 25 h 37"/>
              <a:gd name="T22" fmla="*/ 0 w 36"/>
              <a:gd name="T23" fmla="*/ 21 h 37"/>
              <a:gd name="T24" fmla="*/ 1 w 36"/>
              <a:gd name="T25" fmla="*/ 18 h 37"/>
              <a:gd name="T26" fmla="*/ 8 w 36"/>
              <a:gd name="T27" fmla="*/ 8 h 37"/>
              <a:gd name="T28" fmla="*/ 12 w 36"/>
              <a:gd name="T29" fmla="*/ 4 h 37"/>
              <a:gd name="T30" fmla="*/ 21 w 36"/>
              <a:gd name="T31" fmla="*/ 0 h 37"/>
              <a:gd name="T32" fmla="*/ 24 w 36"/>
              <a:gd name="T33" fmla="*/ 0 h 37"/>
              <a:gd name="T34" fmla="*/ 27 w 36"/>
              <a:gd name="T35" fmla="*/ 1 h 37"/>
              <a:gd name="T36" fmla="*/ 31 w 36"/>
              <a:gd name="T37" fmla="*/ 4 h 37"/>
              <a:gd name="T38" fmla="*/ 32 w 36"/>
              <a:gd name="T39" fmla="*/ 9 h 37"/>
              <a:gd name="T40" fmla="*/ 34 w 36"/>
              <a:gd name="T41" fmla="*/ 12 h 37"/>
              <a:gd name="T42" fmla="*/ 35 w 36"/>
              <a:gd name="T43" fmla="*/ 14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6" h="37">
                <a:moveTo>
                  <a:pt x="35" y="14"/>
                </a:moveTo>
                <a:lnTo>
                  <a:pt x="36" y="14"/>
                </a:lnTo>
                <a:lnTo>
                  <a:pt x="35" y="16"/>
                </a:lnTo>
                <a:lnTo>
                  <a:pt x="27" y="27"/>
                </a:lnTo>
                <a:lnTo>
                  <a:pt x="20" y="31"/>
                </a:lnTo>
                <a:lnTo>
                  <a:pt x="16" y="35"/>
                </a:lnTo>
                <a:lnTo>
                  <a:pt x="14" y="36"/>
                </a:lnTo>
                <a:lnTo>
                  <a:pt x="11" y="37"/>
                </a:lnTo>
                <a:lnTo>
                  <a:pt x="5" y="32"/>
                </a:lnTo>
                <a:lnTo>
                  <a:pt x="2" y="29"/>
                </a:lnTo>
                <a:lnTo>
                  <a:pt x="1" y="25"/>
                </a:lnTo>
                <a:lnTo>
                  <a:pt x="0" y="21"/>
                </a:lnTo>
                <a:lnTo>
                  <a:pt x="1" y="18"/>
                </a:lnTo>
                <a:lnTo>
                  <a:pt x="8" y="8"/>
                </a:lnTo>
                <a:lnTo>
                  <a:pt x="12" y="4"/>
                </a:lnTo>
                <a:lnTo>
                  <a:pt x="21" y="0"/>
                </a:lnTo>
                <a:lnTo>
                  <a:pt x="24" y="0"/>
                </a:lnTo>
                <a:lnTo>
                  <a:pt x="27" y="1"/>
                </a:lnTo>
                <a:lnTo>
                  <a:pt x="31" y="4"/>
                </a:lnTo>
                <a:lnTo>
                  <a:pt x="32" y="9"/>
                </a:lnTo>
                <a:lnTo>
                  <a:pt x="34" y="12"/>
                </a:lnTo>
                <a:lnTo>
                  <a:pt x="35" y="1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56" name="Freeform 956"/>
          <p:cNvSpPr>
            <a:spLocks/>
          </p:cNvSpPr>
          <p:nvPr/>
        </p:nvSpPr>
        <p:spPr bwMode="auto">
          <a:xfrm>
            <a:off x="5360988" y="2385978"/>
            <a:ext cx="84137" cy="68263"/>
          </a:xfrm>
          <a:custGeom>
            <a:avLst/>
            <a:gdLst>
              <a:gd name="T0" fmla="*/ 26 w 53"/>
              <a:gd name="T1" fmla="*/ 29 h 43"/>
              <a:gd name="T2" fmla="*/ 22 w 53"/>
              <a:gd name="T3" fmla="*/ 27 h 43"/>
              <a:gd name="T4" fmla="*/ 21 w 53"/>
              <a:gd name="T5" fmla="*/ 26 h 43"/>
              <a:gd name="T6" fmla="*/ 19 w 53"/>
              <a:gd name="T7" fmla="*/ 25 h 43"/>
              <a:gd name="T8" fmla="*/ 16 w 53"/>
              <a:gd name="T9" fmla="*/ 21 h 43"/>
              <a:gd name="T10" fmla="*/ 14 w 53"/>
              <a:gd name="T11" fmla="*/ 20 h 43"/>
              <a:gd name="T12" fmla="*/ 10 w 53"/>
              <a:gd name="T13" fmla="*/ 19 h 43"/>
              <a:gd name="T14" fmla="*/ 8 w 53"/>
              <a:gd name="T15" fmla="*/ 17 h 43"/>
              <a:gd name="T16" fmla="*/ 6 w 53"/>
              <a:gd name="T17" fmla="*/ 13 h 43"/>
              <a:gd name="T18" fmla="*/ 5 w 53"/>
              <a:gd name="T19" fmla="*/ 8 h 43"/>
              <a:gd name="T20" fmla="*/ 2 w 53"/>
              <a:gd name="T21" fmla="*/ 5 h 43"/>
              <a:gd name="T22" fmla="*/ 0 w 53"/>
              <a:gd name="T23" fmla="*/ 3 h 43"/>
              <a:gd name="T24" fmla="*/ 6 w 53"/>
              <a:gd name="T25" fmla="*/ 3 h 43"/>
              <a:gd name="T26" fmla="*/ 7 w 53"/>
              <a:gd name="T27" fmla="*/ 2 h 43"/>
              <a:gd name="T28" fmla="*/ 11 w 53"/>
              <a:gd name="T29" fmla="*/ 1 h 43"/>
              <a:gd name="T30" fmla="*/ 14 w 53"/>
              <a:gd name="T31" fmla="*/ 0 h 43"/>
              <a:gd name="T32" fmla="*/ 18 w 53"/>
              <a:gd name="T33" fmla="*/ 1 h 43"/>
              <a:gd name="T34" fmla="*/ 20 w 53"/>
              <a:gd name="T35" fmla="*/ 1 h 43"/>
              <a:gd name="T36" fmla="*/ 22 w 53"/>
              <a:gd name="T37" fmla="*/ 0 h 43"/>
              <a:gd name="T38" fmla="*/ 22 w 53"/>
              <a:gd name="T39" fmla="*/ 0 h 43"/>
              <a:gd name="T40" fmla="*/ 24 w 53"/>
              <a:gd name="T41" fmla="*/ 1 h 43"/>
              <a:gd name="T42" fmla="*/ 27 w 53"/>
              <a:gd name="T43" fmla="*/ 5 h 43"/>
              <a:gd name="T44" fmla="*/ 29 w 53"/>
              <a:gd name="T45" fmla="*/ 5 h 43"/>
              <a:gd name="T46" fmla="*/ 31 w 53"/>
              <a:gd name="T47" fmla="*/ 6 h 43"/>
              <a:gd name="T48" fmla="*/ 32 w 53"/>
              <a:gd name="T49" fmla="*/ 8 h 43"/>
              <a:gd name="T50" fmla="*/ 31 w 53"/>
              <a:gd name="T51" fmla="*/ 10 h 43"/>
              <a:gd name="T52" fmla="*/ 31 w 53"/>
              <a:gd name="T53" fmla="*/ 11 h 43"/>
              <a:gd name="T54" fmla="*/ 32 w 53"/>
              <a:gd name="T55" fmla="*/ 13 h 43"/>
              <a:gd name="T56" fmla="*/ 34 w 53"/>
              <a:gd name="T57" fmla="*/ 16 h 43"/>
              <a:gd name="T58" fmla="*/ 36 w 53"/>
              <a:gd name="T59" fmla="*/ 17 h 43"/>
              <a:gd name="T60" fmla="*/ 40 w 53"/>
              <a:gd name="T61" fmla="*/ 19 h 43"/>
              <a:gd name="T62" fmla="*/ 40 w 53"/>
              <a:gd name="T63" fmla="*/ 20 h 43"/>
              <a:gd name="T64" fmla="*/ 40 w 53"/>
              <a:gd name="T65" fmla="*/ 22 h 43"/>
              <a:gd name="T66" fmla="*/ 38 w 53"/>
              <a:gd name="T67" fmla="*/ 23 h 43"/>
              <a:gd name="T68" fmla="*/ 39 w 53"/>
              <a:gd name="T69" fmla="*/ 25 h 43"/>
              <a:gd name="T70" fmla="*/ 42 w 53"/>
              <a:gd name="T71" fmla="*/ 28 h 43"/>
              <a:gd name="T72" fmla="*/ 47 w 53"/>
              <a:gd name="T73" fmla="*/ 30 h 43"/>
              <a:gd name="T74" fmla="*/ 49 w 53"/>
              <a:gd name="T75" fmla="*/ 30 h 43"/>
              <a:gd name="T76" fmla="*/ 50 w 53"/>
              <a:gd name="T77" fmla="*/ 31 h 43"/>
              <a:gd name="T78" fmla="*/ 50 w 53"/>
              <a:gd name="T79" fmla="*/ 32 h 43"/>
              <a:gd name="T80" fmla="*/ 50 w 53"/>
              <a:gd name="T81" fmla="*/ 35 h 43"/>
              <a:gd name="T82" fmla="*/ 52 w 53"/>
              <a:gd name="T83" fmla="*/ 36 h 43"/>
              <a:gd name="T84" fmla="*/ 52 w 53"/>
              <a:gd name="T85" fmla="*/ 38 h 43"/>
              <a:gd name="T86" fmla="*/ 50 w 53"/>
              <a:gd name="T87" fmla="*/ 39 h 43"/>
              <a:gd name="T88" fmla="*/ 51 w 53"/>
              <a:gd name="T89" fmla="*/ 40 h 43"/>
              <a:gd name="T90" fmla="*/ 53 w 53"/>
              <a:gd name="T91" fmla="*/ 42 h 43"/>
              <a:gd name="T92" fmla="*/ 53 w 53"/>
              <a:gd name="T93" fmla="*/ 43 h 43"/>
              <a:gd name="T94" fmla="*/ 52 w 53"/>
              <a:gd name="T95" fmla="*/ 43 h 43"/>
              <a:gd name="T96" fmla="*/ 48 w 53"/>
              <a:gd name="T97" fmla="*/ 43 h 43"/>
              <a:gd name="T98" fmla="*/ 46 w 53"/>
              <a:gd name="T99" fmla="*/ 43 h 43"/>
              <a:gd name="T100" fmla="*/ 45 w 53"/>
              <a:gd name="T101" fmla="*/ 38 h 43"/>
              <a:gd name="T102" fmla="*/ 44 w 53"/>
              <a:gd name="T103" fmla="*/ 36 h 43"/>
              <a:gd name="T104" fmla="*/ 41 w 53"/>
              <a:gd name="T105" fmla="*/ 33 h 43"/>
              <a:gd name="T106" fmla="*/ 40 w 53"/>
              <a:gd name="T107" fmla="*/ 32 h 43"/>
              <a:gd name="T108" fmla="*/ 38 w 53"/>
              <a:gd name="T109" fmla="*/ 31 h 43"/>
              <a:gd name="T110" fmla="*/ 37 w 53"/>
              <a:gd name="T111" fmla="*/ 32 h 43"/>
              <a:gd name="T112" fmla="*/ 35 w 53"/>
              <a:gd name="T113" fmla="*/ 31 h 43"/>
              <a:gd name="T114" fmla="*/ 32 w 53"/>
              <a:gd name="T115" fmla="*/ 31 h 43"/>
              <a:gd name="T116" fmla="*/ 30 w 53"/>
              <a:gd name="T117" fmla="*/ 29 h 43"/>
              <a:gd name="T118" fmla="*/ 28 w 53"/>
              <a:gd name="T119" fmla="*/ 29 h 43"/>
              <a:gd name="T120" fmla="*/ 26 w 53"/>
              <a:gd name="T121" fmla="*/ 29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3" h="43">
                <a:moveTo>
                  <a:pt x="26" y="29"/>
                </a:moveTo>
                <a:lnTo>
                  <a:pt x="22" y="27"/>
                </a:lnTo>
                <a:lnTo>
                  <a:pt x="21" y="26"/>
                </a:lnTo>
                <a:lnTo>
                  <a:pt x="19" y="25"/>
                </a:lnTo>
                <a:lnTo>
                  <a:pt x="16" y="21"/>
                </a:lnTo>
                <a:lnTo>
                  <a:pt x="14" y="20"/>
                </a:lnTo>
                <a:lnTo>
                  <a:pt x="10" y="19"/>
                </a:lnTo>
                <a:lnTo>
                  <a:pt x="8" y="17"/>
                </a:lnTo>
                <a:lnTo>
                  <a:pt x="6" y="13"/>
                </a:lnTo>
                <a:lnTo>
                  <a:pt x="5" y="8"/>
                </a:lnTo>
                <a:lnTo>
                  <a:pt x="2" y="5"/>
                </a:lnTo>
                <a:lnTo>
                  <a:pt x="0" y="3"/>
                </a:lnTo>
                <a:lnTo>
                  <a:pt x="6" y="3"/>
                </a:lnTo>
                <a:lnTo>
                  <a:pt x="7" y="2"/>
                </a:lnTo>
                <a:lnTo>
                  <a:pt x="11" y="1"/>
                </a:lnTo>
                <a:lnTo>
                  <a:pt x="14" y="0"/>
                </a:lnTo>
                <a:lnTo>
                  <a:pt x="18" y="1"/>
                </a:lnTo>
                <a:lnTo>
                  <a:pt x="20" y="1"/>
                </a:lnTo>
                <a:lnTo>
                  <a:pt x="22" y="0"/>
                </a:lnTo>
                <a:lnTo>
                  <a:pt x="22" y="0"/>
                </a:lnTo>
                <a:lnTo>
                  <a:pt x="24" y="1"/>
                </a:lnTo>
                <a:lnTo>
                  <a:pt x="27" y="5"/>
                </a:lnTo>
                <a:lnTo>
                  <a:pt x="29" y="5"/>
                </a:lnTo>
                <a:lnTo>
                  <a:pt x="31" y="6"/>
                </a:lnTo>
                <a:lnTo>
                  <a:pt x="32" y="8"/>
                </a:lnTo>
                <a:lnTo>
                  <a:pt x="31" y="10"/>
                </a:lnTo>
                <a:lnTo>
                  <a:pt x="31" y="11"/>
                </a:lnTo>
                <a:lnTo>
                  <a:pt x="32" y="13"/>
                </a:lnTo>
                <a:lnTo>
                  <a:pt x="34" y="16"/>
                </a:lnTo>
                <a:lnTo>
                  <a:pt x="36" y="17"/>
                </a:lnTo>
                <a:lnTo>
                  <a:pt x="40" y="19"/>
                </a:lnTo>
                <a:lnTo>
                  <a:pt x="40" y="20"/>
                </a:lnTo>
                <a:lnTo>
                  <a:pt x="40" y="22"/>
                </a:lnTo>
                <a:lnTo>
                  <a:pt x="38" y="23"/>
                </a:lnTo>
                <a:lnTo>
                  <a:pt x="39" y="25"/>
                </a:lnTo>
                <a:lnTo>
                  <a:pt x="42" y="28"/>
                </a:lnTo>
                <a:lnTo>
                  <a:pt x="47" y="30"/>
                </a:lnTo>
                <a:lnTo>
                  <a:pt x="49" y="30"/>
                </a:lnTo>
                <a:lnTo>
                  <a:pt x="50" y="31"/>
                </a:lnTo>
                <a:lnTo>
                  <a:pt x="50" y="32"/>
                </a:lnTo>
                <a:lnTo>
                  <a:pt x="50" y="35"/>
                </a:lnTo>
                <a:lnTo>
                  <a:pt x="52" y="36"/>
                </a:lnTo>
                <a:lnTo>
                  <a:pt x="52" y="38"/>
                </a:lnTo>
                <a:lnTo>
                  <a:pt x="50" y="39"/>
                </a:lnTo>
                <a:lnTo>
                  <a:pt x="51" y="40"/>
                </a:lnTo>
                <a:lnTo>
                  <a:pt x="53" y="42"/>
                </a:lnTo>
                <a:lnTo>
                  <a:pt x="53" y="43"/>
                </a:lnTo>
                <a:lnTo>
                  <a:pt x="52" y="43"/>
                </a:lnTo>
                <a:lnTo>
                  <a:pt x="48" y="43"/>
                </a:lnTo>
                <a:lnTo>
                  <a:pt x="46" y="43"/>
                </a:lnTo>
                <a:lnTo>
                  <a:pt x="45" y="38"/>
                </a:lnTo>
                <a:lnTo>
                  <a:pt x="44" y="36"/>
                </a:lnTo>
                <a:lnTo>
                  <a:pt x="41" y="33"/>
                </a:lnTo>
                <a:lnTo>
                  <a:pt x="40" y="32"/>
                </a:lnTo>
                <a:lnTo>
                  <a:pt x="38" y="31"/>
                </a:lnTo>
                <a:lnTo>
                  <a:pt x="37" y="32"/>
                </a:lnTo>
                <a:lnTo>
                  <a:pt x="35" y="31"/>
                </a:lnTo>
                <a:lnTo>
                  <a:pt x="32" y="31"/>
                </a:lnTo>
                <a:lnTo>
                  <a:pt x="30" y="29"/>
                </a:lnTo>
                <a:lnTo>
                  <a:pt x="28" y="29"/>
                </a:lnTo>
                <a:lnTo>
                  <a:pt x="26" y="29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57" name="Freeform 957"/>
          <p:cNvSpPr>
            <a:spLocks/>
          </p:cNvSpPr>
          <p:nvPr/>
        </p:nvSpPr>
        <p:spPr bwMode="auto">
          <a:xfrm>
            <a:off x="5360988" y="2385978"/>
            <a:ext cx="84137" cy="68263"/>
          </a:xfrm>
          <a:custGeom>
            <a:avLst/>
            <a:gdLst>
              <a:gd name="T0" fmla="*/ 26 w 53"/>
              <a:gd name="T1" fmla="*/ 29 h 43"/>
              <a:gd name="T2" fmla="*/ 22 w 53"/>
              <a:gd name="T3" fmla="*/ 27 h 43"/>
              <a:gd name="T4" fmla="*/ 21 w 53"/>
              <a:gd name="T5" fmla="*/ 26 h 43"/>
              <a:gd name="T6" fmla="*/ 19 w 53"/>
              <a:gd name="T7" fmla="*/ 25 h 43"/>
              <a:gd name="T8" fmla="*/ 16 w 53"/>
              <a:gd name="T9" fmla="*/ 21 h 43"/>
              <a:gd name="T10" fmla="*/ 14 w 53"/>
              <a:gd name="T11" fmla="*/ 20 h 43"/>
              <a:gd name="T12" fmla="*/ 10 w 53"/>
              <a:gd name="T13" fmla="*/ 19 h 43"/>
              <a:gd name="T14" fmla="*/ 8 w 53"/>
              <a:gd name="T15" fmla="*/ 17 h 43"/>
              <a:gd name="T16" fmla="*/ 6 w 53"/>
              <a:gd name="T17" fmla="*/ 13 h 43"/>
              <a:gd name="T18" fmla="*/ 5 w 53"/>
              <a:gd name="T19" fmla="*/ 8 h 43"/>
              <a:gd name="T20" fmla="*/ 2 w 53"/>
              <a:gd name="T21" fmla="*/ 5 h 43"/>
              <a:gd name="T22" fmla="*/ 0 w 53"/>
              <a:gd name="T23" fmla="*/ 3 h 43"/>
              <a:gd name="T24" fmla="*/ 6 w 53"/>
              <a:gd name="T25" fmla="*/ 3 h 43"/>
              <a:gd name="T26" fmla="*/ 7 w 53"/>
              <a:gd name="T27" fmla="*/ 2 h 43"/>
              <a:gd name="T28" fmla="*/ 11 w 53"/>
              <a:gd name="T29" fmla="*/ 1 h 43"/>
              <a:gd name="T30" fmla="*/ 14 w 53"/>
              <a:gd name="T31" fmla="*/ 0 h 43"/>
              <a:gd name="T32" fmla="*/ 18 w 53"/>
              <a:gd name="T33" fmla="*/ 1 h 43"/>
              <a:gd name="T34" fmla="*/ 20 w 53"/>
              <a:gd name="T35" fmla="*/ 1 h 43"/>
              <a:gd name="T36" fmla="*/ 22 w 53"/>
              <a:gd name="T37" fmla="*/ 0 h 43"/>
              <a:gd name="T38" fmla="*/ 22 w 53"/>
              <a:gd name="T39" fmla="*/ 0 h 43"/>
              <a:gd name="T40" fmla="*/ 24 w 53"/>
              <a:gd name="T41" fmla="*/ 1 h 43"/>
              <a:gd name="T42" fmla="*/ 27 w 53"/>
              <a:gd name="T43" fmla="*/ 5 h 43"/>
              <a:gd name="T44" fmla="*/ 29 w 53"/>
              <a:gd name="T45" fmla="*/ 5 h 43"/>
              <a:gd name="T46" fmla="*/ 31 w 53"/>
              <a:gd name="T47" fmla="*/ 6 h 43"/>
              <a:gd name="T48" fmla="*/ 32 w 53"/>
              <a:gd name="T49" fmla="*/ 8 h 43"/>
              <a:gd name="T50" fmla="*/ 31 w 53"/>
              <a:gd name="T51" fmla="*/ 10 h 43"/>
              <a:gd name="T52" fmla="*/ 31 w 53"/>
              <a:gd name="T53" fmla="*/ 11 h 43"/>
              <a:gd name="T54" fmla="*/ 32 w 53"/>
              <a:gd name="T55" fmla="*/ 13 h 43"/>
              <a:gd name="T56" fmla="*/ 34 w 53"/>
              <a:gd name="T57" fmla="*/ 16 h 43"/>
              <a:gd name="T58" fmla="*/ 36 w 53"/>
              <a:gd name="T59" fmla="*/ 17 h 43"/>
              <a:gd name="T60" fmla="*/ 40 w 53"/>
              <a:gd name="T61" fmla="*/ 19 h 43"/>
              <a:gd name="T62" fmla="*/ 40 w 53"/>
              <a:gd name="T63" fmla="*/ 20 h 43"/>
              <a:gd name="T64" fmla="*/ 40 w 53"/>
              <a:gd name="T65" fmla="*/ 22 h 43"/>
              <a:gd name="T66" fmla="*/ 38 w 53"/>
              <a:gd name="T67" fmla="*/ 23 h 43"/>
              <a:gd name="T68" fmla="*/ 39 w 53"/>
              <a:gd name="T69" fmla="*/ 25 h 43"/>
              <a:gd name="T70" fmla="*/ 42 w 53"/>
              <a:gd name="T71" fmla="*/ 28 h 43"/>
              <a:gd name="T72" fmla="*/ 47 w 53"/>
              <a:gd name="T73" fmla="*/ 30 h 43"/>
              <a:gd name="T74" fmla="*/ 49 w 53"/>
              <a:gd name="T75" fmla="*/ 30 h 43"/>
              <a:gd name="T76" fmla="*/ 50 w 53"/>
              <a:gd name="T77" fmla="*/ 31 h 43"/>
              <a:gd name="T78" fmla="*/ 50 w 53"/>
              <a:gd name="T79" fmla="*/ 32 h 43"/>
              <a:gd name="T80" fmla="*/ 50 w 53"/>
              <a:gd name="T81" fmla="*/ 35 h 43"/>
              <a:gd name="T82" fmla="*/ 52 w 53"/>
              <a:gd name="T83" fmla="*/ 36 h 43"/>
              <a:gd name="T84" fmla="*/ 52 w 53"/>
              <a:gd name="T85" fmla="*/ 38 h 43"/>
              <a:gd name="T86" fmla="*/ 50 w 53"/>
              <a:gd name="T87" fmla="*/ 39 h 43"/>
              <a:gd name="T88" fmla="*/ 51 w 53"/>
              <a:gd name="T89" fmla="*/ 40 h 43"/>
              <a:gd name="T90" fmla="*/ 53 w 53"/>
              <a:gd name="T91" fmla="*/ 42 h 43"/>
              <a:gd name="T92" fmla="*/ 53 w 53"/>
              <a:gd name="T93" fmla="*/ 43 h 43"/>
              <a:gd name="T94" fmla="*/ 52 w 53"/>
              <a:gd name="T95" fmla="*/ 43 h 43"/>
              <a:gd name="T96" fmla="*/ 48 w 53"/>
              <a:gd name="T97" fmla="*/ 43 h 43"/>
              <a:gd name="T98" fmla="*/ 46 w 53"/>
              <a:gd name="T99" fmla="*/ 43 h 43"/>
              <a:gd name="T100" fmla="*/ 45 w 53"/>
              <a:gd name="T101" fmla="*/ 38 h 43"/>
              <a:gd name="T102" fmla="*/ 44 w 53"/>
              <a:gd name="T103" fmla="*/ 36 h 43"/>
              <a:gd name="T104" fmla="*/ 41 w 53"/>
              <a:gd name="T105" fmla="*/ 33 h 43"/>
              <a:gd name="T106" fmla="*/ 40 w 53"/>
              <a:gd name="T107" fmla="*/ 32 h 43"/>
              <a:gd name="T108" fmla="*/ 38 w 53"/>
              <a:gd name="T109" fmla="*/ 31 h 43"/>
              <a:gd name="T110" fmla="*/ 37 w 53"/>
              <a:gd name="T111" fmla="*/ 32 h 43"/>
              <a:gd name="T112" fmla="*/ 35 w 53"/>
              <a:gd name="T113" fmla="*/ 31 h 43"/>
              <a:gd name="T114" fmla="*/ 32 w 53"/>
              <a:gd name="T115" fmla="*/ 31 h 43"/>
              <a:gd name="T116" fmla="*/ 30 w 53"/>
              <a:gd name="T117" fmla="*/ 29 h 43"/>
              <a:gd name="T118" fmla="*/ 28 w 53"/>
              <a:gd name="T119" fmla="*/ 29 h 43"/>
              <a:gd name="T120" fmla="*/ 26 w 53"/>
              <a:gd name="T121" fmla="*/ 29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3" h="43">
                <a:moveTo>
                  <a:pt x="26" y="29"/>
                </a:moveTo>
                <a:lnTo>
                  <a:pt x="22" y="27"/>
                </a:lnTo>
                <a:lnTo>
                  <a:pt x="21" y="26"/>
                </a:lnTo>
                <a:lnTo>
                  <a:pt x="19" y="25"/>
                </a:lnTo>
                <a:lnTo>
                  <a:pt x="16" y="21"/>
                </a:lnTo>
                <a:lnTo>
                  <a:pt x="14" y="20"/>
                </a:lnTo>
                <a:lnTo>
                  <a:pt x="10" y="19"/>
                </a:lnTo>
                <a:lnTo>
                  <a:pt x="8" y="17"/>
                </a:lnTo>
                <a:lnTo>
                  <a:pt x="6" y="13"/>
                </a:lnTo>
                <a:lnTo>
                  <a:pt x="5" y="8"/>
                </a:lnTo>
                <a:lnTo>
                  <a:pt x="2" y="5"/>
                </a:lnTo>
                <a:lnTo>
                  <a:pt x="0" y="3"/>
                </a:lnTo>
                <a:lnTo>
                  <a:pt x="6" y="3"/>
                </a:lnTo>
                <a:lnTo>
                  <a:pt x="7" y="2"/>
                </a:lnTo>
                <a:lnTo>
                  <a:pt x="11" y="1"/>
                </a:lnTo>
                <a:lnTo>
                  <a:pt x="14" y="0"/>
                </a:lnTo>
                <a:lnTo>
                  <a:pt x="18" y="1"/>
                </a:lnTo>
                <a:lnTo>
                  <a:pt x="20" y="1"/>
                </a:lnTo>
                <a:lnTo>
                  <a:pt x="22" y="0"/>
                </a:lnTo>
                <a:lnTo>
                  <a:pt x="22" y="0"/>
                </a:lnTo>
                <a:lnTo>
                  <a:pt x="24" y="1"/>
                </a:lnTo>
                <a:lnTo>
                  <a:pt x="27" y="5"/>
                </a:lnTo>
                <a:lnTo>
                  <a:pt x="29" y="5"/>
                </a:lnTo>
                <a:lnTo>
                  <a:pt x="31" y="6"/>
                </a:lnTo>
                <a:lnTo>
                  <a:pt x="32" y="8"/>
                </a:lnTo>
                <a:lnTo>
                  <a:pt x="31" y="10"/>
                </a:lnTo>
                <a:lnTo>
                  <a:pt x="31" y="11"/>
                </a:lnTo>
                <a:lnTo>
                  <a:pt x="32" y="13"/>
                </a:lnTo>
                <a:lnTo>
                  <a:pt x="34" y="16"/>
                </a:lnTo>
                <a:lnTo>
                  <a:pt x="36" y="17"/>
                </a:lnTo>
                <a:lnTo>
                  <a:pt x="40" y="19"/>
                </a:lnTo>
                <a:lnTo>
                  <a:pt x="40" y="20"/>
                </a:lnTo>
                <a:lnTo>
                  <a:pt x="40" y="22"/>
                </a:lnTo>
                <a:lnTo>
                  <a:pt x="38" y="23"/>
                </a:lnTo>
                <a:lnTo>
                  <a:pt x="39" y="25"/>
                </a:lnTo>
                <a:lnTo>
                  <a:pt x="42" y="28"/>
                </a:lnTo>
                <a:lnTo>
                  <a:pt x="47" y="30"/>
                </a:lnTo>
                <a:lnTo>
                  <a:pt x="49" y="30"/>
                </a:lnTo>
                <a:lnTo>
                  <a:pt x="50" y="31"/>
                </a:lnTo>
                <a:lnTo>
                  <a:pt x="50" y="32"/>
                </a:lnTo>
                <a:lnTo>
                  <a:pt x="50" y="35"/>
                </a:lnTo>
                <a:lnTo>
                  <a:pt x="52" y="36"/>
                </a:lnTo>
                <a:lnTo>
                  <a:pt x="52" y="38"/>
                </a:lnTo>
                <a:lnTo>
                  <a:pt x="50" y="39"/>
                </a:lnTo>
                <a:lnTo>
                  <a:pt x="51" y="40"/>
                </a:lnTo>
                <a:lnTo>
                  <a:pt x="53" y="42"/>
                </a:lnTo>
                <a:lnTo>
                  <a:pt x="53" y="43"/>
                </a:lnTo>
                <a:lnTo>
                  <a:pt x="52" y="43"/>
                </a:lnTo>
                <a:lnTo>
                  <a:pt x="48" y="43"/>
                </a:lnTo>
                <a:lnTo>
                  <a:pt x="46" y="43"/>
                </a:lnTo>
                <a:lnTo>
                  <a:pt x="45" y="38"/>
                </a:lnTo>
                <a:lnTo>
                  <a:pt x="44" y="36"/>
                </a:lnTo>
                <a:lnTo>
                  <a:pt x="41" y="33"/>
                </a:lnTo>
                <a:lnTo>
                  <a:pt x="40" y="32"/>
                </a:lnTo>
                <a:lnTo>
                  <a:pt x="38" y="31"/>
                </a:lnTo>
                <a:lnTo>
                  <a:pt x="37" y="32"/>
                </a:lnTo>
                <a:lnTo>
                  <a:pt x="35" y="31"/>
                </a:lnTo>
                <a:lnTo>
                  <a:pt x="32" y="31"/>
                </a:lnTo>
                <a:lnTo>
                  <a:pt x="30" y="29"/>
                </a:lnTo>
                <a:lnTo>
                  <a:pt x="28" y="29"/>
                </a:lnTo>
                <a:lnTo>
                  <a:pt x="26" y="29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58" name="Freeform 958"/>
          <p:cNvSpPr>
            <a:spLocks/>
          </p:cNvSpPr>
          <p:nvPr/>
        </p:nvSpPr>
        <p:spPr bwMode="auto">
          <a:xfrm>
            <a:off x="6003925" y="2427253"/>
            <a:ext cx="6350" cy="3175"/>
          </a:xfrm>
          <a:custGeom>
            <a:avLst/>
            <a:gdLst>
              <a:gd name="T0" fmla="*/ 4 w 4"/>
              <a:gd name="T1" fmla="*/ 2 h 2"/>
              <a:gd name="T2" fmla="*/ 2 w 4"/>
              <a:gd name="T3" fmla="*/ 0 h 2"/>
              <a:gd name="T4" fmla="*/ 0 w 4"/>
              <a:gd name="T5" fmla="*/ 0 h 2"/>
              <a:gd name="T6" fmla="*/ 1 w 4"/>
              <a:gd name="T7" fmla="*/ 2 h 2"/>
              <a:gd name="T8" fmla="*/ 4 w 4"/>
              <a:gd name="T9" fmla="*/ 2 h 2"/>
              <a:gd name="T10" fmla="*/ 4 w 4"/>
              <a:gd name="T1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2">
                <a:moveTo>
                  <a:pt x="4" y="2"/>
                </a:moveTo>
                <a:lnTo>
                  <a:pt x="2" y="0"/>
                </a:lnTo>
                <a:lnTo>
                  <a:pt x="0" y="0"/>
                </a:lnTo>
                <a:lnTo>
                  <a:pt x="1" y="2"/>
                </a:lnTo>
                <a:lnTo>
                  <a:pt x="4" y="2"/>
                </a:lnTo>
                <a:lnTo>
                  <a:pt x="4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59" name="Freeform 959"/>
          <p:cNvSpPr>
            <a:spLocks/>
          </p:cNvSpPr>
          <p:nvPr/>
        </p:nvSpPr>
        <p:spPr bwMode="auto">
          <a:xfrm>
            <a:off x="6003925" y="2427253"/>
            <a:ext cx="6350" cy="3175"/>
          </a:xfrm>
          <a:custGeom>
            <a:avLst/>
            <a:gdLst>
              <a:gd name="T0" fmla="*/ 4 w 4"/>
              <a:gd name="T1" fmla="*/ 2 h 2"/>
              <a:gd name="T2" fmla="*/ 2 w 4"/>
              <a:gd name="T3" fmla="*/ 0 h 2"/>
              <a:gd name="T4" fmla="*/ 0 w 4"/>
              <a:gd name="T5" fmla="*/ 0 h 2"/>
              <a:gd name="T6" fmla="*/ 1 w 4"/>
              <a:gd name="T7" fmla="*/ 2 h 2"/>
              <a:gd name="T8" fmla="*/ 4 w 4"/>
              <a:gd name="T9" fmla="*/ 2 h 2"/>
              <a:gd name="T10" fmla="*/ 4 w 4"/>
              <a:gd name="T11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" h="2">
                <a:moveTo>
                  <a:pt x="4" y="2"/>
                </a:moveTo>
                <a:lnTo>
                  <a:pt x="2" y="0"/>
                </a:lnTo>
                <a:lnTo>
                  <a:pt x="0" y="0"/>
                </a:lnTo>
                <a:lnTo>
                  <a:pt x="1" y="2"/>
                </a:lnTo>
                <a:lnTo>
                  <a:pt x="4" y="2"/>
                </a:lnTo>
                <a:lnTo>
                  <a:pt x="4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60" name="Freeform 960"/>
          <p:cNvSpPr>
            <a:spLocks/>
          </p:cNvSpPr>
          <p:nvPr/>
        </p:nvSpPr>
        <p:spPr bwMode="auto">
          <a:xfrm>
            <a:off x="3925888" y="2792378"/>
            <a:ext cx="303212" cy="358775"/>
          </a:xfrm>
          <a:custGeom>
            <a:avLst/>
            <a:gdLst>
              <a:gd name="T0" fmla="*/ 28 w 191"/>
              <a:gd name="T1" fmla="*/ 105 h 226"/>
              <a:gd name="T2" fmla="*/ 4 w 191"/>
              <a:gd name="T3" fmla="*/ 107 h 226"/>
              <a:gd name="T4" fmla="*/ 2 w 191"/>
              <a:gd name="T5" fmla="*/ 110 h 226"/>
              <a:gd name="T6" fmla="*/ 0 w 191"/>
              <a:gd name="T7" fmla="*/ 113 h 226"/>
              <a:gd name="T8" fmla="*/ 7 w 191"/>
              <a:gd name="T9" fmla="*/ 119 h 226"/>
              <a:gd name="T10" fmla="*/ 12 w 191"/>
              <a:gd name="T11" fmla="*/ 125 h 226"/>
              <a:gd name="T12" fmla="*/ 12 w 191"/>
              <a:gd name="T13" fmla="*/ 134 h 226"/>
              <a:gd name="T14" fmla="*/ 8 w 191"/>
              <a:gd name="T15" fmla="*/ 140 h 226"/>
              <a:gd name="T16" fmla="*/ 13 w 191"/>
              <a:gd name="T17" fmla="*/ 154 h 226"/>
              <a:gd name="T18" fmla="*/ 13 w 191"/>
              <a:gd name="T19" fmla="*/ 174 h 226"/>
              <a:gd name="T20" fmla="*/ 8 w 191"/>
              <a:gd name="T21" fmla="*/ 193 h 226"/>
              <a:gd name="T22" fmla="*/ 5 w 191"/>
              <a:gd name="T23" fmla="*/ 201 h 226"/>
              <a:gd name="T24" fmla="*/ 9 w 191"/>
              <a:gd name="T25" fmla="*/ 194 h 226"/>
              <a:gd name="T26" fmla="*/ 13 w 191"/>
              <a:gd name="T27" fmla="*/ 194 h 226"/>
              <a:gd name="T28" fmla="*/ 20 w 191"/>
              <a:gd name="T29" fmla="*/ 194 h 226"/>
              <a:gd name="T30" fmla="*/ 27 w 191"/>
              <a:gd name="T31" fmla="*/ 193 h 226"/>
              <a:gd name="T32" fmla="*/ 28 w 191"/>
              <a:gd name="T33" fmla="*/ 191 h 226"/>
              <a:gd name="T34" fmla="*/ 33 w 191"/>
              <a:gd name="T35" fmla="*/ 191 h 226"/>
              <a:gd name="T36" fmla="*/ 39 w 191"/>
              <a:gd name="T37" fmla="*/ 191 h 226"/>
              <a:gd name="T38" fmla="*/ 44 w 191"/>
              <a:gd name="T39" fmla="*/ 197 h 226"/>
              <a:gd name="T40" fmla="*/ 49 w 191"/>
              <a:gd name="T41" fmla="*/ 200 h 226"/>
              <a:gd name="T42" fmla="*/ 51 w 191"/>
              <a:gd name="T43" fmla="*/ 201 h 226"/>
              <a:gd name="T44" fmla="*/ 57 w 191"/>
              <a:gd name="T45" fmla="*/ 205 h 226"/>
              <a:gd name="T46" fmla="*/ 59 w 191"/>
              <a:gd name="T47" fmla="*/ 210 h 226"/>
              <a:gd name="T48" fmla="*/ 60 w 191"/>
              <a:gd name="T49" fmla="*/ 212 h 226"/>
              <a:gd name="T50" fmla="*/ 62 w 191"/>
              <a:gd name="T51" fmla="*/ 215 h 226"/>
              <a:gd name="T52" fmla="*/ 63 w 191"/>
              <a:gd name="T53" fmla="*/ 217 h 226"/>
              <a:gd name="T54" fmla="*/ 64 w 191"/>
              <a:gd name="T55" fmla="*/ 218 h 226"/>
              <a:gd name="T56" fmla="*/ 69 w 191"/>
              <a:gd name="T57" fmla="*/ 220 h 226"/>
              <a:gd name="T58" fmla="*/ 70 w 191"/>
              <a:gd name="T59" fmla="*/ 224 h 226"/>
              <a:gd name="T60" fmla="*/ 81 w 191"/>
              <a:gd name="T61" fmla="*/ 219 h 226"/>
              <a:gd name="T62" fmla="*/ 85 w 191"/>
              <a:gd name="T63" fmla="*/ 206 h 226"/>
              <a:gd name="T64" fmla="*/ 88 w 191"/>
              <a:gd name="T65" fmla="*/ 206 h 226"/>
              <a:gd name="T66" fmla="*/ 91 w 191"/>
              <a:gd name="T67" fmla="*/ 211 h 226"/>
              <a:gd name="T68" fmla="*/ 99 w 191"/>
              <a:gd name="T69" fmla="*/ 219 h 226"/>
              <a:gd name="T70" fmla="*/ 153 w 191"/>
              <a:gd name="T71" fmla="*/ 212 h 226"/>
              <a:gd name="T72" fmla="*/ 183 w 191"/>
              <a:gd name="T73" fmla="*/ 198 h 226"/>
              <a:gd name="T74" fmla="*/ 173 w 191"/>
              <a:gd name="T75" fmla="*/ 160 h 226"/>
              <a:gd name="T76" fmla="*/ 169 w 191"/>
              <a:gd name="T77" fmla="*/ 109 h 226"/>
              <a:gd name="T78" fmla="*/ 164 w 191"/>
              <a:gd name="T79" fmla="*/ 57 h 226"/>
              <a:gd name="T80" fmla="*/ 191 w 191"/>
              <a:gd name="T81" fmla="*/ 40 h 226"/>
              <a:gd name="T82" fmla="*/ 134 w 191"/>
              <a:gd name="T83" fmla="*/ 0 h 226"/>
              <a:gd name="T84" fmla="*/ 103 w 191"/>
              <a:gd name="T85" fmla="*/ 22 h 226"/>
              <a:gd name="T86" fmla="*/ 83 w 191"/>
              <a:gd name="T87" fmla="*/ 38 h 226"/>
              <a:gd name="T88" fmla="*/ 76 w 191"/>
              <a:gd name="T89" fmla="*/ 69 h 226"/>
              <a:gd name="T90" fmla="*/ 65 w 191"/>
              <a:gd name="T91" fmla="*/ 73 h 226"/>
              <a:gd name="T92" fmla="*/ 62 w 191"/>
              <a:gd name="T93" fmla="*/ 80 h 226"/>
              <a:gd name="T94" fmla="*/ 63 w 191"/>
              <a:gd name="T95" fmla="*/ 100 h 2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91" h="226">
                <a:moveTo>
                  <a:pt x="57" y="105"/>
                </a:moveTo>
                <a:lnTo>
                  <a:pt x="43" y="105"/>
                </a:lnTo>
                <a:lnTo>
                  <a:pt x="28" y="105"/>
                </a:lnTo>
                <a:lnTo>
                  <a:pt x="13" y="105"/>
                </a:lnTo>
                <a:lnTo>
                  <a:pt x="5" y="105"/>
                </a:lnTo>
                <a:lnTo>
                  <a:pt x="4" y="107"/>
                </a:lnTo>
                <a:lnTo>
                  <a:pt x="2" y="109"/>
                </a:lnTo>
                <a:lnTo>
                  <a:pt x="1" y="111"/>
                </a:lnTo>
                <a:lnTo>
                  <a:pt x="2" y="110"/>
                </a:lnTo>
                <a:lnTo>
                  <a:pt x="0" y="113"/>
                </a:lnTo>
                <a:lnTo>
                  <a:pt x="0" y="113"/>
                </a:lnTo>
                <a:lnTo>
                  <a:pt x="0" y="113"/>
                </a:lnTo>
                <a:lnTo>
                  <a:pt x="3" y="111"/>
                </a:lnTo>
                <a:lnTo>
                  <a:pt x="4" y="113"/>
                </a:lnTo>
                <a:lnTo>
                  <a:pt x="7" y="119"/>
                </a:lnTo>
                <a:lnTo>
                  <a:pt x="7" y="120"/>
                </a:lnTo>
                <a:lnTo>
                  <a:pt x="9" y="119"/>
                </a:lnTo>
                <a:lnTo>
                  <a:pt x="12" y="125"/>
                </a:lnTo>
                <a:lnTo>
                  <a:pt x="12" y="127"/>
                </a:lnTo>
                <a:lnTo>
                  <a:pt x="12" y="131"/>
                </a:lnTo>
                <a:lnTo>
                  <a:pt x="12" y="134"/>
                </a:lnTo>
                <a:lnTo>
                  <a:pt x="10" y="139"/>
                </a:lnTo>
                <a:lnTo>
                  <a:pt x="9" y="140"/>
                </a:lnTo>
                <a:lnTo>
                  <a:pt x="8" y="140"/>
                </a:lnTo>
                <a:lnTo>
                  <a:pt x="8" y="143"/>
                </a:lnTo>
                <a:lnTo>
                  <a:pt x="12" y="149"/>
                </a:lnTo>
                <a:lnTo>
                  <a:pt x="13" y="154"/>
                </a:lnTo>
                <a:lnTo>
                  <a:pt x="13" y="158"/>
                </a:lnTo>
                <a:lnTo>
                  <a:pt x="14" y="163"/>
                </a:lnTo>
                <a:lnTo>
                  <a:pt x="13" y="174"/>
                </a:lnTo>
                <a:lnTo>
                  <a:pt x="12" y="178"/>
                </a:lnTo>
                <a:lnTo>
                  <a:pt x="8" y="190"/>
                </a:lnTo>
                <a:lnTo>
                  <a:pt x="8" y="193"/>
                </a:lnTo>
                <a:lnTo>
                  <a:pt x="5" y="198"/>
                </a:lnTo>
                <a:lnTo>
                  <a:pt x="4" y="201"/>
                </a:lnTo>
                <a:lnTo>
                  <a:pt x="5" y="201"/>
                </a:lnTo>
                <a:lnTo>
                  <a:pt x="7" y="200"/>
                </a:lnTo>
                <a:lnTo>
                  <a:pt x="8" y="198"/>
                </a:lnTo>
                <a:lnTo>
                  <a:pt x="9" y="194"/>
                </a:lnTo>
                <a:lnTo>
                  <a:pt x="10" y="194"/>
                </a:lnTo>
                <a:lnTo>
                  <a:pt x="11" y="194"/>
                </a:lnTo>
                <a:lnTo>
                  <a:pt x="13" y="194"/>
                </a:lnTo>
                <a:lnTo>
                  <a:pt x="15" y="194"/>
                </a:lnTo>
                <a:lnTo>
                  <a:pt x="18" y="195"/>
                </a:lnTo>
                <a:lnTo>
                  <a:pt x="20" y="194"/>
                </a:lnTo>
                <a:lnTo>
                  <a:pt x="21" y="194"/>
                </a:lnTo>
                <a:lnTo>
                  <a:pt x="24" y="193"/>
                </a:lnTo>
                <a:lnTo>
                  <a:pt x="27" y="193"/>
                </a:lnTo>
                <a:lnTo>
                  <a:pt x="28" y="193"/>
                </a:lnTo>
                <a:lnTo>
                  <a:pt x="28" y="191"/>
                </a:lnTo>
                <a:lnTo>
                  <a:pt x="28" y="191"/>
                </a:lnTo>
                <a:lnTo>
                  <a:pt x="30" y="191"/>
                </a:lnTo>
                <a:lnTo>
                  <a:pt x="31" y="191"/>
                </a:lnTo>
                <a:lnTo>
                  <a:pt x="33" y="191"/>
                </a:lnTo>
                <a:lnTo>
                  <a:pt x="38" y="191"/>
                </a:lnTo>
                <a:lnTo>
                  <a:pt x="38" y="193"/>
                </a:lnTo>
                <a:lnTo>
                  <a:pt x="39" y="191"/>
                </a:lnTo>
                <a:lnTo>
                  <a:pt x="40" y="194"/>
                </a:lnTo>
                <a:lnTo>
                  <a:pt x="42" y="194"/>
                </a:lnTo>
                <a:lnTo>
                  <a:pt x="44" y="197"/>
                </a:lnTo>
                <a:lnTo>
                  <a:pt x="45" y="198"/>
                </a:lnTo>
                <a:lnTo>
                  <a:pt x="48" y="200"/>
                </a:lnTo>
                <a:lnTo>
                  <a:pt x="49" y="200"/>
                </a:lnTo>
                <a:lnTo>
                  <a:pt x="50" y="200"/>
                </a:lnTo>
                <a:lnTo>
                  <a:pt x="50" y="201"/>
                </a:lnTo>
                <a:lnTo>
                  <a:pt x="51" y="201"/>
                </a:lnTo>
                <a:lnTo>
                  <a:pt x="52" y="200"/>
                </a:lnTo>
                <a:lnTo>
                  <a:pt x="53" y="200"/>
                </a:lnTo>
                <a:lnTo>
                  <a:pt x="57" y="205"/>
                </a:lnTo>
                <a:lnTo>
                  <a:pt x="58" y="208"/>
                </a:lnTo>
                <a:lnTo>
                  <a:pt x="58" y="209"/>
                </a:lnTo>
                <a:lnTo>
                  <a:pt x="59" y="210"/>
                </a:lnTo>
                <a:lnTo>
                  <a:pt x="60" y="211"/>
                </a:lnTo>
                <a:lnTo>
                  <a:pt x="60" y="212"/>
                </a:lnTo>
                <a:lnTo>
                  <a:pt x="60" y="212"/>
                </a:lnTo>
                <a:lnTo>
                  <a:pt x="61" y="212"/>
                </a:lnTo>
                <a:lnTo>
                  <a:pt x="62" y="212"/>
                </a:lnTo>
                <a:lnTo>
                  <a:pt x="62" y="215"/>
                </a:lnTo>
                <a:lnTo>
                  <a:pt x="63" y="215"/>
                </a:lnTo>
                <a:lnTo>
                  <a:pt x="63" y="216"/>
                </a:lnTo>
                <a:lnTo>
                  <a:pt x="63" y="217"/>
                </a:lnTo>
                <a:lnTo>
                  <a:pt x="63" y="217"/>
                </a:lnTo>
                <a:lnTo>
                  <a:pt x="64" y="217"/>
                </a:lnTo>
                <a:lnTo>
                  <a:pt x="64" y="218"/>
                </a:lnTo>
                <a:lnTo>
                  <a:pt x="65" y="219"/>
                </a:lnTo>
                <a:lnTo>
                  <a:pt x="66" y="219"/>
                </a:lnTo>
                <a:lnTo>
                  <a:pt x="69" y="220"/>
                </a:lnTo>
                <a:lnTo>
                  <a:pt x="70" y="221"/>
                </a:lnTo>
                <a:lnTo>
                  <a:pt x="70" y="222"/>
                </a:lnTo>
                <a:lnTo>
                  <a:pt x="70" y="224"/>
                </a:lnTo>
                <a:lnTo>
                  <a:pt x="72" y="224"/>
                </a:lnTo>
                <a:lnTo>
                  <a:pt x="74" y="226"/>
                </a:lnTo>
                <a:lnTo>
                  <a:pt x="81" y="219"/>
                </a:lnTo>
                <a:lnTo>
                  <a:pt x="83" y="214"/>
                </a:lnTo>
                <a:lnTo>
                  <a:pt x="84" y="209"/>
                </a:lnTo>
                <a:lnTo>
                  <a:pt x="85" y="206"/>
                </a:lnTo>
                <a:lnTo>
                  <a:pt x="86" y="206"/>
                </a:lnTo>
                <a:lnTo>
                  <a:pt x="88" y="206"/>
                </a:lnTo>
                <a:lnTo>
                  <a:pt x="88" y="206"/>
                </a:lnTo>
                <a:lnTo>
                  <a:pt x="89" y="207"/>
                </a:lnTo>
                <a:lnTo>
                  <a:pt x="90" y="207"/>
                </a:lnTo>
                <a:lnTo>
                  <a:pt x="91" y="211"/>
                </a:lnTo>
                <a:lnTo>
                  <a:pt x="94" y="218"/>
                </a:lnTo>
                <a:lnTo>
                  <a:pt x="99" y="219"/>
                </a:lnTo>
                <a:lnTo>
                  <a:pt x="99" y="219"/>
                </a:lnTo>
                <a:lnTo>
                  <a:pt x="106" y="211"/>
                </a:lnTo>
                <a:lnTo>
                  <a:pt x="132" y="212"/>
                </a:lnTo>
                <a:lnTo>
                  <a:pt x="153" y="212"/>
                </a:lnTo>
                <a:lnTo>
                  <a:pt x="174" y="214"/>
                </a:lnTo>
                <a:lnTo>
                  <a:pt x="179" y="214"/>
                </a:lnTo>
                <a:lnTo>
                  <a:pt x="183" y="198"/>
                </a:lnTo>
                <a:lnTo>
                  <a:pt x="176" y="196"/>
                </a:lnTo>
                <a:lnTo>
                  <a:pt x="174" y="178"/>
                </a:lnTo>
                <a:lnTo>
                  <a:pt x="173" y="160"/>
                </a:lnTo>
                <a:lnTo>
                  <a:pt x="172" y="144"/>
                </a:lnTo>
                <a:lnTo>
                  <a:pt x="170" y="126"/>
                </a:lnTo>
                <a:lnTo>
                  <a:pt x="169" y="109"/>
                </a:lnTo>
                <a:lnTo>
                  <a:pt x="167" y="92"/>
                </a:lnTo>
                <a:lnTo>
                  <a:pt x="166" y="75"/>
                </a:lnTo>
                <a:lnTo>
                  <a:pt x="164" y="57"/>
                </a:lnTo>
                <a:lnTo>
                  <a:pt x="163" y="40"/>
                </a:lnTo>
                <a:lnTo>
                  <a:pt x="191" y="40"/>
                </a:lnTo>
                <a:lnTo>
                  <a:pt x="191" y="40"/>
                </a:lnTo>
                <a:lnTo>
                  <a:pt x="169" y="25"/>
                </a:lnTo>
                <a:lnTo>
                  <a:pt x="152" y="14"/>
                </a:lnTo>
                <a:lnTo>
                  <a:pt x="134" y="0"/>
                </a:lnTo>
                <a:lnTo>
                  <a:pt x="133" y="22"/>
                </a:lnTo>
                <a:lnTo>
                  <a:pt x="119" y="22"/>
                </a:lnTo>
                <a:lnTo>
                  <a:pt x="103" y="22"/>
                </a:lnTo>
                <a:lnTo>
                  <a:pt x="88" y="22"/>
                </a:lnTo>
                <a:lnTo>
                  <a:pt x="83" y="22"/>
                </a:lnTo>
                <a:lnTo>
                  <a:pt x="83" y="38"/>
                </a:lnTo>
                <a:lnTo>
                  <a:pt x="82" y="56"/>
                </a:lnTo>
                <a:lnTo>
                  <a:pt x="82" y="67"/>
                </a:lnTo>
                <a:lnTo>
                  <a:pt x="76" y="69"/>
                </a:lnTo>
                <a:lnTo>
                  <a:pt x="71" y="69"/>
                </a:lnTo>
                <a:lnTo>
                  <a:pt x="66" y="72"/>
                </a:lnTo>
                <a:lnTo>
                  <a:pt x="65" y="73"/>
                </a:lnTo>
                <a:lnTo>
                  <a:pt x="64" y="74"/>
                </a:lnTo>
                <a:lnTo>
                  <a:pt x="63" y="77"/>
                </a:lnTo>
                <a:lnTo>
                  <a:pt x="62" y="80"/>
                </a:lnTo>
                <a:lnTo>
                  <a:pt x="62" y="88"/>
                </a:lnTo>
                <a:lnTo>
                  <a:pt x="63" y="94"/>
                </a:lnTo>
                <a:lnTo>
                  <a:pt x="63" y="100"/>
                </a:lnTo>
                <a:lnTo>
                  <a:pt x="64" y="105"/>
                </a:lnTo>
                <a:lnTo>
                  <a:pt x="57" y="10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61" name="Freeform 961"/>
          <p:cNvSpPr>
            <a:spLocks/>
          </p:cNvSpPr>
          <p:nvPr/>
        </p:nvSpPr>
        <p:spPr bwMode="auto">
          <a:xfrm>
            <a:off x="3925888" y="2792378"/>
            <a:ext cx="303212" cy="358775"/>
          </a:xfrm>
          <a:custGeom>
            <a:avLst/>
            <a:gdLst>
              <a:gd name="T0" fmla="*/ 28 w 191"/>
              <a:gd name="T1" fmla="*/ 105 h 226"/>
              <a:gd name="T2" fmla="*/ 4 w 191"/>
              <a:gd name="T3" fmla="*/ 107 h 226"/>
              <a:gd name="T4" fmla="*/ 2 w 191"/>
              <a:gd name="T5" fmla="*/ 110 h 226"/>
              <a:gd name="T6" fmla="*/ 0 w 191"/>
              <a:gd name="T7" fmla="*/ 113 h 226"/>
              <a:gd name="T8" fmla="*/ 7 w 191"/>
              <a:gd name="T9" fmla="*/ 119 h 226"/>
              <a:gd name="T10" fmla="*/ 12 w 191"/>
              <a:gd name="T11" fmla="*/ 125 h 226"/>
              <a:gd name="T12" fmla="*/ 12 w 191"/>
              <a:gd name="T13" fmla="*/ 134 h 226"/>
              <a:gd name="T14" fmla="*/ 8 w 191"/>
              <a:gd name="T15" fmla="*/ 140 h 226"/>
              <a:gd name="T16" fmla="*/ 13 w 191"/>
              <a:gd name="T17" fmla="*/ 154 h 226"/>
              <a:gd name="T18" fmla="*/ 13 w 191"/>
              <a:gd name="T19" fmla="*/ 174 h 226"/>
              <a:gd name="T20" fmla="*/ 8 w 191"/>
              <a:gd name="T21" fmla="*/ 193 h 226"/>
              <a:gd name="T22" fmla="*/ 5 w 191"/>
              <a:gd name="T23" fmla="*/ 201 h 226"/>
              <a:gd name="T24" fmla="*/ 9 w 191"/>
              <a:gd name="T25" fmla="*/ 194 h 226"/>
              <a:gd name="T26" fmla="*/ 13 w 191"/>
              <a:gd name="T27" fmla="*/ 194 h 226"/>
              <a:gd name="T28" fmla="*/ 20 w 191"/>
              <a:gd name="T29" fmla="*/ 194 h 226"/>
              <a:gd name="T30" fmla="*/ 27 w 191"/>
              <a:gd name="T31" fmla="*/ 193 h 226"/>
              <a:gd name="T32" fmla="*/ 28 w 191"/>
              <a:gd name="T33" fmla="*/ 191 h 226"/>
              <a:gd name="T34" fmla="*/ 33 w 191"/>
              <a:gd name="T35" fmla="*/ 191 h 226"/>
              <a:gd name="T36" fmla="*/ 39 w 191"/>
              <a:gd name="T37" fmla="*/ 191 h 226"/>
              <a:gd name="T38" fmla="*/ 44 w 191"/>
              <a:gd name="T39" fmla="*/ 197 h 226"/>
              <a:gd name="T40" fmla="*/ 49 w 191"/>
              <a:gd name="T41" fmla="*/ 200 h 226"/>
              <a:gd name="T42" fmla="*/ 51 w 191"/>
              <a:gd name="T43" fmla="*/ 201 h 226"/>
              <a:gd name="T44" fmla="*/ 57 w 191"/>
              <a:gd name="T45" fmla="*/ 205 h 226"/>
              <a:gd name="T46" fmla="*/ 59 w 191"/>
              <a:gd name="T47" fmla="*/ 210 h 226"/>
              <a:gd name="T48" fmla="*/ 60 w 191"/>
              <a:gd name="T49" fmla="*/ 212 h 226"/>
              <a:gd name="T50" fmla="*/ 62 w 191"/>
              <a:gd name="T51" fmla="*/ 215 h 226"/>
              <a:gd name="T52" fmla="*/ 63 w 191"/>
              <a:gd name="T53" fmla="*/ 217 h 226"/>
              <a:gd name="T54" fmla="*/ 64 w 191"/>
              <a:gd name="T55" fmla="*/ 218 h 226"/>
              <a:gd name="T56" fmla="*/ 69 w 191"/>
              <a:gd name="T57" fmla="*/ 220 h 226"/>
              <a:gd name="T58" fmla="*/ 70 w 191"/>
              <a:gd name="T59" fmla="*/ 224 h 226"/>
              <a:gd name="T60" fmla="*/ 81 w 191"/>
              <a:gd name="T61" fmla="*/ 219 h 226"/>
              <a:gd name="T62" fmla="*/ 85 w 191"/>
              <a:gd name="T63" fmla="*/ 206 h 226"/>
              <a:gd name="T64" fmla="*/ 88 w 191"/>
              <a:gd name="T65" fmla="*/ 206 h 226"/>
              <a:gd name="T66" fmla="*/ 91 w 191"/>
              <a:gd name="T67" fmla="*/ 211 h 226"/>
              <a:gd name="T68" fmla="*/ 99 w 191"/>
              <a:gd name="T69" fmla="*/ 219 h 226"/>
              <a:gd name="T70" fmla="*/ 153 w 191"/>
              <a:gd name="T71" fmla="*/ 212 h 226"/>
              <a:gd name="T72" fmla="*/ 183 w 191"/>
              <a:gd name="T73" fmla="*/ 198 h 226"/>
              <a:gd name="T74" fmla="*/ 173 w 191"/>
              <a:gd name="T75" fmla="*/ 160 h 226"/>
              <a:gd name="T76" fmla="*/ 169 w 191"/>
              <a:gd name="T77" fmla="*/ 109 h 226"/>
              <a:gd name="T78" fmla="*/ 164 w 191"/>
              <a:gd name="T79" fmla="*/ 57 h 226"/>
              <a:gd name="T80" fmla="*/ 191 w 191"/>
              <a:gd name="T81" fmla="*/ 40 h 226"/>
              <a:gd name="T82" fmla="*/ 134 w 191"/>
              <a:gd name="T83" fmla="*/ 0 h 226"/>
              <a:gd name="T84" fmla="*/ 103 w 191"/>
              <a:gd name="T85" fmla="*/ 22 h 226"/>
              <a:gd name="T86" fmla="*/ 83 w 191"/>
              <a:gd name="T87" fmla="*/ 38 h 226"/>
              <a:gd name="T88" fmla="*/ 76 w 191"/>
              <a:gd name="T89" fmla="*/ 69 h 226"/>
              <a:gd name="T90" fmla="*/ 65 w 191"/>
              <a:gd name="T91" fmla="*/ 73 h 226"/>
              <a:gd name="T92" fmla="*/ 62 w 191"/>
              <a:gd name="T93" fmla="*/ 80 h 226"/>
              <a:gd name="T94" fmla="*/ 63 w 191"/>
              <a:gd name="T95" fmla="*/ 100 h 2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91" h="226">
                <a:moveTo>
                  <a:pt x="57" y="105"/>
                </a:moveTo>
                <a:lnTo>
                  <a:pt x="43" y="105"/>
                </a:lnTo>
                <a:lnTo>
                  <a:pt x="28" y="105"/>
                </a:lnTo>
                <a:lnTo>
                  <a:pt x="13" y="105"/>
                </a:lnTo>
                <a:lnTo>
                  <a:pt x="5" y="105"/>
                </a:lnTo>
                <a:lnTo>
                  <a:pt x="4" y="107"/>
                </a:lnTo>
                <a:lnTo>
                  <a:pt x="2" y="109"/>
                </a:lnTo>
                <a:lnTo>
                  <a:pt x="1" y="111"/>
                </a:lnTo>
                <a:lnTo>
                  <a:pt x="2" y="110"/>
                </a:lnTo>
                <a:lnTo>
                  <a:pt x="0" y="113"/>
                </a:lnTo>
                <a:lnTo>
                  <a:pt x="0" y="113"/>
                </a:lnTo>
                <a:lnTo>
                  <a:pt x="0" y="113"/>
                </a:lnTo>
                <a:lnTo>
                  <a:pt x="3" y="111"/>
                </a:lnTo>
                <a:lnTo>
                  <a:pt x="4" y="113"/>
                </a:lnTo>
                <a:lnTo>
                  <a:pt x="7" y="119"/>
                </a:lnTo>
                <a:lnTo>
                  <a:pt x="7" y="120"/>
                </a:lnTo>
                <a:lnTo>
                  <a:pt x="9" y="119"/>
                </a:lnTo>
                <a:lnTo>
                  <a:pt x="12" y="125"/>
                </a:lnTo>
                <a:lnTo>
                  <a:pt x="12" y="127"/>
                </a:lnTo>
                <a:lnTo>
                  <a:pt x="12" y="131"/>
                </a:lnTo>
                <a:lnTo>
                  <a:pt x="12" y="134"/>
                </a:lnTo>
                <a:lnTo>
                  <a:pt x="10" y="139"/>
                </a:lnTo>
                <a:lnTo>
                  <a:pt x="9" y="140"/>
                </a:lnTo>
                <a:lnTo>
                  <a:pt x="8" y="140"/>
                </a:lnTo>
                <a:lnTo>
                  <a:pt x="8" y="143"/>
                </a:lnTo>
                <a:lnTo>
                  <a:pt x="12" y="149"/>
                </a:lnTo>
                <a:lnTo>
                  <a:pt x="13" y="154"/>
                </a:lnTo>
                <a:lnTo>
                  <a:pt x="13" y="158"/>
                </a:lnTo>
                <a:lnTo>
                  <a:pt x="14" y="163"/>
                </a:lnTo>
                <a:lnTo>
                  <a:pt x="13" y="174"/>
                </a:lnTo>
                <a:lnTo>
                  <a:pt x="12" y="178"/>
                </a:lnTo>
                <a:lnTo>
                  <a:pt x="8" y="190"/>
                </a:lnTo>
                <a:lnTo>
                  <a:pt x="8" y="193"/>
                </a:lnTo>
                <a:lnTo>
                  <a:pt x="5" y="198"/>
                </a:lnTo>
                <a:lnTo>
                  <a:pt x="4" y="201"/>
                </a:lnTo>
                <a:lnTo>
                  <a:pt x="5" y="201"/>
                </a:lnTo>
                <a:lnTo>
                  <a:pt x="7" y="200"/>
                </a:lnTo>
                <a:lnTo>
                  <a:pt x="8" y="198"/>
                </a:lnTo>
                <a:lnTo>
                  <a:pt x="9" y="194"/>
                </a:lnTo>
                <a:lnTo>
                  <a:pt x="10" y="194"/>
                </a:lnTo>
                <a:lnTo>
                  <a:pt x="11" y="194"/>
                </a:lnTo>
                <a:lnTo>
                  <a:pt x="13" y="194"/>
                </a:lnTo>
                <a:lnTo>
                  <a:pt x="15" y="194"/>
                </a:lnTo>
                <a:lnTo>
                  <a:pt x="18" y="195"/>
                </a:lnTo>
                <a:lnTo>
                  <a:pt x="20" y="194"/>
                </a:lnTo>
                <a:lnTo>
                  <a:pt x="21" y="194"/>
                </a:lnTo>
                <a:lnTo>
                  <a:pt x="24" y="193"/>
                </a:lnTo>
                <a:lnTo>
                  <a:pt x="27" y="193"/>
                </a:lnTo>
                <a:lnTo>
                  <a:pt x="28" y="193"/>
                </a:lnTo>
                <a:lnTo>
                  <a:pt x="28" y="191"/>
                </a:lnTo>
                <a:lnTo>
                  <a:pt x="28" y="191"/>
                </a:lnTo>
                <a:lnTo>
                  <a:pt x="30" y="191"/>
                </a:lnTo>
                <a:lnTo>
                  <a:pt x="31" y="191"/>
                </a:lnTo>
                <a:lnTo>
                  <a:pt x="33" y="191"/>
                </a:lnTo>
                <a:lnTo>
                  <a:pt x="38" y="191"/>
                </a:lnTo>
                <a:lnTo>
                  <a:pt x="38" y="193"/>
                </a:lnTo>
                <a:lnTo>
                  <a:pt x="39" y="191"/>
                </a:lnTo>
                <a:lnTo>
                  <a:pt x="40" y="194"/>
                </a:lnTo>
                <a:lnTo>
                  <a:pt x="42" y="194"/>
                </a:lnTo>
                <a:lnTo>
                  <a:pt x="44" y="197"/>
                </a:lnTo>
                <a:lnTo>
                  <a:pt x="45" y="198"/>
                </a:lnTo>
                <a:lnTo>
                  <a:pt x="48" y="200"/>
                </a:lnTo>
                <a:lnTo>
                  <a:pt x="49" y="200"/>
                </a:lnTo>
                <a:lnTo>
                  <a:pt x="50" y="200"/>
                </a:lnTo>
                <a:lnTo>
                  <a:pt x="50" y="201"/>
                </a:lnTo>
                <a:lnTo>
                  <a:pt x="51" y="201"/>
                </a:lnTo>
                <a:lnTo>
                  <a:pt x="52" y="200"/>
                </a:lnTo>
                <a:lnTo>
                  <a:pt x="53" y="200"/>
                </a:lnTo>
                <a:lnTo>
                  <a:pt x="57" y="205"/>
                </a:lnTo>
                <a:lnTo>
                  <a:pt x="58" y="208"/>
                </a:lnTo>
                <a:lnTo>
                  <a:pt x="58" y="209"/>
                </a:lnTo>
                <a:lnTo>
                  <a:pt x="59" y="210"/>
                </a:lnTo>
                <a:lnTo>
                  <a:pt x="60" y="211"/>
                </a:lnTo>
                <a:lnTo>
                  <a:pt x="60" y="212"/>
                </a:lnTo>
                <a:lnTo>
                  <a:pt x="60" y="212"/>
                </a:lnTo>
                <a:lnTo>
                  <a:pt x="61" y="212"/>
                </a:lnTo>
                <a:lnTo>
                  <a:pt x="62" y="212"/>
                </a:lnTo>
                <a:lnTo>
                  <a:pt x="62" y="215"/>
                </a:lnTo>
                <a:lnTo>
                  <a:pt x="63" y="215"/>
                </a:lnTo>
                <a:lnTo>
                  <a:pt x="63" y="216"/>
                </a:lnTo>
                <a:lnTo>
                  <a:pt x="63" y="217"/>
                </a:lnTo>
                <a:lnTo>
                  <a:pt x="63" y="217"/>
                </a:lnTo>
                <a:lnTo>
                  <a:pt x="64" y="217"/>
                </a:lnTo>
                <a:lnTo>
                  <a:pt x="64" y="218"/>
                </a:lnTo>
                <a:lnTo>
                  <a:pt x="65" y="219"/>
                </a:lnTo>
                <a:lnTo>
                  <a:pt x="66" y="219"/>
                </a:lnTo>
                <a:lnTo>
                  <a:pt x="69" y="220"/>
                </a:lnTo>
                <a:lnTo>
                  <a:pt x="70" y="221"/>
                </a:lnTo>
                <a:lnTo>
                  <a:pt x="70" y="222"/>
                </a:lnTo>
                <a:lnTo>
                  <a:pt x="70" y="224"/>
                </a:lnTo>
                <a:lnTo>
                  <a:pt x="72" y="224"/>
                </a:lnTo>
                <a:lnTo>
                  <a:pt x="74" y="226"/>
                </a:lnTo>
                <a:lnTo>
                  <a:pt x="81" y="219"/>
                </a:lnTo>
                <a:lnTo>
                  <a:pt x="83" y="214"/>
                </a:lnTo>
                <a:lnTo>
                  <a:pt x="84" y="209"/>
                </a:lnTo>
                <a:lnTo>
                  <a:pt x="85" y="206"/>
                </a:lnTo>
                <a:lnTo>
                  <a:pt x="86" y="206"/>
                </a:lnTo>
                <a:lnTo>
                  <a:pt x="88" y="206"/>
                </a:lnTo>
                <a:lnTo>
                  <a:pt x="88" y="206"/>
                </a:lnTo>
                <a:lnTo>
                  <a:pt x="89" y="207"/>
                </a:lnTo>
                <a:lnTo>
                  <a:pt x="90" y="207"/>
                </a:lnTo>
                <a:lnTo>
                  <a:pt x="91" y="211"/>
                </a:lnTo>
                <a:lnTo>
                  <a:pt x="94" y="218"/>
                </a:lnTo>
                <a:lnTo>
                  <a:pt x="99" y="219"/>
                </a:lnTo>
                <a:lnTo>
                  <a:pt x="99" y="219"/>
                </a:lnTo>
                <a:lnTo>
                  <a:pt x="106" y="211"/>
                </a:lnTo>
                <a:lnTo>
                  <a:pt x="132" y="212"/>
                </a:lnTo>
                <a:lnTo>
                  <a:pt x="153" y="212"/>
                </a:lnTo>
                <a:lnTo>
                  <a:pt x="174" y="214"/>
                </a:lnTo>
                <a:lnTo>
                  <a:pt x="179" y="214"/>
                </a:lnTo>
                <a:lnTo>
                  <a:pt x="183" y="198"/>
                </a:lnTo>
                <a:lnTo>
                  <a:pt x="176" y="196"/>
                </a:lnTo>
                <a:lnTo>
                  <a:pt x="174" y="178"/>
                </a:lnTo>
                <a:lnTo>
                  <a:pt x="173" y="160"/>
                </a:lnTo>
                <a:lnTo>
                  <a:pt x="172" y="144"/>
                </a:lnTo>
                <a:lnTo>
                  <a:pt x="170" y="126"/>
                </a:lnTo>
                <a:lnTo>
                  <a:pt x="169" y="109"/>
                </a:lnTo>
                <a:lnTo>
                  <a:pt x="167" y="92"/>
                </a:lnTo>
                <a:lnTo>
                  <a:pt x="166" y="75"/>
                </a:lnTo>
                <a:lnTo>
                  <a:pt x="164" y="57"/>
                </a:lnTo>
                <a:lnTo>
                  <a:pt x="163" y="40"/>
                </a:lnTo>
                <a:lnTo>
                  <a:pt x="191" y="40"/>
                </a:lnTo>
                <a:lnTo>
                  <a:pt x="191" y="40"/>
                </a:lnTo>
                <a:lnTo>
                  <a:pt x="169" y="25"/>
                </a:lnTo>
                <a:lnTo>
                  <a:pt x="152" y="14"/>
                </a:lnTo>
                <a:lnTo>
                  <a:pt x="134" y="0"/>
                </a:lnTo>
                <a:lnTo>
                  <a:pt x="133" y="22"/>
                </a:lnTo>
                <a:lnTo>
                  <a:pt x="119" y="22"/>
                </a:lnTo>
                <a:lnTo>
                  <a:pt x="103" y="22"/>
                </a:lnTo>
                <a:lnTo>
                  <a:pt x="88" y="22"/>
                </a:lnTo>
                <a:lnTo>
                  <a:pt x="83" y="22"/>
                </a:lnTo>
                <a:lnTo>
                  <a:pt x="83" y="38"/>
                </a:lnTo>
                <a:lnTo>
                  <a:pt x="82" y="56"/>
                </a:lnTo>
                <a:lnTo>
                  <a:pt x="82" y="67"/>
                </a:lnTo>
                <a:lnTo>
                  <a:pt x="76" y="69"/>
                </a:lnTo>
                <a:lnTo>
                  <a:pt x="71" y="69"/>
                </a:lnTo>
                <a:lnTo>
                  <a:pt x="66" y="72"/>
                </a:lnTo>
                <a:lnTo>
                  <a:pt x="65" y="73"/>
                </a:lnTo>
                <a:lnTo>
                  <a:pt x="64" y="74"/>
                </a:lnTo>
                <a:lnTo>
                  <a:pt x="63" y="77"/>
                </a:lnTo>
                <a:lnTo>
                  <a:pt x="62" y="80"/>
                </a:lnTo>
                <a:lnTo>
                  <a:pt x="62" y="88"/>
                </a:lnTo>
                <a:lnTo>
                  <a:pt x="63" y="94"/>
                </a:lnTo>
                <a:lnTo>
                  <a:pt x="63" y="100"/>
                </a:lnTo>
                <a:lnTo>
                  <a:pt x="64" y="105"/>
                </a:lnTo>
                <a:lnTo>
                  <a:pt x="57" y="10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62" name="Freeform 962"/>
          <p:cNvSpPr>
            <a:spLocks/>
          </p:cNvSpPr>
          <p:nvPr/>
        </p:nvSpPr>
        <p:spPr bwMode="auto">
          <a:xfrm>
            <a:off x="4903788" y="3813140"/>
            <a:ext cx="298450" cy="285750"/>
          </a:xfrm>
          <a:custGeom>
            <a:avLst/>
            <a:gdLst>
              <a:gd name="T0" fmla="*/ 1 w 188"/>
              <a:gd name="T1" fmla="*/ 106 h 180"/>
              <a:gd name="T2" fmla="*/ 33 w 188"/>
              <a:gd name="T3" fmla="*/ 87 h 180"/>
              <a:gd name="T4" fmla="*/ 33 w 188"/>
              <a:gd name="T5" fmla="*/ 77 h 180"/>
              <a:gd name="T6" fmla="*/ 34 w 188"/>
              <a:gd name="T7" fmla="*/ 59 h 180"/>
              <a:gd name="T8" fmla="*/ 34 w 188"/>
              <a:gd name="T9" fmla="*/ 51 h 180"/>
              <a:gd name="T10" fmla="*/ 36 w 188"/>
              <a:gd name="T11" fmla="*/ 48 h 180"/>
              <a:gd name="T12" fmla="*/ 40 w 188"/>
              <a:gd name="T13" fmla="*/ 56 h 180"/>
              <a:gd name="T14" fmla="*/ 47 w 188"/>
              <a:gd name="T15" fmla="*/ 55 h 180"/>
              <a:gd name="T16" fmla="*/ 55 w 188"/>
              <a:gd name="T17" fmla="*/ 59 h 180"/>
              <a:gd name="T18" fmla="*/ 69 w 188"/>
              <a:gd name="T19" fmla="*/ 68 h 180"/>
              <a:gd name="T20" fmla="*/ 81 w 188"/>
              <a:gd name="T21" fmla="*/ 65 h 180"/>
              <a:gd name="T22" fmla="*/ 95 w 188"/>
              <a:gd name="T23" fmla="*/ 75 h 180"/>
              <a:gd name="T24" fmla="*/ 103 w 188"/>
              <a:gd name="T25" fmla="*/ 83 h 180"/>
              <a:gd name="T26" fmla="*/ 116 w 188"/>
              <a:gd name="T27" fmla="*/ 91 h 180"/>
              <a:gd name="T28" fmla="*/ 121 w 188"/>
              <a:gd name="T29" fmla="*/ 90 h 180"/>
              <a:gd name="T30" fmla="*/ 125 w 188"/>
              <a:gd name="T31" fmla="*/ 92 h 180"/>
              <a:gd name="T32" fmla="*/ 124 w 188"/>
              <a:gd name="T33" fmla="*/ 73 h 180"/>
              <a:gd name="T34" fmla="*/ 113 w 188"/>
              <a:gd name="T35" fmla="*/ 75 h 180"/>
              <a:gd name="T36" fmla="*/ 105 w 188"/>
              <a:gd name="T37" fmla="*/ 66 h 180"/>
              <a:gd name="T38" fmla="*/ 112 w 188"/>
              <a:gd name="T39" fmla="*/ 43 h 180"/>
              <a:gd name="T40" fmla="*/ 110 w 188"/>
              <a:gd name="T41" fmla="*/ 22 h 180"/>
              <a:gd name="T42" fmla="*/ 113 w 188"/>
              <a:gd name="T43" fmla="*/ 12 h 180"/>
              <a:gd name="T44" fmla="*/ 118 w 188"/>
              <a:gd name="T45" fmla="*/ 6 h 180"/>
              <a:gd name="T46" fmla="*/ 140 w 188"/>
              <a:gd name="T47" fmla="*/ 5 h 180"/>
              <a:gd name="T48" fmla="*/ 146 w 188"/>
              <a:gd name="T49" fmla="*/ 11 h 180"/>
              <a:gd name="T50" fmla="*/ 155 w 188"/>
              <a:gd name="T51" fmla="*/ 11 h 180"/>
              <a:gd name="T52" fmla="*/ 170 w 188"/>
              <a:gd name="T53" fmla="*/ 19 h 180"/>
              <a:gd name="T54" fmla="*/ 178 w 188"/>
              <a:gd name="T55" fmla="*/ 22 h 180"/>
              <a:gd name="T56" fmla="*/ 178 w 188"/>
              <a:gd name="T57" fmla="*/ 28 h 180"/>
              <a:gd name="T58" fmla="*/ 184 w 188"/>
              <a:gd name="T59" fmla="*/ 36 h 180"/>
              <a:gd name="T60" fmla="*/ 188 w 188"/>
              <a:gd name="T61" fmla="*/ 46 h 180"/>
              <a:gd name="T62" fmla="*/ 184 w 188"/>
              <a:gd name="T63" fmla="*/ 50 h 180"/>
              <a:gd name="T64" fmla="*/ 182 w 188"/>
              <a:gd name="T65" fmla="*/ 65 h 180"/>
              <a:gd name="T66" fmla="*/ 183 w 188"/>
              <a:gd name="T67" fmla="*/ 76 h 180"/>
              <a:gd name="T68" fmla="*/ 181 w 188"/>
              <a:gd name="T69" fmla="*/ 80 h 180"/>
              <a:gd name="T70" fmla="*/ 176 w 188"/>
              <a:gd name="T71" fmla="*/ 87 h 180"/>
              <a:gd name="T72" fmla="*/ 172 w 188"/>
              <a:gd name="T73" fmla="*/ 100 h 180"/>
              <a:gd name="T74" fmla="*/ 177 w 188"/>
              <a:gd name="T75" fmla="*/ 106 h 180"/>
              <a:gd name="T76" fmla="*/ 127 w 188"/>
              <a:gd name="T77" fmla="*/ 126 h 180"/>
              <a:gd name="T78" fmla="*/ 131 w 188"/>
              <a:gd name="T79" fmla="*/ 136 h 180"/>
              <a:gd name="T80" fmla="*/ 123 w 188"/>
              <a:gd name="T81" fmla="*/ 136 h 180"/>
              <a:gd name="T82" fmla="*/ 112 w 188"/>
              <a:gd name="T83" fmla="*/ 139 h 180"/>
              <a:gd name="T84" fmla="*/ 105 w 188"/>
              <a:gd name="T85" fmla="*/ 144 h 180"/>
              <a:gd name="T86" fmla="*/ 104 w 188"/>
              <a:gd name="T87" fmla="*/ 151 h 180"/>
              <a:gd name="T88" fmla="*/ 96 w 188"/>
              <a:gd name="T89" fmla="*/ 153 h 180"/>
              <a:gd name="T90" fmla="*/ 91 w 188"/>
              <a:gd name="T91" fmla="*/ 157 h 180"/>
              <a:gd name="T92" fmla="*/ 86 w 188"/>
              <a:gd name="T93" fmla="*/ 160 h 180"/>
              <a:gd name="T94" fmla="*/ 81 w 188"/>
              <a:gd name="T95" fmla="*/ 171 h 180"/>
              <a:gd name="T96" fmla="*/ 75 w 188"/>
              <a:gd name="T97" fmla="*/ 179 h 180"/>
              <a:gd name="T98" fmla="*/ 70 w 188"/>
              <a:gd name="T99" fmla="*/ 178 h 180"/>
              <a:gd name="T100" fmla="*/ 60 w 188"/>
              <a:gd name="T101" fmla="*/ 178 h 180"/>
              <a:gd name="T102" fmla="*/ 49 w 188"/>
              <a:gd name="T103" fmla="*/ 176 h 180"/>
              <a:gd name="T104" fmla="*/ 39 w 188"/>
              <a:gd name="T105" fmla="*/ 169 h 180"/>
              <a:gd name="T106" fmla="*/ 17 w 188"/>
              <a:gd name="T107" fmla="*/ 171 h 180"/>
              <a:gd name="T108" fmla="*/ 11 w 188"/>
              <a:gd name="T109" fmla="*/ 164 h 180"/>
              <a:gd name="T110" fmla="*/ 2 w 188"/>
              <a:gd name="T111" fmla="*/ 156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88" h="180">
                <a:moveTo>
                  <a:pt x="0" y="152"/>
                </a:moveTo>
                <a:lnTo>
                  <a:pt x="0" y="140"/>
                </a:lnTo>
                <a:lnTo>
                  <a:pt x="1" y="123"/>
                </a:lnTo>
                <a:lnTo>
                  <a:pt x="1" y="106"/>
                </a:lnTo>
                <a:lnTo>
                  <a:pt x="1" y="88"/>
                </a:lnTo>
                <a:lnTo>
                  <a:pt x="19" y="88"/>
                </a:lnTo>
                <a:lnTo>
                  <a:pt x="35" y="88"/>
                </a:lnTo>
                <a:lnTo>
                  <a:pt x="33" y="87"/>
                </a:lnTo>
                <a:lnTo>
                  <a:pt x="32" y="86"/>
                </a:lnTo>
                <a:lnTo>
                  <a:pt x="32" y="84"/>
                </a:lnTo>
                <a:lnTo>
                  <a:pt x="32" y="79"/>
                </a:lnTo>
                <a:lnTo>
                  <a:pt x="33" y="77"/>
                </a:lnTo>
                <a:lnTo>
                  <a:pt x="33" y="72"/>
                </a:lnTo>
                <a:lnTo>
                  <a:pt x="33" y="67"/>
                </a:lnTo>
                <a:lnTo>
                  <a:pt x="34" y="63"/>
                </a:lnTo>
                <a:lnTo>
                  <a:pt x="34" y="59"/>
                </a:lnTo>
                <a:lnTo>
                  <a:pt x="34" y="57"/>
                </a:lnTo>
                <a:lnTo>
                  <a:pt x="34" y="56"/>
                </a:lnTo>
                <a:lnTo>
                  <a:pt x="34" y="52"/>
                </a:lnTo>
                <a:lnTo>
                  <a:pt x="34" y="51"/>
                </a:lnTo>
                <a:lnTo>
                  <a:pt x="35" y="51"/>
                </a:lnTo>
                <a:lnTo>
                  <a:pt x="35" y="50"/>
                </a:lnTo>
                <a:lnTo>
                  <a:pt x="34" y="49"/>
                </a:lnTo>
                <a:lnTo>
                  <a:pt x="36" y="48"/>
                </a:lnTo>
                <a:lnTo>
                  <a:pt x="37" y="48"/>
                </a:lnTo>
                <a:lnTo>
                  <a:pt x="39" y="48"/>
                </a:lnTo>
                <a:lnTo>
                  <a:pt x="41" y="51"/>
                </a:lnTo>
                <a:lnTo>
                  <a:pt x="40" y="56"/>
                </a:lnTo>
                <a:lnTo>
                  <a:pt x="41" y="57"/>
                </a:lnTo>
                <a:lnTo>
                  <a:pt x="42" y="57"/>
                </a:lnTo>
                <a:lnTo>
                  <a:pt x="45" y="56"/>
                </a:lnTo>
                <a:lnTo>
                  <a:pt x="47" y="55"/>
                </a:lnTo>
                <a:lnTo>
                  <a:pt x="49" y="55"/>
                </a:lnTo>
                <a:lnTo>
                  <a:pt x="52" y="53"/>
                </a:lnTo>
                <a:lnTo>
                  <a:pt x="54" y="56"/>
                </a:lnTo>
                <a:lnTo>
                  <a:pt x="55" y="59"/>
                </a:lnTo>
                <a:lnTo>
                  <a:pt x="56" y="61"/>
                </a:lnTo>
                <a:lnTo>
                  <a:pt x="60" y="62"/>
                </a:lnTo>
                <a:lnTo>
                  <a:pt x="64" y="66"/>
                </a:lnTo>
                <a:lnTo>
                  <a:pt x="69" y="68"/>
                </a:lnTo>
                <a:lnTo>
                  <a:pt x="72" y="68"/>
                </a:lnTo>
                <a:lnTo>
                  <a:pt x="74" y="67"/>
                </a:lnTo>
                <a:lnTo>
                  <a:pt x="79" y="66"/>
                </a:lnTo>
                <a:lnTo>
                  <a:pt x="81" y="65"/>
                </a:lnTo>
                <a:lnTo>
                  <a:pt x="83" y="65"/>
                </a:lnTo>
                <a:lnTo>
                  <a:pt x="89" y="71"/>
                </a:lnTo>
                <a:lnTo>
                  <a:pt x="92" y="73"/>
                </a:lnTo>
                <a:lnTo>
                  <a:pt x="95" y="75"/>
                </a:lnTo>
                <a:lnTo>
                  <a:pt x="98" y="75"/>
                </a:lnTo>
                <a:lnTo>
                  <a:pt x="101" y="77"/>
                </a:lnTo>
                <a:lnTo>
                  <a:pt x="102" y="81"/>
                </a:lnTo>
                <a:lnTo>
                  <a:pt x="103" y="83"/>
                </a:lnTo>
                <a:lnTo>
                  <a:pt x="106" y="87"/>
                </a:lnTo>
                <a:lnTo>
                  <a:pt x="111" y="90"/>
                </a:lnTo>
                <a:lnTo>
                  <a:pt x="113" y="91"/>
                </a:lnTo>
                <a:lnTo>
                  <a:pt x="116" y="91"/>
                </a:lnTo>
                <a:lnTo>
                  <a:pt x="117" y="91"/>
                </a:lnTo>
                <a:lnTo>
                  <a:pt x="120" y="90"/>
                </a:lnTo>
                <a:lnTo>
                  <a:pt x="120" y="90"/>
                </a:lnTo>
                <a:lnTo>
                  <a:pt x="121" y="90"/>
                </a:lnTo>
                <a:lnTo>
                  <a:pt x="122" y="92"/>
                </a:lnTo>
                <a:lnTo>
                  <a:pt x="123" y="93"/>
                </a:lnTo>
                <a:lnTo>
                  <a:pt x="124" y="93"/>
                </a:lnTo>
                <a:lnTo>
                  <a:pt x="125" y="92"/>
                </a:lnTo>
                <a:lnTo>
                  <a:pt x="125" y="90"/>
                </a:lnTo>
                <a:lnTo>
                  <a:pt x="124" y="88"/>
                </a:lnTo>
                <a:lnTo>
                  <a:pt x="124" y="77"/>
                </a:lnTo>
                <a:lnTo>
                  <a:pt x="124" y="73"/>
                </a:lnTo>
                <a:lnTo>
                  <a:pt x="122" y="73"/>
                </a:lnTo>
                <a:lnTo>
                  <a:pt x="120" y="75"/>
                </a:lnTo>
                <a:lnTo>
                  <a:pt x="116" y="75"/>
                </a:lnTo>
                <a:lnTo>
                  <a:pt x="113" y="75"/>
                </a:lnTo>
                <a:lnTo>
                  <a:pt x="111" y="72"/>
                </a:lnTo>
                <a:lnTo>
                  <a:pt x="107" y="68"/>
                </a:lnTo>
                <a:lnTo>
                  <a:pt x="106" y="67"/>
                </a:lnTo>
                <a:lnTo>
                  <a:pt x="105" y="66"/>
                </a:lnTo>
                <a:lnTo>
                  <a:pt x="105" y="62"/>
                </a:lnTo>
                <a:lnTo>
                  <a:pt x="106" y="60"/>
                </a:lnTo>
                <a:lnTo>
                  <a:pt x="107" y="56"/>
                </a:lnTo>
                <a:lnTo>
                  <a:pt x="112" y="43"/>
                </a:lnTo>
                <a:lnTo>
                  <a:pt x="112" y="41"/>
                </a:lnTo>
                <a:lnTo>
                  <a:pt x="113" y="33"/>
                </a:lnTo>
                <a:lnTo>
                  <a:pt x="112" y="28"/>
                </a:lnTo>
                <a:lnTo>
                  <a:pt x="110" y="22"/>
                </a:lnTo>
                <a:lnTo>
                  <a:pt x="110" y="19"/>
                </a:lnTo>
                <a:lnTo>
                  <a:pt x="111" y="18"/>
                </a:lnTo>
                <a:lnTo>
                  <a:pt x="112" y="15"/>
                </a:lnTo>
                <a:lnTo>
                  <a:pt x="113" y="12"/>
                </a:lnTo>
                <a:lnTo>
                  <a:pt x="115" y="8"/>
                </a:lnTo>
                <a:lnTo>
                  <a:pt x="116" y="7"/>
                </a:lnTo>
                <a:lnTo>
                  <a:pt x="117" y="6"/>
                </a:lnTo>
                <a:lnTo>
                  <a:pt x="118" y="6"/>
                </a:lnTo>
                <a:lnTo>
                  <a:pt x="121" y="5"/>
                </a:lnTo>
                <a:lnTo>
                  <a:pt x="140" y="0"/>
                </a:lnTo>
                <a:lnTo>
                  <a:pt x="140" y="2"/>
                </a:lnTo>
                <a:lnTo>
                  <a:pt x="140" y="5"/>
                </a:lnTo>
                <a:lnTo>
                  <a:pt x="140" y="8"/>
                </a:lnTo>
                <a:lnTo>
                  <a:pt x="141" y="8"/>
                </a:lnTo>
                <a:lnTo>
                  <a:pt x="143" y="8"/>
                </a:lnTo>
                <a:lnTo>
                  <a:pt x="146" y="11"/>
                </a:lnTo>
                <a:lnTo>
                  <a:pt x="148" y="8"/>
                </a:lnTo>
                <a:lnTo>
                  <a:pt x="151" y="7"/>
                </a:lnTo>
                <a:lnTo>
                  <a:pt x="153" y="8"/>
                </a:lnTo>
                <a:lnTo>
                  <a:pt x="155" y="11"/>
                </a:lnTo>
                <a:lnTo>
                  <a:pt x="157" y="13"/>
                </a:lnTo>
                <a:lnTo>
                  <a:pt x="160" y="15"/>
                </a:lnTo>
                <a:lnTo>
                  <a:pt x="162" y="16"/>
                </a:lnTo>
                <a:lnTo>
                  <a:pt x="170" y="19"/>
                </a:lnTo>
                <a:lnTo>
                  <a:pt x="173" y="20"/>
                </a:lnTo>
                <a:lnTo>
                  <a:pt x="176" y="20"/>
                </a:lnTo>
                <a:lnTo>
                  <a:pt x="177" y="21"/>
                </a:lnTo>
                <a:lnTo>
                  <a:pt x="178" y="22"/>
                </a:lnTo>
                <a:lnTo>
                  <a:pt x="177" y="23"/>
                </a:lnTo>
                <a:lnTo>
                  <a:pt x="177" y="25"/>
                </a:lnTo>
                <a:lnTo>
                  <a:pt x="178" y="26"/>
                </a:lnTo>
                <a:lnTo>
                  <a:pt x="178" y="28"/>
                </a:lnTo>
                <a:lnTo>
                  <a:pt x="182" y="28"/>
                </a:lnTo>
                <a:lnTo>
                  <a:pt x="183" y="30"/>
                </a:lnTo>
                <a:lnTo>
                  <a:pt x="184" y="32"/>
                </a:lnTo>
                <a:lnTo>
                  <a:pt x="184" y="36"/>
                </a:lnTo>
                <a:lnTo>
                  <a:pt x="186" y="37"/>
                </a:lnTo>
                <a:lnTo>
                  <a:pt x="187" y="43"/>
                </a:lnTo>
                <a:lnTo>
                  <a:pt x="188" y="45"/>
                </a:lnTo>
                <a:lnTo>
                  <a:pt x="188" y="46"/>
                </a:lnTo>
                <a:lnTo>
                  <a:pt x="188" y="47"/>
                </a:lnTo>
                <a:lnTo>
                  <a:pt x="186" y="49"/>
                </a:lnTo>
                <a:lnTo>
                  <a:pt x="185" y="49"/>
                </a:lnTo>
                <a:lnTo>
                  <a:pt x="184" y="50"/>
                </a:lnTo>
                <a:lnTo>
                  <a:pt x="183" y="53"/>
                </a:lnTo>
                <a:lnTo>
                  <a:pt x="184" y="56"/>
                </a:lnTo>
                <a:lnTo>
                  <a:pt x="182" y="61"/>
                </a:lnTo>
                <a:lnTo>
                  <a:pt x="182" y="65"/>
                </a:lnTo>
                <a:lnTo>
                  <a:pt x="182" y="69"/>
                </a:lnTo>
                <a:lnTo>
                  <a:pt x="182" y="73"/>
                </a:lnTo>
                <a:lnTo>
                  <a:pt x="182" y="75"/>
                </a:lnTo>
                <a:lnTo>
                  <a:pt x="183" y="76"/>
                </a:lnTo>
                <a:lnTo>
                  <a:pt x="184" y="77"/>
                </a:lnTo>
                <a:lnTo>
                  <a:pt x="184" y="79"/>
                </a:lnTo>
                <a:lnTo>
                  <a:pt x="184" y="80"/>
                </a:lnTo>
                <a:lnTo>
                  <a:pt x="181" y="80"/>
                </a:lnTo>
                <a:lnTo>
                  <a:pt x="179" y="81"/>
                </a:lnTo>
                <a:lnTo>
                  <a:pt x="177" y="82"/>
                </a:lnTo>
                <a:lnTo>
                  <a:pt x="177" y="82"/>
                </a:lnTo>
                <a:lnTo>
                  <a:pt x="176" y="87"/>
                </a:lnTo>
                <a:lnTo>
                  <a:pt x="176" y="92"/>
                </a:lnTo>
                <a:lnTo>
                  <a:pt x="174" y="97"/>
                </a:lnTo>
                <a:lnTo>
                  <a:pt x="172" y="99"/>
                </a:lnTo>
                <a:lnTo>
                  <a:pt x="172" y="100"/>
                </a:lnTo>
                <a:lnTo>
                  <a:pt x="173" y="103"/>
                </a:lnTo>
                <a:lnTo>
                  <a:pt x="174" y="103"/>
                </a:lnTo>
                <a:lnTo>
                  <a:pt x="175" y="106"/>
                </a:lnTo>
                <a:lnTo>
                  <a:pt x="177" y="106"/>
                </a:lnTo>
                <a:lnTo>
                  <a:pt x="178" y="107"/>
                </a:lnTo>
                <a:lnTo>
                  <a:pt x="178" y="107"/>
                </a:lnTo>
                <a:lnTo>
                  <a:pt x="175" y="107"/>
                </a:lnTo>
                <a:lnTo>
                  <a:pt x="127" y="126"/>
                </a:lnTo>
                <a:lnTo>
                  <a:pt x="130" y="130"/>
                </a:lnTo>
                <a:lnTo>
                  <a:pt x="130" y="134"/>
                </a:lnTo>
                <a:lnTo>
                  <a:pt x="131" y="136"/>
                </a:lnTo>
                <a:lnTo>
                  <a:pt x="131" y="136"/>
                </a:lnTo>
                <a:lnTo>
                  <a:pt x="128" y="136"/>
                </a:lnTo>
                <a:lnTo>
                  <a:pt x="126" y="137"/>
                </a:lnTo>
                <a:lnTo>
                  <a:pt x="124" y="136"/>
                </a:lnTo>
                <a:lnTo>
                  <a:pt x="123" y="136"/>
                </a:lnTo>
                <a:lnTo>
                  <a:pt x="122" y="136"/>
                </a:lnTo>
                <a:lnTo>
                  <a:pt x="118" y="137"/>
                </a:lnTo>
                <a:lnTo>
                  <a:pt x="113" y="138"/>
                </a:lnTo>
                <a:lnTo>
                  <a:pt x="112" y="139"/>
                </a:lnTo>
                <a:lnTo>
                  <a:pt x="110" y="141"/>
                </a:lnTo>
                <a:lnTo>
                  <a:pt x="107" y="141"/>
                </a:lnTo>
                <a:lnTo>
                  <a:pt x="105" y="142"/>
                </a:lnTo>
                <a:lnTo>
                  <a:pt x="105" y="144"/>
                </a:lnTo>
                <a:lnTo>
                  <a:pt x="105" y="147"/>
                </a:lnTo>
                <a:lnTo>
                  <a:pt x="105" y="149"/>
                </a:lnTo>
                <a:lnTo>
                  <a:pt x="105" y="150"/>
                </a:lnTo>
                <a:lnTo>
                  <a:pt x="104" y="151"/>
                </a:lnTo>
                <a:lnTo>
                  <a:pt x="104" y="152"/>
                </a:lnTo>
                <a:lnTo>
                  <a:pt x="102" y="152"/>
                </a:lnTo>
                <a:lnTo>
                  <a:pt x="98" y="152"/>
                </a:lnTo>
                <a:lnTo>
                  <a:pt x="96" y="153"/>
                </a:lnTo>
                <a:lnTo>
                  <a:pt x="96" y="154"/>
                </a:lnTo>
                <a:lnTo>
                  <a:pt x="95" y="154"/>
                </a:lnTo>
                <a:lnTo>
                  <a:pt x="93" y="157"/>
                </a:lnTo>
                <a:lnTo>
                  <a:pt x="91" y="157"/>
                </a:lnTo>
                <a:lnTo>
                  <a:pt x="90" y="158"/>
                </a:lnTo>
                <a:lnTo>
                  <a:pt x="89" y="158"/>
                </a:lnTo>
                <a:lnTo>
                  <a:pt x="87" y="160"/>
                </a:lnTo>
                <a:lnTo>
                  <a:pt x="86" y="160"/>
                </a:lnTo>
                <a:lnTo>
                  <a:pt x="85" y="163"/>
                </a:lnTo>
                <a:lnTo>
                  <a:pt x="82" y="167"/>
                </a:lnTo>
                <a:lnTo>
                  <a:pt x="81" y="169"/>
                </a:lnTo>
                <a:lnTo>
                  <a:pt x="81" y="171"/>
                </a:lnTo>
                <a:lnTo>
                  <a:pt x="80" y="172"/>
                </a:lnTo>
                <a:lnTo>
                  <a:pt x="79" y="173"/>
                </a:lnTo>
                <a:lnTo>
                  <a:pt x="76" y="176"/>
                </a:lnTo>
                <a:lnTo>
                  <a:pt x="75" y="179"/>
                </a:lnTo>
                <a:lnTo>
                  <a:pt x="73" y="178"/>
                </a:lnTo>
                <a:lnTo>
                  <a:pt x="71" y="180"/>
                </a:lnTo>
                <a:lnTo>
                  <a:pt x="70" y="179"/>
                </a:lnTo>
                <a:lnTo>
                  <a:pt x="70" y="178"/>
                </a:lnTo>
                <a:lnTo>
                  <a:pt x="69" y="177"/>
                </a:lnTo>
                <a:lnTo>
                  <a:pt x="66" y="177"/>
                </a:lnTo>
                <a:lnTo>
                  <a:pt x="64" y="177"/>
                </a:lnTo>
                <a:lnTo>
                  <a:pt x="60" y="178"/>
                </a:lnTo>
                <a:lnTo>
                  <a:pt x="55" y="176"/>
                </a:lnTo>
                <a:lnTo>
                  <a:pt x="51" y="177"/>
                </a:lnTo>
                <a:lnTo>
                  <a:pt x="50" y="177"/>
                </a:lnTo>
                <a:lnTo>
                  <a:pt x="49" y="176"/>
                </a:lnTo>
                <a:lnTo>
                  <a:pt x="46" y="174"/>
                </a:lnTo>
                <a:lnTo>
                  <a:pt x="44" y="171"/>
                </a:lnTo>
                <a:lnTo>
                  <a:pt x="43" y="170"/>
                </a:lnTo>
                <a:lnTo>
                  <a:pt x="39" y="169"/>
                </a:lnTo>
                <a:lnTo>
                  <a:pt x="33" y="169"/>
                </a:lnTo>
                <a:lnTo>
                  <a:pt x="32" y="168"/>
                </a:lnTo>
                <a:lnTo>
                  <a:pt x="20" y="171"/>
                </a:lnTo>
                <a:lnTo>
                  <a:pt x="17" y="171"/>
                </a:lnTo>
                <a:lnTo>
                  <a:pt x="15" y="170"/>
                </a:lnTo>
                <a:lnTo>
                  <a:pt x="14" y="168"/>
                </a:lnTo>
                <a:lnTo>
                  <a:pt x="12" y="167"/>
                </a:lnTo>
                <a:lnTo>
                  <a:pt x="11" y="164"/>
                </a:lnTo>
                <a:lnTo>
                  <a:pt x="8" y="162"/>
                </a:lnTo>
                <a:lnTo>
                  <a:pt x="6" y="160"/>
                </a:lnTo>
                <a:lnTo>
                  <a:pt x="3" y="158"/>
                </a:lnTo>
                <a:lnTo>
                  <a:pt x="2" y="156"/>
                </a:lnTo>
                <a:lnTo>
                  <a:pt x="0" y="153"/>
                </a:lnTo>
                <a:lnTo>
                  <a:pt x="0" y="15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63" name="Freeform 963"/>
          <p:cNvSpPr>
            <a:spLocks/>
          </p:cNvSpPr>
          <p:nvPr/>
        </p:nvSpPr>
        <p:spPr bwMode="auto">
          <a:xfrm>
            <a:off x="4903788" y="3813140"/>
            <a:ext cx="298450" cy="285750"/>
          </a:xfrm>
          <a:custGeom>
            <a:avLst/>
            <a:gdLst>
              <a:gd name="T0" fmla="*/ 1 w 188"/>
              <a:gd name="T1" fmla="*/ 106 h 180"/>
              <a:gd name="T2" fmla="*/ 33 w 188"/>
              <a:gd name="T3" fmla="*/ 87 h 180"/>
              <a:gd name="T4" fmla="*/ 33 w 188"/>
              <a:gd name="T5" fmla="*/ 77 h 180"/>
              <a:gd name="T6" fmla="*/ 34 w 188"/>
              <a:gd name="T7" fmla="*/ 59 h 180"/>
              <a:gd name="T8" fmla="*/ 34 w 188"/>
              <a:gd name="T9" fmla="*/ 51 h 180"/>
              <a:gd name="T10" fmla="*/ 36 w 188"/>
              <a:gd name="T11" fmla="*/ 48 h 180"/>
              <a:gd name="T12" fmla="*/ 40 w 188"/>
              <a:gd name="T13" fmla="*/ 56 h 180"/>
              <a:gd name="T14" fmla="*/ 47 w 188"/>
              <a:gd name="T15" fmla="*/ 55 h 180"/>
              <a:gd name="T16" fmla="*/ 55 w 188"/>
              <a:gd name="T17" fmla="*/ 59 h 180"/>
              <a:gd name="T18" fmla="*/ 69 w 188"/>
              <a:gd name="T19" fmla="*/ 68 h 180"/>
              <a:gd name="T20" fmla="*/ 81 w 188"/>
              <a:gd name="T21" fmla="*/ 65 h 180"/>
              <a:gd name="T22" fmla="*/ 95 w 188"/>
              <a:gd name="T23" fmla="*/ 75 h 180"/>
              <a:gd name="T24" fmla="*/ 103 w 188"/>
              <a:gd name="T25" fmla="*/ 83 h 180"/>
              <a:gd name="T26" fmla="*/ 116 w 188"/>
              <a:gd name="T27" fmla="*/ 91 h 180"/>
              <a:gd name="T28" fmla="*/ 121 w 188"/>
              <a:gd name="T29" fmla="*/ 90 h 180"/>
              <a:gd name="T30" fmla="*/ 125 w 188"/>
              <a:gd name="T31" fmla="*/ 92 h 180"/>
              <a:gd name="T32" fmla="*/ 124 w 188"/>
              <a:gd name="T33" fmla="*/ 73 h 180"/>
              <a:gd name="T34" fmla="*/ 113 w 188"/>
              <a:gd name="T35" fmla="*/ 75 h 180"/>
              <a:gd name="T36" fmla="*/ 105 w 188"/>
              <a:gd name="T37" fmla="*/ 66 h 180"/>
              <a:gd name="T38" fmla="*/ 112 w 188"/>
              <a:gd name="T39" fmla="*/ 43 h 180"/>
              <a:gd name="T40" fmla="*/ 110 w 188"/>
              <a:gd name="T41" fmla="*/ 22 h 180"/>
              <a:gd name="T42" fmla="*/ 113 w 188"/>
              <a:gd name="T43" fmla="*/ 12 h 180"/>
              <a:gd name="T44" fmla="*/ 118 w 188"/>
              <a:gd name="T45" fmla="*/ 6 h 180"/>
              <a:gd name="T46" fmla="*/ 140 w 188"/>
              <a:gd name="T47" fmla="*/ 5 h 180"/>
              <a:gd name="T48" fmla="*/ 146 w 188"/>
              <a:gd name="T49" fmla="*/ 11 h 180"/>
              <a:gd name="T50" fmla="*/ 155 w 188"/>
              <a:gd name="T51" fmla="*/ 11 h 180"/>
              <a:gd name="T52" fmla="*/ 170 w 188"/>
              <a:gd name="T53" fmla="*/ 19 h 180"/>
              <a:gd name="T54" fmla="*/ 178 w 188"/>
              <a:gd name="T55" fmla="*/ 22 h 180"/>
              <a:gd name="T56" fmla="*/ 178 w 188"/>
              <a:gd name="T57" fmla="*/ 28 h 180"/>
              <a:gd name="T58" fmla="*/ 184 w 188"/>
              <a:gd name="T59" fmla="*/ 36 h 180"/>
              <a:gd name="T60" fmla="*/ 188 w 188"/>
              <a:gd name="T61" fmla="*/ 46 h 180"/>
              <a:gd name="T62" fmla="*/ 184 w 188"/>
              <a:gd name="T63" fmla="*/ 50 h 180"/>
              <a:gd name="T64" fmla="*/ 182 w 188"/>
              <a:gd name="T65" fmla="*/ 65 h 180"/>
              <a:gd name="T66" fmla="*/ 183 w 188"/>
              <a:gd name="T67" fmla="*/ 76 h 180"/>
              <a:gd name="T68" fmla="*/ 181 w 188"/>
              <a:gd name="T69" fmla="*/ 80 h 180"/>
              <a:gd name="T70" fmla="*/ 176 w 188"/>
              <a:gd name="T71" fmla="*/ 87 h 180"/>
              <a:gd name="T72" fmla="*/ 172 w 188"/>
              <a:gd name="T73" fmla="*/ 100 h 180"/>
              <a:gd name="T74" fmla="*/ 177 w 188"/>
              <a:gd name="T75" fmla="*/ 106 h 180"/>
              <a:gd name="T76" fmla="*/ 127 w 188"/>
              <a:gd name="T77" fmla="*/ 126 h 180"/>
              <a:gd name="T78" fmla="*/ 131 w 188"/>
              <a:gd name="T79" fmla="*/ 136 h 180"/>
              <a:gd name="T80" fmla="*/ 123 w 188"/>
              <a:gd name="T81" fmla="*/ 136 h 180"/>
              <a:gd name="T82" fmla="*/ 112 w 188"/>
              <a:gd name="T83" fmla="*/ 139 h 180"/>
              <a:gd name="T84" fmla="*/ 105 w 188"/>
              <a:gd name="T85" fmla="*/ 144 h 180"/>
              <a:gd name="T86" fmla="*/ 104 w 188"/>
              <a:gd name="T87" fmla="*/ 151 h 180"/>
              <a:gd name="T88" fmla="*/ 96 w 188"/>
              <a:gd name="T89" fmla="*/ 153 h 180"/>
              <a:gd name="T90" fmla="*/ 91 w 188"/>
              <a:gd name="T91" fmla="*/ 157 h 180"/>
              <a:gd name="T92" fmla="*/ 86 w 188"/>
              <a:gd name="T93" fmla="*/ 160 h 180"/>
              <a:gd name="T94" fmla="*/ 81 w 188"/>
              <a:gd name="T95" fmla="*/ 171 h 180"/>
              <a:gd name="T96" fmla="*/ 75 w 188"/>
              <a:gd name="T97" fmla="*/ 179 h 180"/>
              <a:gd name="T98" fmla="*/ 70 w 188"/>
              <a:gd name="T99" fmla="*/ 178 h 180"/>
              <a:gd name="T100" fmla="*/ 60 w 188"/>
              <a:gd name="T101" fmla="*/ 178 h 180"/>
              <a:gd name="T102" fmla="*/ 49 w 188"/>
              <a:gd name="T103" fmla="*/ 176 h 180"/>
              <a:gd name="T104" fmla="*/ 39 w 188"/>
              <a:gd name="T105" fmla="*/ 169 h 180"/>
              <a:gd name="T106" fmla="*/ 17 w 188"/>
              <a:gd name="T107" fmla="*/ 171 h 180"/>
              <a:gd name="T108" fmla="*/ 11 w 188"/>
              <a:gd name="T109" fmla="*/ 164 h 180"/>
              <a:gd name="T110" fmla="*/ 2 w 188"/>
              <a:gd name="T111" fmla="*/ 156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88" h="180">
                <a:moveTo>
                  <a:pt x="0" y="152"/>
                </a:moveTo>
                <a:lnTo>
                  <a:pt x="0" y="140"/>
                </a:lnTo>
                <a:lnTo>
                  <a:pt x="1" y="123"/>
                </a:lnTo>
                <a:lnTo>
                  <a:pt x="1" y="106"/>
                </a:lnTo>
                <a:lnTo>
                  <a:pt x="1" y="88"/>
                </a:lnTo>
                <a:lnTo>
                  <a:pt x="19" y="88"/>
                </a:lnTo>
                <a:lnTo>
                  <a:pt x="35" y="88"/>
                </a:lnTo>
                <a:lnTo>
                  <a:pt x="33" y="87"/>
                </a:lnTo>
                <a:lnTo>
                  <a:pt x="32" y="86"/>
                </a:lnTo>
                <a:lnTo>
                  <a:pt x="32" y="84"/>
                </a:lnTo>
                <a:lnTo>
                  <a:pt x="32" y="79"/>
                </a:lnTo>
                <a:lnTo>
                  <a:pt x="33" y="77"/>
                </a:lnTo>
                <a:lnTo>
                  <a:pt x="33" y="72"/>
                </a:lnTo>
                <a:lnTo>
                  <a:pt x="33" y="67"/>
                </a:lnTo>
                <a:lnTo>
                  <a:pt x="34" y="63"/>
                </a:lnTo>
                <a:lnTo>
                  <a:pt x="34" y="59"/>
                </a:lnTo>
                <a:lnTo>
                  <a:pt x="34" y="57"/>
                </a:lnTo>
                <a:lnTo>
                  <a:pt x="34" y="56"/>
                </a:lnTo>
                <a:lnTo>
                  <a:pt x="34" y="52"/>
                </a:lnTo>
                <a:lnTo>
                  <a:pt x="34" y="51"/>
                </a:lnTo>
                <a:lnTo>
                  <a:pt x="35" y="51"/>
                </a:lnTo>
                <a:lnTo>
                  <a:pt x="35" y="50"/>
                </a:lnTo>
                <a:lnTo>
                  <a:pt x="34" y="49"/>
                </a:lnTo>
                <a:lnTo>
                  <a:pt x="36" y="48"/>
                </a:lnTo>
                <a:lnTo>
                  <a:pt x="37" y="48"/>
                </a:lnTo>
                <a:lnTo>
                  <a:pt x="39" y="48"/>
                </a:lnTo>
                <a:lnTo>
                  <a:pt x="41" y="51"/>
                </a:lnTo>
                <a:lnTo>
                  <a:pt x="40" y="56"/>
                </a:lnTo>
                <a:lnTo>
                  <a:pt x="41" y="57"/>
                </a:lnTo>
                <a:lnTo>
                  <a:pt x="42" y="57"/>
                </a:lnTo>
                <a:lnTo>
                  <a:pt x="45" y="56"/>
                </a:lnTo>
                <a:lnTo>
                  <a:pt x="47" y="55"/>
                </a:lnTo>
                <a:lnTo>
                  <a:pt x="49" y="55"/>
                </a:lnTo>
                <a:lnTo>
                  <a:pt x="52" y="53"/>
                </a:lnTo>
                <a:lnTo>
                  <a:pt x="54" y="56"/>
                </a:lnTo>
                <a:lnTo>
                  <a:pt x="55" y="59"/>
                </a:lnTo>
                <a:lnTo>
                  <a:pt x="56" y="61"/>
                </a:lnTo>
                <a:lnTo>
                  <a:pt x="60" y="62"/>
                </a:lnTo>
                <a:lnTo>
                  <a:pt x="64" y="66"/>
                </a:lnTo>
                <a:lnTo>
                  <a:pt x="69" y="68"/>
                </a:lnTo>
                <a:lnTo>
                  <a:pt x="72" y="68"/>
                </a:lnTo>
                <a:lnTo>
                  <a:pt x="74" y="67"/>
                </a:lnTo>
                <a:lnTo>
                  <a:pt x="79" y="66"/>
                </a:lnTo>
                <a:lnTo>
                  <a:pt x="81" y="65"/>
                </a:lnTo>
                <a:lnTo>
                  <a:pt x="83" y="65"/>
                </a:lnTo>
                <a:lnTo>
                  <a:pt x="89" y="71"/>
                </a:lnTo>
                <a:lnTo>
                  <a:pt x="92" y="73"/>
                </a:lnTo>
                <a:lnTo>
                  <a:pt x="95" y="75"/>
                </a:lnTo>
                <a:lnTo>
                  <a:pt x="98" y="75"/>
                </a:lnTo>
                <a:lnTo>
                  <a:pt x="101" y="77"/>
                </a:lnTo>
                <a:lnTo>
                  <a:pt x="102" y="81"/>
                </a:lnTo>
                <a:lnTo>
                  <a:pt x="103" y="83"/>
                </a:lnTo>
                <a:lnTo>
                  <a:pt x="106" y="87"/>
                </a:lnTo>
                <a:lnTo>
                  <a:pt x="111" y="90"/>
                </a:lnTo>
                <a:lnTo>
                  <a:pt x="113" y="91"/>
                </a:lnTo>
                <a:lnTo>
                  <a:pt x="116" y="91"/>
                </a:lnTo>
                <a:lnTo>
                  <a:pt x="117" y="91"/>
                </a:lnTo>
                <a:lnTo>
                  <a:pt x="120" y="90"/>
                </a:lnTo>
                <a:lnTo>
                  <a:pt x="120" y="90"/>
                </a:lnTo>
                <a:lnTo>
                  <a:pt x="121" y="90"/>
                </a:lnTo>
                <a:lnTo>
                  <a:pt x="122" y="92"/>
                </a:lnTo>
                <a:lnTo>
                  <a:pt x="123" y="93"/>
                </a:lnTo>
                <a:lnTo>
                  <a:pt x="124" y="93"/>
                </a:lnTo>
                <a:lnTo>
                  <a:pt x="125" y="92"/>
                </a:lnTo>
                <a:lnTo>
                  <a:pt x="125" y="90"/>
                </a:lnTo>
                <a:lnTo>
                  <a:pt x="124" y="88"/>
                </a:lnTo>
                <a:lnTo>
                  <a:pt x="124" y="77"/>
                </a:lnTo>
                <a:lnTo>
                  <a:pt x="124" y="73"/>
                </a:lnTo>
                <a:lnTo>
                  <a:pt x="122" y="73"/>
                </a:lnTo>
                <a:lnTo>
                  <a:pt x="120" y="75"/>
                </a:lnTo>
                <a:lnTo>
                  <a:pt x="116" y="75"/>
                </a:lnTo>
                <a:lnTo>
                  <a:pt x="113" y="75"/>
                </a:lnTo>
                <a:lnTo>
                  <a:pt x="111" y="72"/>
                </a:lnTo>
                <a:lnTo>
                  <a:pt x="107" y="68"/>
                </a:lnTo>
                <a:lnTo>
                  <a:pt x="106" y="67"/>
                </a:lnTo>
                <a:lnTo>
                  <a:pt x="105" y="66"/>
                </a:lnTo>
                <a:lnTo>
                  <a:pt x="105" y="62"/>
                </a:lnTo>
                <a:lnTo>
                  <a:pt x="106" y="60"/>
                </a:lnTo>
                <a:lnTo>
                  <a:pt x="107" y="56"/>
                </a:lnTo>
                <a:lnTo>
                  <a:pt x="112" y="43"/>
                </a:lnTo>
                <a:lnTo>
                  <a:pt x="112" y="41"/>
                </a:lnTo>
                <a:lnTo>
                  <a:pt x="113" y="33"/>
                </a:lnTo>
                <a:lnTo>
                  <a:pt x="112" y="28"/>
                </a:lnTo>
                <a:lnTo>
                  <a:pt x="110" y="22"/>
                </a:lnTo>
                <a:lnTo>
                  <a:pt x="110" y="19"/>
                </a:lnTo>
                <a:lnTo>
                  <a:pt x="111" y="18"/>
                </a:lnTo>
                <a:lnTo>
                  <a:pt x="112" y="15"/>
                </a:lnTo>
                <a:lnTo>
                  <a:pt x="113" y="12"/>
                </a:lnTo>
                <a:lnTo>
                  <a:pt x="115" y="8"/>
                </a:lnTo>
                <a:lnTo>
                  <a:pt x="116" y="7"/>
                </a:lnTo>
                <a:lnTo>
                  <a:pt x="117" y="6"/>
                </a:lnTo>
                <a:lnTo>
                  <a:pt x="118" y="6"/>
                </a:lnTo>
                <a:lnTo>
                  <a:pt x="121" y="5"/>
                </a:lnTo>
                <a:lnTo>
                  <a:pt x="140" y="0"/>
                </a:lnTo>
                <a:lnTo>
                  <a:pt x="140" y="2"/>
                </a:lnTo>
                <a:lnTo>
                  <a:pt x="140" y="5"/>
                </a:lnTo>
                <a:lnTo>
                  <a:pt x="140" y="8"/>
                </a:lnTo>
                <a:lnTo>
                  <a:pt x="141" y="8"/>
                </a:lnTo>
                <a:lnTo>
                  <a:pt x="143" y="8"/>
                </a:lnTo>
                <a:lnTo>
                  <a:pt x="146" y="11"/>
                </a:lnTo>
                <a:lnTo>
                  <a:pt x="148" y="8"/>
                </a:lnTo>
                <a:lnTo>
                  <a:pt x="151" y="7"/>
                </a:lnTo>
                <a:lnTo>
                  <a:pt x="153" y="8"/>
                </a:lnTo>
                <a:lnTo>
                  <a:pt x="155" y="11"/>
                </a:lnTo>
                <a:lnTo>
                  <a:pt x="157" y="13"/>
                </a:lnTo>
                <a:lnTo>
                  <a:pt x="160" y="15"/>
                </a:lnTo>
                <a:lnTo>
                  <a:pt x="162" y="16"/>
                </a:lnTo>
                <a:lnTo>
                  <a:pt x="170" y="19"/>
                </a:lnTo>
                <a:lnTo>
                  <a:pt x="173" y="20"/>
                </a:lnTo>
                <a:lnTo>
                  <a:pt x="176" y="20"/>
                </a:lnTo>
                <a:lnTo>
                  <a:pt x="177" y="21"/>
                </a:lnTo>
                <a:lnTo>
                  <a:pt x="178" y="22"/>
                </a:lnTo>
                <a:lnTo>
                  <a:pt x="177" y="23"/>
                </a:lnTo>
                <a:lnTo>
                  <a:pt x="177" y="25"/>
                </a:lnTo>
                <a:lnTo>
                  <a:pt x="178" y="26"/>
                </a:lnTo>
                <a:lnTo>
                  <a:pt x="178" y="28"/>
                </a:lnTo>
                <a:lnTo>
                  <a:pt x="182" y="28"/>
                </a:lnTo>
                <a:lnTo>
                  <a:pt x="183" y="30"/>
                </a:lnTo>
                <a:lnTo>
                  <a:pt x="184" y="32"/>
                </a:lnTo>
                <a:lnTo>
                  <a:pt x="184" y="36"/>
                </a:lnTo>
                <a:lnTo>
                  <a:pt x="186" y="37"/>
                </a:lnTo>
                <a:lnTo>
                  <a:pt x="187" y="43"/>
                </a:lnTo>
                <a:lnTo>
                  <a:pt x="188" y="45"/>
                </a:lnTo>
                <a:lnTo>
                  <a:pt x="188" y="46"/>
                </a:lnTo>
                <a:lnTo>
                  <a:pt x="188" y="47"/>
                </a:lnTo>
                <a:lnTo>
                  <a:pt x="186" y="49"/>
                </a:lnTo>
                <a:lnTo>
                  <a:pt x="185" y="49"/>
                </a:lnTo>
                <a:lnTo>
                  <a:pt x="184" y="50"/>
                </a:lnTo>
                <a:lnTo>
                  <a:pt x="183" y="53"/>
                </a:lnTo>
                <a:lnTo>
                  <a:pt x="184" y="56"/>
                </a:lnTo>
                <a:lnTo>
                  <a:pt x="182" y="61"/>
                </a:lnTo>
                <a:lnTo>
                  <a:pt x="182" y="65"/>
                </a:lnTo>
                <a:lnTo>
                  <a:pt x="182" y="69"/>
                </a:lnTo>
                <a:lnTo>
                  <a:pt x="182" y="73"/>
                </a:lnTo>
                <a:lnTo>
                  <a:pt x="182" y="75"/>
                </a:lnTo>
                <a:lnTo>
                  <a:pt x="183" y="76"/>
                </a:lnTo>
                <a:lnTo>
                  <a:pt x="184" y="77"/>
                </a:lnTo>
                <a:lnTo>
                  <a:pt x="184" y="79"/>
                </a:lnTo>
                <a:lnTo>
                  <a:pt x="184" y="80"/>
                </a:lnTo>
                <a:lnTo>
                  <a:pt x="181" y="80"/>
                </a:lnTo>
                <a:lnTo>
                  <a:pt x="179" y="81"/>
                </a:lnTo>
                <a:lnTo>
                  <a:pt x="177" y="82"/>
                </a:lnTo>
                <a:lnTo>
                  <a:pt x="177" y="82"/>
                </a:lnTo>
                <a:lnTo>
                  <a:pt x="176" y="87"/>
                </a:lnTo>
                <a:lnTo>
                  <a:pt x="176" y="92"/>
                </a:lnTo>
                <a:lnTo>
                  <a:pt x="174" y="97"/>
                </a:lnTo>
                <a:lnTo>
                  <a:pt x="172" y="99"/>
                </a:lnTo>
                <a:lnTo>
                  <a:pt x="172" y="100"/>
                </a:lnTo>
                <a:lnTo>
                  <a:pt x="173" y="103"/>
                </a:lnTo>
                <a:lnTo>
                  <a:pt x="174" y="103"/>
                </a:lnTo>
                <a:lnTo>
                  <a:pt x="175" y="106"/>
                </a:lnTo>
                <a:lnTo>
                  <a:pt x="177" y="106"/>
                </a:lnTo>
                <a:lnTo>
                  <a:pt x="178" y="107"/>
                </a:lnTo>
                <a:lnTo>
                  <a:pt x="178" y="107"/>
                </a:lnTo>
                <a:lnTo>
                  <a:pt x="175" y="107"/>
                </a:lnTo>
                <a:lnTo>
                  <a:pt x="127" y="126"/>
                </a:lnTo>
                <a:lnTo>
                  <a:pt x="130" y="130"/>
                </a:lnTo>
                <a:lnTo>
                  <a:pt x="130" y="134"/>
                </a:lnTo>
                <a:lnTo>
                  <a:pt x="131" y="136"/>
                </a:lnTo>
                <a:lnTo>
                  <a:pt x="131" y="136"/>
                </a:lnTo>
                <a:lnTo>
                  <a:pt x="128" y="136"/>
                </a:lnTo>
                <a:lnTo>
                  <a:pt x="126" y="137"/>
                </a:lnTo>
                <a:lnTo>
                  <a:pt x="124" y="136"/>
                </a:lnTo>
                <a:lnTo>
                  <a:pt x="123" y="136"/>
                </a:lnTo>
                <a:lnTo>
                  <a:pt x="122" y="136"/>
                </a:lnTo>
                <a:lnTo>
                  <a:pt x="118" y="137"/>
                </a:lnTo>
                <a:lnTo>
                  <a:pt x="113" y="138"/>
                </a:lnTo>
                <a:lnTo>
                  <a:pt x="112" y="139"/>
                </a:lnTo>
                <a:lnTo>
                  <a:pt x="110" y="141"/>
                </a:lnTo>
                <a:lnTo>
                  <a:pt x="107" y="141"/>
                </a:lnTo>
                <a:lnTo>
                  <a:pt x="105" y="142"/>
                </a:lnTo>
                <a:lnTo>
                  <a:pt x="105" y="144"/>
                </a:lnTo>
                <a:lnTo>
                  <a:pt x="105" y="147"/>
                </a:lnTo>
                <a:lnTo>
                  <a:pt x="105" y="149"/>
                </a:lnTo>
                <a:lnTo>
                  <a:pt x="105" y="150"/>
                </a:lnTo>
                <a:lnTo>
                  <a:pt x="104" y="151"/>
                </a:lnTo>
                <a:lnTo>
                  <a:pt x="104" y="152"/>
                </a:lnTo>
                <a:lnTo>
                  <a:pt x="102" y="152"/>
                </a:lnTo>
                <a:lnTo>
                  <a:pt x="98" y="152"/>
                </a:lnTo>
                <a:lnTo>
                  <a:pt x="96" y="153"/>
                </a:lnTo>
                <a:lnTo>
                  <a:pt x="96" y="154"/>
                </a:lnTo>
                <a:lnTo>
                  <a:pt x="95" y="154"/>
                </a:lnTo>
                <a:lnTo>
                  <a:pt x="93" y="157"/>
                </a:lnTo>
                <a:lnTo>
                  <a:pt x="91" y="157"/>
                </a:lnTo>
                <a:lnTo>
                  <a:pt x="90" y="158"/>
                </a:lnTo>
                <a:lnTo>
                  <a:pt x="89" y="158"/>
                </a:lnTo>
                <a:lnTo>
                  <a:pt x="87" y="160"/>
                </a:lnTo>
                <a:lnTo>
                  <a:pt x="86" y="160"/>
                </a:lnTo>
                <a:lnTo>
                  <a:pt x="85" y="163"/>
                </a:lnTo>
                <a:lnTo>
                  <a:pt x="82" y="167"/>
                </a:lnTo>
                <a:lnTo>
                  <a:pt x="81" y="169"/>
                </a:lnTo>
                <a:lnTo>
                  <a:pt x="81" y="171"/>
                </a:lnTo>
                <a:lnTo>
                  <a:pt x="80" y="172"/>
                </a:lnTo>
                <a:lnTo>
                  <a:pt x="79" y="173"/>
                </a:lnTo>
                <a:lnTo>
                  <a:pt x="76" y="176"/>
                </a:lnTo>
                <a:lnTo>
                  <a:pt x="75" y="179"/>
                </a:lnTo>
                <a:lnTo>
                  <a:pt x="73" y="178"/>
                </a:lnTo>
                <a:lnTo>
                  <a:pt x="71" y="180"/>
                </a:lnTo>
                <a:lnTo>
                  <a:pt x="70" y="179"/>
                </a:lnTo>
                <a:lnTo>
                  <a:pt x="70" y="178"/>
                </a:lnTo>
                <a:lnTo>
                  <a:pt x="69" y="177"/>
                </a:lnTo>
                <a:lnTo>
                  <a:pt x="66" y="177"/>
                </a:lnTo>
                <a:lnTo>
                  <a:pt x="64" y="177"/>
                </a:lnTo>
                <a:lnTo>
                  <a:pt x="60" y="178"/>
                </a:lnTo>
                <a:lnTo>
                  <a:pt x="55" y="176"/>
                </a:lnTo>
                <a:lnTo>
                  <a:pt x="51" y="177"/>
                </a:lnTo>
                <a:lnTo>
                  <a:pt x="50" y="177"/>
                </a:lnTo>
                <a:lnTo>
                  <a:pt x="49" y="176"/>
                </a:lnTo>
                <a:lnTo>
                  <a:pt x="46" y="174"/>
                </a:lnTo>
                <a:lnTo>
                  <a:pt x="44" y="171"/>
                </a:lnTo>
                <a:lnTo>
                  <a:pt x="43" y="170"/>
                </a:lnTo>
                <a:lnTo>
                  <a:pt x="39" y="169"/>
                </a:lnTo>
                <a:lnTo>
                  <a:pt x="33" y="169"/>
                </a:lnTo>
                <a:lnTo>
                  <a:pt x="32" y="168"/>
                </a:lnTo>
                <a:lnTo>
                  <a:pt x="20" y="171"/>
                </a:lnTo>
                <a:lnTo>
                  <a:pt x="17" y="171"/>
                </a:lnTo>
                <a:lnTo>
                  <a:pt x="15" y="170"/>
                </a:lnTo>
                <a:lnTo>
                  <a:pt x="14" y="168"/>
                </a:lnTo>
                <a:lnTo>
                  <a:pt x="12" y="167"/>
                </a:lnTo>
                <a:lnTo>
                  <a:pt x="11" y="164"/>
                </a:lnTo>
                <a:lnTo>
                  <a:pt x="8" y="162"/>
                </a:lnTo>
                <a:lnTo>
                  <a:pt x="6" y="160"/>
                </a:lnTo>
                <a:lnTo>
                  <a:pt x="3" y="158"/>
                </a:lnTo>
                <a:lnTo>
                  <a:pt x="2" y="156"/>
                </a:lnTo>
                <a:lnTo>
                  <a:pt x="0" y="153"/>
                </a:lnTo>
                <a:lnTo>
                  <a:pt x="0" y="152"/>
                </a:lnTo>
              </a:path>
            </a:pathLst>
          </a:custGeom>
          <a:solidFill>
            <a:srgbClr val="B1DEEE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64" name="Freeform 964"/>
          <p:cNvSpPr>
            <a:spLocks/>
          </p:cNvSpPr>
          <p:nvPr/>
        </p:nvSpPr>
        <p:spPr bwMode="auto">
          <a:xfrm>
            <a:off x="2662238" y="3043203"/>
            <a:ext cx="38100" cy="17463"/>
          </a:xfrm>
          <a:custGeom>
            <a:avLst/>
            <a:gdLst>
              <a:gd name="T0" fmla="*/ 23 w 24"/>
              <a:gd name="T1" fmla="*/ 2 h 11"/>
              <a:gd name="T2" fmla="*/ 23 w 24"/>
              <a:gd name="T3" fmla="*/ 3 h 11"/>
              <a:gd name="T4" fmla="*/ 24 w 24"/>
              <a:gd name="T5" fmla="*/ 7 h 11"/>
              <a:gd name="T6" fmla="*/ 20 w 24"/>
              <a:gd name="T7" fmla="*/ 9 h 11"/>
              <a:gd name="T8" fmla="*/ 19 w 24"/>
              <a:gd name="T9" fmla="*/ 9 h 11"/>
              <a:gd name="T10" fmla="*/ 14 w 24"/>
              <a:gd name="T11" fmla="*/ 11 h 11"/>
              <a:gd name="T12" fmla="*/ 10 w 24"/>
              <a:gd name="T13" fmla="*/ 11 h 11"/>
              <a:gd name="T14" fmla="*/ 7 w 24"/>
              <a:gd name="T15" fmla="*/ 10 h 11"/>
              <a:gd name="T16" fmla="*/ 2 w 24"/>
              <a:gd name="T17" fmla="*/ 10 h 11"/>
              <a:gd name="T18" fmla="*/ 2 w 24"/>
              <a:gd name="T19" fmla="*/ 10 h 11"/>
              <a:gd name="T20" fmla="*/ 2 w 24"/>
              <a:gd name="T21" fmla="*/ 7 h 11"/>
              <a:gd name="T22" fmla="*/ 0 w 24"/>
              <a:gd name="T23" fmla="*/ 5 h 11"/>
              <a:gd name="T24" fmla="*/ 0 w 24"/>
              <a:gd name="T25" fmla="*/ 2 h 11"/>
              <a:gd name="T26" fmla="*/ 2 w 24"/>
              <a:gd name="T27" fmla="*/ 0 h 11"/>
              <a:gd name="T28" fmla="*/ 19 w 24"/>
              <a:gd name="T29" fmla="*/ 0 h 11"/>
              <a:gd name="T30" fmla="*/ 21 w 24"/>
              <a:gd name="T31" fmla="*/ 1 h 11"/>
              <a:gd name="T32" fmla="*/ 23 w 24"/>
              <a:gd name="T33" fmla="*/ 1 h 11"/>
              <a:gd name="T34" fmla="*/ 23 w 24"/>
              <a:gd name="T35" fmla="*/ 2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4" h="11">
                <a:moveTo>
                  <a:pt x="23" y="2"/>
                </a:moveTo>
                <a:lnTo>
                  <a:pt x="23" y="3"/>
                </a:lnTo>
                <a:lnTo>
                  <a:pt x="24" y="7"/>
                </a:lnTo>
                <a:lnTo>
                  <a:pt x="20" y="9"/>
                </a:lnTo>
                <a:lnTo>
                  <a:pt x="19" y="9"/>
                </a:lnTo>
                <a:lnTo>
                  <a:pt x="14" y="11"/>
                </a:lnTo>
                <a:lnTo>
                  <a:pt x="10" y="11"/>
                </a:lnTo>
                <a:lnTo>
                  <a:pt x="7" y="10"/>
                </a:lnTo>
                <a:lnTo>
                  <a:pt x="2" y="10"/>
                </a:lnTo>
                <a:lnTo>
                  <a:pt x="2" y="10"/>
                </a:lnTo>
                <a:lnTo>
                  <a:pt x="2" y="7"/>
                </a:lnTo>
                <a:lnTo>
                  <a:pt x="0" y="5"/>
                </a:lnTo>
                <a:lnTo>
                  <a:pt x="0" y="2"/>
                </a:lnTo>
                <a:lnTo>
                  <a:pt x="2" y="0"/>
                </a:lnTo>
                <a:lnTo>
                  <a:pt x="19" y="0"/>
                </a:lnTo>
                <a:lnTo>
                  <a:pt x="21" y="1"/>
                </a:lnTo>
                <a:lnTo>
                  <a:pt x="23" y="1"/>
                </a:lnTo>
                <a:lnTo>
                  <a:pt x="23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65" name="Freeform 965"/>
          <p:cNvSpPr>
            <a:spLocks/>
          </p:cNvSpPr>
          <p:nvPr/>
        </p:nvSpPr>
        <p:spPr bwMode="auto">
          <a:xfrm>
            <a:off x="2662238" y="3043203"/>
            <a:ext cx="38100" cy="17463"/>
          </a:xfrm>
          <a:custGeom>
            <a:avLst/>
            <a:gdLst>
              <a:gd name="T0" fmla="*/ 23 w 24"/>
              <a:gd name="T1" fmla="*/ 2 h 11"/>
              <a:gd name="T2" fmla="*/ 23 w 24"/>
              <a:gd name="T3" fmla="*/ 3 h 11"/>
              <a:gd name="T4" fmla="*/ 24 w 24"/>
              <a:gd name="T5" fmla="*/ 7 h 11"/>
              <a:gd name="T6" fmla="*/ 20 w 24"/>
              <a:gd name="T7" fmla="*/ 9 h 11"/>
              <a:gd name="T8" fmla="*/ 19 w 24"/>
              <a:gd name="T9" fmla="*/ 9 h 11"/>
              <a:gd name="T10" fmla="*/ 14 w 24"/>
              <a:gd name="T11" fmla="*/ 11 h 11"/>
              <a:gd name="T12" fmla="*/ 10 w 24"/>
              <a:gd name="T13" fmla="*/ 11 h 11"/>
              <a:gd name="T14" fmla="*/ 7 w 24"/>
              <a:gd name="T15" fmla="*/ 10 h 11"/>
              <a:gd name="T16" fmla="*/ 2 w 24"/>
              <a:gd name="T17" fmla="*/ 10 h 11"/>
              <a:gd name="T18" fmla="*/ 2 w 24"/>
              <a:gd name="T19" fmla="*/ 10 h 11"/>
              <a:gd name="T20" fmla="*/ 2 w 24"/>
              <a:gd name="T21" fmla="*/ 7 h 11"/>
              <a:gd name="T22" fmla="*/ 0 w 24"/>
              <a:gd name="T23" fmla="*/ 5 h 11"/>
              <a:gd name="T24" fmla="*/ 0 w 24"/>
              <a:gd name="T25" fmla="*/ 2 h 11"/>
              <a:gd name="T26" fmla="*/ 2 w 24"/>
              <a:gd name="T27" fmla="*/ 0 h 11"/>
              <a:gd name="T28" fmla="*/ 19 w 24"/>
              <a:gd name="T29" fmla="*/ 0 h 11"/>
              <a:gd name="T30" fmla="*/ 21 w 24"/>
              <a:gd name="T31" fmla="*/ 1 h 11"/>
              <a:gd name="T32" fmla="*/ 23 w 24"/>
              <a:gd name="T33" fmla="*/ 1 h 11"/>
              <a:gd name="T34" fmla="*/ 23 w 24"/>
              <a:gd name="T35" fmla="*/ 2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4" h="11">
                <a:moveTo>
                  <a:pt x="23" y="2"/>
                </a:moveTo>
                <a:lnTo>
                  <a:pt x="23" y="3"/>
                </a:lnTo>
                <a:lnTo>
                  <a:pt x="24" y="7"/>
                </a:lnTo>
                <a:lnTo>
                  <a:pt x="20" y="9"/>
                </a:lnTo>
                <a:lnTo>
                  <a:pt x="19" y="9"/>
                </a:lnTo>
                <a:lnTo>
                  <a:pt x="14" y="11"/>
                </a:lnTo>
                <a:lnTo>
                  <a:pt x="10" y="11"/>
                </a:lnTo>
                <a:lnTo>
                  <a:pt x="7" y="10"/>
                </a:lnTo>
                <a:lnTo>
                  <a:pt x="2" y="10"/>
                </a:lnTo>
                <a:lnTo>
                  <a:pt x="2" y="10"/>
                </a:lnTo>
                <a:lnTo>
                  <a:pt x="2" y="7"/>
                </a:lnTo>
                <a:lnTo>
                  <a:pt x="0" y="5"/>
                </a:lnTo>
                <a:lnTo>
                  <a:pt x="0" y="2"/>
                </a:lnTo>
                <a:lnTo>
                  <a:pt x="2" y="0"/>
                </a:lnTo>
                <a:lnTo>
                  <a:pt x="19" y="0"/>
                </a:lnTo>
                <a:lnTo>
                  <a:pt x="21" y="1"/>
                </a:lnTo>
                <a:lnTo>
                  <a:pt x="23" y="1"/>
                </a:lnTo>
                <a:lnTo>
                  <a:pt x="23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66" name="Freeform 966"/>
          <p:cNvSpPr>
            <a:spLocks/>
          </p:cNvSpPr>
          <p:nvPr/>
        </p:nvSpPr>
        <p:spPr bwMode="auto">
          <a:xfrm>
            <a:off x="2805113" y="3195603"/>
            <a:ext cx="1587" cy="6350"/>
          </a:xfrm>
          <a:custGeom>
            <a:avLst/>
            <a:gdLst>
              <a:gd name="T0" fmla="*/ 1 w 1"/>
              <a:gd name="T1" fmla="*/ 0 h 4"/>
              <a:gd name="T2" fmla="*/ 0 w 1"/>
              <a:gd name="T3" fmla="*/ 0 h 4"/>
              <a:gd name="T4" fmla="*/ 0 w 1"/>
              <a:gd name="T5" fmla="*/ 4 h 4"/>
              <a:gd name="T6" fmla="*/ 1 w 1"/>
              <a:gd name="T7" fmla="*/ 3 h 4"/>
              <a:gd name="T8" fmla="*/ 1 w 1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4">
                <a:moveTo>
                  <a:pt x="1" y="0"/>
                </a:moveTo>
                <a:lnTo>
                  <a:pt x="0" y="0"/>
                </a:lnTo>
                <a:lnTo>
                  <a:pt x="0" y="4"/>
                </a:lnTo>
                <a:lnTo>
                  <a:pt x="1" y="3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67" name="Freeform 967"/>
          <p:cNvSpPr>
            <a:spLocks/>
          </p:cNvSpPr>
          <p:nvPr/>
        </p:nvSpPr>
        <p:spPr bwMode="auto">
          <a:xfrm>
            <a:off x="2805113" y="3195603"/>
            <a:ext cx="1587" cy="6350"/>
          </a:xfrm>
          <a:custGeom>
            <a:avLst/>
            <a:gdLst>
              <a:gd name="T0" fmla="*/ 1 w 1"/>
              <a:gd name="T1" fmla="*/ 0 h 4"/>
              <a:gd name="T2" fmla="*/ 0 w 1"/>
              <a:gd name="T3" fmla="*/ 0 h 4"/>
              <a:gd name="T4" fmla="*/ 0 w 1"/>
              <a:gd name="T5" fmla="*/ 4 h 4"/>
              <a:gd name="T6" fmla="*/ 1 w 1"/>
              <a:gd name="T7" fmla="*/ 3 h 4"/>
              <a:gd name="T8" fmla="*/ 1 w 1"/>
              <a:gd name="T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" h="4">
                <a:moveTo>
                  <a:pt x="1" y="0"/>
                </a:moveTo>
                <a:lnTo>
                  <a:pt x="0" y="0"/>
                </a:lnTo>
                <a:lnTo>
                  <a:pt x="0" y="4"/>
                </a:lnTo>
                <a:lnTo>
                  <a:pt x="1" y="3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68" name="Freeform 968"/>
          <p:cNvSpPr>
            <a:spLocks/>
          </p:cNvSpPr>
          <p:nvPr/>
        </p:nvSpPr>
        <p:spPr bwMode="auto">
          <a:xfrm>
            <a:off x="2792413" y="3101940"/>
            <a:ext cx="14287" cy="14288"/>
          </a:xfrm>
          <a:custGeom>
            <a:avLst/>
            <a:gdLst>
              <a:gd name="T0" fmla="*/ 7 w 9"/>
              <a:gd name="T1" fmla="*/ 0 h 9"/>
              <a:gd name="T2" fmla="*/ 6 w 9"/>
              <a:gd name="T3" fmla="*/ 0 h 9"/>
              <a:gd name="T4" fmla="*/ 5 w 9"/>
              <a:gd name="T5" fmla="*/ 3 h 9"/>
              <a:gd name="T6" fmla="*/ 2 w 9"/>
              <a:gd name="T7" fmla="*/ 3 h 9"/>
              <a:gd name="T8" fmla="*/ 0 w 9"/>
              <a:gd name="T9" fmla="*/ 5 h 9"/>
              <a:gd name="T10" fmla="*/ 0 w 9"/>
              <a:gd name="T11" fmla="*/ 9 h 9"/>
              <a:gd name="T12" fmla="*/ 3 w 9"/>
              <a:gd name="T13" fmla="*/ 9 h 9"/>
              <a:gd name="T14" fmla="*/ 4 w 9"/>
              <a:gd name="T15" fmla="*/ 5 h 9"/>
              <a:gd name="T16" fmla="*/ 5 w 9"/>
              <a:gd name="T17" fmla="*/ 5 h 9"/>
              <a:gd name="T18" fmla="*/ 7 w 9"/>
              <a:gd name="T19" fmla="*/ 5 h 9"/>
              <a:gd name="T20" fmla="*/ 9 w 9"/>
              <a:gd name="T21" fmla="*/ 4 h 9"/>
              <a:gd name="T22" fmla="*/ 9 w 9"/>
              <a:gd name="T23" fmla="*/ 3 h 9"/>
              <a:gd name="T24" fmla="*/ 8 w 9"/>
              <a:gd name="T25" fmla="*/ 2 h 9"/>
              <a:gd name="T26" fmla="*/ 7 w 9"/>
              <a:gd name="T27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9" h="9">
                <a:moveTo>
                  <a:pt x="7" y="0"/>
                </a:moveTo>
                <a:lnTo>
                  <a:pt x="6" y="0"/>
                </a:lnTo>
                <a:lnTo>
                  <a:pt x="5" y="3"/>
                </a:lnTo>
                <a:lnTo>
                  <a:pt x="2" y="3"/>
                </a:lnTo>
                <a:lnTo>
                  <a:pt x="0" y="5"/>
                </a:lnTo>
                <a:lnTo>
                  <a:pt x="0" y="9"/>
                </a:lnTo>
                <a:lnTo>
                  <a:pt x="3" y="9"/>
                </a:lnTo>
                <a:lnTo>
                  <a:pt x="4" y="5"/>
                </a:lnTo>
                <a:lnTo>
                  <a:pt x="5" y="5"/>
                </a:lnTo>
                <a:lnTo>
                  <a:pt x="7" y="5"/>
                </a:lnTo>
                <a:lnTo>
                  <a:pt x="9" y="4"/>
                </a:lnTo>
                <a:lnTo>
                  <a:pt x="9" y="3"/>
                </a:lnTo>
                <a:lnTo>
                  <a:pt x="8" y="2"/>
                </a:lnTo>
                <a:lnTo>
                  <a:pt x="7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69" name="Freeform 969"/>
          <p:cNvSpPr>
            <a:spLocks/>
          </p:cNvSpPr>
          <p:nvPr/>
        </p:nvSpPr>
        <p:spPr bwMode="auto">
          <a:xfrm>
            <a:off x="2792413" y="3101940"/>
            <a:ext cx="14287" cy="14288"/>
          </a:xfrm>
          <a:custGeom>
            <a:avLst/>
            <a:gdLst>
              <a:gd name="T0" fmla="*/ 7 w 9"/>
              <a:gd name="T1" fmla="*/ 0 h 9"/>
              <a:gd name="T2" fmla="*/ 6 w 9"/>
              <a:gd name="T3" fmla="*/ 0 h 9"/>
              <a:gd name="T4" fmla="*/ 5 w 9"/>
              <a:gd name="T5" fmla="*/ 3 h 9"/>
              <a:gd name="T6" fmla="*/ 2 w 9"/>
              <a:gd name="T7" fmla="*/ 3 h 9"/>
              <a:gd name="T8" fmla="*/ 0 w 9"/>
              <a:gd name="T9" fmla="*/ 5 h 9"/>
              <a:gd name="T10" fmla="*/ 0 w 9"/>
              <a:gd name="T11" fmla="*/ 9 h 9"/>
              <a:gd name="T12" fmla="*/ 3 w 9"/>
              <a:gd name="T13" fmla="*/ 9 h 9"/>
              <a:gd name="T14" fmla="*/ 4 w 9"/>
              <a:gd name="T15" fmla="*/ 5 h 9"/>
              <a:gd name="T16" fmla="*/ 5 w 9"/>
              <a:gd name="T17" fmla="*/ 5 h 9"/>
              <a:gd name="T18" fmla="*/ 7 w 9"/>
              <a:gd name="T19" fmla="*/ 5 h 9"/>
              <a:gd name="T20" fmla="*/ 9 w 9"/>
              <a:gd name="T21" fmla="*/ 4 h 9"/>
              <a:gd name="T22" fmla="*/ 9 w 9"/>
              <a:gd name="T23" fmla="*/ 3 h 9"/>
              <a:gd name="T24" fmla="*/ 8 w 9"/>
              <a:gd name="T25" fmla="*/ 2 h 9"/>
              <a:gd name="T26" fmla="*/ 7 w 9"/>
              <a:gd name="T27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9" h="9">
                <a:moveTo>
                  <a:pt x="7" y="0"/>
                </a:moveTo>
                <a:lnTo>
                  <a:pt x="6" y="0"/>
                </a:lnTo>
                <a:lnTo>
                  <a:pt x="5" y="3"/>
                </a:lnTo>
                <a:lnTo>
                  <a:pt x="2" y="3"/>
                </a:lnTo>
                <a:lnTo>
                  <a:pt x="0" y="5"/>
                </a:lnTo>
                <a:lnTo>
                  <a:pt x="0" y="9"/>
                </a:lnTo>
                <a:lnTo>
                  <a:pt x="3" y="9"/>
                </a:lnTo>
                <a:lnTo>
                  <a:pt x="4" y="5"/>
                </a:lnTo>
                <a:lnTo>
                  <a:pt x="5" y="5"/>
                </a:lnTo>
                <a:lnTo>
                  <a:pt x="7" y="5"/>
                </a:lnTo>
                <a:lnTo>
                  <a:pt x="9" y="4"/>
                </a:lnTo>
                <a:lnTo>
                  <a:pt x="9" y="3"/>
                </a:lnTo>
                <a:lnTo>
                  <a:pt x="8" y="2"/>
                </a:lnTo>
                <a:lnTo>
                  <a:pt x="7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70" name="Freeform 970"/>
          <p:cNvSpPr>
            <a:spLocks/>
          </p:cNvSpPr>
          <p:nvPr/>
        </p:nvSpPr>
        <p:spPr bwMode="auto">
          <a:xfrm>
            <a:off x="7577138" y="2270090"/>
            <a:ext cx="133350" cy="114300"/>
          </a:xfrm>
          <a:custGeom>
            <a:avLst/>
            <a:gdLst>
              <a:gd name="T0" fmla="*/ 66 w 84"/>
              <a:gd name="T1" fmla="*/ 21 h 72"/>
              <a:gd name="T2" fmla="*/ 69 w 84"/>
              <a:gd name="T3" fmla="*/ 25 h 72"/>
              <a:gd name="T4" fmla="*/ 72 w 84"/>
              <a:gd name="T5" fmla="*/ 32 h 72"/>
              <a:gd name="T6" fmla="*/ 78 w 84"/>
              <a:gd name="T7" fmla="*/ 38 h 72"/>
              <a:gd name="T8" fmla="*/ 84 w 84"/>
              <a:gd name="T9" fmla="*/ 37 h 72"/>
              <a:gd name="T10" fmla="*/ 81 w 84"/>
              <a:gd name="T11" fmla="*/ 41 h 72"/>
              <a:gd name="T12" fmla="*/ 77 w 84"/>
              <a:gd name="T13" fmla="*/ 44 h 72"/>
              <a:gd name="T14" fmla="*/ 76 w 84"/>
              <a:gd name="T15" fmla="*/ 45 h 72"/>
              <a:gd name="T16" fmla="*/ 66 w 84"/>
              <a:gd name="T17" fmla="*/ 45 h 72"/>
              <a:gd name="T18" fmla="*/ 62 w 84"/>
              <a:gd name="T19" fmla="*/ 52 h 72"/>
              <a:gd name="T20" fmla="*/ 64 w 84"/>
              <a:gd name="T21" fmla="*/ 61 h 72"/>
              <a:gd name="T22" fmla="*/ 54 w 84"/>
              <a:gd name="T23" fmla="*/ 58 h 72"/>
              <a:gd name="T24" fmla="*/ 38 w 84"/>
              <a:gd name="T25" fmla="*/ 52 h 72"/>
              <a:gd name="T26" fmla="*/ 30 w 84"/>
              <a:gd name="T27" fmla="*/ 53 h 72"/>
              <a:gd name="T28" fmla="*/ 26 w 84"/>
              <a:gd name="T29" fmla="*/ 54 h 72"/>
              <a:gd name="T30" fmla="*/ 18 w 84"/>
              <a:gd name="T31" fmla="*/ 53 h 72"/>
              <a:gd name="T32" fmla="*/ 20 w 84"/>
              <a:gd name="T33" fmla="*/ 59 h 72"/>
              <a:gd name="T34" fmla="*/ 36 w 84"/>
              <a:gd name="T35" fmla="*/ 65 h 72"/>
              <a:gd name="T36" fmla="*/ 32 w 84"/>
              <a:gd name="T37" fmla="*/ 66 h 72"/>
              <a:gd name="T38" fmla="*/ 28 w 84"/>
              <a:gd name="T39" fmla="*/ 68 h 72"/>
              <a:gd name="T40" fmla="*/ 26 w 84"/>
              <a:gd name="T41" fmla="*/ 72 h 72"/>
              <a:gd name="T42" fmla="*/ 21 w 84"/>
              <a:gd name="T43" fmla="*/ 70 h 72"/>
              <a:gd name="T44" fmla="*/ 11 w 84"/>
              <a:gd name="T45" fmla="*/ 58 h 72"/>
              <a:gd name="T46" fmla="*/ 9 w 84"/>
              <a:gd name="T47" fmla="*/ 50 h 72"/>
              <a:gd name="T48" fmla="*/ 12 w 84"/>
              <a:gd name="T49" fmla="*/ 45 h 72"/>
              <a:gd name="T50" fmla="*/ 8 w 84"/>
              <a:gd name="T51" fmla="*/ 41 h 72"/>
              <a:gd name="T52" fmla="*/ 11 w 84"/>
              <a:gd name="T53" fmla="*/ 39 h 72"/>
              <a:gd name="T54" fmla="*/ 21 w 84"/>
              <a:gd name="T55" fmla="*/ 40 h 72"/>
              <a:gd name="T56" fmla="*/ 18 w 84"/>
              <a:gd name="T57" fmla="*/ 33 h 72"/>
              <a:gd name="T58" fmla="*/ 17 w 84"/>
              <a:gd name="T59" fmla="*/ 29 h 72"/>
              <a:gd name="T60" fmla="*/ 13 w 84"/>
              <a:gd name="T61" fmla="*/ 20 h 72"/>
              <a:gd name="T62" fmla="*/ 1 w 84"/>
              <a:gd name="T63" fmla="*/ 4 h 72"/>
              <a:gd name="T64" fmla="*/ 1 w 84"/>
              <a:gd name="T65" fmla="*/ 0 h 72"/>
              <a:gd name="T66" fmla="*/ 6 w 84"/>
              <a:gd name="T67" fmla="*/ 1 h 72"/>
              <a:gd name="T68" fmla="*/ 11 w 84"/>
              <a:gd name="T69" fmla="*/ 4 h 72"/>
              <a:gd name="T70" fmla="*/ 31 w 84"/>
              <a:gd name="T71" fmla="*/ 17 h 72"/>
              <a:gd name="T72" fmla="*/ 47 w 84"/>
              <a:gd name="T73" fmla="*/ 23 h 72"/>
              <a:gd name="T74" fmla="*/ 57 w 84"/>
              <a:gd name="T75" fmla="*/ 27 h 72"/>
              <a:gd name="T76" fmla="*/ 62 w 84"/>
              <a:gd name="T77" fmla="*/ 27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" h="72">
                <a:moveTo>
                  <a:pt x="64" y="24"/>
                </a:moveTo>
                <a:lnTo>
                  <a:pt x="66" y="21"/>
                </a:lnTo>
                <a:lnTo>
                  <a:pt x="68" y="22"/>
                </a:lnTo>
                <a:lnTo>
                  <a:pt x="69" y="25"/>
                </a:lnTo>
                <a:lnTo>
                  <a:pt x="69" y="30"/>
                </a:lnTo>
                <a:lnTo>
                  <a:pt x="72" y="32"/>
                </a:lnTo>
                <a:lnTo>
                  <a:pt x="76" y="34"/>
                </a:lnTo>
                <a:lnTo>
                  <a:pt x="78" y="38"/>
                </a:lnTo>
                <a:lnTo>
                  <a:pt x="81" y="38"/>
                </a:lnTo>
                <a:lnTo>
                  <a:pt x="84" y="37"/>
                </a:lnTo>
                <a:lnTo>
                  <a:pt x="84" y="39"/>
                </a:lnTo>
                <a:lnTo>
                  <a:pt x="81" y="41"/>
                </a:lnTo>
                <a:lnTo>
                  <a:pt x="80" y="43"/>
                </a:lnTo>
                <a:lnTo>
                  <a:pt x="77" y="44"/>
                </a:lnTo>
                <a:lnTo>
                  <a:pt x="76" y="43"/>
                </a:lnTo>
                <a:lnTo>
                  <a:pt x="76" y="45"/>
                </a:lnTo>
                <a:lnTo>
                  <a:pt x="70" y="44"/>
                </a:lnTo>
                <a:lnTo>
                  <a:pt x="66" y="45"/>
                </a:lnTo>
                <a:lnTo>
                  <a:pt x="63" y="48"/>
                </a:lnTo>
                <a:lnTo>
                  <a:pt x="62" y="52"/>
                </a:lnTo>
                <a:lnTo>
                  <a:pt x="63" y="57"/>
                </a:lnTo>
                <a:lnTo>
                  <a:pt x="64" y="61"/>
                </a:lnTo>
                <a:lnTo>
                  <a:pt x="64" y="63"/>
                </a:lnTo>
                <a:lnTo>
                  <a:pt x="54" y="58"/>
                </a:lnTo>
                <a:lnTo>
                  <a:pt x="48" y="57"/>
                </a:lnTo>
                <a:lnTo>
                  <a:pt x="38" y="52"/>
                </a:lnTo>
                <a:lnTo>
                  <a:pt x="32" y="51"/>
                </a:lnTo>
                <a:lnTo>
                  <a:pt x="30" y="53"/>
                </a:lnTo>
                <a:lnTo>
                  <a:pt x="29" y="55"/>
                </a:lnTo>
                <a:lnTo>
                  <a:pt x="26" y="54"/>
                </a:lnTo>
                <a:lnTo>
                  <a:pt x="21" y="52"/>
                </a:lnTo>
                <a:lnTo>
                  <a:pt x="18" y="53"/>
                </a:lnTo>
                <a:lnTo>
                  <a:pt x="17" y="55"/>
                </a:lnTo>
                <a:lnTo>
                  <a:pt x="20" y="59"/>
                </a:lnTo>
                <a:lnTo>
                  <a:pt x="28" y="61"/>
                </a:lnTo>
                <a:lnTo>
                  <a:pt x="36" y="65"/>
                </a:lnTo>
                <a:lnTo>
                  <a:pt x="36" y="66"/>
                </a:lnTo>
                <a:lnTo>
                  <a:pt x="32" y="66"/>
                </a:lnTo>
                <a:lnTo>
                  <a:pt x="30" y="66"/>
                </a:lnTo>
                <a:lnTo>
                  <a:pt x="28" y="68"/>
                </a:lnTo>
                <a:lnTo>
                  <a:pt x="28" y="70"/>
                </a:lnTo>
                <a:lnTo>
                  <a:pt x="26" y="72"/>
                </a:lnTo>
                <a:lnTo>
                  <a:pt x="23" y="72"/>
                </a:lnTo>
                <a:lnTo>
                  <a:pt x="21" y="70"/>
                </a:lnTo>
                <a:lnTo>
                  <a:pt x="18" y="62"/>
                </a:lnTo>
                <a:lnTo>
                  <a:pt x="11" y="58"/>
                </a:lnTo>
                <a:lnTo>
                  <a:pt x="8" y="52"/>
                </a:lnTo>
                <a:lnTo>
                  <a:pt x="9" y="50"/>
                </a:lnTo>
                <a:lnTo>
                  <a:pt x="11" y="48"/>
                </a:lnTo>
                <a:lnTo>
                  <a:pt x="12" y="45"/>
                </a:lnTo>
                <a:lnTo>
                  <a:pt x="11" y="42"/>
                </a:lnTo>
                <a:lnTo>
                  <a:pt x="8" y="41"/>
                </a:lnTo>
                <a:lnTo>
                  <a:pt x="8" y="39"/>
                </a:lnTo>
                <a:lnTo>
                  <a:pt x="11" y="39"/>
                </a:lnTo>
                <a:lnTo>
                  <a:pt x="16" y="40"/>
                </a:lnTo>
                <a:lnTo>
                  <a:pt x="21" y="40"/>
                </a:lnTo>
                <a:lnTo>
                  <a:pt x="21" y="37"/>
                </a:lnTo>
                <a:lnTo>
                  <a:pt x="18" y="33"/>
                </a:lnTo>
                <a:lnTo>
                  <a:pt x="17" y="31"/>
                </a:lnTo>
                <a:lnTo>
                  <a:pt x="17" y="29"/>
                </a:lnTo>
                <a:lnTo>
                  <a:pt x="16" y="24"/>
                </a:lnTo>
                <a:lnTo>
                  <a:pt x="13" y="20"/>
                </a:lnTo>
                <a:lnTo>
                  <a:pt x="10" y="12"/>
                </a:lnTo>
                <a:lnTo>
                  <a:pt x="1" y="4"/>
                </a:lnTo>
                <a:lnTo>
                  <a:pt x="0" y="2"/>
                </a:lnTo>
                <a:lnTo>
                  <a:pt x="1" y="0"/>
                </a:lnTo>
                <a:lnTo>
                  <a:pt x="2" y="0"/>
                </a:lnTo>
                <a:lnTo>
                  <a:pt x="6" y="1"/>
                </a:lnTo>
                <a:lnTo>
                  <a:pt x="8" y="2"/>
                </a:lnTo>
                <a:lnTo>
                  <a:pt x="11" y="4"/>
                </a:lnTo>
                <a:lnTo>
                  <a:pt x="22" y="12"/>
                </a:lnTo>
                <a:lnTo>
                  <a:pt x="31" y="17"/>
                </a:lnTo>
                <a:lnTo>
                  <a:pt x="39" y="21"/>
                </a:lnTo>
                <a:lnTo>
                  <a:pt x="47" y="23"/>
                </a:lnTo>
                <a:lnTo>
                  <a:pt x="53" y="24"/>
                </a:lnTo>
                <a:lnTo>
                  <a:pt x="57" y="27"/>
                </a:lnTo>
                <a:lnTo>
                  <a:pt x="60" y="28"/>
                </a:lnTo>
                <a:lnTo>
                  <a:pt x="62" y="27"/>
                </a:lnTo>
                <a:lnTo>
                  <a:pt x="64" y="2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71" name="Freeform 971"/>
          <p:cNvSpPr>
            <a:spLocks/>
          </p:cNvSpPr>
          <p:nvPr/>
        </p:nvSpPr>
        <p:spPr bwMode="auto">
          <a:xfrm>
            <a:off x="7577138" y="2270090"/>
            <a:ext cx="133350" cy="114300"/>
          </a:xfrm>
          <a:custGeom>
            <a:avLst/>
            <a:gdLst>
              <a:gd name="T0" fmla="*/ 66 w 84"/>
              <a:gd name="T1" fmla="*/ 21 h 72"/>
              <a:gd name="T2" fmla="*/ 69 w 84"/>
              <a:gd name="T3" fmla="*/ 25 h 72"/>
              <a:gd name="T4" fmla="*/ 72 w 84"/>
              <a:gd name="T5" fmla="*/ 32 h 72"/>
              <a:gd name="T6" fmla="*/ 78 w 84"/>
              <a:gd name="T7" fmla="*/ 38 h 72"/>
              <a:gd name="T8" fmla="*/ 84 w 84"/>
              <a:gd name="T9" fmla="*/ 37 h 72"/>
              <a:gd name="T10" fmla="*/ 81 w 84"/>
              <a:gd name="T11" fmla="*/ 41 h 72"/>
              <a:gd name="T12" fmla="*/ 77 w 84"/>
              <a:gd name="T13" fmla="*/ 44 h 72"/>
              <a:gd name="T14" fmla="*/ 76 w 84"/>
              <a:gd name="T15" fmla="*/ 45 h 72"/>
              <a:gd name="T16" fmla="*/ 66 w 84"/>
              <a:gd name="T17" fmla="*/ 45 h 72"/>
              <a:gd name="T18" fmla="*/ 62 w 84"/>
              <a:gd name="T19" fmla="*/ 52 h 72"/>
              <a:gd name="T20" fmla="*/ 64 w 84"/>
              <a:gd name="T21" fmla="*/ 61 h 72"/>
              <a:gd name="T22" fmla="*/ 54 w 84"/>
              <a:gd name="T23" fmla="*/ 58 h 72"/>
              <a:gd name="T24" fmla="*/ 38 w 84"/>
              <a:gd name="T25" fmla="*/ 52 h 72"/>
              <a:gd name="T26" fmla="*/ 30 w 84"/>
              <a:gd name="T27" fmla="*/ 53 h 72"/>
              <a:gd name="T28" fmla="*/ 26 w 84"/>
              <a:gd name="T29" fmla="*/ 54 h 72"/>
              <a:gd name="T30" fmla="*/ 18 w 84"/>
              <a:gd name="T31" fmla="*/ 53 h 72"/>
              <a:gd name="T32" fmla="*/ 20 w 84"/>
              <a:gd name="T33" fmla="*/ 59 h 72"/>
              <a:gd name="T34" fmla="*/ 36 w 84"/>
              <a:gd name="T35" fmla="*/ 65 h 72"/>
              <a:gd name="T36" fmla="*/ 32 w 84"/>
              <a:gd name="T37" fmla="*/ 66 h 72"/>
              <a:gd name="T38" fmla="*/ 28 w 84"/>
              <a:gd name="T39" fmla="*/ 68 h 72"/>
              <a:gd name="T40" fmla="*/ 26 w 84"/>
              <a:gd name="T41" fmla="*/ 72 h 72"/>
              <a:gd name="T42" fmla="*/ 21 w 84"/>
              <a:gd name="T43" fmla="*/ 70 h 72"/>
              <a:gd name="T44" fmla="*/ 11 w 84"/>
              <a:gd name="T45" fmla="*/ 58 h 72"/>
              <a:gd name="T46" fmla="*/ 9 w 84"/>
              <a:gd name="T47" fmla="*/ 50 h 72"/>
              <a:gd name="T48" fmla="*/ 12 w 84"/>
              <a:gd name="T49" fmla="*/ 45 h 72"/>
              <a:gd name="T50" fmla="*/ 8 w 84"/>
              <a:gd name="T51" fmla="*/ 41 h 72"/>
              <a:gd name="T52" fmla="*/ 11 w 84"/>
              <a:gd name="T53" fmla="*/ 39 h 72"/>
              <a:gd name="T54" fmla="*/ 21 w 84"/>
              <a:gd name="T55" fmla="*/ 40 h 72"/>
              <a:gd name="T56" fmla="*/ 18 w 84"/>
              <a:gd name="T57" fmla="*/ 33 h 72"/>
              <a:gd name="T58" fmla="*/ 17 w 84"/>
              <a:gd name="T59" fmla="*/ 29 h 72"/>
              <a:gd name="T60" fmla="*/ 13 w 84"/>
              <a:gd name="T61" fmla="*/ 20 h 72"/>
              <a:gd name="T62" fmla="*/ 1 w 84"/>
              <a:gd name="T63" fmla="*/ 4 h 72"/>
              <a:gd name="T64" fmla="*/ 1 w 84"/>
              <a:gd name="T65" fmla="*/ 0 h 72"/>
              <a:gd name="T66" fmla="*/ 6 w 84"/>
              <a:gd name="T67" fmla="*/ 1 h 72"/>
              <a:gd name="T68" fmla="*/ 11 w 84"/>
              <a:gd name="T69" fmla="*/ 4 h 72"/>
              <a:gd name="T70" fmla="*/ 31 w 84"/>
              <a:gd name="T71" fmla="*/ 17 h 72"/>
              <a:gd name="T72" fmla="*/ 47 w 84"/>
              <a:gd name="T73" fmla="*/ 23 h 72"/>
              <a:gd name="T74" fmla="*/ 57 w 84"/>
              <a:gd name="T75" fmla="*/ 27 h 72"/>
              <a:gd name="T76" fmla="*/ 62 w 84"/>
              <a:gd name="T77" fmla="*/ 27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4" h="72">
                <a:moveTo>
                  <a:pt x="64" y="24"/>
                </a:moveTo>
                <a:lnTo>
                  <a:pt x="66" y="21"/>
                </a:lnTo>
                <a:lnTo>
                  <a:pt x="68" y="22"/>
                </a:lnTo>
                <a:lnTo>
                  <a:pt x="69" y="25"/>
                </a:lnTo>
                <a:lnTo>
                  <a:pt x="69" y="30"/>
                </a:lnTo>
                <a:lnTo>
                  <a:pt x="72" y="32"/>
                </a:lnTo>
                <a:lnTo>
                  <a:pt x="76" y="34"/>
                </a:lnTo>
                <a:lnTo>
                  <a:pt x="78" y="38"/>
                </a:lnTo>
                <a:lnTo>
                  <a:pt x="81" y="38"/>
                </a:lnTo>
                <a:lnTo>
                  <a:pt x="84" y="37"/>
                </a:lnTo>
                <a:lnTo>
                  <a:pt x="84" y="39"/>
                </a:lnTo>
                <a:lnTo>
                  <a:pt x="81" y="41"/>
                </a:lnTo>
                <a:lnTo>
                  <a:pt x="80" y="43"/>
                </a:lnTo>
                <a:lnTo>
                  <a:pt x="77" y="44"/>
                </a:lnTo>
                <a:lnTo>
                  <a:pt x="76" y="43"/>
                </a:lnTo>
                <a:lnTo>
                  <a:pt x="76" y="45"/>
                </a:lnTo>
                <a:lnTo>
                  <a:pt x="70" y="44"/>
                </a:lnTo>
                <a:lnTo>
                  <a:pt x="66" y="45"/>
                </a:lnTo>
                <a:lnTo>
                  <a:pt x="63" y="48"/>
                </a:lnTo>
                <a:lnTo>
                  <a:pt x="62" y="52"/>
                </a:lnTo>
                <a:lnTo>
                  <a:pt x="63" y="57"/>
                </a:lnTo>
                <a:lnTo>
                  <a:pt x="64" y="61"/>
                </a:lnTo>
                <a:lnTo>
                  <a:pt x="64" y="63"/>
                </a:lnTo>
                <a:lnTo>
                  <a:pt x="54" y="58"/>
                </a:lnTo>
                <a:lnTo>
                  <a:pt x="48" y="57"/>
                </a:lnTo>
                <a:lnTo>
                  <a:pt x="38" y="52"/>
                </a:lnTo>
                <a:lnTo>
                  <a:pt x="32" y="51"/>
                </a:lnTo>
                <a:lnTo>
                  <a:pt x="30" y="53"/>
                </a:lnTo>
                <a:lnTo>
                  <a:pt x="29" y="55"/>
                </a:lnTo>
                <a:lnTo>
                  <a:pt x="26" y="54"/>
                </a:lnTo>
                <a:lnTo>
                  <a:pt x="21" y="52"/>
                </a:lnTo>
                <a:lnTo>
                  <a:pt x="18" y="53"/>
                </a:lnTo>
                <a:lnTo>
                  <a:pt x="17" y="55"/>
                </a:lnTo>
                <a:lnTo>
                  <a:pt x="20" y="59"/>
                </a:lnTo>
                <a:lnTo>
                  <a:pt x="28" y="61"/>
                </a:lnTo>
                <a:lnTo>
                  <a:pt x="36" y="65"/>
                </a:lnTo>
                <a:lnTo>
                  <a:pt x="36" y="66"/>
                </a:lnTo>
                <a:lnTo>
                  <a:pt x="32" y="66"/>
                </a:lnTo>
                <a:lnTo>
                  <a:pt x="30" y="66"/>
                </a:lnTo>
                <a:lnTo>
                  <a:pt x="28" y="68"/>
                </a:lnTo>
                <a:lnTo>
                  <a:pt x="28" y="70"/>
                </a:lnTo>
                <a:lnTo>
                  <a:pt x="26" y="72"/>
                </a:lnTo>
                <a:lnTo>
                  <a:pt x="23" y="72"/>
                </a:lnTo>
                <a:lnTo>
                  <a:pt x="21" y="70"/>
                </a:lnTo>
                <a:lnTo>
                  <a:pt x="18" y="62"/>
                </a:lnTo>
                <a:lnTo>
                  <a:pt x="11" y="58"/>
                </a:lnTo>
                <a:lnTo>
                  <a:pt x="8" y="52"/>
                </a:lnTo>
                <a:lnTo>
                  <a:pt x="9" y="50"/>
                </a:lnTo>
                <a:lnTo>
                  <a:pt x="11" y="48"/>
                </a:lnTo>
                <a:lnTo>
                  <a:pt x="12" y="45"/>
                </a:lnTo>
                <a:lnTo>
                  <a:pt x="11" y="42"/>
                </a:lnTo>
                <a:lnTo>
                  <a:pt x="8" y="41"/>
                </a:lnTo>
                <a:lnTo>
                  <a:pt x="8" y="39"/>
                </a:lnTo>
                <a:lnTo>
                  <a:pt x="11" y="39"/>
                </a:lnTo>
                <a:lnTo>
                  <a:pt x="16" y="40"/>
                </a:lnTo>
                <a:lnTo>
                  <a:pt x="21" y="40"/>
                </a:lnTo>
                <a:lnTo>
                  <a:pt x="21" y="37"/>
                </a:lnTo>
                <a:lnTo>
                  <a:pt x="18" y="33"/>
                </a:lnTo>
                <a:lnTo>
                  <a:pt x="17" y="31"/>
                </a:lnTo>
                <a:lnTo>
                  <a:pt x="17" y="29"/>
                </a:lnTo>
                <a:lnTo>
                  <a:pt x="16" y="24"/>
                </a:lnTo>
                <a:lnTo>
                  <a:pt x="13" y="20"/>
                </a:lnTo>
                <a:lnTo>
                  <a:pt x="10" y="12"/>
                </a:lnTo>
                <a:lnTo>
                  <a:pt x="1" y="4"/>
                </a:lnTo>
                <a:lnTo>
                  <a:pt x="0" y="2"/>
                </a:lnTo>
                <a:lnTo>
                  <a:pt x="1" y="0"/>
                </a:lnTo>
                <a:lnTo>
                  <a:pt x="2" y="0"/>
                </a:lnTo>
                <a:lnTo>
                  <a:pt x="6" y="1"/>
                </a:lnTo>
                <a:lnTo>
                  <a:pt x="8" y="2"/>
                </a:lnTo>
                <a:lnTo>
                  <a:pt x="11" y="4"/>
                </a:lnTo>
                <a:lnTo>
                  <a:pt x="22" y="12"/>
                </a:lnTo>
                <a:lnTo>
                  <a:pt x="31" y="17"/>
                </a:lnTo>
                <a:lnTo>
                  <a:pt x="39" y="21"/>
                </a:lnTo>
                <a:lnTo>
                  <a:pt x="47" y="23"/>
                </a:lnTo>
                <a:lnTo>
                  <a:pt x="53" y="24"/>
                </a:lnTo>
                <a:lnTo>
                  <a:pt x="57" y="27"/>
                </a:lnTo>
                <a:lnTo>
                  <a:pt x="60" y="28"/>
                </a:lnTo>
                <a:lnTo>
                  <a:pt x="62" y="27"/>
                </a:lnTo>
                <a:lnTo>
                  <a:pt x="64" y="2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72" name="Freeform 972"/>
          <p:cNvSpPr>
            <a:spLocks/>
          </p:cNvSpPr>
          <p:nvPr/>
        </p:nvSpPr>
        <p:spPr bwMode="auto">
          <a:xfrm>
            <a:off x="7566025" y="2274853"/>
            <a:ext cx="7937" cy="6350"/>
          </a:xfrm>
          <a:custGeom>
            <a:avLst/>
            <a:gdLst>
              <a:gd name="T0" fmla="*/ 2 w 5"/>
              <a:gd name="T1" fmla="*/ 0 h 4"/>
              <a:gd name="T2" fmla="*/ 0 w 5"/>
              <a:gd name="T3" fmla="*/ 1 h 4"/>
              <a:gd name="T4" fmla="*/ 3 w 5"/>
              <a:gd name="T5" fmla="*/ 2 h 4"/>
              <a:gd name="T6" fmla="*/ 5 w 5"/>
              <a:gd name="T7" fmla="*/ 4 h 4"/>
              <a:gd name="T8" fmla="*/ 4 w 5"/>
              <a:gd name="T9" fmla="*/ 0 h 4"/>
              <a:gd name="T10" fmla="*/ 2 w 5"/>
              <a:gd name="T1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" h="4">
                <a:moveTo>
                  <a:pt x="2" y="0"/>
                </a:moveTo>
                <a:lnTo>
                  <a:pt x="0" y="1"/>
                </a:lnTo>
                <a:lnTo>
                  <a:pt x="3" y="2"/>
                </a:lnTo>
                <a:lnTo>
                  <a:pt x="5" y="4"/>
                </a:lnTo>
                <a:lnTo>
                  <a:pt x="4" y="0"/>
                </a:lnTo>
                <a:lnTo>
                  <a:pt x="2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73" name="Freeform 973"/>
          <p:cNvSpPr>
            <a:spLocks/>
          </p:cNvSpPr>
          <p:nvPr/>
        </p:nvSpPr>
        <p:spPr bwMode="auto">
          <a:xfrm>
            <a:off x="7566025" y="2274853"/>
            <a:ext cx="7937" cy="6350"/>
          </a:xfrm>
          <a:custGeom>
            <a:avLst/>
            <a:gdLst>
              <a:gd name="T0" fmla="*/ 2 w 5"/>
              <a:gd name="T1" fmla="*/ 0 h 4"/>
              <a:gd name="T2" fmla="*/ 0 w 5"/>
              <a:gd name="T3" fmla="*/ 1 h 4"/>
              <a:gd name="T4" fmla="*/ 3 w 5"/>
              <a:gd name="T5" fmla="*/ 2 h 4"/>
              <a:gd name="T6" fmla="*/ 5 w 5"/>
              <a:gd name="T7" fmla="*/ 4 h 4"/>
              <a:gd name="T8" fmla="*/ 4 w 5"/>
              <a:gd name="T9" fmla="*/ 0 h 4"/>
              <a:gd name="T10" fmla="*/ 2 w 5"/>
              <a:gd name="T1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" h="4">
                <a:moveTo>
                  <a:pt x="2" y="0"/>
                </a:moveTo>
                <a:lnTo>
                  <a:pt x="0" y="1"/>
                </a:lnTo>
                <a:lnTo>
                  <a:pt x="3" y="2"/>
                </a:lnTo>
                <a:lnTo>
                  <a:pt x="5" y="4"/>
                </a:lnTo>
                <a:lnTo>
                  <a:pt x="4" y="0"/>
                </a:lnTo>
                <a:lnTo>
                  <a:pt x="2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74" name="Freeform 974"/>
          <p:cNvSpPr>
            <a:spLocks/>
          </p:cNvSpPr>
          <p:nvPr/>
        </p:nvSpPr>
        <p:spPr bwMode="auto">
          <a:xfrm>
            <a:off x="7502525" y="2382803"/>
            <a:ext cx="220662" cy="230188"/>
          </a:xfrm>
          <a:custGeom>
            <a:avLst/>
            <a:gdLst>
              <a:gd name="T0" fmla="*/ 93 w 139"/>
              <a:gd name="T1" fmla="*/ 3 h 145"/>
              <a:gd name="T2" fmla="*/ 101 w 139"/>
              <a:gd name="T3" fmla="*/ 18 h 145"/>
              <a:gd name="T4" fmla="*/ 116 w 139"/>
              <a:gd name="T5" fmla="*/ 30 h 145"/>
              <a:gd name="T6" fmla="*/ 123 w 139"/>
              <a:gd name="T7" fmla="*/ 40 h 145"/>
              <a:gd name="T8" fmla="*/ 121 w 139"/>
              <a:gd name="T9" fmla="*/ 45 h 145"/>
              <a:gd name="T10" fmla="*/ 121 w 139"/>
              <a:gd name="T11" fmla="*/ 56 h 145"/>
              <a:gd name="T12" fmla="*/ 123 w 139"/>
              <a:gd name="T13" fmla="*/ 69 h 145"/>
              <a:gd name="T14" fmla="*/ 130 w 139"/>
              <a:gd name="T15" fmla="*/ 81 h 145"/>
              <a:gd name="T16" fmla="*/ 131 w 139"/>
              <a:gd name="T17" fmla="*/ 94 h 145"/>
              <a:gd name="T18" fmla="*/ 139 w 139"/>
              <a:gd name="T19" fmla="*/ 104 h 145"/>
              <a:gd name="T20" fmla="*/ 137 w 139"/>
              <a:gd name="T21" fmla="*/ 114 h 145"/>
              <a:gd name="T22" fmla="*/ 128 w 139"/>
              <a:gd name="T23" fmla="*/ 110 h 145"/>
              <a:gd name="T24" fmla="*/ 125 w 139"/>
              <a:gd name="T25" fmla="*/ 105 h 145"/>
              <a:gd name="T26" fmla="*/ 126 w 139"/>
              <a:gd name="T27" fmla="*/ 114 h 145"/>
              <a:gd name="T28" fmla="*/ 119 w 139"/>
              <a:gd name="T29" fmla="*/ 115 h 145"/>
              <a:gd name="T30" fmla="*/ 118 w 139"/>
              <a:gd name="T31" fmla="*/ 123 h 145"/>
              <a:gd name="T32" fmla="*/ 113 w 139"/>
              <a:gd name="T33" fmla="*/ 116 h 145"/>
              <a:gd name="T34" fmla="*/ 109 w 139"/>
              <a:gd name="T35" fmla="*/ 124 h 145"/>
              <a:gd name="T36" fmla="*/ 96 w 139"/>
              <a:gd name="T37" fmla="*/ 124 h 145"/>
              <a:gd name="T38" fmla="*/ 94 w 139"/>
              <a:gd name="T39" fmla="*/ 122 h 145"/>
              <a:gd name="T40" fmla="*/ 89 w 139"/>
              <a:gd name="T41" fmla="*/ 122 h 145"/>
              <a:gd name="T42" fmla="*/ 84 w 139"/>
              <a:gd name="T43" fmla="*/ 118 h 145"/>
              <a:gd name="T44" fmla="*/ 91 w 139"/>
              <a:gd name="T45" fmla="*/ 132 h 145"/>
              <a:gd name="T46" fmla="*/ 86 w 139"/>
              <a:gd name="T47" fmla="*/ 132 h 145"/>
              <a:gd name="T48" fmla="*/ 84 w 139"/>
              <a:gd name="T49" fmla="*/ 135 h 145"/>
              <a:gd name="T50" fmla="*/ 76 w 139"/>
              <a:gd name="T51" fmla="*/ 143 h 145"/>
              <a:gd name="T52" fmla="*/ 67 w 139"/>
              <a:gd name="T53" fmla="*/ 135 h 145"/>
              <a:gd name="T54" fmla="*/ 67 w 139"/>
              <a:gd name="T55" fmla="*/ 125 h 145"/>
              <a:gd name="T56" fmla="*/ 60 w 139"/>
              <a:gd name="T57" fmla="*/ 124 h 145"/>
              <a:gd name="T58" fmla="*/ 49 w 139"/>
              <a:gd name="T59" fmla="*/ 122 h 145"/>
              <a:gd name="T60" fmla="*/ 42 w 139"/>
              <a:gd name="T61" fmla="*/ 126 h 145"/>
              <a:gd name="T62" fmla="*/ 36 w 139"/>
              <a:gd name="T63" fmla="*/ 129 h 145"/>
              <a:gd name="T64" fmla="*/ 26 w 139"/>
              <a:gd name="T65" fmla="*/ 132 h 145"/>
              <a:gd name="T66" fmla="*/ 23 w 139"/>
              <a:gd name="T67" fmla="*/ 138 h 145"/>
              <a:gd name="T68" fmla="*/ 14 w 139"/>
              <a:gd name="T69" fmla="*/ 135 h 145"/>
              <a:gd name="T70" fmla="*/ 8 w 139"/>
              <a:gd name="T71" fmla="*/ 136 h 145"/>
              <a:gd name="T72" fmla="*/ 0 w 139"/>
              <a:gd name="T73" fmla="*/ 131 h 145"/>
              <a:gd name="T74" fmla="*/ 8 w 139"/>
              <a:gd name="T75" fmla="*/ 125 h 145"/>
              <a:gd name="T76" fmla="*/ 15 w 139"/>
              <a:gd name="T77" fmla="*/ 116 h 145"/>
              <a:gd name="T78" fmla="*/ 19 w 139"/>
              <a:gd name="T79" fmla="*/ 109 h 145"/>
              <a:gd name="T80" fmla="*/ 33 w 139"/>
              <a:gd name="T81" fmla="*/ 108 h 145"/>
              <a:gd name="T82" fmla="*/ 49 w 139"/>
              <a:gd name="T83" fmla="*/ 105 h 145"/>
              <a:gd name="T84" fmla="*/ 55 w 139"/>
              <a:gd name="T85" fmla="*/ 106 h 145"/>
              <a:gd name="T86" fmla="*/ 64 w 139"/>
              <a:gd name="T87" fmla="*/ 106 h 145"/>
              <a:gd name="T88" fmla="*/ 65 w 139"/>
              <a:gd name="T89" fmla="*/ 92 h 145"/>
              <a:gd name="T90" fmla="*/ 65 w 139"/>
              <a:gd name="T91" fmla="*/ 78 h 145"/>
              <a:gd name="T92" fmla="*/ 69 w 139"/>
              <a:gd name="T93" fmla="*/ 72 h 145"/>
              <a:gd name="T94" fmla="*/ 68 w 139"/>
              <a:gd name="T95" fmla="*/ 79 h 145"/>
              <a:gd name="T96" fmla="*/ 72 w 139"/>
              <a:gd name="T97" fmla="*/ 85 h 145"/>
              <a:gd name="T98" fmla="*/ 78 w 139"/>
              <a:gd name="T99" fmla="*/ 82 h 145"/>
              <a:gd name="T100" fmla="*/ 87 w 139"/>
              <a:gd name="T101" fmla="*/ 75 h 145"/>
              <a:gd name="T102" fmla="*/ 90 w 139"/>
              <a:gd name="T103" fmla="*/ 65 h 145"/>
              <a:gd name="T104" fmla="*/ 95 w 139"/>
              <a:gd name="T105" fmla="*/ 60 h 145"/>
              <a:gd name="T106" fmla="*/ 93 w 139"/>
              <a:gd name="T107" fmla="*/ 48 h 145"/>
              <a:gd name="T108" fmla="*/ 91 w 139"/>
              <a:gd name="T109" fmla="*/ 39 h 145"/>
              <a:gd name="T110" fmla="*/ 86 w 139"/>
              <a:gd name="T111" fmla="*/ 29 h 145"/>
              <a:gd name="T112" fmla="*/ 83 w 139"/>
              <a:gd name="T113" fmla="*/ 23 h 145"/>
              <a:gd name="T114" fmla="*/ 79 w 139"/>
              <a:gd name="T115" fmla="*/ 12 h 145"/>
              <a:gd name="T116" fmla="*/ 79 w 139"/>
              <a:gd name="T117" fmla="*/ 5 h 145"/>
              <a:gd name="T118" fmla="*/ 87 w 139"/>
              <a:gd name="T119" fmla="*/ 12 h 145"/>
              <a:gd name="T120" fmla="*/ 91 w 139"/>
              <a:gd name="T121" fmla="*/ 10 h 145"/>
              <a:gd name="T122" fmla="*/ 88 w 139"/>
              <a:gd name="T123" fmla="*/ 5 h 145"/>
              <a:gd name="T124" fmla="*/ 81 w 139"/>
              <a:gd name="T125" fmla="*/ 1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9" h="145">
                <a:moveTo>
                  <a:pt x="87" y="2"/>
                </a:moveTo>
                <a:lnTo>
                  <a:pt x="90" y="2"/>
                </a:lnTo>
                <a:lnTo>
                  <a:pt x="93" y="3"/>
                </a:lnTo>
                <a:lnTo>
                  <a:pt x="96" y="9"/>
                </a:lnTo>
                <a:lnTo>
                  <a:pt x="98" y="13"/>
                </a:lnTo>
                <a:lnTo>
                  <a:pt x="101" y="18"/>
                </a:lnTo>
                <a:lnTo>
                  <a:pt x="107" y="21"/>
                </a:lnTo>
                <a:lnTo>
                  <a:pt x="110" y="24"/>
                </a:lnTo>
                <a:lnTo>
                  <a:pt x="116" y="30"/>
                </a:lnTo>
                <a:lnTo>
                  <a:pt x="121" y="37"/>
                </a:lnTo>
                <a:lnTo>
                  <a:pt x="123" y="39"/>
                </a:lnTo>
                <a:lnTo>
                  <a:pt x="123" y="40"/>
                </a:lnTo>
                <a:lnTo>
                  <a:pt x="124" y="43"/>
                </a:lnTo>
                <a:lnTo>
                  <a:pt x="123" y="45"/>
                </a:lnTo>
                <a:lnTo>
                  <a:pt x="121" y="45"/>
                </a:lnTo>
                <a:lnTo>
                  <a:pt x="123" y="53"/>
                </a:lnTo>
                <a:lnTo>
                  <a:pt x="125" y="56"/>
                </a:lnTo>
                <a:lnTo>
                  <a:pt x="121" y="56"/>
                </a:lnTo>
                <a:lnTo>
                  <a:pt x="118" y="59"/>
                </a:lnTo>
                <a:lnTo>
                  <a:pt x="120" y="64"/>
                </a:lnTo>
                <a:lnTo>
                  <a:pt x="123" y="69"/>
                </a:lnTo>
                <a:lnTo>
                  <a:pt x="126" y="72"/>
                </a:lnTo>
                <a:lnTo>
                  <a:pt x="129" y="78"/>
                </a:lnTo>
                <a:lnTo>
                  <a:pt x="130" y="81"/>
                </a:lnTo>
                <a:lnTo>
                  <a:pt x="129" y="84"/>
                </a:lnTo>
                <a:lnTo>
                  <a:pt x="129" y="89"/>
                </a:lnTo>
                <a:lnTo>
                  <a:pt x="131" y="94"/>
                </a:lnTo>
                <a:lnTo>
                  <a:pt x="134" y="100"/>
                </a:lnTo>
                <a:lnTo>
                  <a:pt x="137" y="103"/>
                </a:lnTo>
                <a:lnTo>
                  <a:pt x="139" y="104"/>
                </a:lnTo>
                <a:lnTo>
                  <a:pt x="137" y="106"/>
                </a:lnTo>
                <a:lnTo>
                  <a:pt x="137" y="111"/>
                </a:lnTo>
                <a:lnTo>
                  <a:pt x="137" y="114"/>
                </a:lnTo>
                <a:lnTo>
                  <a:pt x="131" y="120"/>
                </a:lnTo>
                <a:lnTo>
                  <a:pt x="130" y="116"/>
                </a:lnTo>
                <a:lnTo>
                  <a:pt x="128" y="110"/>
                </a:lnTo>
                <a:lnTo>
                  <a:pt x="129" y="108"/>
                </a:lnTo>
                <a:lnTo>
                  <a:pt x="128" y="105"/>
                </a:lnTo>
                <a:lnTo>
                  <a:pt x="125" y="105"/>
                </a:lnTo>
                <a:lnTo>
                  <a:pt x="126" y="109"/>
                </a:lnTo>
                <a:lnTo>
                  <a:pt x="126" y="111"/>
                </a:lnTo>
                <a:lnTo>
                  <a:pt x="126" y="114"/>
                </a:lnTo>
                <a:lnTo>
                  <a:pt x="124" y="113"/>
                </a:lnTo>
                <a:lnTo>
                  <a:pt x="119" y="112"/>
                </a:lnTo>
                <a:lnTo>
                  <a:pt x="119" y="115"/>
                </a:lnTo>
                <a:lnTo>
                  <a:pt x="121" y="122"/>
                </a:lnTo>
                <a:lnTo>
                  <a:pt x="120" y="124"/>
                </a:lnTo>
                <a:lnTo>
                  <a:pt x="118" y="123"/>
                </a:lnTo>
                <a:lnTo>
                  <a:pt x="116" y="120"/>
                </a:lnTo>
                <a:lnTo>
                  <a:pt x="115" y="116"/>
                </a:lnTo>
                <a:lnTo>
                  <a:pt x="113" y="116"/>
                </a:lnTo>
                <a:lnTo>
                  <a:pt x="110" y="119"/>
                </a:lnTo>
                <a:lnTo>
                  <a:pt x="109" y="121"/>
                </a:lnTo>
                <a:lnTo>
                  <a:pt x="109" y="124"/>
                </a:lnTo>
                <a:lnTo>
                  <a:pt x="109" y="125"/>
                </a:lnTo>
                <a:lnTo>
                  <a:pt x="104" y="124"/>
                </a:lnTo>
                <a:lnTo>
                  <a:pt x="96" y="124"/>
                </a:lnTo>
                <a:lnTo>
                  <a:pt x="93" y="125"/>
                </a:lnTo>
                <a:lnTo>
                  <a:pt x="93" y="123"/>
                </a:lnTo>
                <a:lnTo>
                  <a:pt x="94" y="122"/>
                </a:lnTo>
                <a:lnTo>
                  <a:pt x="90" y="122"/>
                </a:lnTo>
                <a:lnTo>
                  <a:pt x="89" y="121"/>
                </a:lnTo>
                <a:lnTo>
                  <a:pt x="89" y="122"/>
                </a:lnTo>
                <a:lnTo>
                  <a:pt x="86" y="120"/>
                </a:lnTo>
                <a:lnTo>
                  <a:pt x="84" y="116"/>
                </a:lnTo>
                <a:lnTo>
                  <a:pt x="84" y="118"/>
                </a:lnTo>
                <a:lnTo>
                  <a:pt x="83" y="124"/>
                </a:lnTo>
                <a:lnTo>
                  <a:pt x="90" y="128"/>
                </a:lnTo>
                <a:lnTo>
                  <a:pt x="91" y="132"/>
                </a:lnTo>
                <a:lnTo>
                  <a:pt x="89" y="130"/>
                </a:lnTo>
                <a:lnTo>
                  <a:pt x="88" y="131"/>
                </a:lnTo>
                <a:lnTo>
                  <a:pt x="86" y="132"/>
                </a:lnTo>
                <a:lnTo>
                  <a:pt x="85" y="133"/>
                </a:lnTo>
                <a:lnTo>
                  <a:pt x="84" y="134"/>
                </a:lnTo>
                <a:lnTo>
                  <a:pt x="84" y="135"/>
                </a:lnTo>
                <a:lnTo>
                  <a:pt x="84" y="143"/>
                </a:lnTo>
                <a:lnTo>
                  <a:pt x="80" y="145"/>
                </a:lnTo>
                <a:lnTo>
                  <a:pt x="76" y="143"/>
                </a:lnTo>
                <a:lnTo>
                  <a:pt x="74" y="141"/>
                </a:lnTo>
                <a:lnTo>
                  <a:pt x="69" y="139"/>
                </a:lnTo>
                <a:lnTo>
                  <a:pt x="67" y="135"/>
                </a:lnTo>
                <a:lnTo>
                  <a:pt x="65" y="131"/>
                </a:lnTo>
                <a:lnTo>
                  <a:pt x="66" y="129"/>
                </a:lnTo>
                <a:lnTo>
                  <a:pt x="67" y="125"/>
                </a:lnTo>
                <a:lnTo>
                  <a:pt x="66" y="123"/>
                </a:lnTo>
                <a:lnTo>
                  <a:pt x="65" y="123"/>
                </a:lnTo>
                <a:lnTo>
                  <a:pt x="60" y="124"/>
                </a:lnTo>
                <a:lnTo>
                  <a:pt x="57" y="123"/>
                </a:lnTo>
                <a:lnTo>
                  <a:pt x="53" y="122"/>
                </a:lnTo>
                <a:lnTo>
                  <a:pt x="49" y="122"/>
                </a:lnTo>
                <a:lnTo>
                  <a:pt x="48" y="124"/>
                </a:lnTo>
                <a:lnTo>
                  <a:pt x="44" y="128"/>
                </a:lnTo>
                <a:lnTo>
                  <a:pt x="42" y="126"/>
                </a:lnTo>
                <a:lnTo>
                  <a:pt x="40" y="128"/>
                </a:lnTo>
                <a:lnTo>
                  <a:pt x="38" y="128"/>
                </a:lnTo>
                <a:lnTo>
                  <a:pt x="36" y="129"/>
                </a:lnTo>
                <a:lnTo>
                  <a:pt x="35" y="129"/>
                </a:lnTo>
                <a:lnTo>
                  <a:pt x="33" y="130"/>
                </a:lnTo>
                <a:lnTo>
                  <a:pt x="26" y="132"/>
                </a:lnTo>
                <a:lnTo>
                  <a:pt x="24" y="130"/>
                </a:lnTo>
                <a:lnTo>
                  <a:pt x="23" y="130"/>
                </a:lnTo>
                <a:lnTo>
                  <a:pt x="23" y="138"/>
                </a:lnTo>
                <a:lnTo>
                  <a:pt x="22" y="138"/>
                </a:lnTo>
                <a:lnTo>
                  <a:pt x="17" y="136"/>
                </a:lnTo>
                <a:lnTo>
                  <a:pt x="14" y="135"/>
                </a:lnTo>
                <a:lnTo>
                  <a:pt x="12" y="136"/>
                </a:lnTo>
                <a:lnTo>
                  <a:pt x="9" y="136"/>
                </a:lnTo>
                <a:lnTo>
                  <a:pt x="8" y="136"/>
                </a:lnTo>
                <a:lnTo>
                  <a:pt x="6" y="135"/>
                </a:lnTo>
                <a:lnTo>
                  <a:pt x="3" y="135"/>
                </a:lnTo>
                <a:lnTo>
                  <a:pt x="0" y="131"/>
                </a:lnTo>
                <a:lnTo>
                  <a:pt x="0" y="130"/>
                </a:lnTo>
                <a:lnTo>
                  <a:pt x="6" y="128"/>
                </a:lnTo>
                <a:lnTo>
                  <a:pt x="8" y="125"/>
                </a:lnTo>
                <a:lnTo>
                  <a:pt x="9" y="123"/>
                </a:lnTo>
                <a:lnTo>
                  <a:pt x="13" y="120"/>
                </a:lnTo>
                <a:lnTo>
                  <a:pt x="15" y="116"/>
                </a:lnTo>
                <a:lnTo>
                  <a:pt x="17" y="114"/>
                </a:lnTo>
                <a:lnTo>
                  <a:pt x="17" y="110"/>
                </a:lnTo>
                <a:lnTo>
                  <a:pt x="19" y="109"/>
                </a:lnTo>
                <a:lnTo>
                  <a:pt x="23" y="108"/>
                </a:lnTo>
                <a:lnTo>
                  <a:pt x="28" y="109"/>
                </a:lnTo>
                <a:lnTo>
                  <a:pt x="33" y="108"/>
                </a:lnTo>
                <a:lnTo>
                  <a:pt x="37" y="108"/>
                </a:lnTo>
                <a:lnTo>
                  <a:pt x="47" y="105"/>
                </a:lnTo>
                <a:lnTo>
                  <a:pt x="49" y="105"/>
                </a:lnTo>
                <a:lnTo>
                  <a:pt x="52" y="104"/>
                </a:lnTo>
                <a:lnTo>
                  <a:pt x="54" y="104"/>
                </a:lnTo>
                <a:lnTo>
                  <a:pt x="55" y="106"/>
                </a:lnTo>
                <a:lnTo>
                  <a:pt x="63" y="109"/>
                </a:lnTo>
                <a:lnTo>
                  <a:pt x="64" y="108"/>
                </a:lnTo>
                <a:lnTo>
                  <a:pt x="64" y="106"/>
                </a:lnTo>
                <a:lnTo>
                  <a:pt x="67" y="104"/>
                </a:lnTo>
                <a:lnTo>
                  <a:pt x="63" y="95"/>
                </a:lnTo>
                <a:lnTo>
                  <a:pt x="65" y="92"/>
                </a:lnTo>
                <a:lnTo>
                  <a:pt x="67" y="88"/>
                </a:lnTo>
                <a:lnTo>
                  <a:pt x="66" y="82"/>
                </a:lnTo>
                <a:lnTo>
                  <a:pt x="65" y="78"/>
                </a:lnTo>
                <a:lnTo>
                  <a:pt x="64" y="75"/>
                </a:lnTo>
                <a:lnTo>
                  <a:pt x="67" y="72"/>
                </a:lnTo>
                <a:lnTo>
                  <a:pt x="69" y="72"/>
                </a:lnTo>
                <a:lnTo>
                  <a:pt x="70" y="75"/>
                </a:lnTo>
                <a:lnTo>
                  <a:pt x="69" y="76"/>
                </a:lnTo>
                <a:lnTo>
                  <a:pt x="68" y="79"/>
                </a:lnTo>
                <a:lnTo>
                  <a:pt x="68" y="79"/>
                </a:lnTo>
                <a:lnTo>
                  <a:pt x="70" y="82"/>
                </a:lnTo>
                <a:lnTo>
                  <a:pt x="72" y="85"/>
                </a:lnTo>
                <a:lnTo>
                  <a:pt x="74" y="85"/>
                </a:lnTo>
                <a:lnTo>
                  <a:pt x="77" y="85"/>
                </a:lnTo>
                <a:lnTo>
                  <a:pt x="78" y="82"/>
                </a:lnTo>
                <a:lnTo>
                  <a:pt x="80" y="81"/>
                </a:lnTo>
                <a:lnTo>
                  <a:pt x="85" y="79"/>
                </a:lnTo>
                <a:lnTo>
                  <a:pt x="87" y="75"/>
                </a:lnTo>
                <a:lnTo>
                  <a:pt x="89" y="72"/>
                </a:lnTo>
                <a:lnTo>
                  <a:pt x="89" y="69"/>
                </a:lnTo>
                <a:lnTo>
                  <a:pt x="90" y="65"/>
                </a:lnTo>
                <a:lnTo>
                  <a:pt x="93" y="63"/>
                </a:lnTo>
                <a:lnTo>
                  <a:pt x="94" y="63"/>
                </a:lnTo>
                <a:lnTo>
                  <a:pt x="95" y="60"/>
                </a:lnTo>
                <a:lnTo>
                  <a:pt x="94" y="56"/>
                </a:lnTo>
                <a:lnTo>
                  <a:pt x="93" y="54"/>
                </a:lnTo>
                <a:lnTo>
                  <a:pt x="93" y="48"/>
                </a:lnTo>
                <a:lnTo>
                  <a:pt x="93" y="44"/>
                </a:lnTo>
                <a:lnTo>
                  <a:pt x="91" y="42"/>
                </a:lnTo>
                <a:lnTo>
                  <a:pt x="91" y="39"/>
                </a:lnTo>
                <a:lnTo>
                  <a:pt x="90" y="35"/>
                </a:lnTo>
                <a:lnTo>
                  <a:pt x="88" y="31"/>
                </a:lnTo>
                <a:lnTo>
                  <a:pt x="86" y="29"/>
                </a:lnTo>
                <a:lnTo>
                  <a:pt x="81" y="28"/>
                </a:lnTo>
                <a:lnTo>
                  <a:pt x="83" y="27"/>
                </a:lnTo>
                <a:lnTo>
                  <a:pt x="83" y="23"/>
                </a:lnTo>
                <a:lnTo>
                  <a:pt x="78" y="15"/>
                </a:lnTo>
                <a:lnTo>
                  <a:pt x="78" y="13"/>
                </a:lnTo>
                <a:lnTo>
                  <a:pt x="79" y="12"/>
                </a:lnTo>
                <a:lnTo>
                  <a:pt x="78" y="8"/>
                </a:lnTo>
                <a:lnTo>
                  <a:pt x="77" y="7"/>
                </a:lnTo>
                <a:lnTo>
                  <a:pt x="79" y="5"/>
                </a:lnTo>
                <a:lnTo>
                  <a:pt x="81" y="7"/>
                </a:lnTo>
                <a:lnTo>
                  <a:pt x="85" y="11"/>
                </a:lnTo>
                <a:lnTo>
                  <a:pt x="87" y="12"/>
                </a:lnTo>
                <a:lnTo>
                  <a:pt x="87" y="10"/>
                </a:lnTo>
                <a:lnTo>
                  <a:pt x="90" y="10"/>
                </a:lnTo>
                <a:lnTo>
                  <a:pt x="91" y="10"/>
                </a:lnTo>
                <a:lnTo>
                  <a:pt x="91" y="7"/>
                </a:lnTo>
                <a:lnTo>
                  <a:pt x="89" y="4"/>
                </a:lnTo>
                <a:lnTo>
                  <a:pt x="88" y="5"/>
                </a:lnTo>
                <a:lnTo>
                  <a:pt x="86" y="7"/>
                </a:lnTo>
                <a:lnTo>
                  <a:pt x="83" y="3"/>
                </a:lnTo>
                <a:lnTo>
                  <a:pt x="81" y="1"/>
                </a:lnTo>
                <a:lnTo>
                  <a:pt x="84" y="0"/>
                </a:lnTo>
                <a:lnTo>
                  <a:pt x="87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75" name="Freeform 975"/>
          <p:cNvSpPr>
            <a:spLocks/>
          </p:cNvSpPr>
          <p:nvPr/>
        </p:nvSpPr>
        <p:spPr bwMode="auto">
          <a:xfrm>
            <a:off x="7502525" y="2382803"/>
            <a:ext cx="220662" cy="230188"/>
          </a:xfrm>
          <a:custGeom>
            <a:avLst/>
            <a:gdLst>
              <a:gd name="T0" fmla="*/ 93 w 139"/>
              <a:gd name="T1" fmla="*/ 3 h 145"/>
              <a:gd name="T2" fmla="*/ 101 w 139"/>
              <a:gd name="T3" fmla="*/ 18 h 145"/>
              <a:gd name="T4" fmla="*/ 116 w 139"/>
              <a:gd name="T5" fmla="*/ 30 h 145"/>
              <a:gd name="T6" fmla="*/ 123 w 139"/>
              <a:gd name="T7" fmla="*/ 40 h 145"/>
              <a:gd name="T8" fmla="*/ 121 w 139"/>
              <a:gd name="T9" fmla="*/ 45 h 145"/>
              <a:gd name="T10" fmla="*/ 121 w 139"/>
              <a:gd name="T11" fmla="*/ 56 h 145"/>
              <a:gd name="T12" fmla="*/ 123 w 139"/>
              <a:gd name="T13" fmla="*/ 69 h 145"/>
              <a:gd name="T14" fmla="*/ 130 w 139"/>
              <a:gd name="T15" fmla="*/ 81 h 145"/>
              <a:gd name="T16" fmla="*/ 131 w 139"/>
              <a:gd name="T17" fmla="*/ 94 h 145"/>
              <a:gd name="T18" fmla="*/ 139 w 139"/>
              <a:gd name="T19" fmla="*/ 104 h 145"/>
              <a:gd name="T20" fmla="*/ 137 w 139"/>
              <a:gd name="T21" fmla="*/ 114 h 145"/>
              <a:gd name="T22" fmla="*/ 128 w 139"/>
              <a:gd name="T23" fmla="*/ 110 h 145"/>
              <a:gd name="T24" fmla="*/ 125 w 139"/>
              <a:gd name="T25" fmla="*/ 105 h 145"/>
              <a:gd name="T26" fmla="*/ 126 w 139"/>
              <a:gd name="T27" fmla="*/ 114 h 145"/>
              <a:gd name="T28" fmla="*/ 119 w 139"/>
              <a:gd name="T29" fmla="*/ 115 h 145"/>
              <a:gd name="T30" fmla="*/ 118 w 139"/>
              <a:gd name="T31" fmla="*/ 123 h 145"/>
              <a:gd name="T32" fmla="*/ 113 w 139"/>
              <a:gd name="T33" fmla="*/ 116 h 145"/>
              <a:gd name="T34" fmla="*/ 109 w 139"/>
              <a:gd name="T35" fmla="*/ 124 h 145"/>
              <a:gd name="T36" fmla="*/ 96 w 139"/>
              <a:gd name="T37" fmla="*/ 124 h 145"/>
              <a:gd name="T38" fmla="*/ 94 w 139"/>
              <a:gd name="T39" fmla="*/ 122 h 145"/>
              <a:gd name="T40" fmla="*/ 89 w 139"/>
              <a:gd name="T41" fmla="*/ 122 h 145"/>
              <a:gd name="T42" fmla="*/ 84 w 139"/>
              <a:gd name="T43" fmla="*/ 118 h 145"/>
              <a:gd name="T44" fmla="*/ 91 w 139"/>
              <a:gd name="T45" fmla="*/ 132 h 145"/>
              <a:gd name="T46" fmla="*/ 86 w 139"/>
              <a:gd name="T47" fmla="*/ 132 h 145"/>
              <a:gd name="T48" fmla="*/ 84 w 139"/>
              <a:gd name="T49" fmla="*/ 135 h 145"/>
              <a:gd name="T50" fmla="*/ 76 w 139"/>
              <a:gd name="T51" fmla="*/ 143 h 145"/>
              <a:gd name="T52" fmla="*/ 67 w 139"/>
              <a:gd name="T53" fmla="*/ 135 h 145"/>
              <a:gd name="T54" fmla="*/ 67 w 139"/>
              <a:gd name="T55" fmla="*/ 125 h 145"/>
              <a:gd name="T56" fmla="*/ 60 w 139"/>
              <a:gd name="T57" fmla="*/ 124 h 145"/>
              <a:gd name="T58" fmla="*/ 49 w 139"/>
              <a:gd name="T59" fmla="*/ 122 h 145"/>
              <a:gd name="T60" fmla="*/ 42 w 139"/>
              <a:gd name="T61" fmla="*/ 126 h 145"/>
              <a:gd name="T62" fmla="*/ 36 w 139"/>
              <a:gd name="T63" fmla="*/ 129 h 145"/>
              <a:gd name="T64" fmla="*/ 26 w 139"/>
              <a:gd name="T65" fmla="*/ 132 h 145"/>
              <a:gd name="T66" fmla="*/ 23 w 139"/>
              <a:gd name="T67" fmla="*/ 138 h 145"/>
              <a:gd name="T68" fmla="*/ 14 w 139"/>
              <a:gd name="T69" fmla="*/ 135 h 145"/>
              <a:gd name="T70" fmla="*/ 8 w 139"/>
              <a:gd name="T71" fmla="*/ 136 h 145"/>
              <a:gd name="T72" fmla="*/ 0 w 139"/>
              <a:gd name="T73" fmla="*/ 131 h 145"/>
              <a:gd name="T74" fmla="*/ 8 w 139"/>
              <a:gd name="T75" fmla="*/ 125 h 145"/>
              <a:gd name="T76" fmla="*/ 15 w 139"/>
              <a:gd name="T77" fmla="*/ 116 h 145"/>
              <a:gd name="T78" fmla="*/ 19 w 139"/>
              <a:gd name="T79" fmla="*/ 109 h 145"/>
              <a:gd name="T80" fmla="*/ 33 w 139"/>
              <a:gd name="T81" fmla="*/ 108 h 145"/>
              <a:gd name="T82" fmla="*/ 49 w 139"/>
              <a:gd name="T83" fmla="*/ 105 h 145"/>
              <a:gd name="T84" fmla="*/ 55 w 139"/>
              <a:gd name="T85" fmla="*/ 106 h 145"/>
              <a:gd name="T86" fmla="*/ 64 w 139"/>
              <a:gd name="T87" fmla="*/ 106 h 145"/>
              <a:gd name="T88" fmla="*/ 65 w 139"/>
              <a:gd name="T89" fmla="*/ 92 h 145"/>
              <a:gd name="T90" fmla="*/ 65 w 139"/>
              <a:gd name="T91" fmla="*/ 78 h 145"/>
              <a:gd name="T92" fmla="*/ 69 w 139"/>
              <a:gd name="T93" fmla="*/ 72 h 145"/>
              <a:gd name="T94" fmla="*/ 68 w 139"/>
              <a:gd name="T95" fmla="*/ 79 h 145"/>
              <a:gd name="T96" fmla="*/ 72 w 139"/>
              <a:gd name="T97" fmla="*/ 85 h 145"/>
              <a:gd name="T98" fmla="*/ 78 w 139"/>
              <a:gd name="T99" fmla="*/ 82 h 145"/>
              <a:gd name="T100" fmla="*/ 87 w 139"/>
              <a:gd name="T101" fmla="*/ 75 h 145"/>
              <a:gd name="T102" fmla="*/ 90 w 139"/>
              <a:gd name="T103" fmla="*/ 65 h 145"/>
              <a:gd name="T104" fmla="*/ 95 w 139"/>
              <a:gd name="T105" fmla="*/ 60 h 145"/>
              <a:gd name="T106" fmla="*/ 93 w 139"/>
              <a:gd name="T107" fmla="*/ 48 h 145"/>
              <a:gd name="T108" fmla="*/ 91 w 139"/>
              <a:gd name="T109" fmla="*/ 39 h 145"/>
              <a:gd name="T110" fmla="*/ 86 w 139"/>
              <a:gd name="T111" fmla="*/ 29 h 145"/>
              <a:gd name="T112" fmla="*/ 83 w 139"/>
              <a:gd name="T113" fmla="*/ 23 h 145"/>
              <a:gd name="T114" fmla="*/ 79 w 139"/>
              <a:gd name="T115" fmla="*/ 12 h 145"/>
              <a:gd name="T116" fmla="*/ 79 w 139"/>
              <a:gd name="T117" fmla="*/ 5 h 145"/>
              <a:gd name="T118" fmla="*/ 87 w 139"/>
              <a:gd name="T119" fmla="*/ 12 h 145"/>
              <a:gd name="T120" fmla="*/ 91 w 139"/>
              <a:gd name="T121" fmla="*/ 10 h 145"/>
              <a:gd name="T122" fmla="*/ 88 w 139"/>
              <a:gd name="T123" fmla="*/ 5 h 145"/>
              <a:gd name="T124" fmla="*/ 81 w 139"/>
              <a:gd name="T125" fmla="*/ 1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9" h="145">
                <a:moveTo>
                  <a:pt x="87" y="2"/>
                </a:moveTo>
                <a:lnTo>
                  <a:pt x="90" y="2"/>
                </a:lnTo>
                <a:lnTo>
                  <a:pt x="93" y="3"/>
                </a:lnTo>
                <a:lnTo>
                  <a:pt x="96" y="9"/>
                </a:lnTo>
                <a:lnTo>
                  <a:pt x="98" y="13"/>
                </a:lnTo>
                <a:lnTo>
                  <a:pt x="101" y="18"/>
                </a:lnTo>
                <a:lnTo>
                  <a:pt x="107" y="21"/>
                </a:lnTo>
                <a:lnTo>
                  <a:pt x="110" y="24"/>
                </a:lnTo>
                <a:lnTo>
                  <a:pt x="116" y="30"/>
                </a:lnTo>
                <a:lnTo>
                  <a:pt x="121" y="37"/>
                </a:lnTo>
                <a:lnTo>
                  <a:pt x="123" y="39"/>
                </a:lnTo>
                <a:lnTo>
                  <a:pt x="123" y="40"/>
                </a:lnTo>
                <a:lnTo>
                  <a:pt x="124" y="43"/>
                </a:lnTo>
                <a:lnTo>
                  <a:pt x="123" y="45"/>
                </a:lnTo>
                <a:lnTo>
                  <a:pt x="121" y="45"/>
                </a:lnTo>
                <a:lnTo>
                  <a:pt x="123" y="53"/>
                </a:lnTo>
                <a:lnTo>
                  <a:pt x="125" y="56"/>
                </a:lnTo>
                <a:lnTo>
                  <a:pt x="121" y="56"/>
                </a:lnTo>
                <a:lnTo>
                  <a:pt x="118" y="59"/>
                </a:lnTo>
                <a:lnTo>
                  <a:pt x="120" y="64"/>
                </a:lnTo>
                <a:lnTo>
                  <a:pt x="123" y="69"/>
                </a:lnTo>
                <a:lnTo>
                  <a:pt x="126" y="72"/>
                </a:lnTo>
                <a:lnTo>
                  <a:pt x="129" y="78"/>
                </a:lnTo>
                <a:lnTo>
                  <a:pt x="130" y="81"/>
                </a:lnTo>
                <a:lnTo>
                  <a:pt x="129" y="84"/>
                </a:lnTo>
                <a:lnTo>
                  <a:pt x="129" y="89"/>
                </a:lnTo>
                <a:lnTo>
                  <a:pt x="131" y="94"/>
                </a:lnTo>
                <a:lnTo>
                  <a:pt x="134" y="100"/>
                </a:lnTo>
                <a:lnTo>
                  <a:pt x="137" y="103"/>
                </a:lnTo>
                <a:lnTo>
                  <a:pt x="139" y="104"/>
                </a:lnTo>
                <a:lnTo>
                  <a:pt x="137" y="106"/>
                </a:lnTo>
                <a:lnTo>
                  <a:pt x="137" y="111"/>
                </a:lnTo>
                <a:lnTo>
                  <a:pt x="137" y="114"/>
                </a:lnTo>
                <a:lnTo>
                  <a:pt x="131" y="120"/>
                </a:lnTo>
                <a:lnTo>
                  <a:pt x="130" y="116"/>
                </a:lnTo>
                <a:lnTo>
                  <a:pt x="128" y="110"/>
                </a:lnTo>
                <a:lnTo>
                  <a:pt x="129" y="108"/>
                </a:lnTo>
                <a:lnTo>
                  <a:pt x="128" y="105"/>
                </a:lnTo>
                <a:lnTo>
                  <a:pt x="125" y="105"/>
                </a:lnTo>
                <a:lnTo>
                  <a:pt x="126" y="109"/>
                </a:lnTo>
                <a:lnTo>
                  <a:pt x="126" y="111"/>
                </a:lnTo>
                <a:lnTo>
                  <a:pt x="126" y="114"/>
                </a:lnTo>
                <a:lnTo>
                  <a:pt x="124" y="113"/>
                </a:lnTo>
                <a:lnTo>
                  <a:pt x="119" y="112"/>
                </a:lnTo>
                <a:lnTo>
                  <a:pt x="119" y="115"/>
                </a:lnTo>
                <a:lnTo>
                  <a:pt x="121" y="122"/>
                </a:lnTo>
                <a:lnTo>
                  <a:pt x="120" y="124"/>
                </a:lnTo>
                <a:lnTo>
                  <a:pt x="118" y="123"/>
                </a:lnTo>
                <a:lnTo>
                  <a:pt x="116" y="120"/>
                </a:lnTo>
                <a:lnTo>
                  <a:pt x="115" y="116"/>
                </a:lnTo>
                <a:lnTo>
                  <a:pt x="113" y="116"/>
                </a:lnTo>
                <a:lnTo>
                  <a:pt x="110" y="119"/>
                </a:lnTo>
                <a:lnTo>
                  <a:pt x="109" y="121"/>
                </a:lnTo>
                <a:lnTo>
                  <a:pt x="109" y="124"/>
                </a:lnTo>
                <a:lnTo>
                  <a:pt x="109" y="125"/>
                </a:lnTo>
                <a:lnTo>
                  <a:pt x="104" y="124"/>
                </a:lnTo>
                <a:lnTo>
                  <a:pt x="96" y="124"/>
                </a:lnTo>
                <a:lnTo>
                  <a:pt x="93" y="125"/>
                </a:lnTo>
                <a:lnTo>
                  <a:pt x="93" y="123"/>
                </a:lnTo>
                <a:lnTo>
                  <a:pt x="94" y="122"/>
                </a:lnTo>
                <a:lnTo>
                  <a:pt x="90" y="122"/>
                </a:lnTo>
                <a:lnTo>
                  <a:pt x="89" y="121"/>
                </a:lnTo>
                <a:lnTo>
                  <a:pt x="89" y="122"/>
                </a:lnTo>
                <a:lnTo>
                  <a:pt x="86" y="120"/>
                </a:lnTo>
                <a:lnTo>
                  <a:pt x="84" y="116"/>
                </a:lnTo>
                <a:lnTo>
                  <a:pt x="84" y="118"/>
                </a:lnTo>
                <a:lnTo>
                  <a:pt x="83" y="124"/>
                </a:lnTo>
                <a:lnTo>
                  <a:pt x="90" y="128"/>
                </a:lnTo>
                <a:lnTo>
                  <a:pt x="91" y="132"/>
                </a:lnTo>
                <a:lnTo>
                  <a:pt x="89" y="130"/>
                </a:lnTo>
                <a:lnTo>
                  <a:pt x="88" y="131"/>
                </a:lnTo>
                <a:lnTo>
                  <a:pt x="86" y="132"/>
                </a:lnTo>
                <a:lnTo>
                  <a:pt x="85" y="133"/>
                </a:lnTo>
                <a:lnTo>
                  <a:pt x="84" y="134"/>
                </a:lnTo>
                <a:lnTo>
                  <a:pt x="84" y="135"/>
                </a:lnTo>
                <a:lnTo>
                  <a:pt x="84" y="143"/>
                </a:lnTo>
                <a:lnTo>
                  <a:pt x="80" y="145"/>
                </a:lnTo>
                <a:lnTo>
                  <a:pt x="76" y="143"/>
                </a:lnTo>
                <a:lnTo>
                  <a:pt x="74" y="141"/>
                </a:lnTo>
                <a:lnTo>
                  <a:pt x="69" y="139"/>
                </a:lnTo>
                <a:lnTo>
                  <a:pt x="67" y="135"/>
                </a:lnTo>
                <a:lnTo>
                  <a:pt x="65" y="131"/>
                </a:lnTo>
                <a:lnTo>
                  <a:pt x="66" y="129"/>
                </a:lnTo>
                <a:lnTo>
                  <a:pt x="67" y="125"/>
                </a:lnTo>
                <a:lnTo>
                  <a:pt x="66" y="123"/>
                </a:lnTo>
                <a:lnTo>
                  <a:pt x="65" y="123"/>
                </a:lnTo>
                <a:lnTo>
                  <a:pt x="60" y="124"/>
                </a:lnTo>
                <a:lnTo>
                  <a:pt x="57" y="123"/>
                </a:lnTo>
                <a:lnTo>
                  <a:pt x="53" y="122"/>
                </a:lnTo>
                <a:lnTo>
                  <a:pt x="49" y="122"/>
                </a:lnTo>
                <a:lnTo>
                  <a:pt x="48" y="124"/>
                </a:lnTo>
                <a:lnTo>
                  <a:pt x="44" y="128"/>
                </a:lnTo>
                <a:lnTo>
                  <a:pt x="42" y="126"/>
                </a:lnTo>
                <a:lnTo>
                  <a:pt x="40" y="128"/>
                </a:lnTo>
                <a:lnTo>
                  <a:pt x="38" y="128"/>
                </a:lnTo>
                <a:lnTo>
                  <a:pt x="36" y="129"/>
                </a:lnTo>
                <a:lnTo>
                  <a:pt x="35" y="129"/>
                </a:lnTo>
                <a:lnTo>
                  <a:pt x="33" y="130"/>
                </a:lnTo>
                <a:lnTo>
                  <a:pt x="26" y="132"/>
                </a:lnTo>
                <a:lnTo>
                  <a:pt x="24" y="130"/>
                </a:lnTo>
                <a:lnTo>
                  <a:pt x="23" y="130"/>
                </a:lnTo>
                <a:lnTo>
                  <a:pt x="23" y="138"/>
                </a:lnTo>
                <a:lnTo>
                  <a:pt x="22" y="138"/>
                </a:lnTo>
                <a:lnTo>
                  <a:pt x="17" y="136"/>
                </a:lnTo>
                <a:lnTo>
                  <a:pt x="14" y="135"/>
                </a:lnTo>
                <a:lnTo>
                  <a:pt x="12" y="136"/>
                </a:lnTo>
                <a:lnTo>
                  <a:pt x="9" y="136"/>
                </a:lnTo>
                <a:lnTo>
                  <a:pt x="8" y="136"/>
                </a:lnTo>
                <a:lnTo>
                  <a:pt x="6" y="135"/>
                </a:lnTo>
                <a:lnTo>
                  <a:pt x="3" y="135"/>
                </a:lnTo>
                <a:lnTo>
                  <a:pt x="0" y="131"/>
                </a:lnTo>
                <a:lnTo>
                  <a:pt x="0" y="130"/>
                </a:lnTo>
                <a:lnTo>
                  <a:pt x="6" y="128"/>
                </a:lnTo>
                <a:lnTo>
                  <a:pt x="8" y="125"/>
                </a:lnTo>
                <a:lnTo>
                  <a:pt x="9" y="123"/>
                </a:lnTo>
                <a:lnTo>
                  <a:pt x="13" y="120"/>
                </a:lnTo>
                <a:lnTo>
                  <a:pt x="15" y="116"/>
                </a:lnTo>
                <a:lnTo>
                  <a:pt x="17" y="114"/>
                </a:lnTo>
                <a:lnTo>
                  <a:pt x="17" y="110"/>
                </a:lnTo>
                <a:lnTo>
                  <a:pt x="19" y="109"/>
                </a:lnTo>
                <a:lnTo>
                  <a:pt x="23" y="108"/>
                </a:lnTo>
                <a:lnTo>
                  <a:pt x="28" y="109"/>
                </a:lnTo>
                <a:lnTo>
                  <a:pt x="33" y="108"/>
                </a:lnTo>
                <a:lnTo>
                  <a:pt x="37" y="108"/>
                </a:lnTo>
                <a:lnTo>
                  <a:pt x="47" y="105"/>
                </a:lnTo>
                <a:lnTo>
                  <a:pt x="49" y="105"/>
                </a:lnTo>
                <a:lnTo>
                  <a:pt x="52" y="104"/>
                </a:lnTo>
                <a:lnTo>
                  <a:pt x="54" y="104"/>
                </a:lnTo>
                <a:lnTo>
                  <a:pt x="55" y="106"/>
                </a:lnTo>
                <a:lnTo>
                  <a:pt x="63" y="109"/>
                </a:lnTo>
                <a:lnTo>
                  <a:pt x="64" y="108"/>
                </a:lnTo>
                <a:lnTo>
                  <a:pt x="64" y="106"/>
                </a:lnTo>
                <a:lnTo>
                  <a:pt x="67" y="104"/>
                </a:lnTo>
                <a:lnTo>
                  <a:pt x="63" y="95"/>
                </a:lnTo>
                <a:lnTo>
                  <a:pt x="65" y="92"/>
                </a:lnTo>
                <a:lnTo>
                  <a:pt x="67" y="88"/>
                </a:lnTo>
                <a:lnTo>
                  <a:pt x="66" y="82"/>
                </a:lnTo>
                <a:lnTo>
                  <a:pt x="65" y="78"/>
                </a:lnTo>
                <a:lnTo>
                  <a:pt x="64" y="75"/>
                </a:lnTo>
                <a:lnTo>
                  <a:pt x="67" y="72"/>
                </a:lnTo>
                <a:lnTo>
                  <a:pt x="69" y="72"/>
                </a:lnTo>
                <a:lnTo>
                  <a:pt x="70" y="75"/>
                </a:lnTo>
                <a:lnTo>
                  <a:pt x="69" y="76"/>
                </a:lnTo>
                <a:lnTo>
                  <a:pt x="68" y="79"/>
                </a:lnTo>
                <a:lnTo>
                  <a:pt x="68" y="79"/>
                </a:lnTo>
                <a:lnTo>
                  <a:pt x="70" y="82"/>
                </a:lnTo>
                <a:lnTo>
                  <a:pt x="72" y="85"/>
                </a:lnTo>
                <a:lnTo>
                  <a:pt x="74" y="85"/>
                </a:lnTo>
                <a:lnTo>
                  <a:pt x="77" y="85"/>
                </a:lnTo>
                <a:lnTo>
                  <a:pt x="78" y="82"/>
                </a:lnTo>
                <a:lnTo>
                  <a:pt x="80" y="81"/>
                </a:lnTo>
                <a:lnTo>
                  <a:pt x="85" y="79"/>
                </a:lnTo>
                <a:lnTo>
                  <a:pt x="87" y="75"/>
                </a:lnTo>
                <a:lnTo>
                  <a:pt x="89" y="72"/>
                </a:lnTo>
                <a:lnTo>
                  <a:pt x="89" y="69"/>
                </a:lnTo>
                <a:lnTo>
                  <a:pt x="90" y="65"/>
                </a:lnTo>
                <a:lnTo>
                  <a:pt x="93" y="63"/>
                </a:lnTo>
                <a:lnTo>
                  <a:pt x="94" y="63"/>
                </a:lnTo>
                <a:lnTo>
                  <a:pt x="95" y="60"/>
                </a:lnTo>
                <a:lnTo>
                  <a:pt x="94" y="56"/>
                </a:lnTo>
                <a:lnTo>
                  <a:pt x="93" y="54"/>
                </a:lnTo>
                <a:lnTo>
                  <a:pt x="93" y="48"/>
                </a:lnTo>
                <a:lnTo>
                  <a:pt x="93" y="44"/>
                </a:lnTo>
                <a:lnTo>
                  <a:pt x="91" y="42"/>
                </a:lnTo>
                <a:lnTo>
                  <a:pt x="91" y="39"/>
                </a:lnTo>
                <a:lnTo>
                  <a:pt x="90" y="35"/>
                </a:lnTo>
                <a:lnTo>
                  <a:pt x="88" y="31"/>
                </a:lnTo>
                <a:lnTo>
                  <a:pt x="86" y="29"/>
                </a:lnTo>
                <a:lnTo>
                  <a:pt x="81" y="28"/>
                </a:lnTo>
                <a:lnTo>
                  <a:pt x="83" y="27"/>
                </a:lnTo>
                <a:lnTo>
                  <a:pt x="83" y="23"/>
                </a:lnTo>
                <a:lnTo>
                  <a:pt x="78" y="15"/>
                </a:lnTo>
                <a:lnTo>
                  <a:pt x="78" y="13"/>
                </a:lnTo>
                <a:lnTo>
                  <a:pt x="79" y="12"/>
                </a:lnTo>
                <a:lnTo>
                  <a:pt x="78" y="8"/>
                </a:lnTo>
                <a:lnTo>
                  <a:pt x="77" y="7"/>
                </a:lnTo>
                <a:lnTo>
                  <a:pt x="79" y="5"/>
                </a:lnTo>
                <a:lnTo>
                  <a:pt x="81" y="7"/>
                </a:lnTo>
                <a:lnTo>
                  <a:pt x="85" y="11"/>
                </a:lnTo>
                <a:lnTo>
                  <a:pt x="87" y="12"/>
                </a:lnTo>
                <a:lnTo>
                  <a:pt x="87" y="10"/>
                </a:lnTo>
                <a:lnTo>
                  <a:pt x="90" y="10"/>
                </a:lnTo>
                <a:lnTo>
                  <a:pt x="91" y="10"/>
                </a:lnTo>
                <a:lnTo>
                  <a:pt x="91" y="7"/>
                </a:lnTo>
                <a:lnTo>
                  <a:pt x="89" y="4"/>
                </a:lnTo>
                <a:lnTo>
                  <a:pt x="88" y="5"/>
                </a:lnTo>
                <a:lnTo>
                  <a:pt x="86" y="7"/>
                </a:lnTo>
                <a:lnTo>
                  <a:pt x="83" y="3"/>
                </a:lnTo>
                <a:lnTo>
                  <a:pt x="81" y="1"/>
                </a:lnTo>
                <a:lnTo>
                  <a:pt x="84" y="0"/>
                </a:lnTo>
                <a:lnTo>
                  <a:pt x="87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76" name="Freeform 976"/>
          <p:cNvSpPr>
            <a:spLocks/>
          </p:cNvSpPr>
          <p:nvPr/>
        </p:nvSpPr>
        <p:spPr bwMode="auto">
          <a:xfrm>
            <a:off x="7626350" y="2474878"/>
            <a:ext cx="7937" cy="12700"/>
          </a:xfrm>
          <a:custGeom>
            <a:avLst/>
            <a:gdLst>
              <a:gd name="T0" fmla="*/ 2 w 5"/>
              <a:gd name="T1" fmla="*/ 0 h 8"/>
              <a:gd name="T2" fmla="*/ 3 w 5"/>
              <a:gd name="T3" fmla="*/ 3 h 8"/>
              <a:gd name="T4" fmla="*/ 5 w 5"/>
              <a:gd name="T5" fmla="*/ 4 h 8"/>
              <a:gd name="T6" fmla="*/ 5 w 5"/>
              <a:gd name="T7" fmla="*/ 8 h 8"/>
              <a:gd name="T8" fmla="*/ 2 w 5"/>
              <a:gd name="T9" fmla="*/ 8 h 8"/>
              <a:gd name="T10" fmla="*/ 1 w 5"/>
              <a:gd name="T11" fmla="*/ 5 h 8"/>
              <a:gd name="T12" fmla="*/ 0 w 5"/>
              <a:gd name="T13" fmla="*/ 1 h 8"/>
              <a:gd name="T14" fmla="*/ 2 w 5"/>
              <a:gd name="T15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8">
                <a:moveTo>
                  <a:pt x="2" y="0"/>
                </a:moveTo>
                <a:lnTo>
                  <a:pt x="3" y="3"/>
                </a:lnTo>
                <a:lnTo>
                  <a:pt x="5" y="4"/>
                </a:lnTo>
                <a:lnTo>
                  <a:pt x="5" y="8"/>
                </a:lnTo>
                <a:lnTo>
                  <a:pt x="2" y="8"/>
                </a:lnTo>
                <a:lnTo>
                  <a:pt x="1" y="5"/>
                </a:lnTo>
                <a:lnTo>
                  <a:pt x="0" y="1"/>
                </a:lnTo>
                <a:lnTo>
                  <a:pt x="2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77" name="Freeform 977"/>
          <p:cNvSpPr>
            <a:spLocks/>
          </p:cNvSpPr>
          <p:nvPr/>
        </p:nvSpPr>
        <p:spPr bwMode="auto">
          <a:xfrm>
            <a:off x="7626350" y="2474878"/>
            <a:ext cx="7937" cy="12700"/>
          </a:xfrm>
          <a:custGeom>
            <a:avLst/>
            <a:gdLst>
              <a:gd name="T0" fmla="*/ 2 w 5"/>
              <a:gd name="T1" fmla="*/ 0 h 8"/>
              <a:gd name="T2" fmla="*/ 3 w 5"/>
              <a:gd name="T3" fmla="*/ 3 h 8"/>
              <a:gd name="T4" fmla="*/ 5 w 5"/>
              <a:gd name="T5" fmla="*/ 4 h 8"/>
              <a:gd name="T6" fmla="*/ 5 w 5"/>
              <a:gd name="T7" fmla="*/ 8 h 8"/>
              <a:gd name="T8" fmla="*/ 2 w 5"/>
              <a:gd name="T9" fmla="*/ 8 h 8"/>
              <a:gd name="T10" fmla="*/ 1 w 5"/>
              <a:gd name="T11" fmla="*/ 5 h 8"/>
              <a:gd name="T12" fmla="*/ 0 w 5"/>
              <a:gd name="T13" fmla="*/ 1 h 8"/>
              <a:gd name="T14" fmla="*/ 2 w 5"/>
              <a:gd name="T15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8">
                <a:moveTo>
                  <a:pt x="2" y="0"/>
                </a:moveTo>
                <a:lnTo>
                  <a:pt x="3" y="3"/>
                </a:lnTo>
                <a:lnTo>
                  <a:pt x="5" y="4"/>
                </a:lnTo>
                <a:lnTo>
                  <a:pt x="5" y="8"/>
                </a:lnTo>
                <a:lnTo>
                  <a:pt x="2" y="8"/>
                </a:lnTo>
                <a:lnTo>
                  <a:pt x="1" y="5"/>
                </a:lnTo>
                <a:lnTo>
                  <a:pt x="0" y="1"/>
                </a:lnTo>
                <a:lnTo>
                  <a:pt x="2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78" name="Freeform 978"/>
          <p:cNvSpPr>
            <a:spLocks/>
          </p:cNvSpPr>
          <p:nvPr/>
        </p:nvSpPr>
        <p:spPr bwMode="auto">
          <a:xfrm>
            <a:off x="7543800" y="2587590"/>
            <a:ext cx="57150" cy="47625"/>
          </a:xfrm>
          <a:custGeom>
            <a:avLst/>
            <a:gdLst>
              <a:gd name="T0" fmla="*/ 32 w 36"/>
              <a:gd name="T1" fmla="*/ 20 h 30"/>
              <a:gd name="T2" fmla="*/ 28 w 36"/>
              <a:gd name="T3" fmla="*/ 17 h 30"/>
              <a:gd name="T4" fmla="*/ 23 w 36"/>
              <a:gd name="T5" fmla="*/ 16 h 30"/>
              <a:gd name="T6" fmla="*/ 20 w 36"/>
              <a:gd name="T7" fmla="*/ 17 h 30"/>
              <a:gd name="T8" fmla="*/ 19 w 36"/>
              <a:gd name="T9" fmla="*/ 18 h 30"/>
              <a:gd name="T10" fmla="*/ 19 w 36"/>
              <a:gd name="T11" fmla="*/ 22 h 30"/>
              <a:gd name="T12" fmla="*/ 18 w 36"/>
              <a:gd name="T13" fmla="*/ 26 h 30"/>
              <a:gd name="T14" fmla="*/ 19 w 36"/>
              <a:gd name="T15" fmla="*/ 30 h 30"/>
              <a:gd name="T16" fmla="*/ 16 w 36"/>
              <a:gd name="T17" fmla="*/ 30 h 30"/>
              <a:gd name="T18" fmla="*/ 12 w 36"/>
              <a:gd name="T19" fmla="*/ 27 h 30"/>
              <a:gd name="T20" fmla="*/ 11 w 36"/>
              <a:gd name="T21" fmla="*/ 26 h 30"/>
              <a:gd name="T22" fmla="*/ 8 w 36"/>
              <a:gd name="T23" fmla="*/ 23 h 30"/>
              <a:gd name="T24" fmla="*/ 7 w 36"/>
              <a:gd name="T25" fmla="*/ 22 h 30"/>
              <a:gd name="T26" fmla="*/ 6 w 36"/>
              <a:gd name="T27" fmla="*/ 20 h 30"/>
              <a:gd name="T28" fmla="*/ 3 w 36"/>
              <a:gd name="T29" fmla="*/ 17 h 30"/>
              <a:gd name="T30" fmla="*/ 0 w 36"/>
              <a:gd name="T31" fmla="*/ 17 h 30"/>
              <a:gd name="T32" fmla="*/ 3 w 36"/>
              <a:gd name="T33" fmla="*/ 14 h 30"/>
              <a:gd name="T34" fmla="*/ 6 w 36"/>
              <a:gd name="T35" fmla="*/ 6 h 30"/>
              <a:gd name="T36" fmla="*/ 9 w 36"/>
              <a:gd name="T37" fmla="*/ 7 h 30"/>
              <a:gd name="T38" fmla="*/ 11 w 36"/>
              <a:gd name="T39" fmla="*/ 9 h 30"/>
              <a:gd name="T40" fmla="*/ 14 w 36"/>
              <a:gd name="T41" fmla="*/ 7 h 30"/>
              <a:gd name="T42" fmla="*/ 17 w 36"/>
              <a:gd name="T43" fmla="*/ 6 h 30"/>
              <a:gd name="T44" fmla="*/ 17 w 36"/>
              <a:gd name="T45" fmla="*/ 4 h 30"/>
              <a:gd name="T46" fmla="*/ 19 w 36"/>
              <a:gd name="T47" fmla="*/ 1 h 30"/>
              <a:gd name="T48" fmla="*/ 21 w 36"/>
              <a:gd name="T49" fmla="*/ 0 h 30"/>
              <a:gd name="T50" fmla="*/ 24 w 36"/>
              <a:gd name="T51" fmla="*/ 1 h 30"/>
              <a:gd name="T52" fmla="*/ 28 w 36"/>
              <a:gd name="T53" fmla="*/ 3 h 30"/>
              <a:gd name="T54" fmla="*/ 30 w 36"/>
              <a:gd name="T55" fmla="*/ 3 h 30"/>
              <a:gd name="T56" fmla="*/ 34 w 36"/>
              <a:gd name="T57" fmla="*/ 10 h 30"/>
              <a:gd name="T58" fmla="*/ 36 w 36"/>
              <a:gd name="T59" fmla="*/ 10 h 30"/>
              <a:gd name="T60" fmla="*/ 34 w 36"/>
              <a:gd name="T61" fmla="*/ 12 h 30"/>
              <a:gd name="T62" fmla="*/ 33 w 36"/>
              <a:gd name="T63" fmla="*/ 13 h 30"/>
              <a:gd name="T64" fmla="*/ 33 w 36"/>
              <a:gd name="T65" fmla="*/ 15 h 30"/>
              <a:gd name="T66" fmla="*/ 33 w 36"/>
              <a:gd name="T67" fmla="*/ 17 h 30"/>
              <a:gd name="T68" fmla="*/ 32 w 36"/>
              <a:gd name="T69" fmla="*/ 2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6" h="30">
                <a:moveTo>
                  <a:pt x="32" y="20"/>
                </a:moveTo>
                <a:lnTo>
                  <a:pt x="28" y="17"/>
                </a:lnTo>
                <a:lnTo>
                  <a:pt x="23" y="16"/>
                </a:lnTo>
                <a:lnTo>
                  <a:pt x="20" y="17"/>
                </a:lnTo>
                <a:lnTo>
                  <a:pt x="19" y="18"/>
                </a:lnTo>
                <a:lnTo>
                  <a:pt x="19" y="22"/>
                </a:lnTo>
                <a:lnTo>
                  <a:pt x="18" y="26"/>
                </a:lnTo>
                <a:lnTo>
                  <a:pt x="19" y="30"/>
                </a:lnTo>
                <a:lnTo>
                  <a:pt x="16" y="30"/>
                </a:lnTo>
                <a:lnTo>
                  <a:pt x="12" y="27"/>
                </a:lnTo>
                <a:lnTo>
                  <a:pt x="11" y="26"/>
                </a:lnTo>
                <a:lnTo>
                  <a:pt x="8" y="23"/>
                </a:lnTo>
                <a:lnTo>
                  <a:pt x="7" y="22"/>
                </a:lnTo>
                <a:lnTo>
                  <a:pt x="6" y="20"/>
                </a:lnTo>
                <a:lnTo>
                  <a:pt x="3" y="17"/>
                </a:lnTo>
                <a:lnTo>
                  <a:pt x="0" y="17"/>
                </a:lnTo>
                <a:lnTo>
                  <a:pt x="3" y="14"/>
                </a:lnTo>
                <a:lnTo>
                  <a:pt x="6" y="6"/>
                </a:lnTo>
                <a:lnTo>
                  <a:pt x="9" y="7"/>
                </a:lnTo>
                <a:lnTo>
                  <a:pt x="11" y="9"/>
                </a:lnTo>
                <a:lnTo>
                  <a:pt x="14" y="7"/>
                </a:lnTo>
                <a:lnTo>
                  <a:pt x="17" y="6"/>
                </a:lnTo>
                <a:lnTo>
                  <a:pt x="17" y="4"/>
                </a:lnTo>
                <a:lnTo>
                  <a:pt x="19" y="1"/>
                </a:lnTo>
                <a:lnTo>
                  <a:pt x="21" y="0"/>
                </a:lnTo>
                <a:lnTo>
                  <a:pt x="24" y="1"/>
                </a:lnTo>
                <a:lnTo>
                  <a:pt x="28" y="3"/>
                </a:lnTo>
                <a:lnTo>
                  <a:pt x="30" y="3"/>
                </a:lnTo>
                <a:lnTo>
                  <a:pt x="34" y="10"/>
                </a:lnTo>
                <a:lnTo>
                  <a:pt x="36" y="10"/>
                </a:lnTo>
                <a:lnTo>
                  <a:pt x="34" y="12"/>
                </a:lnTo>
                <a:lnTo>
                  <a:pt x="33" y="13"/>
                </a:lnTo>
                <a:lnTo>
                  <a:pt x="33" y="15"/>
                </a:lnTo>
                <a:lnTo>
                  <a:pt x="33" y="17"/>
                </a:lnTo>
                <a:lnTo>
                  <a:pt x="32" y="2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79" name="Freeform 979"/>
          <p:cNvSpPr>
            <a:spLocks/>
          </p:cNvSpPr>
          <p:nvPr/>
        </p:nvSpPr>
        <p:spPr bwMode="auto">
          <a:xfrm>
            <a:off x="7543800" y="2587590"/>
            <a:ext cx="57150" cy="47625"/>
          </a:xfrm>
          <a:custGeom>
            <a:avLst/>
            <a:gdLst>
              <a:gd name="T0" fmla="*/ 32 w 36"/>
              <a:gd name="T1" fmla="*/ 20 h 30"/>
              <a:gd name="T2" fmla="*/ 28 w 36"/>
              <a:gd name="T3" fmla="*/ 17 h 30"/>
              <a:gd name="T4" fmla="*/ 23 w 36"/>
              <a:gd name="T5" fmla="*/ 16 h 30"/>
              <a:gd name="T6" fmla="*/ 20 w 36"/>
              <a:gd name="T7" fmla="*/ 17 h 30"/>
              <a:gd name="T8" fmla="*/ 19 w 36"/>
              <a:gd name="T9" fmla="*/ 18 h 30"/>
              <a:gd name="T10" fmla="*/ 19 w 36"/>
              <a:gd name="T11" fmla="*/ 22 h 30"/>
              <a:gd name="T12" fmla="*/ 18 w 36"/>
              <a:gd name="T13" fmla="*/ 26 h 30"/>
              <a:gd name="T14" fmla="*/ 19 w 36"/>
              <a:gd name="T15" fmla="*/ 30 h 30"/>
              <a:gd name="T16" fmla="*/ 16 w 36"/>
              <a:gd name="T17" fmla="*/ 30 h 30"/>
              <a:gd name="T18" fmla="*/ 12 w 36"/>
              <a:gd name="T19" fmla="*/ 27 h 30"/>
              <a:gd name="T20" fmla="*/ 11 w 36"/>
              <a:gd name="T21" fmla="*/ 26 h 30"/>
              <a:gd name="T22" fmla="*/ 8 w 36"/>
              <a:gd name="T23" fmla="*/ 23 h 30"/>
              <a:gd name="T24" fmla="*/ 7 w 36"/>
              <a:gd name="T25" fmla="*/ 22 h 30"/>
              <a:gd name="T26" fmla="*/ 6 w 36"/>
              <a:gd name="T27" fmla="*/ 20 h 30"/>
              <a:gd name="T28" fmla="*/ 3 w 36"/>
              <a:gd name="T29" fmla="*/ 17 h 30"/>
              <a:gd name="T30" fmla="*/ 0 w 36"/>
              <a:gd name="T31" fmla="*/ 17 h 30"/>
              <a:gd name="T32" fmla="*/ 3 w 36"/>
              <a:gd name="T33" fmla="*/ 14 h 30"/>
              <a:gd name="T34" fmla="*/ 6 w 36"/>
              <a:gd name="T35" fmla="*/ 6 h 30"/>
              <a:gd name="T36" fmla="*/ 9 w 36"/>
              <a:gd name="T37" fmla="*/ 7 h 30"/>
              <a:gd name="T38" fmla="*/ 11 w 36"/>
              <a:gd name="T39" fmla="*/ 9 h 30"/>
              <a:gd name="T40" fmla="*/ 14 w 36"/>
              <a:gd name="T41" fmla="*/ 7 h 30"/>
              <a:gd name="T42" fmla="*/ 17 w 36"/>
              <a:gd name="T43" fmla="*/ 6 h 30"/>
              <a:gd name="T44" fmla="*/ 17 w 36"/>
              <a:gd name="T45" fmla="*/ 4 h 30"/>
              <a:gd name="T46" fmla="*/ 19 w 36"/>
              <a:gd name="T47" fmla="*/ 1 h 30"/>
              <a:gd name="T48" fmla="*/ 21 w 36"/>
              <a:gd name="T49" fmla="*/ 0 h 30"/>
              <a:gd name="T50" fmla="*/ 24 w 36"/>
              <a:gd name="T51" fmla="*/ 1 h 30"/>
              <a:gd name="T52" fmla="*/ 28 w 36"/>
              <a:gd name="T53" fmla="*/ 3 h 30"/>
              <a:gd name="T54" fmla="*/ 30 w 36"/>
              <a:gd name="T55" fmla="*/ 3 h 30"/>
              <a:gd name="T56" fmla="*/ 34 w 36"/>
              <a:gd name="T57" fmla="*/ 10 h 30"/>
              <a:gd name="T58" fmla="*/ 36 w 36"/>
              <a:gd name="T59" fmla="*/ 10 h 30"/>
              <a:gd name="T60" fmla="*/ 34 w 36"/>
              <a:gd name="T61" fmla="*/ 12 h 30"/>
              <a:gd name="T62" fmla="*/ 33 w 36"/>
              <a:gd name="T63" fmla="*/ 13 h 30"/>
              <a:gd name="T64" fmla="*/ 33 w 36"/>
              <a:gd name="T65" fmla="*/ 15 h 30"/>
              <a:gd name="T66" fmla="*/ 33 w 36"/>
              <a:gd name="T67" fmla="*/ 17 h 30"/>
              <a:gd name="T68" fmla="*/ 32 w 36"/>
              <a:gd name="T69" fmla="*/ 2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6" h="30">
                <a:moveTo>
                  <a:pt x="32" y="20"/>
                </a:moveTo>
                <a:lnTo>
                  <a:pt x="28" y="17"/>
                </a:lnTo>
                <a:lnTo>
                  <a:pt x="23" y="16"/>
                </a:lnTo>
                <a:lnTo>
                  <a:pt x="20" y="17"/>
                </a:lnTo>
                <a:lnTo>
                  <a:pt x="19" y="18"/>
                </a:lnTo>
                <a:lnTo>
                  <a:pt x="19" y="22"/>
                </a:lnTo>
                <a:lnTo>
                  <a:pt x="18" y="26"/>
                </a:lnTo>
                <a:lnTo>
                  <a:pt x="19" y="30"/>
                </a:lnTo>
                <a:lnTo>
                  <a:pt x="16" y="30"/>
                </a:lnTo>
                <a:lnTo>
                  <a:pt x="12" y="27"/>
                </a:lnTo>
                <a:lnTo>
                  <a:pt x="11" y="26"/>
                </a:lnTo>
                <a:lnTo>
                  <a:pt x="8" y="23"/>
                </a:lnTo>
                <a:lnTo>
                  <a:pt x="7" y="22"/>
                </a:lnTo>
                <a:lnTo>
                  <a:pt x="6" y="20"/>
                </a:lnTo>
                <a:lnTo>
                  <a:pt x="3" y="17"/>
                </a:lnTo>
                <a:lnTo>
                  <a:pt x="0" y="17"/>
                </a:lnTo>
                <a:lnTo>
                  <a:pt x="3" y="14"/>
                </a:lnTo>
                <a:lnTo>
                  <a:pt x="6" y="6"/>
                </a:lnTo>
                <a:lnTo>
                  <a:pt x="9" y="7"/>
                </a:lnTo>
                <a:lnTo>
                  <a:pt x="11" y="9"/>
                </a:lnTo>
                <a:lnTo>
                  <a:pt x="14" y="7"/>
                </a:lnTo>
                <a:lnTo>
                  <a:pt x="17" y="6"/>
                </a:lnTo>
                <a:lnTo>
                  <a:pt x="17" y="4"/>
                </a:lnTo>
                <a:lnTo>
                  <a:pt x="19" y="1"/>
                </a:lnTo>
                <a:lnTo>
                  <a:pt x="21" y="0"/>
                </a:lnTo>
                <a:lnTo>
                  <a:pt x="24" y="1"/>
                </a:lnTo>
                <a:lnTo>
                  <a:pt x="28" y="3"/>
                </a:lnTo>
                <a:lnTo>
                  <a:pt x="30" y="3"/>
                </a:lnTo>
                <a:lnTo>
                  <a:pt x="34" y="10"/>
                </a:lnTo>
                <a:lnTo>
                  <a:pt x="36" y="10"/>
                </a:lnTo>
                <a:lnTo>
                  <a:pt x="34" y="12"/>
                </a:lnTo>
                <a:lnTo>
                  <a:pt x="33" y="13"/>
                </a:lnTo>
                <a:lnTo>
                  <a:pt x="33" y="15"/>
                </a:lnTo>
                <a:lnTo>
                  <a:pt x="33" y="17"/>
                </a:lnTo>
                <a:lnTo>
                  <a:pt x="32" y="2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80" name="Freeform 980"/>
          <p:cNvSpPr>
            <a:spLocks/>
          </p:cNvSpPr>
          <p:nvPr/>
        </p:nvSpPr>
        <p:spPr bwMode="auto">
          <a:xfrm>
            <a:off x="7594600" y="2581240"/>
            <a:ext cx="6350" cy="11113"/>
          </a:xfrm>
          <a:custGeom>
            <a:avLst/>
            <a:gdLst>
              <a:gd name="T0" fmla="*/ 1 w 4"/>
              <a:gd name="T1" fmla="*/ 0 h 7"/>
              <a:gd name="T2" fmla="*/ 0 w 4"/>
              <a:gd name="T3" fmla="*/ 4 h 7"/>
              <a:gd name="T4" fmla="*/ 0 w 4"/>
              <a:gd name="T5" fmla="*/ 6 h 7"/>
              <a:gd name="T6" fmla="*/ 2 w 4"/>
              <a:gd name="T7" fmla="*/ 7 h 7"/>
              <a:gd name="T8" fmla="*/ 4 w 4"/>
              <a:gd name="T9" fmla="*/ 6 h 7"/>
              <a:gd name="T10" fmla="*/ 2 w 4"/>
              <a:gd name="T11" fmla="*/ 3 h 7"/>
              <a:gd name="T12" fmla="*/ 1 w 4"/>
              <a:gd name="T13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" h="7">
                <a:moveTo>
                  <a:pt x="1" y="0"/>
                </a:moveTo>
                <a:lnTo>
                  <a:pt x="0" y="4"/>
                </a:lnTo>
                <a:lnTo>
                  <a:pt x="0" y="6"/>
                </a:lnTo>
                <a:lnTo>
                  <a:pt x="2" y="7"/>
                </a:lnTo>
                <a:lnTo>
                  <a:pt x="4" y="6"/>
                </a:lnTo>
                <a:lnTo>
                  <a:pt x="2" y="3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81" name="Freeform 981"/>
          <p:cNvSpPr>
            <a:spLocks/>
          </p:cNvSpPr>
          <p:nvPr/>
        </p:nvSpPr>
        <p:spPr bwMode="auto">
          <a:xfrm>
            <a:off x="7594600" y="2581240"/>
            <a:ext cx="6350" cy="11113"/>
          </a:xfrm>
          <a:custGeom>
            <a:avLst/>
            <a:gdLst>
              <a:gd name="T0" fmla="*/ 1 w 4"/>
              <a:gd name="T1" fmla="*/ 0 h 7"/>
              <a:gd name="T2" fmla="*/ 0 w 4"/>
              <a:gd name="T3" fmla="*/ 4 h 7"/>
              <a:gd name="T4" fmla="*/ 0 w 4"/>
              <a:gd name="T5" fmla="*/ 6 h 7"/>
              <a:gd name="T6" fmla="*/ 2 w 4"/>
              <a:gd name="T7" fmla="*/ 7 h 7"/>
              <a:gd name="T8" fmla="*/ 4 w 4"/>
              <a:gd name="T9" fmla="*/ 6 h 7"/>
              <a:gd name="T10" fmla="*/ 2 w 4"/>
              <a:gd name="T11" fmla="*/ 3 h 7"/>
              <a:gd name="T12" fmla="*/ 1 w 4"/>
              <a:gd name="T13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" h="7">
                <a:moveTo>
                  <a:pt x="1" y="0"/>
                </a:moveTo>
                <a:lnTo>
                  <a:pt x="0" y="4"/>
                </a:lnTo>
                <a:lnTo>
                  <a:pt x="0" y="6"/>
                </a:lnTo>
                <a:lnTo>
                  <a:pt x="2" y="7"/>
                </a:lnTo>
                <a:lnTo>
                  <a:pt x="4" y="6"/>
                </a:lnTo>
                <a:lnTo>
                  <a:pt x="2" y="3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82" name="Freeform 982"/>
          <p:cNvSpPr>
            <a:spLocks/>
          </p:cNvSpPr>
          <p:nvPr/>
        </p:nvSpPr>
        <p:spPr bwMode="auto">
          <a:xfrm>
            <a:off x="7483475" y="2601878"/>
            <a:ext cx="63500" cy="82550"/>
          </a:xfrm>
          <a:custGeom>
            <a:avLst/>
            <a:gdLst>
              <a:gd name="T0" fmla="*/ 15 w 40"/>
              <a:gd name="T1" fmla="*/ 0 h 52"/>
              <a:gd name="T2" fmla="*/ 11 w 40"/>
              <a:gd name="T3" fmla="*/ 0 h 52"/>
              <a:gd name="T4" fmla="*/ 9 w 40"/>
              <a:gd name="T5" fmla="*/ 5 h 52"/>
              <a:gd name="T6" fmla="*/ 7 w 40"/>
              <a:gd name="T7" fmla="*/ 7 h 52"/>
              <a:gd name="T8" fmla="*/ 4 w 40"/>
              <a:gd name="T9" fmla="*/ 7 h 52"/>
              <a:gd name="T10" fmla="*/ 0 w 40"/>
              <a:gd name="T11" fmla="*/ 12 h 52"/>
              <a:gd name="T12" fmla="*/ 7 w 40"/>
              <a:gd name="T13" fmla="*/ 16 h 52"/>
              <a:gd name="T14" fmla="*/ 6 w 40"/>
              <a:gd name="T15" fmla="*/ 16 h 52"/>
              <a:gd name="T16" fmla="*/ 8 w 40"/>
              <a:gd name="T17" fmla="*/ 23 h 52"/>
              <a:gd name="T18" fmla="*/ 11 w 40"/>
              <a:gd name="T19" fmla="*/ 21 h 52"/>
              <a:gd name="T20" fmla="*/ 16 w 40"/>
              <a:gd name="T21" fmla="*/ 19 h 52"/>
              <a:gd name="T22" fmla="*/ 11 w 40"/>
              <a:gd name="T23" fmla="*/ 17 h 52"/>
              <a:gd name="T24" fmla="*/ 11 w 40"/>
              <a:gd name="T25" fmla="*/ 13 h 52"/>
              <a:gd name="T26" fmla="*/ 18 w 40"/>
              <a:gd name="T27" fmla="*/ 19 h 52"/>
              <a:gd name="T28" fmla="*/ 20 w 40"/>
              <a:gd name="T29" fmla="*/ 23 h 52"/>
              <a:gd name="T30" fmla="*/ 21 w 40"/>
              <a:gd name="T31" fmla="*/ 31 h 52"/>
              <a:gd name="T32" fmla="*/ 19 w 40"/>
              <a:gd name="T33" fmla="*/ 35 h 52"/>
              <a:gd name="T34" fmla="*/ 24 w 40"/>
              <a:gd name="T35" fmla="*/ 43 h 52"/>
              <a:gd name="T36" fmla="*/ 26 w 40"/>
              <a:gd name="T37" fmla="*/ 47 h 52"/>
              <a:gd name="T38" fmla="*/ 30 w 40"/>
              <a:gd name="T39" fmla="*/ 45 h 52"/>
              <a:gd name="T40" fmla="*/ 27 w 40"/>
              <a:gd name="T41" fmla="*/ 39 h 52"/>
              <a:gd name="T42" fmla="*/ 29 w 40"/>
              <a:gd name="T43" fmla="*/ 42 h 52"/>
              <a:gd name="T44" fmla="*/ 32 w 40"/>
              <a:gd name="T45" fmla="*/ 47 h 52"/>
              <a:gd name="T46" fmla="*/ 36 w 40"/>
              <a:gd name="T47" fmla="*/ 51 h 52"/>
              <a:gd name="T48" fmla="*/ 36 w 40"/>
              <a:gd name="T49" fmla="*/ 46 h 52"/>
              <a:gd name="T50" fmla="*/ 39 w 40"/>
              <a:gd name="T51" fmla="*/ 45 h 52"/>
              <a:gd name="T52" fmla="*/ 38 w 40"/>
              <a:gd name="T53" fmla="*/ 32 h 52"/>
              <a:gd name="T54" fmla="*/ 38 w 40"/>
              <a:gd name="T55" fmla="*/ 24 h 52"/>
              <a:gd name="T56" fmla="*/ 39 w 40"/>
              <a:gd name="T57" fmla="*/ 18 h 52"/>
              <a:gd name="T58" fmla="*/ 35 w 40"/>
              <a:gd name="T59" fmla="*/ 12 h 52"/>
              <a:gd name="T60" fmla="*/ 30 w 40"/>
              <a:gd name="T61" fmla="*/ 9 h 52"/>
              <a:gd name="T62" fmla="*/ 28 w 40"/>
              <a:gd name="T63" fmla="*/ 4 h 52"/>
              <a:gd name="T64" fmla="*/ 21 w 40"/>
              <a:gd name="T65" fmla="*/ 5 h 52"/>
              <a:gd name="T66" fmla="*/ 17 w 40"/>
              <a:gd name="T67" fmla="*/ 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40" h="52">
                <a:moveTo>
                  <a:pt x="14" y="0"/>
                </a:moveTo>
                <a:lnTo>
                  <a:pt x="15" y="0"/>
                </a:lnTo>
                <a:lnTo>
                  <a:pt x="14" y="0"/>
                </a:lnTo>
                <a:lnTo>
                  <a:pt x="11" y="0"/>
                </a:lnTo>
                <a:lnTo>
                  <a:pt x="9" y="2"/>
                </a:lnTo>
                <a:lnTo>
                  <a:pt x="9" y="5"/>
                </a:lnTo>
                <a:lnTo>
                  <a:pt x="7" y="5"/>
                </a:lnTo>
                <a:lnTo>
                  <a:pt x="7" y="7"/>
                </a:lnTo>
                <a:lnTo>
                  <a:pt x="5" y="7"/>
                </a:lnTo>
                <a:lnTo>
                  <a:pt x="4" y="7"/>
                </a:lnTo>
                <a:lnTo>
                  <a:pt x="3" y="8"/>
                </a:lnTo>
                <a:lnTo>
                  <a:pt x="0" y="12"/>
                </a:lnTo>
                <a:lnTo>
                  <a:pt x="5" y="14"/>
                </a:lnTo>
                <a:lnTo>
                  <a:pt x="7" y="16"/>
                </a:lnTo>
                <a:lnTo>
                  <a:pt x="8" y="18"/>
                </a:lnTo>
                <a:lnTo>
                  <a:pt x="6" y="16"/>
                </a:lnTo>
                <a:lnTo>
                  <a:pt x="4" y="16"/>
                </a:lnTo>
                <a:lnTo>
                  <a:pt x="8" y="23"/>
                </a:lnTo>
                <a:lnTo>
                  <a:pt x="8" y="22"/>
                </a:lnTo>
                <a:lnTo>
                  <a:pt x="11" y="21"/>
                </a:lnTo>
                <a:lnTo>
                  <a:pt x="15" y="22"/>
                </a:lnTo>
                <a:lnTo>
                  <a:pt x="16" y="19"/>
                </a:lnTo>
                <a:lnTo>
                  <a:pt x="12" y="18"/>
                </a:lnTo>
                <a:lnTo>
                  <a:pt x="11" y="17"/>
                </a:lnTo>
                <a:lnTo>
                  <a:pt x="10" y="14"/>
                </a:lnTo>
                <a:lnTo>
                  <a:pt x="11" y="13"/>
                </a:lnTo>
                <a:lnTo>
                  <a:pt x="15" y="16"/>
                </a:lnTo>
                <a:lnTo>
                  <a:pt x="18" y="19"/>
                </a:lnTo>
                <a:lnTo>
                  <a:pt x="19" y="23"/>
                </a:lnTo>
                <a:lnTo>
                  <a:pt x="20" y="23"/>
                </a:lnTo>
                <a:lnTo>
                  <a:pt x="21" y="26"/>
                </a:lnTo>
                <a:lnTo>
                  <a:pt x="21" y="31"/>
                </a:lnTo>
                <a:lnTo>
                  <a:pt x="20" y="32"/>
                </a:lnTo>
                <a:lnTo>
                  <a:pt x="19" y="35"/>
                </a:lnTo>
                <a:lnTo>
                  <a:pt x="21" y="38"/>
                </a:lnTo>
                <a:lnTo>
                  <a:pt x="24" y="43"/>
                </a:lnTo>
                <a:lnTo>
                  <a:pt x="24" y="46"/>
                </a:lnTo>
                <a:lnTo>
                  <a:pt x="26" y="47"/>
                </a:lnTo>
                <a:lnTo>
                  <a:pt x="30" y="49"/>
                </a:lnTo>
                <a:lnTo>
                  <a:pt x="30" y="45"/>
                </a:lnTo>
                <a:lnTo>
                  <a:pt x="27" y="42"/>
                </a:lnTo>
                <a:lnTo>
                  <a:pt x="27" y="39"/>
                </a:lnTo>
                <a:lnTo>
                  <a:pt x="30" y="41"/>
                </a:lnTo>
                <a:lnTo>
                  <a:pt x="29" y="42"/>
                </a:lnTo>
                <a:lnTo>
                  <a:pt x="30" y="44"/>
                </a:lnTo>
                <a:lnTo>
                  <a:pt x="32" y="47"/>
                </a:lnTo>
                <a:lnTo>
                  <a:pt x="34" y="52"/>
                </a:lnTo>
                <a:lnTo>
                  <a:pt x="36" y="51"/>
                </a:lnTo>
                <a:lnTo>
                  <a:pt x="37" y="48"/>
                </a:lnTo>
                <a:lnTo>
                  <a:pt x="36" y="46"/>
                </a:lnTo>
                <a:lnTo>
                  <a:pt x="38" y="44"/>
                </a:lnTo>
                <a:lnTo>
                  <a:pt x="39" y="45"/>
                </a:lnTo>
                <a:lnTo>
                  <a:pt x="40" y="41"/>
                </a:lnTo>
                <a:lnTo>
                  <a:pt x="38" y="32"/>
                </a:lnTo>
                <a:lnTo>
                  <a:pt x="38" y="26"/>
                </a:lnTo>
                <a:lnTo>
                  <a:pt x="38" y="24"/>
                </a:lnTo>
                <a:lnTo>
                  <a:pt x="39" y="21"/>
                </a:lnTo>
                <a:lnTo>
                  <a:pt x="39" y="18"/>
                </a:lnTo>
                <a:lnTo>
                  <a:pt x="38" y="15"/>
                </a:lnTo>
                <a:lnTo>
                  <a:pt x="35" y="12"/>
                </a:lnTo>
                <a:lnTo>
                  <a:pt x="31" y="12"/>
                </a:lnTo>
                <a:lnTo>
                  <a:pt x="30" y="9"/>
                </a:lnTo>
                <a:lnTo>
                  <a:pt x="30" y="6"/>
                </a:lnTo>
                <a:lnTo>
                  <a:pt x="28" y="4"/>
                </a:lnTo>
                <a:lnTo>
                  <a:pt x="26" y="5"/>
                </a:lnTo>
                <a:lnTo>
                  <a:pt x="21" y="5"/>
                </a:lnTo>
                <a:lnTo>
                  <a:pt x="17" y="2"/>
                </a:lnTo>
                <a:lnTo>
                  <a:pt x="17" y="0"/>
                </a:lnTo>
                <a:lnTo>
                  <a:pt x="14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83" name="Freeform 983"/>
          <p:cNvSpPr>
            <a:spLocks/>
          </p:cNvSpPr>
          <p:nvPr/>
        </p:nvSpPr>
        <p:spPr bwMode="auto">
          <a:xfrm>
            <a:off x="7483475" y="2601878"/>
            <a:ext cx="63500" cy="82550"/>
          </a:xfrm>
          <a:custGeom>
            <a:avLst/>
            <a:gdLst>
              <a:gd name="T0" fmla="*/ 15 w 40"/>
              <a:gd name="T1" fmla="*/ 0 h 52"/>
              <a:gd name="T2" fmla="*/ 11 w 40"/>
              <a:gd name="T3" fmla="*/ 0 h 52"/>
              <a:gd name="T4" fmla="*/ 9 w 40"/>
              <a:gd name="T5" fmla="*/ 5 h 52"/>
              <a:gd name="T6" fmla="*/ 7 w 40"/>
              <a:gd name="T7" fmla="*/ 7 h 52"/>
              <a:gd name="T8" fmla="*/ 4 w 40"/>
              <a:gd name="T9" fmla="*/ 7 h 52"/>
              <a:gd name="T10" fmla="*/ 0 w 40"/>
              <a:gd name="T11" fmla="*/ 12 h 52"/>
              <a:gd name="T12" fmla="*/ 7 w 40"/>
              <a:gd name="T13" fmla="*/ 16 h 52"/>
              <a:gd name="T14" fmla="*/ 6 w 40"/>
              <a:gd name="T15" fmla="*/ 16 h 52"/>
              <a:gd name="T16" fmla="*/ 8 w 40"/>
              <a:gd name="T17" fmla="*/ 23 h 52"/>
              <a:gd name="T18" fmla="*/ 11 w 40"/>
              <a:gd name="T19" fmla="*/ 21 h 52"/>
              <a:gd name="T20" fmla="*/ 16 w 40"/>
              <a:gd name="T21" fmla="*/ 19 h 52"/>
              <a:gd name="T22" fmla="*/ 11 w 40"/>
              <a:gd name="T23" fmla="*/ 17 h 52"/>
              <a:gd name="T24" fmla="*/ 11 w 40"/>
              <a:gd name="T25" fmla="*/ 13 h 52"/>
              <a:gd name="T26" fmla="*/ 18 w 40"/>
              <a:gd name="T27" fmla="*/ 19 h 52"/>
              <a:gd name="T28" fmla="*/ 20 w 40"/>
              <a:gd name="T29" fmla="*/ 23 h 52"/>
              <a:gd name="T30" fmla="*/ 21 w 40"/>
              <a:gd name="T31" fmla="*/ 31 h 52"/>
              <a:gd name="T32" fmla="*/ 19 w 40"/>
              <a:gd name="T33" fmla="*/ 35 h 52"/>
              <a:gd name="T34" fmla="*/ 24 w 40"/>
              <a:gd name="T35" fmla="*/ 43 h 52"/>
              <a:gd name="T36" fmla="*/ 26 w 40"/>
              <a:gd name="T37" fmla="*/ 47 h 52"/>
              <a:gd name="T38" fmla="*/ 30 w 40"/>
              <a:gd name="T39" fmla="*/ 45 h 52"/>
              <a:gd name="T40" fmla="*/ 27 w 40"/>
              <a:gd name="T41" fmla="*/ 39 h 52"/>
              <a:gd name="T42" fmla="*/ 29 w 40"/>
              <a:gd name="T43" fmla="*/ 42 h 52"/>
              <a:gd name="T44" fmla="*/ 32 w 40"/>
              <a:gd name="T45" fmla="*/ 47 h 52"/>
              <a:gd name="T46" fmla="*/ 36 w 40"/>
              <a:gd name="T47" fmla="*/ 51 h 52"/>
              <a:gd name="T48" fmla="*/ 36 w 40"/>
              <a:gd name="T49" fmla="*/ 46 h 52"/>
              <a:gd name="T50" fmla="*/ 39 w 40"/>
              <a:gd name="T51" fmla="*/ 45 h 52"/>
              <a:gd name="T52" fmla="*/ 38 w 40"/>
              <a:gd name="T53" fmla="*/ 32 h 52"/>
              <a:gd name="T54" fmla="*/ 38 w 40"/>
              <a:gd name="T55" fmla="*/ 24 h 52"/>
              <a:gd name="T56" fmla="*/ 39 w 40"/>
              <a:gd name="T57" fmla="*/ 18 h 52"/>
              <a:gd name="T58" fmla="*/ 35 w 40"/>
              <a:gd name="T59" fmla="*/ 12 h 52"/>
              <a:gd name="T60" fmla="*/ 30 w 40"/>
              <a:gd name="T61" fmla="*/ 9 h 52"/>
              <a:gd name="T62" fmla="*/ 28 w 40"/>
              <a:gd name="T63" fmla="*/ 4 h 52"/>
              <a:gd name="T64" fmla="*/ 21 w 40"/>
              <a:gd name="T65" fmla="*/ 5 h 52"/>
              <a:gd name="T66" fmla="*/ 17 w 40"/>
              <a:gd name="T67" fmla="*/ 0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40" h="52">
                <a:moveTo>
                  <a:pt x="14" y="0"/>
                </a:moveTo>
                <a:lnTo>
                  <a:pt x="15" y="0"/>
                </a:lnTo>
                <a:lnTo>
                  <a:pt x="14" y="0"/>
                </a:lnTo>
                <a:lnTo>
                  <a:pt x="11" y="0"/>
                </a:lnTo>
                <a:lnTo>
                  <a:pt x="9" y="2"/>
                </a:lnTo>
                <a:lnTo>
                  <a:pt x="9" y="5"/>
                </a:lnTo>
                <a:lnTo>
                  <a:pt x="7" y="5"/>
                </a:lnTo>
                <a:lnTo>
                  <a:pt x="7" y="7"/>
                </a:lnTo>
                <a:lnTo>
                  <a:pt x="5" y="7"/>
                </a:lnTo>
                <a:lnTo>
                  <a:pt x="4" y="7"/>
                </a:lnTo>
                <a:lnTo>
                  <a:pt x="3" y="8"/>
                </a:lnTo>
                <a:lnTo>
                  <a:pt x="0" y="12"/>
                </a:lnTo>
                <a:lnTo>
                  <a:pt x="5" y="14"/>
                </a:lnTo>
                <a:lnTo>
                  <a:pt x="7" y="16"/>
                </a:lnTo>
                <a:lnTo>
                  <a:pt x="8" y="18"/>
                </a:lnTo>
                <a:lnTo>
                  <a:pt x="6" y="16"/>
                </a:lnTo>
                <a:lnTo>
                  <a:pt x="4" y="16"/>
                </a:lnTo>
                <a:lnTo>
                  <a:pt x="8" y="23"/>
                </a:lnTo>
                <a:lnTo>
                  <a:pt x="8" y="22"/>
                </a:lnTo>
                <a:lnTo>
                  <a:pt x="11" y="21"/>
                </a:lnTo>
                <a:lnTo>
                  <a:pt x="15" y="22"/>
                </a:lnTo>
                <a:lnTo>
                  <a:pt x="16" y="19"/>
                </a:lnTo>
                <a:lnTo>
                  <a:pt x="12" y="18"/>
                </a:lnTo>
                <a:lnTo>
                  <a:pt x="11" y="17"/>
                </a:lnTo>
                <a:lnTo>
                  <a:pt x="10" y="14"/>
                </a:lnTo>
                <a:lnTo>
                  <a:pt x="11" y="13"/>
                </a:lnTo>
                <a:lnTo>
                  <a:pt x="15" y="16"/>
                </a:lnTo>
                <a:lnTo>
                  <a:pt x="18" y="19"/>
                </a:lnTo>
                <a:lnTo>
                  <a:pt x="19" y="23"/>
                </a:lnTo>
                <a:lnTo>
                  <a:pt x="20" y="23"/>
                </a:lnTo>
                <a:lnTo>
                  <a:pt x="21" y="26"/>
                </a:lnTo>
                <a:lnTo>
                  <a:pt x="21" y="31"/>
                </a:lnTo>
                <a:lnTo>
                  <a:pt x="20" y="32"/>
                </a:lnTo>
                <a:lnTo>
                  <a:pt x="19" y="35"/>
                </a:lnTo>
                <a:lnTo>
                  <a:pt x="21" y="38"/>
                </a:lnTo>
                <a:lnTo>
                  <a:pt x="24" y="43"/>
                </a:lnTo>
                <a:lnTo>
                  <a:pt x="24" y="46"/>
                </a:lnTo>
                <a:lnTo>
                  <a:pt x="26" y="47"/>
                </a:lnTo>
                <a:lnTo>
                  <a:pt x="30" y="49"/>
                </a:lnTo>
                <a:lnTo>
                  <a:pt x="30" y="45"/>
                </a:lnTo>
                <a:lnTo>
                  <a:pt x="27" y="42"/>
                </a:lnTo>
                <a:lnTo>
                  <a:pt x="27" y="39"/>
                </a:lnTo>
                <a:lnTo>
                  <a:pt x="30" y="41"/>
                </a:lnTo>
                <a:lnTo>
                  <a:pt x="29" y="42"/>
                </a:lnTo>
                <a:lnTo>
                  <a:pt x="30" y="44"/>
                </a:lnTo>
                <a:lnTo>
                  <a:pt x="32" y="47"/>
                </a:lnTo>
                <a:lnTo>
                  <a:pt x="34" y="52"/>
                </a:lnTo>
                <a:lnTo>
                  <a:pt x="36" y="51"/>
                </a:lnTo>
                <a:lnTo>
                  <a:pt x="37" y="48"/>
                </a:lnTo>
                <a:lnTo>
                  <a:pt x="36" y="46"/>
                </a:lnTo>
                <a:lnTo>
                  <a:pt x="38" y="44"/>
                </a:lnTo>
                <a:lnTo>
                  <a:pt x="39" y="45"/>
                </a:lnTo>
                <a:lnTo>
                  <a:pt x="40" y="41"/>
                </a:lnTo>
                <a:lnTo>
                  <a:pt x="38" y="32"/>
                </a:lnTo>
                <a:lnTo>
                  <a:pt x="38" y="26"/>
                </a:lnTo>
                <a:lnTo>
                  <a:pt x="38" y="24"/>
                </a:lnTo>
                <a:lnTo>
                  <a:pt x="39" y="21"/>
                </a:lnTo>
                <a:lnTo>
                  <a:pt x="39" y="18"/>
                </a:lnTo>
                <a:lnTo>
                  <a:pt x="38" y="15"/>
                </a:lnTo>
                <a:lnTo>
                  <a:pt x="35" y="12"/>
                </a:lnTo>
                <a:lnTo>
                  <a:pt x="31" y="12"/>
                </a:lnTo>
                <a:lnTo>
                  <a:pt x="30" y="9"/>
                </a:lnTo>
                <a:lnTo>
                  <a:pt x="30" y="6"/>
                </a:lnTo>
                <a:lnTo>
                  <a:pt x="28" y="4"/>
                </a:lnTo>
                <a:lnTo>
                  <a:pt x="26" y="5"/>
                </a:lnTo>
                <a:lnTo>
                  <a:pt x="21" y="5"/>
                </a:lnTo>
                <a:lnTo>
                  <a:pt x="17" y="2"/>
                </a:lnTo>
                <a:lnTo>
                  <a:pt x="17" y="0"/>
                </a:lnTo>
                <a:lnTo>
                  <a:pt x="14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84" name="Freeform 984"/>
          <p:cNvSpPr>
            <a:spLocks/>
          </p:cNvSpPr>
          <p:nvPr/>
        </p:nvSpPr>
        <p:spPr bwMode="auto">
          <a:xfrm>
            <a:off x="7505700" y="2641565"/>
            <a:ext cx="1587" cy="9525"/>
          </a:xfrm>
          <a:custGeom>
            <a:avLst/>
            <a:gdLst>
              <a:gd name="T0" fmla="*/ 0 w 1"/>
              <a:gd name="T1" fmla="*/ 0 h 6"/>
              <a:gd name="T2" fmla="*/ 0 w 1"/>
              <a:gd name="T3" fmla="*/ 2 h 6"/>
              <a:gd name="T4" fmla="*/ 0 w 1"/>
              <a:gd name="T5" fmla="*/ 4 h 6"/>
              <a:gd name="T6" fmla="*/ 1 w 1"/>
              <a:gd name="T7" fmla="*/ 6 h 6"/>
              <a:gd name="T8" fmla="*/ 1 w 1"/>
              <a:gd name="T9" fmla="*/ 1 h 6"/>
              <a:gd name="T10" fmla="*/ 0 w 1"/>
              <a:gd name="T11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6">
                <a:moveTo>
                  <a:pt x="0" y="0"/>
                </a:moveTo>
                <a:lnTo>
                  <a:pt x="0" y="2"/>
                </a:lnTo>
                <a:lnTo>
                  <a:pt x="0" y="4"/>
                </a:lnTo>
                <a:lnTo>
                  <a:pt x="1" y="6"/>
                </a:lnTo>
                <a:lnTo>
                  <a:pt x="1" y="1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85" name="Freeform 985"/>
          <p:cNvSpPr>
            <a:spLocks/>
          </p:cNvSpPr>
          <p:nvPr/>
        </p:nvSpPr>
        <p:spPr bwMode="auto">
          <a:xfrm>
            <a:off x="7505700" y="2641565"/>
            <a:ext cx="1587" cy="9525"/>
          </a:xfrm>
          <a:custGeom>
            <a:avLst/>
            <a:gdLst>
              <a:gd name="T0" fmla="*/ 0 w 1"/>
              <a:gd name="T1" fmla="*/ 0 h 6"/>
              <a:gd name="T2" fmla="*/ 0 w 1"/>
              <a:gd name="T3" fmla="*/ 2 h 6"/>
              <a:gd name="T4" fmla="*/ 0 w 1"/>
              <a:gd name="T5" fmla="*/ 4 h 6"/>
              <a:gd name="T6" fmla="*/ 1 w 1"/>
              <a:gd name="T7" fmla="*/ 6 h 6"/>
              <a:gd name="T8" fmla="*/ 1 w 1"/>
              <a:gd name="T9" fmla="*/ 1 h 6"/>
              <a:gd name="T10" fmla="*/ 0 w 1"/>
              <a:gd name="T11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" h="6">
                <a:moveTo>
                  <a:pt x="0" y="0"/>
                </a:moveTo>
                <a:lnTo>
                  <a:pt x="0" y="2"/>
                </a:lnTo>
                <a:lnTo>
                  <a:pt x="0" y="4"/>
                </a:lnTo>
                <a:lnTo>
                  <a:pt x="1" y="6"/>
                </a:lnTo>
                <a:lnTo>
                  <a:pt x="1" y="1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86" name="Freeform 986"/>
          <p:cNvSpPr>
            <a:spLocks/>
          </p:cNvSpPr>
          <p:nvPr/>
        </p:nvSpPr>
        <p:spPr bwMode="auto">
          <a:xfrm>
            <a:off x="7545388" y="2690778"/>
            <a:ext cx="3175" cy="12700"/>
          </a:xfrm>
          <a:custGeom>
            <a:avLst/>
            <a:gdLst>
              <a:gd name="T0" fmla="*/ 2 w 2"/>
              <a:gd name="T1" fmla="*/ 2 h 8"/>
              <a:gd name="T2" fmla="*/ 0 w 2"/>
              <a:gd name="T3" fmla="*/ 0 h 8"/>
              <a:gd name="T4" fmla="*/ 0 w 2"/>
              <a:gd name="T5" fmla="*/ 2 h 8"/>
              <a:gd name="T6" fmla="*/ 1 w 2"/>
              <a:gd name="T7" fmla="*/ 7 h 8"/>
              <a:gd name="T8" fmla="*/ 2 w 2"/>
              <a:gd name="T9" fmla="*/ 8 h 8"/>
              <a:gd name="T10" fmla="*/ 2 w 2"/>
              <a:gd name="T11" fmla="*/ 2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8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1" y="7"/>
                </a:lnTo>
                <a:lnTo>
                  <a:pt x="2" y="8"/>
                </a:lnTo>
                <a:lnTo>
                  <a:pt x="2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87" name="Freeform 987"/>
          <p:cNvSpPr>
            <a:spLocks/>
          </p:cNvSpPr>
          <p:nvPr/>
        </p:nvSpPr>
        <p:spPr bwMode="auto">
          <a:xfrm>
            <a:off x="7545388" y="2690778"/>
            <a:ext cx="3175" cy="12700"/>
          </a:xfrm>
          <a:custGeom>
            <a:avLst/>
            <a:gdLst>
              <a:gd name="T0" fmla="*/ 2 w 2"/>
              <a:gd name="T1" fmla="*/ 2 h 8"/>
              <a:gd name="T2" fmla="*/ 0 w 2"/>
              <a:gd name="T3" fmla="*/ 0 h 8"/>
              <a:gd name="T4" fmla="*/ 0 w 2"/>
              <a:gd name="T5" fmla="*/ 2 h 8"/>
              <a:gd name="T6" fmla="*/ 1 w 2"/>
              <a:gd name="T7" fmla="*/ 7 h 8"/>
              <a:gd name="T8" fmla="*/ 2 w 2"/>
              <a:gd name="T9" fmla="*/ 8 h 8"/>
              <a:gd name="T10" fmla="*/ 2 w 2"/>
              <a:gd name="T11" fmla="*/ 2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8">
                <a:moveTo>
                  <a:pt x="2" y="2"/>
                </a:moveTo>
                <a:lnTo>
                  <a:pt x="0" y="0"/>
                </a:lnTo>
                <a:lnTo>
                  <a:pt x="0" y="2"/>
                </a:lnTo>
                <a:lnTo>
                  <a:pt x="1" y="7"/>
                </a:lnTo>
                <a:lnTo>
                  <a:pt x="2" y="8"/>
                </a:lnTo>
                <a:lnTo>
                  <a:pt x="2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88" name="Freeform 988"/>
          <p:cNvSpPr>
            <a:spLocks/>
          </p:cNvSpPr>
          <p:nvPr/>
        </p:nvSpPr>
        <p:spPr bwMode="auto">
          <a:xfrm>
            <a:off x="7534275" y="2701890"/>
            <a:ext cx="7937" cy="4763"/>
          </a:xfrm>
          <a:custGeom>
            <a:avLst/>
            <a:gdLst>
              <a:gd name="T0" fmla="*/ 2 w 5"/>
              <a:gd name="T1" fmla="*/ 1 h 3"/>
              <a:gd name="T2" fmla="*/ 2 w 5"/>
              <a:gd name="T3" fmla="*/ 0 h 3"/>
              <a:gd name="T4" fmla="*/ 0 w 5"/>
              <a:gd name="T5" fmla="*/ 1 h 3"/>
              <a:gd name="T6" fmla="*/ 3 w 5"/>
              <a:gd name="T7" fmla="*/ 3 h 3"/>
              <a:gd name="T8" fmla="*/ 5 w 5"/>
              <a:gd name="T9" fmla="*/ 3 h 3"/>
              <a:gd name="T10" fmla="*/ 4 w 5"/>
              <a:gd name="T11" fmla="*/ 1 h 3"/>
              <a:gd name="T12" fmla="*/ 2 w 5"/>
              <a:gd name="T13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" h="3">
                <a:moveTo>
                  <a:pt x="2" y="1"/>
                </a:moveTo>
                <a:lnTo>
                  <a:pt x="2" y="0"/>
                </a:lnTo>
                <a:lnTo>
                  <a:pt x="0" y="1"/>
                </a:lnTo>
                <a:lnTo>
                  <a:pt x="3" y="3"/>
                </a:lnTo>
                <a:lnTo>
                  <a:pt x="5" y="3"/>
                </a:lnTo>
                <a:lnTo>
                  <a:pt x="4" y="1"/>
                </a:lnTo>
                <a:lnTo>
                  <a:pt x="2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89" name="Freeform 989"/>
          <p:cNvSpPr>
            <a:spLocks/>
          </p:cNvSpPr>
          <p:nvPr/>
        </p:nvSpPr>
        <p:spPr bwMode="auto">
          <a:xfrm>
            <a:off x="7534275" y="2701890"/>
            <a:ext cx="7937" cy="4763"/>
          </a:xfrm>
          <a:custGeom>
            <a:avLst/>
            <a:gdLst>
              <a:gd name="T0" fmla="*/ 2 w 5"/>
              <a:gd name="T1" fmla="*/ 1 h 3"/>
              <a:gd name="T2" fmla="*/ 2 w 5"/>
              <a:gd name="T3" fmla="*/ 0 h 3"/>
              <a:gd name="T4" fmla="*/ 0 w 5"/>
              <a:gd name="T5" fmla="*/ 1 h 3"/>
              <a:gd name="T6" fmla="*/ 3 w 5"/>
              <a:gd name="T7" fmla="*/ 3 h 3"/>
              <a:gd name="T8" fmla="*/ 5 w 5"/>
              <a:gd name="T9" fmla="*/ 3 h 3"/>
              <a:gd name="T10" fmla="*/ 4 w 5"/>
              <a:gd name="T11" fmla="*/ 1 h 3"/>
              <a:gd name="T12" fmla="*/ 2 w 5"/>
              <a:gd name="T13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" h="3">
                <a:moveTo>
                  <a:pt x="2" y="1"/>
                </a:moveTo>
                <a:lnTo>
                  <a:pt x="2" y="0"/>
                </a:lnTo>
                <a:lnTo>
                  <a:pt x="0" y="1"/>
                </a:lnTo>
                <a:lnTo>
                  <a:pt x="3" y="3"/>
                </a:lnTo>
                <a:lnTo>
                  <a:pt x="5" y="3"/>
                </a:lnTo>
                <a:lnTo>
                  <a:pt x="4" y="1"/>
                </a:lnTo>
                <a:lnTo>
                  <a:pt x="2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90" name="Freeform 990"/>
          <p:cNvSpPr>
            <a:spLocks/>
          </p:cNvSpPr>
          <p:nvPr/>
        </p:nvSpPr>
        <p:spPr bwMode="auto">
          <a:xfrm>
            <a:off x="7467600" y="2635215"/>
            <a:ext cx="4762" cy="4763"/>
          </a:xfrm>
          <a:custGeom>
            <a:avLst/>
            <a:gdLst>
              <a:gd name="T0" fmla="*/ 1 w 3"/>
              <a:gd name="T1" fmla="*/ 0 h 3"/>
              <a:gd name="T2" fmla="*/ 0 w 3"/>
              <a:gd name="T3" fmla="*/ 1 h 3"/>
              <a:gd name="T4" fmla="*/ 1 w 3"/>
              <a:gd name="T5" fmla="*/ 3 h 3"/>
              <a:gd name="T6" fmla="*/ 3 w 3"/>
              <a:gd name="T7" fmla="*/ 2 h 3"/>
              <a:gd name="T8" fmla="*/ 1 w 3"/>
              <a:gd name="T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3">
                <a:moveTo>
                  <a:pt x="1" y="0"/>
                </a:moveTo>
                <a:lnTo>
                  <a:pt x="0" y="1"/>
                </a:lnTo>
                <a:lnTo>
                  <a:pt x="1" y="3"/>
                </a:lnTo>
                <a:lnTo>
                  <a:pt x="3" y="2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91" name="Freeform 991"/>
          <p:cNvSpPr>
            <a:spLocks/>
          </p:cNvSpPr>
          <p:nvPr/>
        </p:nvSpPr>
        <p:spPr bwMode="auto">
          <a:xfrm>
            <a:off x="7467600" y="2635215"/>
            <a:ext cx="4762" cy="4763"/>
          </a:xfrm>
          <a:custGeom>
            <a:avLst/>
            <a:gdLst>
              <a:gd name="T0" fmla="*/ 1 w 3"/>
              <a:gd name="T1" fmla="*/ 0 h 3"/>
              <a:gd name="T2" fmla="*/ 0 w 3"/>
              <a:gd name="T3" fmla="*/ 1 h 3"/>
              <a:gd name="T4" fmla="*/ 1 w 3"/>
              <a:gd name="T5" fmla="*/ 3 h 3"/>
              <a:gd name="T6" fmla="*/ 3 w 3"/>
              <a:gd name="T7" fmla="*/ 2 h 3"/>
              <a:gd name="T8" fmla="*/ 1 w 3"/>
              <a:gd name="T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3">
                <a:moveTo>
                  <a:pt x="1" y="0"/>
                </a:moveTo>
                <a:lnTo>
                  <a:pt x="0" y="1"/>
                </a:lnTo>
                <a:lnTo>
                  <a:pt x="1" y="3"/>
                </a:lnTo>
                <a:lnTo>
                  <a:pt x="3" y="2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92" name="Freeform 992"/>
          <p:cNvSpPr>
            <a:spLocks/>
          </p:cNvSpPr>
          <p:nvPr/>
        </p:nvSpPr>
        <p:spPr bwMode="auto">
          <a:xfrm>
            <a:off x="7473950" y="2625690"/>
            <a:ext cx="3175" cy="6350"/>
          </a:xfrm>
          <a:custGeom>
            <a:avLst/>
            <a:gdLst>
              <a:gd name="T0" fmla="*/ 2 w 2"/>
              <a:gd name="T1" fmla="*/ 1 h 4"/>
              <a:gd name="T2" fmla="*/ 1 w 2"/>
              <a:gd name="T3" fmla="*/ 0 h 4"/>
              <a:gd name="T4" fmla="*/ 0 w 2"/>
              <a:gd name="T5" fmla="*/ 0 h 4"/>
              <a:gd name="T6" fmla="*/ 0 w 2"/>
              <a:gd name="T7" fmla="*/ 2 h 4"/>
              <a:gd name="T8" fmla="*/ 1 w 2"/>
              <a:gd name="T9" fmla="*/ 4 h 4"/>
              <a:gd name="T10" fmla="*/ 2 w 2"/>
              <a:gd name="T11" fmla="*/ 2 h 4"/>
              <a:gd name="T12" fmla="*/ 2 w 2"/>
              <a:gd name="T13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4">
                <a:moveTo>
                  <a:pt x="2" y="1"/>
                </a:moveTo>
                <a:lnTo>
                  <a:pt x="1" y="0"/>
                </a:lnTo>
                <a:lnTo>
                  <a:pt x="0" y="0"/>
                </a:lnTo>
                <a:lnTo>
                  <a:pt x="0" y="2"/>
                </a:lnTo>
                <a:lnTo>
                  <a:pt x="1" y="4"/>
                </a:lnTo>
                <a:lnTo>
                  <a:pt x="2" y="2"/>
                </a:lnTo>
                <a:lnTo>
                  <a:pt x="2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93" name="Freeform 993"/>
          <p:cNvSpPr>
            <a:spLocks/>
          </p:cNvSpPr>
          <p:nvPr/>
        </p:nvSpPr>
        <p:spPr bwMode="auto">
          <a:xfrm>
            <a:off x="7473950" y="2625690"/>
            <a:ext cx="3175" cy="6350"/>
          </a:xfrm>
          <a:custGeom>
            <a:avLst/>
            <a:gdLst>
              <a:gd name="T0" fmla="*/ 2 w 2"/>
              <a:gd name="T1" fmla="*/ 1 h 4"/>
              <a:gd name="T2" fmla="*/ 1 w 2"/>
              <a:gd name="T3" fmla="*/ 0 h 4"/>
              <a:gd name="T4" fmla="*/ 0 w 2"/>
              <a:gd name="T5" fmla="*/ 0 h 4"/>
              <a:gd name="T6" fmla="*/ 0 w 2"/>
              <a:gd name="T7" fmla="*/ 2 h 4"/>
              <a:gd name="T8" fmla="*/ 1 w 2"/>
              <a:gd name="T9" fmla="*/ 4 h 4"/>
              <a:gd name="T10" fmla="*/ 2 w 2"/>
              <a:gd name="T11" fmla="*/ 2 h 4"/>
              <a:gd name="T12" fmla="*/ 2 w 2"/>
              <a:gd name="T13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4">
                <a:moveTo>
                  <a:pt x="2" y="1"/>
                </a:moveTo>
                <a:lnTo>
                  <a:pt x="1" y="0"/>
                </a:lnTo>
                <a:lnTo>
                  <a:pt x="0" y="0"/>
                </a:lnTo>
                <a:lnTo>
                  <a:pt x="0" y="2"/>
                </a:lnTo>
                <a:lnTo>
                  <a:pt x="1" y="4"/>
                </a:lnTo>
                <a:lnTo>
                  <a:pt x="2" y="2"/>
                </a:lnTo>
                <a:lnTo>
                  <a:pt x="2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94" name="Freeform 994"/>
          <p:cNvSpPr>
            <a:spLocks/>
          </p:cNvSpPr>
          <p:nvPr/>
        </p:nvSpPr>
        <p:spPr bwMode="auto">
          <a:xfrm>
            <a:off x="7478713" y="2601878"/>
            <a:ext cx="3175" cy="4763"/>
          </a:xfrm>
          <a:custGeom>
            <a:avLst/>
            <a:gdLst>
              <a:gd name="T0" fmla="*/ 0 w 2"/>
              <a:gd name="T1" fmla="*/ 0 h 3"/>
              <a:gd name="T2" fmla="*/ 0 w 2"/>
              <a:gd name="T3" fmla="*/ 2 h 3"/>
              <a:gd name="T4" fmla="*/ 1 w 2"/>
              <a:gd name="T5" fmla="*/ 3 h 3"/>
              <a:gd name="T6" fmla="*/ 2 w 2"/>
              <a:gd name="T7" fmla="*/ 2 h 3"/>
              <a:gd name="T8" fmla="*/ 0 w 2"/>
              <a:gd name="T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3">
                <a:moveTo>
                  <a:pt x="0" y="0"/>
                </a:moveTo>
                <a:lnTo>
                  <a:pt x="0" y="2"/>
                </a:lnTo>
                <a:lnTo>
                  <a:pt x="1" y="3"/>
                </a:lnTo>
                <a:lnTo>
                  <a:pt x="2" y="2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95" name="Freeform 995"/>
          <p:cNvSpPr>
            <a:spLocks/>
          </p:cNvSpPr>
          <p:nvPr/>
        </p:nvSpPr>
        <p:spPr bwMode="auto">
          <a:xfrm>
            <a:off x="7478713" y="2601878"/>
            <a:ext cx="3175" cy="4763"/>
          </a:xfrm>
          <a:custGeom>
            <a:avLst/>
            <a:gdLst>
              <a:gd name="T0" fmla="*/ 0 w 2"/>
              <a:gd name="T1" fmla="*/ 0 h 3"/>
              <a:gd name="T2" fmla="*/ 0 w 2"/>
              <a:gd name="T3" fmla="*/ 2 h 3"/>
              <a:gd name="T4" fmla="*/ 1 w 2"/>
              <a:gd name="T5" fmla="*/ 3 h 3"/>
              <a:gd name="T6" fmla="*/ 2 w 2"/>
              <a:gd name="T7" fmla="*/ 2 h 3"/>
              <a:gd name="T8" fmla="*/ 0 w 2"/>
              <a:gd name="T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3">
                <a:moveTo>
                  <a:pt x="0" y="0"/>
                </a:moveTo>
                <a:lnTo>
                  <a:pt x="0" y="2"/>
                </a:lnTo>
                <a:lnTo>
                  <a:pt x="1" y="3"/>
                </a:lnTo>
                <a:lnTo>
                  <a:pt x="2" y="2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96" name="Freeform 996"/>
          <p:cNvSpPr>
            <a:spLocks/>
          </p:cNvSpPr>
          <p:nvPr/>
        </p:nvSpPr>
        <p:spPr bwMode="auto">
          <a:xfrm>
            <a:off x="7332663" y="2849528"/>
            <a:ext cx="36512" cy="95250"/>
          </a:xfrm>
          <a:custGeom>
            <a:avLst/>
            <a:gdLst>
              <a:gd name="T0" fmla="*/ 15 w 23"/>
              <a:gd name="T1" fmla="*/ 0 h 60"/>
              <a:gd name="T2" fmla="*/ 18 w 23"/>
              <a:gd name="T3" fmla="*/ 1 h 60"/>
              <a:gd name="T4" fmla="*/ 19 w 23"/>
              <a:gd name="T5" fmla="*/ 2 h 60"/>
              <a:gd name="T6" fmla="*/ 20 w 23"/>
              <a:gd name="T7" fmla="*/ 2 h 60"/>
              <a:gd name="T8" fmla="*/ 21 w 23"/>
              <a:gd name="T9" fmla="*/ 2 h 60"/>
              <a:gd name="T10" fmla="*/ 22 w 23"/>
              <a:gd name="T11" fmla="*/ 3 h 60"/>
              <a:gd name="T12" fmla="*/ 22 w 23"/>
              <a:gd name="T13" fmla="*/ 6 h 60"/>
              <a:gd name="T14" fmla="*/ 22 w 23"/>
              <a:gd name="T15" fmla="*/ 8 h 60"/>
              <a:gd name="T16" fmla="*/ 22 w 23"/>
              <a:gd name="T17" fmla="*/ 9 h 60"/>
              <a:gd name="T18" fmla="*/ 23 w 23"/>
              <a:gd name="T19" fmla="*/ 12 h 60"/>
              <a:gd name="T20" fmla="*/ 23 w 23"/>
              <a:gd name="T21" fmla="*/ 14 h 60"/>
              <a:gd name="T22" fmla="*/ 22 w 23"/>
              <a:gd name="T23" fmla="*/ 20 h 60"/>
              <a:gd name="T24" fmla="*/ 22 w 23"/>
              <a:gd name="T25" fmla="*/ 28 h 60"/>
              <a:gd name="T26" fmla="*/ 22 w 23"/>
              <a:gd name="T27" fmla="*/ 34 h 60"/>
              <a:gd name="T28" fmla="*/ 22 w 23"/>
              <a:gd name="T29" fmla="*/ 40 h 60"/>
              <a:gd name="T30" fmla="*/ 20 w 23"/>
              <a:gd name="T31" fmla="*/ 46 h 60"/>
              <a:gd name="T32" fmla="*/ 19 w 23"/>
              <a:gd name="T33" fmla="*/ 48 h 60"/>
              <a:gd name="T34" fmla="*/ 18 w 23"/>
              <a:gd name="T35" fmla="*/ 51 h 60"/>
              <a:gd name="T36" fmla="*/ 18 w 23"/>
              <a:gd name="T37" fmla="*/ 60 h 60"/>
              <a:gd name="T38" fmla="*/ 17 w 23"/>
              <a:gd name="T39" fmla="*/ 59 h 60"/>
              <a:gd name="T40" fmla="*/ 14 w 23"/>
              <a:gd name="T41" fmla="*/ 56 h 60"/>
              <a:gd name="T42" fmla="*/ 12 w 23"/>
              <a:gd name="T43" fmla="*/ 51 h 60"/>
              <a:gd name="T44" fmla="*/ 9 w 23"/>
              <a:gd name="T45" fmla="*/ 49 h 60"/>
              <a:gd name="T46" fmla="*/ 4 w 23"/>
              <a:gd name="T47" fmla="*/ 44 h 60"/>
              <a:gd name="T48" fmla="*/ 2 w 23"/>
              <a:gd name="T49" fmla="*/ 37 h 60"/>
              <a:gd name="T50" fmla="*/ 0 w 23"/>
              <a:gd name="T51" fmla="*/ 30 h 60"/>
              <a:gd name="T52" fmla="*/ 0 w 23"/>
              <a:gd name="T53" fmla="*/ 28 h 60"/>
              <a:gd name="T54" fmla="*/ 1 w 23"/>
              <a:gd name="T55" fmla="*/ 22 h 60"/>
              <a:gd name="T56" fmla="*/ 9 w 23"/>
              <a:gd name="T57" fmla="*/ 4 h 60"/>
              <a:gd name="T58" fmla="*/ 13 w 23"/>
              <a:gd name="T59" fmla="*/ 1 h 60"/>
              <a:gd name="T60" fmla="*/ 13 w 23"/>
              <a:gd name="T61" fmla="*/ 0 h 60"/>
              <a:gd name="T62" fmla="*/ 15 w 23"/>
              <a:gd name="T63" fmla="*/ 0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3" h="60">
                <a:moveTo>
                  <a:pt x="15" y="0"/>
                </a:moveTo>
                <a:lnTo>
                  <a:pt x="18" y="1"/>
                </a:lnTo>
                <a:lnTo>
                  <a:pt x="19" y="2"/>
                </a:lnTo>
                <a:lnTo>
                  <a:pt x="20" y="2"/>
                </a:lnTo>
                <a:lnTo>
                  <a:pt x="21" y="2"/>
                </a:lnTo>
                <a:lnTo>
                  <a:pt x="22" y="3"/>
                </a:lnTo>
                <a:lnTo>
                  <a:pt x="22" y="6"/>
                </a:lnTo>
                <a:lnTo>
                  <a:pt x="22" y="8"/>
                </a:lnTo>
                <a:lnTo>
                  <a:pt x="22" y="9"/>
                </a:lnTo>
                <a:lnTo>
                  <a:pt x="23" y="12"/>
                </a:lnTo>
                <a:lnTo>
                  <a:pt x="23" y="14"/>
                </a:lnTo>
                <a:lnTo>
                  <a:pt x="22" y="20"/>
                </a:lnTo>
                <a:lnTo>
                  <a:pt x="22" y="28"/>
                </a:lnTo>
                <a:lnTo>
                  <a:pt x="22" y="34"/>
                </a:lnTo>
                <a:lnTo>
                  <a:pt x="22" y="40"/>
                </a:lnTo>
                <a:lnTo>
                  <a:pt x="20" y="46"/>
                </a:lnTo>
                <a:lnTo>
                  <a:pt x="19" y="48"/>
                </a:lnTo>
                <a:lnTo>
                  <a:pt x="18" y="51"/>
                </a:lnTo>
                <a:lnTo>
                  <a:pt x="18" y="60"/>
                </a:lnTo>
                <a:lnTo>
                  <a:pt x="17" y="59"/>
                </a:lnTo>
                <a:lnTo>
                  <a:pt x="14" y="56"/>
                </a:lnTo>
                <a:lnTo>
                  <a:pt x="12" y="51"/>
                </a:lnTo>
                <a:lnTo>
                  <a:pt x="9" y="49"/>
                </a:lnTo>
                <a:lnTo>
                  <a:pt x="4" y="44"/>
                </a:lnTo>
                <a:lnTo>
                  <a:pt x="2" y="37"/>
                </a:lnTo>
                <a:lnTo>
                  <a:pt x="0" y="30"/>
                </a:lnTo>
                <a:lnTo>
                  <a:pt x="0" y="28"/>
                </a:lnTo>
                <a:lnTo>
                  <a:pt x="1" y="22"/>
                </a:lnTo>
                <a:lnTo>
                  <a:pt x="9" y="4"/>
                </a:lnTo>
                <a:lnTo>
                  <a:pt x="13" y="1"/>
                </a:lnTo>
                <a:lnTo>
                  <a:pt x="13" y="0"/>
                </a:lnTo>
                <a:lnTo>
                  <a:pt x="15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97" name="Freeform 997"/>
          <p:cNvSpPr>
            <a:spLocks/>
          </p:cNvSpPr>
          <p:nvPr/>
        </p:nvSpPr>
        <p:spPr bwMode="auto">
          <a:xfrm>
            <a:off x="7332663" y="2849528"/>
            <a:ext cx="36512" cy="95250"/>
          </a:xfrm>
          <a:custGeom>
            <a:avLst/>
            <a:gdLst>
              <a:gd name="T0" fmla="*/ 15 w 23"/>
              <a:gd name="T1" fmla="*/ 0 h 60"/>
              <a:gd name="T2" fmla="*/ 18 w 23"/>
              <a:gd name="T3" fmla="*/ 1 h 60"/>
              <a:gd name="T4" fmla="*/ 19 w 23"/>
              <a:gd name="T5" fmla="*/ 2 h 60"/>
              <a:gd name="T6" fmla="*/ 20 w 23"/>
              <a:gd name="T7" fmla="*/ 2 h 60"/>
              <a:gd name="T8" fmla="*/ 21 w 23"/>
              <a:gd name="T9" fmla="*/ 2 h 60"/>
              <a:gd name="T10" fmla="*/ 22 w 23"/>
              <a:gd name="T11" fmla="*/ 3 h 60"/>
              <a:gd name="T12" fmla="*/ 22 w 23"/>
              <a:gd name="T13" fmla="*/ 6 h 60"/>
              <a:gd name="T14" fmla="*/ 22 w 23"/>
              <a:gd name="T15" fmla="*/ 8 h 60"/>
              <a:gd name="T16" fmla="*/ 22 w 23"/>
              <a:gd name="T17" fmla="*/ 9 h 60"/>
              <a:gd name="T18" fmla="*/ 23 w 23"/>
              <a:gd name="T19" fmla="*/ 12 h 60"/>
              <a:gd name="T20" fmla="*/ 23 w 23"/>
              <a:gd name="T21" fmla="*/ 14 h 60"/>
              <a:gd name="T22" fmla="*/ 22 w 23"/>
              <a:gd name="T23" fmla="*/ 20 h 60"/>
              <a:gd name="T24" fmla="*/ 22 w 23"/>
              <a:gd name="T25" fmla="*/ 28 h 60"/>
              <a:gd name="T26" fmla="*/ 22 w 23"/>
              <a:gd name="T27" fmla="*/ 34 h 60"/>
              <a:gd name="T28" fmla="*/ 22 w 23"/>
              <a:gd name="T29" fmla="*/ 40 h 60"/>
              <a:gd name="T30" fmla="*/ 20 w 23"/>
              <a:gd name="T31" fmla="*/ 46 h 60"/>
              <a:gd name="T32" fmla="*/ 19 w 23"/>
              <a:gd name="T33" fmla="*/ 48 h 60"/>
              <a:gd name="T34" fmla="*/ 18 w 23"/>
              <a:gd name="T35" fmla="*/ 51 h 60"/>
              <a:gd name="T36" fmla="*/ 18 w 23"/>
              <a:gd name="T37" fmla="*/ 60 h 60"/>
              <a:gd name="T38" fmla="*/ 17 w 23"/>
              <a:gd name="T39" fmla="*/ 59 h 60"/>
              <a:gd name="T40" fmla="*/ 14 w 23"/>
              <a:gd name="T41" fmla="*/ 56 h 60"/>
              <a:gd name="T42" fmla="*/ 12 w 23"/>
              <a:gd name="T43" fmla="*/ 51 h 60"/>
              <a:gd name="T44" fmla="*/ 9 w 23"/>
              <a:gd name="T45" fmla="*/ 49 h 60"/>
              <a:gd name="T46" fmla="*/ 4 w 23"/>
              <a:gd name="T47" fmla="*/ 44 h 60"/>
              <a:gd name="T48" fmla="*/ 2 w 23"/>
              <a:gd name="T49" fmla="*/ 37 h 60"/>
              <a:gd name="T50" fmla="*/ 0 w 23"/>
              <a:gd name="T51" fmla="*/ 30 h 60"/>
              <a:gd name="T52" fmla="*/ 0 w 23"/>
              <a:gd name="T53" fmla="*/ 28 h 60"/>
              <a:gd name="T54" fmla="*/ 1 w 23"/>
              <a:gd name="T55" fmla="*/ 22 h 60"/>
              <a:gd name="T56" fmla="*/ 9 w 23"/>
              <a:gd name="T57" fmla="*/ 4 h 60"/>
              <a:gd name="T58" fmla="*/ 13 w 23"/>
              <a:gd name="T59" fmla="*/ 1 h 60"/>
              <a:gd name="T60" fmla="*/ 13 w 23"/>
              <a:gd name="T61" fmla="*/ 0 h 60"/>
              <a:gd name="T62" fmla="*/ 15 w 23"/>
              <a:gd name="T63" fmla="*/ 0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3" h="60">
                <a:moveTo>
                  <a:pt x="15" y="0"/>
                </a:moveTo>
                <a:lnTo>
                  <a:pt x="18" y="1"/>
                </a:lnTo>
                <a:lnTo>
                  <a:pt x="19" y="2"/>
                </a:lnTo>
                <a:lnTo>
                  <a:pt x="20" y="2"/>
                </a:lnTo>
                <a:lnTo>
                  <a:pt x="21" y="2"/>
                </a:lnTo>
                <a:lnTo>
                  <a:pt x="22" y="3"/>
                </a:lnTo>
                <a:lnTo>
                  <a:pt x="22" y="6"/>
                </a:lnTo>
                <a:lnTo>
                  <a:pt x="22" y="8"/>
                </a:lnTo>
                <a:lnTo>
                  <a:pt x="22" y="9"/>
                </a:lnTo>
                <a:lnTo>
                  <a:pt x="23" y="12"/>
                </a:lnTo>
                <a:lnTo>
                  <a:pt x="23" y="14"/>
                </a:lnTo>
                <a:lnTo>
                  <a:pt x="22" y="20"/>
                </a:lnTo>
                <a:lnTo>
                  <a:pt x="22" y="28"/>
                </a:lnTo>
                <a:lnTo>
                  <a:pt x="22" y="34"/>
                </a:lnTo>
                <a:lnTo>
                  <a:pt x="22" y="40"/>
                </a:lnTo>
                <a:lnTo>
                  <a:pt x="20" y="46"/>
                </a:lnTo>
                <a:lnTo>
                  <a:pt x="19" y="48"/>
                </a:lnTo>
                <a:lnTo>
                  <a:pt x="18" y="51"/>
                </a:lnTo>
                <a:lnTo>
                  <a:pt x="18" y="60"/>
                </a:lnTo>
                <a:lnTo>
                  <a:pt x="17" y="59"/>
                </a:lnTo>
                <a:lnTo>
                  <a:pt x="14" y="56"/>
                </a:lnTo>
                <a:lnTo>
                  <a:pt x="12" y="51"/>
                </a:lnTo>
                <a:lnTo>
                  <a:pt x="9" y="49"/>
                </a:lnTo>
                <a:lnTo>
                  <a:pt x="4" y="44"/>
                </a:lnTo>
                <a:lnTo>
                  <a:pt x="2" y="37"/>
                </a:lnTo>
                <a:lnTo>
                  <a:pt x="0" y="30"/>
                </a:lnTo>
                <a:lnTo>
                  <a:pt x="0" y="28"/>
                </a:lnTo>
                <a:lnTo>
                  <a:pt x="1" y="22"/>
                </a:lnTo>
                <a:lnTo>
                  <a:pt x="9" y="4"/>
                </a:lnTo>
                <a:lnTo>
                  <a:pt x="13" y="1"/>
                </a:lnTo>
                <a:lnTo>
                  <a:pt x="13" y="0"/>
                </a:lnTo>
                <a:lnTo>
                  <a:pt x="15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98" name="Freeform 998"/>
          <p:cNvSpPr>
            <a:spLocks/>
          </p:cNvSpPr>
          <p:nvPr/>
        </p:nvSpPr>
        <p:spPr bwMode="auto">
          <a:xfrm>
            <a:off x="7418388" y="2874928"/>
            <a:ext cx="3175" cy="3175"/>
          </a:xfrm>
          <a:custGeom>
            <a:avLst/>
            <a:gdLst>
              <a:gd name="T0" fmla="*/ 0 w 2"/>
              <a:gd name="T1" fmla="*/ 0 h 2"/>
              <a:gd name="T2" fmla="*/ 1 w 2"/>
              <a:gd name="T3" fmla="*/ 0 h 2"/>
              <a:gd name="T4" fmla="*/ 2 w 2"/>
              <a:gd name="T5" fmla="*/ 0 h 2"/>
              <a:gd name="T6" fmla="*/ 2 w 2"/>
              <a:gd name="T7" fmla="*/ 2 h 2"/>
              <a:gd name="T8" fmla="*/ 2 w 2"/>
              <a:gd name="T9" fmla="*/ 2 h 2"/>
              <a:gd name="T10" fmla="*/ 1 w 2"/>
              <a:gd name="T11" fmla="*/ 2 h 2"/>
              <a:gd name="T12" fmla="*/ 0 w 2"/>
              <a:gd name="T13" fmla="*/ 1 h 2"/>
              <a:gd name="T14" fmla="*/ 0 w 2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1" y="0"/>
                </a:lnTo>
                <a:lnTo>
                  <a:pt x="2" y="0"/>
                </a:lnTo>
                <a:lnTo>
                  <a:pt x="2" y="2"/>
                </a:lnTo>
                <a:lnTo>
                  <a:pt x="2" y="2"/>
                </a:lnTo>
                <a:lnTo>
                  <a:pt x="1" y="2"/>
                </a:ln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999" name="Freeform 999"/>
          <p:cNvSpPr>
            <a:spLocks/>
          </p:cNvSpPr>
          <p:nvPr/>
        </p:nvSpPr>
        <p:spPr bwMode="auto">
          <a:xfrm>
            <a:off x="7418388" y="2874928"/>
            <a:ext cx="3175" cy="3175"/>
          </a:xfrm>
          <a:custGeom>
            <a:avLst/>
            <a:gdLst>
              <a:gd name="T0" fmla="*/ 0 w 2"/>
              <a:gd name="T1" fmla="*/ 0 h 2"/>
              <a:gd name="T2" fmla="*/ 1 w 2"/>
              <a:gd name="T3" fmla="*/ 0 h 2"/>
              <a:gd name="T4" fmla="*/ 2 w 2"/>
              <a:gd name="T5" fmla="*/ 0 h 2"/>
              <a:gd name="T6" fmla="*/ 2 w 2"/>
              <a:gd name="T7" fmla="*/ 2 h 2"/>
              <a:gd name="T8" fmla="*/ 2 w 2"/>
              <a:gd name="T9" fmla="*/ 2 h 2"/>
              <a:gd name="T10" fmla="*/ 1 w 2"/>
              <a:gd name="T11" fmla="*/ 2 h 2"/>
              <a:gd name="T12" fmla="*/ 0 w 2"/>
              <a:gd name="T13" fmla="*/ 1 h 2"/>
              <a:gd name="T14" fmla="*/ 0 w 2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2">
                <a:moveTo>
                  <a:pt x="0" y="0"/>
                </a:moveTo>
                <a:lnTo>
                  <a:pt x="1" y="0"/>
                </a:lnTo>
                <a:lnTo>
                  <a:pt x="2" y="0"/>
                </a:lnTo>
                <a:lnTo>
                  <a:pt x="2" y="2"/>
                </a:lnTo>
                <a:lnTo>
                  <a:pt x="2" y="2"/>
                </a:lnTo>
                <a:lnTo>
                  <a:pt x="1" y="2"/>
                </a:lnTo>
                <a:lnTo>
                  <a:pt x="0" y="1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000" name="Freeform 1000"/>
          <p:cNvSpPr>
            <a:spLocks/>
          </p:cNvSpPr>
          <p:nvPr/>
        </p:nvSpPr>
        <p:spPr bwMode="auto">
          <a:xfrm>
            <a:off x="7427913" y="2870165"/>
            <a:ext cx="3175" cy="6350"/>
          </a:xfrm>
          <a:custGeom>
            <a:avLst/>
            <a:gdLst>
              <a:gd name="T0" fmla="*/ 0 w 2"/>
              <a:gd name="T1" fmla="*/ 3 h 4"/>
              <a:gd name="T2" fmla="*/ 0 w 2"/>
              <a:gd name="T3" fmla="*/ 3 h 4"/>
              <a:gd name="T4" fmla="*/ 1 w 2"/>
              <a:gd name="T5" fmla="*/ 1 h 4"/>
              <a:gd name="T6" fmla="*/ 2 w 2"/>
              <a:gd name="T7" fmla="*/ 0 h 4"/>
              <a:gd name="T8" fmla="*/ 2 w 2"/>
              <a:gd name="T9" fmla="*/ 1 h 4"/>
              <a:gd name="T10" fmla="*/ 2 w 2"/>
              <a:gd name="T11" fmla="*/ 3 h 4"/>
              <a:gd name="T12" fmla="*/ 1 w 2"/>
              <a:gd name="T13" fmla="*/ 4 h 4"/>
              <a:gd name="T14" fmla="*/ 0 w 2"/>
              <a:gd name="T15" fmla="*/ 3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4">
                <a:moveTo>
                  <a:pt x="0" y="3"/>
                </a:moveTo>
                <a:lnTo>
                  <a:pt x="0" y="3"/>
                </a:lnTo>
                <a:lnTo>
                  <a:pt x="1" y="1"/>
                </a:lnTo>
                <a:lnTo>
                  <a:pt x="2" y="0"/>
                </a:lnTo>
                <a:lnTo>
                  <a:pt x="2" y="1"/>
                </a:lnTo>
                <a:lnTo>
                  <a:pt x="2" y="3"/>
                </a:lnTo>
                <a:lnTo>
                  <a:pt x="1" y="4"/>
                </a:lnTo>
                <a:lnTo>
                  <a:pt x="0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001" name="Freeform 1001"/>
          <p:cNvSpPr>
            <a:spLocks/>
          </p:cNvSpPr>
          <p:nvPr/>
        </p:nvSpPr>
        <p:spPr bwMode="auto">
          <a:xfrm>
            <a:off x="7427913" y="2870165"/>
            <a:ext cx="3175" cy="6350"/>
          </a:xfrm>
          <a:custGeom>
            <a:avLst/>
            <a:gdLst>
              <a:gd name="T0" fmla="*/ 0 w 2"/>
              <a:gd name="T1" fmla="*/ 3 h 4"/>
              <a:gd name="T2" fmla="*/ 0 w 2"/>
              <a:gd name="T3" fmla="*/ 3 h 4"/>
              <a:gd name="T4" fmla="*/ 1 w 2"/>
              <a:gd name="T5" fmla="*/ 1 h 4"/>
              <a:gd name="T6" fmla="*/ 2 w 2"/>
              <a:gd name="T7" fmla="*/ 0 h 4"/>
              <a:gd name="T8" fmla="*/ 2 w 2"/>
              <a:gd name="T9" fmla="*/ 1 h 4"/>
              <a:gd name="T10" fmla="*/ 2 w 2"/>
              <a:gd name="T11" fmla="*/ 3 h 4"/>
              <a:gd name="T12" fmla="*/ 1 w 2"/>
              <a:gd name="T13" fmla="*/ 4 h 4"/>
              <a:gd name="T14" fmla="*/ 0 w 2"/>
              <a:gd name="T15" fmla="*/ 3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4">
                <a:moveTo>
                  <a:pt x="0" y="3"/>
                </a:moveTo>
                <a:lnTo>
                  <a:pt x="0" y="3"/>
                </a:lnTo>
                <a:lnTo>
                  <a:pt x="1" y="1"/>
                </a:lnTo>
                <a:lnTo>
                  <a:pt x="2" y="0"/>
                </a:lnTo>
                <a:lnTo>
                  <a:pt x="2" y="1"/>
                </a:lnTo>
                <a:lnTo>
                  <a:pt x="2" y="3"/>
                </a:lnTo>
                <a:lnTo>
                  <a:pt x="1" y="4"/>
                </a:lnTo>
                <a:lnTo>
                  <a:pt x="0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002" name="Freeform 1002"/>
          <p:cNvSpPr>
            <a:spLocks/>
          </p:cNvSpPr>
          <p:nvPr/>
        </p:nvSpPr>
        <p:spPr bwMode="auto">
          <a:xfrm>
            <a:off x="7502525" y="2803490"/>
            <a:ext cx="9525" cy="19050"/>
          </a:xfrm>
          <a:custGeom>
            <a:avLst/>
            <a:gdLst>
              <a:gd name="T0" fmla="*/ 2 w 6"/>
              <a:gd name="T1" fmla="*/ 6 h 12"/>
              <a:gd name="T2" fmla="*/ 2 w 6"/>
              <a:gd name="T3" fmla="*/ 5 h 12"/>
              <a:gd name="T4" fmla="*/ 2 w 6"/>
              <a:gd name="T5" fmla="*/ 2 h 12"/>
              <a:gd name="T6" fmla="*/ 3 w 6"/>
              <a:gd name="T7" fmla="*/ 3 h 12"/>
              <a:gd name="T8" fmla="*/ 5 w 6"/>
              <a:gd name="T9" fmla="*/ 1 h 12"/>
              <a:gd name="T10" fmla="*/ 6 w 6"/>
              <a:gd name="T11" fmla="*/ 0 h 12"/>
              <a:gd name="T12" fmla="*/ 6 w 6"/>
              <a:gd name="T13" fmla="*/ 2 h 12"/>
              <a:gd name="T14" fmla="*/ 6 w 6"/>
              <a:gd name="T15" fmla="*/ 5 h 12"/>
              <a:gd name="T16" fmla="*/ 5 w 6"/>
              <a:gd name="T17" fmla="*/ 6 h 12"/>
              <a:gd name="T18" fmla="*/ 3 w 6"/>
              <a:gd name="T19" fmla="*/ 8 h 12"/>
              <a:gd name="T20" fmla="*/ 3 w 6"/>
              <a:gd name="T21" fmla="*/ 9 h 12"/>
              <a:gd name="T22" fmla="*/ 3 w 6"/>
              <a:gd name="T23" fmla="*/ 10 h 12"/>
              <a:gd name="T24" fmla="*/ 3 w 6"/>
              <a:gd name="T25" fmla="*/ 12 h 12"/>
              <a:gd name="T26" fmla="*/ 3 w 6"/>
              <a:gd name="T27" fmla="*/ 12 h 12"/>
              <a:gd name="T28" fmla="*/ 0 w 6"/>
              <a:gd name="T29" fmla="*/ 11 h 12"/>
              <a:gd name="T30" fmla="*/ 0 w 6"/>
              <a:gd name="T31" fmla="*/ 8 h 12"/>
              <a:gd name="T32" fmla="*/ 2 w 6"/>
              <a:gd name="T33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" h="12">
                <a:moveTo>
                  <a:pt x="2" y="6"/>
                </a:moveTo>
                <a:lnTo>
                  <a:pt x="2" y="5"/>
                </a:lnTo>
                <a:lnTo>
                  <a:pt x="2" y="2"/>
                </a:lnTo>
                <a:lnTo>
                  <a:pt x="3" y="3"/>
                </a:lnTo>
                <a:lnTo>
                  <a:pt x="5" y="1"/>
                </a:lnTo>
                <a:lnTo>
                  <a:pt x="6" y="0"/>
                </a:lnTo>
                <a:lnTo>
                  <a:pt x="6" y="2"/>
                </a:lnTo>
                <a:lnTo>
                  <a:pt x="6" y="5"/>
                </a:lnTo>
                <a:lnTo>
                  <a:pt x="5" y="6"/>
                </a:lnTo>
                <a:lnTo>
                  <a:pt x="3" y="8"/>
                </a:lnTo>
                <a:lnTo>
                  <a:pt x="3" y="9"/>
                </a:lnTo>
                <a:lnTo>
                  <a:pt x="3" y="10"/>
                </a:lnTo>
                <a:lnTo>
                  <a:pt x="3" y="12"/>
                </a:lnTo>
                <a:lnTo>
                  <a:pt x="3" y="12"/>
                </a:lnTo>
                <a:lnTo>
                  <a:pt x="0" y="11"/>
                </a:lnTo>
                <a:lnTo>
                  <a:pt x="0" y="8"/>
                </a:lnTo>
                <a:lnTo>
                  <a:pt x="2" y="6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003" name="Freeform 1003"/>
          <p:cNvSpPr>
            <a:spLocks/>
          </p:cNvSpPr>
          <p:nvPr/>
        </p:nvSpPr>
        <p:spPr bwMode="auto">
          <a:xfrm>
            <a:off x="7502525" y="2803490"/>
            <a:ext cx="9525" cy="19050"/>
          </a:xfrm>
          <a:custGeom>
            <a:avLst/>
            <a:gdLst>
              <a:gd name="T0" fmla="*/ 2 w 6"/>
              <a:gd name="T1" fmla="*/ 6 h 12"/>
              <a:gd name="T2" fmla="*/ 2 w 6"/>
              <a:gd name="T3" fmla="*/ 5 h 12"/>
              <a:gd name="T4" fmla="*/ 2 w 6"/>
              <a:gd name="T5" fmla="*/ 2 h 12"/>
              <a:gd name="T6" fmla="*/ 3 w 6"/>
              <a:gd name="T7" fmla="*/ 3 h 12"/>
              <a:gd name="T8" fmla="*/ 5 w 6"/>
              <a:gd name="T9" fmla="*/ 1 h 12"/>
              <a:gd name="T10" fmla="*/ 6 w 6"/>
              <a:gd name="T11" fmla="*/ 0 h 12"/>
              <a:gd name="T12" fmla="*/ 6 w 6"/>
              <a:gd name="T13" fmla="*/ 2 h 12"/>
              <a:gd name="T14" fmla="*/ 6 w 6"/>
              <a:gd name="T15" fmla="*/ 5 h 12"/>
              <a:gd name="T16" fmla="*/ 5 w 6"/>
              <a:gd name="T17" fmla="*/ 6 h 12"/>
              <a:gd name="T18" fmla="*/ 3 w 6"/>
              <a:gd name="T19" fmla="*/ 8 h 12"/>
              <a:gd name="T20" fmla="*/ 3 w 6"/>
              <a:gd name="T21" fmla="*/ 9 h 12"/>
              <a:gd name="T22" fmla="*/ 3 w 6"/>
              <a:gd name="T23" fmla="*/ 10 h 12"/>
              <a:gd name="T24" fmla="*/ 3 w 6"/>
              <a:gd name="T25" fmla="*/ 12 h 12"/>
              <a:gd name="T26" fmla="*/ 3 w 6"/>
              <a:gd name="T27" fmla="*/ 12 h 12"/>
              <a:gd name="T28" fmla="*/ 0 w 6"/>
              <a:gd name="T29" fmla="*/ 11 h 12"/>
              <a:gd name="T30" fmla="*/ 0 w 6"/>
              <a:gd name="T31" fmla="*/ 8 h 12"/>
              <a:gd name="T32" fmla="*/ 2 w 6"/>
              <a:gd name="T33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" h="12">
                <a:moveTo>
                  <a:pt x="2" y="6"/>
                </a:moveTo>
                <a:lnTo>
                  <a:pt x="2" y="5"/>
                </a:lnTo>
                <a:lnTo>
                  <a:pt x="2" y="2"/>
                </a:lnTo>
                <a:lnTo>
                  <a:pt x="3" y="3"/>
                </a:lnTo>
                <a:lnTo>
                  <a:pt x="5" y="1"/>
                </a:lnTo>
                <a:lnTo>
                  <a:pt x="6" y="0"/>
                </a:lnTo>
                <a:lnTo>
                  <a:pt x="6" y="2"/>
                </a:lnTo>
                <a:lnTo>
                  <a:pt x="6" y="5"/>
                </a:lnTo>
                <a:lnTo>
                  <a:pt x="5" y="6"/>
                </a:lnTo>
                <a:lnTo>
                  <a:pt x="3" y="8"/>
                </a:lnTo>
                <a:lnTo>
                  <a:pt x="3" y="9"/>
                </a:lnTo>
                <a:lnTo>
                  <a:pt x="3" y="10"/>
                </a:lnTo>
                <a:lnTo>
                  <a:pt x="3" y="12"/>
                </a:lnTo>
                <a:lnTo>
                  <a:pt x="3" y="12"/>
                </a:lnTo>
                <a:lnTo>
                  <a:pt x="0" y="11"/>
                </a:lnTo>
                <a:lnTo>
                  <a:pt x="0" y="8"/>
                </a:lnTo>
                <a:lnTo>
                  <a:pt x="2" y="6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004" name="Freeform 1004"/>
          <p:cNvSpPr>
            <a:spLocks/>
          </p:cNvSpPr>
          <p:nvPr/>
        </p:nvSpPr>
        <p:spPr bwMode="auto">
          <a:xfrm>
            <a:off x="7518400" y="2771740"/>
            <a:ext cx="4762" cy="7938"/>
          </a:xfrm>
          <a:custGeom>
            <a:avLst/>
            <a:gdLst>
              <a:gd name="T0" fmla="*/ 3 w 3"/>
              <a:gd name="T1" fmla="*/ 2 h 5"/>
              <a:gd name="T2" fmla="*/ 3 w 3"/>
              <a:gd name="T3" fmla="*/ 5 h 5"/>
              <a:gd name="T4" fmla="*/ 3 w 3"/>
              <a:gd name="T5" fmla="*/ 5 h 5"/>
              <a:gd name="T6" fmla="*/ 2 w 3"/>
              <a:gd name="T7" fmla="*/ 4 h 5"/>
              <a:gd name="T8" fmla="*/ 0 w 3"/>
              <a:gd name="T9" fmla="*/ 2 h 5"/>
              <a:gd name="T10" fmla="*/ 0 w 3"/>
              <a:gd name="T11" fmla="*/ 0 h 5"/>
              <a:gd name="T12" fmla="*/ 2 w 3"/>
              <a:gd name="T13" fmla="*/ 2 h 5"/>
              <a:gd name="T14" fmla="*/ 3 w 3"/>
              <a:gd name="T15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5">
                <a:moveTo>
                  <a:pt x="3" y="2"/>
                </a:moveTo>
                <a:lnTo>
                  <a:pt x="3" y="5"/>
                </a:lnTo>
                <a:lnTo>
                  <a:pt x="3" y="5"/>
                </a:lnTo>
                <a:lnTo>
                  <a:pt x="2" y="4"/>
                </a:lnTo>
                <a:lnTo>
                  <a:pt x="0" y="2"/>
                </a:lnTo>
                <a:lnTo>
                  <a:pt x="0" y="0"/>
                </a:lnTo>
                <a:lnTo>
                  <a:pt x="2" y="2"/>
                </a:lnTo>
                <a:lnTo>
                  <a:pt x="3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005" name="Freeform 1005"/>
          <p:cNvSpPr>
            <a:spLocks/>
          </p:cNvSpPr>
          <p:nvPr/>
        </p:nvSpPr>
        <p:spPr bwMode="auto">
          <a:xfrm>
            <a:off x="7518400" y="2771740"/>
            <a:ext cx="4762" cy="7938"/>
          </a:xfrm>
          <a:custGeom>
            <a:avLst/>
            <a:gdLst>
              <a:gd name="T0" fmla="*/ 3 w 3"/>
              <a:gd name="T1" fmla="*/ 2 h 5"/>
              <a:gd name="T2" fmla="*/ 3 w 3"/>
              <a:gd name="T3" fmla="*/ 5 h 5"/>
              <a:gd name="T4" fmla="*/ 3 w 3"/>
              <a:gd name="T5" fmla="*/ 5 h 5"/>
              <a:gd name="T6" fmla="*/ 2 w 3"/>
              <a:gd name="T7" fmla="*/ 4 h 5"/>
              <a:gd name="T8" fmla="*/ 0 w 3"/>
              <a:gd name="T9" fmla="*/ 2 h 5"/>
              <a:gd name="T10" fmla="*/ 0 w 3"/>
              <a:gd name="T11" fmla="*/ 0 h 5"/>
              <a:gd name="T12" fmla="*/ 2 w 3"/>
              <a:gd name="T13" fmla="*/ 2 h 5"/>
              <a:gd name="T14" fmla="*/ 3 w 3"/>
              <a:gd name="T15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5">
                <a:moveTo>
                  <a:pt x="3" y="2"/>
                </a:moveTo>
                <a:lnTo>
                  <a:pt x="3" y="5"/>
                </a:lnTo>
                <a:lnTo>
                  <a:pt x="3" y="5"/>
                </a:lnTo>
                <a:lnTo>
                  <a:pt x="2" y="4"/>
                </a:lnTo>
                <a:lnTo>
                  <a:pt x="0" y="2"/>
                </a:lnTo>
                <a:lnTo>
                  <a:pt x="0" y="0"/>
                </a:lnTo>
                <a:lnTo>
                  <a:pt x="2" y="2"/>
                </a:lnTo>
                <a:lnTo>
                  <a:pt x="3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006" name="Freeform 1006"/>
          <p:cNvSpPr>
            <a:spLocks/>
          </p:cNvSpPr>
          <p:nvPr/>
        </p:nvSpPr>
        <p:spPr bwMode="auto">
          <a:xfrm>
            <a:off x="7524750" y="2755865"/>
            <a:ext cx="7937" cy="9525"/>
          </a:xfrm>
          <a:custGeom>
            <a:avLst/>
            <a:gdLst>
              <a:gd name="T0" fmla="*/ 2 w 5"/>
              <a:gd name="T1" fmla="*/ 1 h 6"/>
              <a:gd name="T2" fmla="*/ 4 w 5"/>
              <a:gd name="T3" fmla="*/ 0 h 6"/>
              <a:gd name="T4" fmla="*/ 5 w 5"/>
              <a:gd name="T5" fmla="*/ 0 h 6"/>
              <a:gd name="T6" fmla="*/ 5 w 5"/>
              <a:gd name="T7" fmla="*/ 2 h 6"/>
              <a:gd name="T8" fmla="*/ 4 w 5"/>
              <a:gd name="T9" fmla="*/ 4 h 6"/>
              <a:gd name="T10" fmla="*/ 3 w 5"/>
              <a:gd name="T11" fmla="*/ 5 h 6"/>
              <a:gd name="T12" fmla="*/ 2 w 5"/>
              <a:gd name="T13" fmla="*/ 6 h 6"/>
              <a:gd name="T14" fmla="*/ 2 w 5"/>
              <a:gd name="T15" fmla="*/ 6 h 6"/>
              <a:gd name="T16" fmla="*/ 1 w 5"/>
              <a:gd name="T17" fmla="*/ 5 h 6"/>
              <a:gd name="T18" fmla="*/ 0 w 5"/>
              <a:gd name="T19" fmla="*/ 4 h 6"/>
              <a:gd name="T20" fmla="*/ 1 w 5"/>
              <a:gd name="T21" fmla="*/ 1 h 6"/>
              <a:gd name="T22" fmla="*/ 2 w 5"/>
              <a:gd name="T23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" h="6">
                <a:moveTo>
                  <a:pt x="2" y="1"/>
                </a:moveTo>
                <a:lnTo>
                  <a:pt x="4" y="0"/>
                </a:lnTo>
                <a:lnTo>
                  <a:pt x="5" y="0"/>
                </a:lnTo>
                <a:lnTo>
                  <a:pt x="5" y="2"/>
                </a:lnTo>
                <a:lnTo>
                  <a:pt x="4" y="4"/>
                </a:lnTo>
                <a:lnTo>
                  <a:pt x="3" y="5"/>
                </a:lnTo>
                <a:lnTo>
                  <a:pt x="2" y="6"/>
                </a:lnTo>
                <a:lnTo>
                  <a:pt x="2" y="6"/>
                </a:lnTo>
                <a:lnTo>
                  <a:pt x="1" y="5"/>
                </a:lnTo>
                <a:lnTo>
                  <a:pt x="0" y="4"/>
                </a:lnTo>
                <a:lnTo>
                  <a:pt x="1" y="1"/>
                </a:lnTo>
                <a:lnTo>
                  <a:pt x="2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007" name="Freeform 1007"/>
          <p:cNvSpPr>
            <a:spLocks/>
          </p:cNvSpPr>
          <p:nvPr/>
        </p:nvSpPr>
        <p:spPr bwMode="auto">
          <a:xfrm>
            <a:off x="7524750" y="2755865"/>
            <a:ext cx="7937" cy="9525"/>
          </a:xfrm>
          <a:custGeom>
            <a:avLst/>
            <a:gdLst>
              <a:gd name="T0" fmla="*/ 2 w 5"/>
              <a:gd name="T1" fmla="*/ 1 h 6"/>
              <a:gd name="T2" fmla="*/ 4 w 5"/>
              <a:gd name="T3" fmla="*/ 0 h 6"/>
              <a:gd name="T4" fmla="*/ 5 w 5"/>
              <a:gd name="T5" fmla="*/ 0 h 6"/>
              <a:gd name="T6" fmla="*/ 5 w 5"/>
              <a:gd name="T7" fmla="*/ 2 h 6"/>
              <a:gd name="T8" fmla="*/ 4 w 5"/>
              <a:gd name="T9" fmla="*/ 4 h 6"/>
              <a:gd name="T10" fmla="*/ 3 w 5"/>
              <a:gd name="T11" fmla="*/ 5 h 6"/>
              <a:gd name="T12" fmla="*/ 2 w 5"/>
              <a:gd name="T13" fmla="*/ 6 h 6"/>
              <a:gd name="T14" fmla="*/ 2 w 5"/>
              <a:gd name="T15" fmla="*/ 6 h 6"/>
              <a:gd name="T16" fmla="*/ 1 w 5"/>
              <a:gd name="T17" fmla="*/ 5 h 6"/>
              <a:gd name="T18" fmla="*/ 0 w 5"/>
              <a:gd name="T19" fmla="*/ 4 h 6"/>
              <a:gd name="T20" fmla="*/ 1 w 5"/>
              <a:gd name="T21" fmla="*/ 1 h 6"/>
              <a:gd name="T22" fmla="*/ 2 w 5"/>
              <a:gd name="T23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" h="6">
                <a:moveTo>
                  <a:pt x="2" y="1"/>
                </a:moveTo>
                <a:lnTo>
                  <a:pt x="4" y="0"/>
                </a:lnTo>
                <a:lnTo>
                  <a:pt x="5" y="0"/>
                </a:lnTo>
                <a:lnTo>
                  <a:pt x="5" y="2"/>
                </a:lnTo>
                <a:lnTo>
                  <a:pt x="4" y="4"/>
                </a:lnTo>
                <a:lnTo>
                  <a:pt x="3" y="5"/>
                </a:lnTo>
                <a:lnTo>
                  <a:pt x="2" y="6"/>
                </a:lnTo>
                <a:lnTo>
                  <a:pt x="2" y="6"/>
                </a:lnTo>
                <a:lnTo>
                  <a:pt x="1" y="5"/>
                </a:lnTo>
                <a:lnTo>
                  <a:pt x="0" y="4"/>
                </a:lnTo>
                <a:lnTo>
                  <a:pt x="1" y="1"/>
                </a:lnTo>
                <a:lnTo>
                  <a:pt x="2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008" name="Freeform 1008"/>
          <p:cNvSpPr>
            <a:spLocks/>
          </p:cNvSpPr>
          <p:nvPr/>
        </p:nvSpPr>
        <p:spPr bwMode="auto">
          <a:xfrm>
            <a:off x="7453313" y="2862228"/>
            <a:ext cx="6350" cy="3175"/>
          </a:xfrm>
          <a:custGeom>
            <a:avLst/>
            <a:gdLst>
              <a:gd name="T0" fmla="*/ 2 w 4"/>
              <a:gd name="T1" fmla="*/ 0 h 2"/>
              <a:gd name="T2" fmla="*/ 0 w 4"/>
              <a:gd name="T3" fmla="*/ 0 h 2"/>
              <a:gd name="T4" fmla="*/ 0 w 4"/>
              <a:gd name="T5" fmla="*/ 0 h 2"/>
              <a:gd name="T6" fmla="*/ 2 w 4"/>
              <a:gd name="T7" fmla="*/ 1 h 2"/>
              <a:gd name="T8" fmla="*/ 3 w 4"/>
              <a:gd name="T9" fmla="*/ 1 h 2"/>
              <a:gd name="T10" fmla="*/ 4 w 4"/>
              <a:gd name="T11" fmla="*/ 2 h 2"/>
              <a:gd name="T12" fmla="*/ 3 w 4"/>
              <a:gd name="T13" fmla="*/ 2 h 2"/>
              <a:gd name="T14" fmla="*/ 2 w 4"/>
              <a:gd name="T15" fmla="*/ 1 h 2"/>
              <a:gd name="T16" fmla="*/ 2 w 4"/>
              <a:gd name="T17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2">
                <a:moveTo>
                  <a:pt x="2" y="0"/>
                </a:moveTo>
                <a:lnTo>
                  <a:pt x="0" y="0"/>
                </a:lnTo>
                <a:lnTo>
                  <a:pt x="0" y="0"/>
                </a:lnTo>
                <a:lnTo>
                  <a:pt x="2" y="1"/>
                </a:lnTo>
                <a:lnTo>
                  <a:pt x="3" y="1"/>
                </a:lnTo>
                <a:lnTo>
                  <a:pt x="4" y="2"/>
                </a:lnTo>
                <a:lnTo>
                  <a:pt x="3" y="2"/>
                </a:lnTo>
                <a:lnTo>
                  <a:pt x="2" y="1"/>
                </a:lnTo>
                <a:lnTo>
                  <a:pt x="2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grpSp>
        <p:nvGrpSpPr>
          <p:cNvPr id="2" name="Group 1210"/>
          <p:cNvGrpSpPr>
            <a:grpSpLocks/>
          </p:cNvGrpSpPr>
          <p:nvPr/>
        </p:nvGrpSpPr>
        <p:grpSpPr bwMode="auto">
          <a:xfrm>
            <a:off x="1485900" y="1338228"/>
            <a:ext cx="7100887" cy="2806700"/>
            <a:chOff x="936" y="737"/>
            <a:chExt cx="4473" cy="1768"/>
          </a:xfrm>
          <a:solidFill>
            <a:srgbClr val="CBC7BF"/>
          </a:solidFill>
        </p:grpSpPr>
        <p:sp>
          <p:nvSpPr>
            <p:cNvPr id="1010" name="Freeform 1010"/>
            <p:cNvSpPr>
              <a:spLocks/>
            </p:cNvSpPr>
            <p:nvPr/>
          </p:nvSpPr>
          <p:spPr bwMode="auto">
            <a:xfrm>
              <a:off x="4695" y="1697"/>
              <a:ext cx="4" cy="2"/>
            </a:xfrm>
            <a:custGeom>
              <a:avLst/>
              <a:gdLst>
                <a:gd name="T0" fmla="*/ 2 w 4"/>
                <a:gd name="T1" fmla="*/ 0 h 2"/>
                <a:gd name="T2" fmla="*/ 0 w 4"/>
                <a:gd name="T3" fmla="*/ 0 h 2"/>
                <a:gd name="T4" fmla="*/ 0 w 4"/>
                <a:gd name="T5" fmla="*/ 0 h 2"/>
                <a:gd name="T6" fmla="*/ 2 w 4"/>
                <a:gd name="T7" fmla="*/ 1 h 2"/>
                <a:gd name="T8" fmla="*/ 3 w 4"/>
                <a:gd name="T9" fmla="*/ 1 h 2"/>
                <a:gd name="T10" fmla="*/ 4 w 4"/>
                <a:gd name="T11" fmla="*/ 2 h 2"/>
                <a:gd name="T12" fmla="*/ 3 w 4"/>
                <a:gd name="T13" fmla="*/ 2 h 2"/>
                <a:gd name="T14" fmla="*/ 2 w 4"/>
                <a:gd name="T15" fmla="*/ 1 h 2"/>
                <a:gd name="T16" fmla="*/ 2 w 4"/>
                <a:gd name="T1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2">
                  <a:moveTo>
                    <a:pt x="2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1"/>
                  </a:lnTo>
                  <a:lnTo>
                    <a:pt x="3" y="1"/>
                  </a:lnTo>
                  <a:lnTo>
                    <a:pt x="4" y="2"/>
                  </a:lnTo>
                  <a:lnTo>
                    <a:pt x="3" y="2"/>
                  </a:lnTo>
                  <a:lnTo>
                    <a:pt x="2" y="1"/>
                  </a:lnTo>
                  <a:lnTo>
                    <a:pt x="2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11" name="Freeform 1011"/>
            <p:cNvSpPr>
              <a:spLocks/>
            </p:cNvSpPr>
            <p:nvPr/>
          </p:nvSpPr>
          <p:spPr bwMode="auto">
            <a:xfrm>
              <a:off x="5383" y="2415"/>
              <a:ext cx="8" cy="17"/>
            </a:xfrm>
            <a:custGeom>
              <a:avLst/>
              <a:gdLst>
                <a:gd name="T0" fmla="*/ 1 w 8"/>
                <a:gd name="T1" fmla="*/ 1 h 17"/>
                <a:gd name="T2" fmla="*/ 1 w 8"/>
                <a:gd name="T3" fmla="*/ 0 h 17"/>
                <a:gd name="T4" fmla="*/ 1 w 8"/>
                <a:gd name="T5" fmla="*/ 1 h 17"/>
                <a:gd name="T6" fmla="*/ 1 w 8"/>
                <a:gd name="T7" fmla="*/ 3 h 17"/>
                <a:gd name="T8" fmla="*/ 3 w 8"/>
                <a:gd name="T9" fmla="*/ 4 h 17"/>
                <a:gd name="T10" fmla="*/ 3 w 8"/>
                <a:gd name="T11" fmla="*/ 9 h 17"/>
                <a:gd name="T12" fmla="*/ 4 w 8"/>
                <a:gd name="T13" fmla="*/ 10 h 17"/>
                <a:gd name="T14" fmla="*/ 5 w 8"/>
                <a:gd name="T15" fmla="*/ 9 h 17"/>
                <a:gd name="T16" fmla="*/ 6 w 8"/>
                <a:gd name="T17" fmla="*/ 5 h 17"/>
                <a:gd name="T18" fmla="*/ 7 w 8"/>
                <a:gd name="T19" fmla="*/ 5 h 17"/>
                <a:gd name="T20" fmla="*/ 8 w 8"/>
                <a:gd name="T21" fmla="*/ 5 h 17"/>
                <a:gd name="T22" fmla="*/ 8 w 8"/>
                <a:gd name="T23" fmla="*/ 8 h 17"/>
                <a:gd name="T24" fmla="*/ 8 w 8"/>
                <a:gd name="T25" fmla="*/ 8 h 17"/>
                <a:gd name="T26" fmla="*/ 8 w 8"/>
                <a:gd name="T27" fmla="*/ 11 h 17"/>
                <a:gd name="T28" fmla="*/ 8 w 8"/>
                <a:gd name="T29" fmla="*/ 14 h 17"/>
                <a:gd name="T30" fmla="*/ 7 w 8"/>
                <a:gd name="T31" fmla="*/ 15 h 17"/>
                <a:gd name="T32" fmla="*/ 5 w 8"/>
                <a:gd name="T33" fmla="*/ 15 h 17"/>
                <a:gd name="T34" fmla="*/ 3 w 8"/>
                <a:gd name="T35" fmla="*/ 17 h 17"/>
                <a:gd name="T36" fmla="*/ 1 w 8"/>
                <a:gd name="T37" fmla="*/ 17 h 17"/>
                <a:gd name="T38" fmla="*/ 0 w 8"/>
                <a:gd name="T39" fmla="*/ 11 h 17"/>
                <a:gd name="T40" fmla="*/ 0 w 8"/>
                <a:gd name="T41" fmla="*/ 7 h 17"/>
                <a:gd name="T42" fmla="*/ 1 w 8"/>
                <a:gd name="T43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" h="17">
                  <a:moveTo>
                    <a:pt x="1" y="1"/>
                  </a:moveTo>
                  <a:lnTo>
                    <a:pt x="1" y="0"/>
                  </a:lnTo>
                  <a:lnTo>
                    <a:pt x="1" y="1"/>
                  </a:lnTo>
                  <a:lnTo>
                    <a:pt x="1" y="3"/>
                  </a:lnTo>
                  <a:lnTo>
                    <a:pt x="3" y="4"/>
                  </a:lnTo>
                  <a:lnTo>
                    <a:pt x="3" y="9"/>
                  </a:lnTo>
                  <a:lnTo>
                    <a:pt x="4" y="10"/>
                  </a:lnTo>
                  <a:lnTo>
                    <a:pt x="5" y="9"/>
                  </a:lnTo>
                  <a:lnTo>
                    <a:pt x="6" y="5"/>
                  </a:lnTo>
                  <a:lnTo>
                    <a:pt x="7" y="5"/>
                  </a:lnTo>
                  <a:lnTo>
                    <a:pt x="8" y="5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1"/>
                  </a:lnTo>
                  <a:lnTo>
                    <a:pt x="8" y="14"/>
                  </a:lnTo>
                  <a:lnTo>
                    <a:pt x="7" y="15"/>
                  </a:lnTo>
                  <a:lnTo>
                    <a:pt x="5" y="15"/>
                  </a:lnTo>
                  <a:lnTo>
                    <a:pt x="3" y="17"/>
                  </a:lnTo>
                  <a:lnTo>
                    <a:pt x="1" y="17"/>
                  </a:lnTo>
                  <a:lnTo>
                    <a:pt x="0" y="11"/>
                  </a:lnTo>
                  <a:lnTo>
                    <a:pt x="0" y="7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12" name="Freeform 1012"/>
            <p:cNvSpPr>
              <a:spLocks/>
            </p:cNvSpPr>
            <p:nvPr/>
          </p:nvSpPr>
          <p:spPr bwMode="auto">
            <a:xfrm>
              <a:off x="5383" y="2415"/>
              <a:ext cx="8" cy="17"/>
            </a:xfrm>
            <a:custGeom>
              <a:avLst/>
              <a:gdLst>
                <a:gd name="T0" fmla="*/ 1 w 8"/>
                <a:gd name="T1" fmla="*/ 1 h 17"/>
                <a:gd name="T2" fmla="*/ 1 w 8"/>
                <a:gd name="T3" fmla="*/ 0 h 17"/>
                <a:gd name="T4" fmla="*/ 1 w 8"/>
                <a:gd name="T5" fmla="*/ 1 h 17"/>
                <a:gd name="T6" fmla="*/ 1 w 8"/>
                <a:gd name="T7" fmla="*/ 3 h 17"/>
                <a:gd name="T8" fmla="*/ 3 w 8"/>
                <a:gd name="T9" fmla="*/ 4 h 17"/>
                <a:gd name="T10" fmla="*/ 3 w 8"/>
                <a:gd name="T11" fmla="*/ 9 h 17"/>
                <a:gd name="T12" fmla="*/ 4 w 8"/>
                <a:gd name="T13" fmla="*/ 10 h 17"/>
                <a:gd name="T14" fmla="*/ 5 w 8"/>
                <a:gd name="T15" fmla="*/ 9 h 17"/>
                <a:gd name="T16" fmla="*/ 6 w 8"/>
                <a:gd name="T17" fmla="*/ 5 h 17"/>
                <a:gd name="T18" fmla="*/ 7 w 8"/>
                <a:gd name="T19" fmla="*/ 5 h 17"/>
                <a:gd name="T20" fmla="*/ 8 w 8"/>
                <a:gd name="T21" fmla="*/ 5 h 17"/>
                <a:gd name="T22" fmla="*/ 8 w 8"/>
                <a:gd name="T23" fmla="*/ 8 h 17"/>
                <a:gd name="T24" fmla="*/ 8 w 8"/>
                <a:gd name="T25" fmla="*/ 8 h 17"/>
                <a:gd name="T26" fmla="*/ 8 w 8"/>
                <a:gd name="T27" fmla="*/ 11 h 17"/>
                <a:gd name="T28" fmla="*/ 8 w 8"/>
                <a:gd name="T29" fmla="*/ 14 h 17"/>
                <a:gd name="T30" fmla="*/ 7 w 8"/>
                <a:gd name="T31" fmla="*/ 15 h 17"/>
                <a:gd name="T32" fmla="*/ 5 w 8"/>
                <a:gd name="T33" fmla="*/ 15 h 17"/>
                <a:gd name="T34" fmla="*/ 3 w 8"/>
                <a:gd name="T35" fmla="*/ 17 h 17"/>
                <a:gd name="T36" fmla="*/ 1 w 8"/>
                <a:gd name="T37" fmla="*/ 17 h 17"/>
                <a:gd name="T38" fmla="*/ 0 w 8"/>
                <a:gd name="T39" fmla="*/ 11 h 17"/>
                <a:gd name="T40" fmla="*/ 0 w 8"/>
                <a:gd name="T41" fmla="*/ 7 h 17"/>
                <a:gd name="T42" fmla="*/ 1 w 8"/>
                <a:gd name="T43" fmla="*/ 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" h="17">
                  <a:moveTo>
                    <a:pt x="1" y="1"/>
                  </a:moveTo>
                  <a:lnTo>
                    <a:pt x="1" y="0"/>
                  </a:lnTo>
                  <a:lnTo>
                    <a:pt x="1" y="1"/>
                  </a:lnTo>
                  <a:lnTo>
                    <a:pt x="1" y="3"/>
                  </a:lnTo>
                  <a:lnTo>
                    <a:pt x="3" y="4"/>
                  </a:lnTo>
                  <a:lnTo>
                    <a:pt x="3" y="9"/>
                  </a:lnTo>
                  <a:lnTo>
                    <a:pt x="4" y="10"/>
                  </a:lnTo>
                  <a:lnTo>
                    <a:pt x="5" y="9"/>
                  </a:lnTo>
                  <a:lnTo>
                    <a:pt x="6" y="5"/>
                  </a:lnTo>
                  <a:lnTo>
                    <a:pt x="7" y="5"/>
                  </a:lnTo>
                  <a:lnTo>
                    <a:pt x="8" y="5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1"/>
                  </a:lnTo>
                  <a:lnTo>
                    <a:pt x="8" y="14"/>
                  </a:lnTo>
                  <a:lnTo>
                    <a:pt x="7" y="15"/>
                  </a:lnTo>
                  <a:lnTo>
                    <a:pt x="5" y="15"/>
                  </a:lnTo>
                  <a:lnTo>
                    <a:pt x="3" y="17"/>
                  </a:lnTo>
                  <a:lnTo>
                    <a:pt x="1" y="17"/>
                  </a:lnTo>
                  <a:lnTo>
                    <a:pt x="0" y="11"/>
                  </a:lnTo>
                  <a:lnTo>
                    <a:pt x="0" y="7"/>
                  </a:lnTo>
                  <a:lnTo>
                    <a:pt x="1" y="1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13" name="Freeform 1013"/>
            <p:cNvSpPr>
              <a:spLocks/>
            </p:cNvSpPr>
            <p:nvPr/>
          </p:nvSpPr>
          <p:spPr bwMode="auto">
            <a:xfrm>
              <a:off x="5389" y="2436"/>
              <a:ext cx="8" cy="12"/>
            </a:xfrm>
            <a:custGeom>
              <a:avLst/>
              <a:gdLst>
                <a:gd name="T0" fmla="*/ 1 w 8"/>
                <a:gd name="T1" fmla="*/ 0 h 12"/>
                <a:gd name="T2" fmla="*/ 2 w 8"/>
                <a:gd name="T3" fmla="*/ 0 h 12"/>
                <a:gd name="T4" fmla="*/ 3 w 8"/>
                <a:gd name="T5" fmla="*/ 1 h 12"/>
                <a:gd name="T6" fmla="*/ 3 w 8"/>
                <a:gd name="T7" fmla="*/ 3 h 12"/>
                <a:gd name="T8" fmla="*/ 4 w 8"/>
                <a:gd name="T9" fmla="*/ 3 h 12"/>
                <a:gd name="T10" fmla="*/ 5 w 8"/>
                <a:gd name="T11" fmla="*/ 7 h 12"/>
                <a:gd name="T12" fmla="*/ 7 w 8"/>
                <a:gd name="T13" fmla="*/ 9 h 12"/>
                <a:gd name="T14" fmla="*/ 8 w 8"/>
                <a:gd name="T15" fmla="*/ 11 h 12"/>
                <a:gd name="T16" fmla="*/ 7 w 8"/>
                <a:gd name="T17" fmla="*/ 11 h 12"/>
                <a:gd name="T18" fmla="*/ 2 w 8"/>
                <a:gd name="T19" fmla="*/ 12 h 12"/>
                <a:gd name="T20" fmla="*/ 2 w 8"/>
                <a:gd name="T21" fmla="*/ 4 h 12"/>
                <a:gd name="T22" fmla="*/ 2 w 8"/>
                <a:gd name="T23" fmla="*/ 4 h 12"/>
                <a:gd name="T24" fmla="*/ 0 w 8"/>
                <a:gd name="T25" fmla="*/ 3 h 12"/>
                <a:gd name="T26" fmla="*/ 1 w 8"/>
                <a:gd name="T2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2">
                  <a:moveTo>
                    <a:pt x="1" y="0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3" y="3"/>
                  </a:lnTo>
                  <a:lnTo>
                    <a:pt x="4" y="3"/>
                  </a:lnTo>
                  <a:lnTo>
                    <a:pt x="5" y="7"/>
                  </a:lnTo>
                  <a:lnTo>
                    <a:pt x="7" y="9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2" y="12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3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14" name="Freeform 1014"/>
            <p:cNvSpPr>
              <a:spLocks/>
            </p:cNvSpPr>
            <p:nvPr/>
          </p:nvSpPr>
          <p:spPr bwMode="auto">
            <a:xfrm>
              <a:off x="5389" y="2436"/>
              <a:ext cx="8" cy="12"/>
            </a:xfrm>
            <a:custGeom>
              <a:avLst/>
              <a:gdLst>
                <a:gd name="T0" fmla="*/ 1 w 8"/>
                <a:gd name="T1" fmla="*/ 0 h 12"/>
                <a:gd name="T2" fmla="*/ 2 w 8"/>
                <a:gd name="T3" fmla="*/ 0 h 12"/>
                <a:gd name="T4" fmla="*/ 3 w 8"/>
                <a:gd name="T5" fmla="*/ 1 h 12"/>
                <a:gd name="T6" fmla="*/ 3 w 8"/>
                <a:gd name="T7" fmla="*/ 3 h 12"/>
                <a:gd name="T8" fmla="*/ 4 w 8"/>
                <a:gd name="T9" fmla="*/ 3 h 12"/>
                <a:gd name="T10" fmla="*/ 5 w 8"/>
                <a:gd name="T11" fmla="*/ 7 h 12"/>
                <a:gd name="T12" fmla="*/ 7 w 8"/>
                <a:gd name="T13" fmla="*/ 9 h 12"/>
                <a:gd name="T14" fmla="*/ 8 w 8"/>
                <a:gd name="T15" fmla="*/ 11 h 12"/>
                <a:gd name="T16" fmla="*/ 7 w 8"/>
                <a:gd name="T17" fmla="*/ 11 h 12"/>
                <a:gd name="T18" fmla="*/ 2 w 8"/>
                <a:gd name="T19" fmla="*/ 12 h 12"/>
                <a:gd name="T20" fmla="*/ 2 w 8"/>
                <a:gd name="T21" fmla="*/ 4 h 12"/>
                <a:gd name="T22" fmla="*/ 2 w 8"/>
                <a:gd name="T23" fmla="*/ 4 h 12"/>
                <a:gd name="T24" fmla="*/ 0 w 8"/>
                <a:gd name="T25" fmla="*/ 3 h 12"/>
                <a:gd name="T26" fmla="*/ 1 w 8"/>
                <a:gd name="T2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" h="12">
                  <a:moveTo>
                    <a:pt x="1" y="0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3" y="3"/>
                  </a:lnTo>
                  <a:lnTo>
                    <a:pt x="4" y="3"/>
                  </a:lnTo>
                  <a:lnTo>
                    <a:pt x="5" y="7"/>
                  </a:lnTo>
                  <a:lnTo>
                    <a:pt x="7" y="9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2" y="12"/>
                  </a:lnTo>
                  <a:lnTo>
                    <a:pt x="2" y="4"/>
                  </a:lnTo>
                  <a:lnTo>
                    <a:pt x="2" y="4"/>
                  </a:lnTo>
                  <a:lnTo>
                    <a:pt x="0" y="3"/>
                  </a:lnTo>
                  <a:lnTo>
                    <a:pt x="1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15" name="Freeform 1015"/>
            <p:cNvSpPr>
              <a:spLocks/>
            </p:cNvSpPr>
            <p:nvPr/>
          </p:nvSpPr>
          <p:spPr bwMode="auto">
            <a:xfrm>
              <a:off x="5406" y="2429"/>
              <a:ext cx="1" cy="8"/>
            </a:xfrm>
            <a:custGeom>
              <a:avLst/>
              <a:gdLst>
                <a:gd name="T0" fmla="*/ 1 w 1"/>
                <a:gd name="T1" fmla="*/ 0 h 8"/>
                <a:gd name="T2" fmla="*/ 1 w 1"/>
                <a:gd name="T3" fmla="*/ 0 h 8"/>
                <a:gd name="T4" fmla="*/ 1 w 1"/>
                <a:gd name="T5" fmla="*/ 3 h 8"/>
                <a:gd name="T6" fmla="*/ 1 w 1"/>
                <a:gd name="T7" fmla="*/ 5 h 8"/>
                <a:gd name="T8" fmla="*/ 1 w 1"/>
                <a:gd name="T9" fmla="*/ 5 h 8"/>
                <a:gd name="T10" fmla="*/ 1 w 1"/>
                <a:gd name="T11" fmla="*/ 8 h 8"/>
                <a:gd name="T12" fmla="*/ 0 w 1"/>
                <a:gd name="T13" fmla="*/ 8 h 8"/>
                <a:gd name="T14" fmla="*/ 0 w 1"/>
                <a:gd name="T15" fmla="*/ 7 h 8"/>
                <a:gd name="T16" fmla="*/ 0 w 1"/>
                <a:gd name="T17" fmla="*/ 4 h 8"/>
                <a:gd name="T18" fmla="*/ 1 w 1"/>
                <a:gd name="T1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" h="8">
                  <a:moveTo>
                    <a:pt x="1" y="0"/>
                  </a:moveTo>
                  <a:lnTo>
                    <a:pt x="1" y="0"/>
                  </a:lnTo>
                  <a:lnTo>
                    <a:pt x="1" y="3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4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16" name="Freeform 1016"/>
            <p:cNvSpPr>
              <a:spLocks/>
            </p:cNvSpPr>
            <p:nvPr/>
          </p:nvSpPr>
          <p:spPr bwMode="auto">
            <a:xfrm>
              <a:off x="5406" y="2429"/>
              <a:ext cx="1" cy="8"/>
            </a:xfrm>
            <a:custGeom>
              <a:avLst/>
              <a:gdLst>
                <a:gd name="T0" fmla="*/ 1 w 1"/>
                <a:gd name="T1" fmla="*/ 0 h 8"/>
                <a:gd name="T2" fmla="*/ 1 w 1"/>
                <a:gd name="T3" fmla="*/ 0 h 8"/>
                <a:gd name="T4" fmla="*/ 1 w 1"/>
                <a:gd name="T5" fmla="*/ 3 h 8"/>
                <a:gd name="T6" fmla="*/ 1 w 1"/>
                <a:gd name="T7" fmla="*/ 5 h 8"/>
                <a:gd name="T8" fmla="*/ 1 w 1"/>
                <a:gd name="T9" fmla="*/ 5 h 8"/>
                <a:gd name="T10" fmla="*/ 1 w 1"/>
                <a:gd name="T11" fmla="*/ 8 h 8"/>
                <a:gd name="T12" fmla="*/ 0 w 1"/>
                <a:gd name="T13" fmla="*/ 8 h 8"/>
                <a:gd name="T14" fmla="*/ 0 w 1"/>
                <a:gd name="T15" fmla="*/ 7 h 8"/>
                <a:gd name="T16" fmla="*/ 0 w 1"/>
                <a:gd name="T17" fmla="*/ 4 h 8"/>
                <a:gd name="T18" fmla="*/ 1 w 1"/>
                <a:gd name="T1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" h="8">
                  <a:moveTo>
                    <a:pt x="1" y="0"/>
                  </a:moveTo>
                  <a:lnTo>
                    <a:pt x="1" y="0"/>
                  </a:lnTo>
                  <a:lnTo>
                    <a:pt x="1" y="3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4"/>
                  </a:lnTo>
                  <a:lnTo>
                    <a:pt x="1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17" name="Freeform 1017"/>
            <p:cNvSpPr>
              <a:spLocks/>
            </p:cNvSpPr>
            <p:nvPr/>
          </p:nvSpPr>
          <p:spPr bwMode="auto">
            <a:xfrm>
              <a:off x="5400" y="2439"/>
              <a:ext cx="6" cy="6"/>
            </a:xfrm>
            <a:custGeom>
              <a:avLst/>
              <a:gdLst>
                <a:gd name="T0" fmla="*/ 4 w 6"/>
                <a:gd name="T1" fmla="*/ 1 h 6"/>
                <a:gd name="T2" fmla="*/ 4 w 6"/>
                <a:gd name="T3" fmla="*/ 0 h 6"/>
                <a:gd name="T4" fmla="*/ 4 w 6"/>
                <a:gd name="T5" fmla="*/ 4 h 6"/>
                <a:gd name="T6" fmla="*/ 6 w 6"/>
                <a:gd name="T7" fmla="*/ 6 h 6"/>
                <a:gd name="T8" fmla="*/ 2 w 6"/>
                <a:gd name="T9" fmla="*/ 6 h 6"/>
                <a:gd name="T10" fmla="*/ 1 w 6"/>
                <a:gd name="T11" fmla="*/ 6 h 6"/>
                <a:gd name="T12" fmla="*/ 0 w 6"/>
                <a:gd name="T13" fmla="*/ 4 h 6"/>
                <a:gd name="T14" fmla="*/ 1 w 6"/>
                <a:gd name="T15" fmla="*/ 4 h 6"/>
                <a:gd name="T16" fmla="*/ 2 w 6"/>
                <a:gd name="T17" fmla="*/ 3 h 6"/>
                <a:gd name="T18" fmla="*/ 3 w 6"/>
                <a:gd name="T19" fmla="*/ 1 h 6"/>
                <a:gd name="T20" fmla="*/ 4 w 6"/>
                <a:gd name="T2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6">
                  <a:moveTo>
                    <a:pt x="4" y="1"/>
                  </a:moveTo>
                  <a:lnTo>
                    <a:pt x="4" y="0"/>
                  </a:lnTo>
                  <a:lnTo>
                    <a:pt x="4" y="4"/>
                  </a:lnTo>
                  <a:lnTo>
                    <a:pt x="6" y="6"/>
                  </a:lnTo>
                  <a:lnTo>
                    <a:pt x="2" y="6"/>
                  </a:lnTo>
                  <a:lnTo>
                    <a:pt x="1" y="6"/>
                  </a:lnTo>
                  <a:lnTo>
                    <a:pt x="0" y="4"/>
                  </a:lnTo>
                  <a:lnTo>
                    <a:pt x="1" y="4"/>
                  </a:lnTo>
                  <a:lnTo>
                    <a:pt x="2" y="3"/>
                  </a:lnTo>
                  <a:lnTo>
                    <a:pt x="3" y="1"/>
                  </a:lnTo>
                  <a:lnTo>
                    <a:pt x="4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18" name="Freeform 1018"/>
            <p:cNvSpPr>
              <a:spLocks/>
            </p:cNvSpPr>
            <p:nvPr/>
          </p:nvSpPr>
          <p:spPr bwMode="auto">
            <a:xfrm>
              <a:off x="5400" y="2439"/>
              <a:ext cx="6" cy="6"/>
            </a:xfrm>
            <a:custGeom>
              <a:avLst/>
              <a:gdLst>
                <a:gd name="T0" fmla="*/ 4 w 6"/>
                <a:gd name="T1" fmla="*/ 1 h 6"/>
                <a:gd name="T2" fmla="*/ 4 w 6"/>
                <a:gd name="T3" fmla="*/ 0 h 6"/>
                <a:gd name="T4" fmla="*/ 4 w 6"/>
                <a:gd name="T5" fmla="*/ 4 h 6"/>
                <a:gd name="T6" fmla="*/ 6 w 6"/>
                <a:gd name="T7" fmla="*/ 6 h 6"/>
                <a:gd name="T8" fmla="*/ 2 w 6"/>
                <a:gd name="T9" fmla="*/ 6 h 6"/>
                <a:gd name="T10" fmla="*/ 1 w 6"/>
                <a:gd name="T11" fmla="*/ 6 h 6"/>
                <a:gd name="T12" fmla="*/ 0 w 6"/>
                <a:gd name="T13" fmla="*/ 4 h 6"/>
                <a:gd name="T14" fmla="*/ 1 w 6"/>
                <a:gd name="T15" fmla="*/ 4 h 6"/>
                <a:gd name="T16" fmla="*/ 2 w 6"/>
                <a:gd name="T17" fmla="*/ 3 h 6"/>
                <a:gd name="T18" fmla="*/ 3 w 6"/>
                <a:gd name="T19" fmla="*/ 1 h 6"/>
                <a:gd name="T20" fmla="*/ 4 w 6"/>
                <a:gd name="T2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6">
                  <a:moveTo>
                    <a:pt x="4" y="1"/>
                  </a:moveTo>
                  <a:lnTo>
                    <a:pt x="4" y="0"/>
                  </a:lnTo>
                  <a:lnTo>
                    <a:pt x="4" y="4"/>
                  </a:lnTo>
                  <a:lnTo>
                    <a:pt x="6" y="6"/>
                  </a:lnTo>
                  <a:lnTo>
                    <a:pt x="2" y="6"/>
                  </a:lnTo>
                  <a:lnTo>
                    <a:pt x="1" y="6"/>
                  </a:lnTo>
                  <a:lnTo>
                    <a:pt x="0" y="4"/>
                  </a:lnTo>
                  <a:lnTo>
                    <a:pt x="1" y="4"/>
                  </a:lnTo>
                  <a:lnTo>
                    <a:pt x="2" y="3"/>
                  </a:lnTo>
                  <a:lnTo>
                    <a:pt x="3" y="1"/>
                  </a:lnTo>
                  <a:lnTo>
                    <a:pt x="4" y="1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19" name="Freeform 1019"/>
            <p:cNvSpPr>
              <a:spLocks/>
            </p:cNvSpPr>
            <p:nvPr/>
          </p:nvSpPr>
          <p:spPr bwMode="auto">
            <a:xfrm>
              <a:off x="5399" y="2467"/>
              <a:ext cx="4" cy="5"/>
            </a:xfrm>
            <a:custGeom>
              <a:avLst/>
              <a:gdLst>
                <a:gd name="T0" fmla="*/ 3 w 4"/>
                <a:gd name="T1" fmla="*/ 0 h 5"/>
                <a:gd name="T2" fmla="*/ 4 w 4"/>
                <a:gd name="T3" fmla="*/ 1 h 5"/>
                <a:gd name="T4" fmla="*/ 4 w 4"/>
                <a:gd name="T5" fmla="*/ 3 h 5"/>
                <a:gd name="T6" fmla="*/ 3 w 4"/>
                <a:gd name="T7" fmla="*/ 5 h 5"/>
                <a:gd name="T8" fmla="*/ 0 w 4"/>
                <a:gd name="T9" fmla="*/ 5 h 5"/>
                <a:gd name="T10" fmla="*/ 0 w 4"/>
                <a:gd name="T11" fmla="*/ 3 h 5"/>
                <a:gd name="T12" fmla="*/ 0 w 4"/>
                <a:gd name="T13" fmla="*/ 2 h 5"/>
                <a:gd name="T14" fmla="*/ 1 w 4"/>
                <a:gd name="T15" fmla="*/ 1 h 5"/>
                <a:gd name="T16" fmla="*/ 2 w 4"/>
                <a:gd name="T17" fmla="*/ 0 h 5"/>
                <a:gd name="T18" fmla="*/ 3 w 4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5">
                  <a:moveTo>
                    <a:pt x="3" y="0"/>
                  </a:moveTo>
                  <a:lnTo>
                    <a:pt x="4" y="1"/>
                  </a:lnTo>
                  <a:lnTo>
                    <a:pt x="4" y="3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20" name="Freeform 1020"/>
            <p:cNvSpPr>
              <a:spLocks/>
            </p:cNvSpPr>
            <p:nvPr/>
          </p:nvSpPr>
          <p:spPr bwMode="auto">
            <a:xfrm>
              <a:off x="5399" y="2467"/>
              <a:ext cx="4" cy="5"/>
            </a:xfrm>
            <a:custGeom>
              <a:avLst/>
              <a:gdLst>
                <a:gd name="T0" fmla="*/ 3 w 4"/>
                <a:gd name="T1" fmla="*/ 0 h 5"/>
                <a:gd name="T2" fmla="*/ 4 w 4"/>
                <a:gd name="T3" fmla="*/ 1 h 5"/>
                <a:gd name="T4" fmla="*/ 4 w 4"/>
                <a:gd name="T5" fmla="*/ 3 h 5"/>
                <a:gd name="T6" fmla="*/ 3 w 4"/>
                <a:gd name="T7" fmla="*/ 5 h 5"/>
                <a:gd name="T8" fmla="*/ 0 w 4"/>
                <a:gd name="T9" fmla="*/ 5 h 5"/>
                <a:gd name="T10" fmla="*/ 0 w 4"/>
                <a:gd name="T11" fmla="*/ 3 h 5"/>
                <a:gd name="T12" fmla="*/ 0 w 4"/>
                <a:gd name="T13" fmla="*/ 2 h 5"/>
                <a:gd name="T14" fmla="*/ 1 w 4"/>
                <a:gd name="T15" fmla="*/ 1 h 5"/>
                <a:gd name="T16" fmla="*/ 2 w 4"/>
                <a:gd name="T17" fmla="*/ 0 h 5"/>
                <a:gd name="T18" fmla="*/ 3 w 4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5">
                  <a:moveTo>
                    <a:pt x="3" y="0"/>
                  </a:moveTo>
                  <a:lnTo>
                    <a:pt x="4" y="1"/>
                  </a:lnTo>
                  <a:lnTo>
                    <a:pt x="4" y="3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1"/>
                  </a:lnTo>
                  <a:lnTo>
                    <a:pt x="2" y="0"/>
                  </a:lnTo>
                  <a:lnTo>
                    <a:pt x="3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21" name="Freeform 1021"/>
            <p:cNvSpPr>
              <a:spLocks/>
            </p:cNvSpPr>
            <p:nvPr/>
          </p:nvSpPr>
          <p:spPr bwMode="auto">
            <a:xfrm>
              <a:off x="5406" y="2486"/>
              <a:ext cx="2" cy="7"/>
            </a:xfrm>
            <a:custGeom>
              <a:avLst/>
              <a:gdLst>
                <a:gd name="T0" fmla="*/ 1 w 2"/>
                <a:gd name="T1" fmla="*/ 1 h 7"/>
                <a:gd name="T2" fmla="*/ 1 w 2"/>
                <a:gd name="T3" fmla="*/ 0 h 7"/>
                <a:gd name="T4" fmla="*/ 1 w 2"/>
                <a:gd name="T5" fmla="*/ 0 h 7"/>
                <a:gd name="T6" fmla="*/ 2 w 2"/>
                <a:gd name="T7" fmla="*/ 1 h 7"/>
                <a:gd name="T8" fmla="*/ 2 w 2"/>
                <a:gd name="T9" fmla="*/ 2 h 7"/>
                <a:gd name="T10" fmla="*/ 2 w 2"/>
                <a:gd name="T11" fmla="*/ 3 h 7"/>
                <a:gd name="T12" fmla="*/ 2 w 2"/>
                <a:gd name="T13" fmla="*/ 7 h 7"/>
                <a:gd name="T14" fmla="*/ 1 w 2"/>
                <a:gd name="T15" fmla="*/ 7 h 7"/>
                <a:gd name="T16" fmla="*/ 0 w 2"/>
                <a:gd name="T17" fmla="*/ 4 h 7"/>
                <a:gd name="T18" fmla="*/ 0 w 2"/>
                <a:gd name="T19" fmla="*/ 2 h 7"/>
                <a:gd name="T20" fmla="*/ 1 w 2"/>
                <a:gd name="T21" fmla="*/ 1 h 7"/>
                <a:gd name="T22" fmla="*/ 0 w 2"/>
                <a:gd name="T23" fmla="*/ 4 h 7"/>
                <a:gd name="T24" fmla="*/ 0 w 2"/>
                <a:gd name="T25" fmla="*/ 2 h 7"/>
                <a:gd name="T26" fmla="*/ 1 w 2"/>
                <a:gd name="T27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" h="7">
                  <a:moveTo>
                    <a:pt x="1" y="1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3"/>
                  </a:lnTo>
                  <a:lnTo>
                    <a:pt x="2" y="7"/>
                  </a:lnTo>
                  <a:lnTo>
                    <a:pt x="1" y="7"/>
                  </a:lnTo>
                  <a:lnTo>
                    <a:pt x="0" y="4"/>
                  </a:lnTo>
                  <a:lnTo>
                    <a:pt x="0" y="2"/>
                  </a:lnTo>
                  <a:lnTo>
                    <a:pt x="1" y="1"/>
                  </a:lnTo>
                  <a:lnTo>
                    <a:pt x="0" y="4"/>
                  </a:lnTo>
                  <a:lnTo>
                    <a:pt x="0" y="2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22" name="Freeform 1022"/>
            <p:cNvSpPr>
              <a:spLocks/>
            </p:cNvSpPr>
            <p:nvPr/>
          </p:nvSpPr>
          <p:spPr bwMode="auto">
            <a:xfrm>
              <a:off x="5406" y="2486"/>
              <a:ext cx="2" cy="7"/>
            </a:xfrm>
            <a:custGeom>
              <a:avLst/>
              <a:gdLst>
                <a:gd name="T0" fmla="*/ 1 w 2"/>
                <a:gd name="T1" fmla="*/ 1 h 7"/>
                <a:gd name="T2" fmla="*/ 1 w 2"/>
                <a:gd name="T3" fmla="*/ 0 h 7"/>
                <a:gd name="T4" fmla="*/ 1 w 2"/>
                <a:gd name="T5" fmla="*/ 0 h 7"/>
                <a:gd name="T6" fmla="*/ 2 w 2"/>
                <a:gd name="T7" fmla="*/ 1 h 7"/>
                <a:gd name="T8" fmla="*/ 2 w 2"/>
                <a:gd name="T9" fmla="*/ 2 h 7"/>
                <a:gd name="T10" fmla="*/ 2 w 2"/>
                <a:gd name="T11" fmla="*/ 3 h 7"/>
                <a:gd name="T12" fmla="*/ 2 w 2"/>
                <a:gd name="T13" fmla="*/ 7 h 7"/>
                <a:gd name="T14" fmla="*/ 1 w 2"/>
                <a:gd name="T15" fmla="*/ 7 h 7"/>
                <a:gd name="T16" fmla="*/ 0 w 2"/>
                <a:gd name="T17" fmla="*/ 4 h 7"/>
                <a:gd name="T18" fmla="*/ 0 w 2"/>
                <a:gd name="T19" fmla="*/ 2 h 7"/>
                <a:gd name="T20" fmla="*/ 1 w 2"/>
                <a:gd name="T21" fmla="*/ 1 h 7"/>
                <a:gd name="T22" fmla="*/ 0 w 2"/>
                <a:gd name="T23" fmla="*/ 4 h 7"/>
                <a:gd name="T24" fmla="*/ 0 w 2"/>
                <a:gd name="T25" fmla="*/ 2 h 7"/>
                <a:gd name="T26" fmla="*/ 1 w 2"/>
                <a:gd name="T27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" h="7">
                  <a:moveTo>
                    <a:pt x="1" y="1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3"/>
                  </a:lnTo>
                  <a:lnTo>
                    <a:pt x="2" y="7"/>
                  </a:lnTo>
                  <a:lnTo>
                    <a:pt x="1" y="7"/>
                  </a:lnTo>
                  <a:lnTo>
                    <a:pt x="0" y="4"/>
                  </a:lnTo>
                  <a:lnTo>
                    <a:pt x="0" y="2"/>
                  </a:lnTo>
                  <a:lnTo>
                    <a:pt x="1" y="1"/>
                  </a:lnTo>
                  <a:lnTo>
                    <a:pt x="0" y="4"/>
                  </a:lnTo>
                  <a:lnTo>
                    <a:pt x="0" y="2"/>
                  </a:lnTo>
                  <a:lnTo>
                    <a:pt x="1" y="1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23" name="Freeform 1023"/>
            <p:cNvSpPr>
              <a:spLocks/>
            </p:cNvSpPr>
            <p:nvPr/>
          </p:nvSpPr>
          <p:spPr bwMode="auto">
            <a:xfrm>
              <a:off x="5406" y="2499"/>
              <a:ext cx="3" cy="6"/>
            </a:xfrm>
            <a:custGeom>
              <a:avLst/>
              <a:gdLst>
                <a:gd name="T0" fmla="*/ 1 w 3"/>
                <a:gd name="T1" fmla="*/ 1 h 6"/>
                <a:gd name="T2" fmla="*/ 2 w 3"/>
                <a:gd name="T3" fmla="*/ 0 h 6"/>
                <a:gd name="T4" fmla="*/ 3 w 3"/>
                <a:gd name="T5" fmla="*/ 2 h 6"/>
                <a:gd name="T6" fmla="*/ 2 w 3"/>
                <a:gd name="T7" fmla="*/ 6 h 6"/>
                <a:gd name="T8" fmla="*/ 1 w 3"/>
                <a:gd name="T9" fmla="*/ 5 h 6"/>
                <a:gd name="T10" fmla="*/ 0 w 3"/>
                <a:gd name="T11" fmla="*/ 4 h 6"/>
                <a:gd name="T12" fmla="*/ 1 w 3"/>
                <a:gd name="T13" fmla="*/ 1 h 6"/>
                <a:gd name="T14" fmla="*/ 1 w 3"/>
                <a:gd name="T1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6">
                  <a:moveTo>
                    <a:pt x="1" y="1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2" y="6"/>
                  </a:lnTo>
                  <a:lnTo>
                    <a:pt x="1" y="5"/>
                  </a:lnTo>
                  <a:lnTo>
                    <a:pt x="0" y="4"/>
                  </a:lnTo>
                  <a:lnTo>
                    <a:pt x="1" y="1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24" name="Freeform 1024"/>
            <p:cNvSpPr>
              <a:spLocks/>
            </p:cNvSpPr>
            <p:nvPr/>
          </p:nvSpPr>
          <p:spPr bwMode="auto">
            <a:xfrm>
              <a:off x="5406" y="2499"/>
              <a:ext cx="3" cy="6"/>
            </a:xfrm>
            <a:custGeom>
              <a:avLst/>
              <a:gdLst>
                <a:gd name="T0" fmla="*/ 1 w 3"/>
                <a:gd name="T1" fmla="*/ 1 h 6"/>
                <a:gd name="T2" fmla="*/ 2 w 3"/>
                <a:gd name="T3" fmla="*/ 0 h 6"/>
                <a:gd name="T4" fmla="*/ 3 w 3"/>
                <a:gd name="T5" fmla="*/ 2 h 6"/>
                <a:gd name="T6" fmla="*/ 2 w 3"/>
                <a:gd name="T7" fmla="*/ 6 h 6"/>
                <a:gd name="T8" fmla="*/ 1 w 3"/>
                <a:gd name="T9" fmla="*/ 5 h 6"/>
                <a:gd name="T10" fmla="*/ 0 w 3"/>
                <a:gd name="T11" fmla="*/ 4 h 6"/>
                <a:gd name="T12" fmla="*/ 1 w 3"/>
                <a:gd name="T13" fmla="*/ 1 h 6"/>
                <a:gd name="T14" fmla="*/ 1 w 3"/>
                <a:gd name="T1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" h="6">
                  <a:moveTo>
                    <a:pt x="1" y="1"/>
                  </a:moveTo>
                  <a:lnTo>
                    <a:pt x="2" y="0"/>
                  </a:lnTo>
                  <a:lnTo>
                    <a:pt x="3" y="2"/>
                  </a:lnTo>
                  <a:lnTo>
                    <a:pt x="2" y="6"/>
                  </a:lnTo>
                  <a:lnTo>
                    <a:pt x="1" y="5"/>
                  </a:lnTo>
                  <a:lnTo>
                    <a:pt x="0" y="4"/>
                  </a:lnTo>
                  <a:lnTo>
                    <a:pt x="1" y="1"/>
                  </a:lnTo>
                  <a:lnTo>
                    <a:pt x="1" y="1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25" name="Freeform 1025"/>
            <p:cNvSpPr>
              <a:spLocks/>
            </p:cNvSpPr>
            <p:nvPr/>
          </p:nvSpPr>
          <p:spPr bwMode="auto">
            <a:xfrm>
              <a:off x="4526" y="1742"/>
              <a:ext cx="3" cy="4"/>
            </a:xfrm>
            <a:custGeom>
              <a:avLst/>
              <a:gdLst>
                <a:gd name="T0" fmla="*/ 3 w 3"/>
                <a:gd name="T1" fmla="*/ 0 h 4"/>
                <a:gd name="T2" fmla="*/ 2 w 3"/>
                <a:gd name="T3" fmla="*/ 1 h 4"/>
                <a:gd name="T4" fmla="*/ 1 w 3"/>
                <a:gd name="T5" fmla="*/ 1 h 4"/>
                <a:gd name="T6" fmla="*/ 0 w 3"/>
                <a:gd name="T7" fmla="*/ 3 h 4"/>
                <a:gd name="T8" fmla="*/ 0 w 3"/>
                <a:gd name="T9" fmla="*/ 3 h 4"/>
                <a:gd name="T10" fmla="*/ 1 w 3"/>
                <a:gd name="T11" fmla="*/ 3 h 4"/>
                <a:gd name="T12" fmla="*/ 1 w 3"/>
                <a:gd name="T13" fmla="*/ 3 h 4"/>
                <a:gd name="T14" fmla="*/ 2 w 3"/>
                <a:gd name="T15" fmla="*/ 3 h 4"/>
                <a:gd name="T16" fmla="*/ 2 w 3"/>
                <a:gd name="T17" fmla="*/ 3 h 4"/>
                <a:gd name="T18" fmla="*/ 3 w 3"/>
                <a:gd name="T19" fmla="*/ 4 h 4"/>
                <a:gd name="T20" fmla="*/ 3 w 3"/>
                <a:gd name="T21" fmla="*/ 4 h 4"/>
                <a:gd name="T22" fmla="*/ 3 w 3"/>
                <a:gd name="T23" fmla="*/ 1 h 4"/>
                <a:gd name="T24" fmla="*/ 3 w 3"/>
                <a:gd name="T25" fmla="*/ 1 h 4"/>
                <a:gd name="T26" fmla="*/ 3 w 3"/>
                <a:gd name="T27" fmla="*/ 0 h 4"/>
                <a:gd name="T28" fmla="*/ 3 w 3"/>
                <a:gd name="T29" fmla="*/ 0 h 4"/>
                <a:gd name="T30" fmla="*/ 3 w 3"/>
                <a:gd name="T3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lnTo>
                    <a:pt x="2" y="1"/>
                  </a:lnTo>
                  <a:lnTo>
                    <a:pt x="1" y="1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26" name="Freeform 1026"/>
            <p:cNvSpPr>
              <a:spLocks/>
            </p:cNvSpPr>
            <p:nvPr/>
          </p:nvSpPr>
          <p:spPr bwMode="auto">
            <a:xfrm>
              <a:off x="4526" y="1742"/>
              <a:ext cx="3" cy="4"/>
            </a:xfrm>
            <a:custGeom>
              <a:avLst/>
              <a:gdLst>
                <a:gd name="T0" fmla="*/ 3 w 3"/>
                <a:gd name="T1" fmla="*/ 0 h 4"/>
                <a:gd name="T2" fmla="*/ 2 w 3"/>
                <a:gd name="T3" fmla="*/ 1 h 4"/>
                <a:gd name="T4" fmla="*/ 1 w 3"/>
                <a:gd name="T5" fmla="*/ 1 h 4"/>
                <a:gd name="T6" fmla="*/ 0 w 3"/>
                <a:gd name="T7" fmla="*/ 3 h 4"/>
                <a:gd name="T8" fmla="*/ 0 w 3"/>
                <a:gd name="T9" fmla="*/ 3 h 4"/>
                <a:gd name="T10" fmla="*/ 1 w 3"/>
                <a:gd name="T11" fmla="*/ 3 h 4"/>
                <a:gd name="T12" fmla="*/ 1 w 3"/>
                <a:gd name="T13" fmla="*/ 3 h 4"/>
                <a:gd name="T14" fmla="*/ 2 w 3"/>
                <a:gd name="T15" fmla="*/ 3 h 4"/>
                <a:gd name="T16" fmla="*/ 2 w 3"/>
                <a:gd name="T17" fmla="*/ 3 h 4"/>
                <a:gd name="T18" fmla="*/ 3 w 3"/>
                <a:gd name="T19" fmla="*/ 4 h 4"/>
                <a:gd name="T20" fmla="*/ 3 w 3"/>
                <a:gd name="T21" fmla="*/ 4 h 4"/>
                <a:gd name="T22" fmla="*/ 3 w 3"/>
                <a:gd name="T23" fmla="*/ 1 h 4"/>
                <a:gd name="T24" fmla="*/ 3 w 3"/>
                <a:gd name="T25" fmla="*/ 1 h 4"/>
                <a:gd name="T26" fmla="*/ 3 w 3"/>
                <a:gd name="T27" fmla="*/ 0 h 4"/>
                <a:gd name="T28" fmla="*/ 3 w 3"/>
                <a:gd name="T29" fmla="*/ 0 h 4"/>
                <a:gd name="T30" fmla="*/ 3 w 3"/>
                <a:gd name="T3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lnTo>
                    <a:pt x="2" y="1"/>
                  </a:lnTo>
                  <a:lnTo>
                    <a:pt x="1" y="1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27" name="Freeform 1027"/>
            <p:cNvSpPr>
              <a:spLocks/>
            </p:cNvSpPr>
            <p:nvPr/>
          </p:nvSpPr>
          <p:spPr bwMode="auto">
            <a:xfrm>
              <a:off x="4530" y="1743"/>
              <a:ext cx="2" cy="2"/>
            </a:xfrm>
            <a:custGeom>
              <a:avLst/>
              <a:gdLst>
                <a:gd name="T0" fmla="*/ 1 w 2"/>
                <a:gd name="T1" fmla="*/ 0 h 2"/>
                <a:gd name="T2" fmla="*/ 1 w 2"/>
                <a:gd name="T3" fmla="*/ 0 h 2"/>
                <a:gd name="T4" fmla="*/ 0 w 2"/>
                <a:gd name="T5" fmla="*/ 0 h 2"/>
                <a:gd name="T6" fmla="*/ 1 w 2"/>
                <a:gd name="T7" fmla="*/ 2 h 2"/>
                <a:gd name="T8" fmla="*/ 2 w 2"/>
                <a:gd name="T9" fmla="*/ 2 h 2"/>
                <a:gd name="T10" fmla="*/ 2 w 2"/>
                <a:gd name="T11" fmla="*/ 2 h 2"/>
                <a:gd name="T12" fmla="*/ 2 w 2"/>
                <a:gd name="T13" fmla="*/ 2 h 2"/>
                <a:gd name="T14" fmla="*/ 2 w 2"/>
                <a:gd name="T15" fmla="*/ 0 h 2"/>
                <a:gd name="T16" fmla="*/ 1 w 2"/>
                <a:gd name="T1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28" name="Freeform 1028"/>
            <p:cNvSpPr>
              <a:spLocks/>
            </p:cNvSpPr>
            <p:nvPr/>
          </p:nvSpPr>
          <p:spPr bwMode="auto">
            <a:xfrm>
              <a:off x="4530" y="1743"/>
              <a:ext cx="2" cy="2"/>
            </a:xfrm>
            <a:custGeom>
              <a:avLst/>
              <a:gdLst>
                <a:gd name="T0" fmla="*/ 1 w 2"/>
                <a:gd name="T1" fmla="*/ 0 h 2"/>
                <a:gd name="T2" fmla="*/ 1 w 2"/>
                <a:gd name="T3" fmla="*/ 0 h 2"/>
                <a:gd name="T4" fmla="*/ 0 w 2"/>
                <a:gd name="T5" fmla="*/ 0 h 2"/>
                <a:gd name="T6" fmla="*/ 1 w 2"/>
                <a:gd name="T7" fmla="*/ 2 h 2"/>
                <a:gd name="T8" fmla="*/ 2 w 2"/>
                <a:gd name="T9" fmla="*/ 2 h 2"/>
                <a:gd name="T10" fmla="*/ 2 w 2"/>
                <a:gd name="T11" fmla="*/ 2 h 2"/>
                <a:gd name="T12" fmla="*/ 2 w 2"/>
                <a:gd name="T13" fmla="*/ 2 h 2"/>
                <a:gd name="T14" fmla="*/ 2 w 2"/>
                <a:gd name="T15" fmla="*/ 0 h 2"/>
                <a:gd name="T16" fmla="*/ 1 w 2"/>
                <a:gd name="T1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" h="2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1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29" name="Freeform 1029"/>
            <p:cNvSpPr>
              <a:spLocks/>
            </p:cNvSpPr>
            <p:nvPr/>
          </p:nvSpPr>
          <p:spPr bwMode="auto">
            <a:xfrm>
              <a:off x="3229" y="1499"/>
              <a:ext cx="33" cy="20"/>
            </a:xfrm>
            <a:custGeom>
              <a:avLst/>
              <a:gdLst>
                <a:gd name="T0" fmla="*/ 24 w 33"/>
                <a:gd name="T1" fmla="*/ 5 h 20"/>
                <a:gd name="T2" fmla="*/ 28 w 33"/>
                <a:gd name="T3" fmla="*/ 2 h 20"/>
                <a:gd name="T4" fmla="*/ 30 w 33"/>
                <a:gd name="T5" fmla="*/ 1 h 20"/>
                <a:gd name="T6" fmla="*/ 32 w 33"/>
                <a:gd name="T7" fmla="*/ 0 h 20"/>
                <a:gd name="T8" fmla="*/ 33 w 33"/>
                <a:gd name="T9" fmla="*/ 0 h 20"/>
                <a:gd name="T10" fmla="*/ 33 w 33"/>
                <a:gd name="T11" fmla="*/ 2 h 20"/>
                <a:gd name="T12" fmla="*/ 31 w 33"/>
                <a:gd name="T13" fmla="*/ 5 h 20"/>
                <a:gd name="T14" fmla="*/ 28 w 33"/>
                <a:gd name="T15" fmla="*/ 6 h 20"/>
                <a:gd name="T16" fmla="*/ 26 w 33"/>
                <a:gd name="T17" fmla="*/ 10 h 20"/>
                <a:gd name="T18" fmla="*/ 27 w 33"/>
                <a:gd name="T19" fmla="*/ 11 h 20"/>
                <a:gd name="T20" fmla="*/ 25 w 33"/>
                <a:gd name="T21" fmla="*/ 14 h 20"/>
                <a:gd name="T22" fmla="*/ 22 w 33"/>
                <a:gd name="T23" fmla="*/ 15 h 20"/>
                <a:gd name="T24" fmla="*/ 20 w 33"/>
                <a:gd name="T25" fmla="*/ 18 h 20"/>
                <a:gd name="T26" fmla="*/ 15 w 33"/>
                <a:gd name="T27" fmla="*/ 18 h 20"/>
                <a:gd name="T28" fmla="*/ 13 w 33"/>
                <a:gd name="T29" fmla="*/ 20 h 20"/>
                <a:gd name="T30" fmla="*/ 7 w 33"/>
                <a:gd name="T31" fmla="*/ 20 h 20"/>
                <a:gd name="T32" fmla="*/ 4 w 33"/>
                <a:gd name="T33" fmla="*/ 18 h 20"/>
                <a:gd name="T34" fmla="*/ 2 w 33"/>
                <a:gd name="T35" fmla="*/ 16 h 20"/>
                <a:gd name="T36" fmla="*/ 0 w 33"/>
                <a:gd name="T37" fmla="*/ 12 h 20"/>
                <a:gd name="T38" fmla="*/ 3 w 33"/>
                <a:gd name="T39" fmla="*/ 11 h 20"/>
                <a:gd name="T40" fmla="*/ 5 w 33"/>
                <a:gd name="T41" fmla="*/ 10 h 20"/>
                <a:gd name="T42" fmla="*/ 8 w 33"/>
                <a:gd name="T43" fmla="*/ 9 h 20"/>
                <a:gd name="T44" fmla="*/ 10 w 33"/>
                <a:gd name="T45" fmla="*/ 9 h 20"/>
                <a:gd name="T46" fmla="*/ 10 w 33"/>
                <a:gd name="T47" fmla="*/ 7 h 20"/>
                <a:gd name="T48" fmla="*/ 11 w 33"/>
                <a:gd name="T49" fmla="*/ 7 h 20"/>
                <a:gd name="T50" fmla="*/ 16 w 33"/>
                <a:gd name="T51" fmla="*/ 7 h 20"/>
                <a:gd name="T52" fmla="*/ 24 w 33"/>
                <a:gd name="T53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3" h="20">
                  <a:moveTo>
                    <a:pt x="24" y="5"/>
                  </a:moveTo>
                  <a:lnTo>
                    <a:pt x="28" y="2"/>
                  </a:lnTo>
                  <a:lnTo>
                    <a:pt x="30" y="1"/>
                  </a:lnTo>
                  <a:lnTo>
                    <a:pt x="32" y="0"/>
                  </a:lnTo>
                  <a:lnTo>
                    <a:pt x="33" y="0"/>
                  </a:lnTo>
                  <a:lnTo>
                    <a:pt x="33" y="2"/>
                  </a:lnTo>
                  <a:lnTo>
                    <a:pt x="31" y="5"/>
                  </a:lnTo>
                  <a:lnTo>
                    <a:pt x="28" y="6"/>
                  </a:lnTo>
                  <a:lnTo>
                    <a:pt x="26" y="10"/>
                  </a:lnTo>
                  <a:lnTo>
                    <a:pt x="27" y="11"/>
                  </a:lnTo>
                  <a:lnTo>
                    <a:pt x="25" y="14"/>
                  </a:lnTo>
                  <a:lnTo>
                    <a:pt x="22" y="15"/>
                  </a:lnTo>
                  <a:lnTo>
                    <a:pt x="20" y="18"/>
                  </a:lnTo>
                  <a:lnTo>
                    <a:pt x="15" y="18"/>
                  </a:lnTo>
                  <a:lnTo>
                    <a:pt x="13" y="20"/>
                  </a:lnTo>
                  <a:lnTo>
                    <a:pt x="7" y="20"/>
                  </a:lnTo>
                  <a:lnTo>
                    <a:pt x="4" y="18"/>
                  </a:lnTo>
                  <a:lnTo>
                    <a:pt x="2" y="16"/>
                  </a:lnTo>
                  <a:lnTo>
                    <a:pt x="0" y="12"/>
                  </a:lnTo>
                  <a:lnTo>
                    <a:pt x="3" y="11"/>
                  </a:lnTo>
                  <a:lnTo>
                    <a:pt x="5" y="10"/>
                  </a:lnTo>
                  <a:lnTo>
                    <a:pt x="8" y="9"/>
                  </a:lnTo>
                  <a:lnTo>
                    <a:pt x="10" y="9"/>
                  </a:lnTo>
                  <a:lnTo>
                    <a:pt x="10" y="7"/>
                  </a:lnTo>
                  <a:lnTo>
                    <a:pt x="11" y="7"/>
                  </a:lnTo>
                  <a:lnTo>
                    <a:pt x="16" y="7"/>
                  </a:lnTo>
                  <a:lnTo>
                    <a:pt x="24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30" name="Freeform 1030"/>
            <p:cNvSpPr>
              <a:spLocks/>
            </p:cNvSpPr>
            <p:nvPr/>
          </p:nvSpPr>
          <p:spPr bwMode="auto">
            <a:xfrm>
              <a:off x="3229" y="1499"/>
              <a:ext cx="33" cy="20"/>
            </a:xfrm>
            <a:custGeom>
              <a:avLst/>
              <a:gdLst>
                <a:gd name="T0" fmla="*/ 24 w 33"/>
                <a:gd name="T1" fmla="*/ 5 h 20"/>
                <a:gd name="T2" fmla="*/ 28 w 33"/>
                <a:gd name="T3" fmla="*/ 2 h 20"/>
                <a:gd name="T4" fmla="*/ 30 w 33"/>
                <a:gd name="T5" fmla="*/ 1 h 20"/>
                <a:gd name="T6" fmla="*/ 32 w 33"/>
                <a:gd name="T7" fmla="*/ 0 h 20"/>
                <a:gd name="T8" fmla="*/ 33 w 33"/>
                <a:gd name="T9" fmla="*/ 0 h 20"/>
                <a:gd name="T10" fmla="*/ 33 w 33"/>
                <a:gd name="T11" fmla="*/ 2 h 20"/>
                <a:gd name="T12" fmla="*/ 31 w 33"/>
                <a:gd name="T13" fmla="*/ 5 h 20"/>
                <a:gd name="T14" fmla="*/ 28 w 33"/>
                <a:gd name="T15" fmla="*/ 6 h 20"/>
                <a:gd name="T16" fmla="*/ 26 w 33"/>
                <a:gd name="T17" fmla="*/ 10 h 20"/>
                <a:gd name="T18" fmla="*/ 27 w 33"/>
                <a:gd name="T19" fmla="*/ 11 h 20"/>
                <a:gd name="T20" fmla="*/ 25 w 33"/>
                <a:gd name="T21" fmla="*/ 14 h 20"/>
                <a:gd name="T22" fmla="*/ 22 w 33"/>
                <a:gd name="T23" fmla="*/ 15 h 20"/>
                <a:gd name="T24" fmla="*/ 20 w 33"/>
                <a:gd name="T25" fmla="*/ 18 h 20"/>
                <a:gd name="T26" fmla="*/ 15 w 33"/>
                <a:gd name="T27" fmla="*/ 18 h 20"/>
                <a:gd name="T28" fmla="*/ 13 w 33"/>
                <a:gd name="T29" fmla="*/ 20 h 20"/>
                <a:gd name="T30" fmla="*/ 7 w 33"/>
                <a:gd name="T31" fmla="*/ 20 h 20"/>
                <a:gd name="T32" fmla="*/ 4 w 33"/>
                <a:gd name="T33" fmla="*/ 18 h 20"/>
                <a:gd name="T34" fmla="*/ 2 w 33"/>
                <a:gd name="T35" fmla="*/ 16 h 20"/>
                <a:gd name="T36" fmla="*/ 0 w 33"/>
                <a:gd name="T37" fmla="*/ 12 h 20"/>
                <a:gd name="T38" fmla="*/ 3 w 33"/>
                <a:gd name="T39" fmla="*/ 11 h 20"/>
                <a:gd name="T40" fmla="*/ 5 w 33"/>
                <a:gd name="T41" fmla="*/ 10 h 20"/>
                <a:gd name="T42" fmla="*/ 8 w 33"/>
                <a:gd name="T43" fmla="*/ 9 h 20"/>
                <a:gd name="T44" fmla="*/ 10 w 33"/>
                <a:gd name="T45" fmla="*/ 9 h 20"/>
                <a:gd name="T46" fmla="*/ 10 w 33"/>
                <a:gd name="T47" fmla="*/ 7 h 20"/>
                <a:gd name="T48" fmla="*/ 11 w 33"/>
                <a:gd name="T49" fmla="*/ 7 h 20"/>
                <a:gd name="T50" fmla="*/ 16 w 33"/>
                <a:gd name="T51" fmla="*/ 7 h 20"/>
                <a:gd name="T52" fmla="*/ 24 w 33"/>
                <a:gd name="T53" fmla="*/ 5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3" h="20">
                  <a:moveTo>
                    <a:pt x="24" y="5"/>
                  </a:moveTo>
                  <a:lnTo>
                    <a:pt x="28" y="2"/>
                  </a:lnTo>
                  <a:lnTo>
                    <a:pt x="30" y="1"/>
                  </a:lnTo>
                  <a:lnTo>
                    <a:pt x="32" y="0"/>
                  </a:lnTo>
                  <a:lnTo>
                    <a:pt x="33" y="0"/>
                  </a:lnTo>
                  <a:lnTo>
                    <a:pt x="33" y="2"/>
                  </a:lnTo>
                  <a:lnTo>
                    <a:pt x="31" y="5"/>
                  </a:lnTo>
                  <a:lnTo>
                    <a:pt x="28" y="6"/>
                  </a:lnTo>
                  <a:lnTo>
                    <a:pt x="26" y="10"/>
                  </a:lnTo>
                  <a:lnTo>
                    <a:pt x="27" y="11"/>
                  </a:lnTo>
                  <a:lnTo>
                    <a:pt x="25" y="14"/>
                  </a:lnTo>
                  <a:lnTo>
                    <a:pt x="22" y="15"/>
                  </a:lnTo>
                  <a:lnTo>
                    <a:pt x="20" y="18"/>
                  </a:lnTo>
                  <a:lnTo>
                    <a:pt x="15" y="18"/>
                  </a:lnTo>
                  <a:lnTo>
                    <a:pt x="13" y="20"/>
                  </a:lnTo>
                  <a:lnTo>
                    <a:pt x="7" y="20"/>
                  </a:lnTo>
                  <a:lnTo>
                    <a:pt x="4" y="18"/>
                  </a:lnTo>
                  <a:lnTo>
                    <a:pt x="2" y="16"/>
                  </a:lnTo>
                  <a:lnTo>
                    <a:pt x="0" y="12"/>
                  </a:lnTo>
                  <a:lnTo>
                    <a:pt x="3" y="11"/>
                  </a:lnTo>
                  <a:lnTo>
                    <a:pt x="5" y="10"/>
                  </a:lnTo>
                  <a:lnTo>
                    <a:pt x="8" y="9"/>
                  </a:lnTo>
                  <a:lnTo>
                    <a:pt x="10" y="9"/>
                  </a:lnTo>
                  <a:lnTo>
                    <a:pt x="10" y="7"/>
                  </a:lnTo>
                  <a:lnTo>
                    <a:pt x="11" y="7"/>
                  </a:lnTo>
                  <a:lnTo>
                    <a:pt x="16" y="7"/>
                  </a:lnTo>
                  <a:lnTo>
                    <a:pt x="24" y="5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31" name="Freeform 1031"/>
            <p:cNvSpPr>
              <a:spLocks/>
            </p:cNvSpPr>
            <p:nvPr/>
          </p:nvSpPr>
          <p:spPr bwMode="auto">
            <a:xfrm>
              <a:off x="4454" y="1781"/>
              <a:ext cx="35" cy="37"/>
            </a:xfrm>
            <a:custGeom>
              <a:avLst/>
              <a:gdLst>
                <a:gd name="T0" fmla="*/ 26 w 35"/>
                <a:gd name="T1" fmla="*/ 2 h 37"/>
                <a:gd name="T2" fmla="*/ 26 w 35"/>
                <a:gd name="T3" fmla="*/ 2 h 37"/>
                <a:gd name="T4" fmla="*/ 27 w 35"/>
                <a:gd name="T5" fmla="*/ 0 h 37"/>
                <a:gd name="T6" fmla="*/ 29 w 35"/>
                <a:gd name="T7" fmla="*/ 2 h 37"/>
                <a:gd name="T8" fmla="*/ 33 w 35"/>
                <a:gd name="T9" fmla="*/ 3 h 37"/>
                <a:gd name="T10" fmla="*/ 34 w 35"/>
                <a:gd name="T11" fmla="*/ 7 h 37"/>
                <a:gd name="T12" fmla="*/ 35 w 35"/>
                <a:gd name="T13" fmla="*/ 9 h 37"/>
                <a:gd name="T14" fmla="*/ 33 w 35"/>
                <a:gd name="T15" fmla="*/ 12 h 37"/>
                <a:gd name="T16" fmla="*/ 31 w 35"/>
                <a:gd name="T17" fmla="*/ 20 h 37"/>
                <a:gd name="T18" fmla="*/ 29 w 35"/>
                <a:gd name="T19" fmla="*/ 26 h 37"/>
                <a:gd name="T20" fmla="*/ 27 w 35"/>
                <a:gd name="T21" fmla="*/ 27 h 37"/>
                <a:gd name="T22" fmla="*/ 25 w 35"/>
                <a:gd name="T23" fmla="*/ 31 h 37"/>
                <a:gd name="T24" fmla="*/ 22 w 35"/>
                <a:gd name="T25" fmla="*/ 32 h 37"/>
                <a:gd name="T26" fmla="*/ 20 w 35"/>
                <a:gd name="T27" fmla="*/ 37 h 37"/>
                <a:gd name="T28" fmla="*/ 18 w 35"/>
                <a:gd name="T29" fmla="*/ 36 h 37"/>
                <a:gd name="T30" fmla="*/ 16 w 35"/>
                <a:gd name="T31" fmla="*/ 35 h 37"/>
                <a:gd name="T32" fmla="*/ 5 w 35"/>
                <a:gd name="T33" fmla="*/ 31 h 37"/>
                <a:gd name="T34" fmla="*/ 2 w 35"/>
                <a:gd name="T35" fmla="*/ 28 h 37"/>
                <a:gd name="T36" fmla="*/ 0 w 35"/>
                <a:gd name="T37" fmla="*/ 16 h 37"/>
                <a:gd name="T38" fmla="*/ 2 w 35"/>
                <a:gd name="T39" fmla="*/ 15 h 37"/>
                <a:gd name="T40" fmla="*/ 4 w 35"/>
                <a:gd name="T41" fmla="*/ 10 h 37"/>
                <a:gd name="T42" fmla="*/ 6 w 35"/>
                <a:gd name="T43" fmla="*/ 8 h 37"/>
                <a:gd name="T44" fmla="*/ 7 w 35"/>
                <a:gd name="T45" fmla="*/ 7 h 37"/>
                <a:gd name="T46" fmla="*/ 8 w 35"/>
                <a:gd name="T47" fmla="*/ 6 h 37"/>
                <a:gd name="T48" fmla="*/ 12 w 35"/>
                <a:gd name="T49" fmla="*/ 3 h 37"/>
                <a:gd name="T50" fmla="*/ 20 w 35"/>
                <a:gd name="T51" fmla="*/ 3 h 37"/>
                <a:gd name="T52" fmla="*/ 22 w 35"/>
                <a:gd name="T53" fmla="*/ 2 h 37"/>
                <a:gd name="T54" fmla="*/ 24 w 35"/>
                <a:gd name="T55" fmla="*/ 2 h 37"/>
                <a:gd name="T56" fmla="*/ 25 w 35"/>
                <a:gd name="T57" fmla="*/ 2 h 37"/>
                <a:gd name="T58" fmla="*/ 26 w 35"/>
                <a:gd name="T59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" h="37">
                  <a:moveTo>
                    <a:pt x="26" y="2"/>
                  </a:moveTo>
                  <a:lnTo>
                    <a:pt x="26" y="2"/>
                  </a:lnTo>
                  <a:lnTo>
                    <a:pt x="27" y="0"/>
                  </a:lnTo>
                  <a:lnTo>
                    <a:pt x="29" y="2"/>
                  </a:lnTo>
                  <a:lnTo>
                    <a:pt x="33" y="3"/>
                  </a:lnTo>
                  <a:lnTo>
                    <a:pt x="34" y="7"/>
                  </a:lnTo>
                  <a:lnTo>
                    <a:pt x="35" y="9"/>
                  </a:lnTo>
                  <a:lnTo>
                    <a:pt x="33" y="12"/>
                  </a:lnTo>
                  <a:lnTo>
                    <a:pt x="31" y="20"/>
                  </a:lnTo>
                  <a:lnTo>
                    <a:pt x="29" y="26"/>
                  </a:lnTo>
                  <a:lnTo>
                    <a:pt x="27" y="27"/>
                  </a:lnTo>
                  <a:lnTo>
                    <a:pt x="25" y="31"/>
                  </a:lnTo>
                  <a:lnTo>
                    <a:pt x="22" y="32"/>
                  </a:lnTo>
                  <a:lnTo>
                    <a:pt x="20" y="37"/>
                  </a:lnTo>
                  <a:lnTo>
                    <a:pt x="18" y="36"/>
                  </a:lnTo>
                  <a:lnTo>
                    <a:pt x="16" y="35"/>
                  </a:lnTo>
                  <a:lnTo>
                    <a:pt x="5" y="31"/>
                  </a:lnTo>
                  <a:lnTo>
                    <a:pt x="2" y="28"/>
                  </a:lnTo>
                  <a:lnTo>
                    <a:pt x="0" y="16"/>
                  </a:lnTo>
                  <a:lnTo>
                    <a:pt x="2" y="15"/>
                  </a:lnTo>
                  <a:lnTo>
                    <a:pt x="4" y="10"/>
                  </a:lnTo>
                  <a:lnTo>
                    <a:pt x="6" y="8"/>
                  </a:lnTo>
                  <a:lnTo>
                    <a:pt x="7" y="7"/>
                  </a:lnTo>
                  <a:lnTo>
                    <a:pt x="8" y="6"/>
                  </a:lnTo>
                  <a:lnTo>
                    <a:pt x="12" y="3"/>
                  </a:lnTo>
                  <a:lnTo>
                    <a:pt x="20" y="3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6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32" name="Freeform 1032"/>
            <p:cNvSpPr>
              <a:spLocks/>
            </p:cNvSpPr>
            <p:nvPr/>
          </p:nvSpPr>
          <p:spPr bwMode="auto">
            <a:xfrm>
              <a:off x="4454" y="1781"/>
              <a:ext cx="35" cy="37"/>
            </a:xfrm>
            <a:custGeom>
              <a:avLst/>
              <a:gdLst>
                <a:gd name="T0" fmla="*/ 26 w 35"/>
                <a:gd name="T1" fmla="*/ 2 h 37"/>
                <a:gd name="T2" fmla="*/ 26 w 35"/>
                <a:gd name="T3" fmla="*/ 2 h 37"/>
                <a:gd name="T4" fmla="*/ 27 w 35"/>
                <a:gd name="T5" fmla="*/ 0 h 37"/>
                <a:gd name="T6" fmla="*/ 29 w 35"/>
                <a:gd name="T7" fmla="*/ 2 h 37"/>
                <a:gd name="T8" fmla="*/ 33 w 35"/>
                <a:gd name="T9" fmla="*/ 3 h 37"/>
                <a:gd name="T10" fmla="*/ 34 w 35"/>
                <a:gd name="T11" fmla="*/ 7 h 37"/>
                <a:gd name="T12" fmla="*/ 35 w 35"/>
                <a:gd name="T13" fmla="*/ 9 h 37"/>
                <a:gd name="T14" fmla="*/ 33 w 35"/>
                <a:gd name="T15" fmla="*/ 12 h 37"/>
                <a:gd name="T16" fmla="*/ 31 w 35"/>
                <a:gd name="T17" fmla="*/ 20 h 37"/>
                <a:gd name="T18" fmla="*/ 29 w 35"/>
                <a:gd name="T19" fmla="*/ 26 h 37"/>
                <a:gd name="T20" fmla="*/ 27 w 35"/>
                <a:gd name="T21" fmla="*/ 27 h 37"/>
                <a:gd name="T22" fmla="*/ 25 w 35"/>
                <a:gd name="T23" fmla="*/ 31 h 37"/>
                <a:gd name="T24" fmla="*/ 22 w 35"/>
                <a:gd name="T25" fmla="*/ 32 h 37"/>
                <a:gd name="T26" fmla="*/ 20 w 35"/>
                <a:gd name="T27" fmla="*/ 37 h 37"/>
                <a:gd name="T28" fmla="*/ 18 w 35"/>
                <a:gd name="T29" fmla="*/ 36 h 37"/>
                <a:gd name="T30" fmla="*/ 16 w 35"/>
                <a:gd name="T31" fmla="*/ 35 h 37"/>
                <a:gd name="T32" fmla="*/ 5 w 35"/>
                <a:gd name="T33" fmla="*/ 31 h 37"/>
                <a:gd name="T34" fmla="*/ 2 w 35"/>
                <a:gd name="T35" fmla="*/ 28 h 37"/>
                <a:gd name="T36" fmla="*/ 0 w 35"/>
                <a:gd name="T37" fmla="*/ 16 h 37"/>
                <a:gd name="T38" fmla="*/ 2 w 35"/>
                <a:gd name="T39" fmla="*/ 15 h 37"/>
                <a:gd name="T40" fmla="*/ 4 w 35"/>
                <a:gd name="T41" fmla="*/ 10 h 37"/>
                <a:gd name="T42" fmla="*/ 6 w 35"/>
                <a:gd name="T43" fmla="*/ 8 h 37"/>
                <a:gd name="T44" fmla="*/ 7 w 35"/>
                <a:gd name="T45" fmla="*/ 7 h 37"/>
                <a:gd name="T46" fmla="*/ 8 w 35"/>
                <a:gd name="T47" fmla="*/ 6 h 37"/>
                <a:gd name="T48" fmla="*/ 12 w 35"/>
                <a:gd name="T49" fmla="*/ 3 h 37"/>
                <a:gd name="T50" fmla="*/ 20 w 35"/>
                <a:gd name="T51" fmla="*/ 3 h 37"/>
                <a:gd name="T52" fmla="*/ 22 w 35"/>
                <a:gd name="T53" fmla="*/ 2 h 37"/>
                <a:gd name="T54" fmla="*/ 24 w 35"/>
                <a:gd name="T55" fmla="*/ 2 h 37"/>
                <a:gd name="T56" fmla="*/ 25 w 35"/>
                <a:gd name="T57" fmla="*/ 2 h 37"/>
                <a:gd name="T58" fmla="*/ 26 w 35"/>
                <a:gd name="T59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" h="37">
                  <a:moveTo>
                    <a:pt x="26" y="2"/>
                  </a:moveTo>
                  <a:lnTo>
                    <a:pt x="26" y="2"/>
                  </a:lnTo>
                  <a:lnTo>
                    <a:pt x="27" y="0"/>
                  </a:lnTo>
                  <a:lnTo>
                    <a:pt x="29" y="2"/>
                  </a:lnTo>
                  <a:lnTo>
                    <a:pt x="33" y="3"/>
                  </a:lnTo>
                  <a:lnTo>
                    <a:pt x="34" y="7"/>
                  </a:lnTo>
                  <a:lnTo>
                    <a:pt x="35" y="9"/>
                  </a:lnTo>
                  <a:lnTo>
                    <a:pt x="33" y="12"/>
                  </a:lnTo>
                  <a:lnTo>
                    <a:pt x="31" y="20"/>
                  </a:lnTo>
                  <a:lnTo>
                    <a:pt x="29" y="26"/>
                  </a:lnTo>
                  <a:lnTo>
                    <a:pt x="27" y="27"/>
                  </a:lnTo>
                  <a:lnTo>
                    <a:pt x="25" y="31"/>
                  </a:lnTo>
                  <a:lnTo>
                    <a:pt x="22" y="32"/>
                  </a:lnTo>
                  <a:lnTo>
                    <a:pt x="20" y="37"/>
                  </a:lnTo>
                  <a:lnTo>
                    <a:pt x="18" y="36"/>
                  </a:lnTo>
                  <a:lnTo>
                    <a:pt x="16" y="35"/>
                  </a:lnTo>
                  <a:lnTo>
                    <a:pt x="5" y="31"/>
                  </a:lnTo>
                  <a:lnTo>
                    <a:pt x="2" y="28"/>
                  </a:lnTo>
                  <a:lnTo>
                    <a:pt x="0" y="16"/>
                  </a:lnTo>
                  <a:lnTo>
                    <a:pt x="2" y="15"/>
                  </a:lnTo>
                  <a:lnTo>
                    <a:pt x="4" y="10"/>
                  </a:lnTo>
                  <a:lnTo>
                    <a:pt x="6" y="8"/>
                  </a:lnTo>
                  <a:lnTo>
                    <a:pt x="7" y="7"/>
                  </a:lnTo>
                  <a:lnTo>
                    <a:pt x="8" y="6"/>
                  </a:lnTo>
                  <a:lnTo>
                    <a:pt x="12" y="3"/>
                  </a:lnTo>
                  <a:lnTo>
                    <a:pt x="20" y="3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6" y="2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33" name="Freeform 1033"/>
            <p:cNvSpPr>
              <a:spLocks/>
            </p:cNvSpPr>
            <p:nvPr/>
          </p:nvSpPr>
          <p:spPr bwMode="auto">
            <a:xfrm>
              <a:off x="2480" y="1629"/>
              <a:ext cx="11" cy="10"/>
            </a:xfrm>
            <a:custGeom>
              <a:avLst/>
              <a:gdLst>
                <a:gd name="T0" fmla="*/ 10 w 11"/>
                <a:gd name="T1" fmla="*/ 0 h 10"/>
                <a:gd name="T2" fmla="*/ 8 w 11"/>
                <a:gd name="T3" fmla="*/ 0 h 10"/>
                <a:gd name="T4" fmla="*/ 5 w 11"/>
                <a:gd name="T5" fmla="*/ 2 h 10"/>
                <a:gd name="T6" fmla="*/ 3 w 11"/>
                <a:gd name="T7" fmla="*/ 3 h 10"/>
                <a:gd name="T8" fmla="*/ 0 w 11"/>
                <a:gd name="T9" fmla="*/ 5 h 10"/>
                <a:gd name="T10" fmla="*/ 1 w 11"/>
                <a:gd name="T11" fmla="*/ 8 h 10"/>
                <a:gd name="T12" fmla="*/ 3 w 11"/>
                <a:gd name="T13" fmla="*/ 10 h 10"/>
                <a:gd name="T14" fmla="*/ 5 w 11"/>
                <a:gd name="T15" fmla="*/ 9 h 10"/>
                <a:gd name="T16" fmla="*/ 6 w 11"/>
                <a:gd name="T17" fmla="*/ 5 h 10"/>
                <a:gd name="T18" fmla="*/ 10 w 11"/>
                <a:gd name="T19" fmla="*/ 2 h 10"/>
                <a:gd name="T20" fmla="*/ 11 w 11"/>
                <a:gd name="T21" fmla="*/ 1 h 10"/>
                <a:gd name="T22" fmla="*/ 10 w 11"/>
                <a:gd name="T23" fmla="*/ 0 h 10"/>
                <a:gd name="T24" fmla="*/ 10 w 11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0">
                  <a:moveTo>
                    <a:pt x="10" y="0"/>
                  </a:moveTo>
                  <a:lnTo>
                    <a:pt x="8" y="0"/>
                  </a:lnTo>
                  <a:lnTo>
                    <a:pt x="5" y="2"/>
                  </a:lnTo>
                  <a:lnTo>
                    <a:pt x="3" y="3"/>
                  </a:lnTo>
                  <a:lnTo>
                    <a:pt x="0" y="5"/>
                  </a:lnTo>
                  <a:lnTo>
                    <a:pt x="1" y="8"/>
                  </a:lnTo>
                  <a:lnTo>
                    <a:pt x="3" y="10"/>
                  </a:lnTo>
                  <a:lnTo>
                    <a:pt x="5" y="9"/>
                  </a:lnTo>
                  <a:lnTo>
                    <a:pt x="6" y="5"/>
                  </a:lnTo>
                  <a:lnTo>
                    <a:pt x="10" y="2"/>
                  </a:lnTo>
                  <a:lnTo>
                    <a:pt x="11" y="1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34" name="Freeform 1034"/>
            <p:cNvSpPr>
              <a:spLocks/>
            </p:cNvSpPr>
            <p:nvPr/>
          </p:nvSpPr>
          <p:spPr bwMode="auto">
            <a:xfrm>
              <a:off x="2480" y="1629"/>
              <a:ext cx="11" cy="10"/>
            </a:xfrm>
            <a:custGeom>
              <a:avLst/>
              <a:gdLst>
                <a:gd name="T0" fmla="*/ 10 w 11"/>
                <a:gd name="T1" fmla="*/ 0 h 10"/>
                <a:gd name="T2" fmla="*/ 8 w 11"/>
                <a:gd name="T3" fmla="*/ 0 h 10"/>
                <a:gd name="T4" fmla="*/ 5 w 11"/>
                <a:gd name="T5" fmla="*/ 2 h 10"/>
                <a:gd name="T6" fmla="*/ 3 w 11"/>
                <a:gd name="T7" fmla="*/ 3 h 10"/>
                <a:gd name="T8" fmla="*/ 0 w 11"/>
                <a:gd name="T9" fmla="*/ 5 h 10"/>
                <a:gd name="T10" fmla="*/ 1 w 11"/>
                <a:gd name="T11" fmla="*/ 8 h 10"/>
                <a:gd name="T12" fmla="*/ 3 w 11"/>
                <a:gd name="T13" fmla="*/ 10 h 10"/>
                <a:gd name="T14" fmla="*/ 5 w 11"/>
                <a:gd name="T15" fmla="*/ 9 h 10"/>
                <a:gd name="T16" fmla="*/ 6 w 11"/>
                <a:gd name="T17" fmla="*/ 5 h 10"/>
                <a:gd name="T18" fmla="*/ 10 w 11"/>
                <a:gd name="T19" fmla="*/ 2 h 10"/>
                <a:gd name="T20" fmla="*/ 11 w 11"/>
                <a:gd name="T21" fmla="*/ 1 h 10"/>
                <a:gd name="T22" fmla="*/ 10 w 11"/>
                <a:gd name="T23" fmla="*/ 0 h 10"/>
                <a:gd name="T24" fmla="*/ 10 w 11"/>
                <a:gd name="T2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10">
                  <a:moveTo>
                    <a:pt x="10" y="0"/>
                  </a:moveTo>
                  <a:lnTo>
                    <a:pt x="8" y="0"/>
                  </a:lnTo>
                  <a:lnTo>
                    <a:pt x="5" y="2"/>
                  </a:lnTo>
                  <a:lnTo>
                    <a:pt x="3" y="3"/>
                  </a:lnTo>
                  <a:lnTo>
                    <a:pt x="0" y="5"/>
                  </a:lnTo>
                  <a:lnTo>
                    <a:pt x="1" y="8"/>
                  </a:lnTo>
                  <a:lnTo>
                    <a:pt x="3" y="10"/>
                  </a:lnTo>
                  <a:lnTo>
                    <a:pt x="5" y="9"/>
                  </a:lnTo>
                  <a:lnTo>
                    <a:pt x="6" y="5"/>
                  </a:lnTo>
                  <a:lnTo>
                    <a:pt x="10" y="2"/>
                  </a:lnTo>
                  <a:lnTo>
                    <a:pt x="11" y="1"/>
                  </a:lnTo>
                  <a:lnTo>
                    <a:pt x="10" y="0"/>
                  </a:lnTo>
                  <a:lnTo>
                    <a:pt x="10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35" name="Freeform 1035"/>
            <p:cNvSpPr>
              <a:spLocks/>
            </p:cNvSpPr>
            <p:nvPr/>
          </p:nvSpPr>
          <p:spPr bwMode="auto">
            <a:xfrm>
              <a:off x="2496" y="1637"/>
              <a:ext cx="6" cy="8"/>
            </a:xfrm>
            <a:custGeom>
              <a:avLst/>
              <a:gdLst>
                <a:gd name="T0" fmla="*/ 2 w 6"/>
                <a:gd name="T1" fmla="*/ 0 h 8"/>
                <a:gd name="T2" fmla="*/ 0 w 6"/>
                <a:gd name="T3" fmla="*/ 3 h 8"/>
                <a:gd name="T4" fmla="*/ 0 w 6"/>
                <a:gd name="T5" fmla="*/ 7 h 8"/>
                <a:gd name="T6" fmla="*/ 1 w 6"/>
                <a:gd name="T7" fmla="*/ 8 h 8"/>
                <a:gd name="T8" fmla="*/ 4 w 6"/>
                <a:gd name="T9" fmla="*/ 8 h 8"/>
                <a:gd name="T10" fmla="*/ 5 w 6"/>
                <a:gd name="T11" fmla="*/ 7 h 8"/>
                <a:gd name="T12" fmla="*/ 6 w 6"/>
                <a:gd name="T13" fmla="*/ 5 h 8"/>
                <a:gd name="T14" fmla="*/ 6 w 6"/>
                <a:gd name="T15" fmla="*/ 4 h 8"/>
                <a:gd name="T16" fmla="*/ 6 w 6"/>
                <a:gd name="T17" fmla="*/ 1 h 8"/>
                <a:gd name="T18" fmla="*/ 6 w 6"/>
                <a:gd name="T19" fmla="*/ 1 h 8"/>
                <a:gd name="T20" fmla="*/ 2 w 6"/>
                <a:gd name="T2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8">
                  <a:moveTo>
                    <a:pt x="2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1" y="8"/>
                  </a:lnTo>
                  <a:lnTo>
                    <a:pt x="4" y="8"/>
                  </a:lnTo>
                  <a:lnTo>
                    <a:pt x="5" y="7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1"/>
                  </a:lnTo>
                  <a:lnTo>
                    <a:pt x="6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36" name="Freeform 1036"/>
            <p:cNvSpPr>
              <a:spLocks/>
            </p:cNvSpPr>
            <p:nvPr/>
          </p:nvSpPr>
          <p:spPr bwMode="auto">
            <a:xfrm>
              <a:off x="2496" y="1637"/>
              <a:ext cx="6" cy="8"/>
            </a:xfrm>
            <a:custGeom>
              <a:avLst/>
              <a:gdLst>
                <a:gd name="T0" fmla="*/ 2 w 6"/>
                <a:gd name="T1" fmla="*/ 0 h 8"/>
                <a:gd name="T2" fmla="*/ 0 w 6"/>
                <a:gd name="T3" fmla="*/ 3 h 8"/>
                <a:gd name="T4" fmla="*/ 0 w 6"/>
                <a:gd name="T5" fmla="*/ 7 h 8"/>
                <a:gd name="T6" fmla="*/ 1 w 6"/>
                <a:gd name="T7" fmla="*/ 8 h 8"/>
                <a:gd name="T8" fmla="*/ 4 w 6"/>
                <a:gd name="T9" fmla="*/ 8 h 8"/>
                <a:gd name="T10" fmla="*/ 5 w 6"/>
                <a:gd name="T11" fmla="*/ 7 h 8"/>
                <a:gd name="T12" fmla="*/ 6 w 6"/>
                <a:gd name="T13" fmla="*/ 5 h 8"/>
                <a:gd name="T14" fmla="*/ 6 w 6"/>
                <a:gd name="T15" fmla="*/ 4 h 8"/>
                <a:gd name="T16" fmla="*/ 6 w 6"/>
                <a:gd name="T17" fmla="*/ 1 h 8"/>
                <a:gd name="T18" fmla="*/ 6 w 6"/>
                <a:gd name="T19" fmla="*/ 1 h 8"/>
                <a:gd name="T20" fmla="*/ 2 w 6"/>
                <a:gd name="T21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8">
                  <a:moveTo>
                    <a:pt x="2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1" y="8"/>
                  </a:lnTo>
                  <a:lnTo>
                    <a:pt x="4" y="8"/>
                  </a:lnTo>
                  <a:lnTo>
                    <a:pt x="5" y="7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1"/>
                  </a:lnTo>
                  <a:lnTo>
                    <a:pt x="6" y="1"/>
                  </a:lnTo>
                  <a:lnTo>
                    <a:pt x="2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37" name="Freeform 1037"/>
            <p:cNvSpPr>
              <a:spLocks/>
            </p:cNvSpPr>
            <p:nvPr/>
          </p:nvSpPr>
          <p:spPr bwMode="auto">
            <a:xfrm>
              <a:off x="2517" y="1626"/>
              <a:ext cx="9" cy="12"/>
            </a:xfrm>
            <a:custGeom>
              <a:avLst/>
              <a:gdLst>
                <a:gd name="T0" fmla="*/ 9 w 9"/>
                <a:gd name="T1" fmla="*/ 1 h 12"/>
                <a:gd name="T2" fmla="*/ 9 w 9"/>
                <a:gd name="T3" fmla="*/ 0 h 12"/>
                <a:gd name="T4" fmla="*/ 8 w 9"/>
                <a:gd name="T5" fmla="*/ 0 h 12"/>
                <a:gd name="T6" fmla="*/ 6 w 9"/>
                <a:gd name="T7" fmla="*/ 3 h 12"/>
                <a:gd name="T8" fmla="*/ 5 w 9"/>
                <a:gd name="T9" fmla="*/ 5 h 12"/>
                <a:gd name="T10" fmla="*/ 3 w 9"/>
                <a:gd name="T11" fmla="*/ 9 h 12"/>
                <a:gd name="T12" fmla="*/ 3 w 9"/>
                <a:gd name="T13" fmla="*/ 11 h 12"/>
                <a:gd name="T14" fmla="*/ 0 w 9"/>
                <a:gd name="T15" fmla="*/ 12 h 12"/>
                <a:gd name="T16" fmla="*/ 6 w 9"/>
                <a:gd name="T17" fmla="*/ 10 h 12"/>
                <a:gd name="T18" fmla="*/ 8 w 9"/>
                <a:gd name="T19" fmla="*/ 8 h 12"/>
                <a:gd name="T20" fmla="*/ 9 w 9"/>
                <a:gd name="T21" fmla="*/ 5 h 12"/>
                <a:gd name="T22" fmla="*/ 9 w 9"/>
                <a:gd name="T23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2">
                  <a:moveTo>
                    <a:pt x="9" y="1"/>
                  </a:moveTo>
                  <a:lnTo>
                    <a:pt x="9" y="0"/>
                  </a:lnTo>
                  <a:lnTo>
                    <a:pt x="8" y="0"/>
                  </a:lnTo>
                  <a:lnTo>
                    <a:pt x="6" y="3"/>
                  </a:lnTo>
                  <a:lnTo>
                    <a:pt x="5" y="5"/>
                  </a:lnTo>
                  <a:lnTo>
                    <a:pt x="3" y="9"/>
                  </a:lnTo>
                  <a:lnTo>
                    <a:pt x="3" y="11"/>
                  </a:lnTo>
                  <a:lnTo>
                    <a:pt x="0" y="12"/>
                  </a:lnTo>
                  <a:lnTo>
                    <a:pt x="6" y="10"/>
                  </a:lnTo>
                  <a:lnTo>
                    <a:pt x="8" y="8"/>
                  </a:lnTo>
                  <a:lnTo>
                    <a:pt x="9" y="5"/>
                  </a:lnTo>
                  <a:lnTo>
                    <a:pt x="9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38" name="Freeform 1038"/>
            <p:cNvSpPr>
              <a:spLocks/>
            </p:cNvSpPr>
            <p:nvPr/>
          </p:nvSpPr>
          <p:spPr bwMode="auto">
            <a:xfrm>
              <a:off x="2517" y="1626"/>
              <a:ext cx="9" cy="12"/>
            </a:xfrm>
            <a:custGeom>
              <a:avLst/>
              <a:gdLst>
                <a:gd name="T0" fmla="*/ 9 w 9"/>
                <a:gd name="T1" fmla="*/ 1 h 12"/>
                <a:gd name="T2" fmla="*/ 9 w 9"/>
                <a:gd name="T3" fmla="*/ 0 h 12"/>
                <a:gd name="T4" fmla="*/ 8 w 9"/>
                <a:gd name="T5" fmla="*/ 0 h 12"/>
                <a:gd name="T6" fmla="*/ 6 w 9"/>
                <a:gd name="T7" fmla="*/ 3 h 12"/>
                <a:gd name="T8" fmla="*/ 5 w 9"/>
                <a:gd name="T9" fmla="*/ 5 h 12"/>
                <a:gd name="T10" fmla="*/ 3 w 9"/>
                <a:gd name="T11" fmla="*/ 9 h 12"/>
                <a:gd name="T12" fmla="*/ 3 w 9"/>
                <a:gd name="T13" fmla="*/ 11 h 12"/>
                <a:gd name="T14" fmla="*/ 0 w 9"/>
                <a:gd name="T15" fmla="*/ 12 h 12"/>
                <a:gd name="T16" fmla="*/ 6 w 9"/>
                <a:gd name="T17" fmla="*/ 10 h 12"/>
                <a:gd name="T18" fmla="*/ 8 w 9"/>
                <a:gd name="T19" fmla="*/ 8 h 12"/>
                <a:gd name="T20" fmla="*/ 9 w 9"/>
                <a:gd name="T21" fmla="*/ 5 h 12"/>
                <a:gd name="T22" fmla="*/ 9 w 9"/>
                <a:gd name="T23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" h="12">
                  <a:moveTo>
                    <a:pt x="9" y="1"/>
                  </a:moveTo>
                  <a:lnTo>
                    <a:pt x="9" y="0"/>
                  </a:lnTo>
                  <a:lnTo>
                    <a:pt x="8" y="0"/>
                  </a:lnTo>
                  <a:lnTo>
                    <a:pt x="6" y="3"/>
                  </a:lnTo>
                  <a:lnTo>
                    <a:pt x="5" y="5"/>
                  </a:lnTo>
                  <a:lnTo>
                    <a:pt x="3" y="9"/>
                  </a:lnTo>
                  <a:lnTo>
                    <a:pt x="3" y="11"/>
                  </a:lnTo>
                  <a:lnTo>
                    <a:pt x="0" y="12"/>
                  </a:lnTo>
                  <a:lnTo>
                    <a:pt x="6" y="10"/>
                  </a:lnTo>
                  <a:lnTo>
                    <a:pt x="8" y="8"/>
                  </a:lnTo>
                  <a:lnTo>
                    <a:pt x="9" y="5"/>
                  </a:lnTo>
                  <a:lnTo>
                    <a:pt x="9" y="1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39" name="Freeform 1039"/>
            <p:cNvSpPr>
              <a:spLocks/>
            </p:cNvSpPr>
            <p:nvPr/>
          </p:nvSpPr>
          <p:spPr bwMode="auto">
            <a:xfrm>
              <a:off x="2526" y="1618"/>
              <a:ext cx="7" cy="6"/>
            </a:xfrm>
            <a:custGeom>
              <a:avLst/>
              <a:gdLst>
                <a:gd name="T0" fmla="*/ 7 w 7"/>
                <a:gd name="T1" fmla="*/ 0 h 6"/>
                <a:gd name="T2" fmla="*/ 6 w 7"/>
                <a:gd name="T3" fmla="*/ 0 h 6"/>
                <a:gd name="T4" fmla="*/ 6 w 7"/>
                <a:gd name="T5" fmla="*/ 1 h 6"/>
                <a:gd name="T6" fmla="*/ 2 w 7"/>
                <a:gd name="T7" fmla="*/ 2 h 6"/>
                <a:gd name="T8" fmla="*/ 1 w 7"/>
                <a:gd name="T9" fmla="*/ 3 h 6"/>
                <a:gd name="T10" fmla="*/ 0 w 7"/>
                <a:gd name="T11" fmla="*/ 6 h 6"/>
                <a:gd name="T12" fmla="*/ 4 w 7"/>
                <a:gd name="T13" fmla="*/ 4 h 6"/>
                <a:gd name="T14" fmla="*/ 5 w 7"/>
                <a:gd name="T15" fmla="*/ 3 h 6"/>
                <a:gd name="T16" fmla="*/ 6 w 7"/>
                <a:gd name="T17" fmla="*/ 2 h 6"/>
                <a:gd name="T18" fmla="*/ 7 w 7"/>
                <a:gd name="T1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6">
                  <a:moveTo>
                    <a:pt x="7" y="0"/>
                  </a:moveTo>
                  <a:lnTo>
                    <a:pt x="6" y="0"/>
                  </a:lnTo>
                  <a:lnTo>
                    <a:pt x="6" y="1"/>
                  </a:lnTo>
                  <a:lnTo>
                    <a:pt x="2" y="2"/>
                  </a:lnTo>
                  <a:lnTo>
                    <a:pt x="1" y="3"/>
                  </a:lnTo>
                  <a:lnTo>
                    <a:pt x="0" y="6"/>
                  </a:lnTo>
                  <a:lnTo>
                    <a:pt x="4" y="4"/>
                  </a:lnTo>
                  <a:lnTo>
                    <a:pt x="5" y="3"/>
                  </a:lnTo>
                  <a:lnTo>
                    <a:pt x="6" y="2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40" name="Freeform 1040"/>
            <p:cNvSpPr>
              <a:spLocks/>
            </p:cNvSpPr>
            <p:nvPr/>
          </p:nvSpPr>
          <p:spPr bwMode="auto">
            <a:xfrm>
              <a:off x="2526" y="1618"/>
              <a:ext cx="7" cy="6"/>
            </a:xfrm>
            <a:custGeom>
              <a:avLst/>
              <a:gdLst>
                <a:gd name="T0" fmla="*/ 7 w 7"/>
                <a:gd name="T1" fmla="*/ 0 h 6"/>
                <a:gd name="T2" fmla="*/ 6 w 7"/>
                <a:gd name="T3" fmla="*/ 0 h 6"/>
                <a:gd name="T4" fmla="*/ 6 w 7"/>
                <a:gd name="T5" fmla="*/ 1 h 6"/>
                <a:gd name="T6" fmla="*/ 2 w 7"/>
                <a:gd name="T7" fmla="*/ 2 h 6"/>
                <a:gd name="T8" fmla="*/ 1 w 7"/>
                <a:gd name="T9" fmla="*/ 3 h 6"/>
                <a:gd name="T10" fmla="*/ 0 w 7"/>
                <a:gd name="T11" fmla="*/ 6 h 6"/>
                <a:gd name="T12" fmla="*/ 4 w 7"/>
                <a:gd name="T13" fmla="*/ 4 h 6"/>
                <a:gd name="T14" fmla="*/ 5 w 7"/>
                <a:gd name="T15" fmla="*/ 3 h 6"/>
                <a:gd name="T16" fmla="*/ 6 w 7"/>
                <a:gd name="T17" fmla="*/ 2 h 6"/>
                <a:gd name="T18" fmla="*/ 7 w 7"/>
                <a:gd name="T1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6">
                  <a:moveTo>
                    <a:pt x="7" y="0"/>
                  </a:moveTo>
                  <a:lnTo>
                    <a:pt x="6" y="0"/>
                  </a:lnTo>
                  <a:lnTo>
                    <a:pt x="6" y="1"/>
                  </a:lnTo>
                  <a:lnTo>
                    <a:pt x="2" y="2"/>
                  </a:lnTo>
                  <a:lnTo>
                    <a:pt x="1" y="3"/>
                  </a:lnTo>
                  <a:lnTo>
                    <a:pt x="0" y="6"/>
                  </a:lnTo>
                  <a:lnTo>
                    <a:pt x="4" y="4"/>
                  </a:lnTo>
                  <a:lnTo>
                    <a:pt x="5" y="3"/>
                  </a:lnTo>
                  <a:lnTo>
                    <a:pt x="6" y="2"/>
                  </a:lnTo>
                  <a:lnTo>
                    <a:pt x="7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41" name="Freeform 1041"/>
            <p:cNvSpPr>
              <a:spLocks/>
            </p:cNvSpPr>
            <p:nvPr/>
          </p:nvSpPr>
          <p:spPr bwMode="auto">
            <a:xfrm>
              <a:off x="3832" y="1183"/>
              <a:ext cx="820" cy="597"/>
            </a:xfrm>
            <a:custGeom>
              <a:avLst/>
              <a:gdLst>
                <a:gd name="T0" fmla="*/ 689 w 820"/>
                <a:gd name="T1" fmla="*/ 552 h 597"/>
                <a:gd name="T2" fmla="*/ 676 w 820"/>
                <a:gd name="T3" fmla="*/ 568 h 597"/>
                <a:gd name="T4" fmla="*/ 646 w 820"/>
                <a:gd name="T5" fmla="*/ 595 h 597"/>
                <a:gd name="T6" fmla="*/ 608 w 820"/>
                <a:gd name="T7" fmla="*/ 574 h 597"/>
                <a:gd name="T8" fmla="*/ 561 w 820"/>
                <a:gd name="T9" fmla="*/ 545 h 597"/>
                <a:gd name="T10" fmla="*/ 516 w 820"/>
                <a:gd name="T11" fmla="*/ 553 h 597"/>
                <a:gd name="T12" fmla="*/ 496 w 820"/>
                <a:gd name="T13" fmla="*/ 569 h 597"/>
                <a:gd name="T14" fmla="*/ 441 w 820"/>
                <a:gd name="T15" fmla="*/ 530 h 597"/>
                <a:gd name="T16" fmla="*/ 432 w 820"/>
                <a:gd name="T17" fmla="*/ 465 h 597"/>
                <a:gd name="T18" fmla="*/ 393 w 820"/>
                <a:gd name="T19" fmla="*/ 433 h 597"/>
                <a:gd name="T20" fmla="*/ 341 w 820"/>
                <a:gd name="T21" fmla="*/ 456 h 597"/>
                <a:gd name="T22" fmla="*/ 296 w 820"/>
                <a:gd name="T23" fmla="*/ 453 h 597"/>
                <a:gd name="T24" fmla="*/ 273 w 820"/>
                <a:gd name="T25" fmla="*/ 458 h 597"/>
                <a:gd name="T26" fmla="*/ 244 w 820"/>
                <a:gd name="T27" fmla="*/ 458 h 597"/>
                <a:gd name="T28" fmla="*/ 217 w 820"/>
                <a:gd name="T29" fmla="*/ 445 h 597"/>
                <a:gd name="T30" fmla="*/ 201 w 820"/>
                <a:gd name="T31" fmla="*/ 436 h 597"/>
                <a:gd name="T32" fmla="*/ 160 w 820"/>
                <a:gd name="T33" fmla="*/ 415 h 597"/>
                <a:gd name="T34" fmla="*/ 137 w 820"/>
                <a:gd name="T35" fmla="*/ 406 h 597"/>
                <a:gd name="T36" fmla="*/ 119 w 820"/>
                <a:gd name="T37" fmla="*/ 398 h 597"/>
                <a:gd name="T38" fmla="*/ 109 w 820"/>
                <a:gd name="T39" fmla="*/ 372 h 597"/>
                <a:gd name="T40" fmla="*/ 121 w 820"/>
                <a:gd name="T41" fmla="*/ 368 h 597"/>
                <a:gd name="T42" fmla="*/ 109 w 820"/>
                <a:gd name="T43" fmla="*/ 347 h 597"/>
                <a:gd name="T44" fmla="*/ 120 w 820"/>
                <a:gd name="T45" fmla="*/ 325 h 597"/>
                <a:gd name="T46" fmla="*/ 107 w 820"/>
                <a:gd name="T47" fmla="*/ 314 h 597"/>
                <a:gd name="T48" fmla="*/ 82 w 820"/>
                <a:gd name="T49" fmla="*/ 320 h 597"/>
                <a:gd name="T50" fmla="*/ 51 w 820"/>
                <a:gd name="T51" fmla="*/ 310 h 597"/>
                <a:gd name="T52" fmla="*/ 37 w 820"/>
                <a:gd name="T53" fmla="*/ 294 h 597"/>
                <a:gd name="T54" fmla="*/ 23 w 820"/>
                <a:gd name="T55" fmla="*/ 273 h 597"/>
                <a:gd name="T56" fmla="*/ 21 w 820"/>
                <a:gd name="T57" fmla="*/ 229 h 597"/>
                <a:gd name="T58" fmla="*/ 81 w 820"/>
                <a:gd name="T59" fmla="*/ 199 h 597"/>
                <a:gd name="T60" fmla="*/ 88 w 820"/>
                <a:gd name="T61" fmla="*/ 144 h 597"/>
                <a:gd name="T62" fmla="*/ 119 w 820"/>
                <a:gd name="T63" fmla="*/ 103 h 597"/>
                <a:gd name="T64" fmla="*/ 167 w 820"/>
                <a:gd name="T65" fmla="*/ 95 h 597"/>
                <a:gd name="T66" fmla="*/ 238 w 820"/>
                <a:gd name="T67" fmla="*/ 149 h 597"/>
                <a:gd name="T68" fmla="*/ 322 w 820"/>
                <a:gd name="T69" fmla="*/ 190 h 597"/>
                <a:gd name="T70" fmla="*/ 446 w 820"/>
                <a:gd name="T71" fmla="*/ 209 h 597"/>
                <a:gd name="T72" fmla="*/ 519 w 820"/>
                <a:gd name="T73" fmla="*/ 183 h 597"/>
                <a:gd name="T74" fmla="*/ 559 w 820"/>
                <a:gd name="T75" fmla="*/ 139 h 597"/>
                <a:gd name="T76" fmla="*/ 578 w 820"/>
                <a:gd name="T77" fmla="*/ 97 h 597"/>
                <a:gd name="T78" fmla="*/ 528 w 820"/>
                <a:gd name="T79" fmla="*/ 61 h 597"/>
                <a:gd name="T80" fmla="*/ 562 w 820"/>
                <a:gd name="T81" fmla="*/ 31 h 597"/>
                <a:gd name="T82" fmla="*/ 584 w 820"/>
                <a:gd name="T83" fmla="*/ 0 h 597"/>
                <a:gd name="T84" fmla="*/ 647 w 820"/>
                <a:gd name="T85" fmla="*/ 30 h 597"/>
                <a:gd name="T86" fmla="*/ 736 w 820"/>
                <a:gd name="T87" fmla="*/ 79 h 597"/>
                <a:gd name="T88" fmla="*/ 798 w 820"/>
                <a:gd name="T89" fmla="*/ 89 h 597"/>
                <a:gd name="T90" fmla="*/ 802 w 820"/>
                <a:gd name="T91" fmla="*/ 144 h 597"/>
                <a:gd name="T92" fmla="*/ 785 w 820"/>
                <a:gd name="T93" fmla="*/ 204 h 597"/>
                <a:gd name="T94" fmla="*/ 735 w 820"/>
                <a:gd name="T95" fmla="*/ 243 h 597"/>
                <a:gd name="T96" fmla="*/ 706 w 820"/>
                <a:gd name="T97" fmla="*/ 247 h 597"/>
                <a:gd name="T98" fmla="*/ 683 w 820"/>
                <a:gd name="T99" fmla="*/ 239 h 597"/>
                <a:gd name="T100" fmla="*/ 673 w 820"/>
                <a:gd name="T101" fmla="*/ 274 h 597"/>
                <a:gd name="T102" fmla="*/ 721 w 820"/>
                <a:gd name="T103" fmla="*/ 283 h 597"/>
                <a:gd name="T104" fmla="*/ 736 w 820"/>
                <a:gd name="T105" fmla="*/ 296 h 597"/>
                <a:gd name="T106" fmla="*/ 715 w 820"/>
                <a:gd name="T107" fmla="*/ 323 h 597"/>
                <a:gd name="T108" fmla="*/ 775 w 820"/>
                <a:gd name="T109" fmla="*/ 389 h 597"/>
                <a:gd name="T110" fmla="*/ 777 w 820"/>
                <a:gd name="T111" fmla="*/ 399 h 597"/>
                <a:gd name="T112" fmla="*/ 778 w 820"/>
                <a:gd name="T113" fmla="*/ 418 h 597"/>
                <a:gd name="T114" fmla="*/ 786 w 820"/>
                <a:gd name="T115" fmla="*/ 439 h 597"/>
                <a:gd name="T116" fmla="*/ 776 w 820"/>
                <a:gd name="T117" fmla="*/ 474 h 597"/>
                <a:gd name="T118" fmla="*/ 770 w 820"/>
                <a:gd name="T119" fmla="*/ 503 h 597"/>
                <a:gd name="T120" fmla="*/ 754 w 820"/>
                <a:gd name="T121" fmla="*/ 523 h 597"/>
                <a:gd name="T122" fmla="*/ 731 w 820"/>
                <a:gd name="T123" fmla="*/ 547 h 597"/>
                <a:gd name="T124" fmla="*/ 705 w 820"/>
                <a:gd name="T125" fmla="*/ 555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20" h="597">
                  <a:moveTo>
                    <a:pt x="705" y="555"/>
                  </a:moveTo>
                  <a:lnTo>
                    <a:pt x="704" y="557"/>
                  </a:lnTo>
                  <a:lnTo>
                    <a:pt x="704" y="556"/>
                  </a:lnTo>
                  <a:lnTo>
                    <a:pt x="704" y="555"/>
                  </a:lnTo>
                  <a:lnTo>
                    <a:pt x="701" y="555"/>
                  </a:lnTo>
                  <a:lnTo>
                    <a:pt x="699" y="555"/>
                  </a:lnTo>
                  <a:lnTo>
                    <a:pt x="699" y="555"/>
                  </a:lnTo>
                  <a:lnTo>
                    <a:pt x="699" y="555"/>
                  </a:lnTo>
                  <a:lnTo>
                    <a:pt x="699" y="556"/>
                  </a:lnTo>
                  <a:lnTo>
                    <a:pt x="700" y="558"/>
                  </a:lnTo>
                  <a:lnTo>
                    <a:pt x="699" y="558"/>
                  </a:lnTo>
                  <a:lnTo>
                    <a:pt x="696" y="559"/>
                  </a:lnTo>
                  <a:lnTo>
                    <a:pt x="696" y="557"/>
                  </a:lnTo>
                  <a:lnTo>
                    <a:pt x="696" y="557"/>
                  </a:lnTo>
                  <a:lnTo>
                    <a:pt x="695" y="555"/>
                  </a:lnTo>
                  <a:lnTo>
                    <a:pt x="691" y="553"/>
                  </a:lnTo>
                  <a:lnTo>
                    <a:pt x="689" y="552"/>
                  </a:lnTo>
                  <a:lnTo>
                    <a:pt x="687" y="550"/>
                  </a:lnTo>
                  <a:lnTo>
                    <a:pt x="688" y="554"/>
                  </a:lnTo>
                  <a:lnTo>
                    <a:pt x="688" y="557"/>
                  </a:lnTo>
                  <a:lnTo>
                    <a:pt x="689" y="559"/>
                  </a:lnTo>
                  <a:lnTo>
                    <a:pt x="689" y="560"/>
                  </a:lnTo>
                  <a:lnTo>
                    <a:pt x="688" y="560"/>
                  </a:lnTo>
                  <a:lnTo>
                    <a:pt x="687" y="560"/>
                  </a:lnTo>
                  <a:lnTo>
                    <a:pt x="685" y="557"/>
                  </a:lnTo>
                  <a:lnTo>
                    <a:pt x="681" y="556"/>
                  </a:lnTo>
                  <a:lnTo>
                    <a:pt x="680" y="554"/>
                  </a:lnTo>
                  <a:lnTo>
                    <a:pt x="680" y="559"/>
                  </a:lnTo>
                  <a:lnTo>
                    <a:pt x="680" y="562"/>
                  </a:lnTo>
                  <a:lnTo>
                    <a:pt x="680" y="563"/>
                  </a:lnTo>
                  <a:lnTo>
                    <a:pt x="681" y="566"/>
                  </a:lnTo>
                  <a:lnTo>
                    <a:pt x="680" y="567"/>
                  </a:lnTo>
                  <a:lnTo>
                    <a:pt x="679" y="566"/>
                  </a:lnTo>
                  <a:lnTo>
                    <a:pt x="676" y="568"/>
                  </a:lnTo>
                  <a:lnTo>
                    <a:pt x="673" y="568"/>
                  </a:lnTo>
                  <a:lnTo>
                    <a:pt x="670" y="570"/>
                  </a:lnTo>
                  <a:lnTo>
                    <a:pt x="668" y="569"/>
                  </a:lnTo>
                  <a:lnTo>
                    <a:pt x="667" y="569"/>
                  </a:lnTo>
                  <a:lnTo>
                    <a:pt x="665" y="569"/>
                  </a:lnTo>
                  <a:lnTo>
                    <a:pt x="661" y="573"/>
                  </a:lnTo>
                  <a:lnTo>
                    <a:pt x="659" y="574"/>
                  </a:lnTo>
                  <a:lnTo>
                    <a:pt x="655" y="574"/>
                  </a:lnTo>
                  <a:lnTo>
                    <a:pt x="653" y="574"/>
                  </a:lnTo>
                  <a:lnTo>
                    <a:pt x="651" y="575"/>
                  </a:lnTo>
                  <a:lnTo>
                    <a:pt x="649" y="576"/>
                  </a:lnTo>
                  <a:lnTo>
                    <a:pt x="646" y="577"/>
                  </a:lnTo>
                  <a:lnTo>
                    <a:pt x="643" y="577"/>
                  </a:lnTo>
                  <a:lnTo>
                    <a:pt x="642" y="585"/>
                  </a:lnTo>
                  <a:lnTo>
                    <a:pt x="644" y="588"/>
                  </a:lnTo>
                  <a:lnTo>
                    <a:pt x="645" y="590"/>
                  </a:lnTo>
                  <a:lnTo>
                    <a:pt x="646" y="595"/>
                  </a:lnTo>
                  <a:lnTo>
                    <a:pt x="642" y="597"/>
                  </a:lnTo>
                  <a:lnTo>
                    <a:pt x="638" y="595"/>
                  </a:lnTo>
                  <a:lnTo>
                    <a:pt x="633" y="585"/>
                  </a:lnTo>
                  <a:lnTo>
                    <a:pt x="632" y="583"/>
                  </a:lnTo>
                  <a:lnTo>
                    <a:pt x="632" y="581"/>
                  </a:lnTo>
                  <a:lnTo>
                    <a:pt x="633" y="575"/>
                  </a:lnTo>
                  <a:lnTo>
                    <a:pt x="630" y="573"/>
                  </a:lnTo>
                  <a:lnTo>
                    <a:pt x="629" y="574"/>
                  </a:lnTo>
                  <a:lnTo>
                    <a:pt x="626" y="576"/>
                  </a:lnTo>
                  <a:lnTo>
                    <a:pt x="624" y="576"/>
                  </a:lnTo>
                  <a:lnTo>
                    <a:pt x="622" y="575"/>
                  </a:lnTo>
                  <a:lnTo>
                    <a:pt x="622" y="573"/>
                  </a:lnTo>
                  <a:lnTo>
                    <a:pt x="616" y="571"/>
                  </a:lnTo>
                  <a:lnTo>
                    <a:pt x="613" y="570"/>
                  </a:lnTo>
                  <a:lnTo>
                    <a:pt x="612" y="570"/>
                  </a:lnTo>
                  <a:lnTo>
                    <a:pt x="612" y="573"/>
                  </a:lnTo>
                  <a:lnTo>
                    <a:pt x="608" y="574"/>
                  </a:lnTo>
                  <a:lnTo>
                    <a:pt x="609" y="576"/>
                  </a:lnTo>
                  <a:lnTo>
                    <a:pt x="608" y="573"/>
                  </a:lnTo>
                  <a:lnTo>
                    <a:pt x="606" y="574"/>
                  </a:lnTo>
                  <a:lnTo>
                    <a:pt x="604" y="575"/>
                  </a:lnTo>
                  <a:lnTo>
                    <a:pt x="602" y="574"/>
                  </a:lnTo>
                  <a:lnTo>
                    <a:pt x="597" y="574"/>
                  </a:lnTo>
                  <a:lnTo>
                    <a:pt x="594" y="573"/>
                  </a:lnTo>
                  <a:lnTo>
                    <a:pt x="592" y="571"/>
                  </a:lnTo>
                  <a:lnTo>
                    <a:pt x="585" y="567"/>
                  </a:lnTo>
                  <a:lnTo>
                    <a:pt x="582" y="564"/>
                  </a:lnTo>
                  <a:lnTo>
                    <a:pt x="579" y="559"/>
                  </a:lnTo>
                  <a:lnTo>
                    <a:pt x="580" y="554"/>
                  </a:lnTo>
                  <a:lnTo>
                    <a:pt x="578" y="552"/>
                  </a:lnTo>
                  <a:lnTo>
                    <a:pt x="573" y="550"/>
                  </a:lnTo>
                  <a:lnTo>
                    <a:pt x="569" y="549"/>
                  </a:lnTo>
                  <a:lnTo>
                    <a:pt x="565" y="548"/>
                  </a:lnTo>
                  <a:lnTo>
                    <a:pt x="561" y="545"/>
                  </a:lnTo>
                  <a:lnTo>
                    <a:pt x="556" y="544"/>
                  </a:lnTo>
                  <a:lnTo>
                    <a:pt x="554" y="544"/>
                  </a:lnTo>
                  <a:lnTo>
                    <a:pt x="552" y="547"/>
                  </a:lnTo>
                  <a:lnTo>
                    <a:pt x="549" y="549"/>
                  </a:lnTo>
                  <a:lnTo>
                    <a:pt x="545" y="552"/>
                  </a:lnTo>
                  <a:lnTo>
                    <a:pt x="544" y="552"/>
                  </a:lnTo>
                  <a:lnTo>
                    <a:pt x="541" y="552"/>
                  </a:lnTo>
                  <a:lnTo>
                    <a:pt x="539" y="554"/>
                  </a:lnTo>
                  <a:lnTo>
                    <a:pt x="536" y="555"/>
                  </a:lnTo>
                  <a:lnTo>
                    <a:pt x="535" y="553"/>
                  </a:lnTo>
                  <a:lnTo>
                    <a:pt x="532" y="554"/>
                  </a:lnTo>
                  <a:lnTo>
                    <a:pt x="529" y="553"/>
                  </a:lnTo>
                  <a:lnTo>
                    <a:pt x="527" y="553"/>
                  </a:lnTo>
                  <a:lnTo>
                    <a:pt x="524" y="556"/>
                  </a:lnTo>
                  <a:lnTo>
                    <a:pt x="522" y="556"/>
                  </a:lnTo>
                  <a:lnTo>
                    <a:pt x="519" y="554"/>
                  </a:lnTo>
                  <a:lnTo>
                    <a:pt x="516" y="553"/>
                  </a:lnTo>
                  <a:lnTo>
                    <a:pt x="515" y="552"/>
                  </a:lnTo>
                  <a:lnTo>
                    <a:pt x="514" y="553"/>
                  </a:lnTo>
                  <a:lnTo>
                    <a:pt x="513" y="555"/>
                  </a:lnTo>
                  <a:lnTo>
                    <a:pt x="512" y="557"/>
                  </a:lnTo>
                  <a:lnTo>
                    <a:pt x="512" y="558"/>
                  </a:lnTo>
                  <a:lnTo>
                    <a:pt x="509" y="557"/>
                  </a:lnTo>
                  <a:lnTo>
                    <a:pt x="509" y="556"/>
                  </a:lnTo>
                  <a:lnTo>
                    <a:pt x="504" y="556"/>
                  </a:lnTo>
                  <a:lnTo>
                    <a:pt x="502" y="558"/>
                  </a:lnTo>
                  <a:lnTo>
                    <a:pt x="502" y="562"/>
                  </a:lnTo>
                  <a:lnTo>
                    <a:pt x="504" y="567"/>
                  </a:lnTo>
                  <a:lnTo>
                    <a:pt x="506" y="573"/>
                  </a:lnTo>
                  <a:lnTo>
                    <a:pt x="507" y="577"/>
                  </a:lnTo>
                  <a:lnTo>
                    <a:pt x="505" y="577"/>
                  </a:lnTo>
                  <a:lnTo>
                    <a:pt x="501" y="579"/>
                  </a:lnTo>
                  <a:lnTo>
                    <a:pt x="497" y="571"/>
                  </a:lnTo>
                  <a:lnTo>
                    <a:pt x="496" y="569"/>
                  </a:lnTo>
                  <a:lnTo>
                    <a:pt x="493" y="568"/>
                  </a:lnTo>
                  <a:lnTo>
                    <a:pt x="489" y="573"/>
                  </a:lnTo>
                  <a:lnTo>
                    <a:pt x="484" y="573"/>
                  </a:lnTo>
                  <a:lnTo>
                    <a:pt x="477" y="568"/>
                  </a:lnTo>
                  <a:lnTo>
                    <a:pt x="476" y="564"/>
                  </a:lnTo>
                  <a:lnTo>
                    <a:pt x="471" y="562"/>
                  </a:lnTo>
                  <a:lnTo>
                    <a:pt x="466" y="562"/>
                  </a:lnTo>
                  <a:lnTo>
                    <a:pt x="466" y="555"/>
                  </a:lnTo>
                  <a:lnTo>
                    <a:pt x="467" y="547"/>
                  </a:lnTo>
                  <a:lnTo>
                    <a:pt x="462" y="545"/>
                  </a:lnTo>
                  <a:lnTo>
                    <a:pt x="457" y="542"/>
                  </a:lnTo>
                  <a:lnTo>
                    <a:pt x="456" y="535"/>
                  </a:lnTo>
                  <a:lnTo>
                    <a:pt x="454" y="530"/>
                  </a:lnTo>
                  <a:lnTo>
                    <a:pt x="454" y="528"/>
                  </a:lnTo>
                  <a:lnTo>
                    <a:pt x="448" y="528"/>
                  </a:lnTo>
                  <a:lnTo>
                    <a:pt x="443" y="528"/>
                  </a:lnTo>
                  <a:lnTo>
                    <a:pt x="441" y="530"/>
                  </a:lnTo>
                  <a:lnTo>
                    <a:pt x="437" y="534"/>
                  </a:lnTo>
                  <a:lnTo>
                    <a:pt x="435" y="533"/>
                  </a:lnTo>
                  <a:lnTo>
                    <a:pt x="437" y="527"/>
                  </a:lnTo>
                  <a:lnTo>
                    <a:pt x="437" y="525"/>
                  </a:lnTo>
                  <a:lnTo>
                    <a:pt x="435" y="520"/>
                  </a:lnTo>
                  <a:lnTo>
                    <a:pt x="436" y="516"/>
                  </a:lnTo>
                  <a:lnTo>
                    <a:pt x="436" y="510"/>
                  </a:lnTo>
                  <a:lnTo>
                    <a:pt x="438" y="507"/>
                  </a:lnTo>
                  <a:lnTo>
                    <a:pt x="440" y="504"/>
                  </a:lnTo>
                  <a:lnTo>
                    <a:pt x="441" y="503"/>
                  </a:lnTo>
                  <a:lnTo>
                    <a:pt x="443" y="499"/>
                  </a:lnTo>
                  <a:lnTo>
                    <a:pt x="444" y="492"/>
                  </a:lnTo>
                  <a:lnTo>
                    <a:pt x="444" y="488"/>
                  </a:lnTo>
                  <a:lnTo>
                    <a:pt x="443" y="480"/>
                  </a:lnTo>
                  <a:lnTo>
                    <a:pt x="441" y="474"/>
                  </a:lnTo>
                  <a:lnTo>
                    <a:pt x="436" y="465"/>
                  </a:lnTo>
                  <a:lnTo>
                    <a:pt x="432" y="465"/>
                  </a:lnTo>
                  <a:lnTo>
                    <a:pt x="431" y="462"/>
                  </a:lnTo>
                  <a:lnTo>
                    <a:pt x="428" y="457"/>
                  </a:lnTo>
                  <a:lnTo>
                    <a:pt x="424" y="453"/>
                  </a:lnTo>
                  <a:lnTo>
                    <a:pt x="420" y="452"/>
                  </a:lnTo>
                  <a:lnTo>
                    <a:pt x="418" y="451"/>
                  </a:lnTo>
                  <a:lnTo>
                    <a:pt x="418" y="453"/>
                  </a:lnTo>
                  <a:lnTo>
                    <a:pt x="416" y="454"/>
                  </a:lnTo>
                  <a:lnTo>
                    <a:pt x="414" y="451"/>
                  </a:lnTo>
                  <a:lnTo>
                    <a:pt x="411" y="449"/>
                  </a:lnTo>
                  <a:lnTo>
                    <a:pt x="406" y="449"/>
                  </a:lnTo>
                  <a:lnTo>
                    <a:pt x="404" y="447"/>
                  </a:lnTo>
                  <a:lnTo>
                    <a:pt x="399" y="447"/>
                  </a:lnTo>
                  <a:lnTo>
                    <a:pt x="399" y="443"/>
                  </a:lnTo>
                  <a:lnTo>
                    <a:pt x="397" y="439"/>
                  </a:lnTo>
                  <a:lnTo>
                    <a:pt x="394" y="438"/>
                  </a:lnTo>
                  <a:lnTo>
                    <a:pt x="393" y="435"/>
                  </a:lnTo>
                  <a:lnTo>
                    <a:pt x="393" y="433"/>
                  </a:lnTo>
                  <a:lnTo>
                    <a:pt x="389" y="429"/>
                  </a:lnTo>
                  <a:lnTo>
                    <a:pt x="385" y="431"/>
                  </a:lnTo>
                  <a:lnTo>
                    <a:pt x="382" y="433"/>
                  </a:lnTo>
                  <a:lnTo>
                    <a:pt x="379" y="434"/>
                  </a:lnTo>
                  <a:lnTo>
                    <a:pt x="373" y="435"/>
                  </a:lnTo>
                  <a:lnTo>
                    <a:pt x="371" y="434"/>
                  </a:lnTo>
                  <a:lnTo>
                    <a:pt x="369" y="433"/>
                  </a:lnTo>
                  <a:lnTo>
                    <a:pt x="367" y="433"/>
                  </a:lnTo>
                  <a:lnTo>
                    <a:pt x="364" y="434"/>
                  </a:lnTo>
                  <a:lnTo>
                    <a:pt x="362" y="436"/>
                  </a:lnTo>
                  <a:lnTo>
                    <a:pt x="362" y="439"/>
                  </a:lnTo>
                  <a:lnTo>
                    <a:pt x="357" y="444"/>
                  </a:lnTo>
                  <a:lnTo>
                    <a:pt x="353" y="445"/>
                  </a:lnTo>
                  <a:lnTo>
                    <a:pt x="351" y="449"/>
                  </a:lnTo>
                  <a:lnTo>
                    <a:pt x="349" y="452"/>
                  </a:lnTo>
                  <a:lnTo>
                    <a:pt x="344" y="454"/>
                  </a:lnTo>
                  <a:lnTo>
                    <a:pt x="341" y="456"/>
                  </a:lnTo>
                  <a:lnTo>
                    <a:pt x="334" y="458"/>
                  </a:lnTo>
                  <a:lnTo>
                    <a:pt x="330" y="459"/>
                  </a:lnTo>
                  <a:lnTo>
                    <a:pt x="330" y="461"/>
                  </a:lnTo>
                  <a:lnTo>
                    <a:pt x="330" y="459"/>
                  </a:lnTo>
                  <a:lnTo>
                    <a:pt x="325" y="457"/>
                  </a:lnTo>
                  <a:lnTo>
                    <a:pt x="324" y="456"/>
                  </a:lnTo>
                  <a:lnTo>
                    <a:pt x="323" y="456"/>
                  </a:lnTo>
                  <a:lnTo>
                    <a:pt x="320" y="457"/>
                  </a:lnTo>
                  <a:lnTo>
                    <a:pt x="319" y="457"/>
                  </a:lnTo>
                  <a:lnTo>
                    <a:pt x="314" y="456"/>
                  </a:lnTo>
                  <a:lnTo>
                    <a:pt x="310" y="455"/>
                  </a:lnTo>
                  <a:lnTo>
                    <a:pt x="308" y="454"/>
                  </a:lnTo>
                  <a:lnTo>
                    <a:pt x="306" y="453"/>
                  </a:lnTo>
                  <a:lnTo>
                    <a:pt x="305" y="452"/>
                  </a:lnTo>
                  <a:lnTo>
                    <a:pt x="304" y="452"/>
                  </a:lnTo>
                  <a:lnTo>
                    <a:pt x="300" y="452"/>
                  </a:lnTo>
                  <a:lnTo>
                    <a:pt x="296" y="453"/>
                  </a:lnTo>
                  <a:lnTo>
                    <a:pt x="294" y="456"/>
                  </a:lnTo>
                  <a:lnTo>
                    <a:pt x="292" y="461"/>
                  </a:lnTo>
                  <a:lnTo>
                    <a:pt x="288" y="467"/>
                  </a:lnTo>
                  <a:lnTo>
                    <a:pt x="288" y="468"/>
                  </a:lnTo>
                  <a:lnTo>
                    <a:pt x="286" y="468"/>
                  </a:lnTo>
                  <a:lnTo>
                    <a:pt x="285" y="468"/>
                  </a:lnTo>
                  <a:lnTo>
                    <a:pt x="284" y="467"/>
                  </a:lnTo>
                  <a:lnTo>
                    <a:pt x="284" y="465"/>
                  </a:lnTo>
                  <a:lnTo>
                    <a:pt x="284" y="462"/>
                  </a:lnTo>
                  <a:lnTo>
                    <a:pt x="284" y="459"/>
                  </a:lnTo>
                  <a:lnTo>
                    <a:pt x="283" y="456"/>
                  </a:lnTo>
                  <a:lnTo>
                    <a:pt x="282" y="456"/>
                  </a:lnTo>
                  <a:lnTo>
                    <a:pt x="281" y="455"/>
                  </a:lnTo>
                  <a:lnTo>
                    <a:pt x="280" y="455"/>
                  </a:lnTo>
                  <a:lnTo>
                    <a:pt x="278" y="457"/>
                  </a:lnTo>
                  <a:lnTo>
                    <a:pt x="275" y="457"/>
                  </a:lnTo>
                  <a:lnTo>
                    <a:pt x="273" y="458"/>
                  </a:lnTo>
                  <a:lnTo>
                    <a:pt x="273" y="458"/>
                  </a:lnTo>
                  <a:lnTo>
                    <a:pt x="272" y="458"/>
                  </a:lnTo>
                  <a:lnTo>
                    <a:pt x="270" y="458"/>
                  </a:lnTo>
                  <a:lnTo>
                    <a:pt x="269" y="461"/>
                  </a:lnTo>
                  <a:lnTo>
                    <a:pt x="268" y="461"/>
                  </a:lnTo>
                  <a:lnTo>
                    <a:pt x="263" y="459"/>
                  </a:lnTo>
                  <a:lnTo>
                    <a:pt x="261" y="461"/>
                  </a:lnTo>
                  <a:lnTo>
                    <a:pt x="260" y="461"/>
                  </a:lnTo>
                  <a:lnTo>
                    <a:pt x="258" y="459"/>
                  </a:lnTo>
                  <a:lnTo>
                    <a:pt x="255" y="458"/>
                  </a:lnTo>
                  <a:lnTo>
                    <a:pt x="252" y="456"/>
                  </a:lnTo>
                  <a:lnTo>
                    <a:pt x="250" y="456"/>
                  </a:lnTo>
                  <a:lnTo>
                    <a:pt x="249" y="456"/>
                  </a:lnTo>
                  <a:lnTo>
                    <a:pt x="248" y="458"/>
                  </a:lnTo>
                  <a:lnTo>
                    <a:pt x="248" y="458"/>
                  </a:lnTo>
                  <a:lnTo>
                    <a:pt x="245" y="458"/>
                  </a:lnTo>
                  <a:lnTo>
                    <a:pt x="244" y="458"/>
                  </a:lnTo>
                  <a:lnTo>
                    <a:pt x="242" y="457"/>
                  </a:lnTo>
                  <a:lnTo>
                    <a:pt x="241" y="458"/>
                  </a:lnTo>
                  <a:lnTo>
                    <a:pt x="240" y="458"/>
                  </a:lnTo>
                  <a:lnTo>
                    <a:pt x="239" y="457"/>
                  </a:lnTo>
                  <a:lnTo>
                    <a:pt x="237" y="456"/>
                  </a:lnTo>
                  <a:lnTo>
                    <a:pt x="237" y="455"/>
                  </a:lnTo>
                  <a:lnTo>
                    <a:pt x="234" y="453"/>
                  </a:lnTo>
                  <a:lnTo>
                    <a:pt x="232" y="453"/>
                  </a:lnTo>
                  <a:lnTo>
                    <a:pt x="230" y="453"/>
                  </a:lnTo>
                  <a:lnTo>
                    <a:pt x="225" y="451"/>
                  </a:lnTo>
                  <a:lnTo>
                    <a:pt x="224" y="448"/>
                  </a:lnTo>
                  <a:lnTo>
                    <a:pt x="224" y="445"/>
                  </a:lnTo>
                  <a:lnTo>
                    <a:pt x="224" y="445"/>
                  </a:lnTo>
                  <a:lnTo>
                    <a:pt x="223" y="446"/>
                  </a:lnTo>
                  <a:lnTo>
                    <a:pt x="222" y="446"/>
                  </a:lnTo>
                  <a:lnTo>
                    <a:pt x="219" y="446"/>
                  </a:lnTo>
                  <a:lnTo>
                    <a:pt x="217" y="445"/>
                  </a:lnTo>
                  <a:lnTo>
                    <a:pt x="215" y="445"/>
                  </a:lnTo>
                  <a:lnTo>
                    <a:pt x="213" y="444"/>
                  </a:lnTo>
                  <a:lnTo>
                    <a:pt x="212" y="444"/>
                  </a:lnTo>
                  <a:lnTo>
                    <a:pt x="211" y="443"/>
                  </a:lnTo>
                  <a:lnTo>
                    <a:pt x="210" y="442"/>
                  </a:lnTo>
                  <a:lnTo>
                    <a:pt x="209" y="443"/>
                  </a:lnTo>
                  <a:lnTo>
                    <a:pt x="209" y="442"/>
                  </a:lnTo>
                  <a:lnTo>
                    <a:pt x="209" y="437"/>
                  </a:lnTo>
                  <a:lnTo>
                    <a:pt x="208" y="436"/>
                  </a:lnTo>
                  <a:lnTo>
                    <a:pt x="209" y="434"/>
                  </a:lnTo>
                  <a:lnTo>
                    <a:pt x="208" y="434"/>
                  </a:lnTo>
                  <a:lnTo>
                    <a:pt x="205" y="433"/>
                  </a:lnTo>
                  <a:lnTo>
                    <a:pt x="204" y="433"/>
                  </a:lnTo>
                  <a:lnTo>
                    <a:pt x="203" y="433"/>
                  </a:lnTo>
                  <a:lnTo>
                    <a:pt x="202" y="434"/>
                  </a:lnTo>
                  <a:lnTo>
                    <a:pt x="202" y="435"/>
                  </a:lnTo>
                  <a:lnTo>
                    <a:pt x="201" y="436"/>
                  </a:lnTo>
                  <a:lnTo>
                    <a:pt x="201" y="436"/>
                  </a:lnTo>
                  <a:lnTo>
                    <a:pt x="200" y="437"/>
                  </a:lnTo>
                  <a:lnTo>
                    <a:pt x="199" y="437"/>
                  </a:lnTo>
                  <a:lnTo>
                    <a:pt x="197" y="436"/>
                  </a:lnTo>
                  <a:lnTo>
                    <a:pt x="195" y="435"/>
                  </a:lnTo>
                  <a:lnTo>
                    <a:pt x="194" y="431"/>
                  </a:lnTo>
                  <a:lnTo>
                    <a:pt x="191" y="428"/>
                  </a:lnTo>
                  <a:lnTo>
                    <a:pt x="188" y="425"/>
                  </a:lnTo>
                  <a:lnTo>
                    <a:pt x="184" y="424"/>
                  </a:lnTo>
                  <a:lnTo>
                    <a:pt x="181" y="422"/>
                  </a:lnTo>
                  <a:lnTo>
                    <a:pt x="178" y="419"/>
                  </a:lnTo>
                  <a:lnTo>
                    <a:pt x="177" y="418"/>
                  </a:lnTo>
                  <a:lnTo>
                    <a:pt x="171" y="416"/>
                  </a:lnTo>
                  <a:lnTo>
                    <a:pt x="165" y="415"/>
                  </a:lnTo>
                  <a:lnTo>
                    <a:pt x="164" y="415"/>
                  </a:lnTo>
                  <a:lnTo>
                    <a:pt x="160" y="415"/>
                  </a:lnTo>
                  <a:lnTo>
                    <a:pt x="160" y="415"/>
                  </a:lnTo>
                  <a:lnTo>
                    <a:pt x="160" y="415"/>
                  </a:lnTo>
                  <a:lnTo>
                    <a:pt x="160" y="416"/>
                  </a:lnTo>
                  <a:lnTo>
                    <a:pt x="159" y="418"/>
                  </a:lnTo>
                  <a:lnTo>
                    <a:pt x="160" y="418"/>
                  </a:lnTo>
                  <a:lnTo>
                    <a:pt x="160" y="419"/>
                  </a:lnTo>
                  <a:lnTo>
                    <a:pt x="157" y="417"/>
                  </a:lnTo>
                  <a:lnTo>
                    <a:pt x="156" y="416"/>
                  </a:lnTo>
                  <a:lnTo>
                    <a:pt x="154" y="416"/>
                  </a:lnTo>
                  <a:lnTo>
                    <a:pt x="154" y="415"/>
                  </a:lnTo>
                  <a:lnTo>
                    <a:pt x="149" y="414"/>
                  </a:lnTo>
                  <a:lnTo>
                    <a:pt x="148" y="413"/>
                  </a:lnTo>
                  <a:lnTo>
                    <a:pt x="147" y="412"/>
                  </a:lnTo>
                  <a:lnTo>
                    <a:pt x="146" y="412"/>
                  </a:lnTo>
                  <a:lnTo>
                    <a:pt x="141" y="408"/>
                  </a:lnTo>
                  <a:lnTo>
                    <a:pt x="139" y="408"/>
                  </a:lnTo>
                  <a:lnTo>
                    <a:pt x="138" y="407"/>
                  </a:lnTo>
                  <a:lnTo>
                    <a:pt x="137" y="406"/>
                  </a:lnTo>
                  <a:lnTo>
                    <a:pt x="137" y="405"/>
                  </a:lnTo>
                  <a:lnTo>
                    <a:pt x="136" y="404"/>
                  </a:lnTo>
                  <a:lnTo>
                    <a:pt x="134" y="404"/>
                  </a:lnTo>
                  <a:lnTo>
                    <a:pt x="133" y="403"/>
                  </a:lnTo>
                  <a:lnTo>
                    <a:pt x="132" y="403"/>
                  </a:lnTo>
                  <a:lnTo>
                    <a:pt x="130" y="404"/>
                  </a:lnTo>
                  <a:lnTo>
                    <a:pt x="130" y="404"/>
                  </a:lnTo>
                  <a:lnTo>
                    <a:pt x="129" y="402"/>
                  </a:lnTo>
                  <a:lnTo>
                    <a:pt x="128" y="402"/>
                  </a:lnTo>
                  <a:lnTo>
                    <a:pt x="127" y="401"/>
                  </a:lnTo>
                  <a:lnTo>
                    <a:pt x="127" y="402"/>
                  </a:lnTo>
                  <a:lnTo>
                    <a:pt x="123" y="402"/>
                  </a:lnTo>
                  <a:lnTo>
                    <a:pt x="122" y="402"/>
                  </a:lnTo>
                  <a:lnTo>
                    <a:pt x="121" y="403"/>
                  </a:lnTo>
                  <a:lnTo>
                    <a:pt x="120" y="403"/>
                  </a:lnTo>
                  <a:lnTo>
                    <a:pt x="120" y="402"/>
                  </a:lnTo>
                  <a:lnTo>
                    <a:pt x="119" y="398"/>
                  </a:lnTo>
                  <a:lnTo>
                    <a:pt x="118" y="398"/>
                  </a:lnTo>
                  <a:lnTo>
                    <a:pt x="116" y="396"/>
                  </a:lnTo>
                  <a:lnTo>
                    <a:pt x="116" y="395"/>
                  </a:lnTo>
                  <a:lnTo>
                    <a:pt x="114" y="394"/>
                  </a:lnTo>
                  <a:lnTo>
                    <a:pt x="113" y="393"/>
                  </a:lnTo>
                  <a:lnTo>
                    <a:pt x="114" y="391"/>
                  </a:lnTo>
                  <a:lnTo>
                    <a:pt x="113" y="388"/>
                  </a:lnTo>
                  <a:lnTo>
                    <a:pt x="112" y="388"/>
                  </a:lnTo>
                  <a:lnTo>
                    <a:pt x="112" y="386"/>
                  </a:lnTo>
                  <a:lnTo>
                    <a:pt x="112" y="384"/>
                  </a:lnTo>
                  <a:lnTo>
                    <a:pt x="110" y="382"/>
                  </a:lnTo>
                  <a:lnTo>
                    <a:pt x="107" y="379"/>
                  </a:lnTo>
                  <a:lnTo>
                    <a:pt x="107" y="376"/>
                  </a:lnTo>
                  <a:lnTo>
                    <a:pt x="106" y="374"/>
                  </a:lnTo>
                  <a:lnTo>
                    <a:pt x="106" y="374"/>
                  </a:lnTo>
                  <a:lnTo>
                    <a:pt x="109" y="373"/>
                  </a:lnTo>
                  <a:lnTo>
                    <a:pt x="109" y="372"/>
                  </a:lnTo>
                  <a:lnTo>
                    <a:pt x="110" y="372"/>
                  </a:lnTo>
                  <a:lnTo>
                    <a:pt x="110" y="374"/>
                  </a:lnTo>
                  <a:lnTo>
                    <a:pt x="111" y="375"/>
                  </a:lnTo>
                  <a:lnTo>
                    <a:pt x="112" y="376"/>
                  </a:lnTo>
                  <a:lnTo>
                    <a:pt x="114" y="377"/>
                  </a:lnTo>
                  <a:lnTo>
                    <a:pt x="116" y="377"/>
                  </a:lnTo>
                  <a:lnTo>
                    <a:pt x="116" y="376"/>
                  </a:lnTo>
                  <a:lnTo>
                    <a:pt x="117" y="376"/>
                  </a:lnTo>
                  <a:lnTo>
                    <a:pt x="117" y="375"/>
                  </a:lnTo>
                  <a:lnTo>
                    <a:pt x="118" y="374"/>
                  </a:lnTo>
                  <a:lnTo>
                    <a:pt x="118" y="373"/>
                  </a:lnTo>
                  <a:lnTo>
                    <a:pt x="119" y="373"/>
                  </a:lnTo>
                  <a:lnTo>
                    <a:pt x="120" y="374"/>
                  </a:lnTo>
                  <a:lnTo>
                    <a:pt x="120" y="374"/>
                  </a:lnTo>
                  <a:lnTo>
                    <a:pt x="122" y="371"/>
                  </a:lnTo>
                  <a:lnTo>
                    <a:pt x="122" y="369"/>
                  </a:lnTo>
                  <a:lnTo>
                    <a:pt x="121" y="368"/>
                  </a:lnTo>
                  <a:lnTo>
                    <a:pt x="118" y="366"/>
                  </a:lnTo>
                  <a:lnTo>
                    <a:pt x="118" y="365"/>
                  </a:lnTo>
                  <a:lnTo>
                    <a:pt x="118" y="364"/>
                  </a:lnTo>
                  <a:lnTo>
                    <a:pt x="118" y="363"/>
                  </a:lnTo>
                  <a:lnTo>
                    <a:pt x="114" y="362"/>
                  </a:lnTo>
                  <a:lnTo>
                    <a:pt x="113" y="362"/>
                  </a:lnTo>
                  <a:lnTo>
                    <a:pt x="112" y="361"/>
                  </a:lnTo>
                  <a:lnTo>
                    <a:pt x="110" y="358"/>
                  </a:lnTo>
                  <a:lnTo>
                    <a:pt x="109" y="355"/>
                  </a:lnTo>
                  <a:lnTo>
                    <a:pt x="110" y="354"/>
                  </a:lnTo>
                  <a:lnTo>
                    <a:pt x="109" y="353"/>
                  </a:lnTo>
                  <a:lnTo>
                    <a:pt x="109" y="352"/>
                  </a:lnTo>
                  <a:lnTo>
                    <a:pt x="109" y="352"/>
                  </a:lnTo>
                  <a:lnTo>
                    <a:pt x="107" y="350"/>
                  </a:lnTo>
                  <a:lnTo>
                    <a:pt x="107" y="347"/>
                  </a:lnTo>
                  <a:lnTo>
                    <a:pt x="107" y="347"/>
                  </a:lnTo>
                  <a:lnTo>
                    <a:pt x="109" y="347"/>
                  </a:lnTo>
                  <a:lnTo>
                    <a:pt x="110" y="346"/>
                  </a:lnTo>
                  <a:lnTo>
                    <a:pt x="113" y="347"/>
                  </a:lnTo>
                  <a:lnTo>
                    <a:pt x="113" y="347"/>
                  </a:lnTo>
                  <a:lnTo>
                    <a:pt x="114" y="345"/>
                  </a:lnTo>
                  <a:lnTo>
                    <a:pt x="116" y="343"/>
                  </a:lnTo>
                  <a:lnTo>
                    <a:pt x="114" y="340"/>
                  </a:lnTo>
                  <a:lnTo>
                    <a:pt x="118" y="340"/>
                  </a:lnTo>
                  <a:lnTo>
                    <a:pt x="118" y="340"/>
                  </a:lnTo>
                  <a:lnTo>
                    <a:pt x="117" y="338"/>
                  </a:lnTo>
                  <a:lnTo>
                    <a:pt x="117" y="337"/>
                  </a:lnTo>
                  <a:lnTo>
                    <a:pt x="118" y="337"/>
                  </a:lnTo>
                  <a:lnTo>
                    <a:pt x="118" y="336"/>
                  </a:lnTo>
                  <a:lnTo>
                    <a:pt x="118" y="335"/>
                  </a:lnTo>
                  <a:lnTo>
                    <a:pt x="120" y="334"/>
                  </a:lnTo>
                  <a:lnTo>
                    <a:pt x="119" y="332"/>
                  </a:lnTo>
                  <a:lnTo>
                    <a:pt x="120" y="331"/>
                  </a:lnTo>
                  <a:lnTo>
                    <a:pt x="120" y="325"/>
                  </a:lnTo>
                  <a:lnTo>
                    <a:pt x="120" y="325"/>
                  </a:lnTo>
                  <a:lnTo>
                    <a:pt x="120" y="323"/>
                  </a:lnTo>
                  <a:lnTo>
                    <a:pt x="121" y="321"/>
                  </a:lnTo>
                  <a:lnTo>
                    <a:pt x="120" y="320"/>
                  </a:lnTo>
                  <a:lnTo>
                    <a:pt x="120" y="320"/>
                  </a:lnTo>
                  <a:lnTo>
                    <a:pt x="119" y="320"/>
                  </a:lnTo>
                  <a:lnTo>
                    <a:pt x="117" y="322"/>
                  </a:lnTo>
                  <a:lnTo>
                    <a:pt x="117" y="322"/>
                  </a:lnTo>
                  <a:lnTo>
                    <a:pt x="116" y="321"/>
                  </a:lnTo>
                  <a:lnTo>
                    <a:pt x="113" y="317"/>
                  </a:lnTo>
                  <a:lnTo>
                    <a:pt x="112" y="318"/>
                  </a:lnTo>
                  <a:lnTo>
                    <a:pt x="112" y="318"/>
                  </a:lnTo>
                  <a:lnTo>
                    <a:pt x="111" y="317"/>
                  </a:lnTo>
                  <a:lnTo>
                    <a:pt x="110" y="317"/>
                  </a:lnTo>
                  <a:lnTo>
                    <a:pt x="109" y="316"/>
                  </a:lnTo>
                  <a:lnTo>
                    <a:pt x="108" y="314"/>
                  </a:lnTo>
                  <a:lnTo>
                    <a:pt x="107" y="314"/>
                  </a:lnTo>
                  <a:lnTo>
                    <a:pt x="107" y="313"/>
                  </a:lnTo>
                  <a:lnTo>
                    <a:pt x="106" y="313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1"/>
                  </a:lnTo>
                  <a:lnTo>
                    <a:pt x="102" y="311"/>
                  </a:lnTo>
                  <a:lnTo>
                    <a:pt x="100" y="312"/>
                  </a:lnTo>
                  <a:lnTo>
                    <a:pt x="99" y="312"/>
                  </a:lnTo>
                  <a:lnTo>
                    <a:pt x="98" y="313"/>
                  </a:lnTo>
                  <a:lnTo>
                    <a:pt x="93" y="313"/>
                  </a:lnTo>
                  <a:lnTo>
                    <a:pt x="92" y="315"/>
                  </a:lnTo>
                  <a:lnTo>
                    <a:pt x="89" y="316"/>
                  </a:lnTo>
                  <a:lnTo>
                    <a:pt x="88" y="317"/>
                  </a:lnTo>
                  <a:lnTo>
                    <a:pt x="87" y="320"/>
                  </a:lnTo>
                  <a:lnTo>
                    <a:pt x="86" y="320"/>
                  </a:lnTo>
                  <a:lnTo>
                    <a:pt x="84" y="321"/>
                  </a:lnTo>
                  <a:lnTo>
                    <a:pt x="82" y="320"/>
                  </a:lnTo>
                  <a:lnTo>
                    <a:pt x="81" y="321"/>
                  </a:lnTo>
                  <a:lnTo>
                    <a:pt x="80" y="321"/>
                  </a:lnTo>
                  <a:lnTo>
                    <a:pt x="77" y="321"/>
                  </a:lnTo>
                  <a:lnTo>
                    <a:pt x="75" y="320"/>
                  </a:lnTo>
                  <a:lnTo>
                    <a:pt x="72" y="320"/>
                  </a:lnTo>
                  <a:lnTo>
                    <a:pt x="70" y="318"/>
                  </a:lnTo>
                  <a:lnTo>
                    <a:pt x="66" y="316"/>
                  </a:lnTo>
                  <a:lnTo>
                    <a:pt x="62" y="315"/>
                  </a:lnTo>
                  <a:lnTo>
                    <a:pt x="61" y="313"/>
                  </a:lnTo>
                  <a:lnTo>
                    <a:pt x="61" y="312"/>
                  </a:lnTo>
                  <a:lnTo>
                    <a:pt x="60" y="313"/>
                  </a:lnTo>
                  <a:lnTo>
                    <a:pt x="59" y="313"/>
                  </a:lnTo>
                  <a:lnTo>
                    <a:pt x="58" y="313"/>
                  </a:lnTo>
                  <a:lnTo>
                    <a:pt x="57" y="314"/>
                  </a:lnTo>
                  <a:lnTo>
                    <a:pt x="56" y="314"/>
                  </a:lnTo>
                  <a:lnTo>
                    <a:pt x="53" y="311"/>
                  </a:lnTo>
                  <a:lnTo>
                    <a:pt x="51" y="310"/>
                  </a:lnTo>
                  <a:lnTo>
                    <a:pt x="50" y="310"/>
                  </a:lnTo>
                  <a:lnTo>
                    <a:pt x="50" y="308"/>
                  </a:lnTo>
                  <a:lnTo>
                    <a:pt x="51" y="308"/>
                  </a:lnTo>
                  <a:lnTo>
                    <a:pt x="51" y="307"/>
                  </a:lnTo>
                  <a:lnTo>
                    <a:pt x="51" y="306"/>
                  </a:lnTo>
                  <a:lnTo>
                    <a:pt x="50" y="305"/>
                  </a:lnTo>
                  <a:lnTo>
                    <a:pt x="50" y="303"/>
                  </a:lnTo>
                  <a:lnTo>
                    <a:pt x="50" y="302"/>
                  </a:lnTo>
                  <a:lnTo>
                    <a:pt x="49" y="301"/>
                  </a:lnTo>
                  <a:lnTo>
                    <a:pt x="47" y="298"/>
                  </a:lnTo>
                  <a:lnTo>
                    <a:pt x="43" y="296"/>
                  </a:lnTo>
                  <a:lnTo>
                    <a:pt x="42" y="296"/>
                  </a:lnTo>
                  <a:lnTo>
                    <a:pt x="40" y="298"/>
                  </a:lnTo>
                  <a:lnTo>
                    <a:pt x="40" y="297"/>
                  </a:lnTo>
                  <a:lnTo>
                    <a:pt x="39" y="294"/>
                  </a:lnTo>
                  <a:lnTo>
                    <a:pt x="38" y="294"/>
                  </a:lnTo>
                  <a:lnTo>
                    <a:pt x="37" y="294"/>
                  </a:lnTo>
                  <a:lnTo>
                    <a:pt x="35" y="293"/>
                  </a:lnTo>
                  <a:lnTo>
                    <a:pt x="33" y="293"/>
                  </a:lnTo>
                  <a:lnTo>
                    <a:pt x="30" y="294"/>
                  </a:lnTo>
                  <a:lnTo>
                    <a:pt x="27" y="293"/>
                  </a:lnTo>
                  <a:lnTo>
                    <a:pt x="27" y="292"/>
                  </a:lnTo>
                  <a:lnTo>
                    <a:pt x="26" y="291"/>
                  </a:lnTo>
                  <a:lnTo>
                    <a:pt x="25" y="291"/>
                  </a:lnTo>
                  <a:lnTo>
                    <a:pt x="23" y="290"/>
                  </a:lnTo>
                  <a:lnTo>
                    <a:pt x="25" y="287"/>
                  </a:lnTo>
                  <a:lnTo>
                    <a:pt x="26" y="287"/>
                  </a:lnTo>
                  <a:lnTo>
                    <a:pt x="28" y="287"/>
                  </a:lnTo>
                  <a:lnTo>
                    <a:pt x="28" y="287"/>
                  </a:lnTo>
                  <a:lnTo>
                    <a:pt x="28" y="287"/>
                  </a:lnTo>
                  <a:lnTo>
                    <a:pt x="30" y="288"/>
                  </a:lnTo>
                  <a:lnTo>
                    <a:pt x="30" y="288"/>
                  </a:lnTo>
                  <a:lnTo>
                    <a:pt x="28" y="278"/>
                  </a:lnTo>
                  <a:lnTo>
                    <a:pt x="23" y="273"/>
                  </a:lnTo>
                  <a:lnTo>
                    <a:pt x="22" y="267"/>
                  </a:lnTo>
                  <a:lnTo>
                    <a:pt x="19" y="264"/>
                  </a:lnTo>
                  <a:lnTo>
                    <a:pt x="15" y="264"/>
                  </a:lnTo>
                  <a:lnTo>
                    <a:pt x="9" y="265"/>
                  </a:lnTo>
                  <a:lnTo>
                    <a:pt x="6" y="264"/>
                  </a:lnTo>
                  <a:lnTo>
                    <a:pt x="2" y="260"/>
                  </a:lnTo>
                  <a:lnTo>
                    <a:pt x="1" y="254"/>
                  </a:lnTo>
                  <a:lnTo>
                    <a:pt x="1" y="245"/>
                  </a:lnTo>
                  <a:lnTo>
                    <a:pt x="0" y="243"/>
                  </a:lnTo>
                  <a:lnTo>
                    <a:pt x="1" y="237"/>
                  </a:lnTo>
                  <a:lnTo>
                    <a:pt x="9" y="234"/>
                  </a:lnTo>
                  <a:lnTo>
                    <a:pt x="10" y="233"/>
                  </a:lnTo>
                  <a:lnTo>
                    <a:pt x="11" y="233"/>
                  </a:lnTo>
                  <a:lnTo>
                    <a:pt x="12" y="230"/>
                  </a:lnTo>
                  <a:lnTo>
                    <a:pt x="16" y="230"/>
                  </a:lnTo>
                  <a:lnTo>
                    <a:pt x="19" y="229"/>
                  </a:lnTo>
                  <a:lnTo>
                    <a:pt x="21" y="229"/>
                  </a:lnTo>
                  <a:lnTo>
                    <a:pt x="25" y="232"/>
                  </a:lnTo>
                  <a:lnTo>
                    <a:pt x="27" y="233"/>
                  </a:lnTo>
                  <a:lnTo>
                    <a:pt x="31" y="232"/>
                  </a:lnTo>
                  <a:lnTo>
                    <a:pt x="35" y="232"/>
                  </a:lnTo>
                  <a:lnTo>
                    <a:pt x="37" y="230"/>
                  </a:lnTo>
                  <a:lnTo>
                    <a:pt x="37" y="225"/>
                  </a:lnTo>
                  <a:lnTo>
                    <a:pt x="39" y="222"/>
                  </a:lnTo>
                  <a:lnTo>
                    <a:pt x="42" y="221"/>
                  </a:lnTo>
                  <a:lnTo>
                    <a:pt x="48" y="221"/>
                  </a:lnTo>
                  <a:lnTo>
                    <a:pt x="55" y="220"/>
                  </a:lnTo>
                  <a:lnTo>
                    <a:pt x="58" y="219"/>
                  </a:lnTo>
                  <a:lnTo>
                    <a:pt x="59" y="215"/>
                  </a:lnTo>
                  <a:lnTo>
                    <a:pt x="61" y="212"/>
                  </a:lnTo>
                  <a:lnTo>
                    <a:pt x="69" y="206"/>
                  </a:lnTo>
                  <a:lnTo>
                    <a:pt x="78" y="204"/>
                  </a:lnTo>
                  <a:lnTo>
                    <a:pt x="80" y="202"/>
                  </a:lnTo>
                  <a:lnTo>
                    <a:pt x="81" y="199"/>
                  </a:lnTo>
                  <a:lnTo>
                    <a:pt x="78" y="192"/>
                  </a:lnTo>
                  <a:lnTo>
                    <a:pt x="78" y="189"/>
                  </a:lnTo>
                  <a:lnTo>
                    <a:pt x="79" y="186"/>
                  </a:lnTo>
                  <a:lnTo>
                    <a:pt x="78" y="184"/>
                  </a:lnTo>
                  <a:lnTo>
                    <a:pt x="80" y="182"/>
                  </a:lnTo>
                  <a:lnTo>
                    <a:pt x="79" y="178"/>
                  </a:lnTo>
                  <a:lnTo>
                    <a:pt x="75" y="172"/>
                  </a:lnTo>
                  <a:lnTo>
                    <a:pt x="71" y="169"/>
                  </a:lnTo>
                  <a:lnTo>
                    <a:pt x="69" y="165"/>
                  </a:lnTo>
                  <a:lnTo>
                    <a:pt x="65" y="156"/>
                  </a:lnTo>
                  <a:lnTo>
                    <a:pt x="61" y="153"/>
                  </a:lnTo>
                  <a:lnTo>
                    <a:pt x="58" y="151"/>
                  </a:lnTo>
                  <a:lnTo>
                    <a:pt x="60" y="150"/>
                  </a:lnTo>
                  <a:lnTo>
                    <a:pt x="65" y="148"/>
                  </a:lnTo>
                  <a:lnTo>
                    <a:pt x="69" y="148"/>
                  </a:lnTo>
                  <a:lnTo>
                    <a:pt x="73" y="145"/>
                  </a:lnTo>
                  <a:lnTo>
                    <a:pt x="88" y="144"/>
                  </a:lnTo>
                  <a:lnTo>
                    <a:pt x="90" y="143"/>
                  </a:lnTo>
                  <a:lnTo>
                    <a:pt x="87" y="140"/>
                  </a:lnTo>
                  <a:lnTo>
                    <a:pt x="84" y="136"/>
                  </a:lnTo>
                  <a:lnTo>
                    <a:pt x="83" y="132"/>
                  </a:lnTo>
                  <a:lnTo>
                    <a:pt x="83" y="126"/>
                  </a:lnTo>
                  <a:lnTo>
                    <a:pt x="83" y="120"/>
                  </a:lnTo>
                  <a:lnTo>
                    <a:pt x="83" y="114"/>
                  </a:lnTo>
                  <a:lnTo>
                    <a:pt x="84" y="110"/>
                  </a:lnTo>
                  <a:lnTo>
                    <a:pt x="90" y="110"/>
                  </a:lnTo>
                  <a:lnTo>
                    <a:pt x="93" y="111"/>
                  </a:lnTo>
                  <a:lnTo>
                    <a:pt x="99" y="113"/>
                  </a:lnTo>
                  <a:lnTo>
                    <a:pt x="108" y="112"/>
                  </a:lnTo>
                  <a:lnTo>
                    <a:pt x="111" y="114"/>
                  </a:lnTo>
                  <a:lnTo>
                    <a:pt x="114" y="115"/>
                  </a:lnTo>
                  <a:lnTo>
                    <a:pt x="117" y="113"/>
                  </a:lnTo>
                  <a:lnTo>
                    <a:pt x="122" y="111"/>
                  </a:lnTo>
                  <a:lnTo>
                    <a:pt x="119" y="103"/>
                  </a:lnTo>
                  <a:lnTo>
                    <a:pt x="117" y="98"/>
                  </a:lnTo>
                  <a:lnTo>
                    <a:pt x="116" y="93"/>
                  </a:lnTo>
                  <a:lnTo>
                    <a:pt x="116" y="89"/>
                  </a:lnTo>
                  <a:lnTo>
                    <a:pt x="120" y="89"/>
                  </a:lnTo>
                  <a:lnTo>
                    <a:pt x="124" y="88"/>
                  </a:lnTo>
                  <a:lnTo>
                    <a:pt x="128" y="84"/>
                  </a:lnTo>
                  <a:lnTo>
                    <a:pt x="128" y="80"/>
                  </a:lnTo>
                  <a:lnTo>
                    <a:pt x="134" y="81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39" y="79"/>
                  </a:lnTo>
                  <a:lnTo>
                    <a:pt x="141" y="81"/>
                  </a:lnTo>
                  <a:lnTo>
                    <a:pt x="147" y="87"/>
                  </a:lnTo>
                  <a:lnTo>
                    <a:pt x="157" y="91"/>
                  </a:lnTo>
                  <a:lnTo>
                    <a:pt x="161" y="95"/>
                  </a:lnTo>
                  <a:lnTo>
                    <a:pt x="165" y="99"/>
                  </a:lnTo>
                  <a:lnTo>
                    <a:pt x="167" y="95"/>
                  </a:lnTo>
                  <a:lnTo>
                    <a:pt x="171" y="97"/>
                  </a:lnTo>
                  <a:lnTo>
                    <a:pt x="175" y="99"/>
                  </a:lnTo>
                  <a:lnTo>
                    <a:pt x="180" y="99"/>
                  </a:lnTo>
                  <a:lnTo>
                    <a:pt x="184" y="102"/>
                  </a:lnTo>
                  <a:lnTo>
                    <a:pt x="189" y="108"/>
                  </a:lnTo>
                  <a:lnTo>
                    <a:pt x="193" y="111"/>
                  </a:lnTo>
                  <a:lnTo>
                    <a:pt x="200" y="121"/>
                  </a:lnTo>
                  <a:lnTo>
                    <a:pt x="203" y="126"/>
                  </a:lnTo>
                  <a:lnTo>
                    <a:pt x="207" y="131"/>
                  </a:lnTo>
                  <a:lnTo>
                    <a:pt x="208" y="135"/>
                  </a:lnTo>
                  <a:lnTo>
                    <a:pt x="208" y="140"/>
                  </a:lnTo>
                  <a:lnTo>
                    <a:pt x="209" y="143"/>
                  </a:lnTo>
                  <a:lnTo>
                    <a:pt x="211" y="144"/>
                  </a:lnTo>
                  <a:lnTo>
                    <a:pt x="217" y="145"/>
                  </a:lnTo>
                  <a:lnTo>
                    <a:pt x="224" y="146"/>
                  </a:lnTo>
                  <a:lnTo>
                    <a:pt x="234" y="149"/>
                  </a:lnTo>
                  <a:lnTo>
                    <a:pt x="238" y="149"/>
                  </a:lnTo>
                  <a:lnTo>
                    <a:pt x="240" y="148"/>
                  </a:lnTo>
                  <a:lnTo>
                    <a:pt x="243" y="148"/>
                  </a:lnTo>
                  <a:lnTo>
                    <a:pt x="248" y="150"/>
                  </a:lnTo>
                  <a:lnTo>
                    <a:pt x="256" y="152"/>
                  </a:lnTo>
                  <a:lnTo>
                    <a:pt x="261" y="154"/>
                  </a:lnTo>
                  <a:lnTo>
                    <a:pt x="266" y="155"/>
                  </a:lnTo>
                  <a:lnTo>
                    <a:pt x="275" y="158"/>
                  </a:lnTo>
                  <a:lnTo>
                    <a:pt x="280" y="160"/>
                  </a:lnTo>
                  <a:lnTo>
                    <a:pt x="283" y="161"/>
                  </a:lnTo>
                  <a:lnTo>
                    <a:pt x="288" y="164"/>
                  </a:lnTo>
                  <a:lnTo>
                    <a:pt x="292" y="168"/>
                  </a:lnTo>
                  <a:lnTo>
                    <a:pt x="296" y="173"/>
                  </a:lnTo>
                  <a:lnTo>
                    <a:pt x="302" y="178"/>
                  </a:lnTo>
                  <a:lnTo>
                    <a:pt x="306" y="181"/>
                  </a:lnTo>
                  <a:lnTo>
                    <a:pt x="312" y="184"/>
                  </a:lnTo>
                  <a:lnTo>
                    <a:pt x="318" y="188"/>
                  </a:lnTo>
                  <a:lnTo>
                    <a:pt x="322" y="190"/>
                  </a:lnTo>
                  <a:lnTo>
                    <a:pt x="327" y="190"/>
                  </a:lnTo>
                  <a:lnTo>
                    <a:pt x="365" y="188"/>
                  </a:lnTo>
                  <a:lnTo>
                    <a:pt x="370" y="186"/>
                  </a:lnTo>
                  <a:lnTo>
                    <a:pt x="375" y="188"/>
                  </a:lnTo>
                  <a:lnTo>
                    <a:pt x="385" y="190"/>
                  </a:lnTo>
                  <a:lnTo>
                    <a:pt x="389" y="191"/>
                  </a:lnTo>
                  <a:lnTo>
                    <a:pt x="392" y="193"/>
                  </a:lnTo>
                  <a:lnTo>
                    <a:pt x="397" y="196"/>
                  </a:lnTo>
                  <a:lnTo>
                    <a:pt x="404" y="199"/>
                  </a:lnTo>
                  <a:lnTo>
                    <a:pt x="414" y="201"/>
                  </a:lnTo>
                  <a:lnTo>
                    <a:pt x="421" y="204"/>
                  </a:lnTo>
                  <a:lnTo>
                    <a:pt x="427" y="205"/>
                  </a:lnTo>
                  <a:lnTo>
                    <a:pt x="435" y="206"/>
                  </a:lnTo>
                  <a:lnTo>
                    <a:pt x="436" y="206"/>
                  </a:lnTo>
                  <a:lnTo>
                    <a:pt x="441" y="209"/>
                  </a:lnTo>
                  <a:lnTo>
                    <a:pt x="444" y="210"/>
                  </a:lnTo>
                  <a:lnTo>
                    <a:pt x="446" y="209"/>
                  </a:lnTo>
                  <a:lnTo>
                    <a:pt x="451" y="205"/>
                  </a:lnTo>
                  <a:lnTo>
                    <a:pt x="456" y="203"/>
                  </a:lnTo>
                  <a:lnTo>
                    <a:pt x="460" y="202"/>
                  </a:lnTo>
                  <a:lnTo>
                    <a:pt x="463" y="201"/>
                  </a:lnTo>
                  <a:lnTo>
                    <a:pt x="464" y="199"/>
                  </a:lnTo>
                  <a:lnTo>
                    <a:pt x="466" y="199"/>
                  </a:lnTo>
                  <a:lnTo>
                    <a:pt x="475" y="196"/>
                  </a:lnTo>
                  <a:lnTo>
                    <a:pt x="478" y="194"/>
                  </a:lnTo>
                  <a:lnTo>
                    <a:pt x="486" y="195"/>
                  </a:lnTo>
                  <a:lnTo>
                    <a:pt x="489" y="194"/>
                  </a:lnTo>
                  <a:lnTo>
                    <a:pt x="498" y="195"/>
                  </a:lnTo>
                  <a:lnTo>
                    <a:pt x="499" y="195"/>
                  </a:lnTo>
                  <a:lnTo>
                    <a:pt x="506" y="194"/>
                  </a:lnTo>
                  <a:lnTo>
                    <a:pt x="513" y="192"/>
                  </a:lnTo>
                  <a:lnTo>
                    <a:pt x="516" y="190"/>
                  </a:lnTo>
                  <a:lnTo>
                    <a:pt x="519" y="186"/>
                  </a:lnTo>
                  <a:lnTo>
                    <a:pt x="519" y="183"/>
                  </a:lnTo>
                  <a:lnTo>
                    <a:pt x="529" y="171"/>
                  </a:lnTo>
                  <a:lnTo>
                    <a:pt x="526" y="168"/>
                  </a:lnTo>
                  <a:lnTo>
                    <a:pt x="517" y="161"/>
                  </a:lnTo>
                  <a:lnTo>
                    <a:pt x="516" y="158"/>
                  </a:lnTo>
                  <a:lnTo>
                    <a:pt x="517" y="153"/>
                  </a:lnTo>
                  <a:lnTo>
                    <a:pt x="517" y="149"/>
                  </a:lnTo>
                  <a:lnTo>
                    <a:pt x="522" y="148"/>
                  </a:lnTo>
                  <a:lnTo>
                    <a:pt x="527" y="149"/>
                  </a:lnTo>
                  <a:lnTo>
                    <a:pt x="532" y="152"/>
                  </a:lnTo>
                  <a:lnTo>
                    <a:pt x="537" y="153"/>
                  </a:lnTo>
                  <a:lnTo>
                    <a:pt x="543" y="153"/>
                  </a:lnTo>
                  <a:lnTo>
                    <a:pt x="547" y="149"/>
                  </a:lnTo>
                  <a:lnTo>
                    <a:pt x="549" y="144"/>
                  </a:lnTo>
                  <a:lnTo>
                    <a:pt x="552" y="139"/>
                  </a:lnTo>
                  <a:lnTo>
                    <a:pt x="555" y="139"/>
                  </a:lnTo>
                  <a:lnTo>
                    <a:pt x="558" y="139"/>
                  </a:lnTo>
                  <a:lnTo>
                    <a:pt x="559" y="139"/>
                  </a:lnTo>
                  <a:lnTo>
                    <a:pt x="563" y="135"/>
                  </a:lnTo>
                  <a:lnTo>
                    <a:pt x="569" y="123"/>
                  </a:lnTo>
                  <a:lnTo>
                    <a:pt x="570" y="120"/>
                  </a:lnTo>
                  <a:lnTo>
                    <a:pt x="576" y="119"/>
                  </a:lnTo>
                  <a:lnTo>
                    <a:pt x="583" y="120"/>
                  </a:lnTo>
                  <a:lnTo>
                    <a:pt x="588" y="119"/>
                  </a:lnTo>
                  <a:lnTo>
                    <a:pt x="594" y="118"/>
                  </a:lnTo>
                  <a:lnTo>
                    <a:pt x="600" y="119"/>
                  </a:lnTo>
                  <a:lnTo>
                    <a:pt x="605" y="119"/>
                  </a:lnTo>
                  <a:lnTo>
                    <a:pt x="607" y="118"/>
                  </a:lnTo>
                  <a:lnTo>
                    <a:pt x="605" y="115"/>
                  </a:lnTo>
                  <a:lnTo>
                    <a:pt x="600" y="113"/>
                  </a:lnTo>
                  <a:lnTo>
                    <a:pt x="599" y="111"/>
                  </a:lnTo>
                  <a:lnTo>
                    <a:pt x="597" y="109"/>
                  </a:lnTo>
                  <a:lnTo>
                    <a:pt x="594" y="105"/>
                  </a:lnTo>
                  <a:lnTo>
                    <a:pt x="584" y="100"/>
                  </a:lnTo>
                  <a:lnTo>
                    <a:pt x="578" y="97"/>
                  </a:lnTo>
                  <a:lnTo>
                    <a:pt x="575" y="94"/>
                  </a:lnTo>
                  <a:lnTo>
                    <a:pt x="570" y="99"/>
                  </a:lnTo>
                  <a:lnTo>
                    <a:pt x="567" y="101"/>
                  </a:lnTo>
                  <a:lnTo>
                    <a:pt x="562" y="103"/>
                  </a:lnTo>
                  <a:lnTo>
                    <a:pt x="555" y="103"/>
                  </a:lnTo>
                  <a:lnTo>
                    <a:pt x="544" y="101"/>
                  </a:lnTo>
                  <a:lnTo>
                    <a:pt x="539" y="98"/>
                  </a:lnTo>
                  <a:lnTo>
                    <a:pt x="536" y="93"/>
                  </a:lnTo>
                  <a:lnTo>
                    <a:pt x="533" y="89"/>
                  </a:lnTo>
                  <a:lnTo>
                    <a:pt x="533" y="85"/>
                  </a:lnTo>
                  <a:lnTo>
                    <a:pt x="532" y="81"/>
                  </a:lnTo>
                  <a:lnTo>
                    <a:pt x="528" y="78"/>
                  </a:lnTo>
                  <a:lnTo>
                    <a:pt x="526" y="74"/>
                  </a:lnTo>
                  <a:lnTo>
                    <a:pt x="526" y="72"/>
                  </a:lnTo>
                  <a:lnTo>
                    <a:pt x="527" y="69"/>
                  </a:lnTo>
                  <a:lnTo>
                    <a:pt x="527" y="63"/>
                  </a:lnTo>
                  <a:lnTo>
                    <a:pt x="528" y="61"/>
                  </a:lnTo>
                  <a:lnTo>
                    <a:pt x="528" y="60"/>
                  </a:lnTo>
                  <a:lnTo>
                    <a:pt x="531" y="61"/>
                  </a:lnTo>
                  <a:lnTo>
                    <a:pt x="536" y="63"/>
                  </a:lnTo>
                  <a:lnTo>
                    <a:pt x="545" y="65"/>
                  </a:lnTo>
                  <a:lnTo>
                    <a:pt x="553" y="68"/>
                  </a:lnTo>
                  <a:lnTo>
                    <a:pt x="556" y="67"/>
                  </a:lnTo>
                  <a:lnTo>
                    <a:pt x="558" y="64"/>
                  </a:lnTo>
                  <a:lnTo>
                    <a:pt x="566" y="58"/>
                  </a:lnTo>
                  <a:lnTo>
                    <a:pt x="566" y="57"/>
                  </a:lnTo>
                  <a:lnTo>
                    <a:pt x="564" y="54"/>
                  </a:lnTo>
                  <a:lnTo>
                    <a:pt x="563" y="52"/>
                  </a:lnTo>
                  <a:lnTo>
                    <a:pt x="564" y="49"/>
                  </a:lnTo>
                  <a:lnTo>
                    <a:pt x="564" y="47"/>
                  </a:lnTo>
                  <a:lnTo>
                    <a:pt x="562" y="41"/>
                  </a:lnTo>
                  <a:lnTo>
                    <a:pt x="559" y="37"/>
                  </a:lnTo>
                  <a:lnTo>
                    <a:pt x="559" y="33"/>
                  </a:lnTo>
                  <a:lnTo>
                    <a:pt x="562" y="31"/>
                  </a:lnTo>
                  <a:lnTo>
                    <a:pt x="565" y="25"/>
                  </a:lnTo>
                  <a:lnTo>
                    <a:pt x="564" y="24"/>
                  </a:lnTo>
                  <a:lnTo>
                    <a:pt x="561" y="22"/>
                  </a:lnTo>
                  <a:lnTo>
                    <a:pt x="557" y="18"/>
                  </a:lnTo>
                  <a:lnTo>
                    <a:pt x="556" y="17"/>
                  </a:lnTo>
                  <a:lnTo>
                    <a:pt x="553" y="17"/>
                  </a:lnTo>
                  <a:lnTo>
                    <a:pt x="548" y="18"/>
                  </a:lnTo>
                  <a:lnTo>
                    <a:pt x="547" y="17"/>
                  </a:lnTo>
                  <a:lnTo>
                    <a:pt x="546" y="14"/>
                  </a:lnTo>
                  <a:lnTo>
                    <a:pt x="549" y="10"/>
                  </a:lnTo>
                  <a:lnTo>
                    <a:pt x="549" y="7"/>
                  </a:lnTo>
                  <a:lnTo>
                    <a:pt x="552" y="4"/>
                  </a:lnTo>
                  <a:lnTo>
                    <a:pt x="559" y="3"/>
                  </a:lnTo>
                  <a:lnTo>
                    <a:pt x="567" y="1"/>
                  </a:lnTo>
                  <a:lnTo>
                    <a:pt x="574" y="1"/>
                  </a:lnTo>
                  <a:lnTo>
                    <a:pt x="582" y="0"/>
                  </a:lnTo>
                  <a:lnTo>
                    <a:pt x="584" y="0"/>
                  </a:lnTo>
                  <a:lnTo>
                    <a:pt x="590" y="1"/>
                  </a:lnTo>
                  <a:lnTo>
                    <a:pt x="596" y="4"/>
                  </a:lnTo>
                  <a:lnTo>
                    <a:pt x="600" y="7"/>
                  </a:lnTo>
                  <a:lnTo>
                    <a:pt x="605" y="7"/>
                  </a:lnTo>
                  <a:lnTo>
                    <a:pt x="609" y="7"/>
                  </a:lnTo>
                  <a:lnTo>
                    <a:pt x="614" y="7"/>
                  </a:lnTo>
                  <a:lnTo>
                    <a:pt x="618" y="8"/>
                  </a:lnTo>
                  <a:lnTo>
                    <a:pt x="623" y="11"/>
                  </a:lnTo>
                  <a:lnTo>
                    <a:pt x="628" y="14"/>
                  </a:lnTo>
                  <a:lnTo>
                    <a:pt x="630" y="17"/>
                  </a:lnTo>
                  <a:lnTo>
                    <a:pt x="634" y="19"/>
                  </a:lnTo>
                  <a:lnTo>
                    <a:pt x="637" y="20"/>
                  </a:lnTo>
                  <a:lnTo>
                    <a:pt x="638" y="21"/>
                  </a:lnTo>
                  <a:lnTo>
                    <a:pt x="638" y="20"/>
                  </a:lnTo>
                  <a:lnTo>
                    <a:pt x="640" y="23"/>
                  </a:lnTo>
                  <a:lnTo>
                    <a:pt x="644" y="25"/>
                  </a:lnTo>
                  <a:lnTo>
                    <a:pt x="647" y="30"/>
                  </a:lnTo>
                  <a:lnTo>
                    <a:pt x="653" y="33"/>
                  </a:lnTo>
                  <a:lnTo>
                    <a:pt x="656" y="37"/>
                  </a:lnTo>
                  <a:lnTo>
                    <a:pt x="667" y="44"/>
                  </a:lnTo>
                  <a:lnTo>
                    <a:pt x="675" y="53"/>
                  </a:lnTo>
                  <a:lnTo>
                    <a:pt x="679" y="57"/>
                  </a:lnTo>
                  <a:lnTo>
                    <a:pt x="680" y="58"/>
                  </a:lnTo>
                  <a:lnTo>
                    <a:pt x="680" y="58"/>
                  </a:lnTo>
                  <a:lnTo>
                    <a:pt x="684" y="62"/>
                  </a:lnTo>
                  <a:lnTo>
                    <a:pt x="687" y="67"/>
                  </a:lnTo>
                  <a:lnTo>
                    <a:pt x="691" y="69"/>
                  </a:lnTo>
                  <a:lnTo>
                    <a:pt x="698" y="69"/>
                  </a:lnTo>
                  <a:lnTo>
                    <a:pt x="703" y="68"/>
                  </a:lnTo>
                  <a:lnTo>
                    <a:pt x="707" y="69"/>
                  </a:lnTo>
                  <a:lnTo>
                    <a:pt x="713" y="70"/>
                  </a:lnTo>
                  <a:lnTo>
                    <a:pt x="718" y="71"/>
                  </a:lnTo>
                  <a:lnTo>
                    <a:pt x="730" y="78"/>
                  </a:lnTo>
                  <a:lnTo>
                    <a:pt x="736" y="79"/>
                  </a:lnTo>
                  <a:lnTo>
                    <a:pt x="739" y="79"/>
                  </a:lnTo>
                  <a:lnTo>
                    <a:pt x="741" y="81"/>
                  </a:lnTo>
                  <a:lnTo>
                    <a:pt x="742" y="82"/>
                  </a:lnTo>
                  <a:lnTo>
                    <a:pt x="742" y="81"/>
                  </a:lnTo>
                  <a:lnTo>
                    <a:pt x="745" y="84"/>
                  </a:lnTo>
                  <a:lnTo>
                    <a:pt x="748" y="87"/>
                  </a:lnTo>
                  <a:lnTo>
                    <a:pt x="750" y="90"/>
                  </a:lnTo>
                  <a:lnTo>
                    <a:pt x="752" y="94"/>
                  </a:lnTo>
                  <a:lnTo>
                    <a:pt x="758" y="98"/>
                  </a:lnTo>
                  <a:lnTo>
                    <a:pt x="761" y="101"/>
                  </a:lnTo>
                  <a:lnTo>
                    <a:pt x="766" y="100"/>
                  </a:lnTo>
                  <a:lnTo>
                    <a:pt x="771" y="101"/>
                  </a:lnTo>
                  <a:lnTo>
                    <a:pt x="776" y="101"/>
                  </a:lnTo>
                  <a:lnTo>
                    <a:pt x="782" y="98"/>
                  </a:lnTo>
                  <a:lnTo>
                    <a:pt x="787" y="93"/>
                  </a:lnTo>
                  <a:lnTo>
                    <a:pt x="791" y="93"/>
                  </a:lnTo>
                  <a:lnTo>
                    <a:pt x="798" y="89"/>
                  </a:lnTo>
                  <a:lnTo>
                    <a:pt x="805" y="87"/>
                  </a:lnTo>
                  <a:lnTo>
                    <a:pt x="805" y="88"/>
                  </a:lnTo>
                  <a:lnTo>
                    <a:pt x="805" y="91"/>
                  </a:lnTo>
                  <a:lnTo>
                    <a:pt x="808" y="94"/>
                  </a:lnTo>
                  <a:lnTo>
                    <a:pt x="811" y="98"/>
                  </a:lnTo>
                  <a:lnTo>
                    <a:pt x="813" y="102"/>
                  </a:lnTo>
                  <a:lnTo>
                    <a:pt x="812" y="104"/>
                  </a:lnTo>
                  <a:lnTo>
                    <a:pt x="811" y="108"/>
                  </a:lnTo>
                  <a:lnTo>
                    <a:pt x="813" y="112"/>
                  </a:lnTo>
                  <a:lnTo>
                    <a:pt x="815" y="120"/>
                  </a:lnTo>
                  <a:lnTo>
                    <a:pt x="819" y="129"/>
                  </a:lnTo>
                  <a:lnTo>
                    <a:pt x="819" y="138"/>
                  </a:lnTo>
                  <a:lnTo>
                    <a:pt x="819" y="142"/>
                  </a:lnTo>
                  <a:lnTo>
                    <a:pt x="820" y="146"/>
                  </a:lnTo>
                  <a:lnTo>
                    <a:pt x="819" y="149"/>
                  </a:lnTo>
                  <a:lnTo>
                    <a:pt x="817" y="148"/>
                  </a:lnTo>
                  <a:lnTo>
                    <a:pt x="802" y="144"/>
                  </a:lnTo>
                  <a:lnTo>
                    <a:pt x="799" y="146"/>
                  </a:lnTo>
                  <a:lnTo>
                    <a:pt x="795" y="154"/>
                  </a:lnTo>
                  <a:lnTo>
                    <a:pt x="799" y="158"/>
                  </a:lnTo>
                  <a:lnTo>
                    <a:pt x="805" y="164"/>
                  </a:lnTo>
                  <a:lnTo>
                    <a:pt x="813" y="178"/>
                  </a:lnTo>
                  <a:lnTo>
                    <a:pt x="813" y="184"/>
                  </a:lnTo>
                  <a:lnTo>
                    <a:pt x="810" y="188"/>
                  </a:lnTo>
                  <a:lnTo>
                    <a:pt x="812" y="192"/>
                  </a:lnTo>
                  <a:lnTo>
                    <a:pt x="810" y="192"/>
                  </a:lnTo>
                  <a:lnTo>
                    <a:pt x="806" y="189"/>
                  </a:lnTo>
                  <a:lnTo>
                    <a:pt x="801" y="186"/>
                  </a:lnTo>
                  <a:lnTo>
                    <a:pt x="800" y="188"/>
                  </a:lnTo>
                  <a:lnTo>
                    <a:pt x="801" y="193"/>
                  </a:lnTo>
                  <a:lnTo>
                    <a:pt x="800" y="196"/>
                  </a:lnTo>
                  <a:lnTo>
                    <a:pt x="796" y="202"/>
                  </a:lnTo>
                  <a:lnTo>
                    <a:pt x="790" y="204"/>
                  </a:lnTo>
                  <a:lnTo>
                    <a:pt x="785" y="204"/>
                  </a:lnTo>
                  <a:lnTo>
                    <a:pt x="785" y="205"/>
                  </a:lnTo>
                  <a:lnTo>
                    <a:pt x="790" y="214"/>
                  </a:lnTo>
                  <a:lnTo>
                    <a:pt x="780" y="214"/>
                  </a:lnTo>
                  <a:lnTo>
                    <a:pt x="775" y="212"/>
                  </a:lnTo>
                  <a:lnTo>
                    <a:pt x="769" y="211"/>
                  </a:lnTo>
                  <a:lnTo>
                    <a:pt x="767" y="213"/>
                  </a:lnTo>
                  <a:lnTo>
                    <a:pt x="765" y="221"/>
                  </a:lnTo>
                  <a:lnTo>
                    <a:pt x="761" y="224"/>
                  </a:lnTo>
                  <a:lnTo>
                    <a:pt x="754" y="230"/>
                  </a:lnTo>
                  <a:lnTo>
                    <a:pt x="750" y="231"/>
                  </a:lnTo>
                  <a:lnTo>
                    <a:pt x="748" y="240"/>
                  </a:lnTo>
                  <a:lnTo>
                    <a:pt x="748" y="241"/>
                  </a:lnTo>
                  <a:lnTo>
                    <a:pt x="747" y="242"/>
                  </a:lnTo>
                  <a:lnTo>
                    <a:pt x="745" y="243"/>
                  </a:lnTo>
                  <a:lnTo>
                    <a:pt x="741" y="243"/>
                  </a:lnTo>
                  <a:lnTo>
                    <a:pt x="737" y="244"/>
                  </a:lnTo>
                  <a:lnTo>
                    <a:pt x="735" y="243"/>
                  </a:lnTo>
                  <a:lnTo>
                    <a:pt x="734" y="244"/>
                  </a:lnTo>
                  <a:lnTo>
                    <a:pt x="731" y="246"/>
                  </a:lnTo>
                  <a:lnTo>
                    <a:pt x="724" y="251"/>
                  </a:lnTo>
                  <a:lnTo>
                    <a:pt x="723" y="253"/>
                  </a:lnTo>
                  <a:lnTo>
                    <a:pt x="721" y="256"/>
                  </a:lnTo>
                  <a:lnTo>
                    <a:pt x="720" y="258"/>
                  </a:lnTo>
                  <a:lnTo>
                    <a:pt x="717" y="258"/>
                  </a:lnTo>
                  <a:lnTo>
                    <a:pt x="716" y="260"/>
                  </a:lnTo>
                  <a:lnTo>
                    <a:pt x="713" y="262"/>
                  </a:lnTo>
                  <a:lnTo>
                    <a:pt x="710" y="261"/>
                  </a:lnTo>
                  <a:lnTo>
                    <a:pt x="711" y="257"/>
                  </a:lnTo>
                  <a:lnTo>
                    <a:pt x="715" y="256"/>
                  </a:lnTo>
                  <a:lnTo>
                    <a:pt x="715" y="254"/>
                  </a:lnTo>
                  <a:lnTo>
                    <a:pt x="714" y="251"/>
                  </a:lnTo>
                  <a:lnTo>
                    <a:pt x="711" y="250"/>
                  </a:lnTo>
                  <a:lnTo>
                    <a:pt x="708" y="249"/>
                  </a:lnTo>
                  <a:lnTo>
                    <a:pt x="706" y="247"/>
                  </a:lnTo>
                  <a:lnTo>
                    <a:pt x="708" y="246"/>
                  </a:lnTo>
                  <a:lnTo>
                    <a:pt x="707" y="243"/>
                  </a:lnTo>
                  <a:lnTo>
                    <a:pt x="709" y="242"/>
                  </a:lnTo>
                  <a:lnTo>
                    <a:pt x="711" y="234"/>
                  </a:lnTo>
                  <a:lnTo>
                    <a:pt x="711" y="231"/>
                  </a:lnTo>
                  <a:lnTo>
                    <a:pt x="710" y="229"/>
                  </a:lnTo>
                  <a:lnTo>
                    <a:pt x="705" y="225"/>
                  </a:lnTo>
                  <a:lnTo>
                    <a:pt x="703" y="222"/>
                  </a:lnTo>
                  <a:lnTo>
                    <a:pt x="700" y="221"/>
                  </a:lnTo>
                  <a:lnTo>
                    <a:pt x="700" y="222"/>
                  </a:lnTo>
                  <a:lnTo>
                    <a:pt x="694" y="223"/>
                  </a:lnTo>
                  <a:lnTo>
                    <a:pt x="691" y="223"/>
                  </a:lnTo>
                  <a:lnTo>
                    <a:pt x="689" y="227"/>
                  </a:lnTo>
                  <a:lnTo>
                    <a:pt x="688" y="232"/>
                  </a:lnTo>
                  <a:lnTo>
                    <a:pt x="688" y="234"/>
                  </a:lnTo>
                  <a:lnTo>
                    <a:pt x="687" y="236"/>
                  </a:lnTo>
                  <a:lnTo>
                    <a:pt x="683" y="239"/>
                  </a:lnTo>
                  <a:lnTo>
                    <a:pt x="679" y="242"/>
                  </a:lnTo>
                  <a:lnTo>
                    <a:pt x="677" y="243"/>
                  </a:lnTo>
                  <a:lnTo>
                    <a:pt x="677" y="246"/>
                  </a:lnTo>
                  <a:lnTo>
                    <a:pt x="678" y="250"/>
                  </a:lnTo>
                  <a:lnTo>
                    <a:pt x="677" y="252"/>
                  </a:lnTo>
                  <a:lnTo>
                    <a:pt x="675" y="254"/>
                  </a:lnTo>
                  <a:lnTo>
                    <a:pt x="671" y="254"/>
                  </a:lnTo>
                  <a:lnTo>
                    <a:pt x="668" y="255"/>
                  </a:lnTo>
                  <a:lnTo>
                    <a:pt x="666" y="255"/>
                  </a:lnTo>
                  <a:lnTo>
                    <a:pt x="664" y="254"/>
                  </a:lnTo>
                  <a:lnTo>
                    <a:pt x="660" y="254"/>
                  </a:lnTo>
                  <a:lnTo>
                    <a:pt x="658" y="256"/>
                  </a:lnTo>
                  <a:lnTo>
                    <a:pt x="659" y="262"/>
                  </a:lnTo>
                  <a:lnTo>
                    <a:pt x="660" y="266"/>
                  </a:lnTo>
                  <a:lnTo>
                    <a:pt x="667" y="272"/>
                  </a:lnTo>
                  <a:lnTo>
                    <a:pt x="669" y="273"/>
                  </a:lnTo>
                  <a:lnTo>
                    <a:pt x="673" y="274"/>
                  </a:lnTo>
                  <a:lnTo>
                    <a:pt x="675" y="274"/>
                  </a:lnTo>
                  <a:lnTo>
                    <a:pt x="677" y="276"/>
                  </a:lnTo>
                  <a:lnTo>
                    <a:pt x="679" y="276"/>
                  </a:lnTo>
                  <a:lnTo>
                    <a:pt x="681" y="280"/>
                  </a:lnTo>
                  <a:lnTo>
                    <a:pt x="685" y="282"/>
                  </a:lnTo>
                  <a:lnTo>
                    <a:pt x="687" y="284"/>
                  </a:lnTo>
                  <a:lnTo>
                    <a:pt x="688" y="286"/>
                  </a:lnTo>
                  <a:lnTo>
                    <a:pt x="691" y="290"/>
                  </a:lnTo>
                  <a:lnTo>
                    <a:pt x="700" y="292"/>
                  </a:lnTo>
                  <a:lnTo>
                    <a:pt x="704" y="292"/>
                  </a:lnTo>
                  <a:lnTo>
                    <a:pt x="705" y="287"/>
                  </a:lnTo>
                  <a:lnTo>
                    <a:pt x="707" y="285"/>
                  </a:lnTo>
                  <a:lnTo>
                    <a:pt x="708" y="282"/>
                  </a:lnTo>
                  <a:lnTo>
                    <a:pt x="713" y="280"/>
                  </a:lnTo>
                  <a:lnTo>
                    <a:pt x="715" y="278"/>
                  </a:lnTo>
                  <a:lnTo>
                    <a:pt x="719" y="282"/>
                  </a:lnTo>
                  <a:lnTo>
                    <a:pt x="721" y="283"/>
                  </a:lnTo>
                  <a:lnTo>
                    <a:pt x="725" y="284"/>
                  </a:lnTo>
                  <a:lnTo>
                    <a:pt x="728" y="286"/>
                  </a:lnTo>
                  <a:lnTo>
                    <a:pt x="730" y="286"/>
                  </a:lnTo>
                  <a:lnTo>
                    <a:pt x="734" y="285"/>
                  </a:lnTo>
                  <a:lnTo>
                    <a:pt x="735" y="284"/>
                  </a:lnTo>
                  <a:lnTo>
                    <a:pt x="739" y="286"/>
                  </a:lnTo>
                  <a:lnTo>
                    <a:pt x="742" y="286"/>
                  </a:lnTo>
                  <a:lnTo>
                    <a:pt x="745" y="287"/>
                  </a:lnTo>
                  <a:lnTo>
                    <a:pt x="745" y="291"/>
                  </a:lnTo>
                  <a:lnTo>
                    <a:pt x="745" y="293"/>
                  </a:lnTo>
                  <a:lnTo>
                    <a:pt x="746" y="294"/>
                  </a:lnTo>
                  <a:lnTo>
                    <a:pt x="744" y="297"/>
                  </a:lnTo>
                  <a:lnTo>
                    <a:pt x="742" y="296"/>
                  </a:lnTo>
                  <a:lnTo>
                    <a:pt x="740" y="294"/>
                  </a:lnTo>
                  <a:lnTo>
                    <a:pt x="739" y="295"/>
                  </a:lnTo>
                  <a:lnTo>
                    <a:pt x="737" y="294"/>
                  </a:lnTo>
                  <a:lnTo>
                    <a:pt x="736" y="296"/>
                  </a:lnTo>
                  <a:lnTo>
                    <a:pt x="736" y="298"/>
                  </a:lnTo>
                  <a:lnTo>
                    <a:pt x="729" y="298"/>
                  </a:lnTo>
                  <a:lnTo>
                    <a:pt x="727" y="301"/>
                  </a:lnTo>
                  <a:lnTo>
                    <a:pt x="724" y="301"/>
                  </a:lnTo>
                  <a:lnTo>
                    <a:pt x="726" y="304"/>
                  </a:lnTo>
                  <a:lnTo>
                    <a:pt x="725" y="304"/>
                  </a:lnTo>
                  <a:lnTo>
                    <a:pt x="725" y="305"/>
                  </a:lnTo>
                  <a:lnTo>
                    <a:pt x="725" y="310"/>
                  </a:lnTo>
                  <a:lnTo>
                    <a:pt x="721" y="311"/>
                  </a:lnTo>
                  <a:lnTo>
                    <a:pt x="720" y="307"/>
                  </a:lnTo>
                  <a:lnTo>
                    <a:pt x="717" y="307"/>
                  </a:lnTo>
                  <a:lnTo>
                    <a:pt x="716" y="310"/>
                  </a:lnTo>
                  <a:lnTo>
                    <a:pt x="719" y="312"/>
                  </a:lnTo>
                  <a:lnTo>
                    <a:pt x="719" y="314"/>
                  </a:lnTo>
                  <a:lnTo>
                    <a:pt x="718" y="317"/>
                  </a:lnTo>
                  <a:lnTo>
                    <a:pt x="715" y="320"/>
                  </a:lnTo>
                  <a:lnTo>
                    <a:pt x="715" y="323"/>
                  </a:lnTo>
                  <a:lnTo>
                    <a:pt x="713" y="328"/>
                  </a:lnTo>
                  <a:lnTo>
                    <a:pt x="713" y="332"/>
                  </a:lnTo>
                  <a:lnTo>
                    <a:pt x="714" y="335"/>
                  </a:lnTo>
                  <a:lnTo>
                    <a:pt x="717" y="335"/>
                  </a:lnTo>
                  <a:lnTo>
                    <a:pt x="720" y="337"/>
                  </a:lnTo>
                  <a:lnTo>
                    <a:pt x="731" y="342"/>
                  </a:lnTo>
                  <a:lnTo>
                    <a:pt x="735" y="345"/>
                  </a:lnTo>
                  <a:lnTo>
                    <a:pt x="738" y="350"/>
                  </a:lnTo>
                  <a:lnTo>
                    <a:pt x="740" y="352"/>
                  </a:lnTo>
                  <a:lnTo>
                    <a:pt x="747" y="363"/>
                  </a:lnTo>
                  <a:lnTo>
                    <a:pt x="750" y="367"/>
                  </a:lnTo>
                  <a:lnTo>
                    <a:pt x="754" y="372"/>
                  </a:lnTo>
                  <a:lnTo>
                    <a:pt x="758" y="375"/>
                  </a:lnTo>
                  <a:lnTo>
                    <a:pt x="762" y="377"/>
                  </a:lnTo>
                  <a:lnTo>
                    <a:pt x="764" y="379"/>
                  </a:lnTo>
                  <a:lnTo>
                    <a:pt x="770" y="385"/>
                  </a:lnTo>
                  <a:lnTo>
                    <a:pt x="775" y="389"/>
                  </a:lnTo>
                  <a:lnTo>
                    <a:pt x="775" y="391"/>
                  </a:lnTo>
                  <a:lnTo>
                    <a:pt x="769" y="388"/>
                  </a:lnTo>
                  <a:lnTo>
                    <a:pt x="765" y="387"/>
                  </a:lnTo>
                  <a:lnTo>
                    <a:pt x="761" y="387"/>
                  </a:lnTo>
                  <a:lnTo>
                    <a:pt x="757" y="384"/>
                  </a:lnTo>
                  <a:lnTo>
                    <a:pt x="754" y="383"/>
                  </a:lnTo>
                  <a:lnTo>
                    <a:pt x="746" y="385"/>
                  </a:lnTo>
                  <a:lnTo>
                    <a:pt x="747" y="386"/>
                  </a:lnTo>
                  <a:lnTo>
                    <a:pt x="754" y="385"/>
                  </a:lnTo>
                  <a:lnTo>
                    <a:pt x="756" y="386"/>
                  </a:lnTo>
                  <a:lnTo>
                    <a:pt x="757" y="388"/>
                  </a:lnTo>
                  <a:lnTo>
                    <a:pt x="760" y="388"/>
                  </a:lnTo>
                  <a:lnTo>
                    <a:pt x="765" y="391"/>
                  </a:lnTo>
                  <a:lnTo>
                    <a:pt x="768" y="394"/>
                  </a:lnTo>
                  <a:lnTo>
                    <a:pt x="771" y="396"/>
                  </a:lnTo>
                  <a:lnTo>
                    <a:pt x="774" y="396"/>
                  </a:lnTo>
                  <a:lnTo>
                    <a:pt x="777" y="399"/>
                  </a:lnTo>
                  <a:lnTo>
                    <a:pt x="780" y="403"/>
                  </a:lnTo>
                  <a:lnTo>
                    <a:pt x="780" y="405"/>
                  </a:lnTo>
                  <a:lnTo>
                    <a:pt x="776" y="405"/>
                  </a:lnTo>
                  <a:lnTo>
                    <a:pt x="775" y="407"/>
                  </a:lnTo>
                  <a:lnTo>
                    <a:pt x="771" y="408"/>
                  </a:lnTo>
                  <a:lnTo>
                    <a:pt x="770" y="411"/>
                  </a:lnTo>
                  <a:lnTo>
                    <a:pt x="769" y="412"/>
                  </a:lnTo>
                  <a:lnTo>
                    <a:pt x="767" y="414"/>
                  </a:lnTo>
                  <a:lnTo>
                    <a:pt x="762" y="414"/>
                  </a:lnTo>
                  <a:lnTo>
                    <a:pt x="759" y="414"/>
                  </a:lnTo>
                  <a:lnTo>
                    <a:pt x="757" y="416"/>
                  </a:lnTo>
                  <a:lnTo>
                    <a:pt x="760" y="415"/>
                  </a:lnTo>
                  <a:lnTo>
                    <a:pt x="764" y="416"/>
                  </a:lnTo>
                  <a:lnTo>
                    <a:pt x="768" y="418"/>
                  </a:lnTo>
                  <a:lnTo>
                    <a:pt x="772" y="415"/>
                  </a:lnTo>
                  <a:lnTo>
                    <a:pt x="776" y="416"/>
                  </a:lnTo>
                  <a:lnTo>
                    <a:pt x="778" y="418"/>
                  </a:lnTo>
                  <a:lnTo>
                    <a:pt x="780" y="421"/>
                  </a:lnTo>
                  <a:lnTo>
                    <a:pt x="781" y="421"/>
                  </a:lnTo>
                  <a:lnTo>
                    <a:pt x="785" y="422"/>
                  </a:lnTo>
                  <a:lnTo>
                    <a:pt x="787" y="422"/>
                  </a:lnTo>
                  <a:lnTo>
                    <a:pt x="788" y="423"/>
                  </a:lnTo>
                  <a:lnTo>
                    <a:pt x="787" y="424"/>
                  </a:lnTo>
                  <a:lnTo>
                    <a:pt x="784" y="428"/>
                  </a:lnTo>
                  <a:lnTo>
                    <a:pt x="781" y="429"/>
                  </a:lnTo>
                  <a:lnTo>
                    <a:pt x="782" y="429"/>
                  </a:lnTo>
                  <a:lnTo>
                    <a:pt x="787" y="427"/>
                  </a:lnTo>
                  <a:lnTo>
                    <a:pt x="788" y="432"/>
                  </a:lnTo>
                  <a:lnTo>
                    <a:pt x="788" y="434"/>
                  </a:lnTo>
                  <a:lnTo>
                    <a:pt x="788" y="434"/>
                  </a:lnTo>
                  <a:lnTo>
                    <a:pt x="787" y="434"/>
                  </a:lnTo>
                  <a:lnTo>
                    <a:pt x="784" y="435"/>
                  </a:lnTo>
                  <a:lnTo>
                    <a:pt x="784" y="436"/>
                  </a:lnTo>
                  <a:lnTo>
                    <a:pt x="786" y="439"/>
                  </a:lnTo>
                  <a:lnTo>
                    <a:pt x="787" y="443"/>
                  </a:lnTo>
                  <a:lnTo>
                    <a:pt x="786" y="444"/>
                  </a:lnTo>
                  <a:lnTo>
                    <a:pt x="788" y="449"/>
                  </a:lnTo>
                  <a:lnTo>
                    <a:pt x="787" y="454"/>
                  </a:lnTo>
                  <a:lnTo>
                    <a:pt x="786" y="453"/>
                  </a:lnTo>
                  <a:lnTo>
                    <a:pt x="784" y="451"/>
                  </a:lnTo>
                  <a:lnTo>
                    <a:pt x="782" y="452"/>
                  </a:lnTo>
                  <a:lnTo>
                    <a:pt x="781" y="456"/>
                  </a:lnTo>
                  <a:lnTo>
                    <a:pt x="780" y="458"/>
                  </a:lnTo>
                  <a:lnTo>
                    <a:pt x="779" y="461"/>
                  </a:lnTo>
                  <a:lnTo>
                    <a:pt x="778" y="462"/>
                  </a:lnTo>
                  <a:lnTo>
                    <a:pt x="778" y="463"/>
                  </a:lnTo>
                  <a:lnTo>
                    <a:pt x="778" y="465"/>
                  </a:lnTo>
                  <a:lnTo>
                    <a:pt x="778" y="467"/>
                  </a:lnTo>
                  <a:lnTo>
                    <a:pt x="778" y="470"/>
                  </a:lnTo>
                  <a:lnTo>
                    <a:pt x="777" y="473"/>
                  </a:lnTo>
                  <a:lnTo>
                    <a:pt x="776" y="474"/>
                  </a:lnTo>
                  <a:lnTo>
                    <a:pt x="774" y="477"/>
                  </a:lnTo>
                  <a:lnTo>
                    <a:pt x="774" y="482"/>
                  </a:lnTo>
                  <a:lnTo>
                    <a:pt x="772" y="483"/>
                  </a:lnTo>
                  <a:lnTo>
                    <a:pt x="771" y="483"/>
                  </a:lnTo>
                  <a:lnTo>
                    <a:pt x="770" y="478"/>
                  </a:lnTo>
                  <a:lnTo>
                    <a:pt x="768" y="478"/>
                  </a:lnTo>
                  <a:lnTo>
                    <a:pt x="767" y="480"/>
                  </a:lnTo>
                  <a:lnTo>
                    <a:pt x="770" y="486"/>
                  </a:lnTo>
                  <a:lnTo>
                    <a:pt x="770" y="487"/>
                  </a:lnTo>
                  <a:lnTo>
                    <a:pt x="770" y="492"/>
                  </a:lnTo>
                  <a:lnTo>
                    <a:pt x="770" y="493"/>
                  </a:lnTo>
                  <a:lnTo>
                    <a:pt x="770" y="495"/>
                  </a:lnTo>
                  <a:lnTo>
                    <a:pt x="770" y="497"/>
                  </a:lnTo>
                  <a:lnTo>
                    <a:pt x="770" y="497"/>
                  </a:lnTo>
                  <a:lnTo>
                    <a:pt x="769" y="498"/>
                  </a:lnTo>
                  <a:lnTo>
                    <a:pt x="769" y="499"/>
                  </a:lnTo>
                  <a:lnTo>
                    <a:pt x="770" y="503"/>
                  </a:lnTo>
                  <a:lnTo>
                    <a:pt x="770" y="503"/>
                  </a:lnTo>
                  <a:lnTo>
                    <a:pt x="769" y="503"/>
                  </a:lnTo>
                  <a:lnTo>
                    <a:pt x="767" y="503"/>
                  </a:lnTo>
                  <a:lnTo>
                    <a:pt x="766" y="504"/>
                  </a:lnTo>
                  <a:lnTo>
                    <a:pt x="767" y="506"/>
                  </a:lnTo>
                  <a:lnTo>
                    <a:pt x="767" y="507"/>
                  </a:lnTo>
                  <a:lnTo>
                    <a:pt x="765" y="507"/>
                  </a:lnTo>
                  <a:lnTo>
                    <a:pt x="764" y="507"/>
                  </a:lnTo>
                  <a:lnTo>
                    <a:pt x="764" y="512"/>
                  </a:lnTo>
                  <a:lnTo>
                    <a:pt x="761" y="514"/>
                  </a:lnTo>
                  <a:lnTo>
                    <a:pt x="761" y="516"/>
                  </a:lnTo>
                  <a:lnTo>
                    <a:pt x="760" y="518"/>
                  </a:lnTo>
                  <a:lnTo>
                    <a:pt x="756" y="519"/>
                  </a:lnTo>
                  <a:lnTo>
                    <a:pt x="754" y="518"/>
                  </a:lnTo>
                  <a:lnTo>
                    <a:pt x="751" y="520"/>
                  </a:lnTo>
                  <a:lnTo>
                    <a:pt x="751" y="522"/>
                  </a:lnTo>
                  <a:lnTo>
                    <a:pt x="754" y="523"/>
                  </a:lnTo>
                  <a:lnTo>
                    <a:pt x="752" y="526"/>
                  </a:lnTo>
                  <a:lnTo>
                    <a:pt x="749" y="529"/>
                  </a:lnTo>
                  <a:lnTo>
                    <a:pt x="748" y="529"/>
                  </a:lnTo>
                  <a:lnTo>
                    <a:pt x="748" y="534"/>
                  </a:lnTo>
                  <a:lnTo>
                    <a:pt x="747" y="530"/>
                  </a:lnTo>
                  <a:lnTo>
                    <a:pt x="746" y="533"/>
                  </a:lnTo>
                  <a:lnTo>
                    <a:pt x="746" y="535"/>
                  </a:lnTo>
                  <a:lnTo>
                    <a:pt x="745" y="534"/>
                  </a:lnTo>
                  <a:lnTo>
                    <a:pt x="744" y="534"/>
                  </a:lnTo>
                  <a:lnTo>
                    <a:pt x="741" y="536"/>
                  </a:lnTo>
                  <a:lnTo>
                    <a:pt x="740" y="536"/>
                  </a:lnTo>
                  <a:lnTo>
                    <a:pt x="738" y="537"/>
                  </a:lnTo>
                  <a:lnTo>
                    <a:pt x="737" y="539"/>
                  </a:lnTo>
                  <a:lnTo>
                    <a:pt x="736" y="542"/>
                  </a:lnTo>
                  <a:lnTo>
                    <a:pt x="735" y="544"/>
                  </a:lnTo>
                  <a:lnTo>
                    <a:pt x="734" y="546"/>
                  </a:lnTo>
                  <a:lnTo>
                    <a:pt x="731" y="547"/>
                  </a:lnTo>
                  <a:lnTo>
                    <a:pt x="728" y="549"/>
                  </a:lnTo>
                  <a:lnTo>
                    <a:pt x="725" y="552"/>
                  </a:lnTo>
                  <a:lnTo>
                    <a:pt x="723" y="550"/>
                  </a:lnTo>
                  <a:lnTo>
                    <a:pt x="720" y="549"/>
                  </a:lnTo>
                  <a:lnTo>
                    <a:pt x="719" y="552"/>
                  </a:lnTo>
                  <a:lnTo>
                    <a:pt x="719" y="553"/>
                  </a:lnTo>
                  <a:lnTo>
                    <a:pt x="718" y="553"/>
                  </a:lnTo>
                  <a:lnTo>
                    <a:pt x="716" y="553"/>
                  </a:lnTo>
                  <a:lnTo>
                    <a:pt x="716" y="550"/>
                  </a:lnTo>
                  <a:lnTo>
                    <a:pt x="714" y="549"/>
                  </a:lnTo>
                  <a:lnTo>
                    <a:pt x="711" y="552"/>
                  </a:lnTo>
                  <a:lnTo>
                    <a:pt x="710" y="554"/>
                  </a:lnTo>
                  <a:lnTo>
                    <a:pt x="708" y="554"/>
                  </a:lnTo>
                  <a:lnTo>
                    <a:pt x="707" y="553"/>
                  </a:lnTo>
                  <a:lnTo>
                    <a:pt x="707" y="552"/>
                  </a:lnTo>
                  <a:lnTo>
                    <a:pt x="704" y="552"/>
                  </a:lnTo>
                  <a:lnTo>
                    <a:pt x="705" y="555"/>
                  </a:lnTo>
                  <a:lnTo>
                    <a:pt x="705" y="5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42" name="Freeform 1042"/>
            <p:cNvSpPr>
              <a:spLocks/>
            </p:cNvSpPr>
            <p:nvPr/>
          </p:nvSpPr>
          <p:spPr bwMode="auto">
            <a:xfrm>
              <a:off x="3832" y="1183"/>
              <a:ext cx="820" cy="597"/>
            </a:xfrm>
            <a:custGeom>
              <a:avLst/>
              <a:gdLst>
                <a:gd name="T0" fmla="*/ 689 w 820"/>
                <a:gd name="T1" fmla="*/ 552 h 597"/>
                <a:gd name="T2" fmla="*/ 676 w 820"/>
                <a:gd name="T3" fmla="*/ 568 h 597"/>
                <a:gd name="T4" fmla="*/ 646 w 820"/>
                <a:gd name="T5" fmla="*/ 595 h 597"/>
                <a:gd name="T6" fmla="*/ 608 w 820"/>
                <a:gd name="T7" fmla="*/ 574 h 597"/>
                <a:gd name="T8" fmla="*/ 561 w 820"/>
                <a:gd name="T9" fmla="*/ 545 h 597"/>
                <a:gd name="T10" fmla="*/ 516 w 820"/>
                <a:gd name="T11" fmla="*/ 553 h 597"/>
                <a:gd name="T12" fmla="*/ 496 w 820"/>
                <a:gd name="T13" fmla="*/ 569 h 597"/>
                <a:gd name="T14" fmla="*/ 441 w 820"/>
                <a:gd name="T15" fmla="*/ 530 h 597"/>
                <a:gd name="T16" fmla="*/ 432 w 820"/>
                <a:gd name="T17" fmla="*/ 465 h 597"/>
                <a:gd name="T18" fmla="*/ 393 w 820"/>
                <a:gd name="T19" fmla="*/ 433 h 597"/>
                <a:gd name="T20" fmla="*/ 341 w 820"/>
                <a:gd name="T21" fmla="*/ 456 h 597"/>
                <a:gd name="T22" fmla="*/ 296 w 820"/>
                <a:gd name="T23" fmla="*/ 453 h 597"/>
                <a:gd name="T24" fmla="*/ 273 w 820"/>
                <a:gd name="T25" fmla="*/ 458 h 597"/>
                <a:gd name="T26" fmla="*/ 244 w 820"/>
                <a:gd name="T27" fmla="*/ 458 h 597"/>
                <a:gd name="T28" fmla="*/ 217 w 820"/>
                <a:gd name="T29" fmla="*/ 445 h 597"/>
                <a:gd name="T30" fmla="*/ 201 w 820"/>
                <a:gd name="T31" fmla="*/ 436 h 597"/>
                <a:gd name="T32" fmla="*/ 160 w 820"/>
                <a:gd name="T33" fmla="*/ 415 h 597"/>
                <a:gd name="T34" fmla="*/ 137 w 820"/>
                <a:gd name="T35" fmla="*/ 406 h 597"/>
                <a:gd name="T36" fmla="*/ 119 w 820"/>
                <a:gd name="T37" fmla="*/ 398 h 597"/>
                <a:gd name="T38" fmla="*/ 109 w 820"/>
                <a:gd name="T39" fmla="*/ 372 h 597"/>
                <a:gd name="T40" fmla="*/ 121 w 820"/>
                <a:gd name="T41" fmla="*/ 368 h 597"/>
                <a:gd name="T42" fmla="*/ 109 w 820"/>
                <a:gd name="T43" fmla="*/ 347 h 597"/>
                <a:gd name="T44" fmla="*/ 120 w 820"/>
                <a:gd name="T45" fmla="*/ 325 h 597"/>
                <a:gd name="T46" fmla="*/ 107 w 820"/>
                <a:gd name="T47" fmla="*/ 314 h 597"/>
                <a:gd name="T48" fmla="*/ 82 w 820"/>
                <a:gd name="T49" fmla="*/ 320 h 597"/>
                <a:gd name="T50" fmla="*/ 51 w 820"/>
                <a:gd name="T51" fmla="*/ 310 h 597"/>
                <a:gd name="T52" fmla="*/ 37 w 820"/>
                <a:gd name="T53" fmla="*/ 294 h 597"/>
                <a:gd name="T54" fmla="*/ 23 w 820"/>
                <a:gd name="T55" fmla="*/ 273 h 597"/>
                <a:gd name="T56" fmla="*/ 21 w 820"/>
                <a:gd name="T57" fmla="*/ 229 h 597"/>
                <a:gd name="T58" fmla="*/ 81 w 820"/>
                <a:gd name="T59" fmla="*/ 199 h 597"/>
                <a:gd name="T60" fmla="*/ 88 w 820"/>
                <a:gd name="T61" fmla="*/ 144 h 597"/>
                <a:gd name="T62" fmla="*/ 119 w 820"/>
                <a:gd name="T63" fmla="*/ 103 h 597"/>
                <a:gd name="T64" fmla="*/ 167 w 820"/>
                <a:gd name="T65" fmla="*/ 95 h 597"/>
                <a:gd name="T66" fmla="*/ 238 w 820"/>
                <a:gd name="T67" fmla="*/ 149 h 597"/>
                <a:gd name="T68" fmla="*/ 322 w 820"/>
                <a:gd name="T69" fmla="*/ 190 h 597"/>
                <a:gd name="T70" fmla="*/ 446 w 820"/>
                <a:gd name="T71" fmla="*/ 209 h 597"/>
                <a:gd name="T72" fmla="*/ 519 w 820"/>
                <a:gd name="T73" fmla="*/ 183 h 597"/>
                <a:gd name="T74" fmla="*/ 559 w 820"/>
                <a:gd name="T75" fmla="*/ 139 h 597"/>
                <a:gd name="T76" fmla="*/ 578 w 820"/>
                <a:gd name="T77" fmla="*/ 97 h 597"/>
                <a:gd name="T78" fmla="*/ 528 w 820"/>
                <a:gd name="T79" fmla="*/ 61 h 597"/>
                <a:gd name="T80" fmla="*/ 562 w 820"/>
                <a:gd name="T81" fmla="*/ 31 h 597"/>
                <a:gd name="T82" fmla="*/ 584 w 820"/>
                <a:gd name="T83" fmla="*/ 0 h 597"/>
                <a:gd name="T84" fmla="*/ 647 w 820"/>
                <a:gd name="T85" fmla="*/ 30 h 597"/>
                <a:gd name="T86" fmla="*/ 736 w 820"/>
                <a:gd name="T87" fmla="*/ 79 h 597"/>
                <a:gd name="T88" fmla="*/ 798 w 820"/>
                <a:gd name="T89" fmla="*/ 89 h 597"/>
                <a:gd name="T90" fmla="*/ 802 w 820"/>
                <a:gd name="T91" fmla="*/ 144 h 597"/>
                <a:gd name="T92" fmla="*/ 785 w 820"/>
                <a:gd name="T93" fmla="*/ 204 h 597"/>
                <a:gd name="T94" fmla="*/ 735 w 820"/>
                <a:gd name="T95" fmla="*/ 243 h 597"/>
                <a:gd name="T96" fmla="*/ 706 w 820"/>
                <a:gd name="T97" fmla="*/ 247 h 597"/>
                <a:gd name="T98" fmla="*/ 683 w 820"/>
                <a:gd name="T99" fmla="*/ 239 h 597"/>
                <a:gd name="T100" fmla="*/ 673 w 820"/>
                <a:gd name="T101" fmla="*/ 274 h 597"/>
                <a:gd name="T102" fmla="*/ 721 w 820"/>
                <a:gd name="T103" fmla="*/ 283 h 597"/>
                <a:gd name="T104" fmla="*/ 736 w 820"/>
                <a:gd name="T105" fmla="*/ 296 h 597"/>
                <a:gd name="T106" fmla="*/ 715 w 820"/>
                <a:gd name="T107" fmla="*/ 323 h 597"/>
                <a:gd name="T108" fmla="*/ 775 w 820"/>
                <a:gd name="T109" fmla="*/ 389 h 597"/>
                <a:gd name="T110" fmla="*/ 777 w 820"/>
                <a:gd name="T111" fmla="*/ 399 h 597"/>
                <a:gd name="T112" fmla="*/ 778 w 820"/>
                <a:gd name="T113" fmla="*/ 418 h 597"/>
                <a:gd name="T114" fmla="*/ 786 w 820"/>
                <a:gd name="T115" fmla="*/ 439 h 597"/>
                <a:gd name="T116" fmla="*/ 776 w 820"/>
                <a:gd name="T117" fmla="*/ 474 h 597"/>
                <a:gd name="T118" fmla="*/ 770 w 820"/>
                <a:gd name="T119" fmla="*/ 503 h 597"/>
                <a:gd name="T120" fmla="*/ 754 w 820"/>
                <a:gd name="T121" fmla="*/ 523 h 597"/>
                <a:gd name="T122" fmla="*/ 731 w 820"/>
                <a:gd name="T123" fmla="*/ 547 h 597"/>
                <a:gd name="T124" fmla="*/ 705 w 820"/>
                <a:gd name="T125" fmla="*/ 555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20" h="597">
                  <a:moveTo>
                    <a:pt x="705" y="555"/>
                  </a:moveTo>
                  <a:lnTo>
                    <a:pt x="704" y="557"/>
                  </a:lnTo>
                  <a:lnTo>
                    <a:pt x="704" y="556"/>
                  </a:lnTo>
                  <a:lnTo>
                    <a:pt x="704" y="555"/>
                  </a:lnTo>
                  <a:lnTo>
                    <a:pt x="701" y="555"/>
                  </a:lnTo>
                  <a:lnTo>
                    <a:pt x="699" y="555"/>
                  </a:lnTo>
                  <a:lnTo>
                    <a:pt x="699" y="555"/>
                  </a:lnTo>
                  <a:lnTo>
                    <a:pt x="699" y="555"/>
                  </a:lnTo>
                  <a:lnTo>
                    <a:pt x="699" y="556"/>
                  </a:lnTo>
                  <a:lnTo>
                    <a:pt x="700" y="558"/>
                  </a:lnTo>
                  <a:lnTo>
                    <a:pt x="699" y="558"/>
                  </a:lnTo>
                  <a:lnTo>
                    <a:pt x="696" y="559"/>
                  </a:lnTo>
                  <a:lnTo>
                    <a:pt x="696" y="557"/>
                  </a:lnTo>
                  <a:lnTo>
                    <a:pt x="696" y="557"/>
                  </a:lnTo>
                  <a:lnTo>
                    <a:pt x="695" y="555"/>
                  </a:lnTo>
                  <a:lnTo>
                    <a:pt x="691" y="553"/>
                  </a:lnTo>
                  <a:lnTo>
                    <a:pt x="689" y="552"/>
                  </a:lnTo>
                  <a:lnTo>
                    <a:pt x="687" y="550"/>
                  </a:lnTo>
                  <a:lnTo>
                    <a:pt x="688" y="554"/>
                  </a:lnTo>
                  <a:lnTo>
                    <a:pt x="688" y="557"/>
                  </a:lnTo>
                  <a:lnTo>
                    <a:pt x="689" y="559"/>
                  </a:lnTo>
                  <a:lnTo>
                    <a:pt x="689" y="560"/>
                  </a:lnTo>
                  <a:lnTo>
                    <a:pt x="688" y="560"/>
                  </a:lnTo>
                  <a:lnTo>
                    <a:pt x="687" y="560"/>
                  </a:lnTo>
                  <a:lnTo>
                    <a:pt x="685" y="557"/>
                  </a:lnTo>
                  <a:lnTo>
                    <a:pt x="681" y="556"/>
                  </a:lnTo>
                  <a:lnTo>
                    <a:pt x="680" y="554"/>
                  </a:lnTo>
                  <a:lnTo>
                    <a:pt x="680" y="559"/>
                  </a:lnTo>
                  <a:lnTo>
                    <a:pt x="680" y="562"/>
                  </a:lnTo>
                  <a:lnTo>
                    <a:pt x="680" y="563"/>
                  </a:lnTo>
                  <a:lnTo>
                    <a:pt x="681" y="566"/>
                  </a:lnTo>
                  <a:lnTo>
                    <a:pt x="680" y="567"/>
                  </a:lnTo>
                  <a:lnTo>
                    <a:pt x="679" y="566"/>
                  </a:lnTo>
                  <a:lnTo>
                    <a:pt x="676" y="568"/>
                  </a:lnTo>
                  <a:lnTo>
                    <a:pt x="673" y="568"/>
                  </a:lnTo>
                  <a:lnTo>
                    <a:pt x="670" y="570"/>
                  </a:lnTo>
                  <a:lnTo>
                    <a:pt x="668" y="569"/>
                  </a:lnTo>
                  <a:lnTo>
                    <a:pt x="667" y="569"/>
                  </a:lnTo>
                  <a:lnTo>
                    <a:pt x="665" y="569"/>
                  </a:lnTo>
                  <a:lnTo>
                    <a:pt x="661" y="573"/>
                  </a:lnTo>
                  <a:lnTo>
                    <a:pt x="659" y="574"/>
                  </a:lnTo>
                  <a:lnTo>
                    <a:pt x="655" y="574"/>
                  </a:lnTo>
                  <a:lnTo>
                    <a:pt x="653" y="574"/>
                  </a:lnTo>
                  <a:lnTo>
                    <a:pt x="651" y="575"/>
                  </a:lnTo>
                  <a:lnTo>
                    <a:pt x="649" y="576"/>
                  </a:lnTo>
                  <a:lnTo>
                    <a:pt x="646" y="577"/>
                  </a:lnTo>
                  <a:lnTo>
                    <a:pt x="643" y="577"/>
                  </a:lnTo>
                  <a:lnTo>
                    <a:pt x="642" y="585"/>
                  </a:lnTo>
                  <a:lnTo>
                    <a:pt x="644" y="588"/>
                  </a:lnTo>
                  <a:lnTo>
                    <a:pt x="645" y="590"/>
                  </a:lnTo>
                  <a:lnTo>
                    <a:pt x="646" y="595"/>
                  </a:lnTo>
                  <a:lnTo>
                    <a:pt x="642" y="597"/>
                  </a:lnTo>
                  <a:lnTo>
                    <a:pt x="638" y="595"/>
                  </a:lnTo>
                  <a:lnTo>
                    <a:pt x="633" y="585"/>
                  </a:lnTo>
                  <a:lnTo>
                    <a:pt x="632" y="583"/>
                  </a:lnTo>
                  <a:lnTo>
                    <a:pt x="632" y="581"/>
                  </a:lnTo>
                  <a:lnTo>
                    <a:pt x="633" y="575"/>
                  </a:lnTo>
                  <a:lnTo>
                    <a:pt x="630" y="573"/>
                  </a:lnTo>
                  <a:lnTo>
                    <a:pt x="629" y="574"/>
                  </a:lnTo>
                  <a:lnTo>
                    <a:pt x="626" y="576"/>
                  </a:lnTo>
                  <a:lnTo>
                    <a:pt x="624" y="576"/>
                  </a:lnTo>
                  <a:lnTo>
                    <a:pt x="622" y="575"/>
                  </a:lnTo>
                  <a:lnTo>
                    <a:pt x="622" y="573"/>
                  </a:lnTo>
                  <a:lnTo>
                    <a:pt x="616" y="571"/>
                  </a:lnTo>
                  <a:lnTo>
                    <a:pt x="613" y="570"/>
                  </a:lnTo>
                  <a:lnTo>
                    <a:pt x="612" y="570"/>
                  </a:lnTo>
                  <a:lnTo>
                    <a:pt x="612" y="573"/>
                  </a:lnTo>
                  <a:lnTo>
                    <a:pt x="608" y="574"/>
                  </a:lnTo>
                  <a:lnTo>
                    <a:pt x="609" y="576"/>
                  </a:lnTo>
                  <a:lnTo>
                    <a:pt x="608" y="573"/>
                  </a:lnTo>
                  <a:lnTo>
                    <a:pt x="606" y="574"/>
                  </a:lnTo>
                  <a:lnTo>
                    <a:pt x="604" y="575"/>
                  </a:lnTo>
                  <a:lnTo>
                    <a:pt x="602" y="574"/>
                  </a:lnTo>
                  <a:lnTo>
                    <a:pt x="597" y="574"/>
                  </a:lnTo>
                  <a:lnTo>
                    <a:pt x="594" y="573"/>
                  </a:lnTo>
                  <a:lnTo>
                    <a:pt x="592" y="571"/>
                  </a:lnTo>
                  <a:lnTo>
                    <a:pt x="585" y="567"/>
                  </a:lnTo>
                  <a:lnTo>
                    <a:pt x="582" y="564"/>
                  </a:lnTo>
                  <a:lnTo>
                    <a:pt x="579" y="559"/>
                  </a:lnTo>
                  <a:lnTo>
                    <a:pt x="580" y="554"/>
                  </a:lnTo>
                  <a:lnTo>
                    <a:pt x="578" y="552"/>
                  </a:lnTo>
                  <a:lnTo>
                    <a:pt x="573" y="550"/>
                  </a:lnTo>
                  <a:lnTo>
                    <a:pt x="569" y="549"/>
                  </a:lnTo>
                  <a:lnTo>
                    <a:pt x="565" y="548"/>
                  </a:lnTo>
                  <a:lnTo>
                    <a:pt x="561" y="545"/>
                  </a:lnTo>
                  <a:lnTo>
                    <a:pt x="556" y="544"/>
                  </a:lnTo>
                  <a:lnTo>
                    <a:pt x="554" y="544"/>
                  </a:lnTo>
                  <a:lnTo>
                    <a:pt x="552" y="547"/>
                  </a:lnTo>
                  <a:lnTo>
                    <a:pt x="549" y="549"/>
                  </a:lnTo>
                  <a:lnTo>
                    <a:pt x="545" y="552"/>
                  </a:lnTo>
                  <a:lnTo>
                    <a:pt x="544" y="552"/>
                  </a:lnTo>
                  <a:lnTo>
                    <a:pt x="541" y="552"/>
                  </a:lnTo>
                  <a:lnTo>
                    <a:pt x="539" y="554"/>
                  </a:lnTo>
                  <a:lnTo>
                    <a:pt x="536" y="555"/>
                  </a:lnTo>
                  <a:lnTo>
                    <a:pt x="535" y="553"/>
                  </a:lnTo>
                  <a:lnTo>
                    <a:pt x="532" y="554"/>
                  </a:lnTo>
                  <a:lnTo>
                    <a:pt x="529" y="553"/>
                  </a:lnTo>
                  <a:lnTo>
                    <a:pt x="527" y="553"/>
                  </a:lnTo>
                  <a:lnTo>
                    <a:pt x="524" y="556"/>
                  </a:lnTo>
                  <a:lnTo>
                    <a:pt x="522" y="556"/>
                  </a:lnTo>
                  <a:lnTo>
                    <a:pt x="519" y="554"/>
                  </a:lnTo>
                  <a:lnTo>
                    <a:pt x="516" y="553"/>
                  </a:lnTo>
                  <a:lnTo>
                    <a:pt x="515" y="552"/>
                  </a:lnTo>
                  <a:lnTo>
                    <a:pt x="514" y="553"/>
                  </a:lnTo>
                  <a:lnTo>
                    <a:pt x="513" y="555"/>
                  </a:lnTo>
                  <a:lnTo>
                    <a:pt x="512" y="557"/>
                  </a:lnTo>
                  <a:lnTo>
                    <a:pt x="512" y="558"/>
                  </a:lnTo>
                  <a:lnTo>
                    <a:pt x="509" y="557"/>
                  </a:lnTo>
                  <a:lnTo>
                    <a:pt x="509" y="556"/>
                  </a:lnTo>
                  <a:lnTo>
                    <a:pt x="504" y="556"/>
                  </a:lnTo>
                  <a:lnTo>
                    <a:pt x="502" y="558"/>
                  </a:lnTo>
                  <a:lnTo>
                    <a:pt x="502" y="562"/>
                  </a:lnTo>
                  <a:lnTo>
                    <a:pt x="504" y="567"/>
                  </a:lnTo>
                  <a:lnTo>
                    <a:pt x="506" y="573"/>
                  </a:lnTo>
                  <a:lnTo>
                    <a:pt x="507" y="577"/>
                  </a:lnTo>
                  <a:lnTo>
                    <a:pt x="505" y="577"/>
                  </a:lnTo>
                  <a:lnTo>
                    <a:pt x="501" y="579"/>
                  </a:lnTo>
                  <a:lnTo>
                    <a:pt x="497" y="571"/>
                  </a:lnTo>
                  <a:lnTo>
                    <a:pt x="496" y="569"/>
                  </a:lnTo>
                  <a:lnTo>
                    <a:pt x="493" y="568"/>
                  </a:lnTo>
                  <a:lnTo>
                    <a:pt x="489" y="573"/>
                  </a:lnTo>
                  <a:lnTo>
                    <a:pt x="484" y="573"/>
                  </a:lnTo>
                  <a:lnTo>
                    <a:pt x="477" y="568"/>
                  </a:lnTo>
                  <a:lnTo>
                    <a:pt x="476" y="564"/>
                  </a:lnTo>
                  <a:lnTo>
                    <a:pt x="471" y="562"/>
                  </a:lnTo>
                  <a:lnTo>
                    <a:pt x="466" y="562"/>
                  </a:lnTo>
                  <a:lnTo>
                    <a:pt x="466" y="555"/>
                  </a:lnTo>
                  <a:lnTo>
                    <a:pt x="467" y="547"/>
                  </a:lnTo>
                  <a:lnTo>
                    <a:pt x="462" y="545"/>
                  </a:lnTo>
                  <a:lnTo>
                    <a:pt x="457" y="542"/>
                  </a:lnTo>
                  <a:lnTo>
                    <a:pt x="456" y="535"/>
                  </a:lnTo>
                  <a:lnTo>
                    <a:pt x="454" y="530"/>
                  </a:lnTo>
                  <a:lnTo>
                    <a:pt x="454" y="528"/>
                  </a:lnTo>
                  <a:lnTo>
                    <a:pt x="448" y="528"/>
                  </a:lnTo>
                  <a:lnTo>
                    <a:pt x="443" y="528"/>
                  </a:lnTo>
                  <a:lnTo>
                    <a:pt x="441" y="530"/>
                  </a:lnTo>
                  <a:lnTo>
                    <a:pt x="437" y="534"/>
                  </a:lnTo>
                  <a:lnTo>
                    <a:pt x="435" y="533"/>
                  </a:lnTo>
                  <a:lnTo>
                    <a:pt x="437" y="527"/>
                  </a:lnTo>
                  <a:lnTo>
                    <a:pt x="437" y="525"/>
                  </a:lnTo>
                  <a:lnTo>
                    <a:pt x="435" y="520"/>
                  </a:lnTo>
                  <a:lnTo>
                    <a:pt x="436" y="516"/>
                  </a:lnTo>
                  <a:lnTo>
                    <a:pt x="436" y="510"/>
                  </a:lnTo>
                  <a:lnTo>
                    <a:pt x="438" y="507"/>
                  </a:lnTo>
                  <a:lnTo>
                    <a:pt x="440" y="504"/>
                  </a:lnTo>
                  <a:lnTo>
                    <a:pt x="441" y="503"/>
                  </a:lnTo>
                  <a:lnTo>
                    <a:pt x="443" y="499"/>
                  </a:lnTo>
                  <a:lnTo>
                    <a:pt x="444" y="492"/>
                  </a:lnTo>
                  <a:lnTo>
                    <a:pt x="444" y="488"/>
                  </a:lnTo>
                  <a:lnTo>
                    <a:pt x="443" y="480"/>
                  </a:lnTo>
                  <a:lnTo>
                    <a:pt x="441" y="474"/>
                  </a:lnTo>
                  <a:lnTo>
                    <a:pt x="436" y="465"/>
                  </a:lnTo>
                  <a:lnTo>
                    <a:pt x="432" y="465"/>
                  </a:lnTo>
                  <a:lnTo>
                    <a:pt x="431" y="462"/>
                  </a:lnTo>
                  <a:lnTo>
                    <a:pt x="428" y="457"/>
                  </a:lnTo>
                  <a:lnTo>
                    <a:pt x="424" y="453"/>
                  </a:lnTo>
                  <a:lnTo>
                    <a:pt x="420" y="452"/>
                  </a:lnTo>
                  <a:lnTo>
                    <a:pt x="418" y="451"/>
                  </a:lnTo>
                  <a:lnTo>
                    <a:pt x="418" y="453"/>
                  </a:lnTo>
                  <a:lnTo>
                    <a:pt x="416" y="454"/>
                  </a:lnTo>
                  <a:lnTo>
                    <a:pt x="414" y="451"/>
                  </a:lnTo>
                  <a:lnTo>
                    <a:pt x="411" y="449"/>
                  </a:lnTo>
                  <a:lnTo>
                    <a:pt x="406" y="449"/>
                  </a:lnTo>
                  <a:lnTo>
                    <a:pt x="404" y="447"/>
                  </a:lnTo>
                  <a:lnTo>
                    <a:pt x="399" y="447"/>
                  </a:lnTo>
                  <a:lnTo>
                    <a:pt x="399" y="443"/>
                  </a:lnTo>
                  <a:lnTo>
                    <a:pt x="397" y="439"/>
                  </a:lnTo>
                  <a:lnTo>
                    <a:pt x="394" y="438"/>
                  </a:lnTo>
                  <a:lnTo>
                    <a:pt x="393" y="435"/>
                  </a:lnTo>
                  <a:lnTo>
                    <a:pt x="393" y="433"/>
                  </a:lnTo>
                  <a:lnTo>
                    <a:pt x="389" y="429"/>
                  </a:lnTo>
                  <a:lnTo>
                    <a:pt x="385" y="431"/>
                  </a:lnTo>
                  <a:lnTo>
                    <a:pt x="382" y="433"/>
                  </a:lnTo>
                  <a:lnTo>
                    <a:pt x="379" y="434"/>
                  </a:lnTo>
                  <a:lnTo>
                    <a:pt x="373" y="435"/>
                  </a:lnTo>
                  <a:lnTo>
                    <a:pt x="371" y="434"/>
                  </a:lnTo>
                  <a:lnTo>
                    <a:pt x="369" y="433"/>
                  </a:lnTo>
                  <a:lnTo>
                    <a:pt x="367" y="433"/>
                  </a:lnTo>
                  <a:lnTo>
                    <a:pt x="364" y="434"/>
                  </a:lnTo>
                  <a:lnTo>
                    <a:pt x="362" y="436"/>
                  </a:lnTo>
                  <a:lnTo>
                    <a:pt x="362" y="439"/>
                  </a:lnTo>
                  <a:lnTo>
                    <a:pt x="357" y="444"/>
                  </a:lnTo>
                  <a:lnTo>
                    <a:pt x="353" y="445"/>
                  </a:lnTo>
                  <a:lnTo>
                    <a:pt x="351" y="449"/>
                  </a:lnTo>
                  <a:lnTo>
                    <a:pt x="349" y="452"/>
                  </a:lnTo>
                  <a:lnTo>
                    <a:pt x="344" y="454"/>
                  </a:lnTo>
                  <a:lnTo>
                    <a:pt x="341" y="456"/>
                  </a:lnTo>
                  <a:lnTo>
                    <a:pt x="334" y="458"/>
                  </a:lnTo>
                  <a:lnTo>
                    <a:pt x="330" y="459"/>
                  </a:lnTo>
                  <a:lnTo>
                    <a:pt x="330" y="461"/>
                  </a:lnTo>
                  <a:lnTo>
                    <a:pt x="330" y="459"/>
                  </a:lnTo>
                  <a:lnTo>
                    <a:pt x="325" y="457"/>
                  </a:lnTo>
                  <a:lnTo>
                    <a:pt x="324" y="456"/>
                  </a:lnTo>
                  <a:lnTo>
                    <a:pt x="323" y="456"/>
                  </a:lnTo>
                  <a:lnTo>
                    <a:pt x="320" y="457"/>
                  </a:lnTo>
                  <a:lnTo>
                    <a:pt x="319" y="457"/>
                  </a:lnTo>
                  <a:lnTo>
                    <a:pt x="314" y="456"/>
                  </a:lnTo>
                  <a:lnTo>
                    <a:pt x="310" y="455"/>
                  </a:lnTo>
                  <a:lnTo>
                    <a:pt x="308" y="454"/>
                  </a:lnTo>
                  <a:lnTo>
                    <a:pt x="306" y="453"/>
                  </a:lnTo>
                  <a:lnTo>
                    <a:pt x="305" y="452"/>
                  </a:lnTo>
                  <a:lnTo>
                    <a:pt x="304" y="452"/>
                  </a:lnTo>
                  <a:lnTo>
                    <a:pt x="300" y="452"/>
                  </a:lnTo>
                  <a:lnTo>
                    <a:pt x="296" y="453"/>
                  </a:lnTo>
                  <a:lnTo>
                    <a:pt x="294" y="456"/>
                  </a:lnTo>
                  <a:lnTo>
                    <a:pt x="292" y="461"/>
                  </a:lnTo>
                  <a:lnTo>
                    <a:pt x="288" y="467"/>
                  </a:lnTo>
                  <a:lnTo>
                    <a:pt x="288" y="468"/>
                  </a:lnTo>
                  <a:lnTo>
                    <a:pt x="286" y="468"/>
                  </a:lnTo>
                  <a:lnTo>
                    <a:pt x="285" y="468"/>
                  </a:lnTo>
                  <a:lnTo>
                    <a:pt x="284" y="467"/>
                  </a:lnTo>
                  <a:lnTo>
                    <a:pt x="284" y="465"/>
                  </a:lnTo>
                  <a:lnTo>
                    <a:pt x="284" y="462"/>
                  </a:lnTo>
                  <a:lnTo>
                    <a:pt x="284" y="459"/>
                  </a:lnTo>
                  <a:lnTo>
                    <a:pt x="283" y="456"/>
                  </a:lnTo>
                  <a:lnTo>
                    <a:pt x="282" y="456"/>
                  </a:lnTo>
                  <a:lnTo>
                    <a:pt x="281" y="455"/>
                  </a:lnTo>
                  <a:lnTo>
                    <a:pt x="280" y="455"/>
                  </a:lnTo>
                  <a:lnTo>
                    <a:pt x="278" y="457"/>
                  </a:lnTo>
                  <a:lnTo>
                    <a:pt x="275" y="457"/>
                  </a:lnTo>
                  <a:lnTo>
                    <a:pt x="273" y="458"/>
                  </a:lnTo>
                  <a:lnTo>
                    <a:pt x="273" y="458"/>
                  </a:lnTo>
                  <a:lnTo>
                    <a:pt x="272" y="458"/>
                  </a:lnTo>
                  <a:lnTo>
                    <a:pt x="270" y="458"/>
                  </a:lnTo>
                  <a:lnTo>
                    <a:pt x="269" y="461"/>
                  </a:lnTo>
                  <a:lnTo>
                    <a:pt x="268" y="461"/>
                  </a:lnTo>
                  <a:lnTo>
                    <a:pt x="263" y="459"/>
                  </a:lnTo>
                  <a:lnTo>
                    <a:pt x="261" y="461"/>
                  </a:lnTo>
                  <a:lnTo>
                    <a:pt x="260" y="461"/>
                  </a:lnTo>
                  <a:lnTo>
                    <a:pt x="258" y="459"/>
                  </a:lnTo>
                  <a:lnTo>
                    <a:pt x="255" y="458"/>
                  </a:lnTo>
                  <a:lnTo>
                    <a:pt x="252" y="456"/>
                  </a:lnTo>
                  <a:lnTo>
                    <a:pt x="250" y="456"/>
                  </a:lnTo>
                  <a:lnTo>
                    <a:pt x="249" y="456"/>
                  </a:lnTo>
                  <a:lnTo>
                    <a:pt x="248" y="458"/>
                  </a:lnTo>
                  <a:lnTo>
                    <a:pt x="248" y="458"/>
                  </a:lnTo>
                  <a:lnTo>
                    <a:pt x="245" y="458"/>
                  </a:lnTo>
                  <a:lnTo>
                    <a:pt x="244" y="458"/>
                  </a:lnTo>
                  <a:lnTo>
                    <a:pt x="242" y="457"/>
                  </a:lnTo>
                  <a:lnTo>
                    <a:pt x="241" y="458"/>
                  </a:lnTo>
                  <a:lnTo>
                    <a:pt x="240" y="458"/>
                  </a:lnTo>
                  <a:lnTo>
                    <a:pt x="239" y="457"/>
                  </a:lnTo>
                  <a:lnTo>
                    <a:pt x="237" y="456"/>
                  </a:lnTo>
                  <a:lnTo>
                    <a:pt x="237" y="455"/>
                  </a:lnTo>
                  <a:lnTo>
                    <a:pt x="234" y="453"/>
                  </a:lnTo>
                  <a:lnTo>
                    <a:pt x="232" y="453"/>
                  </a:lnTo>
                  <a:lnTo>
                    <a:pt x="230" y="453"/>
                  </a:lnTo>
                  <a:lnTo>
                    <a:pt x="225" y="451"/>
                  </a:lnTo>
                  <a:lnTo>
                    <a:pt x="224" y="448"/>
                  </a:lnTo>
                  <a:lnTo>
                    <a:pt x="224" y="445"/>
                  </a:lnTo>
                  <a:lnTo>
                    <a:pt x="224" y="445"/>
                  </a:lnTo>
                  <a:lnTo>
                    <a:pt x="223" y="446"/>
                  </a:lnTo>
                  <a:lnTo>
                    <a:pt x="222" y="446"/>
                  </a:lnTo>
                  <a:lnTo>
                    <a:pt x="219" y="446"/>
                  </a:lnTo>
                  <a:lnTo>
                    <a:pt x="217" y="445"/>
                  </a:lnTo>
                  <a:lnTo>
                    <a:pt x="215" y="445"/>
                  </a:lnTo>
                  <a:lnTo>
                    <a:pt x="213" y="444"/>
                  </a:lnTo>
                  <a:lnTo>
                    <a:pt x="212" y="444"/>
                  </a:lnTo>
                  <a:lnTo>
                    <a:pt x="211" y="443"/>
                  </a:lnTo>
                  <a:lnTo>
                    <a:pt x="210" y="442"/>
                  </a:lnTo>
                  <a:lnTo>
                    <a:pt x="209" y="443"/>
                  </a:lnTo>
                  <a:lnTo>
                    <a:pt x="209" y="442"/>
                  </a:lnTo>
                  <a:lnTo>
                    <a:pt x="209" y="437"/>
                  </a:lnTo>
                  <a:lnTo>
                    <a:pt x="208" y="436"/>
                  </a:lnTo>
                  <a:lnTo>
                    <a:pt x="209" y="434"/>
                  </a:lnTo>
                  <a:lnTo>
                    <a:pt x="208" y="434"/>
                  </a:lnTo>
                  <a:lnTo>
                    <a:pt x="205" y="433"/>
                  </a:lnTo>
                  <a:lnTo>
                    <a:pt x="204" y="433"/>
                  </a:lnTo>
                  <a:lnTo>
                    <a:pt x="203" y="433"/>
                  </a:lnTo>
                  <a:lnTo>
                    <a:pt x="202" y="434"/>
                  </a:lnTo>
                  <a:lnTo>
                    <a:pt x="202" y="435"/>
                  </a:lnTo>
                  <a:lnTo>
                    <a:pt x="201" y="436"/>
                  </a:lnTo>
                  <a:lnTo>
                    <a:pt x="201" y="436"/>
                  </a:lnTo>
                  <a:lnTo>
                    <a:pt x="200" y="437"/>
                  </a:lnTo>
                  <a:lnTo>
                    <a:pt x="199" y="437"/>
                  </a:lnTo>
                  <a:lnTo>
                    <a:pt x="197" y="436"/>
                  </a:lnTo>
                  <a:lnTo>
                    <a:pt x="195" y="435"/>
                  </a:lnTo>
                  <a:lnTo>
                    <a:pt x="194" y="431"/>
                  </a:lnTo>
                  <a:lnTo>
                    <a:pt x="191" y="428"/>
                  </a:lnTo>
                  <a:lnTo>
                    <a:pt x="188" y="425"/>
                  </a:lnTo>
                  <a:lnTo>
                    <a:pt x="184" y="424"/>
                  </a:lnTo>
                  <a:lnTo>
                    <a:pt x="181" y="422"/>
                  </a:lnTo>
                  <a:lnTo>
                    <a:pt x="178" y="419"/>
                  </a:lnTo>
                  <a:lnTo>
                    <a:pt x="177" y="418"/>
                  </a:lnTo>
                  <a:lnTo>
                    <a:pt x="171" y="416"/>
                  </a:lnTo>
                  <a:lnTo>
                    <a:pt x="165" y="415"/>
                  </a:lnTo>
                  <a:lnTo>
                    <a:pt x="164" y="415"/>
                  </a:lnTo>
                  <a:lnTo>
                    <a:pt x="160" y="415"/>
                  </a:lnTo>
                  <a:lnTo>
                    <a:pt x="160" y="415"/>
                  </a:lnTo>
                  <a:lnTo>
                    <a:pt x="160" y="415"/>
                  </a:lnTo>
                  <a:lnTo>
                    <a:pt x="160" y="416"/>
                  </a:lnTo>
                  <a:lnTo>
                    <a:pt x="159" y="418"/>
                  </a:lnTo>
                  <a:lnTo>
                    <a:pt x="160" y="418"/>
                  </a:lnTo>
                  <a:lnTo>
                    <a:pt x="160" y="419"/>
                  </a:lnTo>
                  <a:lnTo>
                    <a:pt x="157" y="417"/>
                  </a:lnTo>
                  <a:lnTo>
                    <a:pt x="156" y="416"/>
                  </a:lnTo>
                  <a:lnTo>
                    <a:pt x="154" y="416"/>
                  </a:lnTo>
                  <a:lnTo>
                    <a:pt x="154" y="415"/>
                  </a:lnTo>
                  <a:lnTo>
                    <a:pt x="149" y="414"/>
                  </a:lnTo>
                  <a:lnTo>
                    <a:pt x="148" y="413"/>
                  </a:lnTo>
                  <a:lnTo>
                    <a:pt x="147" y="412"/>
                  </a:lnTo>
                  <a:lnTo>
                    <a:pt x="146" y="412"/>
                  </a:lnTo>
                  <a:lnTo>
                    <a:pt x="141" y="408"/>
                  </a:lnTo>
                  <a:lnTo>
                    <a:pt x="139" y="408"/>
                  </a:lnTo>
                  <a:lnTo>
                    <a:pt x="138" y="407"/>
                  </a:lnTo>
                  <a:lnTo>
                    <a:pt x="137" y="406"/>
                  </a:lnTo>
                  <a:lnTo>
                    <a:pt x="137" y="405"/>
                  </a:lnTo>
                  <a:lnTo>
                    <a:pt x="136" y="404"/>
                  </a:lnTo>
                  <a:lnTo>
                    <a:pt x="134" y="404"/>
                  </a:lnTo>
                  <a:lnTo>
                    <a:pt x="133" y="403"/>
                  </a:lnTo>
                  <a:lnTo>
                    <a:pt x="132" y="403"/>
                  </a:lnTo>
                  <a:lnTo>
                    <a:pt x="130" y="404"/>
                  </a:lnTo>
                  <a:lnTo>
                    <a:pt x="130" y="404"/>
                  </a:lnTo>
                  <a:lnTo>
                    <a:pt x="129" y="402"/>
                  </a:lnTo>
                  <a:lnTo>
                    <a:pt x="128" y="402"/>
                  </a:lnTo>
                  <a:lnTo>
                    <a:pt x="127" y="401"/>
                  </a:lnTo>
                  <a:lnTo>
                    <a:pt x="127" y="402"/>
                  </a:lnTo>
                  <a:lnTo>
                    <a:pt x="123" y="402"/>
                  </a:lnTo>
                  <a:lnTo>
                    <a:pt x="122" y="402"/>
                  </a:lnTo>
                  <a:lnTo>
                    <a:pt x="121" y="403"/>
                  </a:lnTo>
                  <a:lnTo>
                    <a:pt x="120" y="403"/>
                  </a:lnTo>
                  <a:lnTo>
                    <a:pt x="120" y="402"/>
                  </a:lnTo>
                  <a:lnTo>
                    <a:pt x="119" y="398"/>
                  </a:lnTo>
                  <a:lnTo>
                    <a:pt x="118" y="398"/>
                  </a:lnTo>
                  <a:lnTo>
                    <a:pt x="116" y="396"/>
                  </a:lnTo>
                  <a:lnTo>
                    <a:pt x="116" y="395"/>
                  </a:lnTo>
                  <a:lnTo>
                    <a:pt x="114" y="394"/>
                  </a:lnTo>
                  <a:lnTo>
                    <a:pt x="113" y="393"/>
                  </a:lnTo>
                  <a:lnTo>
                    <a:pt x="114" y="391"/>
                  </a:lnTo>
                  <a:lnTo>
                    <a:pt x="113" y="388"/>
                  </a:lnTo>
                  <a:lnTo>
                    <a:pt x="112" y="388"/>
                  </a:lnTo>
                  <a:lnTo>
                    <a:pt x="112" y="386"/>
                  </a:lnTo>
                  <a:lnTo>
                    <a:pt x="112" y="384"/>
                  </a:lnTo>
                  <a:lnTo>
                    <a:pt x="110" y="382"/>
                  </a:lnTo>
                  <a:lnTo>
                    <a:pt x="107" y="379"/>
                  </a:lnTo>
                  <a:lnTo>
                    <a:pt x="107" y="376"/>
                  </a:lnTo>
                  <a:lnTo>
                    <a:pt x="106" y="374"/>
                  </a:lnTo>
                  <a:lnTo>
                    <a:pt x="106" y="374"/>
                  </a:lnTo>
                  <a:lnTo>
                    <a:pt x="109" y="373"/>
                  </a:lnTo>
                  <a:lnTo>
                    <a:pt x="109" y="372"/>
                  </a:lnTo>
                  <a:lnTo>
                    <a:pt x="110" y="372"/>
                  </a:lnTo>
                  <a:lnTo>
                    <a:pt x="110" y="374"/>
                  </a:lnTo>
                  <a:lnTo>
                    <a:pt x="111" y="375"/>
                  </a:lnTo>
                  <a:lnTo>
                    <a:pt x="112" y="376"/>
                  </a:lnTo>
                  <a:lnTo>
                    <a:pt x="114" y="377"/>
                  </a:lnTo>
                  <a:lnTo>
                    <a:pt x="116" y="377"/>
                  </a:lnTo>
                  <a:lnTo>
                    <a:pt x="116" y="376"/>
                  </a:lnTo>
                  <a:lnTo>
                    <a:pt x="117" y="376"/>
                  </a:lnTo>
                  <a:lnTo>
                    <a:pt x="117" y="375"/>
                  </a:lnTo>
                  <a:lnTo>
                    <a:pt x="118" y="374"/>
                  </a:lnTo>
                  <a:lnTo>
                    <a:pt x="118" y="373"/>
                  </a:lnTo>
                  <a:lnTo>
                    <a:pt x="119" y="373"/>
                  </a:lnTo>
                  <a:lnTo>
                    <a:pt x="120" y="374"/>
                  </a:lnTo>
                  <a:lnTo>
                    <a:pt x="120" y="374"/>
                  </a:lnTo>
                  <a:lnTo>
                    <a:pt x="122" y="371"/>
                  </a:lnTo>
                  <a:lnTo>
                    <a:pt x="122" y="369"/>
                  </a:lnTo>
                  <a:lnTo>
                    <a:pt x="121" y="368"/>
                  </a:lnTo>
                  <a:lnTo>
                    <a:pt x="118" y="366"/>
                  </a:lnTo>
                  <a:lnTo>
                    <a:pt x="118" y="365"/>
                  </a:lnTo>
                  <a:lnTo>
                    <a:pt x="118" y="364"/>
                  </a:lnTo>
                  <a:lnTo>
                    <a:pt x="118" y="363"/>
                  </a:lnTo>
                  <a:lnTo>
                    <a:pt x="114" y="362"/>
                  </a:lnTo>
                  <a:lnTo>
                    <a:pt x="113" y="362"/>
                  </a:lnTo>
                  <a:lnTo>
                    <a:pt x="112" y="361"/>
                  </a:lnTo>
                  <a:lnTo>
                    <a:pt x="110" y="358"/>
                  </a:lnTo>
                  <a:lnTo>
                    <a:pt x="109" y="355"/>
                  </a:lnTo>
                  <a:lnTo>
                    <a:pt x="110" y="354"/>
                  </a:lnTo>
                  <a:lnTo>
                    <a:pt x="109" y="353"/>
                  </a:lnTo>
                  <a:lnTo>
                    <a:pt x="109" y="352"/>
                  </a:lnTo>
                  <a:lnTo>
                    <a:pt x="109" y="352"/>
                  </a:lnTo>
                  <a:lnTo>
                    <a:pt x="107" y="350"/>
                  </a:lnTo>
                  <a:lnTo>
                    <a:pt x="107" y="347"/>
                  </a:lnTo>
                  <a:lnTo>
                    <a:pt x="107" y="347"/>
                  </a:lnTo>
                  <a:lnTo>
                    <a:pt x="109" y="347"/>
                  </a:lnTo>
                  <a:lnTo>
                    <a:pt x="110" y="346"/>
                  </a:lnTo>
                  <a:lnTo>
                    <a:pt x="113" y="347"/>
                  </a:lnTo>
                  <a:lnTo>
                    <a:pt x="113" y="347"/>
                  </a:lnTo>
                  <a:lnTo>
                    <a:pt x="114" y="345"/>
                  </a:lnTo>
                  <a:lnTo>
                    <a:pt x="116" y="343"/>
                  </a:lnTo>
                  <a:lnTo>
                    <a:pt x="114" y="340"/>
                  </a:lnTo>
                  <a:lnTo>
                    <a:pt x="118" y="340"/>
                  </a:lnTo>
                  <a:lnTo>
                    <a:pt x="118" y="340"/>
                  </a:lnTo>
                  <a:lnTo>
                    <a:pt x="117" y="338"/>
                  </a:lnTo>
                  <a:lnTo>
                    <a:pt x="117" y="337"/>
                  </a:lnTo>
                  <a:lnTo>
                    <a:pt x="118" y="337"/>
                  </a:lnTo>
                  <a:lnTo>
                    <a:pt x="118" y="336"/>
                  </a:lnTo>
                  <a:lnTo>
                    <a:pt x="118" y="335"/>
                  </a:lnTo>
                  <a:lnTo>
                    <a:pt x="120" y="334"/>
                  </a:lnTo>
                  <a:lnTo>
                    <a:pt x="119" y="332"/>
                  </a:lnTo>
                  <a:lnTo>
                    <a:pt x="120" y="331"/>
                  </a:lnTo>
                  <a:lnTo>
                    <a:pt x="120" y="325"/>
                  </a:lnTo>
                  <a:lnTo>
                    <a:pt x="120" y="325"/>
                  </a:lnTo>
                  <a:lnTo>
                    <a:pt x="120" y="323"/>
                  </a:lnTo>
                  <a:lnTo>
                    <a:pt x="121" y="321"/>
                  </a:lnTo>
                  <a:lnTo>
                    <a:pt x="120" y="320"/>
                  </a:lnTo>
                  <a:lnTo>
                    <a:pt x="120" y="320"/>
                  </a:lnTo>
                  <a:lnTo>
                    <a:pt x="119" y="320"/>
                  </a:lnTo>
                  <a:lnTo>
                    <a:pt x="117" y="322"/>
                  </a:lnTo>
                  <a:lnTo>
                    <a:pt x="117" y="322"/>
                  </a:lnTo>
                  <a:lnTo>
                    <a:pt x="116" y="321"/>
                  </a:lnTo>
                  <a:lnTo>
                    <a:pt x="113" y="317"/>
                  </a:lnTo>
                  <a:lnTo>
                    <a:pt x="112" y="318"/>
                  </a:lnTo>
                  <a:lnTo>
                    <a:pt x="112" y="318"/>
                  </a:lnTo>
                  <a:lnTo>
                    <a:pt x="111" y="317"/>
                  </a:lnTo>
                  <a:lnTo>
                    <a:pt x="110" y="317"/>
                  </a:lnTo>
                  <a:lnTo>
                    <a:pt x="109" y="316"/>
                  </a:lnTo>
                  <a:lnTo>
                    <a:pt x="108" y="314"/>
                  </a:lnTo>
                  <a:lnTo>
                    <a:pt x="107" y="314"/>
                  </a:lnTo>
                  <a:lnTo>
                    <a:pt x="107" y="313"/>
                  </a:lnTo>
                  <a:lnTo>
                    <a:pt x="106" y="313"/>
                  </a:lnTo>
                  <a:lnTo>
                    <a:pt x="104" y="313"/>
                  </a:lnTo>
                  <a:lnTo>
                    <a:pt x="103" y="312"/>
                  </a:lnTo>
                  <a:lnTo>
                    <a:pt x="102" y="311"/>
                  </a:lnTo>
                  <a:lnTo>
                    <a:pt x="102" y="311"/>
                  </a:lnTo>
                  <a:lnTo>
                    <a:pt x="100" y="312"/>
                  </a:lnTo>
                  <a:lnTo>
                    <a:pt x="99" y="312"/>
                  </a:lnTo>
                  <a:lnTo>
                    <a:pt x="98" y="313"/>
                  </a:lnTo>
                  <a:lnTo>
                    <a:pt x="93" y="313"/>
                  </a:lnTo>
                  <a:lnTo>
                    <a:pt x="92" y="315"/>
                  </a:lnTo>
                  <a:lnTo>
                    <a:pt x="89" y="316"/>
                  </a:lnTo>
                  <a:lnTo>
                    <a:pt x="88" y="317"/>
                  </a:lnTo>
                  <a:lnTo>
                    <a:pt x="87" y="320"/>
                  </a:lnTo>
                  <a:lnTo>
                    <a:pt x="86" y="320"/>
                  </a:lnTo>
                  <a:lnTo>
                    <a:pt x="84" y="321"/>
                  </a:lnTo>
                  <a:lnTo>
                    <a:pt x="82" y="320"/>
                  </a:lnTo>
                  <a:lnTo>
                    <a:pt x="81" y="321"/>
                  </a:lnTo>
                  <a:lnTo>
                    <a:pt x="80" y="321"/>
                  </a:lnTo>
                  <a:lnTo>
                    <a:pt x="77" y="321"/>
                  </a:lnTo>
                  <a:lnTo>
                    <a:pt x="75" y="320"/>
                  </a:lnTo>
                  <a:lnTo>
                    <a:pt x="72" y="320"/>
                  </a:lnTo>
                  <a:lnTo>
                    <a:pt x="70" y="318"/>
                  </a:lnTo>
                  <a:lnTo>
                    <a:pt x="66" y="316"/>
                  </a:lnTo>
                  <a:lnTo>
                    <a:pt x="62" y="315"/>
                  </a:lnTo>
                  <a:lnTo>
                    <a:pt x="61" y="313"/>
                  </a:lnTo>
                  <a:lnTo>
                    <a:pt x="61" y="312"/>
                  </a:lnTo>
                  <a:lnTo>
                    <a:pt x="60" y="313"/>
                  </a:lnTo>
                  <a:lnTo>
                    <a:pt x="59" y="313"/>
                  </a:lnTo>
                  <a:lnTo>
                    <a:pt x="58" y="313"/>
                  </a:lnTo>
                  <a:lnTo>
                    <a:pt x="57" y="314"/>
                  </a:lnTo>
                  <a:lnTo>
                    <a:pt x="56" y="314"/>
                  </a:lnTo>
                  <a:lnTo>
                    <a:pt x="53" y="311"/>
                  </a:lnTo>
                  <a:lnTo>
                    <a:pt x="51" y="310"/>
                  </a:lnTo>
                  <a:lnTo>
                    <a:pt x="50" y="310"/>
                  </a:lnTo>
                  <a:lnTo>
                    <a:pt x="50" y="308"/>
                  </a:lnTo>
                  <a:lnTo>
                    <a:pt x="51" y="308"/>
                  </a:lnTo>
                  <a:lnTo>
                    <a:pt x="51" y="307"/>
                  </a:lnTo>
                  <a:lnTo>
                    <a:pt x="51" y="306"/>
                  </a:lnTo>
                  <a:lnTo>
                    <a:pt x="50" y="305"/>
                  </a:lnTo>
                  <a:lnTo>
                    <a:pt x="50" y="303"/>
                  </a:lnTo>
                  <a:lnTo>
                    <a:pt x="50" y="302"/>
                  </a:lnTo>
                  <a:lnTo>
                    <a:pt x="49" y="301"/>
                  </a:lnTo>
                  <a:lnTo>
                    <a:pt x="47" y="298"/>
                  </a:lnTo>
                  <a:lnTo>
                    <a:pt x="43" y="296"/>
                  </a:lnTo>
                  <a:lnTo>
                    <a:pt x="42" y="296"/>
                  </a:lnTo>
                  <a:lnTo>
                    <a:pt x="40" y="298"/>
                  </a:lnTo>
                  <a:lnTo>
                    <a:pt x="40" y="297"/>
                  </a:lnTo>
                  <a:lnTo>
                    <a:pt x="39" y="294"/>
                  </a:lnTo>
                  <a:lnTo>
                    <a:pt x="38" y="294"/>
                  </a:lnTo>
                  <a:lnTo>
                    <a:pt x="37" y="294"/>
                  </a:lnTo>
                  <a:lnTo>
                    <a:pt x="35" y="293"/>
                  </a:lnTo>
                  <a:lnTo>
                    <a:pt x="33" y="293"/>
                  </a:lnTo>
                  <a:lnTo>
                    <a:pt x="30" y="294"/>
                  </a:lnTo>
                  <a:lnTo>
                    <a:pt x="27" y="293"/>
                  </a:lnTo>
                  <a:lnTo>
                    <a:pt x="27" y="292"/>
                  </a:lnTo>
                  <a:lnTo>
                    <a:pt x="26" y="291"/>
                  </a:lnTo>
                  <a:lnTo>
                    <a:pt x="25" y="291"/>
                  </a:lnTo>
                  <a:lnTo>
                    <a:pt x="23" y="290"/>
                  </a:lnTo>
                  <a:lnTo>
                    <a:pt x="25" y="287"/>
                  </a:lnTo>
                  <a:lnTo>
                    <a:pt x="26" y="287"/>
                  </a:lnTo>
                  <a:lnTo>
                    <a:pt x="28" y="287"/>
                  </a:lnTo>
                  <a:lnTo>
                    <a:pt x="28" y="287"/>
                  </a:lnTo>
                  <a:lnTo>
                    <a:pt x="28" y="287"/>
                  </a:lnTo>
                  <a:lnTo>
                    <a:pt x="30" y="288"/>
                  </a:lnTo>
                  <a:lnTo>
                    <a:pt x="30" y="288"/>
                  </a:lnTo>
                  <a:lnTo>
                    <a:pt x="28" y="278"/>
                  </a:lnTo>
                  <a:lnTo>
                    <a:pt x="23" y="273"/>
                  </a:lnTo>
                  <a:lnTo>
                    <a:pt x="22" y="267"/>
                  </a:lnTo>
                  <a:lnTo>
                    <a:pt x="19" y="264"/>
                  </a:lnTo>
                  <a:lnTo>
                    <a:pt x="15" y="264"/>
                  </a:lnTo>
                  <a:lnTo>
                    <a:pt x="9" y="265"/>
                  </a:lnTo>
                  <a:lnTo>
                    <a:pt x="6" y="264"/>
                  </a:lnTo>
                  <a:lnTo>
                    <a:pt x="2" y="260"/>
                  </a:lnTo>
                  <a:lnTo>
                    <a:pt x="1" y="254"/>
                  </a:lnTo>
                  <a:lnTo>
                    <a:pt x="1" y="245"/>
                  </a:lnTo>
                  <a:lnTo>
                    <a:pt x="0" y="243"/>
                  </a:lnTo>
                  <a:lnTo>
                    <a:pt x="1" y="237"/>
                  </a:lnTo>
                  <a:lnTo>
                    <a:pt x="9" y="234"/>
                  </a:lnTo>
                  <a:lnTo>
                    <a:pt x="10" y="233"/>
                  </a:lnTo>
                  <a:lnTo>
                    <a:pt x="11" y="233"/>
                  </a:lnTo>
                  <a:lnTo>
                    <a:pt x="12" y="230"/>
                  </a:lnTo>
                  <a:lnTo>
                    <a:pt x="16" y="230"/>
                  </a:lnTo>
                  <a:lnTo>
                    <a:pt x="19" y="229"/>
                  </a:lnTo>
                  <a:lnTo>
                    <a:pt x="21" y="229"/>
                  </a:lnTo>
                  <a:lnTo>
                    <a:pt x="25" y="232"/>
                  </a:lnTo>
                  <a:lnTo>
                    <a:pt x="27" y="233"/>
                  </a:lnTo>
                  <a:lnTo>
                    <a:pt x="31" y="232"/>
                  </a:lnTo>
                  <a:lnTo>
                    <a:pt x="35" y="232"/>
                  </a:lnTo>
                  <a:lnTo>
                    <a:pt x="37" y="230"/>
                  </a:lnTo>
                  <a:lnTo>
                    <a:pt x="37" y="225"/>
                  </a:lnTo>
                  <a:lnTo>
                    <a:pt x="39" y="222"/>
                  </a:lnTo>
                  <a:lnTo>
                    <a:pt x="42" y="221"/>
                  </a:lnTo>
                  <a:lnTo>
                    <a:pt x="48" y="221"/>
                  </a:lnTo>
                  <a:lnTo>
                    <a:pt x="55" y="220"/>
                  </a:lnTo>
                  <a:lnTo>
                    <a:pt x="58" y="219"/>
                  </a:lnTo>
                  <a:lnTo>
                    <a:pt x="59" y="215"/>
                  </a:lnTo>
                  <a:lnTo>
                    <a:pt x="61" y="212"/>
                  </a:lnTo>
                  <a:lnTo>
                    <a:pt x="69" y="206"/>
                  </a:lnTo>
                  <a:lnTo>
                    <a:pt x="78" y="204"/>
                  </a:lnTo>
                  <a:lnTo>
                    <a:pt x="80" y="202"/>
                  </a:lnTo>
                  <a:lnTo>
                    <a:pt x="81" y="199"/>
                  </a:lnTo>
                  <a:lnTo>
                    <a:pt x="78" y="192"/>
                  </a:lnTo>
                  <a:lnTo>
                    <a:pt x="78" y="189"/>
                  </a:lnTo>
                  <a:lnTo>
                    <a:pt x="79" y="186"/>
                  </a:lnTo>
                  <a:lnTo>
                    <a:pt x="78" y="184"/>
                  </a:lnTo>
                  <a:lnTo>
                    <a:pt x="80" y="182"/>
                  </a:lnTo>
                  <a:lnTo>
                    <a:pt x="79" y="178"/>
                  </a:lnTo>
                  <a:lnTo>
                    <a:pt x="75" y="172"/>
                  </a:lnTo>
                  <a:lnTo>
                    <a:pt x="71" y="169"/>
                  </a:lnTo>
                  <a:lnTo>
                    <a:pt x="69" y="165"/>
                  </a:lnTo>
                  <a:lnTo>
                    <a:pt x="65" y="156"/>
                  </a:lnTo>
                  <a:lnTo>
                    <a:pt x="61" y="153"/>
                  </a:lnTo>
                  <a:lnTo>
                    <a:pt x="58" y="151"/>
                  </a:lnTo>
                  <a:lnTo>
                    <a:pt x="60" y="150"/>
                  </a:lnTo>
                  <a:lnTo>
                    <a:pt x="65" y="148"/>
                  </a:lnTo>
                  <a:lnTo>
                    <a:pt x="69" y="148"/>
                  </a:lnTo>
                  <a:lnTo>
                    <a:pt x="73" y="145"/>
                  </a:lnTo>
                  <a:lnTo>
                    <a:pt x="88" y="144"/>
                  </a:lnTo>
                  <a:lnTo>
                    <a:pt x="90" y="143"/>
                  </a:lnTo>
                  <a:lnTo>
                    <a:pt x="87" y="140"/>
                  </a:lnTo>
                  <a:lnTo>
                    <a:pt x="84" y="136"/>
                  </a:lnTo>
                  <a:lnTo>
                    <a:pt x="83" y="132"/>
                  </a:lnTo>
                  <a:lnTo>
                    <a:pt x="83" y="126"/>
                  </a:lnTo>
                  <a:lnTo>
                    <a:pt x="83" y="120"/>
                  </a:lnTo>
                  <a:lnTo>
                    <a:pt x="83" y="114"/>
                  </a:lnTo>
                  <a:lnTo>
                    <a:pt x="84" y="110"/>
                  </a:lnTo>
                  <a:lnTo>
                    <a:pt x="90" y="110"/>
                  </a:lnTo>
                  <a:lnTo>
                    <a:pt x="93" y="111"/>
                  </a:lnTo>
                  <a:lnTo>
                    <a:pt x="99" y="113"/>
                  </a:lnTo>
                  <a:lnTo>
                    <a:pt x="108" y="112"/>
                  </a:lnTo>
                  <a:lnTo>
                    <a:pt x="111" y="114"/>
                  </a:lnTo>
                  <a:lnTo>
                    <a:pt x="114" y="115"/>
                  </a:lnTo>
                  <a:lnTo>
                    <a:pt x="117" y="113"/>
                  </a:lnTo>
                  <a:lnTo>
                    <a:pt x="122" y="111"/>
                  </a:lnTo>
                  <a:lnTo>
                    <a:pt x="119" y="103"/>
                  </a:lnTo>
                  <a:lnTo>
                    <a:pt x="117" y="98"/>
                  </a:lnTo>
                  <a:lnTo>
                    <a:pt x="116" y="93"/>
                  </a:lnTo>
                  <a:lnTo>
                    <a:pt x="116" y="89"/>
                  </a:lnTo>
                  <a:lnTo>
                    <a:pt x="120" y="89"/>
                  </a:lnTo>
                  <a:lnTo>
                    <a:pt x="124" y="88"/>
                  </a:lnTo>
                  <a:lnTo>
                    <a:pt x="128" y="84"/>
                  </a:lnTo>
                  <a:lnTo>
                    <a:pt x="128" y="80"/>
                  </a:lnTo>
                  <a:lnTo>
                    <a:pt x="134" y="81"/>
                  </a:lnTo>
                  <a:lnTo>
                    <a:pt x="138" y="78"/>
                  </a:lnTo>
                  <a:lnTo>
                    <a:pt x="139" y="78"/>
                  </a:lnTo>
                  <a:lnTo>
                    <a:pt x="139" y="79"/>
                  </a:lnTo>
                  <a:lnTo>
                    <a:pt x="141" y="81"/>
                  </a:lnTo>
                  <a:lnTo>
                    <a:pt x="147" y="87"/>
                  </a:lnTo>
                  <a:lnTo>
                    <a:pt x="157" y="91"/>
                  </a:lnTo>
                  <a:lnTo>
                    <a:pt x="161" y="95"/>
                  </a:lnTo>
                  <a:lnTo>
                    <a:pt x="165" y="99"/>
                  </a:lnTo>
                  <a:lnTo>
                    <a:pt x="167" y="95"/>
                  </a:lnTo>
                  <a:lnTo>
                    <a:pt x="171" y="97"/>
                  </a:lnTo>
                  <a:lnTo>
                    <a:pt x="175" y="99"/>
                  </a:lnTo>
                  <a:lnTo>
                    <a:pt x="180" y="99"/>
                  </a:lnTo>
                  <a:lnTo>
                    <a:pt x="184" y="102"/>
                  </a:lnTo>
                  <a:lnTo>
                    <a:pt x="189" y="108"/>
                  </a:lnTo>
                  <a:lnTo>
                    <a:pt x="193" y="111"/>
                  </a:lnTo>
                  <a:lnTo>
                    <a:pt x="200" y="121"/>
                  </a:lnTo>
                  <a:lnTo>
                    <a:pt x="203" y="126"/>
                  </a:lnTo>
                  <a:lnTo>
                    <a:pt x="207" y="131"/>
                  </a:lnTo>
                  <a:lnTo>
                    <a:pt x="208" y="135"/>
                  </a:lnTo>
                  <a:lnTo>
                    <a:pt x="208" y="140"/>
                  </a:lnTo>
                  <a:lnTo>
                    <a:pt x="209" y="143"/>
                  </a:lnTo>
                  <a:lnTo>
                    <a:pt x="211" y="144"/>
                  </a:lnTo>
                  <a:lnTo>
                    <a:pt x="217" y="145"/>
                  </a:lnTo>
                  <a:lnTo>
                    <a:pt x="224" y="146"/>
                  </a:lnTo>
                  <a:lnTo>
                    <a:pt x="234" y="149"/>
                  </a:lnTo>
                  <a:lnTo>
                    <a:pt x="238" y="149"/>
                  </a:lnTo>
                  <a:lnTo>
                    <a:pt x="240" y="148"/>
                  </a:lnTo>
                  <a:lnTo>
                    <a:pt x="243" y="148"/>
                  </a:lnTo>
                  <a:lnTo>
                    <a:pt x="248" y="150"/>
                  </a:lnTo>
                  <a:lnTo>
                    <a:pt x="256" y="152"/>
                  </a:lnTo>
                  <a:lnTo>
                    <a:pt x="261" y="154"/>
                  </a:lnTo>
                  <a:lnTo>
                    <a:pt x="266" y="155"/>
                  </a:lnTo>
                  <a:lnTo>
                    <a:pt x="275" y="158"/>
                  </a:lnTo>
                  <a:lnTo>
                    <a:pt x="280" y="160"/>
                  </a:lnTo>
                  <a:lnTo>
                    <a:pt x="283" y="161"/>
                  </a:lnTo>
                  <a:lnTo>
                    <a:pt x="288" y="164"/>
                  </a:lnTo>
                  <a:lnTo>
                    <a:pt x="292" y="168"/>
                  </a:lnTo>
                  <a:lnTo>
                    <a:pt x="296" y="173"/>
                  </a:lnTo>
                  <a:lnTo>
                    <a:pt x="302" y="178"/>
                  </a:lnTo>
                  <a:lnTo>
                    <a:pt x="306" y="181"/>
                  </a:lnTo>
                  <a:lnTo>
                    <a:pt x="312" y="184"/>
                  </a:lnTo>
                  <a:lnTo>
                    <a:pt x="318" y="188"/>
                  </a:lnTo>
                  <a:lnTo>
                    <a:pt x="322" y="190"/>
                  </a:lnTo>
                  <a:lnTo>
                    <a:pt x="327" y="190"/>
                  </a:lnTo>
                  <a:lnTo>
                    <a:pt x="365" y="188"/>
                  </a:lnTo>
                  <a:lnTo>
                    <a:pt x="370" y="186"/>
                  </a:lnTo>
                  <a:lnTo>
                    <a:pt x="375" y="188"/>
                  </a:lnTo>
                  <a:lnTo>
                    <a:pt x="385" y="190"/>
                  </a:lnTo>
                  <a:lnTo>
                    <a:pt x="389" y="191"/>
                  </a:lnTo>
                  <a:lnTo>
                    <a:pt x="392" y="193"/>
                  </a:lnTo>
                  <a:lnTo>
                    <a:pt x="397" y="196"/>
                  </a:lnTo>
                  <a:lnTo>
                    <a:pt x="404" y="199"/>
                  </a:lnTo>
                  <a:lnTo>
                    <a:pt x="414" y="201"/>
                  </a:lnTo>
                  <a:lnTo>
                    <a:pt x="421" y="204"/>
                  </a:lnTo>
                  <a:lnTo>
                    <a:pt x="427" y="205"/>
                  </a:lnTo>
                  <a:lnTo>
                    <a:pt x="435" y="206"/>
                  </a:lnTo>
                  <a:lnTo>
                    <a:pt x="436" y="206"/>
                  </a:lnTo>
                  <a:lnTo>
                    <a:pt x="441" y="209"/>
                  </a:lnTo>
                  <a:lnTo>
                    <a:pt x="444" y="210"/>
                  </a:lnTo>
                  <a:lnTo>
                    <a:pt x="446" y="209"/>
                  </a:lnTo>
                  <a:lnTo>
                    <a:pt x="451" y="205"/>
                  </a:lnTo>
                  <a:lnTo>
                    <a:pt x="456" y="203"/>
                  </a:lnTo>
                  <a:lnTo>
                    <a:pt x="460" y="202"/>
                  </a:lnTo>
                  <a:lnTo>
                    <a:pt x="463" y="201"/>
                  </a:lnTo>
                  <a:lnTo>
                    <a:pt x="464" y="199"/>
                  </a:lnTo>
                  <a:lnTo>
                    <a:pt x="466" y="199"/>
                  </a:lnTo>
                  <a:lnTo>
                    <a:pt x="475" y="196"/>
                  </a:lnTo>
                  <a:lnTo>
                    <a:pt x="478" y="194"/>
                  </a:lnTo>
                  <a:lnTo>
                    <a:pt x="486" y="195"/>
                  </a:lnTo>
                  <a:lnTo>
                    <a:pt x="489" y="194"/>
                  </a:lnTo>
                  <a:lnTo>
                    <a:pt x="498" y="195"/>
                  </a:lnTo>
                  <a:lnTo>
                    <a:pt x="499" y="195"/>
                  </a:lnTo>
                  <a:lnTo>
                    <a:pt x="506" y="194"/>
                  </a:lnTo>
                  <a:lnTo>
                    <a:pt x="513" y="192"/>
                  </a:lnTo>
                  <a:lnTo>
                    <a:pt x="516" y="190"/>
                  </a:lnTo>
                  <a:lnTo>
                    <a:pt x="519" y="186"/>
                  </a:lnTo>
                  <a:lnTo>
                    <a:pt x="519" y="183"/>
                  </a:lnTo>
                  <a:lnTo>
                    <a:pt x="529" y="171"/>
                  </a:lnTo>
                  <a:lnTo>
                    <a:pt x="526" y="168"/>
                  </a:lnTo>
                  <a:lnTo>
                    <a:pt x="517" y="161"/>
                  </a:lnTo>
                  <a:lnTo>
                    <a:pt x="516" y="158"/>
                  </a:lnTo>
                  <a:lnTo>
                    <a:pt x="517" y="153"/>
                  </a:lnTo>
                  <a:lnTo>
                    <a:pt x="517" y="149"/>
                  </a:lnTo>
                  <a:lnTo>
                    <a:pt x="522" y="148"/>
                  </a:lnTo>
                  <a:lnTo>
                    <a:pt x="527" y="149"/>
                  </a:lnTo>
                  <a:lnTo>
                    <a:pt x="532" y="152"/>
                  </a:lnTo>
                  <a:lnTo>
                    <a:pt x="537" y="153"/>
                  </a:lnTo>
                  <a:lnTo>
                    <a:pt x="543" y="153"/>
                  </a:lnTo>
                  <a:lnTo>
                    <a:pt x="547" y="149"/>
                  </a:lnTo>
                  <a:lnTo>
                    <a:pt x="549" y="144"/>
                  </a:lnTo>
                  <a:lnTo>
                    <a:pt x="552" y="139"/>
                  </a:lnTo>
                  <a:lnTo>
                    <a:pt x="555" y="139"/>
                  </a:lnTo>
                  <a:lnTo>
                    <a:pt x="558" y="139"/>
                  </a:lnTo>
                  <a:lnTo>
                    <a:pt x="559" y="139"/>
                  </a:lnTo>
                  <a:lnTo>
                    <a:pt x="563" y="135"/>
                  </a:lnTo>
                  <a:lnTo>
                    <a:pt x="569" y="123"/>
                  </a:lnTo>
                  <a:lnTo>
                    <a:pt x="570" y="120"/>
                  </a:lnTo>
                  <a:lnTo>
                    <a:pt x="576" y="119"/>
                  </a:lnTo>
                  <a:lnTo>
                    <a:pt x="583" y="120"/>
                  </a:lnTo>
                  <a:lnTo>
                    <a:pt x="588" y="119"/>
                  </a:lnTo>
                  <a:lnTo>
                    <a:pt x="594" y="118"/>
                  </a:lnTo>
                  <a:lnTo>
                    <a:pt x="600" y="119"/>
                  </a:lnTo>
                  <a:lnTo>
                    <a:pt x="605" y="119"/>
                  </a:lnTo>
                  <a:lnTo>
                    <a:pt x="607" y="118"/>
                  </a:lnTo>
                  <a:lnTo>
                    <a:pt x="605" y="115"/>
                  </a:lnTo>
                  <a:lnTo>
                    <a:pt x="600" y="113"/>
                  </a:lnTo>
                  <a:lnTo>
                    <a:pt x="599" y="111"/>
                  </a:lnTo>
                  <a:lnTo>
                    <a:pt x="597" y="109"/>
                  </a:lnTo>
                  <a:lnTo>
                    <a:pt x="594" y="105"/>
                  </a:lnTo>
                  <a:lnTo>
                    <a:pt x="584" y="100"/>
                  </a:lnTo>
                  <a:lnTo>
                    <a:pt x="578" y="97"/>
                  </a:lnTo>
                  <a:lnTo>
                    <a:pt x="575" y="94"/>
                  </a:lnTo>
                  <a:lnTo>
                    <a:pt x="570" y="99"/>
                  </a:lnTo>
                  <a:lnTo>
                    <a:pt x="567" y="101"/>
                  </a:lnTo>
                  <a:lnTo>
                    <a:pt x="562" y="103"/>
                  </a:lnTo>
                  <a:lnTo>
                    <a:pt x="555" y="103"/>
                  </a:lnTo>
                  <a:lnTo>
                    <a:pt x="544" y="101"/>
                  </a:lnTo>
                  <a:lnTo>
                    <a:pt x="539" y="98"/>
                  </a:lnTo>
                  <a:lnTo>
                    <a:pt x="536" y="93"/>
                  </a:lnTo>
                  <a:lnTo>
                    <a:pt x="533" y="89"/>
                  </a:lnTo>
                  <a:lnTo>
                    <a:pt x="533" y="85"/>
                  </a:lnTo>
                  <a:lnTo>
                    <a:pt x="532" y="81"/>
                  </a:lnTo>
                  <a:lnTo>
                    <a:pt x="528" y="78"/>
                  </a:lnTo>
                  <a:lnTo>
                    <a:pt x="526" y="74"/>
                  </a:lnTo>
                  <a:lnTo>
                    <a:pt x="526" y="72"/>
                  </a:lnTo>
                  <a:lnTo>
                    <a:pt x="527" y="69"/>
                  </a:lnTo>
                  <a:lnTo>
                    <a:pt x="527" y="63"/>
                  </a:lnTo>
                  <a:lnTo>
                    <a:pt x="528" y="61"/>
                  </a:lnTo>
                  <a:lnTo>
                    <a:pt x="528" y="60"/>
                  </a:lnTo>
                  <a:lnTo>
                    <a:pt x="531" y="61"/>
                  </a:lnTo>
                  <a:lnTo>
                    <a:pt x="536" y="63"/>
                  </a:lnTo>
                  <a:lnTo>
                    <a:pt x="545" y="65"/>
                  </a:lnTo>
                  <a:lnTo>
                    <a:pt x="553" y="68"/>
                  </a:lnTo>
                  <a:lnTo>
                    <a:pt x="556" y="67"/>
                  </a:lnTo>
                  <a:lnTo>
                    <a:pt x="558" y="64"/>
                  </a:lnTo>
                  <a:lnTo>
                    <a:pt x="566" y="58"/>
                  </a:lnTo>
                  <a:lnTo>
                    <a:pt x="566" y="57"/>
                  </a:lnTo>
                  <a:lnTo>
                    <a:pt x="564" y="54"/>
                  </a:lnTo>
                  <a:lnTo>
                    <a:pt x="563" y="52"/>
                  </a:lnTo>
                  <a:lnTo>
                    <a:pt x="564" y="49"/>
                  </a:lnTo>
                  <a:lnTo>
                    <a:pt x="564" y="47"/>
                  </a:lnTo>
                  <a:lnTo>
                    <a:pt x="562" y="41"/>
                  </a:lnTo>
                  <a:lnTo>
                    <a:pt x="559" y="37"/>
                  </a:lnTo>
                  <a:lnTo>
                    <a:pt x="559" y="33"/>
                  </a:lnTo>
                  <a:lnTo>
                    <a:pt x="562" y="31"/>
                  </a:lnTo>
                  <a:lnTo>
                    <a:pt x="565" y="25"/>
                  </a:lnTo>
                  <a:lnTo>
                    <a:pt x="564" y="24"/>
                  </a:lnTo>
                  <a:lnTo>
                    <a:pt x="561" y="22"/>
                  </a:lnTo>
                  <a:lnTo>
                    <a:pt x="557" y="18"/>
                  </a:lnTo>
                  <a:lnTo>
                    <a:pt x="556" y="17"/>
                  </a:lnTo>
                  <a:lnTo>
                    <a:pt x="553" y="17"/>
                  </a:lnTo>
                  <a:lnTo>
                    <a:pt x="548" y="18"/>
                  </a:lnTo>
                  <a:lnTo>
                    <a:pt x="547" y="17"/>
                  </a:lnTo>
                  <a:lnTo>
                    <a:pt x="546" y="14"/>
                  </a:lnTo>
                  <a:lnTo>
                    <a:pt x="549" y="10"/>
                  </a:lnTo>
                  <a:lnTo>
                    <a:pt x="549" y="7"/>
                  </a:lnTo>
                  <a:lnTo>
                    <a:pt x="552" y="4"/>
                  </a:lnTo>
                  <a:lnTo>
                    <a:pt x="559" y="3"/>
                  </a:lnTo>
                  <a:lnTo>
                    <a:pt x="567" y="1"/>
                  </a:lnTo>
                  <a:lnTo>
                    <a:pt x="574" y="1"/>
                  </a:lnTo>
                  <a:lnTo>
                    <a:pt x="582" y="0"/>
                  </a:lnTo>
                  <a:lnTo>
                    <a:pt x="584" y="0"/>
                  </a:lnTo>
                  <a:lnTo>
                    <a:pt x="590" y="1"/>
                  </a:lnTo>
                  <a:lnTo>
                    <a:pt x="596" y="4"/>
                  </a:lnTo>
                  <a:lnTo>
                    <a:pt x="600" y="7"/>
                  </a:lnTo>
                  <a:lnTo>
                    <a:pt x="605" y="7"/>
                  </a:lnTo>
                  <a:lnTo>
                    <a:pt x="609" y="7"/>
                  </a:lnTo>
                  <a:lnTo>
                    <a:pt x="614" y="7"/>
                  </a:lnTo>
                  <a:lnTo>
                    <a:pt x="618" y="8"/>
                  </a:lnTo>
                  <a:lnTo>
                    <a:pt x="623" y="11"/>
                  </a:lnTo>
                  <a:lnTo>
                    <a:pt x="628" y="14"/>
                  </a:lnTo>
                  <a:lnTo>
                    <a:pt x="630" y="17"/>
                  </a:lnTo>
                  <a:lnTo>
                    <a:pt x="634" y="19"/>
                  </a:lnTo>
                  <a:lnTo>
                    <a:pt x="637" y="20"/>
                  </a:lnTo>
                  <a:lnTo>
                    <a:pt x="638" y="21"/>
                  </a:lnTo>
                  <a:lnTo>
                    <a:pt x="638" y="20"/>
                  </a:lnTo>
                  <a:lnTo>
                    <a:pt x="640" y="23"/>
                  </a:lnTo>
                  <a:lnTo>
                    <a:pt x="644" y="25"/>
                  </a:lnTo>
                  <a:lnTo>
                    <a:pt x="647" y="30"/>
                  </a:lnTo>
                  <a:lnTo>
                    <a:pt x="653" y="33"/>
                  </a:lnTo>
                  <a:lnTo>
                    <a:pt x="656" y="37"/>
                  </a:lnTo>
                  <a:lnTo>
                    <a:pt x="667" y="44"/>
                  </a:lnTo>
                  <a:lnTo>
                    <a:pt x="675" y="53"/>
                  </a:lnTo>
                  <a:lnTo>
                    <a:pt x="679" y="57"/>
                  </a:lnTo>
                  <a:lnTo>
                    <a:pt x="680" y="58"/>
                  </a:lnTo>
                  <a:lnTo>
                    <a:pt x="680" y="58"/>
                  </a:lnTo>
                  <a:lnTo>
                    <a:pt x="684" y="62"/>
                  </a:lnTo>
                  <a:lnTo>
                    <a:pt x="687" y="67"/>
                  </a:lnTo>
                  <a:lnTo>
                    <a:pt x="691" y="69"/>
                  </a:lnTo>
                  <a:lnTo>
                    <a:pt x="698" y="69"/>
                  </a:lnTo>
                  <a:lnTo>
                    <a:pt x="703" y="68"/>
                  </a:lnTo>
                  <a:lnTo>
                    <a:pt x="707" y="69"/>
                  </a:lnTo>
                  <a:lnTo>
                    <a:pt x="713" y="70"/>
                  </a:lnTo>
                  <a:lnTo>
                    <a:pt x="718" y="71"/>
                  </a:lnTo>
                  <a:lnTo>
                    <a:pt x="730" y="78"/>
                  </a:lnTo>
                  <a:lnTo>
                    <a:pt x="736" y="79"/>
                  </a:lnTo>
                  <a:lnTo>
                    <a:pt x="739" y="79"/>
                  </a:lnTo>
                  <a:lnTo>
                    <a:pt x="741" y="81"/>
                  </a:lnTo>
                  <a:lnTo>
                    <a:pt x="742" y="82"/>
                  </a:lnTo>
                  <a:lnTo>
                    <a:pt x="742" y="81"/>
                  </a:lnTo>
                  <a:lnTo>
                    <a:pt x="745" y="84"/>
                  </a:lnTo>
                  <a:lnTo>
                    <a:pt x="748" y="87"/>
                  </a:lnTo>
                  <a:lnTo>
                    <a:pt x="750" y="90"/>
                  </a:lnTo>
                  <a:lnTo>
                    <a:pt x="752" y="94"/>
                  </a:lnTo>
                  <a:lnTo>
                    <a:pt x="758" y="98"/>
                  </a:lnTo>
                  <a:lnTo>
                    <a:pt x="761" y="101"/>
                  </a:lnTo>
                  <a:lnTo>
                    <a:pt x="766" y="100"/>
                  </a:lnTo>
                  <a:lnTo>
                    <a:pt x="771" y="101"/>
                  </a:lnTo>
                  <a:lnTo>
                    <a:pt x="776" y="101"/>
                  </a:lnTo>
                  <a:lnTo>
                    <a:pt x="782" y="98"/>
                  </a:lnTo>
                  <a:lnTo>
                    <a:pt x="787" y="93"/>
                  </a:lnTo>
                  <a:lnTo>
                    <a:pt x="791" y="93"/>
                  </a:lnTo>
                  <a:lnTo>
                    <a:pt x="798" y="89"/>
                  </a:lnTo>
                  <a:lnTo>
                    <a:pt x="805" y="87"/>
                  </a:lnTo>
                  <a:lnTo>
                    <a:pt x="805" y="88"/>
                  </a:lnTo>
                  <a:lnTo>
                    <a:pt x="805" y="91"/>
                  </a:lnTo>
                  <a:lnTo>
                    <a:pt x="808" y="94"/>
                  </a:lnTo>
                  <a:lnTo>
                    <a:pt x="811" y="98"/>
                  </a:lnTo>
                  <a:lnTo>
                    <a:pt x="813" y="102"/>
                  </a:lnTo>
                  <a:lnTo>
                    <a:pt x="812" y="104"/>
                  </a:lnTo>
                  <a:lnTo>
                    <a:pt x="811" y="108"/>
                  </a:lnTo>
                  <a:lnTo>
                    <a:pt x="813" y="112"/>
                  </a:lnTo>
                  <a:lnTo>
                    <a:pt x="815" y="120"/>
                  </a:lnTo>
                  <a:lnTo>
                    <a:pt x="819" y="129"/>
                  </a:lnTo>
                  <a:lnTo>
                    <a:pt x="819" y="138"/>
                  </a:lnTo>
                  <a:lnTo>
                    <a:pt x="819" y="142"/>
                  </a:lnTo>
                  <a:lnTo>
                    <a:pt x="820" y="146"/>
                  </a:lnTo>
                  <a:lnTo>
                    <a:pt x="819" y="149"/>
                  </a:lnTo>
                  <a:lnTo>
                    <a:pt x="817" y="148"/>
                  </a:lnTo>
                  <a:lnTo>
                    <a:pt x="802" y="144"/>
                  </a:lnTo>
                  <a:lnTo>
                    <a:pt x="799" y="146"/>
                  </a:lnTo>
                  <a:lnTo>
                    <a:pt x="795" y="154"/>
                  </a:lnTo>
                  <a:lnTo>
                    <a:pt x="799" y="158"/>
                  </a:lnTo>
                  <a:lnTo>
                    <a:pt x="805" y="164"/>
                  </a:lnTo>
                  <a:lnTo>
                    <a:pt x="813" y="178"/>
                  </a:lnTo>
                  <a:lnTo>
                    <a:pt x="813" y="184"/>
                  </a:lnTo>
                  <a:lnTo>
                    <a:pt x="810" y="188"/>
                  </a:lnTo>
                  <a:lnTo>
                    <a:pt x="812" y="192"/>
                  </a:lnTo>
                  <a:lnTo>
                    <a:pt x="810" y="192"/>
                  </a:lnTo>
                  <a:lnTo>
                    <a:pt x="806" y="189"/>
                  </a:lnTo>
                  <a:lnTo>
                    <a:pt x="801" y="186"/>
                  </a:lnTo>
                  <a:lnTo>
                    <a:pt x="800" y="188"/>
                  </a:lnTo>
                  <a:lnTo>
                    <a:pt x="801" y="193"/>
                  </a:lnTo>
                  <a:lnTo>
                    <a:pt x="800" y="196"/>
                  </a:lnTo>
                  <a:lnTo>
                    <a:pt x="796" y="202"/>
                  </a:lnTo>
                  <a:lnTo>
                    <a:pt x="790" y="204"/>
                  </a:lnTo>
                  <a:lnTo>
                    <a:pt x="785" y="204"/>
                  </a:lnTo>
                  <a:lnTo>
                    <a:pt x="785" y="205"/>
                  </a:lnTo>
                  <a:lnTo>
                    <a:pt x="790" y="214"/>
                  </a:lnTo>
                  <a:lnTo>
                    <a:pt x="780" y="214"/>
                  </a:lnTo>
                  <a:lnTo>
                    <a:pt x="775" y="212"/>
                  </a:lnTo>
                  <a:lnTo>
                    <a:pt x="769" y="211"/>
                  </a:lnTo>
                  <a:lnTo>
                    <a:pt x="767" y="213"/>
                  </a:lnTo>
                  <a:lnTo>
                    <a:pt x="765" y="221"/>
                  </a:lnTo>
                  <a:lnTo>
                    <a:pt x="761" y="224"/>
                  </a:lnTo>
                  <a:lnTo>
                    <a:pt x="754" y="230"/>
                  </a:lnTo>
                  <a:lnTo>
                    <a:pt x="750" y="231"/>
                  </a:lnTo>
                  <a:lnTo>
                    <a:pt x="748" y="240"/>
                  </a:lnTo>
                  <a:lnTo>
                    <a:pt x="748" y="241"/>
                  </a:lnTo>
                  <a:lnTo>
                    <a:pt x="747" y="242"/>
                  </a:lnTo>
                  <a:lnTo>
                    <a:pt x="745" y="243"/>
                  </a:lnTo>
                  <a:lnTo>
                    <a:pt x="741" y="243"/>
                  </a:lnTo>
                  <a:lnTo>
                    <a:pt x="737" y="244"/>
                  </a:lnTo>
                  <a:lnTo>
                    <a:pt x="735" y="243"/>
                  </a:lnTo>
                  <a:lnTo>
                    <a:pt x="734" y="244"/>
                  </a:lnTo>
                  <a:lnTo>
                    <a:pt x="731" y="246"/>
                  </a:lnTo>
                  <a:lnTo>
                    <a:pt x="724" y="251"/>
                  </a:lnTo>
                  <a:lnTo>
                    <a:pt x="723" y="253"/>
                  </a:lnTo>
                  <a:lnTo>
                    <a:pt x="721" y="256"/>
                  </a:lnTo>
                  <a:lnTo>
                    <a:pt x="720" y="258"/>
                  </a:lnTo>
                  <a:lnTo>
                    <a:pt x="717" y="258"/>
                  </a:lnTo>
                  <a:lnTo>
                    <a:pt x="716" y="260"/>
                  </a:lnTo>
                  <a:lnTo>
                    <a:pt x="713" y="262"/>
                  </a:lnTo>
                  <a:lnTo>
                    <a:pt x="710" y="261"/>
                  </a:lnTo>
                  <a:lnTo>
                    <a:pt x="711" y="257"/>
                  </a:lnTo>
                  <a:lnTo>
                    <a:pt x="715" y="256"/>
                  </a:lnTo>
                  <a:lnTo>
                    <a:pt x="715" y="254"/>
                  </a:lnTo>
                  <a:lnTo>
                    <a:pt x="714" y="251"/>
                  </a:lnTo>
                  <a:lnTo>
                    <a:pt x="711" y="250"/>
                  </a:lnTo>
                  <a:lnTo>
                    <a:pt x="708" y="249"/>
                  </a:lnTo>
                  <a:lnTo>
                    <a:pt x="706" y="247"/>
                  </a:lnTo>
                  <a:lnTo>
                    <a:pt x="708" y="246"/>
                  </a:lnTo>
                  <a:lnTo>
                    <a:pt x="707" y="243"/>
                  </a:lnTo>
                  <a:lnTo>
                    <a:pt x="709" y="242"/>
                  </a:lnTo>
                  <a:lnTo>
                    <a:pt x="711" y="234"/>
                  </a:lnTo>
                  <a:lnTo>
                    <a:pt x="711" y="231"/>
                  </a:lnTo>
                  <a:lnTo>
                    <a:pt x="710" y="229"/>
                  </a:lnTo>
                  <a:lnTo>
                    <a:pt x="705" y="225"/>
                  </a:lnTo>
                  <a:lnTo>
                    <a:pt x="703" y="222"/>
                  </a:lnTo>
                  <a:lnTo>
                    <a:pt x="700" y="221"/>
                  </a:lnTo>
                  <a:lnTo>
                    <a:pt x="700" y="222"/>
                  </a:lnTo>
                  <a:lnTo>
                    <a:pt x="694" y="223"/>
                  </a:lnTo>
                  <a:lnTo>
                    <a:pt x="691" y="223"/>
                  </a:lnTo>
                  <a:lnTo>
                    <a:pt x="689" y="227"/>
                  </a:lnTo>
                  <a:lnTo>
                    <a:pt x="688" y="232"/>
                  </a:lnTo>
                  <a:lnTo>
                    <a:pt x="688" y="234"/>
                  </a:lnTo>
                  <a:lnTo>
                    <a:pt x="687" y="236"/>
                  </a:lnTo>
                  <a:lnTo>
                    <a:pt x="683" y="239"/>
                  </a:lnTo>
                  <a:lnTo>
                    <a:pt x="679" y="242"/>
                  </a:lnTo>
                  <a:lnTo>
                    <a:pt x="677" y="243"/>
                  </a:lnTo>
                  <a:lnTo>
                    <a:pt x="677" y="246"/>
                  </a:lnTo>
                  <a:lnTo>
                    <a:pt x="678" y="250"/>
                  </a:lnTo>
                  <a:lnTo>
                    <a:pt x="677" y="252"/>
                  </a:lnTo>
                  <a:lnTo>
                    <a:pt x="675" y="254"/>
                  </a:lnTo>
                  <a:lnTo>
                    <a:pt x="671" y="254"/>
                  </a:lnTo>
                  <a:lnTo>
                    <a:pt x="668" y="255"/>
                  </a:lnTo>
                  <a:lnTo>
                    <a:pt x="666" y="255"/>
                  </a:lnTo>
                  <a:lnTo>
                    <a:pt x="664" y="254"/>
                  </a:lnTo>
                  <a:lnTo>
                    <a:pt x="660" y="254"/>
                  </a:lnTo>
                  <a:lnTo>
                    <a:pt x="658" y="256"/>
                  </a:lnTo>
                  <a:lnTo>
                    <a:pt x="659" y="262"/>
                  </a:lnTo>
                  <a:lnTo>
                    <a:pt x="660" y="266"/>
                  </a:lnTo>
                  <a:lnTo>
                    <a:pt x="667" y="272"/>
                  </a:lnTo>
                  <a:lnTo>
                    <a:pt x="669" y="273"/>
                  </a:lnTo>
                  <a:lnTo>
                    <a:pt x="673" y="274"/>
                  </a:lnTo>
                  <a:lnTo>
                    <a:pt x="675" y="274"/>
                  </a:lnTo>
                  <a:lnTo>
                    <a:pt x="677" y="276"/>
                  </a:lnTo>
                  <a:lnTo>
                    <a:pt x="679" y="276"/>
                  </a:lnTo>
                  <a:lnTo>
                    <a:pt x="681" y="280"/>
                  </a:lnTo>
                  <a:lnTo>
                    <a:pt x="685" y="282"/>
                  </a:lnTo>
                  <a:lnTo>
                    <a:pt x="687" y="284"/>
                  </a:lnTo>
                  <a:lnTo>
                    <a:pt x="688" y="286"/>
                  </a:lnTo>
                  <a:lnTo>
                    <a:pt x="691" y="290"/>
                  </a:lnTo>
                  <a:lnTo>
                    <a:pt x="700" y="292"/>
                  </a:lnTo>
                  <a:lnTo>
                    <a:pt x="704" y="292"/>
                  </a:lnTo>
                  <a:lnTo>
                    <a:pt x="705" y="287"/>
                  </a:lnTo>
                  <a:lnTo>
                    <a:pt x="707" y="285"/>
                  </a:lnTo>
                  <a:lnTo>
                    <a:pt x="708" y="282"/>
                  </a:lnTo>
                  <a:lnTo>
                    <a:pt x="713" y="280"/>
                  </a:lnTo>
                  <a:lnTo>
                    <a:pt x="715" y="278"/>
                  </a:lnTo>
                  <a:lnTo>
                    <a:pt x="719" y="282"/>
                  </a:lnTo>
                  <a:lnTo>
                    <a:pt x="721" y="283"/>
                  </a:lnTo>
                  <a:lnTo>
                    <a:pt x="725" y="284"/>
                  </a:lnTo>
                  <a:lnTo>
                    <a:pt x="728" y="286"/>
                  </a:lnTo>
                  <a:lnTo>
                    <a:pt x="730" y="286"/>
                  </a:lnTo>
                  <a:lnTo>
                    <a:pt x="734" y="285"/>
                  </a:lnTo>
                  <a:lnTo>
                    <a:pt x="735" y="284"/>
                  </a:lnTo>
                  <a:lnTo>
                    <a:pt x="739" y="286"/>
                  </a:lnTo>
                  <a:lnTo>
                    <a:pt x="742" y="286"/>
                  </a:lnTo>
                  <a:lnTo>
                    <a:pt x="745" y="287"/>
                  </a:lnTo>
                  <a:lnTo>
                    <a:pt x="745" y="291"/>
                  </a:lnTo>
                  <a:lnTo>
                    <a:pt x="745" y="293"/>
                  </a:lnTo>
                  <a:lnTo>
                    <a:pt x="746" y="294"/>
                  </a:lnTo>
                  <a:lnTo>
                    <a:pt x="744" y="297"/>
                  </a:lnTo>
                  <a:lnTo>
                    <a:pt x="742" y="296"/>
                  </a:lnTo>
                  <a:lnTo>
                    <a:pt x="740" y="294"/>
                  </a:lnTo>
                  <a:lnTo>
                    <a:pt x="739" y="295"/>
                  </a:lnTo>
                  <a:lnTo>
                    <a:pt x="737" y="294"/>
                  </a:lnTo>
                  <a:lnTo>
                    <a:pt x="736" y="296"/>
                  </a:lnTo>
                  <a:lnTo>
                    <a:pt x="736" y="298"/>
                  </a:lnTo>
                  <a:lnTo>
                    <a:pt x="729" y="298"/>
                  </a:lnTo>
                  <a:lnTo>
                    <a:pt x="727" y="301"/>
                  </a:lnTo>
                  <a:lnTo>
                    <a:pt x="724" y="301"/>
                  </a:lnTo>
                  <a:lnTo>
                    <a:pt x="726" y="304"/>
                  </a:lnTo>
                  <a:lnTo>
                    <a:pt x="725" y="304"/>
                  </a:lnTo>
                  <a:lnTo>
                    <a:pt x="725" y="305"/>
                  </a:lnTo>
                  <a:lnTo>
                    <a:pt x="725" y="310"/>
                  </a:lnTo>
                  <a:lnTo>
                    <a:pt x="721" y="311"/>
                  </a:lnTo>
                  <a:lnTo>
                    <a:pt x="720" y="307"/>
                  </a:lnTo>
                  <a:lnTo>
                    <a:pt x="717" y="307"/>
                  </a:lnTo>
                  <a:lnTo>
                    <a:pt x="716" y="310"/>
                  </a:lnTo>
                  <a:lnTo>
                    <a:pt x="719" y="312"/>
                  </a:lnTo>
                  <a:lnTo>
                    <a:pt x="719" y="314"/>
                  </a:lnTo>
                  <a:lnTo>
                    <a:pt x="718" y="317"/>
                  </a:lnTo>
                  <a:lnTo>
                    <a:pt x="715" y="320"/>
                  </a:lnTo>
                  <a:lnTo>
                    <a:pt x="715" y="323"/>
                  </a:lnTo>
                  <a:lnTo>
                    <a:pt x="713" y="328"/>
                  </a:lnTo>
                  <a:lnTo>
                    <a:pt x="713" y="332"/>
                  </a:lnTo>
                  <a:lnTo>
                    <a:pt x="714" y="335"/>
                  </a:lnTo>
                  <a:lnTo>
                    <a:pt x="717" y="335"/>
                  </a:lnTo>
                  <a:lnTo>
                    <a:pt x="720" y="337"/>
                  </a:lnTo>
                  <a:lnTo>
                    <a:pt x="731" y="342"/>
                  </a:lnTo>
                  <a:lnTo>
                    <a:pt x="735" y="345"/>
                  </a:lnTo>
                  <a:lnTo>
                    <a:pt x="738" y="350"/>
                  </a:lnTo>
                  <a:lnTo>
                    <a:pt x="740" y="352"/>
                  </a:lnTo>
                  <a:lnTo>
                    <a:pt x="747" y="363"/>
                  </a:lnTo>
                  <a:lnTo>
                    <a:pt x="750" y="367"/>
                  </a:lnTo>
                  <a:lnTo>
                    <a:pt x="754" y="372"/>
                  </a:lnTo>
                  <a:lnTo>
                    <a:pt x="758" y="375"/>
                  </a:lnTo>
                  <a:lnTo>
                    <a:pt x="762" y="377"/>
                  </a:lnTo>
                  <a:lnTo>
                    <a:pt x="764" y="379"/>
                  </a:lnTo>
                  <a:lnTo>
                    <a:pt x="770" y="385"/>
                  </a:lnTo>
                  <a:lnTo>
                    <a:pt x="775" y="389"/>
                  </a:lnTo>
                  <a:lnTo>
                    <a:pt x="775" y="391"/>
                  </a:lnTo>
                  <a:lnTo>
                    <a:pt x="769" y="388"/>
                  </a:lnTo>
                  <a:lnTo>
                    <a:pt x="765" y="387"/>
                  </a:lnTo>
                  <a:lnTo>
                    <a:pt x="761" y="387"/>
                  </a:lnTo>
                  <a:lnTo>
                    <a:pt x="757" y="384"/>
                  </a:lnTo>
                  <a:lnTo>
                    <a:pt x="754" y="383"/>
                  </a:lnTo>
                  <a:lnTo>
                    <a:pt x="746" y="385"/>
                  </a:lnTo>
                  <a:lnTo>
                    <a:pt x="747" y="386"/>
                  </a:lnTo>
                  <a:lnTo>
                    <a:pt x="754" y="385"/>
                  </a:lnTo>
                  <a:lnTo>
                    <a:pt x="756" y="386"/>
                  </a:lnTo>
                  <a:lnTo>
                    <a:pt x="757" y="388"/>
                  </a:lnTo>
                  <a:lnTo>
                    <a:pt x="760" y="388"/>
                  </a:lnTo>
                  <a:lnTo>
                    <a:pt x="765" y="391"/>
                  </a:lnTo>
                  <a:lnTo>
                    <a:pt x="768" y="394"/>
                  </a:lnTo>
                  <a:lnTo>
                    <a:pt x="771" y="396"/>
                  </a:lnTo>
                  <a:lnTo>
                    <a:pt x="774" y="396"/>
                  </a:lnTo>
                  <a:lnTo>
                    <a:pt x="777" y="399"/>
                  </a:lnTo>
                  <a:lnTo>
                    <a:pt x="780" y="403"/>
                  </a:lnTo>
                  <a:lnTo>
                    <a:pt x="780" y="405"/>
                  </a:lnTo>
                  <a:lnTo>
                    <a:pt x="776" y="405"/>
                  </a:lnTo>
                  <a:lnTo>
                    <a:pt x="775" y="407"/>
                  </a:lnTo>
                  <a:lnTo>
                    <a:pt x="771" y="408"/>
                  </a:lnTo>
                  <a:lnTo>
                    <a:pt x="770" y="411"/>
                  </a:lnTo>
                  <a:lnTo>
                    <a:pt x="769" y="412"/>
                  </a:lnTo>
                  <a:lnTo>
                    <a:pt x="767" y="414"/>
                  </a:lnTo>
                  <a:lnTo>
                    <a:pt x="762" y="414"/>
                  </a:lnTo>
                  <a:lnTo>
                    <a:pt x="759" y="414"/>
                  </a:lnTo>
                  <a:lnTo>
                    <a:pt x="757" y="416"/>
                  </a:lnTo>
                  <a:lnTo>
                    <a:pt x="760" y="415"/>
                  </a:lnTo>
                  <a:lnTo>
                    <a:pt x="764" y="416"/>
                  </a:lnTo>
                  <a:lnTo>
                    <a:pt x="768" y="418"/>
                  </a:lnTo>
                  <a:lnTo>
                    <a:pt x="772" y="415"/>
                  </a:lnTo>
                  <a:lnTo>
                    <a:pt x="776" y="416"/>
                  </a:lnTo>
                  <a:lnTo>
                    <a:pt x="778" y="418"/>
                  </a:lnTo>
                  <a:lnTo>
                    <a:pt x="780" y="421"/>
                  </a:lnTo>
                  <a:lnTo>
                    <a:pt x="781" y="421"/>
                  </a:lnTo>
                  <a:lnTo>
                    <a:pt x="785" y="422"/>
                  </a:lnTo>
                  <a:lnTo>
                    <a:pt x="787" y="422"/>
                  </a:lnTo>
                  <a:lnTo>
                    <a:pt x="788" y="423"/>
                  </a:lnTo>
                  <a:lnTo>
                    <a:pt x="787" y="424"/>
                  </a:lnTo>
                  <a:lnTo>
                    <a:pt x="784" y="428"/>
                  </a:lnTo>
                  <a:lnTo>
                    <a:pt x="781" y="429"/>
                  </a:lnTo>
                  <a:lnTo>
                    <a:pt x="782" y="429"/>
                  </a:lnTo>
                  <a:lnTo>
                    <a:pt x="787" y="427"/>
                  </a:lnTo>
                  <a:lnTo>
                    <a:pt x="788" y="432"/>
                  </a:lnTo>
                  <a:lnTo>
                    <a:pt x="788" y="434"/>
                  </a:lnTo>
                  <a:lnTo>
                    <a:pt x="788" y="434"/>
                  </a:lnTo>
                  <a:lnTo>
                    <a:pt x="787" y="434"/>
                  </a:lnTo>
                  <a:lnTo>
                    <a:pt x="784" y="435"/>
                  </a:lnTo>
                  <a:lnTo>
                    <a:pt x="784" y="436"/>
                  </a:lnTo>
                  <a:lnTo>
                    <a:pt x="786" y="439"/>
                  </a:lnTo>
                  <a:lnTo>
                    <a:pt x="787" y="443"/>
                  </a:lnTo>
                  <a:lnTo>
                    <a:pt x="786" y="444"/>
                  </a:lnTo>
                  <a:lnTo>
                    <a:pt x="788" y="449"/>
                  </a:lnTo>
                  <a:lnTo>
                    <a:pt x="787" y="454"/>
                  </a:lnTo>
                  <a:lnTo>
                    <a:pt x="786" y="453"/>
                  </a:lnTo>
                  <a:lnTo>
                    <a:pt x="784" y="451"/>
                  </a:lnTo>
                  <a:lnTo>
                    <a:pt x="782" y="452"/>
                  </a:lnTo>
                  <a:lnTo>
                    <a:pt x="781" y="456"/>
                  </a:lnTo>
                  <a:lnTo>
                    <a:pt x="780" y="458"/>
                  </a:lnTo>
                  <a:lnTo>
                    <a:pt x="779" y="461"/>
                  </a:lnTo>
                  <a:lnTo>
                    <a:pt x="778" y="462"/>
                  </a:lnTo>
                  <a:lnTo>
                    <a:pt x="778" y="463"/>
                  </a:lnTo>
                  <a:lnTo>
                    <a:pt x="778" y="465"/>
                  </a:lnTo>
                  <a:lnTo>
                    <a:pt x="778" y="467"/>
                  </a:lnTo>
                  <a:lnTo>
                    <a:pt x="778" y="470"/>
                  </a:lnTo>
                  <a:lnTo>
                    <a:pt x="777" y="473"/>
                  </a:lnTo>
                  <a:lnTo>
                    <a:pt x="776" y="474"/>
                  </a:lnTo>
                  <a:lnTo>
                    <a:pt x="774" y="477"/>
                  </a:lnTo>
                  <a:lnTo>
                    <a:pt x="774" y="482"/>
                  </a:lnTo>
                  <a:lnTo>
                    <a:pt x="772" y="483"/>
                  </a:lnTo>
                  <a:lnTo>
                    <a:pt x="771" y="483"/>
                  </a:lnTo>
                  <a:lnTo>
                    <a:pt x="770" y="478"/>
                  </a:lnTo>
                  <a:lnTo>
                    <a:pt x="768" y="478"/>
                  </a:lnTo>
                  <a:lnTo>
                    <a:pt x="767" y="480"/>
                  </a:lnTo>
                  <a:lnTo>
                    <a:pt x="770" y="486"/>
                  </a:lnTo>
                  <a:lnTo>
                    <a:pt x="770" y="487"/>
                  </a:lnTo>
                  <a:lnTo>
                    <a:pt x="770" y="492"/>
                  </a:lnTo>
                  <a:lnTo>
                    <a:pt x="770" y="493"/>
                  </a:lnTo>
                  <a:lnTo>
                    <a:pt x="770" y="495"/>
                  </a:lnTo>
                  <a:lnTo>
                    <a:pt x="770" y="497"/>
                  </a:lnTo>
                  <a:lnTo>
                    <a:pt x="770" y="497"/>
                  </a:lnTo>
                  <a:lnTo>
                    <a:pt x="769" y="498"/>
                  </a:lnTo>
                  <a:lnTo>
                    <a:pt x="769" y="499"/>
                  </a:lnTo>
                  <a:lnTo>
                    <a:pt x="770" y="503"/>
                  </a:lnTo>
                  <a:lnTo>
                    <a:pt x="770" y="503"/>
                  </a:lnTo>
                  <a:lnTo>
                    <a:pt x="769" y="503"/>
                  </a:lnTo>
                  <a:lnTo>
                    <a:pt x="767" y="503"/>
                  </a:lnTo>
                  <a:lnTo>
                    <a:pt x="766" y="504"/>
                  </a:lnTo>
                  <a:lnTo>
                    <a:pt x="767" y="506"/>
                  </a:lnTo>
                  <a:lnTo>
                    <a:pt x="767" y="507"/>
                  </a:lnTo>
                  <a:lnTo>
                    <a:pt x="765" y="507"/>
                  </a:lnTo>
                  <a:lnTo>
                    <a:pt x="764" y="507"/>
                  </a:lnTo>
                  <a:lnTo>
                    <a:pt x="764" y="512"/>
                  </a:lnTo>
                  <a:lnTo>
                    <a:pt x="761" y="514"/>
                  </a:lnTo>
                  <a:lnTo>
                    <a:pt x="761" y="516"/>
                  </a:lnTo>
                  <a:lnTo>
                    <a:pt x="760" y="518"/>
                  </a:lnTo>
                  <a:lnTo>
                    <a:pt x="756" y="519"/>
                  </a:lnTo>
                  <a:lnTo>
                    <a:pt x="754" y="518"/>
                  </a:lnTo>
                  <a:lnTo>
                    <a:pt x="751" y="520"/>
                  </a:lnTo>
                  <a:lnTo>
                    <a:pt x="751" y="522"/>
                  </a:lnTo>
                  <a:lnTo>
                    <a:pt x="754" y="523"/>
                  </a:lnTo>
                  <a:lnTo>
                    <a:pt x="752" y="526"/>
                  </a:lnTo>
                  <a:lnTo>
                    <a:pt x="749" y="529"/>
                  </a:lnTo>
                  <a:lnTo>
                    <a:pt x="748" y="529"/>
                  </a:lnTo>
                  <a:lnTo>
                    <a:pt x="748" y="534"/>
                  </a:lnTo>
                  <a:lnTo>
                    <a:pt x="747" y="530"/>
                  </a:lnTo>
                  <a:lnTo>
                    <a:pt x="746" y="533"/>
                  </a:lnTo>
                  <a:lnTo>
                    <a:pt x="746" y="535"/>
                  </a:lnTo>
                  <a:lnTo>
                    <a:pt x="745" y="534"/>
                  </a:lnTo>
                  <a:lnTo>
                    <a:pt x="744" y="534"/>
                  </a:lnTo>
                  <a:lnTo>
                    <a:pt x="741" y="536"/>
                  </a:lnTo>
                  <a:lnTo>
                    <a:pt x="740" y="536"/>
                  </a:lnTo>
                  <a:lnTo>
                    <a:pt x="738" y="537"/>
                  </a:lnTo>
                  <a:lnTo>
                    <a:pt x="737" y="539"/>
                  </a:lnTo>
                  <a:lnTo>
                    <a:pt x="736" y="542"/>
                  </a:lnTo>
                  <a:lnTo>
                    <a:pt x="735" y="544"/>
                  </a:lnTo>
                  <a:lnTo>
                    <a:pt x="734" y="546"/>
                  </a:lnTo>
                  <a:lnTo>
                    <a:pt x="731" y="547"/>
                  </a:lnTo>
                  <a:lnTo>
                    <a:pt x="728" y="549"/>
                  </a:lnTo>
                  <a:lnTo>
                    <a:pt x="725" y="552"/>
                  </a:lnTo>
                  <a:lnTo>
                    <a:pt x="723" y="550"/>
                  </a:lnTo>
                  <a:lnTo>
                    <a:pt x="720" y="549"/>
                  </a:lnTo>
                  <a:lnTo>
                    <a:pt x="719" y="552"/>
                  </a:lnTo>
                  <a:lnTo>
                    <a:pt x="719" y="553"/>
                  </a:lnTo>
                  <a:lnTo>
                    <a:pt x="718" y="553"/>
                  </a:lnTo>
                  <a:lnTo>
                    <a:pt x="716" y="553"/>
                  </a:lnTo>
                  <a:lnTo>
                    <a:pt x="716" y="550"/>
                  </a:lnTo>
                  <a:lnTo>
                    <a:pt x="714" y="549"/>
                  </a:lnTo>
                  <a:lnTo>
                    <a:pt x="711" y="552"/>
                  </a:lnTo>
                  <a:lnTo>
                    <a:pt x="710" y="554"/>
                  </a:lnTo>
                  <a:lnTo>
                    <a:pt x="708" y="554"/>
                  </a:lnTo>
                  <a:lnTo>
                    <a:pt x="707" y="553"/>
                  </a:lnTo>
                  <a:lnTo>
                    <a:pt x="707" y="552"/>
                  </a:lnTo>
                  <a:lnTo>
                    <a:pt x="704" y="552"/>
                  </a:lnTo>
                  <a:lnTo>
                    <a:pt x="705" y="555"/>
                  </a:lnTo>
                  <a:lnTo>
                    <a:pt x="705" y="555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43" name="Freeform 1043"/>
            <p:cNvSpPr>
              <a:spLocks/>
            </p:cNvSpPr>
            <p:nvPr/>
          </p:nvSpPr>
          <p:spPr bwMode="auto">
            <a:xfrm>
              <a:off x="3284" y="2064"/>
              <a:ext cx="128" cy="168"/>
            </a:xfrm>
            <a:custGeom>
              <a:avLst/>
              <a:gdLst>
                <a:gd name="T0" fmla="*/ 114 w 128"/>
                <a:gd name="T1" fmla="*/ 68 h 168"/>
                <a:gd name="T2" fmla="*/ 113 w 128"/>
                <a:gd name="T3" fmla="*/ 32 h 168"/>
                <a:gd name="T4" fmla="*/ 121 w 128"/>
                <a:gd name="T5" fmla="*/ 25 h 168"/>
                <a:gd name="T6" fmla="*/ 128 w 128"/>
                <a:gd name="T7" fmla="*/ 12 h 168"/>
                <a:gd name="T8" fmla="*/ 123 w 128"/>
                <a:gd name="T9" fmla="*/ 12 h 168"/>
                <a:gd name="T10" fmla="*/ 110 w 128"/>
                <a:gd name="T11" fmla="*/ 7 h 168"/>
                <a:gd name="T12" fmla="*/ 99 w 128"/>
                <a:gd name="T13" fmla="*/ 10 h 168"/>
                <a:gd name="T14" fmla="*/ 87 w 128"/>
                <a:gd name="T15" fmla="*/ 20 h 168"/>
                <a:gd name="T16" fmla="*/ 73 w 128"/>
                <a:gd name="T17" fmla="*/ 18 h 168"/>
                <a:gd name="T18" fmla="*/ 63 w 128"/>
                <a:gd name="T19" fmla="*/ 16 h 168"/>
                <a:gd name="T20" fmla="*/ 48 w 128"/>
                <a:gd name="T21" fmla="*/ 3 h 168"/>
                <a:gd name="T22" fmla="*/ 39 w 128"/>
                <a:gd name="T23" fmla="*/ 1 h 168"/>
                <a:gd name="T24" fmla="*/ 30 w 128"/>
                <a:gd name="T25" fmla="*/ 0 h 168"/>
                <a:gd name="T26" fmla="*/ 20 w 128"/>
                <a:gd name="T27" fmla="*/ 1 h 168"/>
                <a:gd name="T28" fmla="*/ 8 w 128"/>
                <a:gd name="T29" fmla="*/ 0 h 168"/>
                <a:gd name="T30" fmla="*/ 0 w 128"/>
                <a:gd name="T31" fmla="*/ 10 h 168"/>
                <a:gd name="T32" fmla="*/ 1 w 128"/>
                <a:gd name="T33" fmla="*/ 11 h 168"/>
                <a:gd name="T34" fmla="*/ 6 w 128"/>
                <a:gd name="T35" fmla="*/ 12 h 168"/>
                <a:gd name="T36" fmla="*/ 6 w 128"/>
                <a:gd name="T37" fmla="*/ 16 h 168"/>
                <a:gd name="T38" fmla="*/ 9 w 128"/>
                <a:gd name="T39" fmla="*/ 25 h 168"/>
                <a:gd name="T40" fmla="*/ 11 w 128"/>
                <a:gd name="T41" fmla="*/ 29 h 168"/>
                <a:gd name="T42" fmla="*/ 14 w 128"/>
                <a:gd name="T43" fmla="*/ 31 h 168"/>
                <a:gd name="T44" fmla="*/ 17 w 128"/>
                <a:gd name="T45" fmla="*/ 36 h 168"/>
                <a:gd name="T46" fmla="*/ 18 w 128"/>
                <a:gd name="T47" fmla="*/ 46 h 168"/>
                <a:gd name="T48" fmla="*/ 17 w 128"/>
                <a:gd name="T49" fmla="*/ 57 h 168"/>
                <a:gd name="T50" fmla="*/ 11 w 128"/>
                <a:gd name="T51" fmla="*/ 65 h 168"/>
                <a:gd name="T52" fmla="*/ 8 w 128"/>
                <a:gd name="T53" fmla="*/ 69 h 168"/>
                <a:gd name="T54" fmla="*/ 1 w 128"/>
                <a:gd name="T55" fmla="*/ 80 h 168"/>
                <a:gd name="T56" fmla="*/ 3 w 128"/>
                <a:gd name="T57" fmla="*/ 88 h 168"/>
                <a:gd name="T58" fmla="*/ 6 w 128"/>
                <a:gd name="T59" fmla="*/ 90 h 168"/>
                <a:gd name="T60" fmla="*/ 11 w 128"/>
                <a:gd name="T61" fmla="*/ 88 h 168"/>
                <a:gd name="T62" fmla="*/ 14 w 128"/>
                <a:gd name="T63" fmla="*/ 90 h 168"/>
                <a:gd name="T64" fmla="*/ 8 w 128"/>
                <a:gd name="T65" fmla="*/ 93 h 168"/>
                <a:gd name="T66" fmla="*/ 2 w 128"/>
                <a:gd name="T67" fmla="*/ 98 h 168"/>
                <a:gd name="T68" fmla="*/ 61 w 128"/>
                <a:gd name="T69" fmla="*/ 139 h 168"/>
                <a:gd name="T70" fmla="*/ 62 w 128"/>
                <a:gd name="T71" fmla="*/ 142 h 168"/>
                <a:gd name="T72" fmla="*/ 64 w 128"/>
                <a:gd name="T73" fmla="*/ 152 h 168"/>
                <a:gd name="T74" fmla="*/ 90 w 128"/>
                <a:gd name="T75" fmla="*/ 167 h 168"/>
                <a:gd name="T76" fmla="*/ 92 w 128"/>
                <a:gd name="T77" fmla="*/ 162 h 168"/>
                <a:gd name="T78" fmla="*/ 94 w 128"/>
                <a:gd name="T79" fmla="*/ 154 h 168"/>
                <a:gd name="T80" fmla="*/ 101 w 128"/>
                <a:gd name="T81" fmla="*/ 143 h 168"/>
                <a:gd name="T82" fmla="*/ 103 w 128"/>
                <a:gd name="T83" fmla="*/ 133 h 168"/>
                <a:gd name="T84" fmla="*/ 105 w 128"/>
                <a:gd name="T85" fmla="*/ 130 h 168"/>
                <a:gd name="T86" fmla="*/ 111 w 128"/>
                <a:gd name="T87" fmla="*/ 126 h 168"/>
                <a:gd name="T88" fmla="*/ 114 w 128"/>
                <a:gd name="T89" fmla="*/ 120 h 168"/>
                <a:gd name="T90" fmla="*/ 119 w 128"/>
                <a:gd name="T91" fmla="*/ 119 h 168"/>
                <a:gd name="T92" fmla="*/ 122 w 128"/>
                <a:gd name="T93" fmla="*/ 113 h 168"/>
                <a:gd name="T94" fmla="*/ 115 w 128"/>
                <a:gd name="T95" fmla="*/ 103 h 168"/>
                <a:gd name="T96" fmla="*/ 114 w 128"/>
                <a:gd name="T97" fmla="*/ 8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8" h="168">
                  <a:moveTo>
                    <a:pt x="114" y="86"/>
                  </a:moveTo>
                  <a:lnTo>
                    <a:pt x="114" y="68"/>
                  </a:lnTo>
                  <a:lnTo>
                    <a:pt x="113" y="50"/>
                  </a:lnTo>
                  <a:lnTo>
                    <a:pt x="113" y="32"/>
                  </a:lnTo>
                  <a:lnTo>
                    <a:pt x="114" y="32"/>
                  </a:lnTo>
                  <a:lnTo>
                    <a:pt x="121" y="25"/>
                  </a:lnTo>
                  <a:lnTo>
                    <a:pt x="127" y="15"/>
                  </a:lnTo>
                  <a:lnTo>
                    <a:pt x="128" y="12"/>
                  </a:lnTo>
                  <a:lnTo>
                    <a:pt x="125" y="12"/>
                  </a:lnTo>
                  <a:lnTo>
                    <a:pt x="123" y="12"/>
                  </a:lnTo>
                  <a:lnTo>
                    <a:pt x="119" y="12"/>
                  </a:lnTo>
                  <a:lnTo>
                    <a:pt x="110" y="7"/>
                  </a:lnTo>
                  <a:lnTo>
                    <a:pt x="104" y="9"/>
                  </a:lnTo>
                  <a:lnTo>
                    <a:pt x="99" y="10"/>
                  </a:lnTo>
                  <a:lnTo>
                    <a:pt x="94" y="16"/>
                  </a:lnTo>
                  <a:lnTo>
                    <a:pt x="87" y="20"/>
                  </a:lnTo>
                  <a:lnTo>
                    <a:pt x="80" y="20"/>
                  </a:lnTo>
                  <a:lnTo>
                    <a:pt x="73" y="18"/>
                  </a:lnTo>
                  <a:lnTo>
                    <a:pt x="69" y="18"/>
                  </a:lnTo>
                  <a:lnTo>
                    <a:pt x="63" y="16"/>
                  </a:lnTo>
                  <a:lnTo>
                    <a:pt x="59" y="11"/>
                  </a:lnTo>
                  <a:lnTo>
                    <a:pt x="48" y="3"/>
                  </a:lnTo>
                  <a:lnTo>
                    <a:pt x="43" y="1"/>
                  </a:lnTo>
                  <a:lnTo>
                    <a:pt x="39" y="1"/>
                  </a:lnTo>
                  <a:lnTo>
                    <a:pt x="34" y="1"/>
                  </a:lnTo>
                  <a:lnTo>
                    <a:pt x="30" y="0"/>
                  </a:lnTo>
                  <a:lnTo>
                    <a:pt x="24" y="1"/>
                  </a:lnTo>
                  <a:lnTo>
                    <a:pt x="20" y="1"/>
                  </a:lnTo>
                  <a:lnTo>
                    <a:pt x="11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1" y="11"/>
                  </a:lnTo>
                  <a:lnTo>
                    <a:pt x="6" y="11"/>
                  </a:lnTo>
                  <a:lnTo>
                    <a:pt x="6" y="12"/>
                  </a:lnTo>
                  <a:lnTo>
                    <a:pt x="6" y="15"/>
                  </a:lnTo>
                  <a:lnTo>
                    <a:pt x="6" y="16"/>
                  </a:lnTo>
                  <a:lnTo>
                    <a:pt x="7" y="16"/>
                  </a:lnTo>
                  <a:lnTo>
                    <a:pt x="9" y="25"/>
                  </a:lnTo>
                  <a:lnTo>
                    <a:pt x="9" y="27"/>
                  </a:lnTo>
                  <a:lnTo>
                    <a:pt x="11" y="29"/>
                  </a:lnTo>
                  <a:lnTo>
                    <a:pt x="12" y="30"/>
                  </a:lnTo>
                  <a:lnTo>
                    <a:pt x="14" y="31"/>
                  </a:lnTo>
                  <a:lnTo>
                    <a:pt x="16" y="33"/>
                  </a:lnTo>
                  <a:lnTo>
                    <a:pt x="17" y="36"/>
                  </a:lnTo>
                  <a:lnTo>
                    <a:pt x="17" y="41"/>
                  </a:lnTo>
                  <a:lnTo>
                    <a:pt x="18" y="46"/>
                  </a:lnTo>
                  <a:lnTo>
                    <a:pt x="17" y="51"/>
                  </a:lnTo>
                  <a:lnTo>
                    <a:pt x="17" y="57"/>
                  </a:lnTo>
                  <a:lnTo>
                    <a:pt x="14" y="60"/>
                  </a:lnTo>
                  <a:lnTo>
                    <a:pt x="11" y="65"/>
                  </a:lnTo>
                  <a:lnTo>
                    <a:pt x="11" y="66"/>
                  </a:lnTo>
                  <a:lnTo>
                    <a:pt x="8" y="69"/>
                  </a:lnTo>
                  <a:lnTo>
                    <a:pt x="3" y="78"/>
                  </a:lnTo>
                  <a:lnTo>
                    <a:pt x="1" y="80"/>
                  </a:lnTo>
                  <a:lnTo>
                    <a:pt x="1" y="85"/>
                  </a:lnTo>
                  <a:lnTo>
                    <a:pt x="3" y="88"/>
                  </a:lnTo>
                  <a:lnTo>
                    <a:pt x="4" y="90"/>
                  </a:lnTo>
                  <a:lnTo>
                    <a:pt x="6" y="90"/>
                  </a:lnTo>
                  <a:lnTo>
                    <a:pt x="8" y="89"/>
                  </a:lnTo>
                  <a:lnTo>
                    <a:pt x="11" y="88"/>
                  </a:lnTo>
                  <a:lnTo>
                    <a:pt x="14" y="89"/>
                  </a:lnTo>
                  <a:lnTo>
                    <a:pt x="14" y="90"/>
                  </a:lnTo>
                  <a:lnTo>
                    <a:pt x="11" y="91"/>
                  </a:lnTo>
                  <a:lnTo>
                    <a:pt x="8" y="93"/>
                  </a:lnTo>
                  <a:lnTo>
                    <a:pt x="6" y="93"/>
                  </a:lnTo>
                  <a:lnTo>
                    <a:pt x="2" y="98"/>
                  </a:lnTo>
                  <a:lnTo>
                    <a:pt x="6" y="101"/>
                  </a:lnTo>
                  <a:lnTo>
                    <a:pt x="61" y="139"/>
                  </a:lnTo>
                  <a:lnTo>
                    <a:pt x="61" y="140"/>
                  </a:lnTo>
                  <a:lnTo>
                    <a:pt x="62" y="142"/>
                  </a:lnTo>
                  <a:lnTo>
                    <a:pt x="63" y="149"/>
                  </a:lnTo>
                  <a:lnTo>
                    <a:pt x="64" y="152"/>
                  </a:lnTo>
                  <a:lnTo>
                    <a:pt x="87" y="168"/>
                  </a:lnTo>
                  <a:lnTo>
                    <a:pt x="90" y="167"/>
                  </a:lnTo>
                  <a:lnTo>
                    <a:pt x="91" y="164"/>
                  </a:lnTo>
                  <a:lnTo>
                    <a:pt x="92" y="162"/>
                  </a:lnTo>
                  <a:lnTo>
                    <a:pt x="93" y="160"/>
                  </a:lnTo>
                  <a:lnTo>
                    <a:pt x="94" y="154"/>
                  </a:lnTo>
                  <a:lnTo>
                    <a:pt x="98" y="150"/>
                  </a:lnTo>
                  <a:lnTo>
                    <a:pt x="101" y="143"/>
                  </a:lnTo>
                  <a:lnTo>
                    <a:pt x="101" y="138"/>
                  </a:lnTo>
                  <a:lnTo>
                    <a:pt x="103" y="133"/>
                  </a:lnTo>
                  <a:lnTo>
                    <a:pt x="105" y="131"/>
                  </a:lnTo>
                  <a:lnTo>
                    <a:pt x="105" y="130"/>
                  </a:lnTo>
                  <a:lnTo>
                    <a:pt x="111" y="128"/>
                  </a:lnTo>
                  <a:lnTo>
                    <a:pt x="111" y="126"/>
                  </a:lnTo>
                  <a:lnTo>
                    <a:pt x="112" y="123"/>
                  </a:lnTo>
                  <a:lnTo>
                    <a:pt x="114" y="120"/>
                  </a:lnTo>
                  <a:lnTo>
                    <a:pt x="115" y="119"/>
                  </a:lnTo>
                  <a:lnTo>
                    <a:pt x="119" y="119"/>
                  </a:lnTo>
                  <a:lnTo>
                    <a:pt x="122" y="116"/>
                  </a:lnTo>
                  <a:lnTo>
                    <a:pt x="122" y="113"/>
                  </a:lnTo>
                  <a:lnTo>
                    <a:pt x="122" y="112"/>
                  </a:lnTo>
                  <a:lnTo>
                    <a:pt x="115" y="103"/>
                  </a:lnTo>
                  <a:lnTo>
                    <a:pt x="114" y="100"/>
                  </a:lnTo>
                  <a:lnTo>
                    <a:pt x="114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44" name="Freeform 1044"/>
            <p:cNvSpPr>
              <a:spLocks/>
            </p:cNvSpPr>
            <p:nvPr/>
          </p:nvSpPr>
          <p:spPr bwMode="auto">
            <a:xfrm>
              <a:off x="3284" y="2064"/>
              <a:ext cx="128" cy="168"/>
            </a:xfrm>
            <a:custGeom>
              <a:avLst/>
              <a:gdLst>
                <a:gd name="T0" fmla="*/ 114 w 128"/>
                <a:gd name="T1" fmla="*/ 68 h 168"/>
                <a:gd name="T2" fmla="*/ 113 w 128"/>
                <a:gd name="T3" fmla="*/ 32 h 168"/>
                <a:gd name="T4" fmla="*/ 121 w 128"/>
                <a:gd name="T5" fmla="*/ 25 h 168"/>
                <a:gd name="T6" fmla="*/ 128 w 128"/>
                <a:gd name="T7" fmla="*/ 12 h 168"/>
                <a:gd name="T8" fmla="*/ 123 w 128"/>
                <a:gd name="T9" fmla="*/ 12 h 168"/>
                <a:gd name="T10" fmla="*/ 110 w 128"/>
                <a:gd name="T11" fmla="*/ 7 h 168"/>
                <a:gd name="T12" fmla="*/ 99 w 128"/>
                <a:gd name="T13" fmla="*/ 10 h 168"/>
                <a:gd name="T14" fmla="*/ 87 w 128"/>
                <a:gd name="T15" fmla="*/ 20 h 168"/>
                <a:gd name="T16" fmla="*/ 73 w 128"/>
                <a:gd name="T17" fmla="*/ 18 h 168"/>
                <a:gd name="T18" fmla="*/ 63 w 128"/>
                <a:gd name="T19" fmla="*/ 16 h 168"/>
                <a:gd name="T20" fmla="*/ 48 w 128"/>
                <a:gd name="T21" fmla="*/ 3 h 168"/>
                <a:gd name="T22" fmla="*/ 39 w 128"/>
                <a:gd name="T23" fmla="*/ 1 h 168"/>
                <a:gd name="T24" fmla="*/ 30 w 128"/>
                <a:gd name="T25" fmla="*/ 0 h 168"/>
                <a:gd name="T26" fmla="*/ 20 w 128"/>
                <a:gd name="T27" fmla="*/ 1 h 168"/>
                <a:gd name="T28" fmla="*/ 8 w 128"/>
                <a:gd name="T29" fmla="*/ 0 h 168"/>
                <a:gd name="T30" fmla="*/ 0 w 128"/>
                <a:gd name="T31" fmla="*/ 10 h 168"/>
                <a:gd name="T32" fmla="*/ 1 w 128"/>
                <a:gd name="T33" fmla="*/ 11 h 168"/>
                <a:gd name="T34" fmla="*/ 6 w 128"/>
                <a:gd name="T35" fmla="*/ 12 h 168"/>
                <a:gd name="T36" fmla="*/ 6 w 128"/>
                <a:gd name="T37" fmla="*/ 16 h 168"/>
                <a:gd name="T38" fmla="*/ 9 w 128"/>
                <a:gd name="T39" fmla="*/ 25 h 168"/>
                <a:gd name="T40" fmla="*/ 11 w 128"/>
                <a:gd name="T41" fmla="*/ 29 h 168"/>
                <a:gd name="T42" fmla="*/ 14 w 128"/>
                <a:gd name="T43" fmla="*/ 31 h 168"/>
                <a:gd name="T44" fmla="*/ 17 w 128"/>
                <a:gd name="T45" fmla="*/ 36 h 168"/>
                <a:gd name="T46" fmla="*/ 18 w 128"/>
                <a:gd name="T47" fmla="*/ 46 h 168"/>
                <a:gd name="T48" fmla="*/ 17 w 128"/>
                <a:gd name="T49" fmla="*/ 57 h 168"/>
                <a:gd name="T50" fmla="*/ 11 w 128"/>
                <a:gd name="T51" fmla="*/ 65 h 168"/>
                <a:gd name="T52" fmla="*/ 8 w 128"/>
                <a:gd name="T53" fmla="*/ 69 h 168"/>
                <a:gd name="T54" fmla="*/ 1 w 128"/>
                <a:gd name="T55" fmla="*/ 80 h 168"/>
                <a:gd name="T56" fmla="*/ 3 w 128"/>
                <a:gd name="T57" fmla="*/ 88 h 168"/>
                <a:gd name="T58" fmla="*/ 6 w 128"/>
                <a:gd name="T59" fmla="*/ 90 h 168"/>
                <a:gd name="T60" fmla="*/ 11 w 128"/>
                <a:gd name="T61" fmla="*/ 88 h 168"/>
                <a:gd name="T62" fmla="*/ 14 w 128"/>
                <a:gd name="T63" fmla="*/ 90 h 168"/>
                <a:gd name="T64" fmla="*/ 8 w 128"/>
                <a:gd name="T65" fmla="*/ 93 h 168"/>
                <a:gd name="T66" fmla="*/ 2 w 128"/>
                <a:gd name="T67" fmla="*/ 98 h 168"/>
                <a:gd name="T68" fmla="*/ 61 w 128"/>
                <a:gd name="T69" fmla="*/ 139 h 168"/>
                <a:gd name="T70" fmla="*/ 62 w 128"/>
                <a:gd name="T71" fmla="*/ 142 h 168"/>
                <a:gd name="T72" fmla="*/ 64 w 128"/>
                <a:gd name="T73" fmla="*/ 152 h 168"/>
                <a:gd name="T74" fmla="*/ 90 w 128"/>
                <a:gd name="T75" fmla="*/ 167 h 168"/>
                <a:gd name="T76" fmla="*/ 92 w 128"/>
                <a:gd name="T77" fmla="*/ 162 h 168"/>
                <a:gd name="T78" fmla="*/ 94 w 128"/>
                <a:gd name="T79" fmla="*/ 154 h 168"/>
                <a:gd name="T80" fmla="*/ 101 w 128"/>
                <a:gd name="T81" fmla="*/ 143 h 168"/>
                <a:gd name="T82" fmla="*/ 103 w 128"/>
                <a:gd name="T83" fmla="*/ 133 h 168"/>
                <a:gd name="T84" fmla="*/ 105 w 128"/>
                <a:gd name="T85" fmla="*/ 130 h 168"/>
                <a:gd name="T86" fmla="*/ 111 w 128"/>
                <a:gd name="T87" fmla="*/ 126 h 168"/>
                <a:gd name="T88" fmla="*/ 114 w 128"/>
                <a:gd name="T89" fmla="*/ 120 h 168"/>
                <a:gd name="T90" fmla="*/ 119 w 128"/>
                <a:gd name="T91" fmla="*/ 119 h 168"/>
                <a:gd name="T92" fmla="*/ 122 w 128"/>
                <a:gd name="T93" fmla="*/ 113 h 168"/>
                <a:gd name="T94" fmla="*/ 115 w 128"/>
                <a:gd name="T95" fmla="*/ 103 h 168"/>
                <a:gd name="T96" fmla="*/ 114 w 128"/>
                <a:gd name="T97" fmla="*/ 86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8" h="168">
                  <a:moveTo>
                    <a:pt x="114" y="86"/>
                  </a:moveTo>
                  <a:lnTo>
                    <a:pt x="114" y="68"/>
                  </a:lnTo>
                  <a:lnTo>
                    <a:pt x="113" y="50"/>
                  </a:lnTo>
                  <a:lnTo>
                    <a:pt x="113" y="32"/>
                  </a:lnTo>
                  <a:lnTo>
                    <a:pt x="114" y="32"/>
                  </a:lnTo>
                  <a:lnTo>
                    <a:pt x="121" y="25"/>
                  </a:lnTo>
                  <a:lnTo>
                    <a:pt x="127" y="15"/>
                  </a:lnTo>
                  <a:lnTo>
                    <a:pt x="128" y="12"/>
                  </a:lnTo>
                  <a:lnTo>
                    <a:pt x="125" y="12"/>
                  </a:lnTo>
                  <a:lnTo>
                    <a:pt x="123" y="12"/>
                  </a:lnTo>
                  <a:lnTo>
                    <a:pt x="119" y="12"/>
                  </a:lnTo>
                  <a:lnTo>
                    <a:pt x="110" y="7"/>
                  </a:lnTo>
                  <a:lnTo>
                    <a:pt x="104" y="9"/>
                  </a:lnTo>
                  <a:lnTo>
                    <a:pt x="99" y="10"/>
                  </a:lnTo>
                  <a:lnTo>
                    <a:pt x="94" y="16"/>
                  </a:lnTo>
                  <a:lnTo>
                    <a:pt x="87" y="20"/>
                  </a:lnTo>
                  <a:lnTo>
                    <a:pt x="80" y="20"/>
                  </a:lnTo>
                  <a:lnTo>
                    <a:pt x="73" y="18"/>
                  </a:lnTo>
                  <a:lnTo>
                    <a:pt x="69" y="18"/>
                  </a:lnTo>
                  <a:lnTo>
                    <a:pt x="63" y="16"/>
                  </a:lnTo>
                  <a:lnTo>
                    <a:pt x="59" y="11"/>
                  </a:lnTo>
                  <a:lnTo>
                    <a:pt x="48" y="3"/>
                  </a:lnTo>
                  <a:lnTo>
                    <a:pt x="43" y="1"/>
                  </a:lnTo>
                  <a:lnTo>
                    <a:pt x="39" y="1"/>
                  </a:lnTo>
                  <a:lnTo>
                    <a:pt x="34" y="1"/>
                  </a:lnTo>
                  <a:lnTo>
                    <a:pt x="30" y="0"/>
                  </a:lnTo>
                  <a:lnTo>
                    <a:pt x="24" y="1"/>
                  </a:lnTo>
                  <a:lnTo>
                    <a:pt x="20" y="1"/>
                  </a:lnTo>
                  <a:lnTo>
                    <a:pt x="11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1" y="11"/>
                  </a:lnTo>
                  <a:lnTo>
                    <a:pt x="6" y="11"/>
                  </a:lnTo>
                  <a:lnTo>
                    <a:pt x="6" y="12"/>
                  </a:lnTo>
                  <a:lnTo>
                    <a:pt x="6" y="15"/>
                  </a:lnTo>
                  <a:lnTo>
                    <a:pt x="6" y="16"/>
                  </a:lnTo>
                  <a:lnTo>
                    <a:pt x="7" y="16"/>
                  </a:lnTo>
                  <a:lnTo>
                    <a:pt x="9" y="25"/>
                  </a:lnTo>
                  <a:lnTo>
                    <a:pt x="9" y="27"/>
                  </a:lnTo>
                  <a:lnTo>
                    <a:pt x="11" y="29"/>
                  </a:lnTo>
                  <a:lnTo>
                    <a:pt x="12" y="30"/>
                  </a:lnTo>
                  <a:lnTo>
                    <a:pt x="14" y="31"/>
                  </a:lnTo>
                  <a:lnTo>
                    <a:pt x="16" y="33"/>
                  </a:lnTo>
                  <a:lnTo>
                    <a:pt x="17" y="36"/>
                  </a:lnTo>
                  <a:lnTo>
                    <a:pt x="17" y="41"/>
                  </a:lnTo>
                  <a:lnTo>
                    <a:pt x="18" y="46"/>
                  </a:lnTo>
                  <a:lnTo>
                    <a:pt x="17" y="51"/>
                  </a:lnTo>
                  <a:lnTo>
                    <a:pt x="17" y="57"/>
                  </a:lnTo>
                  <a:lnTo>
                    <a:pt x="14" y="60"/>
                  </a:lnTo>
                  <a:lnTo>
                    <a:pt x="11" y="65"/>
                  </a:lnTo>
                  <a:lnTo>
                    <a:pt x="11" y="66"/>
                  </a:lnTo>
                  <a:lnTo>
                    <a:pt x="8" y="69"/>
                  </a:lnTo>
                  <a:lnTo>
                    <a:pt x="3" y="78"/>
                  </a:lnTo>
                  <a:lnTo>
                    <a:pt x="1" y="80"/>
                  </a:lnTo>
                  <a:lnTo>
                    <a:pt x="1" y="85"/>
                  </a:lnTo>
                  <a:lnTo>
                    <a:pt x="3" y="88"/>
                  </a:lnTo>
                  <a:lnTo>
                    <a:pt x="4" y="90"/>
                  </a:lnTo>
                  <a:lnTo>
                    <a:pt x="6" y="90"/>
                  </a:lnTo>
                  <a:lnTo>
                    <a:pt x="8" y="89"/>
                  </a:lnTo>
                  <a:lnTo>
                    <a:pt x="11" y="88"/>
                  </a:lnTo>
                  <a:lnTo>
                    <a:pt x="14" y="89"/>
                  </a:lnTo>
                  <a:lnTo>
                    <a:pt x="14" y="90"/>
                  </a:lnTo>
                  <a:lnTo>
                    <a:pt x="11" y="91"/>
                  </a:lnTo>
                  <a:lnTo>
                    <a:pt x="8" y="93"/>
                  </a:lnTo>
                  <a:lnTo>
                    <a:pt x="6" y="93"/>
                  </a:lnTo>
                  <a:lnTo>
                    <a:pt x="2" y="98"/>
                  </a:lnTo>
                  <a:lnTo>
                    <a:pt x="6" y="101"/>
                  </a:lnTo>
                  <a:lnTo>
                    <a:pt x="61" y="139"/>
                  </a:lnTo>
                  <a:lnTo>
                    <a:pt x="61" y="140"/>
                  </a:lnTo>
                  <a:lnTo>
                    <a:pt x="62" y="142"/>
                  </a:lnTo>
                  <a:lnTo>
                    <a:pt x="63" y="149"/>
                  </a:lnTo>
                  <a:lnTo>
                    <a:pt x="64" y="152"/>
                  </a:lnTo>
                  <a:lnTo>
                    <a:pt x="87" y="168"/>
                  </a:lnTo>
                  <a:lnTo>
                    <a:pt x="90" y="167"/>
                  </a:lnTo>
                  <a:lnTo>
                    <a:pt x="91" y="164"/>
                  </a:lnTo>
                  <a:lnTo>
                    <a:pt x="92" y="162"/>
                  </a:lnTo>
                  <a:lnTo>
                    <a:pt x="93" y="160"/>
                  </a:lnTo>
                  <a:lnTo>
                    <a:pt x="94" y="154"/>
                  </a:lnTo>
                  <a:lnTo>
                    <a:pt x="98" y="150"/>
                  </a:lnTo>
                  <a:lnTo>
                    <a:pt x="101" y="143"/>
                  </a:lnTo>
                  <a:lnTo>
                    <a:pt x="101" y="138"/>
                  </a:lnTo>
                  <a:lnTo>
                    <a:pt x="103" y="133"/>
                  </a:lnTo>
                  <a:lnTo>
                    <a:pt x="105" y="131"/>
                  </a:lnTo>
                  <a:lnTo>
                    <a:pt x="105" y="130"/>
                  </a:lnTo>
                  <a:lnTo>
                    <a:pt x="111" y="128"/>
                  </a:lnTo>
                  <a:lnTo>
                    <a:pt x="111" y="126"/>
                  </a:lnTo>
                  <a:lnTo>
                    <a:pt x="112" y="123"/>
                  </a:lnTo>
                  <a:lnTo>
                    <a:pt x="114" y="120"/>
                  </a:lnTo>
                  <a:lnTo>
                    <a:pt x="115" y="119"/>
                  </a:lnTo>
                  <a:lnTo>
                    <a:pt x="119" y="119"/>
                  </a:lnTo>
                  <a:lnTo>
                    <a:pt x="122" y="116"/>
                  </a:lnTo>
                  <a:lnTo>
                    <a:pt x="122" y="113"/>
                  </a:lnTo>
                  <a:lnTo>
                    <a:pt x="122" y="112"/>
                  </a:lnTo>
                  <a:lnTo>
                    <a:pt x="115" y="103"/>
                  </a:lnTo>
                  <a:lnTo>
                    <a:pt x="114" y="100"/>
                  </a:lnTo>
                  <a:lnTo>
                    <a:pt x="114" y="86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45" name="Freeform 1045"/>
            <p:cNvSpPr>
              <a:spLocks/>
            </p:cNvSpPr>
            <p:nvPr/>
          </p:nvSpPr>
          <p:spPr bwMode="auto">
            <a:xfrm>
              <a:off x="3545" y="1319"/>
              <a:ext cx="271" cy="151"/>
            </a:xfrm>
            <a:custGeom>
              <a:avLst/>
              <a:gdLst>
                <a:gd name="T0" fmla="*/ 13 w 271"/>
                <a:gd name="T1" fmla="*/ 63 h 151"/>
                <a:gd name="T2" fmla="*/ 31 w 271"/>
                <a:gd name="T3" fmla="*/ 75 h 151"/>
                <a:gd name="T4" fmla="*/ 31 w 271"/>
                <a:gd name="T5" fmla="*/ 66 h 151"/>
                <a:gd name="T6" fmla="*/ 39 w 271"/>
                <a:gd name="T7" fmla="*/ 62 h 151"/>
                <a:gd name="T8" fmla="*/ 42 w 271"/>
                <a:gd name="T9" fmla="*/ 57 h 151"/>
                <a:gd name="T10" fmla="*/ 45 w 271"/>
                <a:gd name="T11" fmla="*/ 56 h 151"/>
                <a:gd name="T12" fmla="*/ 49 w 271"/>
                <a:gd name="T13" fmla="*/ 53 h 151"/>
                <a:gd name="T14" fmla="*/ 61 w 271"/>
                <a:gd name="T15" fmla="*/ 59 h 151"/>
                <a:gd name="T16" fmla="*/ 72 w 271"/>
                <a:gd name="T17" fmla="*/ 63 h 151"/>
                <a:gd name="T18" fmla="*/ 76 w 271"/>
                <a:gd name="T19" fmla="*/ 68 h 151"/>
                <a:gd name="T20" fmla="*/ 75 w 271"/>
                <a:gd name="T21" fmla="*/ 75 h 151"/>
                <a:gd name="T22" fmla="*/ 89 w 271"/>
                <a:gd name="T23" fmla="*/ 79 h 151"/>
                <a:gd name="T24" fmla="*/ 99 w 271"/>
                <a:gd name="T25" fmla="*/ 77 h 151"/>
                <a:gd name="T26" fmla="*/ 107 w 271"/>
                <a:gd name="T27" fmla="*/ 85 h 151"/>
                <a:gd name="T28" fmla="*/ 114 w 271"/>
                <a:gd name="T29" fmla="*/ 93 h 151"/>
                <a:gd name="T30" fmla="*/ 122 w 271"/>
                <a:gd name="T31" fmla="*/ 105 h 151"/>
                <a:gd name="T32" fmla="*/ 151 w 271"/>
                <a:gd name="T33" fmla="*/ 119 h 151"/>
                <a:gd name="T34" fmla="*/ 171 w 271"/>
                <a:gd name="T35" fmla="*/ 132 h 151"/>
                <a:gd name="T36" fmla="*/ 184 w 271"/>
                <a:gd name="T37" fmla="*/ 135 h 151"/>
                <a:gd name="T38" fmla="*/ 190 w 271"/>
                <a:gd name="T39" fmla="*/ 140 h 151"/>
                <a:gd name="T40" fmla="*/ 191 w 271"/>
                <a:gd name="T41" fmla="*/ 150 h 151"/>
                <a:gd name="T42" fmla="*/ 203 w 271"/>
                <a:gd name="T43" fmla="*/ 151 h 151"/>
                <a:gd name="T44" fmla="*/ 209 w 271"/>
                <a:gd name="T45" fmla="*/ 150 h 151"/>
                <a:gd name="T46" fmla="*/ 211 w 271"/>
                <a:gd name="T47" fmla="*/ 140 h 151"/>
                <a:gd name="T48" fmla="*/ 214 w 271"/>
                <a:gd name="T49" fmla="*/ 135 h 151"/>
                <a:gd name="T50" fmla="*/ 207 w 271"/>
                <a:gd name="T51" fmla="*/ 126 h 151"/>
                <a:gd name="T52" fmla="*/ 204 w 271"/>
                <a:gd name="T53" fmla="*/ 118 h 151"/>
                <a:gd name="T54" fmla="*/ 196 w 271"/>
                <a:gd name="T55" fmla="*/ 116 h 151"/>
                <a:gd name="T56" fmla="*/ 195 w 271"/>
                <a:gd name="T57" fmla="*/ 109 h 151"/>
                <a:gd name="T58" fmla="*/ 204 w 271"/>
                <a:gd name="T59" fmla="*/ 109 h 151"/>
                <a:gd name="T60" fmla="*/ 211 w 271"/>
                <a:gd name="T61" fmla="*/ 101 h 151"/>
                <a:gd name="T62" fmla="*/ 217 w 271"/>
                <a:gd name="T63" fmla="*/ 96 h 151"/>
                <a:gd name="T64" fmla="*/ 216 w 271"/>
                <a:gd name="T65" fmla="*/ 89 h 151"/>
                <a:gd name="T66" fmla="*/ 225 w 271"/>
                <a:gd name="T67" fmla="*/ 87 h 151"/>
                <a:gd name="T68" fmla="*/ 233 w 271"/>
                <a:gd name="T69" fmla="*/ 83 h 151"/>
                <a:gd name="T70" fmla="*/ 236 w 271"/>
                <a:gd name="T71" fmla="*/ 89 h 151"/>
                <a:gd name="T72" fmla="*/ 237 w 271"/>
                <a:gd name="T73" fmla="*/ 97 h 151"/>
                <a:gd name="T74" fmla="*/ 245 w 271"/>
                <a:gd name="T75" fmla="*/ 96 h 151"/>
                <a:gd name="T76" fmla="*/ 257 w 271"/>
                <a:gd name="T77" fmla="*/ 96 h 151"/>
                <a:gd name="T78" fmla="*/ 262 w 271"/>
                <a:gd name="T79" fmla="*/ 91 h 151"/>
                <a:gd name="T80" fmla="*/ 271 w 271"/>
                <a:gd name="T81" fmla="*/ 88 h 151"/>
                <a:gd name="T82" fmla="*/ 263 w 271"/>
                <a:gd name="T83" fmla="*/ 85 h 151"/>
                <a:gd name="T84" fmla="*/ 249 w 271"/>
                <a:gd name="T85" fmla="*/ 79 h 151"/>
                <a:gd name="T86" fmla="*/ 245 w 271"/>
                <a:gd name="T87" fmla="*/ 78 h 151"/>
                <a:gd name="T88" fmla="*/ 234 w 271"/>
                <a:gd name="T89" fmla="*/ 78 h 151"/>
                <a:gd name="T90" fmla="*/ 225 w 271"/>
                <a:gd name="T91" fmla="*/ 75 h 151"/>
                <a:gd name="T92" fmla="*/ 232 w 271"/>
                <a:gd name="T93" fmla="*/ 64 h 151"/>
                <a:gd name="T94" fmla="*/ 229 w 271"/>
                <a:gd name="T95" fmla="*/ 62 h 151"/>
                <a:gd name="T96" fmla="*/ 223 w 271"/>
                <a:gd name="T97" fmla="*/ 68 h 151"/>
                <a:gd name="T98" fmla="*/ 212 w 271"/>
                <a:gd name="T99" fmla="*/ 75 h 151"/>
                <a:gd name="T100" fmla="*/ 208 w 271"/>
                <a:gd name="T101" fmla="*/ 80 h 151"/>
                <a:gd name="T102" fmla="*/ 198 w 271"/>
                <a:gd name="T103" fmla="*/ 80 h 151"/>
                <a:gd name="T104" fmla="*/ 171 w 271"/>
                <a:gd name="T105" fmla="*/ 68 h 151"/>
                <a:gd name="T106" fmla="*/ 162 w 271"/>
                <a:gd name="T107" fmla="*/ 59 h 151"/>
                <a:gd name="T108" fmla="*/ 144 w 271"/>
                <a:gd name="T109" fmla="*/ 39 h 151"/>
                <a:gd name="T110" fmla="*/ 132 w 271"/>
                <a:gd name="T111" fmla="*/ 36 h 151"/>
                <a:gd name="T112" fmla="*/ 70 w 271"/>
                <a:gd name="T113" fmla="*/ 20 h 151"/>
                <a:gd name="T114" fmla="*/ 42 w 271"/>
                <a:gd name="T115" fmla="*/ 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1" h="151">
                  <a:moveTo>
                    <a:pt x="0" y="13"/>
                  </a:moveTo>
                  <a:lnTo>
                    <a:pt x="4" y="29"/>
                  </a:lnTo>
                  <a:lnTo>
                    <a:pt x="9" y="46"/>
                  </a:lnTo>
                  <a:lnTo>
                    <a:pt x="13" y="63"/>
                  </a:lnTo>
                  <a:lnTo>
                    <a:pt x="16" y="77"/>
                  </a:lnTo>
                  <a:lnTo>
                    <a:pt x="32" y="79"/>
                  </a:lnTo>
                  <a:lnTo>
                    <a:pt x="33" y="78"/>
                  </a:lnTo>
                  <a:lnTo>
                    <a:pt x="31" y="75"/>
                  </a:lnTo>
                  <a:lnTo>
                    <a:pt x="31" y="73"/>
                  </a:lnTo>
                  <a:lnTo>
                    <a:pt x="29" y="68"/>
                  </a:lnTo>
                  <a:lnTo>
                    <a:pt x="29" y="67"/>
                  </a:lnTo>
                  <a:lnTo>
                    <a:pt x="31" y="66"/>
                  </a:lnTo>
                  <a:lnTo>
                    <a:pt x="31" y="64"/>
                  </a:lnTo>
                  <a:lnTo>
                    <a:pt x="32" y="63"/>
                  </a:lnTo>
                  <a:lnTo>
                    <a:pt x="34" y="63"/>
                  </a:lnTo>
                  <a:lnTo>
                    <a:pt x="39" y="62"/>
                  </a:lnTo>
                  <a:lnTo>
                    <a:pt x="40" y="62"/>
                  </a:lnTo>
                  <a:lnTo>
                    <a:pt x="41" y="59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5" y="59"/>
                  </a:lnTo>
                  <a:lnTo>
                    <a:pt x="47" y="59"/>
                  </a:lnTo>
                  <a:lnTo>
                    <a:pt x="46" y="57"/>
                  </a:lnTo>
                  <a:lnTo>
                    <a:pt x="45" y="56"/>
                  </a:lnTo>
                  <a:lnTo>
                    <a:pt x="43" y="55"/>
                  </a:lnTo>
                  <a:lnTo>
                    <a:pt x="44" y="54"/>
                  </a:lnTo>
                  <a:lnTo>
                    <a:pt x="46" y="54"/>
                  </a:lnTo>
                  <a:lnTo>
                    <a:pt x="49" y="53"/>
                  </a:lnTo>
                  <a:lnTo>
                    <a:pt x="47" y="52"/>
                  </a:lnTo>
                  <a:lnTo>
                    <a:pt x="55" y="56"/>
                  </a:lnTo>
                  <a:lnTo>
                    <a:pt x="59" y="58"/>
                  </a:lnTo>
                  <a:lnTo>
                    <a:pt x="61" y="59"/>
                  </a:lnTo>
                  <a:lnTo>
                    <a:pt x="63" y="60"/>
                  </a:lnTo>
                  <a:lnTo>
                    <a:pt x="65" y="60"/>
                  </a:lnTo>
                  <a:lnTo>
                    <a:pt x="70" y="60"/>
                  </a:lnTo>
                  <a:lnTo>
                    <a:pt x="72" y="63"/>
                  </a:lnTo>
                  <a:lnTo>
                    <a:pt x="72" y="65"/>
                  </a:lnTo>
                  <a:lnTo>
                    <a:pt x="72" y="66"/>
                  </a:lnTo>
                  <a:lnTo>
                    <a:pt x="74" y="68"/>
                  </a:lnTo>
                  <a:lnTo>
                    <a:pt x="76" y="68"/>
                  </a:lnTo>
                  <a:lnTo>
                    <a:pt x="74" y="69"/>
                  </a:lnTo>
                  <a:lnTo>
                    <a:pt x="75" y="71"/>
                  </a:lnTo>
                  <a:lnTo>
                    <a:pt x="75" y="74"/>
                  </a:lnTo>
                  <a:lnTo>
                    <a:pt x="75" y="75"/>
                  </a:lnTo>
                  <a:lnTo>
                    <a:pt x="77" y="77"/>
                  </a:lnTo>
                  <a:lnTo>
                    <a:pt x="82" y="79"/>
                  </a:lnTo>
                  <a:lnTo>
                    <a:pt x="86" y="79"/>
                  </a:lnTo>
                  <a:lnTo>
                    <a:pt x="89" y="79"/>
                  </a:lnTo>
                  <a:lnTo>
                    <a:pt x="95" y="80"/>
                  </a:lnTo>
                  <a:lnTo>
                    <a:pt x="97" y="80"/>
                  </a:lnTo>
                  <a:lnTo>
                    <a:pt x="96" y="78"/>
                  </a:lnTo>
                  <a:lnTo>
                    <a:pt x="99" y="77"/>
                  </a:lnTo>
                  <a:lnTo>
                    <a:pt x="101" y="78"/>
                  </a:lnTo>
                  <a:lnTo>
                    <a:pt x="104" y="81"/>
                  </a:lnTo>
                  <a:lnTo>
                    <a:pt x="106" y="83"/>
                  </a:lnTo>
                  <a:lnTo>
                    <a:pt x="107" y="85"/>
                  </a:lnTo>
                  <a:lnTo>
                    <a:pt x="109" y="88"/>
                  </a:lnTo>
                  <a:lnTo>
                    <a:pt x="111" y="90"/>
                  </a:lnTo>
                  <a:lnTo>
                    <a:pt x="113" y="91"/>
                  </a:lnTo>
                  <a:lnTo>
                    <a:pt x="114" y="93"/>
                  </a:lnTo>
                  <a:lnTo>
                    <a:pt x="116" y="97"/>
                  </a:lnTo>
                  <a:lnTo>
                    <a:pt x="117" y="99"/>
                  </a:lnTo>
                  <a:lnTo>
                    <a:pt x="120" y="103"/>
                  </a:lnTo>
                  <a:lnTo>
                    <a:pt x="122" y="105"/>
                  </a:lnTo>
                  <a:lnTo>
                    <a:pt x="136" y="111"/>
                  </a:lnTo>
                  <a:lnTo>
                    <a:pt x="144" y="118"/>
                  </a:lnTo>
                  <a:lnTo>
                    <a:pt x="146" y="119"/>
                  </a:lnTo>
                  <a:lnTo>
                    <a:pt x="151" y="119"/>
                  </a:lnTo>
                  <a:lnTo>
                    <a:pt x="155" y="121"/>
                  </a:lnTo>
                  <a:lnTo>
                    <a:pt x="162" y="126"/>
                  </a:lnTo>
                  <a:lnTo>
                    <a:pt x="168" y="131"/>
                  </a:lnTo>
                  <a:lnTo>
                    <a:pt x="171" y="132"/>
                  </a:lnTo>
                  <a:lnTo>
                    <a:pt x="173" y="134"/>
                  </a:lnTo>
                  <a:lnTo>
                    <a:pt x="175" y="132"/>
                  </a:lnTo>
                  <a:lnTo>
                    <a:pt x="177" y="132"/>
                  </a:lnTo>
                  <a:lnTo>
                    <a:pt x="184" y="135"/>
                  </a:lnTo>
                  <a:lnTo>
                    <a:pt x="185" y="136"/>
                  </a:lnTo>
                  <a:lnTo>
                    <a:pt x="187" y="137"/>
                  </a:lnTo>
                  <a:lnTo>
                    <a:pt x="190" y="138"/>
                  </a:lnTo>
                  <a:lnTo>
                    <a:pt x="190" y="140"/>
                  </a:lnTo>
                  <a:lnTo>
                    <a:pt x="188" y="142"/>
                  </a:lnTo>
                  <a:lnTo>
                    <a:pt x="190" y="147"/>
                  </a:lnTo>
                  <a:lnTo>
                    <a:pt x="191" y="148"/>
                  </a:lnTo>
                  <a:lnTo>
                    <a:pt x="191" y="150"/>
                  </a:lnTo>
                  <a:lnTo>
                    <a:pt x="191" y="150"/>
                  </a:lnTo>
                  <a:lnTo>
                    <a:pt x="198" y="149"/>
                  </a:lnTo>
                  <a:lnTo>
                    <a:pt x="201" y="150"/>
                  </a:lnTo>
                  <a:lnTo>
                    <a:pt x="203" y="151"/>
                  </a:lnTo>
                  <a:lnTo>
                    <a:pt x="205" y="151"/>
                  </a:lnTo>
                  <a:lnTo>
                    <a:pt x="208" y="151"/>
                  </a:lnTo>
                  <a:lnTo>
                    <a:pt x="208" y="151"/>
                  </a:lnTo>
                  <a:lnTo>
                    <a:pt x="209" y="150"/>
                  </a:lnTo>
                  <a:lnTo>
                    <a:pt x="209" y="149"/>
                  </a:lnTo>
                  <a:lnTo>
                    <a:pt x="208" y="147"/>
                  </a:lnTo>
                  <a:lnTo>
                    <a:pt x="209" y="144"/>
                  </a:lnTo>
                  <a:lnTo>
                    <a:pt x="211" y="140"/>
                  </a:lnTo>
                  <a:lnTo>
                    <a:pt x="212" y="139"/>
                  </a:lnTo>
                  <a:lnTo>
                    <a:pt x="213" y="138"/>
                  </a:lnTo>
                  <a:lnTo>
                    <a:pt x="214" y="136"/>
                  </a:lnTo>
                  <a:lnTo>
                    <a:pt x="214" y="135"/>
                  </a:lnTo>
                  <a:lnTo>
                    <a:pt x="213" y="132"/>
                  </a:lnTo>
                  <a:lnTo>
                    <a:pt x="211" y="131"/>
                  </a:lnTo>
                  <a:lnTo>
                    <a:pt x="209" y="129"/>
                  </a:lnTo>
                  <a:lnTo>
                    <a:pt x="207" y="126"/>
                  </a:lnTo>
                  <a:lnTo>
                    <a:pt x="207" y="124"/>
                  </a:lnTo>
                  <a:lnTo>
                    <a:pt x="207" y="121"/>
                  </a:lnTo>
                  <a:lnTo>
                    <a:pt x="206" y="119"/>
                  </a:lnTo>
                  <a:lnTo>
                    <a:pt x="204" y="118"/>
                  </a:lnTo>
                  <a:lnTo>
                    <a:pt x="202" y="119"/>
                  </a:lnTo>
                  <a:lnTo>
                    <a:pt x="200" y="118"/>
                  </a:lnTo>
                  <a:lnTo>
                    <a:pt x="198" y="117"/>
                  </a:lnTo>
                  <a:lnTo>
                    <a:pt x="196" y="116"/>
                  </a:lnTo>
                  <a:lnTo>
                    <a:pt x="194" y="114"/>
                  </a:lnTo>
                  <a:lnTo>
                    <a:pt x="195" y="113"/>
                  </a:lnTo>
                  <a:lnTo>
                    <a:pt x="194" y="110"/>
                  </a:lnTo>
                  <a:lnTo>
                    <a:pt x="195" y="109"/>
                  </a:lnTo>
                  <a:lnTo>
                    <a:pt x="197" y="108"/>
                  </a:lnTo>
                  <a:lnTo>
                    <a:pt x="200" y="108"/>
                  </a:lnTo>
                  <a:lnTo>
                    <a:pt x="201" y="109"/>
                  </a:lnTo>
                  <a:lnTo>
                    <a:pt x="204" y="109"/>
                  </a:lnTo>
                  <a:lnTo>
                    <a:pt x="207" y="109"/>
                  </a:lnTo>
                  <a:lnTo>
                    <a:pt x="209" y="108"/>
                  </a:lnTo>
                  <a:lnTo>
                    <a:pt x="211" y="103"/>
                  </a:lnTo>
                  <a:lnTo>
                    <a:pt x="211" y="101"/>
                  </a:lnTo>
                  <a:lnTo>
                    <a:pt x="212" y="100"/>
                  </a:lnTo>
                  <a:lnTo>
                    <a:pt x="216" y="99"/>
                  </a:lnTo>
                  <a:lnTo>
                    <a:pt x="217" y="98"/>
                  </a:lnTo>
                  <a:lnTo>
                    <a:pt x="217" y="96"/>
                  </a:lnTo>
                  <a:lnTo>
                    <a:pt x="217" y="94"/>
                  </a:lnTo>
                  <a:lnTo>
                    <a:pt x="215" y="93"/>
                  </a:lnTo>
                  <a:lnTo>
                    <a:pt x="217" y="91"/>
                  </a:lnTo>
                  <a:lnTo>
                    <a:pt x="216" y="89"/>
                  </a:lnTo>
                  <a:lnTo>
                    <a:pt x="218" y="88"/>
                  </a:lnTo>
                  <a:lnTo>
                    <a:pt x="221" y="89"/>
                  </a:lnTo>
                  <a:lnTo>
                    <a:pt x="223" y="89"/>
                  </a:lnTo>
                  <a:lnTo>
                    <a:pt x="225" y="87"/>
                  </a:lnTo>
                  <a:lnTo>
                    <a:pt x="228" y="85"/>
                  </a:lnTo>
                  <a:lnTo>
                    <a:pt x="229" y="84"/>
                  </a:lnTo>
                  <a:lnTo>
                    <a:pt x="231" y="83"/>
                  </a:lnTo>
                  <a:lnTo>
                    <a:pt x="233" y="83"/>
                  </a:lnTo>
                  <a:lnTo>
                    <a:pt x="234" y="85"/>
                  </a:lnTo>
                  <a:lnTo>
                    <a:pt x="235" y="86"/>
                  </a:lnTo>
                  <a:lnTo>
                    <a:pt x="236" y="88"/>
                  </a:lnTo>
                  <a:lnTo>
                    <a:pt x="236" y="89"/>
                  </a:lnTo>
                  <a:lnTo>
                    <a:pt x="234" y="90"/>
                  </a:lnTo>
                  <a:lnTo>
                    <a:pt x="233" y="91"/>
                  </a:lnTo>
                  <a:lnTo>
                    <a:pt x="235" y="96"/>
                  </a:lnTo>
                  <a:lnTo>
                    <a:pt x="237" y="97"/>
                  </a:lnTo>
                  <a:lnTo>
                    <a:pt x="238" y="97"/>
                  </a:lnTo>
                  <a:lnTo>
                    <a:pt x="241" y="96"/>
                  </a:lnTo>
                  <a:lnTo>
                    <a:pt x="242" y="96"/>
                  </a:lnTo>
                  <a:lnTo>
                    <a:pt x="245" y="96"/>
                  </a:lnTo>
                  <a:lnTo>
                    <a:pt x="247" y="96"/>
                  </a:lnTo>
                  <a:lnTo>
                    <a:pt x="252" y="98"/>
                  </a:lnTo>
                  <a:lnTo>
                    <a:pt x="256" y="97"/>
                  </a:lnTo>
                  <a:lnTo>
                    <a:pt x="257" y="96"/>
                  </a:lnTo>
                  <a:lnTo>
                    <a:pt x="257" y="94"/>
                  </a:lnTo>
                  <a:lnTo>
                    <a:pt x="259" y="93"/>
                  </a:lnTo>
                  <a:lnTo>
                    <a:pt x="262" y="93"/>
                  </a:lnTo>
                  <a:lnTo>
                    <a:pt x="262" y="91"/>
                  </a:lnTo>
                  <a:lnTo>
                    <a:pt x="264" y="93"/>
                  </a:lnTo>
                  <a:lnTo>
                    <a:pt x="266" y="91"/>
                  </a:lnTo>
                  <a:lnTo>
                    <a:pt x="266" y="89"/>
                  </a:lnTo>
                  <a:lnTo>
                    <a:pt x="271" y="88"/>
                  </a:lnTo>
                  <a:lnTo>
                    <a:pt x="271" y="86"/>
                  </a:lnTo>
                  <a:lnTo>
                    <a:pt x="268" y="86"/>
                  </a:lnTo>
                  <a:lnTo>
                    <a:pt x="267" y="86"/>
                  </a:lnTo>
                  <a:lnTo>
                    <a:pt x="263" y="85"/>
                  </a:lnTo>
                  <a:lnTo>
                    <a:pt x="258" y="83"/>
                  </a:lnTo>
                  <a:lnTo>
                    <a:pt x="256" y="83"/>
                  </a:lnTo>
                  <a:lnTo>
                    <a:pt x="254" y="81"/>
                  </a:lnTo>
                  <a:lnTo>
                    <a:pt x="249" y="79"/>
                  </a:lnTo>
                  <a:lnTo>
                    <a:pt x="249" y="77"/>
                  </a:lnTo>
                  <a:lnTo>
                    <a:pt x="247" y="75"/>
                  </a:lnTo>
                  <a:lnTo>
                    <a:pt x="245" y="74"/>
                  </a:lnTo>
                  <a:lnTo>
                    <a:pt x="245" y="78"/>
                  </a:lnTo>
                  <a:lnTo>
                    <a:pt x="244" y="79"/>
                  </a:lnTo>
                  <a:lnTo>
                    <a:pt x="243" y="81"/>
                  </a:lnTo>
                  <a:lnTo>
                    <a:pt x="242" y="81"/>
                  </a:lnTo>
                  <a:lnTo>
                    <a:pt x="234" y="78"/>
                  </a:lnTo>
                  <a:lnTo>
                    <a:pt x="231" y="75"/>
                  </a:lnTo>
                  <a:lnTo>
                    <a:pt x="229" y="76"/>
                  </a:lnTo>
                  <a:lnTo>
                    <a:pt x="227" y="75"/>
                  </a:lnTo>
                  <a:lnTo>
                    <a:pt x="225" y="75"/>
                  </a:lnTo>
                  <a:lnTo>
                    <a:pt x="225" y="73"/>
                  </a:lnTo>
                  <a:lnTo>
                    <a:pt x="227" y="70"/>
                  </a:lnTo>
                  <a:lnTo>
                    <a:pt x="231" y="67"/>
                  </a:lnTo>
                  <a:lnTo>
                    <a:pt x="232" y="64"/>
                  </a:lnTo>
                  <a:lnTo>
                    <a:pt x="235" y="63"/>
                  </a:lnTo>
                  <a:lnTo>
                    <a:pt x="234" y="60"/>
                  </a:lnTo>
                  <a:lnTo>
                    <a:pt x="229" y="59"/>
                  </a:lnTo>
                  <a:lnTo>
                    <a:pt x="229" y="62"/>
                  </a:lnTo>
                  <a:lnTo>
                    <a:pt x="227" y="64"/>
                  </a:lnTo>
                  <a:lnTo>
                    <a:pt x="225" y="65"/>
                  </a:lnTo>
                  <a:lnTo>
                    <a:pt x="223" y="64"/>
                  </a:lnTo>
                  <a:lnTo>
                    <a:pt x="223" y="68"/>
                  </a:lnTo>
                  <a:lnTo>
                    <a:pt x="222" y="69"/>
                  </a:lnTo>
                  <a:lnTo>
                    <a:pt x="216" y="71"/>
                  </a:lnTo>
                  <a:lnTo>
                    <a:pt x="213" y="74"/>
                  </a:lnTo>
                  <a:lnTo>
                    <a:pt x="212" y="75"/>
                  </a:lnTo>
                  <a:lnTo>
                    <a:pt x="211" y="76"/>
                  </a:lnTo>
                  <a:lnTo>
                    <a:pt x="208" y="77"/>
                  </a:lnTo>
                  <a:lnTo>
                    <a:pt x="208" y="78"/>
                  </a:lnTo>
                  <a:lnTo>
                    <a:pt x="208" y="80"/>
                  </a:lnTo>
                  <a:lnTo>
                    <a:pt x="207" y="81"/>
                  </a:lnTo>
                  <a:lnTo>
                    <a:pt x="205" y="83"/>
                  </a:lnTo>
                  <a:lnTo>
                    <a:pt x="203" y="83"/>
                  </a:lnTo>
                  <a:lnTo>
                    <a:pt x="198" y="80"/>
                  </a:lnTo>
                  <a:lnTo>
                    <a:pt x="196" y="80"/>
                  </a:lnTo>
                  <a:lnTo>
                    <a:pt x="192" y="78"/>
                  </a:lnTo>
                  <a:lnTo>
                    <a:pt x="177" y="79"/>
                  </a:lnTo>
                  <a:lnTo>
                    <a:pt x="171" y="68"/>
                  </a:lnTo>
                  <a:lnTo>
                    <a:pt x="162" y="67"/>
                  </a:lnTo>
                  <a:lnTo>
                    <a:pt x="161" y="64"/>
                  </a:lnTo>
                  <a:lnTo>
                    <a:pt x="160" y="59"/>
                  </a:lnTo>
                  <a:lnTo>
                    <a:pt x="162" y="59"/>
                  </a:lnTo>
                  <a:lnTo>
                    <a:pt x="158" y="49"/>
                  </a:lnTo>
                  <a:lnTo>
                    <a:pt x="155" y="49"/>
                  </a:lnTo>
                  <a:lnTo>
                    <a:pt x="147" y="42"/>
                  </a:lnTo>
                  <a:lnTo>
                    <a:pt x="144" y="39"/>
                  </a:lnTo>
                  <a:lnTo>
                    <a:pt x="142" y="38"/>
                  </a:lnTo>
                  <a:lnTo>
                    <a:pt x="137" y="36"/>
                  </a:lnTo>
                  <a:lnTo>
                    <a:pt x="135" y="34"/>
                  </a:lnTo>
                  <a:lnTo>
                    <a:pt x="132" y="36"/>
                  </a:lnTo>
                  <a:lnTo>
                    <a:pt x="112" y="35"/>
                  </a:lnTo>
                  <a:lnTo>
                    <a:pt x="94" y="38"/>
                  </a:lnTo>
                  <a:lnTo>
                    <a:pt x="85" y="32"/>
                  </a:lnTo>
                  <a:lnTo>
                    <a:pt x="70" y="20"/>
                  </a:lnTo>
                  <a:lnTo>
                    <a:pt x="59" y="13"/>
                  </a:lnTo>
                  <a:lnTo>
                    <a:pt x="54" y="10"/>
                  </a:lnTo>
                  <a:lnTo>
                    <a:pt x="49" y="7"/>
                  </a:lnTo>
                  <a:lnTo>
                    <a:pt x="42" y="4"/>
                  </a:lnTo>
                  <a:lnTo>
                    <a:pt x="33" y="0"/>
                  </a:ln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46" name="Freeform 1046"/>
            <p:cNvSpPr>
              <a:spLocks/>
            </p:cNvSpPr>
            <p:nvPr/>
          </p:nvSpPr>
          <p:spPr bwMode="auto">
            <a:xfrm>
              <a:off x="3545" y="1319"/>
              <a:ext cx="271" cy="151"/>
            </a:xfrm>
            <a:custGeom>
              <a:avLst/>
              <a:gdLst>
                <a:gd name="T0" fmla="*/ 13 w 271"/>
                <a:gd name="T1" fmla="*/ 63 h 151"/>
                <a:gd name="T2" fmla="*/ 31 w 271"/>
                <a:gd name="T3" fmla="*/ 75 h 151"/>
                <a:gd name="T4" fmla="*/ 31 w 271"/>
                <a:gd name="T5" fmla="*/ 66 h 151"/>
                <a:gd name="T6" fmla="*/ 39 w 271"/>
                <a:gd name="T7" fmla="*/ 62 h 151"/>
                <a:gd name="T8" fmla="*/ 42 w 271"/>
                <a:gd name="T9" fmla="*/ 57 h 151"/>
                <a:gd name="T10" fmla="*/ 45 w 271"/>
                <a:gd name="T11" fmla="*/ 56 h 151"/>
                <a:gd name="T12" fmla="*/ 49 w 271"/>
                <a:gd name="T13" fmla="*/ 53 h 151"/>
                <a:gd name="T14" fmla="*/ 61 w 271"/>
                <a:gd name="T15" fmla="*/ 59 h 151"/>
                <a:gd name="T16" fmla="*/ 72 w 271"/>
                <a:gd name="T17" fmla="*/ 63 h 151"/>
                <a:gd name="T18" fmla="*/ 76 w 271"/>
                <a:gd name="T19" fmla="*/ 68 h 151"/>
                <a:gd name="T20" fmla="*/ 75 w 271"/>
                <a:gd name="T21" fmla="*/ 75 h 151"/>
                <a:gd name="T22" fmla="*/ 89 w 271"/>
                <a:gd name="T23" fmla="*/ 79 h 151"/>
                <a:gd name="T24" fmla="*/ 99 w 271"/>
                <a:gd name="T25" fmla="*/ 77 h 151"/>
                <a:gd name="T26" fmla="*/ 107 w 271"/>
                <a:gd name="T27" fmla="*/ 85 h 151"/>
                <a:gd name="T28" fmla="*/ 114 w 271"/>
                <a:gd name="T29" fmla="*/ 93 h 151"/>
                <a:gd name="T30" fmla="*/ 122 w 271"/>
                <a:gd name="T31" fmla="*/ 105 h 151"/>
                <a:gd name="T32" fmla="*/ 151 w 271"/>
                <a:gd name="T33" fmla="*/ 119 h 151"/>
                <a:gd name="T34" fmla="*/ 171 w 271"/>
                <a:gd name="T35" fmla="*/ 132 h 151"/>
                <a:gd name="T36" fmla="*/ 184 w 271"/>
                <a:gd name="T37" fmla="*/ 135 h 151"/>
                <a:gd name="T38" fmla="*/ 190 w 271"/>
                <a:gd name="T39" fmla="*/ 140 h 151"/>
                <a:gd name="T40" fmla="*/ 191 w 271"/>
                <a:gd name="T41" fmla="*/ 150 h 151"/>
                <a:gd name="T42" fmla="*/ 203 w 271"/>
                <a:gd name="T43" fmla="*/ 151 h 151"/>
                <a:gd name="T44" fmla="*/ 209 w 271"/>
                <a:gd name="T45" fmla="*/ 150 h 151"/>
                <a:gd name="T46" fmla="*/ 211 w 271"/>
                <a:gd name="T47" fmla="*/ 140 h 151"/>
                <a:gd name="T48" fmla="*/ 214 w 271"/>
                <a:gd name="T49" fmla="*/ 135 h 151"/>
                <a:gd name="T50" fmla="*/ 207 w 271"/>
                <a:gd name="T51" fmla="*/ 126 h 151"/>
                <a:gd name="T52" fmla="*/ 204 w 271"/>
                <a:gd name="T53" fmla="*/ 118 h 151"/>
                <a:gd name="T54" fmla="*/ 196 w 271"/>
                <a:gd name="T55" fmla="*/ 116 h 151"/>
                <a:gd name="T56" fmla="*/ 195 w 271"/>
                <a:gd name="T57" fmla="*/ 109 h 151"/>
                <a:gd name="T58" fmla="*/ 204 w 271"/>
                <a:gd name="T59" fmla="*/ 109 h 151"/>
                <a:gd name="T60" fmla="*/ 211 w 271"/>
                <a:gd name="T61" fmla="*/ 101 h 151"/>
                <a:gd name="T62" fmla="*/ 217 w 271"/>
                <a:gd name="T63" fmla="*/ 96 h 151"/>
                <a:gd name="T64" fmla="*/ 216 w 271"/>
                <a:gd name="T65" fmla="*/ 89 h 151"/>
                <a:gd name="T66" fmla="*/ 225 w 271"/>
                <a:gd name="T67" fmla="*/ 87 h 151"/>
                <a:gd name="T68" fmla="*/ 233 w 271"/>
                <a:gd name="T69" fmla="*/ 83 h 151"/>
                <a:gd name="T70" fmla="*/ 236 w 271"/>
                <a:gd name="T71" fmla="*/ 89 h 151"/>
                <a:gd name="T72" fmla="*/ 237 w 271"/>
                <a:gd name="T73" fmla="*/ 97 h 151"/>
                <a:gd name="T74" fmla="*/ 245 w 271"/>
                <a:gd name="T75" fmla="*/ 96 h 151"/>
                <a:gd name="T76" fmla="*/ 257 w 271"/>
                <a:gd name="T77" fmla="*/ 96 h 151"/>
                <a:gd name="T78" fmla="*/ 262 w 271"/>
                <a:gd name="T79" fmla="*/ 91 h 151"/>
                <a:gd name="T80" fmla="*/ 271 w 271"/>
                <a:gd name="T81" fmla="*/ 88 h 151"/>
                <a:gd name="T82" fmla="*/ 263 w 271"/>
                <a:gd name="T83" fmla="*/ 85 h 151"/>
                <a:gd name="T84" fmla="*/ 249 w 271"/>
                <a:gd name="T85" fmla="*/ 79 h 151"/>
                <a:gd name="T86" fmla="*/ 245 w 271"/>
                <a:gd name="T87" fmla="*/ 78 h 151"/>
                <a:gd name="T88" fmla="*/ 234 w 271"/>
                <a:gd name="T89" fmla="*/ 78 h 151"/>
                <a:gd name="T90" fmla="*/ 225 w 271"/>
                <a:gd name="T91" fmla="*/ 75 h 151"/>
                <a:gd name="T92" fmla="*/ 232 w 271"/>
                <a:gd name="T93" fmla="*/ 64 h 151"/>
                <a:gd name="T94" fmla="*/ 229 w 271"/>
                <a:gd name="T95" fmla="*/ 62 h 151"/>
                <a:gd name="T96" fmla="*/ 223 w 271"/>
                <a:gd name="T97" fmla="*/ 68 h 151"/>
                <a:gd name="T98" fmla="*/ 212 w 271"/>
                <a:gd name="T99" fmla="*/ 75 h 151"/>
                <a:gd name="T100" fmla="*/ 208 w 271"/>
                <a:gd name="T101" fmla="*/ 80 h 151"/>
                <a:gd name="T102" fmla="*/ 198 w 271"/>
                <a:gd name="T103" fmla="*/ 80 h 151"/>
                <a:gd name="T104" fmla="*/ 171 w 271"/>
                <a:gd name="T105" fmla="*/ 68 h 151"/>
                <a:gd name="T106" fmla="*/ 162 w 271"/>
                <a:gd name="T107" fmla="*/ 59 h 151"/>
                <a:gd name="T108" fmla="*/ 144 w 271"/>
                <a:gd name="T109" fmla="*/ 39 h 151"/>
                <a:gd name="T110" fmla="*/ 132 w 271"/>
                <a:gd name="T111" fmla="*/ 36 h 151"/>
                <a:gd name="T112" fmla="*/ 70 w 271"/>
                <a:gd name="T113" fmla="*/ 20 h 151"/>
                <a:gd name="T114" fmla="*/ 42 w 271"/>
                <a:gd name="T115" fmla="*/ 4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1" h="151">
                  <a:moveTo>
                    <a:pt x="0" y="13"/>
                  </a:moveTo>
                  <a:lnTo>
                    <a:pt x="4" y="29"/>
                  </a:lnTo>
                  <a:lnTo>
                    <a:pt x="9" y="46"/>
                  </a:lnTo>
                  <a:lnTo>
                    <a:pt x="13" y="63"/>
                  </a:lnTo>
                  <a:lnTo>
                    <a:pt x="16" y="77"/>
                  </a:lnTo>
                  <a:lnTo>
                    <a:pt x="32" y="79"/>
                  </a:lnTo>
                  <a:lnTo>
                    <a:pt x="33" y="78"/>
                  </a:lnTo>
                  <a:lnTo>
                    <a:pt x="31" y="75"/>
                  </a:lnTo>
                  <a:lnTo>
                    <a:pt x="31" y="73"/>
                  </a:lnTo>
                  <a:lnTo>
                    <a:pt x="29" y="68"/>
                  </a:lnTo>
                  <a:lnTo>
                    <a:pt x="29" y="67"/>
                  </a:lnTo>
                  <a:lnTo>
                    <a:pt x="31" y="66"/>
                  </a:lnTo>
                  <a:lnTo>
                    <a:pt x="31" y="64"/>
                  </a:lnTo>
                  <a:lnTo>
                    <a:pt x="32" y="63"/>
                  </a:lnTo>
                  <a:lnTo>
                    <a:pt x="34" y="63"/>
                  </a:lnTo>
                  <a:lnTo>
                    <a:pt x="39" y="62"/>
                  </a:lnTo>
                  <a:lnTo>
                    <a:pt x="40" y="62"/>
                  </a:lnTo>
                  <a:lnTo>
                    <a:pt x="41" y="59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5" y="59"/>
                  </a:lnTo>
                  <a:lnTo>
                    <a:pt x="47" y="59"/>
                  </a:lnTo>
                  <a:lnTo>
                    <a:pt x="46" y="57"/>
                  </a:lnTo>
                  <a:lnTo>
                    <a:pt x="45" y="56"/>
                  </a:lnTo>
                  <a:lnTo>
                    <a:pt x="43" y="55"/>
                  </a:lnTo>
                  <a:lnTo>
                    <a:pt x="44" y="54"/>
                  </a:lnTo>
                  <a:lnTo>
                    <a:pt x="46" y="54"/>
                  </a:lnTo>
                  <a:lnTo>
                    <a:pt x="49" y="53"/>
                  </a:lnTo>
                  <a:lnTo>
                    <a:pt x="47" y="52"/>
                  </a:lnTo>
                  <a:lnTo>
                    <a:pt x="55" y="56"/>
                  </a:lnTo>
                  <a:lnTo>
                    <a:pt x="59" y="58"/>
                  </a:lnTo>
                  <a:lnTo>
                    <a:pt x="61" y="59"/>
                  </a:lnTo>
                  <a:lnTo>
                    <a:pt x="63" y="60"/>
                  </a:lnTo>
                  <a:lnTo>
                    <a:pt x="65" y="60"/>
                  </a:lnTo>
                  <a:lnTo>
                    <a:pt x="70" y="60"/>
                  </a:lnTo>
                  <a:lnTo>
                    <a:pt x="72" y="63"/>
                  </a:lnTo>
                  <a:lnTo>
                    <a:pt x="72" y="65"/>
                  </a:lnTo>
                  <a:lnTo>
                    <a:pt x="72" y="66"/>
                  </a:lnTo>
                  <a:lnTo>
                    <a:pt x="74" y="68"/>
                  </a:lnTo>
                  <a:lnTo>
                    <a:pt x="76" y="68"/>
                  </a:lnTo>
                  <a:lnTo>
                    <a:pt x="74" y="69"/>
                  </a:lnTo>
                  <a:lnTo>
                    <a:pt x="75" y="71"/>
                  </a:lnTo>
                  <a:lnTo>
                    <a:pt x="75" y="74"/>
                  </a:lnTo>
                  <a:lnTo>
                    <a:pt x="75" y="75"/>
                  </a:lnTo>
                  <a:lnTo>
                    <a:pt x="77" y="77"/>
                  </a:lnTo>
                  <a:lnTo>
                    <a:pt x="82" y="79"/>
                  </a:lnTo>
                  <a:lnTo>
                    <a:pt x="86" y="79"/>
                  </a:lnTo>
                  <a:lnTo>
                    <a:pt x="89" y="79"/>
                  </a:lnTo>
                  <a:lnTo>
                    <a:pt x="95" y="80"/>
                  </a:lnTo>
                  <a:lnTo>
                    <a:pt x="97" y="80"/>
                  </a:lnTo>
                  <a:lnTo>
                    <a:pt x="96" y="78"/>
                  </a:lnTo>
                  <a:lnTo>
                    <a:pt x="99" y="77"/>
                  </a:lnTo>
                  <a:lnTo>
                    <a:pt x="101" y="78"/>
                  </a:lnTo>
                  <a:lnTo>
                    <a:pt x="104" y="81"/>
                  </a:lnTo>
                  <a:lnTo>
                    <a:pt x="106" y="83"/>
                  </a:lnTo>
                  <a:lnTo>
                    <a:pt x="107" y="85"/>
                  </a:lnTo>
                  <a:lnTo>
                    <a:pt x="109" y="88"/>
                  </a:lnTo>
                  <a:lnTo>
                    <a:pt x="111" y="90"/>
                  </a:lnTo>
                  <a:lnTo>
                    <a:pt x="113" y="91"/>
                  </a:lnTo>
                  <a:lnTo>
                    <a:pt x="114" y="93"/>
                  </a:lnTo>
                  <a:lnTo>
                    <a:pt x="116" y="97"/>
                  </a:lnTo>
                  <a:lnTo>
                    <a:pt x="117" y="99"/>
                  </a:lnTo>
                  <a:lnTo>
                    <a:pt x="120" y="103"/>
                  </a:lnTo>
                  <a:lnTo>
                    <a:pt x="122" y="105"/>
                  </a:lnTo>
                  <a:lnTo>
                    <a:pt x="136" y="111"/>
                  </a:lnTo>
                  <a:lnTo>
                    <a:pt x="144" y="118"/>
                  </a:lnTo>
                  <a:lnTo>
                    <a:pt x="146" y="119"/>
                  </a:lnTo>
                  <a:lnTo>
                    <a:pt x="151" y="119"/>
                  </a:lnTo>
                  <a:lnTo>
                    <a:pt x="155" y="121"/>
                  </a:lnTo>
                  <a:lnTo>
                    <a:pt x="162" y="126"/>
                  </a:lnTo>
                  <a:lnTo>
                    <a:pt x="168" y="131"/>
                  </a:lnTo>
                  <a:lnTo>
                    <a:pt x="171" y="132"/>
                  </a:lnTo>
                  <a:lnTo>
                    <a:pt x="173" y="134"/>
                  </a:lnTo>
                  <a:lnTo>
                    <a:pt x="175" y="132"/>
                  </a:lnTo>
                  <a:lnTo>
                    <a:pt x="177" y="132"/>
                  </a:lnTo>
                  <a:lnTo>
                    <a:pt x="184" y="135"/>
                  </a:lnTo>
                  <a:lnTo>
                    <a:pt x="185" y="136"/>
                  </a:lnTo>
                  <a:lnTo>
                    <a:pt x="187" y="137"/>
                  </a:lnTo>
                  <a:lnTo>
                    <a:pt x="190" y="138"/>
                  </a:lnTo>
                  <a:lnTo>
                    <a:pt x="190" y="140"/>
                  </a:lnTo>
                  <a:lnTo>
                    <a:pt x="188" y="142"/>
                  </a:lnTo>
                  <a:lnTo>
                    <a:pt x="190" y="147"/>
                  </a:lnTo>
                  <a:lnTo>
                    <a:pt x="191" y="148"/>
                  </a:lnTo>
                  <a:lnTo>
                    <a:pt x="191" y="150"/>
                  </a:lnTo>
                  <a:lnTo>
                    <a:pt x="191" y="150"/>
                  </a:lnTo>
                  <a:lnTo>
                    <a:pt x="198" y="149"/>
                  </a:lnTo>
                  <a:lnTo>
                    <a:pt x="201" y="150"/>
                  </a:lnTo>
                  <a:lnTo>
                    <a:pt x="203" y="151"/>
                  </a:lnTo>
                  <a:lnTo>
                    <a:pt x="205" y="151"/>
                  </a:lnTo>
                  <a:lnTo>
                    <a:pt x="208" y="151"/>
                  </a:lnTo>
                  <a:lnTo>
                    <a:pt x="208" y="151"/>
                  </a:lnTo>
                  <a:lnTo>
                    <a:pt x="209" y="150"/>
                  </a:lnTo>
                  <a:lnTo>
                    <a:pt x="209" y="149"/>
                  </a:lnTo>
                  <a:lnTo>
                    <a:pt x="208" y="147"/>
                  </a:lnTo>
                  <a:lnTo>
                    <a:pt x="209" y="144"/>
                  </a:lnTo>
                  <a:lnTo>
                    <a:pt x="211" y="140"/>
                  </a:lnTo>
                  <a:lnTo>
                    <a:pt x="212" y="139"/>
                  </a:lnTo>
                  <a:lnTo>
                    <a:pt x="213" y="138"/>
                  </a:lnTo>
                  <a:lnTo>
                    <a:pt x="214" y="136"/>
                  </a:lnTo>
                  <a:lnTo>
                    <a:pt x="214" y="135"/>
                  </a:lnTo>
                  <a:lnTo>
                    <a:pt x="213" y="132"/>
                  </a:lnTo>
                  <a:lnTo>
                    <a:pt x="211" y="131"/>
                  </a:lnTo>
                  <a:lnTo>
                    <a:pt x="209" y="129"/>
                  </a:lnTo>
                  <a:lnTo>
                    <a:pt x="207" y="126"/>
                  </a:lnTo>
                  <a:lnTo>
                    <a:pt x="207" y="124"/>
                  </a:lnTo>
                  <a:lnTo>
                    <a:pt x="207" y="121"/>
                  </a:lnTo>
                  <a:lnTo>
                    <a:pt x="206" y="119"/>
                  </a:lnTo>
                  <a:lnTo>
                    <a:pt x="204" y="118"/>
                  </a:lnTo>
                  <a:lnTo>
                    <a:pt x="202" y="119"/>
                  </a:lnTo>
                  <a:lnTo>
                    <a:pt x="200" y="118"/>
                  </a:lnTo>
                  <a:lnTo>
                    <a:pt x="198" y="117"/>
                  </a:lnTo>
                  <a:lnTo>
                    <a:pt x="196" y="116"/>
                  </a:lnTo>
                  <a:lnTo>
                    <a:pt x="194" y="114"/>
                  </a:lnTo>
                  <a:lnTo>
                    <a:pt x="195" y="113"/>
                  </a:lnTo>
                  <a:lnTo>
                    <a:pt x="194" y="110"/>
                  </a:lnTo>
                  <a:lnTo>
                    <a:pt x="195" y="109"/>
                  </a:lnTo>
                  <a:lnTo>
                    <a:pt x="197" y="108"/>
                  </a:lnTo>
                  <a:lnTo>
                    <a:pt x="200" y="108"/>
                  </a:lnTo>
                  <a:lnTo>
                    <a:pt x="201" y="109"/>
                  </a:lnTo>
                  <a:lnTo>
                    <a:pt x="204" y="109"/>
                  </a:lnTo>
                  <a:lnTo>
                    <a:pt x="207" y="109"/>
                  </a:lnTo>
                  <a:lnTo>
                    <a:pt x="209" y="108"/>
                  </a:lnTo>
                  <a:lnTo>
                    <a:pt x="211" y="103"/>
                  </a:lnTo>
                  <a:lnTo>
                    <a:pt x="211" y="101"/>
                  </a:lnTo>
                  <a:lnTo>
                    <a:pt x="212" y="100"/>
                  </a:lnTo>
                  <a:lnTo>
                    <a:pt x="216" y="99"/>
                  </a:lnTo>
                  <a:lnTo>
                    <a:pt x="217" y="98"/>
                  </a:lnTo>
                  <a:lnTo>
                    <a:pt x="217" y="96"/>
                  </a:lnTo>
                  <a:lnTo>
                    <a:pt x="217" y="94"/>
                  </a:lnTo>
                  <a:lnTo>
                    <a:pt x="215" y="93"/>
                  </a:lnTo>
                  <a:lnTo>
                    <a:pt x="217" y="91"/>
                  </a:lnTo>
                  <a:lnTo>
                    <a:pt x="216" y="89"/>
                  </a:lnTo>
                  <a:lnTo>
                    <a:pt x="218" y="88"/>
                  </a:lnTo>
                  <a:lnTo>
                    <a:pt x="221" y="89"/>
                  </a:lnTo>
                  <a:lnTo>
                    <a:pt x="223" y="89"/>
                  </a:lnTo>
                  <a:lnTo>
                    <a:pt x="225" y="87"/>
                  </a:lnTo>
                  <a:lnTo>
                    <a:pt x="228" y="85"/>
                  </a:lnTo>
                  <a:lnTo>
                    <a:pt x="229" y="84"/>
                  </a:lnTo>
                  <a:lnTo>
                    <a:pt x="231" y="83"/>
                  </a:lnTo>
                  <a:lnTo>
                    <a:pt x="233" y="83"/>
                  </a:lnTo>
                  <a:lnTo>
                    <a:pt x="234" y="85"/>
                  </a:lnTo>
                  <a:lnTo>
                    <a:pt x="235" y="86"/>
                  </a:lnTo>
                  <a:lnTo>
                    <a:pt x="236" y="88"/>
                  </a:lnTo>
                  <a:lnTo>
                    <a:pt x="236" y="89"/>
                  </a:lnTo>
                  <a:lnTo>
                    <a:pt x="234" y="90"/>
                  </a:lnTo>
                  <a:lnTo>
                    <a:pt x="233" y="91"/>
                  </a:lnTo>
                  <a:lnTo>
                    <a:pt x="235" y="96"/>
                  </a:lnTo>
                  <a:lnTo>
                    <a:pt x="237" y="97"/>
                  </a:lnTo>
                  <a:lnTo>
                    <a:pt x="238" y="97"/>
                  </a:lnTo>
                  <a:lnTo>
                    <a:pt x="241" y="96"/>
                  </a:lnTo>
                  <a:lnTo>
                    <a:pt x="242" y="96"/>
                  </a:lnTo>
                  <a:lnTo>
                    <a:pt x="245" y="96"/>
                  </a:lnTo>
                  <a:lnTo>
                    <a:pt x="247" y="96"/>
                  </a:lnTo>
                  <a:lnTo>
                    <a:pt x="252" y="98"/>
                  </a:lnTo>
                  <a:lnTo>
                    <a:pt x="256" y="97"/>
                  </a:lnTo>
                  <a:lnTo>
                    <a:pt x="257" y="96"/>
                  </a:lnTo>
                  <a:lnTo>
                    <a:pt x="257" y="94"/>
                  </a:lnTo>
                  <a:lnTo>
                    <a:pt x="259" y="93"/>
                  </a:lnTo>
                  <a:lnTo>
                    <a:pt x="262" y="93"/>
                  </a:lnTo>
                  <a:lnTo>
                    <a:pt x="262" y="91"/>
                  </a:lnTo>
                  <a:lnTo>
                    <a:pt x="264" y="93"/>
                  </a:lnTo>
                  <a:lnTo>
                    <a:pt x="266" y="91"/>
                  </a:lnTo>
                  <a:lnTo>
                    <a:pt x="266" y="89"/>
                  </a:lnTo>
                  <a:lnTo>
                    <a:pt x="271" y="88"/>
                  </a:lnTo>
                  <a:lnTo>
                    <a:pt x="271" y="86"/>
                  </a:lnTo>
                  <a:lnTo>
                    <a:pt x="268" y="86"/>
                  </a:lnTo>
                  <a:lnTo>
                    <a:pt x="267" y="86"/>
                  </a:lnTo>
                  <a:lnTo>
                    <a:pt x="263" y="85"/>
                  </a:lnTo>
                  <a:lnTo>
                    <a:pt x="258" y="83"/>
                  </a:lnTo>
                  <a:lnTo>
                    <a:pt x="256" y="83"/>
                  </a:lnTo>
                  <a:lnTo>
                    <a:pt x="254" y="81"/>
                  </a:lnTo>
                  <a:lnTo>
                    <a:pt x="249" y="79"/>
                  </a:lnTo>
                  <a:lnTo>
                    <a:pt x="249" y="77"/>
                  </a:lnTo>
                  <a:lnTo>
                    <a:pt x="247" y="75"/>
                  </a:lnTo>
                  <a:lnTo>
                    <a:pt x="245" y="74"/>
                  </a:lnTo>
                  <a:lnTo>
                    <a:pt x="245" y="78"/>
                  </a:lnTo>
                  <a:lnTo>
                    <a:pt x="244" y="79"/>
                  </a:lnTo>
                  <a:lnTo>
                    <a:pt x="243" y="81"/>
                  </a:lnTo>
                  <a:lnTo>
                    <a:pt x="242" y="81"/>
                  </a:lnTo>
                  <a:lnTo>
                    <a:pt x="234" y="78"/>
                  </a:lnTo>
                  <a:lnTo>
                    <a:pt x="231" y="75"/>
                  </a:lnTo>
                  <a:lnTo>
                    <a:pt x="229" y="76"/>
                  </a:lnTo>
                  <a:lnTo>
                    <a:pt x="227" y="75"/>
                  </a:lnTo>
                  <a:lnTo>
                    <a:pt x="225" y="75"/>
                  </a:lnTo>
                  <a:lnTo>
                    <a:pt x="225" y="73"/>
                  </a:lnTo>
                  <a:lnTo>
                    <a:pt x="227" y="70"/>
                  </a:lnTo>
                  <a:lnTo>
                    <a:pt x="231" y="67"/>
                  </a:lnTo>
                  <a:lnTo>
                    <a:pt x="232" y="64"/>
                  </a:lnTo>
                  <a:lnTo>
                    <a:pt x="235" y="63"/>
                  </a:lnTo>
                  <a:lnTo>
                    <a:pt x="234" y="60"/>
                  </a:lnTo>
                  <a:lnTo>
                    <a:pt x="229" y="59"/>
                  </a:lnTo>
                  <a:lnTo>
                    <a:pt x="229" y="62"/>
                  </a:lnTo>
                  <a:lnTo>
                    <a:pt x="227" y="64"/>
                  </a:lnTo>
                  <a:lnTo>
                    <a:pt x="225" y="65"/>
                  </a:lnTo>
                  <a:lnTo>
                    <a:pt x="223" y="64"/>
                  </a:lnTo>
                  <a:lnTo>
                    <a:pt x="223" y="68"/>
                  </a:lnTo>
                  <a:lnTo>
                    <a:pt x="222" y="69"/>
                  </a:lnTo>
                  <a:lnTo>
                    <a:pt x="216" y="71"/>
                  </a:lnTo>
                  <a:lnTo>
                    <a:pt x="213" y="74"/>
                  </a:lnTo>
                  <a:lnTo>
                    <a:pt x="212" y="75"/>
                  </a:lnTo>
                  <a:lnTo>
                    <a:pt x="211" y="76"/>
                  </a:lnTo>
                  <a:lnTo>
                    <a:pt x="208" y="77"/>
                  </a:lnTo>
                  <a:lnTo>
                    <a:pt x="208" y="78"/>
                  </a:lnTo>
                  <a:lnTo>
                    <a:pt x="208" y="80"/>
                  </a:lnTo>
                  <a:lnTo>
                    <a:pt x="207" y="81"/>
                  </a:lnTo>
                  <a:lnTo>
                    <a:pt x="205" y="83"/>
                  </a:lnTo>
                  <a:lnTo>
                    <a:pt x="203" y="83"/>
                  </a:lnTo>
                  <a:lnTo>
                    <a:pt x="198" y="80"/>
                  </a:lnTo>
                  <a:lnTo>
                    <a:pt x="196" y="80"/>
                  </a:lnTo>
                  <a:lnTo>
                    <a:pt x="192" y="78"/>
                  </a:lnTo>
                  <a:lnTo>
                    <a:pt x="177" y="79"/>
                  </a:lnTo>
                  <a:lnTo>
                    <a:pt x="171" y="68"/>
                  </a:lnTo>
                  <a:lnTo>
                    <a:pt x="162" y="67"/>
                  </a:lnTo>
                  <a:lnTo>
                    <a:pt x="161" y="64"/>
                  </a:lnTo>
                  <a:lnTo>
                    <a:pt x="160" y="59"/>
                  </a:lnTo>
                  <a:lnTo>
                    <a:pt x="162" y="59"/>
                  </a:lnTo>
                  <a:lnTo>
                    <a:pt x="158" y="49"/>
                  </a:lnTo>
                  <a:lnTo>
                    <a:pt x="155" y="49"/>
                  </a:lnTo>
                  <a:lnTo>
                    <a:pt x="147" y="42"/>
                  </a:lnTo>
                  <a:lnTo>
                    <a:pt x="144" y="39"/>
                  </a:lnTo>
                  <a:lnTo>
                    <a:pt x="142" y="38"/>
                  </a:lnTo>
                  <a:lnTo>
                    <a:pt x="137" y="36"/>
                  </a:lnTo>
                  <a:lnTo>
                    <a:pt x="135" y="34"/>
                  </a:lnTo>
                  <a:lnTo>
                    <a:pt x="132" y="36"/>
                  </a:lnTo>
                  <a:lnTo>
                    <a:pt x="112" y="35"/>
                  </a:lnTo>
                  <a:lnTo>
                    <a:pt x="94" y="38"/>
                  </a:lnTo>
                  <a:lnTo>
                    <a:pt x="85" y="32"/>
                  </a:lnTo>
                  <a:lnTo>
                    <a:pt x="70" y="20"/>
                  </a:lnTo>
                  <a:lnTo>
                    <a:pt x="59" y="13"/>
                  </a:lnTo>
                  <a:lnTo>
                    <a:pt x="54" y="10"/>
                  </a:lnTo>
                  <a:lnTo>
                    <a:pt x="49" y="7"/>
                  </a:lnTo>
                  <a:lnTo>
                    <a:pt x="42" y="4"/>
                  </a:lnTo>
                  <a:lnTo>
                    <a:pt x="33" y="0"/>
                  </a:lnTo>
                  <a:lnTo>
                    <a:pt x="0" y="13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47" name="Freeform 1047"/>
            <p:cNvSpPr>
              <a:spLocks/>
            </p:cNvSpPr>
            <p:nvPr/>
          </p:nvSpPr>
          <p:spPr bwMode="auto">
            <a:xfrm>
              <a:off x="1853" y="1025"/>
              <a:ext cx="7" cy="4"/>
            </a:xfrm>
            <a:custGeom>
              <a:avLst/>
              <a:gdLst>
                <a:gd name="T0" fmla="*/ 1 w 7"/>
                <a:gd name="T1" fmla="*/ 0 h 4"/>
                <a:gd name="T2" fmla="*/ 2 w 7"/>
                <a:gd name="T3" fmla="*/ 0 h 4"/>
                <a:gd name="T4" fmla="*/ 3 w 7"/>
                <a:gd name="T5" fmla="*/ 1 h 4"/>
                <a:gd name="T6" fmla="*/ 6 w 7"/>
                <a:gd name="T7" fmla="*/ 1 h 4"/>
                <a:gd name="T8" fmla="*/ 7 w 7"/>
                <a:gd name="T9" fmla="*/ 3 h 4"/>
                <a:gd name="T10" fmla="*/ 6 w 7"/>
                <a:gd name="T11" fmla="*/ 4 h 4"/>
                <a:gd name="T12" fmla="*/ 4 w 7"/>
                <a:gd name="T13" fmla="*/ 4 h 4"/>
                <a:gd name="T14" fmla="*/ 2 w 7"/>
                <a:gd name="T15" fmla="*/ 4 h 4"/>
                <a:gd name="T16" fmla="*/ 1 w 7"/>
                <a:gd name="T17" fmla="*/ 3 h 4"/>
                <a:gd name="T18" fmla="*/ 0 w 7"/>
                <a:gd name="T19" fmla="*/ 1 h 4"/>
                <a:gd name="T20" fmla="*/ 1 w 7"/>
                <a:gd name="T2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6" y="1"/>
                  </a:lnTo>
                  <a:lnTo>
                    <a:pt x="7" y="3"/>
                  </a:lnTo>
                  <a:lnTo>
                    <a:pt x="6" y="4"/>
                  </a:lnTo>
                  <a:lnTo>
                    <a:pt x="4" y="4"/>
                  </a:lnTo>
                  <a:lnTo>
                    <a:pt x="2" y="4"/>
                  </a:lnTo>
                  <a:lnTo>
                    <a:pt x="1" y="3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48" name="Freeform 1048"/>
            <p:cNvSpPr>
              <a:spLocks/>
            </p:cNvSpPr>
            <p:nvPr/>
          </p:nvSpPr>
          <p:spPr bwMode="auto">
            <a:xfrm>
              <a:off x="1853" y="1025"/>
              <a:ext cx="7" cy="4"/>
            </a:xfrm>
            <a:custGeom>
              <a:avLst/>
              <a:gdLst>
                <a:gd name="T0" fmla="*/ 1 w 7"/>
                <a:gd name="T1" fmla="*/ 0 h 4"/>
                <a:gd name="T2" fmla="*/ 2 w 7"/>
                <a:gd name="T3" fmla="*/ 0 h 4"/>
                <a:gd name="T4" fmla="*/ 3 w 7"/>
                <a:gd name="T5" fmla="*/ 1 h 4"/>
                <a:gd name="T6" fmla="*/ 6 w 7"/>
                <a:gd name="T7" fmla="*/ 1 h 4"/>
                <a:gd name="T8" fmla="*/ 7 w 7"/>
                <a:gd name="T9" fmla="*/ 3 h 4"/>
                <a:gd name="T10" fmla="*/ 6 w 7"/>
                <a:gd name="T11" fmla="*/ 4 h 4"/>
                <a:gd name="T12" fmla="*/ 4 w 7"/>
                <a:gd name="T13" fmla="*/ 4 h 4"/>
                <a:gd name="T14" fmla="*/ 2 w 7"/>
                <a:gd name="T15" fmla="*/ 4 h 4"/>
                <a:gd name="T16" fmla="*/ 1 w 7"/>
                <a:gd name="T17" fmla="*/ 3 h 4"/>
                <a:gd name="T18" fmla="*/ 0 w 7"/>
                <a:gd name="T19" fmla="*/ 1 h 4"/>
                <a:gd name="T20" fmla="*/ 1 w 7"/>
                <a:gd name="T2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" h="4">
                  <a:moveTo>
                    <a:pt x="1" y="0"/>
                  </a:moveTo>
                  <a:lnTo>
                    <a:pt x="2" y="0"/>
                  </a:lnTo>
                  <a:lnTo>
                    <a:pt x="3" y="1"/>
                  </a:lnTo>
                  <a:lnTo>
                    <a:pt x="6" y="1"/>
                  </a:lnTo>
                  <a:lnTo>
                    <a:pt x="7" y="3"/>
                  </a:lnTo>
                  <a:lnTo>
                    <a:pt x="6" y="4"/>
                  </a:lnTo>
                  <a:lnTo>
                    <a:pt x="4" y="4"/>
                  </a:lnTo>
                  <a:lnTo>
                    <a:pt x="2" y="4"/>
                  </a:lnTo>
                  <a:lnTo>
                    <a:pt x="1" y="3"/>
                  </a:lnTo>
                  <a:lnTo>
                    <a:pt x="0" y="1"/>
                  </a:lnTo>
                  <a:lnTo>
                    <a:pt x="1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49" name="Freeform 1049"/>
            <p:cNvSpPr>
              <a:spLocks/>
            </p:cNvSpPr>
            <p:nvPr/>
          </p:nvSpPr>
          <p:spPr bwMode="auto">
            <a:xfrm>
              <a:off x="3063" y="1346"/>
              <a:ext cx="91" cy="52"/>
            </a:xfrm>
            <a:custGeom>
              <a:avLst/>
              <a:gdLst>
                <a:gd name="T0" fmla="*/ 14 w 91"/>
                <a:gd name="T1" fmla="*/ 50 h 52"/>
                <a:gd name="T2" fmla="*/ 12 w 91"/>
                <a:gd name="T3" fmla="*/ 46 h 52"/>
                <a:gd name="T4" fmla="*/ 10 w 91"/>
                <a:gd name="T5" fmla="*/ 39 h 52"/>
                <a:gd name="T6" fmla="*/ 4 w 91"/>
                <a:gd name="T7" fmla="*/ 35 h 52"/>
                <a:gd name="T8" fmla="*/ 4 w 91"/>
                <a:gd name="T9" fmla="*/ 28 h 52"/>
                <a:gd name="T10" fmla="*/ 6 w 91"/>
                <a:gd name="T11" fmla="*/ 22 h 52"/>
                <a:gd name="T12" fmla="*/ 9 w 91"/>
                <a:gd name="T13" fmla="*/ 19 h 52"/>
                <a:gd name="T14" fmla="*/ 5 w 91"/>
                <a:gd name="T15" fmla="*/ 16 h 52"/>
                <a:gd name="T16" fmla="*/ 1 w 91"/>
                <a:gd name="T17" fmla="*/ 12 h 52"/>
                <a:gd name="T18" fmla="*/ 0 w 91"/>
                <a:gd name="T19" fmla="*/ 7 h 52"/>
                <a:gd name="T20" fmla="*/ 0 w 91"/>
                <a:gd name="T21" fmla="*/ 2 h 52"/>
                <a:gd name="T22" fmla="*/ 5 w 91"/>
                <a:gd name="T23" fmla="*/ 0 h 52"/>
                <a:gd name="T24" fmla="*/ 8 w 91"/>
                <a:gd name="T25" fmla="*/ 1 h 52"/>
                <a:gd name="T26" fmla="*/ 7 w 91"/>
                <a:gd name="T27" fmla="*/ 5 h 52"/>
                <a:gd name="T28" fmla="*/ 10 w 91"/>
                <a:gd name="T29" fmla="*/ 7 h 52"/>
                <a:gd name="T30" fmla="*/ 14 w 91"/>
                <a:gd name="T31" fmla="*/ 7 h 52"/>
                <a:gd name="T32" fmla="*/ 22 w 91"/>
                <a:gd name="T33" fmla="*/ 8 h 52"/>
                <a:gd name="T34" fmla="*/ 34 w 91"/>
                <a:gd name="T35" fmla="*/ 8 h 52"/>
                <a:gd name="T36" fmla="*/ 46 w 91"/>
                <a:gd name="T37" fmla="*/ 9 h 52"/>
                <a:gd name="T38" fmla="*/ 50 w 91"/>
                <a:gd name="T39" fmla="*/ 8 h 52"/>
                <a:gd name="T40" fmla="*/ 55 w 91"/>
                <a:gd name="T41" fmla="*/ 6 h 52"/>
                <a:gd name="T42" fmla="*/ 60 w 91"/>
                <a:gd name="T43" fmla="*/ 3 h 52"/>
                <a:gd name="T44" fmla="*/ 67 w 91"/>
                <a:gd name="T45" fmla="*/ 1 h 52"/>
                <a:gd name="T46" fmla="*/ 71 w 91"/>
                <a:gd name="T47" fmla="*/ 1 h 52"/>
                <a:gd name="T48" fmla="*/ 73 w 91"/>
                <a:gd name="T49" fmla="*/ 2 h 52"/>
                <a:gd name="T50" fmla="*/ 81 w 91"/>
                <a:gd name="T51" fmla="*/ 5 h 52"/>
                <a:gd name="T52" fmla="*/ 87 w 91"/>
                <a:gd name="T53" fmla="*/ 8 h 52"/>
                <a:gd name="T54" fmla="*/ 91 w 91"/>
                <a:gd name="T55" fmla="*/ 7 h 52"/>
                <a:gd name="T56" fmla="*/ 91 w 91"/>
                <a:gd name="T57" fmla="*/ 11 h 52"/>
                <a:gd name="T58" fmla="*/ 90 w 91"/>
                <a:gd name="T59" fmla="*/ 13 h 52"/>
                <a:gd name="T60" fmla="*/ 86 w 91"/>
                <a:gd name="T61" fmla="*/ 15 h 52"/>
                <a:gd name="T62" fmla="*/ 82 w 91"/>
                <a:gd name="T63" fmla="*/ 18 h 52"/>
                <a:gd name="T64" fmla="*/ 83 w 91"/>
                <a:gd name="T65" fmla="*/ 26 h 52"/>
                <a:gd name="T66" fmla="*/ 81 w 91"/>
                <a:gd name="T67" fmla="*/ 27 h 52"/>
                <a:gd name="T68" fmla="*/ 81 w 91"/>
                <a:gd name="T69" fmla="*/ 28 h 52"/>
                <a:gd name="T70" fmla="*/ 78 w 91"/>
                <a:gd name="T71" fmla="*/ 30 h 52"/>
                <a:gd name="T72" fmla="*/ 79 w 91"/>
                <a:gd name="T73" fmla="*/ 31 h 52"/>
                <a:gd name="T74" fmla="*/ 80 w 91"/>
                <a:gd name="T75" fmla="*/ 31 h 52"/>
                <a:gd name="T76" fmla="*/ 82 w 91"/>
                <a:gd name="T77" fmla="*/ 33 h 52"/>
                <a:gd name="T78" fmla="*/ 83 w 91"/>
                <a:gd name="T79" fmla="*/ 36 h 52"/>
                <a:gd name="T80" fmla="*/ 87 w 91"/>
                <a:gd name="T81" fmla="*/ 39 h 52"/>
                <a:gd name="T82" fmla="*/ 87 w 91"/>
                <a:gd name="T83" fmla="*/ 40 h 52"/>
                <a:gd name="T84" fmla="*/ 85 w 91"/>
                <a:gd name="T85" fmla="*/ 40 h 52"/>
                <a:gd name="T86" fmla="*/ 79 w 91"/>
                <a:gd name="T87" fmla="*/ 41 h 52"/>
                <a:gd name="T88" fmla="*/ 73 w 91"/>
                <a:gd name="T89" fmla="*/ 39 h 52"/>
                <a:gd name="T90" fmla="*/ 69 w 91"/>
                <a:gd name="T91" fmla="*/ 40 h 52"/>
                <a:gd name="T92" fmla="*/ 65 w 91"/>
                <a:gd name="T93" fmla="*/ 41 h 52"/>
                <a:gd name="T94" fmla="*/ 62 w 91"/>
                <a:gd name="T95" fmla="*/ 43 h 52"/>
                <a:gd name="T96" fmla="*/ 59 w 91"/>
                <a:gd name="T97" fmla="*/ 43 h 52"/>
                <a:gd name="T98" fmla="*/ 60 w 91"/>
                <a:gd name="T99" fmla="*/ 48 h 52"/>
                <a:gd name="T100" fmla="*/ 56 w 91"/>
                <a:gd name="T101" fmla="*/ 51 h 52"/>
                <a:gd name="T102" fmla="*/ 51 w 91"/>
                <a:gd name="T103" fmla="*/ 52 h 52"/>
                <a:gd name="T104" fmla="*/ 41 w 91"/>
                <a:gd name="T105" fmla="*/ 49 h 52"/>
                <a:gd name="T106" fmla="*/ 38 w 91"/>
                <a:gd name="T107" fmla="*/ 47 h 52"/>
                <a:gd name="T108" fmla="*/ 36 w 91"/>
                <a:gd name="T109" fmla="*/ 47 h 52"/>
                <a:gd name="T110" fmla="*/ 27 w 91"/>
                <a:gd name="T111" fmla="*/ 49 h 52"/>
                <a:gd name="T112" fmla="*/ 21 w 91"/>
                <a:gd name="T113" fmla="*/ 49 h 52"/>
                <a:gd name="T114" fmla="*/ 17 w 91"/>
                <a:gd name="T115" fmla="*/ 50 h 52"/>
                <a:gd name="T116" fmla="*/ 14 w 91"/>
                <a:gd name="T117" fmla="*/ 5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1" h="52">
                  <a:moveTo>
                    <a:pt x="14" y="50"/>
                  </a:moveTo>
                  <a:lnTo>
                    <a:pt x="12" y="46"/>
                  </a:lnTo>
                  <a:lnTo>
                    <a:pt x="10" y="39"/>
                  </a:lnTo>
                  <a:lnTo>
                    <a:pt x="4" y="35"/>
                  </a:lnTo>
                  <a:lnTo>
                    <a:pt x="4" y="28"/>
                  </a:lnTo>
                  <a:lnTo>
                    <a:pt x="6" y="22"/>
                  </a:lnTo>
                  <a:lnTo>
                    <a:pt x="9" y="19"/>
                  </a:lnTo>
                  <a:lnTo>
                    <a:pt x="5" y="16"/>
                  </a:lnTo>
                  <a:lnTo>
                    <a:pt x="1" y="12"/>
                  </a:lnTo>
                  <a:lnTo>
                    <a:pt x="0" y="7"/>
                  </a:lnTo>
                  <a:lnTo>
                    <a:pt x="0" y="2"/>
                  </a:lnTo>
                  <a:lnTo>
                    <a:pt x="5" y="0"/>
                  </a:lnTo>
                  <a:lnTo>
                    <a:pt x="8" y="1"/>
                  </a:lnTo>
                  <a:lnTo>
                    <a:pt x="7" y="5"/>
                  </a:lnTo>
                  <a:lnTo>
                    <a:pt x="10" y="7"/>
                  </a:lnTo>
                  <a:lnTo>
                    <a:pt x="14" y="7"/>
                  </a:lnTo>
                  <a:lnTo>
                    <a:pt x="22" y="8"/>
                  </a:lnTo>
                  <a:lnTo>
                    <a:pt x="34" y="8"/>
                  </a:lnTo>
                  <a:lnTo>
                    <a:pt x="46" y="9"/>
                  </a:lnTo>
                  <a:lnTo>
                    <a:pt x="50" y="8"/>
                  </a:lnTo>
                  <a:lnTo>
                    <a:pt x="55" y="6"/>
                  </a:lnTo>
                  <a:lnTo>
                    <a:pt x="60" y="3"/>
                  </a:lnTo>
                  <a:lnTo>
                    <a:pt x="67" y="1"/>
                  </a:lnTo>
                  <a:lnTo>
                    <a:pt x="71" y="1"/>
                  </a:lnTo>
                  <a:lnTo>
                    <a:pt x="73" y="2"/>
                  </a:lnTo>
                  <a:lnTo>
                    <a:pt x="81" y="5"/>
                  </a:lnTo>
                  <a:lnTo>
                    <a:pt x="87" y="8"/>
                  </a:lnTo>
                  <a:lnTo>
                    <a:pt x="91" y="7"/>
                  </a:lnTo>
                  <a:lnTo>
                    <a:pt x="91" y="11"/>
                  </a:lnTo>
                  <a:lnTo>
                    <a:pt x="90" y="13"/>
                  </a:lnTo>
                  <a:lnTo>
                    <a:pt x="86" y="15"/>
                  </a:lnTo>
                  <a:lnTo>
                    <a:pt x="82" y="18"/>
                  </a:lnTo>
                  <a:lnTo>
                    <a:pt x="83" y="26"/>
                  </a:lnTo>
                  <a:lnTo>
                    <a:pt x="81" y="27"/>
                  </a:lnTo>
                  <a:lnTo>
                    <a:pt x="81" y="28"/>
                  </a:lnTo>
                  <a:lnTo>
                    <a:pt x="78" y="30"/>
                  </a:lnTo>
                  <a:lnTo>
                    <a:pt x="79" y="31"/>
                  </a:lnTo>
                  <a:lnTo>
                    <a:pt x="80" y="31"/>
                  </a:lnTo>
                  <a:lnTo>
                    <a:pt x="82" y="33"/>
                  </a:lnTo>
                  <a:lnTo>
                    <a:pt x="83" y="36"/>
                  </a:lnTo>
                  <a:lnTo>
                    <a:pt x="87" y="39"/>
                  </a:lnTo>
                  <a:lnTo>
                    <a:pt x="87" y="40"/>
                  </a:lnTo>
                  <a:lnTo>
                    <a:pt x="85" y="40"/>
                  </a:lnTo>
                  <a:lnTo>
                    <a:pt x="79" y="41"/>
                  </a:lnTo>
                  <a:lnTo>
                    <a:pt x="73" y="39"/>
                  </a:lnTo>
                  <a:lnTo>
                    <a:pt x="69" y="40"/>
                  </a:lnTo>
                  <a:lnTo>
                    <a:pt x="65" y="41"/>
                  </a:lnTo>
                  <a:lnTo>
                    <a:pt x="62" y="43"/>
                  </a:lnTo>
                  <a:lnTo>
                    <a:pt x="59" y="43"/>
                  </a:lnTo>
                  <a:lnTo>
                    <a:pt x="60" y="48"/>
                  </a:lnTo>
                  <a:lnTo>
                    <a:pt x="56" y="51"/>
                  </a:lnTo>
                  <a:lnTo>
                    <a:pt x="51" y="52"/>
                  </a:lnTo>
                  <a:lnTo>
                    <a:pt x="41" y="49"/>
                  </a:lnTo>
                  <a:lnTo>
                    <a:pt x="38" y="47"/>
                  </a:lnTo>
                  <a:lnTo>
                    <a:pt x="36" y="47"/>
                  </a:lnTo>
                  <a:lnTo>
                    <a:pt x="27" y="49"/>
                  </a:lnTo>
                  <a:lnTo>
                    <a:pt x="21" y="49"/>
                  </a:lnTo>
                  <a:lnTo>
                    <a:pt x="17" y="50"/>
                  </a:lnTo>
                  <a:lnTo>
                    <a:pt x="14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50" name="Freeform 1050"/>
            <p:cNvSpPr>
              <a:spLocks/>
            </p:cNvSpPr>
            <p:nvPr/>
          </p:nvSpPr>
          <p:spPr bwMode="auto">
            <a:xfrm>
              <a:off x="3063" y="1346"/>
              <a:ext cx="91" cy="52"/>
            </a:xfrm>
            <a:custGeom>
              <a:avLst/>
              <a:gdLst>
                <a:gd name="T0" fmla="*/ 14 w 91"/>
                <a:gd name="T1" fmla="*/ 50 h 52"/>
                <a:gd name="T2" fmla="*/ 12 w 91"/>
                <a:gd name="T3" fmla="*/ 46 h 52"/>
                <a:gd name="T4" fmla="*/ 10 w 91"/>
                <a:gd name="T5" fmla="*/ 39 h 52"/>
                <a:gd name="T6" fmla="*/ 4 w 91"/>
                <a:gd name="T7" fmla="*/ 35 h 52"/>
                <a:gd name="T8" fmla="*/ 4 w 91"/>
                <a:gd name="T9" fmla="*/ 28 h 52"/>
                <a:gd name="T10" fmla="*/ 6 w 91"/>
                <a:gd name="T11" fmla="*/ 22 h 52"/>
                <a:gd name="T12" fmla="*/ 9 w 91"/>
                <a:gd name="T13" fmla="*/ 19 h 52"/>
                <a:gd name="T14" fmla="*/ 5 w 91"/>
                <a:gd name="T15" fmla="*/ 16 h 52"/>
                <a:gd name="T16" fmla="*/ 1 w 91"/>
                <a:gd name="T17" fmla="*/ 12 h 52"/>
                <a:gd name="T18" fmla="*/ 0 w 91"/>
                <a:gd name="T19" fmla="*/ 7 h 52"/>
                <a:gd name="T20" fmla="*/ 0 w 91"/>
                <a:gd name="T21" fmla="*/ 2 h 52"/>
                <a:gd name="T22" fmla="*/ 5 w 91"/>
                <a:gd name="T23" fmla="*/ 0 h 52"/>
                <a:gd name="T24" fmla="*/ 8 w 91"/>
                <a:gd name="T25" fmla="*/ 1 h 52"/>
                <a:gd name="T26" fmla="*/ 7 w 91"/>
                <a:gd name="T27" fmla="*/ 5 h 52"/>
                <a:gd name="T28" fmla="*/ 10 w 91"/>
                <a:gd name="T29" fmla="*/ 7 h 52"/>
                <a:gd name="T30" fmla="*/ 14 w 91"/>
                <a:gd name="T31" fmla="*/ 7 h 52"/>
                <a:gd name="T32" fmla="*/ 22 w 91"/>
                <a:gd name="T33" fmla="*/ 8 h 52"/>
                <a:gd name="T34" fmla="*/ 34 w 91"/>
                <a:gd name="T35" fmla="*/ 8 h 52"/>
                <a:gd name="T36" fmla="*/ 46 w 91"/>
                <a:gd name="T37" fmla="*/ 9 h 52"/>
                <a:gd name="T38" fmla="*/ 50 w 91"/>
                <a:gd name="T39" fmla="*/ 8 h 52"/>
                <a:gd name="T40" fmla="*/ 55 w 91"/>
                <a:gd name="T41" fmla="*/ 6 h 52"/>
                <a:gd name="T42" fmla="*/ 60 w 91"/>
                <a:gd name="T43" fmla="*/ 3 h 52"/>
                <a:gd name="T44" fmla="*/ 67 w 91"/>
                <a:gd name="T45" fmla="*/ 1 h 52"/>
                <a:gd name="T46" fmla="*/ 71 w 91"/>
                <a:gd name="T47" fmla="*/ 1 h 52"/>
                <a:gd name="T48" fmla="*/ 73 w 91"/>
                <a:gd name="T49" fmla="*/ 2 h 52"/>
                <a:gd name="T50" fmla="*/ 81 w 91"/>
                <a:gd name="T51" fmla="*/ 5 h 52"/>
                <a:gd name="T52" fmla="*/ 87 w 91"/>
                <a:gd name="T53" fmla="*/ 8 h 52"/>
                <a:gd name="T54" fmla="*/ 91 w 91"/>
                <a:gd name="T55" fmla="*/ 7 h 52"/>
                <a:gd name="T56" fmla="*/ 91 w 91"/>
                <a:gd name="T57" fmla="*/ 11 h 52"/>
                <a:gd name="T58" fmla="*/ 90 w 91"/>
                <a:gd name="T59" fmla="*/ 13 h 52"/>
                <a:gd name="T60" fmla="*/ 86 w 91"/>
                <a:gd name="T61" fmla="*/ 15 h 52"/>
                <a:gd name="T62" fmla="*/ 82 w 91"/>
                <a:gd name="T63" fmla="*/ 18 h 52"/>
                <a:gd name="T64" fmla="*/ 83 w 91"/>
                <a:gd name="T65" fmla="*/ 26 h 52"/>
                <a:gd name="T66" fmla="*/ 81 w 91"/>
                <a:gd name="T67" fmla="*/ 27 h 52"/>
                <a:gd name="T68" fmla="*/ 81 w 91"/>
                <a:gd name="T69" fmla="*/ 28 h 52"/>
                <a:gd name="T70" fmla="*/ 78 w 91"/>
                <a:gd name="T71" fmla="*/ 30 h 52"/>
                <a:gd name="T72" fmla="*/ 79 w 91"/>
                <a:gd name="T73" fmla="*/ 31 h 52"/>
                <a:gd name="T74" fmla="*/ 80 w 91"/>
                <a:gd name="T75" fmla="*/ 31 h 52"/>
                <a:gd name="T76" fmla="*/ 82 w 91"/>
                <a:gd name="T77" fmla="*/ 33 h 52"/>
                <a:gd name="T78" fmla="*/ 83 w 91"/>
                <a:gd name="T79" fmla="*/ 36 h 52"/>
                <a:gd name="T80" fmla="*/ 87 w 91"/>
                <a:gd name="T81" fmla="*/ 39 h 52"/>
                <a:gd name="T82" fmla="*/ 87 w 91"/>
                <a:gd name="T83" fmla="*/ 40 h 52"/>
                <a:gd name="T84" fmla="*/ 85 w 91"/>
                <a:gd name="T85" fmla="*/ 40 h 52"/>
                <a:gd name="T86" fmla="*/ 79 w 91"/>
                <a:gd name="T87" fmla="*/ 41 h 52"/>
                <a:gd name="T88" fmla="*/ 73 w 91"/>
                <a:gd name="T89" fmla="*/ 39 h 52"/>
                <a:gd name="T90" fmla="*/ 69 w 91"/>
                <a:gd name="T91" fmla="*/ 40 h 52"/>
                <a:gd name="T92" fmla="*/ 65 w 91"/>
                <a:gd name="T93" fmla="*/ 41 h 52"/>
                <a:gd name="T94" fmla="*/ 62 w 91"/>
                <a:gd name="T95" fmla="*/ 43 h 52"/>
                <a:gd name="T96" fmla="*/ 59 w 91"/>
                <a:gd name="T97" fmla="*/ 43 h 52"/>
                <a:gd name="T98" fmla="*/ 60 w 91"/>
                <a:gd name="T99" fmla="*/ 48 h 52"/>
                <a:gd name="T100" fmla="*/ 56 w 91"/>
                <a:gd name="T101" fmla="*/ 51 h 52"/>
                <a:gd name="T102" fmla="*/ 51 w 91"/>
                <a:gd name="T103" fmla="*/ 52 h 52"/>
                <a:gd name="T104" fmla="*/ 41 w 91"/>
                <a:gd name="T105" fmla="*/ 49 h 52"/>
                <a:gd name="T106" fmla="*/ 38 w 91"/>
                <a:gd name="T107" fmla="*/ 47 h 52"/>
                <a:gd name="T108" fmla="*/ 36 w 91"/>
                <a:gd name="T109" fmla="*/ 47 h 52"/>
                <a:gd name="T110" fmla="*/ 27 w 91"/>
                <a:gd name="T111" fmla="*/ 49 h 52"/>
                <a:gd name="T112" fmla="*/ 21 w 91"/>
                <a:gd name="T113" fmla="*/ 49 h 52"/>
                <a:gd name="T114" fmla="*/ 17 w 91"/>
                <a:gd name="T115" fmla="*/ 50 h 52"/>
                <a:gd name="T116" fmla="*/ 14 w 91"/>
                <a:gd name="T117" fmla="*/ 5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1" h="52">
                  <a:moveTo>
                    <a:pt x="14" y="50"/>
                  </a:moveTo>
                  <a:lnTo>
                    <a:pt x="12" y="46"/>
                  </a:lnTo>
                  <a:lnTo>
                    <a:pt x="10" y="39"/>
                  </a:lnTo>
                  <a:lnTo>
                    <a:pt x="4" y="35"/>
                  </a:lnTo>
                  <a:lnTo>
                    <a:pt x="4" y="28"/>
                  </a:lnTo>
                  <a:lnTo>
                    <a:pt x="6" y="22"/>
                  </a:lnTo>
                  <a:lnTo>
                    <a:pt x="9" y="19"/>
                  </a:lnTo>
                  <a:lnTo>
                    <a:pt x="5" y="16"/>
                  </a:lnTo>
                  <a:lnTo>
                    <a:pt x="1" y="12"/>
                  </a:lnTo>
                  <a:lnTo>
                    <a:pt x="0" y="7"/>
                  </a:lnTo>
                  <a:lnTo>
                    <a:pt x="0" y="2"/>
                  </a:lnTo>
                  <a:lnTo>
                    <a:pt x="5" y="0"/>
                  </a:lnTo>
                  <a:lnTo>
                    <a:pt x="8" y="1"/>
                  </a:lnTo>
                  <a:lnTo>
                    <a:pt x="7" y="5"/>
                  </a:lnTo>
                  <a:lnTo>
                    <a:pt x="10" y="7"/>
                  </a:lnTo>
                  <a:lnTo>
                    <a:pt x="14" y="7"/>
                  </a:lnTo>
                  <a:lnTo>
                    <a:pt x="22" y="8"/>
                  </a:lnTo>
                  <a:lnTo>
                    <a:pt x="34" y="8"/>
                  </a:lnTo>
                  <a:lnTo>
                    <a:pt x="46" y="9"/>
                  </a:lnTo>
                  <a:lnTo>
                    <a:pt x="50" y="8"/>
                  </a:lnTo>
                  <a:lnTo>
                    <a:pt x="55" y="6"/>
                  </a:lnTo>
                  <a:lnTo>
                    <a:pt x="60" y="3"/>
                  </a:lnTo>
                  <a:lnTo>
                    <a:pt x="67" y="1"/>
                  </a:lnTo>
                  <a:lnTo>
                    <a:pt x="71" y="1"/>
                  </a:lnTo>
                  <a:lnTo>
                    <a:pt x="73" y="2"/>
                  </a:lnTo>
                  <a:lnTo>
                    <a:pt x="81" y="5"/>
                  </a:lnTo>
                  <a:lnTo>
                    <a:pt x="87" y="8"/>
                  </a:lnTo>
                  <a:lnTo>
                    <a:pt x="91" y="7"/>
                  </a:lnTo>
                  <a:lnTo>
                    <a:pt x="91" y="11"/>
                  </a:lnTo>
                  <a:lnTo>
                    <a:pt x="90" y="13"/>
                  </a:lnTo>
                  <a:lnTo>
                    <a:pt x="86" y="15"/>
                  </a:lnTo>
                  <a:lnTo>
                    <a:pt x="82" y="18"/>
                  </a:lnTo>
                  <a:lnTo>
                    <a:pt x="83" y="26"/>
                  </a:lnTo>
                  <a:lnTo>
                    <a:pt x="81" y="27"/>
                  </a:lnTo>
                  <a:lnTo>
                    <a:pt x="81" y="28"/>
                  </a:lnTo>
                  <a:lnTo>
                    <a:pt x="78" y="30"/>
                  </a:lnTo>
                  <a:lnTo>
                    <a:pt x="79" y="31"/>
                  </a:lnTo>
                  <a:lnTo>
                    <a:pt x="80" y="31"/>
                  </a:lnTo>
                  <a:lnTo>
                    <a:pt x="82" y="33"/>
                  </a:lnTo>
                  <a:lnTo>
                    <a:pt x="83" y="36"/>
                  </a:lnTo>
                  <a:lnTo>
                    <a:pt x="87" y="39"/>
                  </a:lnTo>
                  <a:lnTo>
                    <a:pt x="87" y="40"/>
                  </a:lnTo>
                  <a:lnTo>
                    <a:pt x="85" y="40"/>
                  </a:lnTo>
                  <a:lnTo>
                    <a:pt x="79" y="41"/>
                  </a:lnTo>
                  <a:lnTo>
                    <a:pt x="73" y="39"/>
                  </a:lnTo>
                  <a:lnTo>
                    <a:pt x="69" y="40"/>
                  </a:lnTo>
                  <a:lnTo>
                    <a:pt x="65" y="41"/>
                  </a:lnTo>
                  <a:lnTo>
                    <a:pt x="62" y="43"/>
                  </a:lnTo>
                  <a:lnTo>
                    <a:pt x="59" y="43"/>
                  </a:lnTo>
                  <a:lnTo>
                    <a:pt x="60" y="48"/>
                  </a:lnTo>
                  <a:lnTo>
                    <a:pt x="56" y="51"/>
                  </a:lnTo>
                  <a:lnTo>
                    <a:pt x="51" y="52"/>
                  </a:lnTo>
                  <a:lnTo>
                    <a:pt x="41" y="49"/>
                  </a:lnTo>
                  <a:lnTo>
                    <a:pt x="38" y="47"/>
                  </a:lnTo>
                  <a:lnTo>
                    <a:pt x="36" y="47"/>
                  </a:lnTo>
                  <a:lnTo>
                    <a:pt x="27" y="49"/>
                  </a:lnTo>
                  <a:lnTo>
                    <a:pt x="21" y="49"/>
                  </a:lnTo>
                  <a:lnTo>
                    <a:pt x="17" y="50"/>
                  </a:lnTo>
                  <a:lnTo>
                    <a:pt x="14" y="5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51" name="Freeform 1051"/>
            <p:cNvSpPr>
              <a:spLocks/>
            </p:cNvSpPr>
            <p:nvPr/>
          </p:nvSpPr>
          <p:spPr bwMode="auto">
            <a:xfrm>
              <a:off x="2947" y="1327"/>
              <a:ext cx="4" cy="5"/>
            </a:xfrm>
            <a:custGeom>
              <a:avLst/>
              <a:gdLst>
                <a:gd name="T0" fmla="*/ 1 w 4"/>
                <a:gd name="T1" fmla="*/ 0 h 5"/>
                <a:gd name="T2" fmla="*/ 2 w 4"/>
                <a:gd name="T3" fmla="*/ 2 h 5"/>
                <a:gd name="T4" fmla="*/ 4 w 4"/>
                <a:gd name="T5" fmla="*/ 4 h 5"/>
                <a:gd name="T6" fmla="*/ 4 w 4"/>
                <a:gd name="T7" fmla="*/ 5 h 5"/>
                <a:gd name="T8" fmla="*/ 2 w 4"/>
                <a:gd name="T9" fmla="*/ 4 h 5"/>
                <a:gd name="T10" fmla="*/ 1 w 4"/>
                <a:gd name="T11" fmla="*/ 4 h 5"/>
                <a:gd name="T12" fmla="*/ 0 w 4"/>
                <a:gd name="T13" fmla="*/ 4 h 5"/>
                <a:gd name="T14" fmla="*/ 0 w 4"/>
                <a:gd name="T15" fmla="*/ 1 h 5"/>
                <a:gd name="T16" fmla="*/ 1 w 4"/>
                <a:gd name="T1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5">
                  <a:moveTo>
                    <a:pt x="1" y="0"/>
                  </a:moveTo>
                  <a:lnTo>
                    <a:pt x="2" y="2"/>
                  </a:lnTo>
                  <a:lnTo>
                    <a:pt x="4" y="4"/>
                  </a:lnTo>
                  <a:lnTo>
                    <a:pt x="4" y="5"/>
                  </a:lnTo>
                  <a:lnTo>
                    <a:pt x="2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52" name="Freeform 1052"/>
            <p:cNvSpPr>
              <a:spLocks/>
            </p:cNvSpPr>
            <p:nvPr/>
          </p:nvSpPr>
          <p:spPr bwMode="auto">
            <a:xfrm>
              <a:off x="2947" y="1327"/>
              <a:ext cx="4" cy="5"/>
            </a:xfrm>
            <a:custGeom>
              <a:avLst/>
              <a:gdLst>
                <a:gd name="T0" fmla="*/ 1 w 4"/>
                <a:gd name="T1" fmla="*/ 0 h 5"/>
                <a:gd name="T2" fmla="*/ 2 w 4"/>
                <a:gd name="T3" fmla="*/ 2 h 5"/>
                <a:gd name="T4" fmla="*/ 4 w 4"/>
                <a:gd name="T5" fmla="*/ 4 h 5"/>
                <a:gd name="T6" fmla="*/ 4 w 4"/>
                <a:gd name="T7" fmla="*/ 5 h 5"/>
                <a:gd name="T8" fmla="*/ 2 w 4"/>
                <a:gd name="T9" fmla="*/ 4 h 5"/>
                <a:gd name="T10" fmla="*/ 1 w 4"/>
                <a:gd name="T11" fmla="*/ 4 h 5"/>
                <a:gd name="T12" fmla="*/ 0 w 4"/>
                <a:gd name="T13" fmla="*/ 4 h 5"/>
                <a:gd name="T14" fmla="*/ 0 w 4"/>
                <a:gd name="T15" fmla="*/ 1 h 5"/>
                <a:gd name="T16" fmla="*/ 1 w 4"/>
                <a:gd name="T1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" h="5">
                  <a:moveTo>
                    <a:pt x="1" y="0"/>
                  </a:moveTo>
                  <a:lnTo>
                    <a:pt x="2" y="2"/>
                  </a:lnTo>
                  <a:lnTo>
                    <a:pt x="4" y="4"/>
                  </a:lnTo>
                  <a:lnTo>
                    <a:pt x="4" y="5"/>
                  </a:lnTo>
                  <a:lnTo>
                    <a:pt x="2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1"/>
                  </a:lnTo>
                  <a:lnTo>
                    <a:pt x="1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53" name="Freeform 1053"/>
            <p:cNvSpPr>
              <a:spLocks/>
            </p:cNvSpPr>
            <p:nvPr/>
          </p:nvSpPr>
          <p:spPr bwMode="auto">
            <a:xfrm>
              <a:off x="2944" y="1328"/>
              <a:ext cx="4" cy="9"/>
            </a:xfrm>
            <a:custGeom>
              <a:avLst/>
              <a:gdLst>
                <a:gd name="T0" fmla="*/ 0 w 4"/>
                <a:gd name="T1" fmla="*/ 0 h 9"/>
                <a:gd name="T2" fmla="*/ 0 w 4"/>
                <a:gd name="T3" fmla="*/ 0 h 9"/>
                <a:gd name="T4" fmla="*/ 0 w 4"/>
                <a:gd name="T5" fmla="*/ 0 h 9"/>
                <a:gd name="T6" fmla="*/ 2 w 4"/>
                <a:gd name="T7" fmla="*/ 1 h 9"/>
                <a:gd name="T8" fmla="*/ 2 w 4"/>
                <a:gd name="T9" fmla="*/ 3 h 9"/>
                <a:gd name="T10" fmla="*/ 3 w 4"/>
                <a:gd name="T11" fmla="*/ 4 h 9"/>
                <a:gd name="T12" fmla="*/ 3 w 4"/>
                <a:gd name="T13" fmla="*/ 6 h 9"/>
                <a:gd name="T14" fmla="*/ 4 w 4"/>
                <a:gd name="T15" fmla="*/ 9 h 9"/>
                <a:gd name="T16" fmla="*/ 0 w 4"/>
                <a:gd name="T17" fmla="*/ 6 h 9"/>
                <a:gd name="T18" fmla="*/ 0 w 4"/>
                <a:gd name="T19" fmla="*/ 5 h 9"/>
                <a:gd name="T20" fmla="*/ 2 w 4"/>
                <a:gd name="T21" fmla="*/ 4 h 9"/>
                <a:gd name="T22" fmla="*/ 2 w 4"/>
                <a:gd name="T23" fmla="*/ 3 h 9"/>
                <a:gd name="T24" fmla="*/ 0 w 4"/>
                <a:gd name="T2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" h="9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1"/>
                  </a:lnTo>
                  <a:lnTo>
                    <a:pt x="2" y="3"/>
                  </a:lnTo>
                  <a:lnTo>
                    <a:pt x="3" y="4"/>
                  </a:lnTo>
                  <a:lnTo>
                    <a:pt x="3" y="6"/>
                  </a:lnTo>
                  <a:lnTo>
                    <a:pt x="4" y="9"/>
                  </a:lnTo>
                  <a:lnTo>
                    <a:pt x="0" y="6"/>
                  </a:lnTo>
                  <a:lnTo>
                    <a:pt x="0" y="5"/>
                  </a:lnTo>
                  <a:lnTo>
                    <a:pt x="2" y="4"/>
                  </a:lnTo>
                  <a:lnTo>
                    <a:pt x="2" y="3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54" name="Freeform 1054"/>
            <p:cNvSpPr>
              <a:spLocks/>
            </p:cNvSpPr>
            <p:nvPr/>
          </p:nvSpPr>
          <p:spPr bwMode="auto">
            <a:xfrm>
              <a:off x="2944" y="1328"/>
              <a:ext cx="4" cy="9"/>
            </a:xfrm>
            <a:custGeom>
              <a:avLst/>
              <a:gdLst>
                <a:gd name="T0" fmla="*/ 0 w 4"/>
                <a:gd name="T1" fmla="*/ 0 h 9"/>
                <a:gd name="T2" fmla="*/ 0 w 4"/>
                <a:gd name="T3" fmla="*/ 0 h 9"/>
                <a:gd name="T4" fmla="*/ 0 w 4"/>
                <a:gd name="T5" fmla="*/ 0 h 9"/>
                <a:gd name="T6" fmla="*/ 2 w 4"/>
                <a:gd name="T7" fmla="*/ 1 h 9"/>
                <a:gd name="T8" fmla="*/ 2 w 4"/>
                <a:gd name="T9" fmla="*/ 3 h 9"/>
                <a:gd name="T10" fmla="*/ 3 w 4"/>
                <a:gd name="T11" fmla="*/ 4 h 9"/>
                <a:gd name="T12" fmla="*/ 3 w 4"/>
                <a:gd name="T13" fmla="*/ 6 h 9"/>
                <a:gd name="T14" fmla="*/ 4 w 4"/>
                <a:gd name="T15" fmla="*/ 9 h 9"/>
                <a:gd name="T16" fmla="*/ 0 w 4"/>
                <a:gd name="T17" fmla="*/ 6 h 9"/>
                <a:gd name="T18" fmla="*/ 0 w 4"/>
                <a:gd name="T19" fmla="*/ 5 h 9"/>
                <a:gd name="T20" fmla="*/ 2 w 4"/>
                <a:gd name="T21" fmla="*/ 4 h 9"/>
                <a:gd name="T22" fmla="*/ 2 w 4"/>
                <a:gd name="T23" fmla="*/ 3 h 9"/>
                <a:gd name="T24" fmla="*/ 0 w 4"/>
                <a:gd name="T2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" h="9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2" y="1"/>
                  </a:lnTo>
                  <a:lnTo>
                    <a:pt x="2" y="3"/>
                  </a:lnTo>
                  <a:lnTo>
                    <a:pt x="3" y="4"/>
                  </a:lnTo>
                  <a:lnTo>
                    <a:pt x="3" y="6"/>
                  </a:lnTo>
                  <a:lnTo>
                    <a:pt x="4" y="9"/>
                  </a:lnTo>
                  <a:lnTo>
                    <a:pt x="0" y="6"/>
                  </a:lnTo>
                  <a:lnTo>
                    <a:pt x="0" y="5"/>
                  </a:lnTo>
                  <a:lnTo>
                    <a:pt x="2" y="4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55" name="Freeform 1055"/>
            <p:cNvSpPr>
              <a:spLocks/>
            </p:cNvSpPr>
            <p:nvPr/>
          </p:nvSpPr>
          <p:spPr bwMode="auto">
            <a:xfrm>
              <a:off x="2978" y="1359"/>
              <a:ext cx="6" cy="3"/>
            </a:xfrm>
            <a:custGeom>
              <a:avLst/>
              <a:gdLst>
                <a:gd name="T0" fmla="*/ 0 w 6"/>
                <a:gd name="T1" fmla="*/ 2 h 3"/>
                <a:gd name="T2" fmla="*/ 0 w 6"/>
                <a:gd name="T3" fmla="*/ 0 h 3"/>
                <a:gd name="T4" fmla="*/ 3 w 6"/>
                <a:gd name="T5" fmla="*/ 2 h 3"/>
                <a:gd name="T6" fmla="*/ 5 w 6"/>
                <a:gd name="T7" fmla="*/ 3 h 3"/>
                <a:gd name="T8" fmla="*/ 6 w 6"/>
                <a:gd name="T9" fmla="*/ 3 h 3"/>
                <a:gd name="T10" fmla="*/ 5 w 6"/>
                <a:gd name="T11" fmla="*/ 3 h 3"/>
                <a:gd name="T12" fmla="*/ 3 w 6"/>
                <a:gd name="T13" fmla="*/ 3 h 3"/>
                <a:gd name="T14" fmla="*/ 0 w 6"/>
                <a:gd name="T15" fmla="*/ 3 h 3"/>
                <a:gd name="T16" fmla="*/ 0 w 6"/>
                <a:gd name="T1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3">
                  <a:moveTo>
                    <a:pt x="0" y="2"/>
                  </a:moveTo>
                  <a:lnTo>
                    <a:pt x="0" y="0"/>
                  </a:lnTo>
                  <a:lnTo>
                    <a:pt x="3" y="2"/>
                  </a:lnTo>
                  <a:lnTo>
                    <a:pt x="5" y="3"/>
                  </a:lnTo>
                  <a:lnTo>
                    <a:pt x="6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56" name="Freeform 1056"/>
            <p:cNvSpPr>
              <a:spLocks/>
            </p:cNvSpPr>
            <p:nvPr/>
          </p:nvSpPr>
          <p:spPr bwMode="auto">
            <a:xfrm>
              <a:off x="2978" y="1359"/>
              <a:ext cx="6" cy="3"/>
            </a:xfrm>
            <a:custGeom>
              <a:avLst/>
              <a:gdLst>
                <a:gd name="T0" fmla="*/ 0 w 6"/>
                <a:gd name="T1" fmla="*/ 2 h 3"/>
                <a:gd name="T2" fmla="*/ 0 w 6"/>
                <a:gd name="T3" fmla="*/ 0 h 3"/>
                <a:gd name="T4" fmla="*/ 3 w 6"/>
                <a:gd name="T5" fmla="*/ 2 h 3"/>
                <a:gd name="T6" fmla="*/ 5 w 6"/>
                <a:gd name="T7" fmla="*/ 3 h 3"/>
                <a:gd name="T8" fmla="*/ 6 w 6"/>
                <a:gd name="T9" fmla="*/ 3 h 3"/>
                <a:gd name="T10" fmla="*/ 5 w 6"/>
                <a:gd name="T11" fmla="*/ 3 h 3"/>
                <a:gd name="T12" fmla="*/ 3 w 6"/>
                <a:gd name="T13" fmla="*/ 3 h 3"/>
                <a:gd name="T14" fmla="*/ 0 w 6"/>
                <a:gd name="T15" fmla="*/ 3 h 3"/>
                <a:gd name="T16" fmla="*/ 0 w 6"/>
                <a:gd name="T1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" h="3">
                  <a:moveTo>
                    <a:pt x="0" y="2"/>
                  </a:moveTo>
                  <a:lnTo>
                    <a:pt x="0" y="0"/>
                  </a:lnTo>
                  <a:lnTo>
                    <a:pt x="3" y="2"/>
                  </a:lnTo>
                  <a:lnTo>
                    <a:pt x="5" y="3"/>
                  </a:lnTo>
                  <a:lnTo>
                    <a:pt x="6" y="3"/>
                  </a:lnTo>
                  <a:lnTo>
                    <a:pt x="5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2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57" name="Freeform 1057"/>
            <p:cNvSpPr>
              <a:spLocks/>
            </p:cNvSpPr>
            <p:nvPr/>
          </p:nvSpPr>
          <p:spPr bwMode="auto">
            <a:xfrm>
              <a:off x="2982" y="1367"/>
              <a:ext cx="6" cy="1"/>
            </a:xfrm>
            <a:custGeom>
              <a:avLst/>
              <a:gdLst>
                <a:gd name="T0" fmla="*/ 0 w 6"/>
                <a:gd name="T1" fmla="*/ 1 h 1"/>
                <a:gd name="T2" fmla="*/ 0 w 6"/>
                <a:gd name="T3" fmla="*/ 0 h 1"/>
                <a:gd name="T4" fmla="*/ 5 w 6"/>
                <a:gd name="T5" fmla="*/ 0 h 1"/>
                <a:gd name="T6" fmla="*/ 6 w 6"/>
                <a:gd name="T7" fmla="*/ 0 h 1"/>
                <a:gd name="T8" fmla="*/ 6 w 6"/>
                <a:gd name="T9" fmla="*/ 1 h 1"/>
                <a:gd name="T10" fmla="*/ 0 w 6"/>
                <a:gd name="T11" fmla="*/ 1 h 1"/>
                <a:gd name="T12" fmla="*/ 0 w 6"/>
                <a:gd name="T1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">
                  <a:moveTo>
                    <a:pt x="0" y="1"/>
                  </a:moveTo>
                  <a:lnTo>
                    <a:pt x="0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1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58" name="Freeform 1058"/>
            <p:cNvSpPr>
              <a:spLocks/>
            </p:cNvSpPr>
            <p:nvPr/>
          </p:nvSpPr>
          <p:spPr bwMode="auto">
            <a:xfrm>
              <a:off x="2982" y="1367"/>
              <a:ext cx="6" cy="1"/>
            </a:xfrm>
            <a:custGeom>
              <a:avLst/>
              <a:gdLst>
                <a:gd name="T0" fmla="*/ 0 w 6"/>
                <a:gd name="T1" fmla="*/ 1 h 1"/>
                <a:gd name="T2" fmla="*/ 0 w 6"/>
                <a:gd name="T3" fmla="*/ 0 h 1"/>
                <a:gd name="T4" fmla="*/ 5 w 6"/>
                <a:gd name="T5" fmla="*/ 0 h 1"/>
                <a:gd name="T6" fmla="*/ 6 w 6"/>
                <a:gd name="T7" fmla="*/ 0 h 1"/>
                <a:gd name="T8" fmla="*/ 6 w 6"/>
                <a:gd name="T9" fmla="*/ 1 h 1"/>
                <a:gd name="T10" fmla="*/ 0 w 6"/>
                <a:gd name="T11" fmla="*/ 1 h 1"/>
                <a:gd name="T12" fmla="*/ 0 w 6"/>
                <a:gd name="T1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1">
                  <a:moveTo>
                    <a:pt x="0" y="1"/>
                  </a:moveTo>
                  <a:lnTo>
                    <a:pt x="0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1"/>
                  </a:lnTo>
                  <a:lnTo>
                    <a:pt x="0" y="1"/>
                  </a:lnTo>
                  <a:lnTo>
                    <a:pt x="0" y="1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59" name="Freeform 1059"/>
            <p:cNvSpPr>
              <a:spLocks/>
            </p:cNvSpPr>
            <p:nvPr/>
          </p:nvSpPr>
          <p:spPr bwMode="auto">
            <a:xfrm>
              <a:off x="2988" y="1366"/>
              <a:ext cx="21" cy="10"/>
            </a:xfrm>
            <a:custGeom>
              <a:avLst/>
              <a:gdLst>
                <a:gd name="T0" fmla="*/ 21 w 21"/>
                <a:gd name="T1" fmla="*/ 10 h 10"/>
                <a:gd name="T2" fmla="*/ 12 w 21"/>
                <a:gd name="T3" fmla="*/ 5 h 10"/>
                <a:gd name="T4" fmla="*/ 8 w 21"/>
                <a:gd name="T5" fmla="*/ 5 h 10"/>
                <a:gd name="T6" fmla="*/ 3 w 21"/>
                <a:gd name="T7" fmla="*/ 2 h 10"/>
                <a:gd name="T8" fmla="*/ 0 w 21"/>
                <a:gd name="T9" fmla="*/ 1 h 10"/>
                <a:gd name="T10" fmla="*/ 1 w 21"/>
                <a:gd name="T11" fmla="*/ 0 h 10"/>
                <a:gd name="T12" fmla="*/ 4 w 21"/>
                <a:gd name="T13" fmla="*/ 0 h 10"/>
                <a:gd name="T14" fmla="*/ 5 w 21"/>
                <a:gd name="T15" fmla="*/ 2 h 10"/>
                <a:gd name="T16" fmla="*/ 6 w 21"/>
                <a:gd name="T17" fmla="*/ 2 h 10"/>
                <a:gd name="T18" fmla="*/ 9 w 21"/>
                <a:gd name="T19" fmla="*/ 1 h 10"/>
                <a:gd name="T20" fmla="*/ 11 w 21"/>
                <a:gd name="T21" fmla="*/ 1 h 10"/>
                <a:gd name="T22" fmla="*/ 11 w 21"/>
                <a:gd name="T23" fmla="*/ 2 h 10"/>
                <a:gd name="T24" fmla="*/ 13 w 21"/>
                <a:gd name="T25" fmla="*/ 5 h 10"/>
                <a:gd name="T26" fmla="*/ 14 w 21"/>
                <a:gd name="T27" fmla="*/ 5 h 10"/>
                <a:gd name="T28" fmla="*/ 18 w 21"/>
                <a:gd name="T29" fmla="*/ 7 h 10"/>
                <a:gd name="T30" fmla="*/ 20 w 21"/>
                <a:gd name="T31" fmla="*/ 7 h 10"/>
                <a:gd name="T32" fmla="*/ 20 w 21"/>
                <a:gd name="T33" fmla="*/ 8 h 10"/>
                <a:gd name="T34" fmla="*/ 21 w 21"/>
                <a:gd name="T35" fmla="*/ 8 h 10"/>
                <a:gd name="T36" fmla="*/ 21 w 21"/>
                <a:gd name="T3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" h="10">
                  <a:moveTo>
                    <a:pt x="21" y="10"/>
                  </a:moveTo>
                  <a:lnTo>
                    <a:pt x="12" y="5"/>
                  </a:lnTo>
                  <a:lnTo>
                    <a:pt x="8" y="5"/>
                  </a:lnTo>
                  <a:lnTo>
                    <a:pt x="3" y="2"/>
                  </a:lnTo>
                  <a:lnTo>
                    <a:pt x="0" y="1"/>
                  </a:lnTo>
                  <a:lnTo>
                    <a:pt x="1" y="0"/>
                  </a:lnTo>
                  <a:lnTo>
                    <a:pt x="4" y="0"/>
                  </a:lnTo>
                  <a:lnTo>
                    <a:pt x="5" y="2"/>
                  </a:lnTo>
                  <a:lnTo>
                    <a:pt x="6" y="2"/>
                  </a:lnTo>
                  <a:lnTo>
                    <a:pt x="9" y="1"/>
                  </a:lnTo>
                  <a:lnTo>
                    <a:pt x="11" y="1"/>
                  </a:lnTo>
                  <a:lnTo>
                    <a:pt x="11" y="2"/>
                  </a:lnTo>
                  <a:lnTo>
                    <a:pt x="13" y="5"/>
                  </a:lnTo>
                  <a:lnTo>
                    <a:pt x="14" y="5"/>
                  </a:lnTo>
                  <a:lnTo>
                    <a:pt x="18" y="7"/>
                  </a:lnTo>
                  <a:lnTo>
                    <a:pt x="20" y="7"/>
                  </a:lnTo>
                  <a:lnTo>
                    <a:pt x="20" y="8"/>
                  </a:lnTo>
                  <a:lnTo>
                    <a:pt x="21" y="8"/>
                  </a:lnTo>
                  <a:lnTo>
                    <a:pt x="21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60" name="Freeform 1060"/>
            <p:cNvSpPr>
              <a:spLocks/>
            </p:cNvSpPr>
            <p:nvPr/>
          </p:nvSpPr>
          <p:spPr bwMode="auto">
            <a:xfrm>
              <a:off x="2988" y="1366"/>
              <a:ext cx="21" cy="10"/>
            </a:xfrm>
            <a:custGeom>
              <a:avLst/>
              <a:gdLst>
                <a:gd name="T0" fmla="*/ 21 w 21"/>
                <a:gd name="T1" fmla="*/ 10 h 10"/>
                <a:gd name="T2" fmla="*/ 12 w 21"/>
                <a:gd name="T3" fmla="*/ 5 h 10"/>
                <a:gd name="T4" fmla="*/ 8 w 21"/>
                <a:gd name="T5" fmla="*/ 5 h 10"/>
                <a:gd name="T6" fmla="*/ 3 w 21"/>
                <a:gd name="T7" fmla="*/ 2 h 10"/>
                <a:gd name="T8" fmla="*/ 0 w 21"/>
                <a:gd name="T9" fmla="*/ 1 h 10"/>
                <a:gd name="T10" fmla="*/ 1 w 21"/>
                <a:gd name="T11" fmla="*/ 0 h 10"/>
                <a:gd name="T12" fmla="*/ 4 w 21"/>
                <a:gd name="T13" fmla="*/ 0 h 10"/>
                <a:gd name="T14" fmla="*/ 5 w 21"/>
                <a:gd name="T15" fmla="*/ 2 h 10"/>
                <a:gd name="T16" fmla="*/ 6 w 21"/>
                <a:gd name="T17" fmla="*/ 2 h 10"/>
                <a:gd name="T18" fmla="*/ 9 w 21"/>
                <a:gd name="T19" fmla="*/ 1 h 10"/>
                <a:gd name="T20" fmla="*/ 11 w 21"/>
                <a:gd name="T21" fmla="*/ 1 h 10"/>
                <a:gd name="T22" fmla="*/ 11 w 21"/>
                <a:gd name="T23" fmla="*/ 2 h 10"/>
                <a:gd name="T24" fmla="*/ 13 w 21"/>
                <a:gd name="T25" fmla="*/ 5 h 10"/>
                <a:gd name="T26" fmla="*/ 14 w 21"/>
                <a:gd name="T27" fmla="*/ 5 h 10"/>
                <a:gd name="T28" fmla="*/ 18 w 21"/>
                <a:gd name="T29" fmla="*/ 7 h 10"/>
                <a:gd name="T30" fmla="*/ 20 w 21"/>
                <a:gd name="T31" fmla="*/ 7 h 10"/>
                <a:gd name="T32" fmla="*/ 20 w 21"/>
                <a:gd name="T33" fmla="*/ 8 h 10"/>
                <a:gd name="T34" fmla="*/ 21 w 21"/>
                <a:gd name="T35" fmla="*/ 8 h 10"/>
                <a:gd name="T36" fmla="*/ 21 w 21"/>
                <a:gd name="T3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" h="10">
                  <a:moveTo>
                    <a:pt x="21" y="10"/>
                  </a:moveTo>
                  <a:lnTo>
                    <a:pt x="12" y="5"/>
                  </a:lnTo>
                  <a:lnTo>
                    <a:pt x="8" y="5"/>
                  </a:lnTo>
                  <a:lnTo>
                    <a:pt x="3" y="2"/>
                  </a:lnTo>
                  <a:lnTo>
                    <a:pt x="0" y="1"/>
                  </a:lnTo>
                  <a:lnTo>
                    <a:pt x="1" y="0"/>
                  </a:lnTo>
                  <a:lnTo>
                    <a:pt x="4" y="0"/>
                  </a:lnTo>
                  <a:lnTo>
                    <a:pt x="5" y="2"/>
                  </a:lnTo>
                  <a:lnTo>
                    <a:pt x="6" y="2"/>
                  </a:lnTo>
                  <a:lnTo>
                    <a:pt x="9" y="1"/>
                  </a:lnTo>
                  <a:lnTo>
                    <a:pt x="11" y="1"/>
                  </a:lnTo>
                  <a:lnTo>
                    <a:pt x="11" y="2"/>
                  </a:lnTo>
                  <a:lnTo>
                    <a:pt x="13" y="5"/>
                  </a:lnTo>
                  <a:lnTo>
                    <a:pt x="14" y="5"/>
                  </a:lnTo>
                  <a:lnTo>
                    <a:pt x="18" y="7"/>
                  </a:lnTo>
                  <a:lnTo>
                    <a:pt x="20" y="7"/>
                  </a:lnTo>
                  <a:lnTo>
                    <a:pt x="20" y="8"/>
                  </a:lnTo>
                  <a:lnTo>
                    <a:pt x="21" y="8"/>
                  </a:lnTo>
                  <a:lnTo>
                    <a:pt x="21" y="1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61" name="Freeform 1061"/>
            <p:cNvSpPr>
              <a:spLocks/>
            </p:cNvSpPr>
            <p:nvPr/>
          </p:nvSpPr>
          <p:spPr bwMode="auto">
            <a:xfrm>
              <a:off x="2933" y="1303"/>
              <a:ext cx="85" cy="64"/>
            </a:xfrm>
            <a:custGeom>
              <a:avLst/>
              <a:gdLst>
                <a:gd name="T0" fmla="*/ 67 w 85"/>
                <a:gd name="T1" fmla="*/ 14 h 64"/>
                <a:gd name="T2" fmla="*/ 56 w 85"/>
                <a:gd name="T3" fmla="*/ 11 h 64"/>
                <a:gd name="T4" fmla="*/ 46 w 85"/>
                <a:gd name="T5" fmla="*/ 3 h 64"/>
                <a:gd name="T6" fmla="*/ 41 w 85"/>
                <a:gd name="T7" fmla="*/ 2 h 64"/>
                <a:gd name="T8" fmla="*/ 37 w 85"/>
                <a:gd name="T9" fmla="*/ 1 h 64"/>
                <a:gd name="T10" fmla="*/ 38 w 85"/>
                <a:gd name="T11" fmla="*/ 3 h 64"/>
                <a:gd name="T12" fmla="*/ 35 w 85"/>
                <a:gd name="T13" fmla="*/ 4 h 64"/>
                <a:gd name="T14" fmla="*/ 28 w 85"/>
                <a:gd name="T15" fmla="*/ 8 h 64"/>
                <a:gd name="T16" fmla="*/ 30 w 85"/>
                <a:gd name="T17" fmla="*/ 13 h 64"/>
                <a:gd name="T18" fmla="*/ 25 w 85"/>
                <a:gd name="T19" fmla="*/ 16 h 64"/>
                <a:gd name="T20" fmla="*/ 25 w 85"/>
                <a:gd name="T21" fmla="*/ 22 h 64"/>
                <a:gd name="T22" fmla="*/ 21 w 85"/>
                <a:gd name="T23" fmla="*/ 21 h 64"/>
                <a:gd name="T24" fmla="*/ 19 w 85"/>
                <a:gd name="T25" fmla="*/ 21 h 64"/>
                <a:gd name="T26" fmla="*/ 15 w 85"/>
                <a:gd name="T27" fmla="*/ 18 h 64"/>
                <a:gd name="T28" fmla="*/ 8 w 85"/>
                <a:gd name="T29" fmla="*/ 21 h 64"/>
                <a:gd name="T30" fmla="*/ 3 w 85"/>
                <a:gd name="T31" fmla="*/ 21 h 64"/>
                <a:gd name="T32" fmla="*/ 6 w 85"/>
                <a:gd name="T33" fmla="*/ 31 h 64"/>
                <a:gd name="T34" fmla="*/ 10 w 85"/>
                <a:gd name="T35" fmla="*/ 26 h 64"/>
                <a:gd name="T36" fmla="*/ 18 w 85"/>
                <a:gd name="T37" fmla="*/ 25 h 64"/>
                <a:gd name="T38" fmla="*/ 20 w 85"/>
                <a:gd name="T39" fmla="*/ 30 h 64"/>
                <a:gd name="T40" fmla="*/ 29 w 85"/>
                <a:gd name="T41" fmla="*/ 41 h 64"/>
                <a:gd name="T42" fmla="*/ 26 w 85"/>
                <a:gd name="T43" fmla="*/ 43 h 64"/>
                <a:gd name="T44" fmla="*/ 34 w 85"/>
                <a:gd name="T45" fmla="*/ 50 h 64"/>
                <a:gd name="T46" fmla="*/ 38 w 85"/>
                <a:gd name="T47" fmla="*/ 55 h 64"/>
                <a:gd name="T48" fmla="*/ 51 w 85"/>
                <a:gd name="T49" fmla="*/ 56 h 64"/>
                <a:gd name="T50" fmla="*/ 61 w 85"/>
                <a:gd name="T51" fmla="*/ 64 h 64"/>
                <a:gd name="T52" fmla="*/ 56 w 85"/>
                <a:gd name="T53" fmla="*/ 54 h 64"/>
                <a:gd name="T54" fmla="*/ 48 w 85"/>
                <a:gd name="T55" fmla="*/ 49 h 64"/>
                <a:gd name="T56" fmla="*/ 43 w 85"/>
                <a:gd name="T57" fmla="*/ 44 h 64"/>
                <a:gd name="T58" fmla="*/ 39 w 85"/>
                <a:gd name="T59" fmla="*/ 39 h 64"/>
                <a:gd name="T60" fmla="*/ 39 w 85"/>
                <a:gd name="T61" fmla="*/ 35 h 64"/>
                <a:gd name="T62" fmla="*/ 35 w 85"/>
                <a:gd name="T63" fmla="*/ 31 h 64"/>
                <a:gd name="T64" fmla="*/ 34 w 85"/>
                <a:gd name="T65" fmla="*/ 29 h 64"/>
                <a:gd name="T66" fmla="*/ 34 w 85"/>
                <a:gd name="T67" fmla="*/ 22 h 64"/>
                <a:gd name="T68" fmla="*/ 40 w 85"/>
                <a:gd name="T69" fmla="*/ 26 h 64"/>
                <a:gd name="T70" fmla="*/ 48 w 85"/>
                <a:gd name="T71" fmla="*/ 23 h 64"/>
                <a:gd name="T72" fmla="*/ 53 w 85"/>
                <a:gd name="T73" fmla="*/ 24 h 64"/>
                <a:gd name="T74" fmla="*/ 56 w 85"/>
                <a:gd name="T75" fmla="*/ 24 h 64"/>
                <a:gd name="T76" fmla="*/ 60 w 85"/>
                <a:gd name="T77" fmla="*/ 24 h 64"/>
                <a:gd name="T78" fmla="*/ 65 w 85"/>
                <a:gd name="T79" fmla="*/ 24 h 64"/>
                <a:gd name="T80" fmla="*/ 68 w 85"/>
                <a:gd name="T81" fmla="*/ 25 h 64"/>
                <a:gd name="T82" fmla="*/ 73 w 85"/>
                <a:gd name="T83" fmla="*/ 26 h 64"/>
                <a:gd name="T84" fmla="*/ 75 w 85"/>
                <a:gd name="T85" fmla="*/ 25 h 64"/>
                <a:gd name="T86" fmla="*/ 77 w 85"/>
                <a:gd name="T87" fmla="*/ 29 h 64"/>
                <a:gd name="T88" fmla="*/ 81 w 85"/>
                <a:gd name="T89" fmla="*/ 29 h 64"/>
                <a:gd name="T90" fmla="*/ 80 w 85"/>
                <a:gd name="T91" fmla="*/ 25 h 64"/>
                <a:gd name="T92" fmla="*/ 83 w 85"/>
                <a:gd name="T93" fmla="*/ 23 h 64"/>
                <a:gd name="T94" fmla="*/ 85 w 85"/>
                <a:gd name="T95" fmla="*/ 23 h 64"/>
                <a:gd name="T96" fmla="*/ 83 w 85"/>
                <a:gd name="T97" fmla="*/ 22 h 64"/>
                <a:gd name="T98" fmla="*/ 80 w 85"/>
                <a:gd name="T99" fmla="*/ 21 h 64"/>
                <a:gd name="T100" fmla="*/ 78 w 85"/>
                <a:gd name="T101" fmla="*/ 21 h 64"/>
                <a:gd name="T102" fmla="*/ 78 w 85"/>
                <a:gd name="T103" fmla="*/ 19 h 64"/>
                <a:gd name="T104" fmla="*/ 79 w 85"/>
                <a:gd name="T105" fmla="*/ 18 h 64"/>
                <a:gd name="T106" fmla="*/ 78 w 85"/>
                <a:gd name="T107" fmla="*/ 16 h 64"/>
                <a:gd name="T108" fmla="*/ 76 w 85"/>
                <a:gd name="T109" fmla="*/ 16 h 64"/>
                <a:gd name="T110" fmla="*/ 76 w 85"/>
                <a:gd name="T111" fmla="*/ 14 h 64"/>
                <a:gd name="T112" fmla="*/ 74 w 85"/>
                <a:gd name="T113" fmla="*/ 1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5" h="64">
                  <a:moveTo>
                    <a:pt x="74" y="11"/>
                  </a:moveTo>
                  <a:lnTo>
                    <a:pt x="70" y="13"/>
                  </a:lnTo>
                  <a:lnTo>
                    <a:pt x="67" y="14"/>
                  </a:lnTo>
                  <a:lnTo>
                    <a:pt x="63" y="14"/>
                  </a:lnTo>
                  <a:lnTo>
                    <a:pt x="59" y="12"/>
                  </a:lnTo>
                  <a:lnTo>
                    <a:pt x="56" y="11"/>
                  </a:lnTo>
                  <a:lnTo>
                    <a:pt x="53" y="8"/>
                  </a:lnTo>
                  <a:lnTo>
                    <a:pt x="49" y="6"/>
                  </a:lnTo>
                  <a:lnTo>
                    <a:pt x="46" y="3"/>
                  </a:lnTo>
                  <a:lnTo>
                    <a:pt x="43" y="2"/>
                  </a:lnTo>
                  <a:lnTo>
                    <a:pt x="43" y="1"/>
                  </a:lnTo>
                  <a:lnTo>
                    <a:pt x="41" y="2"/>
                  </a:lnTo>
                  <a:lnTo>
                    <a:pt x="39" y="0"/>
                  </a:lnTo>
                  <a:lnTo>
                    <a:pt x="38" y="0"/>
                  </a:lnTo>
                  <a:lnTo>
                    <a:pt x="37" y="1"/>
                  </a:lnTo>
                  <a:lnTo>
                    <a:pt x="37" y="2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7" y="3"/>
                  </a:lnTo>
                  <a:lnTo>
                    <a:pt x="35" y="3"/>
                  </a:lnTo>
                  <a:lnTo>
                    <a:pt x="35" y="4"/>
                  </a:lnTo>
                  <a:lnTo>
                    <a:pt x="35" y="5"/>
                  </a:lnTo>
                  <a:lnTo>
                    <a:pt x="29" y="6"/>
                  </a:lnTo>
                  <a:lnTo>
                    <a:pt x="28" y="8"/>
                  </a:lnTo>
                  <a:lnTo>
                    <a:pt x="28" y="9"/>
                  </a:lnTo>
                  <a:lnTo>
                    <a:pt x="30" y="10"/>
                  </a:lnTo>
                  <a:lnTo>
                    <a:pt x="30" y="13"/>
                  </a:lnTo>
                  <a:lnTo>
                    <a:pt x="29" y="14"/>
                  </a:lnTo>
                  <a:lnTo>
                    <a:pt x="27" y="14"/>
                  </a:lnTo>
                  <a:lnTo>
                    <a:pt x="25" y="16"/>
                  </a:lnTo>
                  <a:lnTo>
                    <a:pt x="26" y="18"/>
                  </a:lnTo>
                  <a:lnTo>
                    <a:pt x="25" y="19"/>
                  </a:lnTo>
                  <a:lnTo>
                    <a:pt x="25" y="22"/>
                  </a:lnTo>
                  <a:lnTo>
                    <a:pt x="24" y="22"/>
                  </a:lnTo>
                  <a:lnTo>
                    <a:pt x="23" y="22"/>
                  </a:lnTo>
                  <a:lnTo>
                    <a:pt x="21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8" y="22"/>
                  </a:lnTo>
                  <a:lnTo>
                    <a:pt x="15" y="18"/>
                  </a:lnTo>
                  <a:lnTo>
                    <a:pt x="14" y="18"/>
                  </a:lnTo>
                  <a:lnTo>
                    <a:pt x="13" y="21"/>
                  </a:lnTo>
                  <a:lnTo>
                    <a:pt x="8" y="21"/>
                  </a:lnTo>
                  <a:lnTo>
                    <a:pt x="7" y="20"/>
                  </a:lnTo>
                  <a:lnTo>
                    <a:pt x="6" y="21"/>
                  </a:lnTo>
                  <a:lnTo>
                    <a:pt x="3" y="21"/>
                  </a:lnTo>
                  <a:lnTo>
                    <a:pt x="0" y="20"/>
                  </a:lnTo>
                  <a:lnTo>
                    <a:pt x="2" y="24"/>
                  </a:lnTo>
                  <a:lnTo>
                    <a:pt x="6" y="31"/>
                  </a:lnTo>
                  <a:lnTo>
                    <a:pt x="7" y="32"/>
                  </a:lnTo>
                  <a:lnTo>
                    <a:pt x="8" y="31"/>
                  </a:lnTo>
                  <a:lnTo>
                    <a:pt x="10" y="26"/>
                  </a:lnTo>
                  <a:lnTo>
                    <a:pt x="13" y="22"/>
                  </a:lnTo>
                  <a:lnTo>
                    <a:pt x="16" y="23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9" y="26"/>
                  </a:lnTo>
                  <a:lnTo>
                    <a:pt x="20" y="30"/>
                  </a:lnTo>
                  <a:lnTo>
                    <a:pt x="21" y="33"/>
                  </a:lnTo>
                  <a:lnTo>
                    <a:pt x="24" y="36"/>
                  </a:lnTo>
                  <a:lnTo>
                    <a:pt x="29" y="41"/>
                  </a:lnTo>
                  <a:lnTo>
                    <a:pt x="26" y="41"/>
                  </a:lnTo>
                  <a:lnTo>
                    <a:pt x="26" y="42"/>
                  </a:lnTo>
                  <a:lnTo>
                    <a:pt x="26" y="43"/>
                  </a:lnTo>
                  <a:lnTo>
                    <a:pt x="29" y="46"/>
                  </a:lnTo>
                  <a:lnTo>
                    <a:pt x="31" y="49"/>
                  </a:lnTo>
                  <a:lnTo>
                    <a:pt x="34" y="50"/>
                  </a:lnTo>
                  <a:lnTo>
                    <a:pt x="37" y="51"/>
                  </a:lnTo>
                  <a:lnTo>
                    <a:pt x="38" y="53"/>
                  </a:lnTo>
                  <a:lnTo>
                    <a:pt x="38" y="55"/>
                  </a:lnTo>
                  <a:lnTo>
                    <a:pt x="44" y="55"/>
                  </a:lnTo>
                  <a:lnTo>
                    <a:pt x="47" y="55"/>
                  </a:lnTo>
                  <a:lnTo>
                    <a:pt x="51" y="56"/>
                  </a:lnTo>
                  <a:lnTo>
                    <a:pt x="56" y="60"/>
                  </a:lnTo>
                  <a:lnTo>
                    <a:pt x="59" y="63"/>
                  </a:lnTo>
                  <a:lnTo>
                    <a:pt x="61" y="64"/>
                  </a:lnTo>
                  <a:lnTo>
                    <a:pt x="64" y="63"/>
                  </a:lnTo>
                  <a:lnTo>
                    <a:pt x="57" y="58"/>
                  </a:lnTo>
                  <a:lnTo>
                    <a:pt x="56" y="54"/>
                  </a:lnTo>
                  <a:lnTo>
                    <a:pt x="55" y="54"/>
                  </a:lnTo>
                  <a:lnTo>
                    <a:pt x="54" y="53"/>
                  </a:lnTo>
                  <a:lnTo>
                    <a:pt x="48" y="49"/>
                  </a:lnTo>
                  <a:lnTo>
                    <a:pt x="48" y="48"/>
                  </a:lnTo>
                  <a:lnTo>
                    <a:pt x="45" y="44"/>
                  </a:lnTo>
                  <a:lnTo>
                    <a:pt x="43" y="44"/>
                  </a:lnTo>
                  <a:lnTo>
                    <a:pt x="40" y="41"/>
                  </a:lnTo>
                  <a:lnTo>
                    <a:pt x="39" y="41"/>
                  </a:lnTo>
                  <a:lnTo>
                    <a:pt x="39" y="39"/>
                  </a:lnTo>
                  <a:lnTo>
                    <a:pt x="40" y="39"/>
                  </a:lnTo>
                  <a:lnTo>
                    <a:pt x="39" y="38"/>
                  </a:lnTo>
                  <a:lnTo>
                    <a:pt x="39" y="35"/>
                  </a:lnTo>
                  <a:lnTo>
                    <a:pt x="37" y="34"/>
                  </a:lnTo>
                  <a:lnTo>
                    <a:pt x="36" y="32"/>
                  </a:lnTo>
                  <a:lnTo>
                    <a:pt x="35" y="31"/>
                  </a:lnTo>
                  <a:lnTo>
                    <a:pt x="33" y="30"/>
                  </a:lnTo>
                  <a:lnTo>
                    <a:pt x="33" y="30"/>
                  </a:lnTo>
                  <a:lnTo>
                    <a:pt x="34" y="29"/>
                  </a:lnTo>
                  <a:lnTo>
                    <a:pt x="34" y="28"/>
                  </a:lnTo>
                  <a:lnTo>
                    <a:pt x="33" y="23"/>
                  </a:lnTo>
                  <a:lnTo>
                    <a:pt x="34" y="22"/>
                  </a:lnTo>
                  <a:lnTo>
                    <a:pt x="37" y="22"/>
                  </a:lnTo>
                  <a:lnTo>
                    <a:pt x="37" y="23"/>
                  </a:lnTo>
                  <a:lnTo>
                    <a:pt x="40" y="26"/>
                  </a:lnTo>
                  <a:lnTo>
                    <a:pt x="41" y="26"/>
                  </a:lnTo>
                  <a:lnTo>
                    <a:pt x="44" y="22"/>
                  </a:lnTo>
                  <a:lnTo>
                    <a:pt x="48" y="23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53" y="24"/>
                  </a:lnTo>
                  <a:lnTo>
                    <a:pt x="54" y="24"/>
                  </a:lnTo>
                  <a:lnTo>
                    <a:pt x="55" y="23"/>
                  </a:lnTo>
                  <a:lnTo>
                    <a:pt x="56" y="24"/>
                  </a:lnTo>
                  <a:lnTo>
                    <a:pt x="59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3" y="25"/>
                  </a:lnTo>
                  <a:lnTo>
                    <a:pt x="64" y="25"/>
                  </a:lnTo>
                  <a:lnTo>
                    <a:pt x="65" y="24"/>
                  </a:lnTo>
                  <a:lnTo>
                    <a:pt x="66" y="24"/>
                  </a:lnTo>
                  <a:lnTo>
                    <a:pt x="67" y="25"/>
                  </a:lnTo>
                  <a:lnTo>
                    <a:pt x="68" y="25"/>
                  </a:lnTo>
                  <a:lnTo>
                    <a:pt x="68" y="24"/>
                  </a:lnTo>
                  <a:lnTo>
                    <a:pt x="71" y="25"/>
                  </a:lnTo>
                  <a:lnTo>
                    <a:pt x="73" y="26"/>
                  </a:lnTo>
                  <a:lnTo>
                    <a:pt x="73" y="25"/>
                  </a:lnTo>
                  <a:lnTo>
                    <a:pt x="73" y="25"/>
                  </a:lnTo>
                  <a:lnTo>
                    <a:pt x="75" y="25"/>
                  </a:lnTo>
                  <a:lnTo>
                    <a:pt x="77" y="28"/>
                  </a:lnTo>
                  <a:lnTo>
                    <a:pt x="76" y="28"/>
                  </a:lnTo>
                  <a:lnTo>
                    <a:pt x="77" y="29"/>
                  </a:lnTo>
                  <a:lnTo>
                    <a:pt x="78" y="30"/>
                  </a:lnTo>
                  <a:lnTo>
                    <a:pt x="80" y="30"/>
                  </a:lnTo>
                  <a:lnTo>
                    <a:pt x="81" y="29"/>
                  </a:lnTo>
                  <a:lnTo>
                    <a:pt x="81" y="28"/>
                  </a:lnTo>
                  <a:lnTo>
                    <a:pt x="81" y="26"/>
                  </a:lnTo>
                  <a:lnTo>
                    <a:pt x="80" y="25"/>
                  </a:lnTo>
                  <a:lnTo>
                    <a:pt x="81" y="24"/>
                  </a:lnTo>
                  <a:lnTo>
                    <a:pt x="81" y="23"/>
                  </a:lnTo>
                  <a:lnTo>
                    <a:pt x="83" y="23"/>
                  </a:lnTo>
                  <a:lnTo>
                    <a:pt x="83" y="23"/>
                  </a:lnTo>
                  <a:lnTo>
                    <a:pt x="84" y="23"/>
                  </a:lnTo>
                  <a:lnTo>
                    <a:pt x="85" y="23"/>
                  </a:lnTo>
                  <a:lnTo>
                    <a:pt x="85" y="22"/>
                  </a:lnTo>
                  <a:lnTo>
                    <a:pt x="84" y="22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0" y="22"/>
                  </a:lnTo>
                  <a:lnTo>
                    <a:pt x="80" y="21"/>
                  </a:lnTo>
                  <a:lnTo>
                    <a:pt x="79" y="21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9" y="19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77" y="18"/>
                  </a:lnTo>
                  <a:lnTo>
                    <a:pt x="76" y="18"/>
                  </a:lnTo>
                  <a:lnTo>
                    <a:pt x="76" y="16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6" y="13"/>
                  </a:lnTo>
                  <a:lnTo>
                    <a:pt x="7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62" name="Freeform 1062"/>
            <p:cNvSpPr>
              <a:spLocks/>
            </p:cNvSpPr>
            <p:nvPr/>
          </p:nvSpPr>
          <p:spPr bwMode="auto">
            <a:xfrm>
              <a:off x="2933" y="1303"/>
              <a:ext cx="85" cy="64"/>
            </a:xfrm>
            <a:custGeom>
              <a:avLst/>
              <a:gdLst>
                <a:gd name="T0" fmla="*/ 67 w 85"/>
                <a:gd name="T1" fmla="*/ 14 h 64"/>
                <a:gd name="T2" fmla="*/ 56 w 85"/>
                <a:gd name="T3" fmla="*/ 11 h 64"/>
                <a:gd name="T4" fmla="*/ 46 w 85"/>
                <a:gd name="T5" fmla="*/ 3 h 64"/>
                <a:gd name="T6" fmla="*/ 41 w 85"/>
                <a:gd name="T7" fmla="*/ 2 h 64"/>
                <a:gd name="T8" fmla="*/ 37 w 85"/>
                <a:gd name="T9" fmla="*/ 1 h 64"/>
                <a:gd name="T10" fmla="*/ 38 w 85"/>
                <a:gd name="T11" fmla="*/ 3 h 64"/>
                <a:gd name="T12" fmla="*/ 35 w 85"/>
                <a:gd name="T13" fmla="*/ 4 h 64"/>
                <a:gd name="T14" fmla="*/ 28 w 85"/>
                <a:gd name="T15" fmla="*/ 8 h 64"/>
                <a:gd name="T16" fmla="*/ 30 w 85"/>
                <a:gd name="T17" fmla="*/ 13 h 64"/>
                <a:gd name="T18" fmla="*/ 25 w 85"/>
                <a:gd name="T19" fmla="*/ 16 h 64"/>
                <a:gd name="T20" fmla="*/ 25 w 85"/>
                <a:gd name="T21" fmla="*/ 22 h 64"/>
                <a:gd name="T22" fmla="*/ 21 w 85"/>
                <a:gd name="T23" fmla="*/ 21 h 64"/>
                <a:gd name="T24" fmla="*/ 19 w 85"/>
                <a:gd name="T25" fmla="*/ 21 h 64"/>
                <a:gd name="T26" fmla="*/ 15 w 85"/>
                <a:gd name="T27" fmla="*/ 18 h 64"/>
                <a:gd name="T28" fmla="*/ 8 w 85"/>
                <a:gd name="T29" fmla="*/ 21 h 64"/>
                <a:gd name="T30" fmla="*/ 3 w 85"/>
                <a:gd name="T31" fmla="*/ 21 h 64"/>
                <a:gd name="T32" fmla="*/ 6 w 85"/>
                <a:gd name="T33" fmla="*/ 31 h 64"/>
                <a:gd name="T34" fmla="*/ 10 w 85"/>
                <a:gd name="T35" fmla="*/ 26 h 64"/>
                <a:gd name="T36" fmla="*/ 18 w 85"/>
                <a:gd name="T37" fmla="*/ 25 h 64"/>
                <a:gd name="T38" fmla="*/ 20 w 85"/>
                <a:gd name="T39" fmla="*/ 30 h 64"/>
                <a:gd name="T40" fmla="*/ 29 w 85"/>
                <a:gd name="T41" fmla="*/ 41 h 64"/>
                <a:gd name="T42" fmla="*/ 26 w 85"/>
                <a:gd name="T43" fmla="*/ 43 h 64"/>
                <a:gd name="T44" fmla="*/ 34 w 85"/>
                <a:gd name="T45" fmla="*/ 50 h 64"/>
                <a:gd name="T46" fmla="*/ 38 w 85"/>
                <a:gd name="T47" fmla="*/ 55 h 64"/>
                <a:gd name="T48" fmla="*/ 51 w 85"/>
                <a:gd name="T49" fmla="*/ 56 h 64"/>
                <a:gd name="T50" fmla="*/ 61 w 85"/>
                <a:gd name="T51" fmla="*/ 64 h 64"/>
                <a:gd name="T52" fmla="*/ 56 w 85"/>
                <a:gd name="T53" fmla="*/ 54 h 64"/>
                <a:gd name="T54" fmla="*/ 48 w 85"/>
                <a:gd name="T55" fmla="*/ 49 h 64"/>
                <a:gd name="T56" fmla="*/ 43 w 85"/>
                <a:gd name="T57" fmla="*/ 44 h 64"/>
                <a:gd name="T58" fmla="*/ 39 w 85"/>
                <a:gd name="T59" fmla="*/ 39 h 64"/>
                <a:gd name="T60" fmla="*/ 39 w 85"/>
                <a:gd name="T61" fmla="*/ 35 h 64"/>
                <a:gd name="T62" fmla="*/ 35 w 85"/>
                <a:gd name="T63" fmla="*/ 31 h 64"/>
                <a:gd name="T64" fmla="*/ 34 w 85"/>
                <a:gd name="T65" fmla="*/ 29 h 64"/>
                <a:gd name="T66" fmla="*/ 34 w 85"/>
                <a:gd name="T67" fmla="*/ 22 h 64"/>
                <a:gd name="T68" fmla="*/ 40 w 85"/>
                <a:gd name="T69" fmla="*/ 26 h 64"/>
                <a:gd name="T70" fmla="*/ 48 w 85"/>
                <a:gd name="T71" fmla="*/ 23 h 64"/>
                <a:gd name="T72" fmla="*/ 53 w 85"/>
                <a:gd name="T73" fmla="*/ 24 h 64"/>
                <a:gd name="T74" fmla="*/ 56 w 85"/>
                <a:gd name="T75" fmla="*/ 24 h 64"/>
                <a:gd name="T76" fmla="*/ 60 w 85"/>
                <a:gd name="T77" fmla="*/ 24 h 64"/>
                <a:gd name="T78" fmla="*/ 65 w 85"/>
                <a:gd name="T79" fmla="*/ 24 h 64"/>
                <a:gd name="T80" fmla="*/ 68 w 85"/>
                <a:gd name="T81" fmla="*/ 25 h 64"/>
                <a:gd name="T82" fmla="*/ 73 w 85"/>
                <a:gd name="T83" fmla="*/ 26 h 64"/>
                <a:gd name="T84" fmla="*/ 75 w 85"/>
                <a:gd name="T85" fmla="*/ 25 h 64"/>
                <a:gd name="T86" fmla="*/ 77 w 85"/>
                <a:gd name="T87" fmla="*/ 29 h 64"/>
                <a:gd name="T88" fmla="*/ 81 w 85"/>
                <a:gd name="T89" fmla="*/ 29 h 64"/>
                <a:gd name="T90" fmla="*/ 80 w 85"/>
                <a:gd name="T91" fmla="*/ 25 h 64"/>
                <a:gd name="T92" fmla="*/ 83 w 85"/>
                <a:gd name="T93" fmla="*/ 23 h 64"/>
                <a:gd name="T94" fmla="*/ 85 w 85"/>
                <a:gd name="T95" fmla="*/ 23 h 64"/>
                <a:gd name="T96" fmla="*/ 83 w 85"/>
                <a:gd name="T97" fmla="*/ 22 h 64"/>
                <a:gd name="T98" fmla="*/ 80 w 85"/>
                <a:gd name="T99" fmla="*/ 21 h 64"/>
                <a:gd name="T100" fmla="*/ 78 w 85"/>
                <a:gd name="T101" fmla="*/ 21 h 64"/>
                <a:gd name="T102" fmla="*/ 78 w 85"/>
                <a:gd name="T103" fmla="*/ 19 h 64"/>
                <a:gd name="T104" fmla="*/ 79 w 85"/>
                <a:gd name="T105" fmla="*/ 18 h 64"/>
                <a:gd name="T106" fmla="*/ 78 w 85"/>
                <a:gd name="T107" fmla="*/ 16 h 64"/>
                <a:gd name="T108" fmla="*/ 76 w 85"/>
                <a:gd name="T109" fmla="*/ 16 h 64"/>
                <a:gd name="T110" fmla="*/ 76 w 85"/>
                <a:gd name="T111" fmla="*/ 14 h 64"/>
                <a:gd name="T112" fmla="*/ 74 w 85"/>
                <a:gd name="T113" fmla="*/ 1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5" h="64">
                  <a:moveTo>
                    <a:pt x="74" y="11"/>
                  </a:moveTo>
                  <a:lnTo>
                    <a:pt x="70" y="13"/>
                  </a:lnTo>
                  <a:lnTo>
                    <a:pt x="67" y="14"/>
                  </a:lnTo>
                  <a:lnTo>
                    <a:pt x="63" y="14"/>
                  </a:lnTo>
                  <a:lnTo>
                    <a:pt x="59" y="12"/>
                  </a:lnTo>
                  <a:lnTo>
                    <a:pt x="56" y="11"/>
                  </a:lnTo>
                  <a:lnTo>
                    <a:pt x="53" y="8"/>
                  </a:lnTo>
                  <a:lnTo>
                    <a:pt x="49" y="6"/>
                  </a:lnTo>
                  <a:lnTo>
                    <a:pt x="46" y="3"/>
                  </a:lnTo>
                  <a:lnTo>
                    <a:pt x="43" y="2"/>
                  </a:lnTo>
                  <a:lnTo>
                    <a:pt x="43" y="1"/>
                  </a:lnTo>
                  <a:lnTo>
                    <a:pt x="41" y="2"/>
                  </a:lnTo>
                  <a:lnTo>
                    <a:pt x="39" y="0"/>
                  </a:lnTo>
                  <a:lnTo>
                    <a:pt x="38" y="0"/>
                  </a:lnTo>
                  <a:lnTo>
                    <a:pt x="37" y="1"/>
                  </a:lnTo>
                  <a:lnTo>
                    <a:pt x="37" y="2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7" y="3"/>
                  </a:lnTo>
                  <a:lnTo>
                    <a:pt x="35" y="3"/>
                  </a:lnTo>
                  <a:lnTo>
                    <a:pt x="35" y="4"/>
                  </a:lnTo>
                  <a:lnTo>
                    <a:pt x="35" y="5"/>
                  </a:lnTo>
                  <a:lnTo>
                    <a:pt x="29" y="6"/>
                  </a:lnTo>
                  <a:lnTo>
                    <a:pt x="28" y="8"/>
                  </a:lnTo>
                  <a:lnTo>
                    <a:pt x="28" y="9"/>
                  </a:lnTo>
                  <a:lnTo>
                    <a:pt x="30" y="10"/>
                  </a:lnTo>
                  <a:lnTo>
                    <a:pt x="30" y="13"/>
                  </a:lnTo>
                  <a:lnTo>
                    <a:pt x="29" y="14"/>
                  </a:lnTo>
                  <a:lnTo>
                    <a:pt x="27" y="14"/>
                  </a:lnTo>
                  <a:lnTo>
                    <a:pt x="25" y="16"/>
                  </a:lnTo>
                  <a:lnTo>
                    <a:pt x="26" y="18"/>
                  </a:lnTo>
                  <a:lnTo>
                    <a:pt x="25" y="19"/>
                  </a:lnTo>
                  <a:lnTo>
                    <a:pt x="25" y="22"/>
                  </a:lnTo>
                  <a:lnTo>
                    <a:pt x="24" y="22"/>
                  </a:lnTo>
                  <a:lnTo>
                    <a:pt x="23" y="22"/>
                  </a:lnTo>
                  <a:lnTo>
                    <a:pt x="21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8" y="22"/>
                  </a:lnTo>
                  <a:lnTo>
                    <a:pt x="15" y="18"/>
                  </a:lnTo>
                  <a:lnTo>
                    <a:pt x="14" y="18"/>
                  </a:lnTo>
                  <a:lnTo>
                    <a:pt x="13" y="21"/>
                  </a:lnTo>
                  <a:lnTo>
                    <a:pt x="8" y="21"/>
                  </a:lnTo>
                  <a:lnTo>
                    <a:pt x="7" y="20"/>
                  </a:lnTo>
                  <a:lnTo>
                    <a:pt x="6" y="21"/>
                  </a:lnTo>
                  <a:lnTo>
                    <a:pt x="3" y="21"/>
                  </a:lnTo>
                  <a:lnTo>
                    <a:pt x="0" y="20"/>
                  </a:lnTo>
                  <a:lnTo>
                    <a:pt x="2" y="24"/>
                  </a:lnTo>
                  <a:lnTo>
                    <a:pt x="6" y="31"/>
                  </a:lnTo>
                  <a:lnTo>
                    <a:pt x="7" y="32"/>
                  </a:lnTo>
                  <a:lnTo>
                    <a:pt x="8" y="31"/>
                  </a:lnTo>
                  <a:lnTo>
                    <a:pt x="10" y="26"/>
                  </a:lnTo>
                  <a:lnTo>
                    <a:pt x="13" y="22"/>
                  </a:lnTo>
                  <a:lnTo>
                    <a:pt x="16" y="23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9" y="26"/>
                  </a:lnTo>
                  <a:lnTo>
                    <a:pt x="20" y="30"/>
                  </a:lnTo>
                  <a:lnTo>
                    <a:pt x="21" y="33"/>
                  </a:lnTo>
                  <a:lnTo>
                    <a:pt x="24" y="36"/>
                  </a:lnTo>
                  <a:lnTo>
                    <a:pt x="29" y="41"/>
                  </a:lnTo>
                  <a:lnTo>
                    <a:pt x="26" y="41"/>
                  </a:lnTo>
                  <a:lnTo>
                    <a:pt x="26" y="42"/>
                  </a:lnTo>
                  <a:lnTo>
                    <a:pt x="26" y="43"/>
                  </a:lnTo>
                  <a:lnTo>
                    <a:pt x="29" y="46"/>
                  </a:lnTo>
                  <a:lnTo>
                    <a:pt x="31" y="49"/>
                  </a:lnTo>
                  <a:lnTo>
                    <a:pt x="34" y="50"/>
                  </a:lnTo>
                  <a:lnTo>
                    <a:pt x="37" y="51"/>
                  </a:lnTo>
                  <a:lnTo>
                    <a:pt x="38" y="53"/>
                  </a:lnTo>
                  <a:lnTo>
                    <a:pt x="38" y="55"/>
                  </a:lnTo>
                  <a:lnTo>
                    <a:pt x="44" y="55"/>
                  </a:lnTo>
                  <a:lnTo>
                    <a:pt x="47" y="55"/>
                  </a:lnTo>
                  <a:lnTo>
                    <a:pt x="51" y="56"/>
                  </a:lnTo>
                  <a:lnTo>
                    <a:pt x="56" y="60"/>
                  </a:lnTo>
                  <a:lnTo>
                    <a:pt x="59" y="63"/>
                  </a:lnTo>
                  <a:lnTo>
                    <a:pt x="61" y="64"/>
                  </a:lnTo>
                  <a:lnTo>
                    <a:pt x="64" y="63"/>
                  </a:lnTo>
                  <a:lnTo>
                    <a:pt x="57" y="58"/>
                  </a:lnTo>
                  <a:lnTo>
                    <a:pt x="56" y="54"/>
                  </a:lnTo>
                  <a:lnTo>
                    <a:pt x="55" y="54"/>
                  </a:lnTo>
                  <a:lnTo>
                    <a:pt x="54" y="53"/>
                  </a:lnTo>
                  <a:lnTo>
                    <a:pt x="48" y="49"/>
                  </a:lnTo>
                  <a:lnTo>
                    <a:pt x="48" y="48"/>
                  </a:lnTo>
                  <a:lnTo>
                    <a:pt x="45" y="44"/>
                  </a:lnTo>
                  <a:lnTo>
                    <a:pt x="43" y="44"/>
                  </a:lnTo>
                  <a:lnTo>
                    <a:pt x="40" y="41"/>
                  </a:lnTo>
                  <a:lnTo>
                    <a:pt x="39" y="41"/>
                  </a:lnTo>
                  <a:lnTo>
                    <a:pt x="39" y="39"/>
                  </a:lnTo>
                  <a:lnTo>
                    <a:pt x="40" y="39"/>
                  </a:lnTo>
                  <a:lnTo>
                    <a:pt x="39" y="38"/>
                  </a:lnTo>
                  <a:lnTo>
                    <a:pt x="39" y="35"/>
                  </a:lnTo>
                  <a:lnTo>
                    <a:pt x="37" y="34"/>
                  </a:lnTo>
                  <a:lnTo>
                    <a:pt x="36" y="32"/>
                  </a:lnTo>
                  <a:lnTo>
                    <a:pt x="35" y="31"/>
                  </a:lnTo>
                  <a:lnTo>
                    <a:pt x="33" y="30"/>
                  </a:lnTo>
                  <a:lnTo>
                    <a:pt x="33" y="30"/>
                  </a:lnTo>
                  <a:lnTo>
                    <a:pt x="34" y="29"/>
                  </a:lnTo>
                  <a:lnTo>
                    <a:pt x="34" y="28"/>
                  </a:lnTo>
                  <a:lnTo>
                    <a:pt x="33" y="23"/>
                  </a:lnTo>
                  <a:lnTo>
                    <a:pt x="34" y="22"/>
                  </a:lnTo>
                  <a:lnTo>
                    <a:pt x="37" y="22"/>
                  </a:lnTo>
                  <a:lnTo>
                    <a:pt x="37" y="23"/>
                  </a:lnTo>
                  <a:lnTo>
                    <a:pt x="40" y="26"/>
                  </a:lnTo>
                  <a:lnTo>
                    <a:pt x="41" y="26"/>
                  </a:lnTo>
                  <a:lnTo>
                    <a:pt x="44" y="22"/>
                  </a:lnTo>
                  <a:lnTo>
                    <a:pt x="48" y="23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53" y="24"/>
                  </a:lnTo>
                  <a:lnTo>
                    <a:pt x="54" y="24"/>
                  </a:lnTo>
                  <a:lnTo>
                    <a:pt x="55" y="23"/>
                  </a:lnTo>
                  <a:lnTo>
                    <a:pt x="56" y="24"/>
                  </a:lnTo>
                  <a:lnTo>
                    <a:pt x="59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3" y="25"/>
                  </a:lnTo>
                  <a:lnTo>
                    <a:pt x="64" y="25"/>
                  </a:lnTo>
                  <a:lnTo>
                    <a:pt x="65" y="24"/>
                  </a:lnTo>
                  <a:lnTo>
                    <a:pt x="66" y="24"/>
                  </a:lnTo>
                  <a:lnTo>
                    <a:pt x="67" y="25"/>
                  </a:lnTo>
                  <a:lnTo>
                    <a:pt x="68" y="25"/>
                  </a:lnTo>
                  <a:lnTo>
                    <a:pt x="68" y="24"/>
                  </a:lnTo>
                  <a:lnTo>
                    <a:pt x="71" y="25"/>
                  </a:lnTo>
                  <a:lnTo>
                    <a:pt x="73" y="26"/>
                  </a:lnTo>
                  <a:lnTo>
                    <a:pt x="73" y="25"/>
                  </a:lnTo>
                  <a:lnTo>
                    <a:pt x="73" y="25"/>
                  </a:lnTo>
                  <a:lnTo>
                    <a:pt x="75" y="25"/>
                  </a:lnTo>
                  <a:lnTo>
                    <a:pt x="77" y="28"/>
                  </a:lnTo>
                  <a:lnTo>
                    <a:pt x="76" y="28"/>
                  </a:lnTo>
                  <a:lnTo>
                    <a:pt x="77" y="29"/>
                  </a:lnTo>
                  <a:lnTo>
                    <a:pt x="78" y="30"/>
                  </a:lnTo>
                  <a:lnTo>
                    <a:pt x="80" y="30"/>
                  </a:lnTo>
                  <a:lnTo>
                    <a:pt x="81" y="29"/>
                  </a:lnTo>
                  <a:lnTo>
                    <a:pt x="81" y="28"/>
                  </a:lnTo>
                  <a:lnTo>
                    <a:pt x="81" y="26"/>
                  </a:lnTo>
                  <a:lnTo>
                    <a:pt x="80" y="25"/>
                  </a:lnTo>
                  <a:lnTo>
                    <a:pt x="81" y="24"/>
                  </a:lnTo>
                  <a:lnTo>
                    <a:pt x="81" y="23"/>
                  </a:lnTo>
                  <a:lnTo>
                    <a:pt x="83" y="23"/>
                  </a:lnTo>
                  <a:lnTo>
                    <a:pt x="83" y="23"/>
                  </a:lnTo>
                  <a:lnTo>
                    <a:pt x="84" y="23"/>
                  </a:lnTo>
                  <a:lnTo>
                    <a:pt x="85" y="23"/>
                  </a:lnTo>
                  <a:lnTo>
                    <a:pt x="85" y="22"/>
                  </a:lnTo>
                  <a:lnTo>
                    <a:pt x="84" y="22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0" y="22"/>
                  </a:lnTo>
                  <a:lnTo>
                    <a:pt x="80" y="21"/>
                  </a:lnTo>
                  <a:lnTo>
                    <a:pt x="79" y="21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9" y="19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77" y="18"/>
                  </a:lnTo>
                  <a:lnTo>
                    <a:pt x="76" y="18"/>
                  </a:lnTo>
                  <a:lnTo>
                    <a:pt x="76" y="16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6" y="13"/>
                  </a:lnTo>
                  <a:lnTo>
                    <a:pt x="74" y="11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63" name="Freeform 1063"/>
            <p:cNvSpPr>
              <a:spLocks/>
            </p:cNvSpPr>
            <p:nvPr/>
          </p:nvSpPr>
          <p:spPr bwMode="auto">
            <a:xfrm>
              <a:off x="3022" y="1374"/>
              <a:ext cx="28" cy="53"/>
            </a:xfrm>
            <a:custGeom>
              <a:avLst/>
              <a:gdLst>
                <a:gd name="T0" fmla="*/ 16 w 28"/>
                <a:gd name="T1" fmla="*/ 53 h 53"/>
                <a:gd name="T2" fmla="*/ 13 w 28"/>
                <a:gd name="T3" fmla="*/ 52 h 53"/>
                <a:gd name="T4" fmla="*/ 12 w 28"/>
                <a:gd name="T5" fmla="*/ 49 h 53"/>
                <a:gd name="T6" fmla="*/ 11 w 28"/>
                <a:gd name="T7" fmla="*/ 46 h 53"/>
                <a:gd name="T8" fmla="*/ 6 w 28"/>
                <a:gd name="T9" fmla="*/ 45 h 53"/>
                <a:gd name="T10" fmla="*/ 3 w 28"/>
                <a:gd name="T11" fmla="*/ 41 h 53"/>
                <a:gd name="T12" fmla="*/ 2 w 28"/>
                <a:gd name="T13" fmla="*/ 39 h 53"/>
                <a:gd name="T14" fmla="*/ 3 w 28"/>
                <a:gd name="T15" fmla="*/ 40 h 53"/>
                <a:gd name="T16" fmla="*/ 3 w 28"/>
                <a:gd name="T17" fmla="*/ 38 h 53"/>
                <a:gd name="T18" fmla="*/ 2 w 28"/>
                <a:gd name="T19" fmla="*/ 34 h 53"/>
                <a:gd name="T20" fmla="*/ 3 w 28"/>
                <a:gd name="T21" fmla="*/ 31 h 53"/>
                <a:gd name="T22" fmla="*/ 3 w 28"/>
                <a:gd name="T23" fmla="*/ 30 h 53"/>
                <a:gd name="T24" fmla="*/ 3 w 28"/>
                <a:gd name="T25" fmla="*/ 28 h 53"/>
                <a:gd name="T26" fmla="*/ 3 w 28"/>
                <a:gd name="T27" fmla="*/ 25 h 53"/>
                <a:gd name="T28" fmla="*/ 2 w 28"/>
                <a:gd name="T29" fmla="*/ 23 h 53"/>
                <a:gd name="T30" fmla="*/ 3 w 28"/>
                <a:gd name="T31" fmla="*/ 15 h 53"/>
                <a:gd name="T32" fmla="*/ 2 w 28"/>
                <a:gd name="T33" fmla="*/ 14 h 53"/>
                <a:gd name="T34" fmla="*/ 0 w 28"/>
                <a:gd name="T35" fmla="*/ 13 h 53"/>
                <a:gd name="T36" fmla="*/ 1 w 28"/>
                <a:gd name="T37" fmla="*/ 10 h 53"/>
                <a:gd name="T38" fmla="*/ 0 w 28"/>
                <a:gd name="T39" fmla="*/ 7 h 53"/>
                <a:gd name="T40" fmla="*/ 1 w 28"/>
                <a:gd name="T41" fmla="*/ 3 h 53"/>
                <a:gd name="T42" fmla="*/ 3 w 28"/>
                <a:gd name="T43" fmla="*/ 2 h 53"/>
                <a:gd name="T44" fmla="*/ 5 w 28"/>
                <a:gd name="T45" fmla="*/ 0 h 53"/>
                <a:gd name="T46" fmla="*/ 7 w 28"/>
                <a:gd name="T47" fmla="*/ 1 h 53"/>
                <a:gd name="T48" fmla="*/ 11 w 28"/>
                <a:gd name="T49" fmla="*/ 2 h 53"/>
                <a:gd name="T50" fmla="*/ 12 w 28"/>
                <a:gd name="T51" fmla="*/ 4 h 53"/>
                <a:gd name="T52" fmla="*/ 16 w 28"/>
                <a:gd name="T53" fmla="*/ 5 h 53"/>
                <a:gd name="T54" fmla="*/ 19 w 28"/>
                <a:gd name="T55" fmla="*/ 10 h 53"/>
                <a:gd name="T56" fmla="*/ 18 w 28"/>
                <a:gd name="T57" fmla="*/ 19 h 53"/>
                <a:gd name="T58" fmla="*/ 19 w 28"/>
                <a:gd name="T59" fmla="*/ 22 h 53"/>
                <a:gd name="T60" fmla="*/ 21 w 28"/>
                <a:gd name="T61" fmla="*/ 28 h 53"/>
                <a:gd name="T62" fmla="*/ 27 w 28"/>
                <a:gd name="T63" fmla="*/ 32 h 53"/>
                <a:gd name="T64" fmla="*/ 28 w 28"/>
                <a:gd name="T65" fmla="*/ 34 h 53"/>
                <a:gd name="T66" fmla="*/ 28 w 28"/>
                <a:gd name="T67" fmla="*/ 38 h 53"/>
                <a:gd name="T68" fmla="*/ 25 w 28"/>
                <a:gd name="T69" fmla="*/ 41 h 53"/>
                <a:gd name="T70" fmla="*/ 22 w 28"/>
                <a:gd name="T71" fmla="*/ 45 h 53"/>
                <a:gd name="T72" fmla="*/ 20 w 28"/>
                <a:gd name="T73" fmla="*/ 46 h 53"/>
                <a:gd name="T74" fmla="*/ 20 w 28"/>
                <a:gd name="T75" fmla="*/ 50 h 53"/>
                <a:gd name="T76" fmla="*/ 19 w 28"/>
                <a:gd name="T77" fmla="*/ 51 h 53"/>
                <a:gd name="T78" fmla="*/ 17 w 28"/>
                <a:gd name="T79" fmla="*/ 53 h 53"/>
                <a:gd name="T80" fmla="*/ 16 w 28"/>
                <a:gd name="T8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8" h="53">
                  <a:moveTo>
                    <a:pt x="16" y="53"/>
                  </a:moveTo>
                  <a:lnTo>
                    <a:pt x="13" y="52"/>
                  </a:lnTo>
                  <a:lnTo>
                    <a:pt x="12" y="49"/>
                  </a:lnTo>
                  <a:lnTo>
                    <a:pt x="11" y="46"/>
                  </a:lnTo>
                  <a:lnTo>
                    <a:pt x="6" y="45"/>
                  </a:lnTo>
                  <a:lnTo>
                    <a:pt x="3" y="41"/>
                  </a:lnTo>
                  <a:lnTo>
                    <a:pt x="2" y="39"/>
                  </a:lnTo>
                  <a:lnTo>
                    <a:pt x="3" y="40"/>
                  </a:lnTo>
                  <a:lnTo>
                    <a:pt x="3" y="38"/>
                  </a:lnTo>
                  <a:lnTo>
                    <a:pt x="2" y="34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3" y="28"/>
                  </a:lnTo>
                  <a:lnTo>
                    <a:pt x="3" y="25"/>
                  </a:lnTo>
                  <a:lnTo>
                    <a:pt x="2" y="23"/>
                  </a:lnTo>
                  <a:lnTo>
                    <a:pt x="3" y="15"/>
                  </a:lnTo>
                  <a:lnTo>
                    <a:pt x="2" y="14"/>
                  </a:lnTo>
                  <a:lnTo>
                    <a:pt x="0" y="13"/>
                  </a:lnTo>
                  <a:lnTo>
                    <a:pt x="1" y="10"/>
                  </a:lnTo>
                  <a:lnTo>
                    <a:pt x="0" y="7"/>
                  </a:lnTo>
                  <a:lnTo>
                    <a:pt x="1" y="3"/>
                  </a:lnTo>
                  <a:lnTo>
                    <a:pt x="3" y="2"/>
                  </a:lnTo>
                  <a:lnTo>
                    <a:pt x="5" y="0"/>
                  </a:lnTo>
                  <a:lnTo>
                    <a:pt x="7" y="1"/>
                  </a:lnTo>
                  <a:lnTo>
                    <a:pt x="11" y="2"/>
                  </a:lnTo>
                  <a:lnTo>
                    <a:pt x="12" y="4"/>
                  </a:lnTo>
                  <a:lnTo>
                    <a:pt x="16" y="5"/>
                  </a:lnTo>
                  <a:lnTo>
                    <a:pt x="19" y="10"/>
                  </a:lnTo>
                  <a:lnTo>
                    <a:pt x="18" y="19"/>
                  </a:lnTo>
                  <a:lnTo>
                    <a:pt x="19" y="22"/>
                  </a:lnTo>
                  <a:lnTo>
                    <a:pt x="21" y="28"/>
                  </a:lnTo>
                  <a:lnTo>
                    <a:pt x="27" y="32"/>
                  </a:lnTo>
                  <a:lnTo>
                    <a:pt x="28" y="34"/>
                  </a:lnTo>
                  <a:lnTo>
                    <a:pt x="28" y="38"/>
                  </a:lnTo>
                  <a:lnTo>
                    <a:pt x="25" y="41"/>
                  </a:lnTo>
                  <a:lnTo>
                    <a:pt x="22" y="45"/>
                  </a:lnTo>
                  <a:lnTo>
                    <a:pt x="20" y="46"/>
                  </a:lnTo>
                  <a:lnTo>
                    <a:pt x="20" y="50"/>
                  </a:lnTo>
                  <a:lnTo>
                    <a:pt x="19" y="51"/>
                  </a:lnTo>
                  <a:lnTo>
                    <a:pt x="17" y="53"/>
                  </a:lnTo>
                  <a:lnTo>
                    <a:pt x="16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64" name="Freeform 1064"/>
            <p:cNvSpPr>
              <a:spLocks/>
            </p:cNvSpPr>
            <p:nvPr/>
          </p:nvSpPr>
          <p:spPr bwMode="auto">
            <a:xfrm>
              <a:off x="3022" y="1374"/>
              <a:ext cx="28" cy="53"/>
            </a:xfrm>
            <a:custGeom>
              <a:avLst/>
              <a:gdLst>
                <a:gd name="T0" fmla="*/ 16 w 28"/>
                <a:gd name="T1" fmla="*/ 53 h 53"/>
                <a:gd name="T2" fmla="*/ 13 w 28"/>
                <a:gd name="T3" fmla="*/ 52 h 53"/>
                <a:gd name="T4" fmla="*/ 12 w 28"/>
                <a:gd name="T5" fmla="*/ 49 h 53"/>
                <a:gd name="T6" fmla="*/ 11 w 28"/>
                <a:gd name="T7" fmla="*/ 46 h 53"/>
                <a:gd name="T8" fmla="*/ 6 w 28"/>
                <a:gd name="T9" fmla="*/ 45 h 53"/>
                <a:gd name="T10" fmla="*/ 3 w 28"/>
                <a:gd name="T11" fmla="*/ 41 h 53"/>
                <a:gd name="T12" fmla="*/ 2 w 28"/>
                <a:gd name="T13" fmla="*/ 39 h 53"/>
                <a:gd name="T14" fmla="*/ 3 w 28"/>
                <a:gd name="T15" fmla="*/ 40 h 53"/>
                <a:gd name="T16" fmla="*/ 3 w 28"/>
                <a:gd name="T17" fmla="*/ 38 h 53"/>
                <a:gd name="T18" fmla="*/ 2 w 28"/>
                <a:gd name="T19" fmla="*/ 34 h 53"/>
                <a:gd name="T20" fmla="*/ 3 w 28"/>
                <a:gd name="T21" fmla="*/ 31 h 53"/>
                <a:gd name="T22" fmla="*/ 3 w 28"/>
                <a:gd name="T23" fmla="*/ 30 h 53"/>
                <a:gd name="T24" fmla="*/ 3 w 28"/>
                <a:gd name="T25" fmla="*/ 28 h 53"/>
                <a:gd name="T26" fmla="*/ 3 w 28"/>
                <a:gd name="T27" fmla="*/ 25 h 53"/>
                <a:gd name="T28" fmla="*/ 2 w 28"/>
                <a:gd name="T29" fmla="*/ 23 h 53"/>
                <a:gd name="T30" fmla="*/ 3 w 28"/>
                <a:gd name="T31" fmla="*/ 15 h 53"/>
                <a:gd name="T32" fmla="*/ 2 w 28"/>
                <a:gd name="T33" fmla="*/ 14 h 53"/>
                <a:gd name="T34" fmla="*/ 0 w 28"/>
                <a:gd name="T35" fmla="*/ 13 h 53"/>
                <a:gd name="T36" fmla="*/ 1 w 28"/>
                <a:gd name="T37" fmla="*/ 10 h 53"/>
                <a:gd name="T38" fmla="*/ 0 w 28"/>
                <a:gd name="T39" fmla="*/ 7 h 53"/>
                <a:gd name="T40" fmla="*/ 1 w 28"/>
                <a:gd name="T41" fmla="*/ 3 h 53"/>
                <a:gd name="T42" fmla="*/ 3 w 28"/>
                <a:gd name="T43" fmla="*/ 2 h 53"/>
                <a:gd name="T44" fmla="*/ 5 w 28"/>
                <a:gd name="T45" fmla="*/ 0 h 53"/>
                <a:gd name="T46" fmla="*/ 7 w 28"/>
                <a:gd name="T47" fmla="*/ 1 h 53"/>
                <a:gd name="T48" fmla="*/ 11 w 28"/>
                <a:gd name="T49" fmla="*/ 2 h 53"/>
                <a:gd name="T50" fmla="*/ 12 w 28"/>
                <a:gd name="T51" fmla="*/ 4 h 53"/>
                <a:gd name="T52" fmla="*/ 16 w 28"/>
                <a:gd name="T53" fmla="*/ 5 h 53"/>
                <a:gd name="T54" fmla="*/ 19 w 28"/>
                <a:gd name="T55" fmla="*/ 10 h 53"/>
                <a:gd name="T56" fmla="*/ 18 w 28"/>
                <a:gd name="T57" fmla="*/ 19 h 53"/>
                <a:gd name="T58" fmla="*/ 19 w 28"/>
                <a:gd name="T59" fmla="*/ 22 h 53"/>
                <a:gd name="T60" fmla="*/ 21 w 28"/>
                <a:gd name="T61" fmla="*/ 28 h 53"/>
                <a:gd name="T62" fmla="*/ 27 w 28"/>
                <a:gd name="T63" fmla="*/ 32 h 53"/>
                <a:gd name="T64" fmla="*/ 28 w 28"/>
                <a:gd name="T65" fmla="*/ 34 h 53"/>
                <a:gd name="T66" fmla="*/ 28 w 28"/>
                <a:gd name="T67" fmla="*/ 38 h 53"/>
                <a:gd name="T68" fmla="*/ 25 w 28"/>
                <a:gd name="T69" fmla="*/ 41 h 53"/>
                <a:gd name="T70" fmla="*/ 22 w 28"/>
                <a:gd name="T71" fmla="*/ 45 h 53"/>
                <a:gd name="T72" fmla="*/ 20 w 28"/>
                <a:gd name="T73" fmla="*/ 46 h 53"/>
                <a:gd name="T74" fmla="*/ 20 w 28"/>
                <a:gd name="T75" fmla="*/ 50 h 53"/>
                <a:gd name="T76" fmla="*/ 19 w 28"/>
                <a:gd name="T77" fmla="*/ 51 h 53"/>
                <a:gd name="T78" fmla="*/ 17 w 28"/>
                <a:gd name="T79" fmla="*/ 53 h 53"/>
                <a:gd name="T80" fmla="*/ 16 w 28"/>
                <a:gd name="T81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8" h="53">
                  <a:moveTo>
                    <a:pt x="16" y="53"/>
                  </a:moveTo>
                  <a:lnTo>
                    <a:pt x="13" y="52"/>
                  </a:lnTo>
                  <a:lnTo>
                    <a:pt x="12" y="49"/>
                  </a:lnTo>
                  <a:lnTo>
                    <a:pt x="11" y="46"/>
                  </a:lnTo>
                  <a:lnTo>
                    <a:pt x="6" y="45"/>
                  </a:lnTo>
                  <a:lnTo>
                    <a:pt x="3" y="41"/>
                  </a:lnTo>
                  <a:lnTo>
                    <a:pt x="2" y="39"/>
                  </a:lnTo>
                  <a:lnTo>
                    <a:pt x="3" y="40"/>
                  </a:lnTo>
                  <a:lnTo>
                    <a:pt x="3" y="38"/>
                  </a:lnTo>
                  <a:lnTo>
                    <a:pt x="2" y="34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3" y="28"/>
                  </a:lnTo>
                  <a:lnTo>
                    <a:pt x="3" y="25"/>
                  </a:lnTo>
                  <a:lnTo>
                    <a:pt x="2" y="23"/>
                  </a:lnTo>
                  <a:lnTo>
                    <a:pt x="3" y="15"/>
                  </a:lnTo>
                  <a:lnTo>
                    <a:pt x="2" y="14"/>
                  </a:lnTo>
                  <a:lnTo>
                    <a:pt x="0" y="13"/>
                  </a:lnTo>
                  <a:lnTo>
                    <a:pt x="1" y="10"/>
                  </a:lnTo>
                  <a:lnTo>
                    <a:pt x="0" y="7"/>
                  </a:lnTo>
                  <a:lnTo>
                    <a:pt x="1" y="3"/>
                  </a:lnTo>
                  <a:lnTo>
                    <a:pt x="3" y="2"/>
                  </a:lnTo>
                  <a:lnTo>
                    <a:pt x="5" y="0"/>
                  </a:lnTo>
                  <a:lnTo>
                    <a:pt x="7" y="1"/>
                  </a:lnTo>
                  <a:lnTo>
                    <a:pt x="11" y="2"/>
                  </a:lnTo>
                  <a:lnTo>
                    <a:pt x="12" y="4"/>
                  </a:lnTo>
                  <a:lnTo>
                    <a:pt x="16" y="5"/>
                  </a:lnTo>
                  <a:lnTo>
                    <a:pt x="19" y="10"/>
                  </a:lnTo>
                  <a:lnTo>
                    <a:pt x="18" y="19"/>
                  </a:lnTo>
                  <a:lnTo>
                    <a:pt x="19" y="22"/>
                  </a:lnTo>
                  <a:lnTo>
                    <a:pt x="21" y="28"/>
                  </a:lnTo>
                  <a:lnTo>
                    <a:pt x="27" y="32"/>
                  </a:lnTo>
                  <a:lnTo>
                    <a:pt x="28" y="34"/>
                  </a:lnTo>
                  <a:lnTo>
                    <a:pt x="28" y="38"/>
                  </a:lnTo>
                  <a:lnTo>
                    <a:pt x="25" y="41"/>
                  </a:lnTo>
                  <a:lnTo>
                    <a:pt x="22" y="45"/>
                  </a:lnTo>
                  <a:lnTo>
                    <a:pt x="20" y="46"/>
                  </a:lnTo>
                  <a:lnTo>
                    <a:pt x="20" y="50"/>
                  </a:lnTo>
                  <a:lnTo>
                    <a:pt x="19" y="51"/>
                  </a:lnTo>
                  <a:lnTo>
                    <a:pt x="17" y="53"/>
                  </a:lnTo>
                  <a:lnTo>
                    <a:pt x="16" y="53"/>
                  </a:lnTo>
                </a:path>
              </a:pathLst>
            </a:custGeom>
            <a:solidFill>
              <a:schemeClr val="accent1"/>
            </a:solidFill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65" name="Freeform 1065"/>
            <p:cNvSpPr>
              <a:spLocks/>
            </p:cNvSpPr>
            <p:nvPr/>
          </p:nvSpPr>
          <p:spPr bwMode="auto">
            <a:xfrm>
              <a:off x="4313" y="2000"/>
              <a:ext cx="2" cy="5"/>
            </a:xfrm>
            <a:custGeom>
              <a:avLst/>
              <a:gdLst>
                <a:gd name="T0" fmla="*/ 0 w 2"/>
                <a:gd name="T1" fmla="*/ 1 h 5"/>
                <a:gd name="T2" fmla="*/ 0 w 2"/>
                <a:gd name="T3" fmla="*/ 1 h 5"/>
                <a:gd name="T4" fmla="*/ 0 w 2"/>
                <a:gd name="T5" fmla="*/ 3 h 5"/>
                <a:gd name="T6" fmla="*/ 1 w 2"/>
                <a:gd name="T7" fmla="*/ 5 h 5"/>
                <a:gd name="T8" fmla="*/ 2 w 2"/>
                <a:gd name="T9" fmla="*/ 4 h 5"/>
                <a:gd name="T10" fmla="*/ 2 w 2"/>
                <a:gd name="T11" fmla="*/ 2 h 5"/>
                <a:gd name="T12" fmla="*/ 1 w 2"/>
                <a:gd name="T13" fmla="*/ 0 h 5"/>
                <a:gd name="T14" fmla="*/ 0 w 2"/>
                <a:gd name="T15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5">
                  <a:moveTo>
                    <a:pt x="0" y="1"/>
                  </a:moveTo>
                  <a:lnTo>
                    <a:pt x="0" y="1"/>
                  </a:lnTo>
                  <a:lnTo>
                    <a:pt x="0" y="3"/>
                  </a:lnTo>
                  <a:lnTo>
                    <a:pt x="1" y="5"/>
                  </a:lnTo>
                  <a:lnTo>
                    <a:pt x="2" y="4"/>
                  </a:lnTo>
                  <a:lnTo>
                    <a:pt x="2" y="2"/>
                  </a:lnTo>
                  <a:lnTo>
                    <a:pt x="1" y="0"/>
                  </a:ln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66" name="Freeform 1066"/>
            <p:cNvSpPr>
              <a:spLocks/>
            </p:cNvSpPr>
            <p:nvPr/>
          </p:nvSpPr>
          <p:spPr bwMode="auto">
            <a:xfrm>
              <a:off x="4313" y="2000"/>
              <a:ext cx="2" cy="5"/>
            </a:xfrm>
            <a:custGeom>
              <a:avLst/>
              <a:gdLst>
                <a:gd name="T0" fmla="*/ 0 w 2"/>
                <a:gd name="T1" fmla="*/ 1 h 5"/>
                <a:gd name="T2" fmla="*/ 0 w 2"/>
                <a:gd name="T3" fmla="*/ 1 h 5"/>
                <a:gd name="T4" fmla="*/ 0 w 2"/>
                <a:gd name="T5" fmla="*/ 3 h 5"/>
                <a:gd name="T6" fmla="*/ 1 w 2"/>
                <a:gd name="T7" fmla="*/ 5 h 5"/>
                <a:gd name="T8" fmla="*/ 2 w 2"/>
                <a:gd name="T9" fmla="*/ 4 h 5"/>
                <a:gd name="T10" fmla="*/ 2 w 2"/>
                <a:gd name="T11" fmla="*/ 2 h 5"/>
                <a:gd name="T12" fmla="*/ 1 w 2"/>
                <a:gd name="T13" fmla="*/ 0 h 5"/>
                <a:gd name="T14" fmla="*/ 0 w 2"/>
                <a:gd name="T15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5">
                  <a:moveTo>
                    <a:pt x="0" y="1"/>
                  </a:moveTo>
                  <a:lnTo>
                    <a:pt x="0" y="1"/>
                  </a:lnTo>
                  <a:lnTo>
                    <a:pt x="0" y="3"/>
                  </a:lnTo>
                  <a:lnTo>
                    <a:pt x="1" y="5"/>
                  </a:lnTo>
                  <a:lnTo>
                    <a:pt x="2" y="4"/>
                  </a:lnTo>
                  <a:lnTo>
                    <a:pt x="2" y="2"/>
                  </a:lnTo>
                  <a:lnTo>
                    <a:pt x="1" y="0"/>
                  </a:lnTo>
                  <a:lnTo>
                    <a:pt x="0" y="1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67" name="Freeform 1067"/>
            <p:cNvSpPr>
              <a:spLocks/>
            </p:cNvSpPr>
            <p:nvPr/>
          </p:nvSpPr>
          <p:spPr bwMode="auto">
            <a:xfrm>
              <a:off x="4283" y="1771"/>
              <a:ext cx="133" cy="273"/>
            </a:xfrm>
            <a:custGeom>
              <a:avLst/>
              <a:gdLst>
                <a:gd name="T0" fmla="*/ 31 w 133"/>
                <a:gd name="T1" fmla="*/ 8 h 273"/>
                <a:gd name="T2" fmla="*/ 19 w 133"/>
                <a:gd name="T3" fmla="*/ 16 h 273"/>
                <a:gd name="T4" fmla="*/ 3 w 133"/>
                <a:gd name="T5" fmla="*/ 21 h 273"/>
                <a:gd name="T6" fmla="*/ 0 w 133"/>
                <a:gd name="T7" fmla="*/ 42 h 273"/>
                <a:gd name="T8" fmla="*/ 14 w 133"/>
                <a:gd name="T9" fmla="*/ 63 h 273"/>
                <a:gd name="T10" fmla="*/ 20 w 133"/>
                <a:gd name="T11" fmla="*/ 80 h 273"/>
                <a:gd name="T12" fmla="*/ 21 w 133"/>
                <a:gd name="T13" fmla="*/ 90 h 273"/>
                <a:gd name="T14" fmla="*/ 17 w 133"/>
                <a:gd name="T15" fmla="*/ 100 h 273"/>
                <a:gd name="T16" fmla="*/ 25 w 133"/>
                <a:gd name="T17" fmla="*/ 117 h 273"/>
                <a:gd name="T18" fmla="*/ 35 w 133"/>
                <a:gd name="T19" fmla="*/ 139 h 273"/>
                <a:gd name="T20" fmla="*/ 45 w 133"/>
                <a:gd name="T21" fmla="*/ 161 h 273"/>
                <a:gd name="T22" fmla="*/ 36 w 133"/>
                <a:gd name="T23" fmla="*/ 180 h 273"/>
                <a:gd name="T24" fmla="*/ 33 w 133"/>
                <a:gd name="T25" fmla="*/ 192 h 273"/>
                <a:gd name="T26" fmla="*/ 29 w 133"/>
                <a:gd name="T27" fmla="*/ 220 h 273"/>
                <a:gd name="T28" fmla="*/ 42 w 133"/>
                <a:gd name="T29" fmla="*/ 234 h 273"/>
                <a:gd name="T30" fmla="*/ 54 w 133"/>
                <a:gd name="T31" fmla="*/ 250 h 273"/>
                <a:gd name="T32" fmla="*/ 66 w 133"/>
                <a:gd name="T33" fmla="*/ 258 h 273"/>
                <a:gd name="T34" fmla="*/ 77 w 133"/>
                <a:gd name="T35" fmla="*/ 270 h 273"/>
                <a:gd name="T36" fmla="*/ 92 w 133"/>
                <a:gd name="T37" fmla="*/ 269 h 273"/>
                <a:gd name="T38" fmla="*/ 82 w 133"/>
                <a:gd name="T39" fmla="*/ 252 h 273"/>
                <a:gd name="T40" fmla="*/ 65 w 133"/>
                <a:gd name="T41" fmla="*/ 240 h 273"/>
                <a:gd name="T42" fmla="*/ 55 w 133"/>
                <a:gd name="T43" fmla="*/ 218 h 273"/>
                <a:gd name="T44" fmla="*/ 46 w 133"/>
                <a:gd name="T45" fmla="*/ 210 h 273"/>
                <a:gd name="T46" fmla="*/ 41 w 133"/>
                <a:gd name="T47" fmla="*/ 195 h 273"/>
                <a:gd name="T48" fmla="*/ 42 w 133"/>
                <a:gd name="T49" fmla="*/ 182 h 273"/>
                <a:gd name="T50" fmla="*/ 46 w 133"/>
                <a:gd name="T51" fmla="*/ 166 h 273"/>
                <a:gd name="T52" fmla="*/ 50 w 133"/>
                <a:gd name="T53" fmla="*/ 140 h 273"/>
                <a:gd name="T54" fmla="*/ 57 w 133"/>
                <a:gd name="T55" fmla="*/ 131 h 273"/>
                <a:gd name="T56" fmla="*/ 64 w 133"/>
                <a:gd name="T57" fmla="*/ 146 h 273"/>
                <a:gd name="T58" fmla="*/ 66 w 133"/>
                <a:gd name="T59" fmla="*/ 147 h 273"/>
                <a:gd name="T60" fmla="*/ 85 w 133"/>
                <a:gd name="T61" fmla="*/ 152 h 273"/>
                <a:gd name="T62" fmla="*/ 92 w 133"/>
                <a:gd name="T63" fmla="*/ 157 h 273"/>
                <a:gd name="T64" fmla="*/ 98 w 133"/>
                <a:gd name="T65" fmla="*/ 163 h 273"/>
                <a:gd name="T66" fmla="*/ 90 w 133"/>
                <a:gd name="T67" fmla="*/ 148 h 273"/>
                <a:gd name="T68" fmla="*/ 87 w 133"/>
                <a:gd name="T69" fmla="*/ 130 h 273"/>
                <a:gd name="T70" fmla="*/ 95 w 133"/>
                <a:gd name="T71" fmla="*/ 117 h 273"/>
                <a:gd name="T72" fmla="*/ 115 w 133"/>
                <a:gd name="T73" fmla="*/ 117 h 273"/>
                <a:gd name="T74" fmla="*/ 129 w 133"/>
                <a:gd name="T75" fmla="*/ 117 h 273"/>
                <a:gd name="T76" fmla="*/ 132 w 133"/>
                <a:gd name="T77" fmla="*/ 96 h 273"/>
                <a:gd name="T78" fmla="*/ 126 w 133"/>
                <a:gd name="T79" fmla="*/ 88 h 273"/>
                <a:gd name="T80" fmla="*/ 117 w 133"/>
                <a:gd name="T81" fmla="*/ 80 h 273"/>
                <a:gd name="T82" fmla="*/ 112 w 133"/>
                <a:gd name="T83" fmla="*/ 60 h 273"/>
                <a:gd name="T84" fmla="*/ 105 w 133"/>
                <a:gd name="T85" fmla="*/ 52 h 273"/>
                <a:gd name="T86" fmla="*/ 93 w 133"/>
                <a:gd name="T87" fmla="*/ 42 h 273"/>
                <a:gd name="T88" fmla="*/ 85 w 133"/>
                <a:gd name="T89" fmla="*/ 49 h 273"/>
                <a:gd name="T90" fmla="*/ 74 w 133"/>
                <a:gd name="T91" fmla="*/ 49 h 273"/>
                <a:gd name="T92" fmla="*/ 64 w 133"/>
                <a:gd name="T93" fmla="*/ 48 h 273"/>
                <a:gd name="T94" fmla="*/ 54 w 133"/>
                <a:gd name="T95" fmla="*/ 58 h 273"/>
                <a:gd name="T96" fmla="*/ 53 w 133"/>
                <a:gd name="T97" fmla="*/ 40 h 273"/>
                <a:gd name="T98" fmla="*/ 52 w 133"/>
                <a:gd name="T99" fmla="*/ 26 h 273"/>
                <a:gd name="T100" fmla="*/ 43 w 133"/>
                <a:gd name="T101" fmla="*/ 19 h 273"/>
                <a:gd name="T102" fmla="*/ 37 w 133"/>
                <a:gd name="T103" fmla="*/ 6 h 273"/>
                <a:gd name="T104" fmla="*/ 34 w 133"/>
                <a:gd name="T105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3" h="273">
                  <a:moveTo>
                    <a:pt x="34" y="0"/>
                  </a:moveTo>
                  <a:lnTo>
                    <a:pt x="33" y="1"/>
                  </a:lnTo>
                  <a:lnTo>
                    <a:pt x="32" y="3"/>
                  </a:lnTo>
                  <a:lnTo>
                    <a:pt x="31" y="8"/>
                  </a:lnTo>
                  <a:lnTo>
                    <a:pt x="26" y="9"/>
                  </a:lnTo>
                  <a:lnTo>
                    <a:pt x="24" y="10"/>
                  </a:lnTo>
                  <a:lnTo>
                    <a:pt x="21" y="13"/>
                  </a:lnTo>
                  <a:lnTo>
                    <a:pt x="19" y="16"/>
                  </a:lnTo>
                  <a:lnTo>
                    <a:pt x="15" y="19"/>
                  </a:lnTo>
                  <a:lnTo>
                    <a:pt x="12" y="20"/>
                  </a:lnTo>
                  <a:lnTo>
                    <a:pt x="6" y="21"/>
                  </a:lnTo>
                  <a:lnTo>
                    <a:pt x="3" y="21"/>
                  </a:lnTo>
                  <a:lnTo>
                    <a:pt x="1" y="33"/>
                  </a:lnTo>
                  <a:lnTo>
                    <a:pt x="1" y="38"/>
                  </a:lnTo>
                  <a:lnTo>
                    <a:pt x="2" y="40"/>
                  </a:lnTo>
                  <a:lnTo>
                    <a:pt x="0" y="42"/>
                  </a:lnTo>
                  <a:lnTo>
                    <a:pt x="0" y="45"/>
                  </a:lnTo>
                  <a:lnTo>
                    <a:pt x="3" y="50"/>
                  </a:lnTo>
                  <a:lnTo>
                    <a:pt x="6" y="58"/>
                  </a:lnTo>
                  <a:lnTo>
                    <a:pt x="14" y="63"/>
                  </a:lnTo>
                  <a:lnTo>
                    <a:pt x="16" y="67"/>
                  </a:lnTo>
                  <a:lnTo>
                    <a:pt x="19" y="71"/>
                  </a:lnTo>
                  <a:lnTo>
                    <a:pt x="19" y="77"/>
                  </a:lnTo>
                  <a:lnTo>
                    <a:pt x="20" y="80"/>
                  </a:lnTo>
                  <a:lnTo>
                    <a:pt x="23" y="80"/>
                  </a:lnTo>
                  <a:lnTo>
                    <a:pt x="24" y="83"/>
                  </a:lnTo>
                  <a:lnTo>
                    <a:pt x="22" y="86"/>
                  </a:lnTo>
                  <a:lnTo>
                    <a:pt x="21" y="90"/>
                  </a:lnTo>
                  <a:lnTo>
                    <a:pt x="21" y="92"/>
                  </a:lnTo>
                  <a:lnTo>
                    <a:pt x="21" y="97"/>
                  </a:lnTo>
                  <a:lnTo>
                    <a:pt x="20" y="98"/>
                  </a:lnTo>
                  <a:lnTo>
                    <a:pt x="17" y="100"/>
                  </a:lnTo>
                  <a:lnTo>
                    <a:pt x="17" y="102"/>
                  </a:lnTo>
                  <a:lnTo>
                    <a:pt x="17" y="107"/>
                  </a:lnTo>
                  <a:lnTo>
                    <a:pt x="20" y="112"/>
                  </a:lnTo>
                  <a:lnTo>
                    <a:pt x="25" y="117"/>
                  </a:lnTo>
                  <a:lnTo>
                    <a:pt x="32" y="123"/>
                  </a:lnTo>
                  <a:lnTo>
                    <a:pt x="33" y="124"/>
                  </a:lnTo>
                  <a:lnTo>
                    <a:pt x="33" y="128"/>
                  </a:lnTo>
                  <a:lnTo>
                    <a:pt x="35" y="139"/>
                  </a:lnTo>
                  <a:lnTo>
                    <a:pt x="37" y="144"/>
                  </a:lnTo>
                  <a:lnTo>
                    <a:pt x="38" y="144"/>
                  </a:lnTo>
                  <a:lnTo>
                    <a:pt x="40" y="150"/>
                  </a:lnTo>
                  <a:lnTo>
                    <a:pt x="45" y="161"/>
                  </a:lnTo>
                  <a:lnTo>
                    <a:pt x="45" y="163"/>
                  </a:lnTo>
                  <a:lnTo>
                    <a:pt x="41" y="173"/>
                  </a:lnTo>
                  <a:lnTo>
                    <a:pt x="37" y="176"/>
                  </a:lnTo>
                  <a:lnTo>
                    <a:pt x="36" y="180"/>
                  </a:lnTo>
                  <a:lnTo>
                    <a:pt x="35" y="184"/>
                  </a:lnTo>
                  <a:lnTo>
                    <a:pt x="34" y="189"/>
                  </a:lnTo>
                  <a:lnTo>
                    <a:pt x="33" y="191"/>
                  </a:lnTo>
                  <a:lnTo>
                    <a:pt x="33" y="192"/>
                  </a:lnTo>
                  <a:lnTo>
                    <a:pt x="32" y="195"/>
                  </a:lnTo>
                  <a:lnTo>
                    <a:pt x="32" y="199"/>
                  </a:lnTo>
                  <a:lnTo>
                    <a:pt x="29" y="213"/>
                  </a:lnTo>
                  <a:lnTo>
                    <a:pt x="29" y="220"/>
                  </a:lnTo>
                  <a:lnTo>
                    <a:pt x="29" y="224"/>
                  </a:lnTo>
                  <a:lnTo>
                    <a:pt x="30" y="228"/>
                  </a:lnTo>
                  <a:lnTo>
                    <a:pt x="35" y="227"/>
                  </a:lnTo>
                  <a:lnTo>
                    <a:pt x="42" y="234"/>
                  </a:lnTo>
                  <a:lnTo>
                    <a:pt x="43" y="235"/>
                  </a:lnTo>
                  <a:lnTo>
                    <a:pt x="48" y="242"/>
                  </a:lnTo>
                  <a:lnTo>
                    <a:pt x="52" y="245"/>
                  </a:lnTo>
                  <a:lnTo>
                    <a:pt x="54" y="250"/>
                  </a:lnTo>
                  <a:lnTo>
                    <a:pt x="62" y="260"/>
                  </a:lnTo>
                  <a:lnTo>
                    <a:pt x="61" y="254"/>
                  </a:lnTo>
                  <a:lnTo>
                    <a:pt x="64" y="254"/>
                  </a:lnTo>
                  <a:lnTo>
                    <a:pt x="66" y="258"/>
                  </a:lnTo>
                  <a:lnTo>
                    <a:pt x="72" y="259"/>
                  </a:lnTo>
                  <a:lnTo>
                    <a:pt x="74" y="260"/>
                  </a:lnTo>
                  <a:lnTo>
                    <a:pt x="77" y="264"/>
                  </a:lnTo>
                  <a:lnTo>
                    <a:pt x="77" y="270"/>
                  </a:lnTo>
                  <a:lnTo>
                    <a:pt x="78" y="273"/>
                  </a:lnTo>
                  <a:lnTo>
                    <a:pt x="85" y="269"/>
                  </a:lnTo>
                  <a:lnTo>
                    <a:pt x="88" y="269"/>
                  </a:lnTo>
                  <a:lnTo>
                    <a:pt x="92" y="269"/>
                  </a:lnTo>
                  <a:lnTo>
                    <a:pt x="93" y="264"/>
                  </a:lnTo>
                  <a:lnTo>
                    <a:pt x="91" y="260"/>
                  </a:lnTo>
                  <a:lnTo>
                    <a:pt x="86" y="255"/>
                  </a:lnTo>
                  <a:lnTo>
                    <a:pt x="82" y="252"/>
                  </a:lnTo>
                  <a:lnTo>
                    <a:pt x="72" y="250"/>
                  </a:lnTo>
                  <a:lnTo>
                    <a:pt x="68" y="245"/>
                  </a:lnTo>
                  <a:lnTo>
                    <a:pt x="66" y="244"/>
                  </a:lnTo>
                  <a:lnTo>
                    <a:pt x="65" y="240"/>
                  </a:lnTo>
                  <a:lnTo>
                    <a:pt x="62" y="229"/>
                  </a:lnTo>
                  <a:lnTo>
                    <a:pt x="61" y="225"/>
                  </a:lnTo>
                  <a:lnTo>
                    <a:pt x="57" y="222"/>
                  </a:lnTo>
                  <a:lnTo>
                    <a:pt x="55" y="218"/>
                  </a:lnTo>
                  <a:lnTo>
                    <a:pt x="55" y="212"/>
                  </a:lnTo>
                  <a:lnTo>
                    <a:pt x="53" y="209"/>
                  </a:lnTo>
                  <a:lnTo>
                    <a:pt x="50" y="208"/>
                  </a:lnTo>
                  <a:lnTo>
                    <a:pt x="46" y="210"/>
                  </a:lnTo>
                  <a:lnTo>
                    <a:pt x="44" y="209"/>
                  </a:lnTo>
                  <a:lnTo>
                    <a:pt x="43" y="207"/>
                  </a:lnTo>
                  <a:lnTo>
                    <a:pt x="42" y="201"/>
                  </a:lnTo>
                  <a:lnTo>
                    <a:pt x="41" y="195"/>
                  </a:lnTo>
                  <a:lnTo>
                    <a:pt x="41" y="191"/>
                  </a:lnTo>
                  <a:lnTo>
                    <a:pt x="41" y="189"/>
                  </a:lnTo>
                  <a:lnTo>
                    <a:pt x="42" y="186"/>
                  </a:lnTo>
                  <a:lnTo>
                    <a:pt x="42" y="182"/>
                  </a:lnTo>
                  <a:lnTo>
                    <a:pt x="43" y="181"/>
                  </a:lnTo>
                  <a:lnTo>
                    <a:pt x="44" y="178"/>
                  </a:lnTo>
                  <a:lnTo>
                    <a:pt x="44" y="173"/>
                  </a:lnTo>
                  <a:lnTo>
                    <a:pt x="46" y="166"/>
                  </a:lnTo>
                  <a:lnTo>
                    <a:pt x="47" y="160"/>
                  </a:lnTo>
                  <a:lnTo>
                    <a:pt x="50" y="156"/>
                  </a:lnTo>
                  <a:lnTo>
                    <a:pt x="50" y="151"/>
                  </a:lnTo>
                  <a:lnTo>
                    <a:pt x="50" y="140"/>
                  </a:lnTo>
                  <a:lnTo>
                    <a:pt x="48" y="132"/>
                  </a:lnTo>
                  <a:lnTo>
                    <a:pt x="52" y="131"/>
                  </a:lnTo>
                  <a:lnTo>
                    <a:pt x="56" y="131"/>
                  </a:lnTo>
                  <a:lnTo>
                    <a:pt x="57" y="131"/>
                  </a:lnTo>
                  <a:lnTo>
                    <a:pt x="60" y="131"/>
                  </a:lnTo>
                  <a:lnTo>
                    <a:pt x="62" y="132"/>
                  </a:lnTo>
                  <a:lnTo>
                    <a:pt x="63" y="133"/>
                  </a:lnTo>
                  <a:lnTo>
                    <a:pt x="64" y="146"/>
                  </a:lnTo>
                  <a:lnTo>
                    <a:pt x="65" y="148"/>
                  </a:lnTo>
                  <a:lnTo>
                    <a:pt x="66" y="148"/>
                  </a:lnTo>
                  <a:lnTo>
                    <a:pt x="65" y="147"/>
                  </a:lnTo>
                  <a:lnTo>
                    <a:pt x="66" y="147"/>
                  </a:lnTo>
                  <a:lnTo>
                    <a:pt x="74" y="147"/>
                  </a:lnTo>
                  <a:lnTo>
                    <a:pt x="76" y="147"/>
                  </a:lnTo>
                  <a:lnTo>
                    <a:pt x="80" y="148"/>
                  </a:lnTo>
                  <a:lnTo>
                    <a:pt x="85" y="152"/>
                  </a:lnTo>
                  <a:lnTo>
                    <a:pt x="87" y="156"/>
                  </a:lnTo>
                  <a:lnTo>
                    <a:pt x="90" y="157"/>
                  </a:lnTo>
                  <a:lnTo>
                    <a:pt x="92" y="158"/>
                  </a:lnTo>
                  <a:lnTo>
                    <a:pt x="92" y="157"/>
                  </a:lnTo>
                  <a:lnTo>
                    <a:pt x="93" y="158"/>
                  </a:lnTo>
                  <a:lnTo>
                    <a:pt x="96" y="164"/>
                  </a:lnTo>
                  <a:lnTo>
                    <a:pt x="98" y="166"/>
                  </a:lnTo>
                  <a:lnTo>
                    <a:pt x="98" y="163"/>
                  </a:lnTo>
                  <a:lnTo>
                    <a:pt x="98" y="161"/>
                  </a:lnTo>
                  <a:lnTo>
                    <a:pt x="96" y="156"/>
                  </a:lnTo>
                  <a:lnTo>
                    <a:pt x="94" y="151"/>
                  </a:lnTo>
                  <a:lnTo>
                    <a:pt x="90" y="148"/>
                  </a:lnTo>
                  <a:lnTo>
                    <a:pt x="86" y="141"/>
                  </a:lnTo>
                  <a:lnTo>
                    <a:pt x="85" y="137"/>
                  </a:lnTo>
                  <a:lnTo>
                    <a:pt x="85" y="131"/>
                  </a:lnTo>
                  <a:lnTo>
                    <a:pt x="87" y="130"/>
                  </a:lnTo>
                  <a:lnTo>
                    <a:pt x="88" y="127"/>
                  </a:lnTo>
                  <a:lnTo>
                    <a:pt x="91" y="126"/>
                  </a:lnTo>
                  <a:lnTo>
                    <a:pt x="94" y="119"/>
                  </a:lnTo>
                  <a:lnTo>
                    <a:pt x="95" y="117"/>
                  </a:lnTo>
                  <a:lnTo>
                    <a:pt x="97" y="116"/>
                  </a:lnTo>
                  <a:lnTo>
                    <a:pt x="105" y="117"/>
                  </a:lnTo>
                  <a:lnTo>
                    <a:pt x="111" y="117"/>
                  </a:lnTo>
                  <a:lnTo>
                    <a:pt x="115" y="117"/>
                  </a:lnTo>
                  <a:lnTo>
                    <a:pt x="124" y="116"/>
                  </a:lnTo>
                  <a:lnTo>
                    <a:pt x="126" y="119"/>
                  </a:lnTo>
                  <a:lnTo>
                    <a:pt x="129" y="118"/>
                  </a:lnTo>
                  <a:lnTo>
                    <a:pt x="129" y="117"/>
                  </a:lnTo>
                  <a:lnTo>
                    <a:pt x="131" y="117"/>
                  </a:lnTo>
                  <a:lnTo>
                    <a:pt x="133" y="113"/>
                  </a:lnTo>
                  <a:lnTo>
                    <a:pt x="131" y="99"/>
                  </a:lnTo>
                  <a:lnTo>
                    <a:pt x="132" y="96"/>
                  </a:lnTo>
                  <a:lnTo>
                    <a:pt x="131" y="93"/>
                  </a:lnTo>
                  <a:lnTo>
                    <a:pt x="129" y="91"/>
                  </a:lnTo>
                  <a:lnTo>
                    <a:pt x="128" y="89"/>
                  </a:lnTo>
                  <a:lnTo>
                    <a:pt x="126" y="88"/>
                  </a:lnTo>
                  <a:lnTo>
                    <a:pt x="125" y="86"/>
                  </a:lnTo>
                  <a:lnTo>
                    <a:pt x="122" y="84"/>
                  </a:lnTo>
                  <a:lnTo>
                    <a:pt x="119" y="83"/>
                  </a:lnTo>
                  <a:lnTo>
                    <a:pt x="117" y="80"/>
                  </a:lnTo>
                  <a:lnTo>
                    <a:pt x="115" y="77"/>
                  </a:lnTo>
                  <a:lnTo>
                    <a:pt x="115" y="69"/>
                  </a:lnTo>
                  <a:lnTo>
                    <a:pt x="114" y="65"/>
                  </a:lnTo>
                  <a:lnTo>
                    <a:pt x="112" y="60"/>
                  </a:lnTo>
                  <a:lnTo>
                    <a:pt x="111" y="58"/>
                  </a:lnTo>
                  <a:lnTo>
                    <a:pt x="108" y="56"/>
                  </a:lnTo>
                  <a:lnTo>
                    <a:pt x="107" y="53"/>
                  </a:lnTo>
                  <a:lnTo>
                    <a:pt x="105" y="52"/>
                  </a:lnTo>
                  <a:lnTo>
                    <a:pt x="102" y="50"/>
                  </a:lnTo>
                  <a:lnTo>
                    <a:pt x="101" y="48"/>
                  </a:lnTo>
                  <a:lnTo>
                    <a:pt x="96" y="42"/>
                  </a:lnTo>
                  <a:lnTo>
                    <a:pt x="93" y="42"/>
                  </a:lnTo>
                  <a:lnTo>
                    <a:pt x="90" y="42"/>
                  </a:lnTo>
                  <a:lnTo>
                    <a:pt x="86" y="43"/>
                  </a:lnTo>
                  <a:lnTo>
                    <a:pt x="86" y="47"/>
                  </a:lnTo>
                  <a:lnTo>
                    <a:pt x="85" y="49"/>
                  </a:lnTo>
                  <a:lnTo>
                    <a:pt x="83" y="49"/>
                  </a:lnTo>
                  <a:lnTo>
                    <a:pt x="80" y="51"/>
                  </a:lnTo>
                  <a:lnTo>
                    <a:pt x="77" y="51"/>
                  </a:lnTo>
                  <a:lnTo>
                    <a:pt x="74" y="49"/>
                  </a:lnTo>
                  <a:lnTo>
                    <a:pt x="72" y="47"/>
                  </a:lnTo>
                  <a:lnTo>
                    <a:pt x="70" y="46"/>
                  </a:lnTo>
                  <a:lnTo>
                    <a:pt x="67" y="47"/>
                  </a:lnTo>
                  <a:lnTo>
                    <a:pt x="64" y="48"/>
                  </a:lnTo>
                  <a:lnTo>
                    <a:pt x="61" y="51"/>
                  </a:lnTo>
                  <a:lnTo>
                    <a:pt x="57" y="53"/>
                  </a:lnTo>
                  <a:lnTo>
                    <a:pt x="56" y="57"/>
                  </a:lnTo>
                  <a:lnTo>
                    <a:pt x="54" y="58"/>
                  </a:lnTo>
                  <a:lnTo>
                    <a:pt x="54" y="56"/>
                  </a:lnTo>
                  <a:lnTo>
                    <a:pt x="53" y="52"/>
                  </a:lnTo>
                  <a:lnTo>
                    <a:pt x="54" y="48"/>
                  </a:lnTo>
                  <a:lnTo>
                    <a:pt x="53" y="40"/>
                  </a:lnTo>
                  <a:lnTo>
                    <a:pt x="54" y="36"/>
                  </a:lnTo>
                  <a:lnTo>
                    <a:pt x="54" y="33"/>
                  </a:lnTo>
                  <a:lnTo>
                    <a:pt x="54" y="31"/>
                  </a:lnTo>
                  <a:lnTo>
                    <a:pt x="52" y="26"/>
                  </a:lnTo>
                  <a:lnTo>
                    <a:pt x="52" y="20"/>
                  </a:lnTo>
                  <a:lnTo>
                    <a:pt x="51" y="19"/>
                  </a:lnTo>
                  <a:lnTo>
                    <a:pt x="45" y="19"/>
                  </a:lnTo>
                  <a:lnTo>
                    <a:pt x="43" y="19"/>
                  </a:lnTo>
                  <a:lnTo>
                    <a:pt x="42" y="18"/>
                  </a:lnTo>
                  <a:lnTo>
                    <a:pt x="42" y="12"/>
                  </a:lnTo>
                  <a:lnTo>
                    <a:pt x="40" y="8"/>
                  </a:lnTo>
                  <a:lnTo>
                    <a:pt x="37" y="6"/>
                  </a:lnTo>
                  <a:lnTo>
                    <a:pt x="36" y="5"/>
                  </a:lnTo>
                  <a:lnTo>
                    <a:pt x="35" y="5"/>
                  </a:lnTo>
                  <a:lnTo>
                    <a:pt x="34" y="2"/>
                  </a:lnTo>
                  <a:lnTo>
                    <a:pt x="34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68" name="Freeform 1068"/>
            <p:cNvSpPr>
              <a:spLocks/>
            </p:cNvSpPr>
            <p:nvPr/>
          </p:nvSpPr>
          <p:spPr bwMode="auto">
            <a:xfrm>
              <a:off x="4283" y="1771"/>
              <a:ext cx="133" cy="273"/>
            </a:xfrm>
            <a:custGeom>
              <a:avLst/>
              <a:gdLst>
                <a:gd name="T0" fmla="*/ 31 w 133"/>
                <a:gd name="T1" fmla="*/ 8 h 273"/>
                <a:gd name="T2" fmla="*/ 19 w 133"/>
                <a:gd name="T3" fmla="*/ 16 h 273"/>
                <a:gd name="T4" fmla="*/ 3 w 133"/>
                <a:gd name="T5" fmla="*/ 21 h 273"/>
                <a:gd name="T6" fmla="*/ 0 w 133"/>
                <a:gd name="T7" fmla="*/ 42 h 273"/>
                <a:gd name="T8" fmla="*/ 14 w 133"/>
                <a:gd name="T9" fmla="*/ 63 h 273"/>
                <a:gd name="T10" fmla="*/ 20 w 133"/>
                <a:gd name="T11" fmla="*/ 80 h 273"/>
                <a:gd name="T12" fmla="*/ 21 w 133"/>
                <a:gd name="T13" fmla="*/ 90 h 273"/>
                <a:gd name="T14" fmla="*/ 17 w 133"/>
                <a:gd name="T15" fmla="*/ 100 h 273"/>
                <a:gd name="T16" fmla="*/ 25 w 133"/>
                <a:gd name="T17" fmla="*/ 117 h 273"/>
                <a:gd name="T18" fmla="*/ 35 w 133"/>
                <a:gd name="T19" fmla="*/ 139 h 273"/>
                <a:gd name="T20" fmla="*/ 45 w 133"/>
                <a:gd name="T21" fmla="*/ 161 h 273"/>
                <a:gd name="T22" fmla="*/ 36 w 133"/>
                <a:gd name="T23" fmla="*/ 180 h 273"/>
                <a:gd name="T24" fmla="*/ 33 w 133"/>
                <a:gd name="T25" fmla="*/ 192 h 273"/>
                <a:gd name="T26" fmla="*/ 29 w 133"/>
                <a:gd name="T27" fmla="*/ 220 h 273"/>
                <a:gd name="T28" fmla="*/ 42 w 133"/>
                <a:gd name="T29" fmla="*/ 234 h 273"/>
                <a:gd name="T30" fmla="*/ 54 w 133"/>
                <a:gd name="T31" fmla="*/ 250 h 273"/>
                <a:gd name="T32" fmla="*/ 66 w 133"/>
                <a:gd name="T33" fmla="*/ 258 h 273"/>
                <a:gd name="T34" fmla="*/ 77 w 133"/>
                <a:gd name="T35" fmla="*/ 270 h 273"/>
                <a:gd name="T36" fmla="*/ 92 w 133"/>
                <a:gd name="T37" fmla="*/ 269 h 273"/>
                <a:gd name="T38" fmla="*/ 82 w 133"/>
                <a:gd name="T39" fmla="*/ 252 h 273"/>
                <a:gd name="T40" fmla="*/ 65 w 133"/>
                <a:gd name="T41" fmla="*/ 240 h 273"/>
                <a:gd name="T42" fmla="*/ 55 w 133"/>
                <a:gd name="T43" fmla="*/ 218 h 273"/>
                <a:gd name="T44" fmla="*/ 46 w 133"/>
                <a:gd name="T45" fmla="*/ 210 h 273"/>
                <a:gd name="T46" fmla="*/ 41 w 133"/>
                <a:gd name="T47" fmla="*/ 195 h 273"/>
                <a:gd name="T48" fmla="*/ 42 w 133"/>
                <a:gd name="T49" fmla="*/ 182 h 273"/>
                <a:gd name="T50" fmla="*/ 46 w 133"/>
                <a:gd name="T51" fmla="*/ 166 h 273"/>
                <a:gd name="T52" fmla="*/ 50 w 133"/>
                <a:gd name="T53" fmla="*/ 140 h 273"/>
                <a:gd name="T54" fmla="*/ 57 w 133"/>
                <a:gd name="T55" fmla="*/ 131 h 273"/>
                <a:gd name="T56" fmla="*/ 64 w 133"/>
                <a:gd name="T57" fmla="*/ 146 h 273"/>
                <a:gd name="T58" fmla="*/ 66 w 133"/>
                <a:gd name="T59" fmla="*/ 147 h 273"/>
                <a:gd name="T60" fmla="*/ 85 w 133"/>
                <a:gd name="T61" fmla="*/ 152 h 273"/>
                <a:gd name="T62" fmla="*/ 92 w 133"/>
                <a:gd name="T63" fmla="*/ 157 h 273"/>
                <a:gd name="T64" fmla="*/ 98 w 133"/>
                <a:gd name="T65" fmla="*/ 163 h 273"/>
                <a:gd name="T66" fmla="*/ 90 w 133"/>
                <a:gd name="T67" fmla="*/ 148 h 273"/>
                <a:gd name="T68" fmla="*/ 87 w 133"/>
                <a:gd name="T69" fmla="*/ 130 h 273"/>
                <a:gd name="T70" fmla="*/ 95 w 133"/>
                <a:gd name="T71" fmla="*/ 117 h 273"/>
                <a:gd name="T72" fmla="*/ 115 w 133"/>
                <a:gd name="T73" fmla="*/ 117 h 273"/>
                <a:gd name="T74" fmla="*/ 129 w 133"/>
                <a:gd name="T75" fmla="*/ 117 h 273"/>
                <a:gd name="T76" fmla="*/ 132 w 133"/>
                <a:gd name="T77" fmla="*/ 96 h 273"/>
                <a:gd name="T78" fmla="*/ 126 w 133"/>
                <a:gd name="T79" fmla="*/ 88 h 273"/>
                <a:gd name="T80" fmla="*/ 117 w 133"/>
                <a:gd name="T81" fmla="*/ 80 h 273"/>
                <a:gd name="T82" fmla="*/ 112 w 133"/>
                <a:gd name="T83" fmla="*/ 60 h 273"/>
                <a:gd name="T84" fmla="*/ 105 w 133"/>
                <a:gd name="T85" fmla="*/ 52 h 273"/>
                <a:gd name="T86" fmla="*/ 93 w 133"/>
                <a:gd name="T87" fmla="*/ 42 h 273"/>
                <a:gd name="T88" fmla="*/ 85 w 133"/>
                <a:gd name="T89" fmla="*/ 49 h 273"/>
                <a:gd name="T90" fmla="*/ 74 w 133"/>
                <a:gd name="T91" fmla="*/ 49 h 273"/>
                <a:gd name="T92" fmla="*/ 64 w 133"/>
                <a:gd name="T93" fmla="*/ 48 h 273"/>
                <a:gd name="T94" fmla="*/ 54 w 133"/>
                <a:gd name="T95" fmla="*/ 58 h 273"/>
                <a:gd name="T96" fmla="*/ 53 w 133"/>
                <a:gd name="T97" fmla="*/ 40 h 273"/>
                <a:gd name="T98" fmla="*/ 52 w 133"/>
                <a:gd name="T99" fmla="*/ 26 h 273"/>
                <a:gd name="T100" fmla="*/ 43 w 133"/>
                <a:gd name="T101" fmla="*/ 19 h 273"/>
                <a:gd name="T102" fmla="*/ 37 w 133"/>
                <a:gd name="T103" fmla="*/ 6 h 273"/>
                <a:gd name="T104" fmla="*/ 34 w 133"/>
                <a:gd name="T105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3" h="273">
                  <a:moveTo>
                    <a:pt x="34" y="0"/>
                  </a:moveTo>
                  <a:lnTo>
                    <a:pt x="33" y="1"/>
                  </a:lnTo>
                  <a:lnTo>
                    <a:pt x="32" y="3"/>
                  </a:lnTo>
                  <a:lnTo>
                    <a:pt x="31" y="8"/>
                  </a:lnTo>
                  <a:lnTo>
                    <a:pt x="26" y="9"/>
                  </a:lnTo>
                  <a:lnTo>
                    <a:pt x="24" y="10"/>
                  </a:lnTo>
                  <a:lnTo>
                    <a:pt x="21" y="13"/>
                  </a:lnTo>
                  <a:lnTo>
                    <a:pt x="19" y="16"/>
                  </a:lnTo>
                  <a:lnTo>
                    <a:pt x="15" y="19"/>
                  </a:lnTo>
                  <a:lnTo>
                    <a:pt x="12" y="20"/>
                  </a:lnTo>
                  <a:lnTo>
                    <a:pt x="6" y="21"/>
                  </a:lnTo>
                  <a:lnTo>
                    <a:pt x="3" y="21"/>
                  </a:lnTo>
                  <a:lnTo>
                    <a:pt x="1" y="33"/>
                  </a:lnTo>
                  <a:lnTo>
                    <a:pt x="1" y="38"/>
                  </a:lnTo>
                  <a:lnTo>
                    <a:pt x="2" y="40"/>
                  </a:lnTo>
                  <a:lnTo>
                    <a:pt x="0" y="42"/>
                  </a:lnTo>
                  <a:lnTo>
                    <a:pt x="0" y="45"/>
                  </a:lnTo>
                  <a:lnTo>
                    <a:pt x="3" y="50"/>
                  </a:lnTo>
                  <a:lnTo>
                    <a:pt x="6" y="58"/>
                  </a:lnTo>
                  <a:lnTo>
                    <a:pt x="14" y="63"/>
                  </a:lnTo>
                  <a:lnTo>
                    <a:pt x="16" y="67"/>
                  </a:lnTo>
                  <a:lnTo>
                    <a:pt x="19" y="71"/>
                  </a:lnTo>
                  <a:lnTo>
                    <a:pt x="19" y="77"/>
                  </a:lnTo>
                  <a:lnTo>
                    <a:pt x="20" y="80"/>
                  </a:lnTo>
                  <a:lnTo>
                    <a:pt x="23" y="80"/>
                  </a:lnTo>
                  <a:lnTo>
                    <a:pt x="24" y="83"/>
                  </a:lnTo>
                  <a:lnTo>
                    <a:pt x="22" y="86"/>
                  </a:lnTo>
                  <a:lnTo>
                    <a:pt x="21" y="90"/>
                  </a:lnTo>
                  <a:lnTo>
                    <a:pt x="21" y="92"/>
                  </a:lnTo>
                  <a:lnTo>
                    <a:pt x="21" y="97"/>
                  </a:lnTo>
                  <a:lnTo>
                    <a:pt x="20" y="98"/>
                  </a:lnTo>
                  <a:lnTo>
                    <a:pt x="17" y="100"/>
                  </a:lnTo>
                  <a:lnTo>
                    <a:pt x="17" y="102"/>
                  </a:lnTo>
                  <a:lnTo>
                    <a:pt x="17" y="107"/>
                  </a:lnTo>
                  <a:lnTo>
                    <a:pt x="20" y="112"/>
                  </a:lnTo>
                  <a:lnTo>
                    <a:pt x="25" y="117"/>
                  </a:lnTo>
                  <a:lnTo>
                    <a:pt x="32" y="123"/>
                  </a:lnTo>
                  <a:lnTo>
                    <a:pt x="33" y="124"/>
                  </a:lnTo>
                  <a:lnTo>
                    <a:pt x="33" y="128"/>
                  </a:lnTo>
                  <a:lnTo>
                    <a:pt x="35" y="139"/>
                  </a:lnTo>
                  <a:lnTo>
                    <a:pt x="37" y="144"/>
                  </a:lnTo>
                  <a:lnTo>
                    <a:pt x="38" y="144"/>
                  </a:lnTo>
                  <a:lnTo>
                    <a:pt x="40" y="150"/>
                  </a:lnTo>
                  <a:lnTo>
                    <a:pt x="45" y="161"/>
                  </a:lnTo>
                  <a:lnTo>
                    <a:pt x="45" y="163"/>
                  </a:lnTo>
                  <a:lnTo>
                    <a:pt x="41" y="173"/>
                  </a:lnTo>
                  <a:lnTo>
                    <a:pt x="37" y="176"/>
                  </a:lnTo>
                  <a:lnTo>
                    <a:pt x="36" y="180"/>
                  </a:lnTo>
                  <a:lnTo>
                    <a:pt x="35" y="184"/>
                  </a:lnTo>
                  <a:lnTo>
                    <a:pt x="34" y="189"/>
                  </a:lnTo>
                  <a:lnTo>
                    <a:pt x="33" y="191"/>
                  </a:lnTo>
                  <a:lnTo>
                    <a:pt x="33" y="192"/>
                  </a:lnTo>
                  <a:lnTo>
                    <a:pt x="32" y="195"/>
                  </a:lnTo>
                  <a:lnTo>
                    <a:pt x="32" y="199"/>
                  </a:lnTo>
                  <a:lnTo>
                    <a:pt x="29" y="213"/>
                  </a:lnTo>
                  <a:lnTo>
                    <a:pt x="29" y="220"/>
                  </a:lnTo>
                  <a:lnTo>
                    <a:pt x="29" y="224"/>
                  </a:lnTo>
                  <a:lnTo>
                    <a:pt x="30" y="228"/>
                  </a:lnTo>
                  <a:lnTo>
                    <a:pt x="35" y="227"/>
                  </a:lnTo>
                  <a:lnTo>
                    <a:pt x="42" y="234"/>
                  </a:lnTo>
                  <a:lnTo>
                    <a:pt x="43" y="235"/>
                  </a:lnTo>
                  <a:lnTo>
                    <a:pt x="48" y="242"/>
                  </a:lnTo>
                  <a:lnTo>
                    <a:pt x="52" y="245"/>
                  </a:lnTo>
                  <a:lnTo>
                    <a:pt x="54" y="250"/>
                  </a:lnTo>
                  <a:lnTo>
                    <a:pt x="62" y="260"/>
                  </a:lnTo>
                  <a:lnTo>
                    <a:pt x="61" y="254"/>
                  </a:lnTo>
                  <a:lnTo>
                    <a:pt x="64" y="254"/>
                  </a:lnTo>
                  <a:lnTo>
                    <a:pt x="66" y="258"/>
                  </a:lnTo>
                  <a:lnTo>
                    <a:pt x="72" y="259"/>
                  </a:lnTo>
                  <a:lnTo>
                    <a:pt x="74" y="260"/>
                  </a:lnTo>
                  <a:lnTo>
                    <a:pt x="77" y="264"/>
                  </a:lnTo>
                  <a:lnTo>
                    <a:pt x="77" y="270"/>
                  </a:lnTo>
                  <a:lnTo>
                    <a:pt x="78" y="273"/>
                  </a:lnTo>
                  <a:lnTo>
                    <a:pt x="85" y="269"/>
                  </a:lnTo>
                  <a:lnTo>
                    <a:pt x="88" y="269"/>
                  </a:lnTo>
                  <a:lnTo>
                    <a:pt x="92" y="269"/>
                  </a:lnTo>
                  <a:lnTo>
                    <a:pt x="93" y="264"/>
                  </a:lnTo>
                  <a:lnTo>
                    <a:pt x="91" y="260"/>
                  </a:lnTo>
                  <a:lnTo>
                    <a:pt x="86" y="255"/>
                  </a:lnTo>
                  <a:lnTo>
                    <a:pt x="82" y="252"/>
                  </a:lnTo>
                  <a:lnTo>
                    <a:pt x="72" y="250"/>
                  </a:lnTo>
                  <a:lnTo>
                    <a:pt x="68" y="245"/>
                  </a:lnTo>
                  <a:lnTo>
                    <a:pt x="66" y="244"/>
                  </a:lnTo>
                  <a:lnTo>
                    <a:pt x="65" y="240"/>
                  </a:lnTo>
                  <a:lnTo>
                    <a:pt x="62" y="229"/>
                  </a:lnTo>
                  <a:lnTo>
                    <a:pt x="61" y="225"/>
                  </a:lnTo>
                  <a:lnTo>
                    <a:pt x="57" y="222"/>
                  </a:lnTo>
                  <a:lnTo>
                    <a:pt x="55" y="218"/>
                  </a:lnTo>
                  <a:lnTo>
                    <a:pt x="55" y="212"/>
                  </a:lnTo>
                  <a:lnTo>
                    <a:pt x="53" y="209"/>
                  </a:lnTo>
                  <a:lnTo>
                    <a:pt x="50" y="208"/>
                  </a:lnTo>
                  <a:lnTo>
                    <a:pt x="46" y="210"/>
                  </a:lnTo>
                  <a:lnTo>
                    <a:pt x="44" y="209"/>
                  </a:lnTo>
                  <a:lnTo>
                    <a:pt x="43" y="207"/>
                  </a:lnTo>
                  <a:lnTo>
                    <a:pt x="42" y="201"/>
                  </a:lnTo>
                  <a:lnTo>
                    <a:pt x="41" y="195"/>
                  </a:lnTo>
                  <a:lnTo>
                    <a:pt x="41" y="191"/>
                  </a:lnTo>
                  <a:lnTo>
                    <a:pt x="41" y="189"/>
                  </a:lnTo>
                  <a:lnTo>
                    <a:pt x="42" y="186"/>
                  </a:lnTo>
                  <a:lnTo>
                    <a:pt x="42" y="182"/>
                  </a:lnTo>
                  <a:lnTo>
                    <a:pt x="43" y="181"/>
                  </a:lnTo>
                  <a:lnTo>
                    <a:pt x="44" y="178"/>
                  </a:lnTo>
                  <a:lnTo>
                    <a:pt x="44" y="173"/>
                  </a:lnTo>
                  <a:lnTo>
                    <a:pt x="46" y="166"/>
                  </a:lnTo>
                  <a:lnTo>
                    <a:pt x="47" y="160"/>
                  </a:lnTo>
                  <a:lnTo>
                    <a:pt x="50" y="156"/>
                  </a:lnTo>
                  <a:lnTo>
                    <a:pt x="50" y="151"/>
                  </a:lnTo>
                  <a:lnTo>
                    <a:pt x="50" y="140"/>
                  </a:lnTo>
                  <a:lnTo>
                    <a:pt x="48" y="132"/>
                  </a:lnTo>
                  <a:lnTo>
                    <a:pt x="52" y="131"/>
                  </a:lnTo>
                  <a:lnTo>
                    <a:pt x="56" y="131"/>
                  </a:lnTo>
                  <a:lnTo>
                    <a:pt x="57" y="131"/>
                  </a:lnTo>
                  <a:lnTo>
                    <a:pt x="60" y="131"/>
                  </a:lnTo>
                  <a:lnTo>
                    <a:pt x="62" y="132"/>
                  </a:lnTo>
                  <a:lnTo>
                    <a:pt x="63" y="133"/>
                  </a:lnTo>
                  <a:lnTo>
                    <a:pt x="64" y="146"/>
                  </a:lnTo>
                  <a:lnTo>
                    <a:pt x="65" y="148"/>
                  </a:lnTo>
                  <a:lnTo>
                    <a:pt x="66" y="148"/>
                  </a:lnTo>
                  <a:lnTo>
                    <a:pt x="65" y="147"/>
                  </a:lnTo>
                  <a:lnTo>
                    <a:pt x="66" y="147"/>
                  </a:lnTo>
                  <a:lnTo>
                    <a:pt x="74" y="147"/>
                  </a:lnTo>
                  <a:lnTo>
                    <a:pt x="76" y="147"/>
                  </a:lnTo>
                  <a:lnTo>
                    <a:pt x="80" y="148"/>
                  </a:lnTo>
                  <a:lnTo>
                    <a:pt x="85" y="152"/>
                  </a:lnTo>
                  <a:lnTo>
                    <a:pt x="87" y="156"/>
                  </a:lnTo>
                  <a:lnTo>
                    <a:pt x="90" y="157"/>
                  </a:lnTo>
                  <a:lnTo>
                    <a:pt x="92" y="158"/>
                  </a:lnTo>
                  <a:lnTo>
                    <a:pt x="92" y="157"/>
                  </a:lnTo>
                  <a:lnTo>
                    <a:pt x="93" y="158"/>
                  </a:lnTo>
                  <a:lnTo>
                    <a:pt x="96" y="164"/>
                  </a:lnTo>
                  <a:lnTo>
                    <a:pt x="98" y="166"/>
                  </a:lnTo>
                  <a:lnTo>
                    <a:pt x="98" y="163"/>
                  </a:lnTo>
                  <a:lnTo>
                    <a:pt x="98" y="161"/>
                  </a:lnTo>
                  <a:lnTo>
                    <a:pt x="96" y="156"/>
                  </a:lnTo>
                  <a:lnTo>
                    <a:pt x="94" y="151"/>
                  </a:lnTo>
                  <a:lnTo>
                    <a:pt x="90" y="148"/>
                  </a:lnTo>
                  <a:lnTo>
                    <a:pt x="86" y="141"/>
                  </a:lnTo>
                  <a:lnTo>
                    <a:pt x="85" y="137"/>
                  </a:lnTo>
                  <a:lnTo>
                    <a:pt x="85" y="131"/>
                  </a:lnTo>
                  <a:lnTo>
                    <a:pt x="87" y="130"/>
                  </a:lnTo>
                  <a:lnTo>
                    <a:pt x="88" y="127"/>
                  </a:lnTo>
                  <a:lnTo>
                    <a:pt x="91" y="126"/>
                  </a:lnTo>
                  <a:lnTo>
                    <a:pt x="94" y="119"/>
                  </a:lnTo>
                  <a:lnTo>
                    <a:pt x="95" y="117"/>
                  </a:lnTo>
                  <a:lnTo>
                    <a:pt x="97" y="116"/>
                  </a:lnTo>
                  <a:lnTo>
                    <a:pt x="105" y="117"/>
                  </a:lnTo>
                  <a:lnTo>
                    <a:pt x="111" y="117"/>
                  </a:lnTo>
                  <a:lnTo>
                    <a:pt x="115" y="117"/>
                  </a:lnTo>
                  <a:lnTo>
                    <a:pt x="124" y="116"/>
                  </a:lnTo>
                  <a:lnTo>
                    <a:pt x="126" y="119"/>
                  </a:lnTo>
                  <a:lnTo>
                    <a:pt x="129" y="118"/>
                  </a:lnTo>
                  <a:lnTo>
                    <a:pt x="129" y="117"/>
                  </a:lnTo>
                  <a:lnTo>
                    <a:pt x="131" y="117"/>
                  </a:lnTo>
                  <a:lnTo>
                    <a:pt x="133" y="113"/>
                  </a:lnTo>
                  <a:lnTo>
                    <a:pt x="131" y="99"/>
                  </a:lnTo>
                  <a:lnTo>
                    <a:pt x="132" y="96"/>
                  </a:lnTo>
                  <a:lnTo>
                    <a:pt x="131" y="93"/>
                  </a:lnTo>
                  <a:lnTo>
                    <a:pt x="129" y="91"/>
                  </a:lnTo>
                  <a:lnTo>
                    <a:pt x="128" y="89"/>
                  </a:lnTo>
                  <a:lnTo>
                    <a:pt x="126" y="88"/>
                  </a:lnTo>
                  <a:lnTo>
                    <a:pt x="125" y="86"/>
                  </a:lnTo>
                  <a:lnTo>
                    <a:pt x="122" y="84"/>
                  </a:lnTo>
                  <a:lnTo>
                    <a:pt x="119" y="83"/>
                  </a:lnTo>
                  <a:lnTo>
                    <a:pt x="117" y="80"/>
                  </a:lnTo>
                  <a:lnTo>
                    <a:pt x="115" y="77"/>
                  </a:lnTo>
                  <a:lnTo>
                    <a:pt x="115" y="69"/>
                  </a:lnTo>
                  <a:lnTo>
                    <a:pt x="114" y="65"/>
                  </a:lnTo>
                  <a:lnTo>
                    <a:pt x="112" y="60"/>
                  </a:lnTo>
                  <a:lnTo>
                    <a:pt x="111" y="58"/>
                  </a:lnTo>
                  <a:lnTo>
                    <a:pt x="108" y="56"/>
                  </a:lnTo>
                  <a:lnTo>
                    <a:pt x="107" y="53"/>
                  </a:lnTo>
                  <a:lnTo>
                    <a:pt x="105" y="52"/>
                  </a:lnTo>
                  <a:lnTo>
                    <a:pt x="102" y="50"/>
                  </a:lnTo>
                  <a:lnTo>
                    <a:pt x="101" y="48"/>
                  </a:lnTo>
                  <a:lnTo>
                    <a:pt x="96" y="42"/>
                  </a:lnTo>
                  <a:lnTo>
                    <a:pt x="93" y="42"/>
                  </a:lnTo>
                  <a:lnTo>
                    <a:pt x="90" y="42"/>
                  </a:lnTo>
                  <a:lnTo>
                    <a:pt x="86" y="43"/>
                  </a:lnTo>
                  <a:lnTo>
                    <a:pt x="86" y="47"/>
                  </a:lnTo>
                  <a:lnTo>
                    <a:pt x="85" y="49"/>
                  </a:lnTo>
                  <a:lnTo>
                    <a:pt x="83" y="49"/>
                  </a:lnTo>
                  <a:lnTo>
                    <a:pt x="80" y="51"/>
                  </a:lnTo>
                  <a:lnTo>
                    <a:pt x="77" y="51"/>
                  </a:lnTo>
                  <a:lnTo>
                    <a:pt x="74" y="49"/>
                  </a:lnTo>
                  <a:lnTo>
                    <a:pt x="72" y="47"/>
                  </a:lnTo>
                  <a:lnTo>
                    <a:pt x="70" y="46"/>
                  </a:lnTo>
                  <a:lnTo>
                    <a:pt x="67" y="47"/>
                  </a:lnTo>
                  <a:lnTo>
                    <a:pt x="64" y="48"/>
                  </a:lnTo>
                  <a:lnTo>
                    <a:pt x="61" y="51"/>
                  </a:lnTo>
                  <a:lnTo>
                    <a:pt x="57" y="53"/>
                  </a:lnTo>
                  <a:lnTo>
                    <a:pt x="56" y="57"/>
                  </a:lnTo>
                  <a:lnTo>
                    <a:pt x="54" y="58"/>
                  </a:lnTo>
                  <a:lnTo>
                    <a:pt x="54" y="56"/>
                  </a:lnTo>
                  <a:lnTo>
                    <a:pt x="53" y="52"/>
                  </a:lnTo>
                  <a:lnTo>
                    <a:pt x="54" y="48"/>
                  </a:lnTo>
                  <a:lnTo>
                    <a:pt x="53" y="40"/>
                  </a:lnTo>
                  <a:lnTo>
                    <a:pt x="54" y="36"/>
                  </a:lnTo>
                  <a:lnTo>
                    <a:pt x="54" y="33"/>
                  </a:lnTo>
                  <a:lnTo>
                    <a:pt x="54" y="31"/>
                  </a:lnTo>
                  <a:lnTo>
                    <a:pt x="52" y="26"/>
                  </a:lnTo>
                  <a:lnTo>
                    <a:pt x="52" y="20"/>
                  </a:lnTo>
                  <a:lnTo>
                    <a:pt x="51" y="19"/>
                  </a:lnTo>
                  <a:lnTo>
                    <a:pt x="45" y="19"/>
                  </a:lnTo>
                  <a:lnTo>
                    <a:pt x="43" y="19"/>
                  </a:lnTo>
                  <a:lnTo>
                    <a:pt x="42" y="18"/>
                  </a:lnTo>
                  <a:lnTo>
                    <a:pt x="42" y="12"/>
                  </a:lnTo>
                  <a:lnTo>
                    <a:pt x="40" y="8"/>
                  </a:lnTo>
                  <a:lnTo>
                    <a:pt x="37" y="6"/>
                  </a:lnTo>
                  <a:lnTo>
                    <a:pt x="36" y="5"/>
                  </a:lnTo>
                  <a:lnTo>
                    <a:pt x="35" y="5"/>
                  </a:lnTo>
                  <a:lnTo>
                    <a:pt x="34" y="2"/>
                  </a:lnTo>
                  <a:lnTo>
                    <a:pt x="34" y="0"/>
                  </a:lnTo>
                  <a:lnTo>
                    <a:pt x="34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69" name="Freeform 1069"/>
            <p:cNvSpPr>
              <a:spLocks/>
            </p:cNvSpPr>
            <p:nvPr/>
          </p:nvSpPr>
          <p:spPr bwMode="auto">
            <a:xfrm>
              <a:off x="3018" y="1130"/>
              <a:ext cx="79" cy="44"/>
            </a:xfrm>
            <a:custGeom>
              <a:avLst/>
              <a:gdLst>
                <a:gd name="T0" fmla="*/ 1 w 79"/>
                <a:gd name="T1" fmla="*/ 11 h 44"/>
                <a:gd name="T2" fmla="*/ 2 w 79"/>
                <a:gd name="T3" fmla="*/ 14 h 44"/>
                <a:gd name="T4" fmla="*/ 2 w 79"/>
                <a:gd name="T5" fmla="*/ 12 h 44"/>
                <a:gd name="T6" fmla="*/ 4 w 79"/>
                <a:gd name="T7" fmla="*/ 16 h 44"/>
                <a:gd name="T8" fmla="*/ 4 w 79"/>
                <a:gd name="T9" fmla="*/ 20 h 44"/>
                <a:gd name="T10" fmla="*/ 5 w 79"/>
                <a:gd name="T11" fmla="*/ 21 h 44"/>
                <a:gd name="T12" fmla="*/ 10 w 79"/>
                <a:gd name="T13" fmla="*/ 22 h 44"/>
                <a:gd name="T14" fmla="*/ 13 w 79"/>
                <a:gd name="T15" fmla="*/ 23 h 44"/>
                <a:gd name="T16" fmla="*/ 19 w 79"/>
                <a:gd name="T17" fmla="*/ 24 h 44"/>
                <a:gd name="T18" fmla="*/ 24 w 79"/>
                <a:gd name="T19" fmla="*/ 24 h 44"/>
                <a:gd name="T20" fmla="*/ 26 w 79"/>
                <a:gd name="T21" fmla="*/ 31 h 44"/>
                <a:gd name="T22" fmla="*/ 29 w 79"/>
                <a:gd name="T23" fmla="*/ 36 h 44"/>
                <a:gd name="T24" fmla="*/ 36 w 79"/>
                <a:gd name="T25" fmla="*/ 40 h 44"/>
                <a:gd name="T26" fmla="*/ 39 w 79"/>
                <a:gd name="T27" fmla="*/ 43 h 44"/>
                <a:gd name="T28" fmla="*/ 46 w 79"/>
                <a:gd name="T29" fmla="*/ 43 h 44"/>
                <a:gd name="T30" fmla="*/ 52 w 79"/>
                <a:gd name="T31" fmla="*/ 43 h 44"/>
                <a:gd name="T32" fmla="*/ 55 w 79"/>
                <a:gd name="T33" fmla="*/ 43 h 44"/>
                <a:gd name="T34" fmla="*/ 55 w 79"/>
                <a:gd name="T35" fmla="*/ 40 h 44"/>
                <a:gd name="T36" fmla="*/ 60 w 79"/>
                <a:gd name="T37" fmla="*/ 40 h 44"/>
                <a:gd name="T38" fmla="*/ 62 w 79"/>
                <a:gd name="T39" fmla="*/ 37 h 44"/>
                <a:gd name="T40" fmla="*/ 65 w 79"/>
                <a:gd name="T41" fmla="*/ 40 h 44"/>
                <a:gd name="T42" fmla="*/ 69 w 79"/>
                <a:gd name="T43" fmla="*/ 40 h 44"/>
                <a:gd name="T44" fmla="*/ 67 w 79"/>
                <a:gd name="T45" fmla="*/ 36 h 44"/>
                <a:gd name="T46" fmla="*/ 66 w 79"/>
                <a:gd name="T47" fmla="*/ 34 h 44"/>
                <a:gd name="T48" fmla="*/ 67 w 79"/>
                <a:gd name="T49" fmla="*/ 30 h 44"/>
                <a:gd name="T50" fmla="*/ 67 w 79"/>
                <a:gd name="T51" fmla="*/ 27 h 44"/>
                <a:gd name="T52" fmla="*/ 70 w 79"/>
                <a:gd name="T53" fmla="*/ 25 h 44"/>
                <a:gd name="T54" fmla="*/ 73 w 79"/>
                <a:gd name="T55" fmla="*/ 23 h 44"/>
                <a:gd name="T56" fmla="*/ 77 w 79"/>
                <a:gd name="T57" fmla="*/ 23 h 44"/>
                <a:gd name="T58" fmla="*/ 77 w 79"/>
                <a:gd name="T59" fmla="*/ 19 h 44"/>
                <a:gd name="T60" fmla="*/ 74 w 79"/>
                <a:gd name="T61" fmla="*/ 17 h 44"/>
                <a:gd name="T62" fmla="*/ 76 w 79"/>
                <a:gd name="T63" fmla="*/ 15 h 44"/>
                <a:gd name="T64" fmla="*/ 77 w 79"/>
                <a:gd name="T65" fmla="*/ 14 h 44"/>
                <a:gd name="T66" fmla="*/ 75 w 79"/>
                <a:gd name="T67" fmla="*/ 13 h 44"/>
                <a:gd name="T68" fmla="*/ 69 w 79"/>
                <a:gd name="T69" fmla="*/ 9 h 44"/>
                <a:gd name="T70" fmla="*/ 57 w 79"/>
                <a:gd name="T71" fmla="*/ 5 h 44"/>
                <a:gd name="T72" fmla="*/ 53 w 79"/>
                <a:gd name="T73" fmla="*/ 1 h 44"/>
                <a:gd name="T74" fmla="*/ 50 w 79"/>
                <a:gd name="T75" fmla="*/ 1 h 44"/>
                <a:gd name="T76" fmla="*/ 43 w 79"/>
                <a:gd name="T77" fmla="*/ 3 h 44"/>
                <a:gd name="T78" fmla="*/ 33 w 79"/>
                <a:gd name="T79" fmla="*/ 2 h 44"/>
                <a:gd name="T80" fmla="*/ 27 w 79"/>
                <a:gd name="T81" fmla="*/ 1 h 44"/>
                <a:gd name="T82" fmla="*/ 24 w 79"/>
                <a:gd name="T83" fmla="*/ 2 h 44"/>
                <a:gd name="T84" fmla="*/ 21 w 79"/>
                <a:gd name="T85" fmla="*/ 1 h 44"/>
                <a:gd name="T86" fmla="*/ 14 w 79"/>
                <a:gd name="T87" fmla="*/ 1 h 44"/>
                <a:gd name="T88" fmla="*/ 5 w 79"/>
                <a:gd name="T89" fmla="*/ 4 h 44"/>
                <a:gd name="T90" fmla="*/ 2 w 79"/>
                <a:gd name="T91" fmla="*/ 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9" h="44">
                  <a:moveTo>
                    <a:pt x="0" y="6"/>
                  </a:moveTo>
                  <a:lnTo>
                    <a:pt x="1" y="11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2" y="13"/>
                  </a:lnTo>
                  <a:lnTo>
                    <a:pt x="4" y="16"/>
                  </a:lnTo>
                  <a:lnTo>
                    <a:pt x="4" y="19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5" y="21"/>
                  </a:lnTo>
                  <a:lnTo>
                    <a:pt x="7" y="21"/>
                  </a:lnTo>
                  <a:lnTo>
                    <a:pt x="10" y="22"/>
                  </a:lnTo>
                  <a:lnTo>
                    <a:pt x="12" y="22"/>
                  </a:lnTo>
                  <a:lnTo>
                    <a:pt x="13" y="23"/>
                  </a:lnTo>
                  <a:lnTo>
                    <a:pt x="15" y="23"/>
                  </a:lnTo>
                  <a:lnTo>
                    <a:pt x="19" y="24"/>
                  </a:lnTo>
                  <a:lnTo>
                    <a:pt x="23" y="23"/>
                  </a:lnTo>
                  <a:lnTo>
                    <a:pt x="24" y="24"/>
                  </a:lnTo>
                  <a:lnTo>
                    <a:pt x="27" y="29"/>
                  </a:lnTo>
                  <a:lnTo>
                    <a:pt x="26" y="31"/>
                  </a:lnTo>
                  <a:lnTo>
                    <a:pt x="27" y="34"/>
                  </a:lnTo>
                  <a:lnTo>
                    <a:pt x="29" y="36"/>
                  </a:lnTo>
                  <a:lnTo>
                    <a:pt x="32" y="37"/>
                  </a:lnTo>
                  <a:lnTo>
                    <a:pt x="36" y="40"/>
                  </a:lnTo>
                  <a:lnTo>
                    <a:pt x="39" y="42"/>
                  </a:lnTo>
                  <a:lnTo>
                    <a:pt x="39" y="43"/>
                  </a:lnTo>
                  <a:lnTo>
                    <a:pt x="42" y="44"/>
                  </a:lnTo>
                  <a:lnTo>
                    <a:pt x="46" y="43"/>
                  </a:lnTo>
                  <a:lnTo>
                    <a:pt x="50" y="44"/>
                  </a:lnTo>
                  <a:lnTo>
                    <a:pt x="52" y="43"/>
                  </a:lnTo>
                  <a:lnTo>
                    <a:pt x="53" y="42"/>
                  </a:lnTo>
                  <a:lnTo>
                    <a:pt x="55" y="43"/>
                  </a:lnTo>
                  <a:lnTo>
                    <a:pt x="57" y="43"/>
                  </a:lnTo>
                  <a:lnTo>
                    <a:pt x="55" y="40"/>
                  </a:lnTo>
                  <a:lnTo>
                    <a:pt x="57" y="40"/>
                  </a:lnTo>
                  <a:lnTo>
                    <a:pt x="60" y="40"/>
                  </a:lnTo>
                  <a:lnTo>
                    <a:pt x="61" y="39"/>
                  </a:lnTo>
                  <a:lnTo>
                    <a:pt x="62" y="37"/>
                  </a:lnTo>
                  <a:lnTo>
                    <a:pt x="64" y="37"/>
                  </a:lnTo>
                  <a:lnTo>
                    <a:pt x="65" y="40"/>
                  </a:lnTo>
                  <a:lnTo>
                    <a:pt x="67" y="40"/>
                  </a:lnTo>
                  <a:lnTo>
                    <a:pt x="69" y="40"/>
                  </a:lnTo>
                  <a:lnTo>
                    <a:pt x="69" y="37"/>
                  </a:lnTo>
                  <a:lnTo>
                    <a:pt x="67" y="36"/>
                  </a:lnTo>
                  <a:lnTo>
                    <a:pt x="66" y="35"/>
                  </a:lnTo>
                  <a:lnTo>
                    <a:pt x="66" y="34"/>
                  </a:lnTo>
                  <a:lnTo>
                    <a:pt x="67" y="32"/>
                  </a:lnTo>
                  <a:lnTo>
                    <a:pt x="67" y="30"/>
                  </a:lnTo>
                  <a:lnTo>
                    <a:pt x="67" y="29"/>
                  </a:lnTo>
                  <a:lnTo>
                    <a:pt x="67" y="27"/>
                  </a:lnTo>
                  <a:lnTo>
                    <a:pt x="67" y="25"/>
                  </a:lnTo>
                  <a:lnTo>
                    <a:pt x="70" y="25"/>
                  </a:lnTo>
                  <a:lnTo>
                    <a:pt x="71" y="24"/>
                  </a:lnTo>
                  <a:lnTo>
                    <a:pt x="73" y="23"/>
                  </a:lnTo>
                  <a:lnTo>
                    <a:pt x="74" y="23"/>
                  </a:lnTo>
                  <a:lnTo>
                    <a:pt x="77" y="23"/>
                  </a:lnTo>
                  <a:lnTo>
                    <a:pt x="79" y="20"/>
                  </a:lnTo>
                  <a:lnTo>
                    <a:pt x="77" y="19"/>
                  </a:lnTo>
                  <a:lnTo>
                    <a:pt x="75" y="19"/>
                  </a:lnTo>
                  <a:lnTo>
                    <a:pt x="74" y="17"/>
                  </a:lnTo>
                  <a:lnTo>
                    <a:pt x="74" y="16"/>
                  </a:lnTo>
                  <a:lnTo>
                    <a:pt x="76" y="15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5" y="13"/>
                  </a:lnTo>
                  <a:lnTo>
                    <a:pt x="73" y="13"/>
                  </a:lnTo>
                  <a:lnTo>
                    <a:pt x="69" y="9"/>
                  </a:lnTo>
                  <a:lnTo>
                    <a:pt x="62" y="5"/>
                  </a:lnTo>
                  <a:lnTo>
                    <a:pt x="57" y="5"/>
                  </a:lnTo>
                  <a:lnTo>
                    <a:pt x="55" y="5"/>
                  </a:lnTo>
                  <a:lnTo>
                    <a:pt x="53" y="1"/>
                  </a:lnTo>
                  <a:lnTo>
                    <a:pt x="51" y="0"/>
                  </a:lnTo>
                  <a:lnTo>
                    <a:pt x="50" y="1"/>
                  </a:lnTo>
                  <a:lnTo>
                    <a:pt x="46" y="3"/>
                  </a:lnTo>
                  <a:lnTo>
                    <a:pt x="43" y="3"/>
                  </a:lnTo>
                  <a:lnTo>
                    <a:pt x="35" y="1"/>
                  </a:lnTo>
                  <a:lnTo>
                    <a:pt x="33" y="2"/>
                  </a:lnTo>
                  <a:lnTo>
                    <a:pt x="30" y="1"/>
                  </a:lnTo>
                  <a:lnTo>
                    <a:pt x="27" y="1"/>
                  </a:lnTo>
                  <a:lnTo>
                    <a:pt x="25" y="1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1" y="1"/>
                  </a:lnTo>
                  <a:lnTo>
                    <a:pt x="19" y="1"/>
                  </a:lnTo>
                  <a:lnTo>
                    <a:pt x="14" y="1"/>
                  </a:lnTo>
                  <a:lnTo>
                    <a:pt x="9" y="2"/>
                  </a:lnTo>
                  <a:lnTo>
                    <a:pt x="5" y="4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70" name="Freeform 1070"/>
            <p:cNvSpPr>
              <a:spLocks/>
            </p:cNvSpPr>
            <p:nvPr/>
          </p:nvSpPr>
          <p:spPr bwMode="auto">
            <a:xfrm>
              <a:off x="3018" y="1130"/>
              <a:ext cx="79" cy="44"/>
            </a:xfrm>
            <a:custGeom>
              <a:avLst/>
              <a:gdLst>
                <a:gd name="T0" fmla="*/ 1 w 79"/>
                <a:gd name="T1" fmla="*/ 11 h 44"/>
                <a:gd name="T2" fmla="*/ 2 w 79"/>
                <a:gd name="T3" fmla="*/ 14 h 44"/>
                <a:gd name="T4" fmla="*/ 2 w 79"/>
                <a:gd name="T5" fmla="*/ 12 h 44"/>
                <a:gd name="T6" fmla="*/ 4 w 79"/>
                <a:gd name="T7" fmla="*/ 16 h 44"/>
                <a:gd name="T8" fmla="*/ 4 w 79"/>
                <a:gd name="T9" fmla="*/ 20 h 44"/>
                <a:gd name="T10" fmla="*/ 5 w 79"/>
                <a:gd name="T11" fmla="*/ 21 h 44"/>
                <a:gd name="T12" fmla="*/ 10 w 79"/>
                <a:gd name="T13" fmla="*/ 22 h 44"/>
                <a:gd name="T14" fmla="*/ 13 w 79"/>
                <a:gd name="T15" fmla="*/ 23 h 44"/>
                <a:gd name="T16" fmla="*/ 19 w 79"/>
                <a:gd name="T17" fmla="*/ 24 h 44"/>
                <a:gd name="T18" fmla="*/ 24 w 79"/>
                <a:gd name="T19" fmla="*/ 24 h 44"/>
                <a:gd name="T20" fmla="*/ 26 w 79"/>
                <a:gd name="T21" fmla="*/ 31 h 44"/>
                <a:gd name="T22" fmla="*/ 29 w 79"/>
                <a:gd name="T23" fmla="*/ 36 h 44"/>
                <a:gd name="T24" fmla="*/ 36 w 79"/>
                <a:gd name="T25" fmla="*/ 40 h 44"/>
                <a:gd name="T26" fmla="*/ 39 w 79"/>
                <a:gd name="T27" fmla="*/ 43 h 44"/>
                <a:gd name="T28" fmla="*/ 46 w 79"/>
                <a:gd name="T29" fmla="*/ 43 h 44"/>
                <a:gd name="T30" fmla="*/ 52 w 79"/>
                <a:gd name="T31" fmla="*/ 43 h 44"/>
                <a:gd name="T32" fmla="*/ 55 w 79"/>
                <a:gd name="T33" fmla="*/ 43 h 44"/>
                <a:gd name="T34" fmla="*/ 55 w 79"/>
                <a:gd name="T35" fmla="*/ 40 h 44"/>
                <a:gd name="T36" fmla="*/ 60 w 79"/>
                <a:gd name="T37" fmla="*/ 40 h 44"/>
                <a:gd name="T38" fmla="*/ 62 w 79"/>
                <a:gd name="T39" fmla="*/ 37 h 44"/>
                <a:gd name="T40" fmla="*/ 65 w 79"/>
                <a:gd name="T41" fmla="*/ 40 h 44"/>
                <a:gd name="T42" fmla="*/ 69 w 79"/>
                <a:gd name="T43" fmla="*/ 40 h 44"/>
                <a:gd name="T44" fmla="*/ 67 w 79"/>
                <a:gd name="T45" fmla="*/ 36 h 44"/>
                <a:gd name="T46" fmla="*/ 66 w 79"/>
                <a:gd name="T47" fmla="*/ 34 h 44"/>
                <a:gd name="T48" fmla="*/ 67 w 79"/>
                <a:gd name="T49" fmla="*/ 30 h 44"/>
                <a:gd name="T50" fmla="*/ 67 w 79"/>
                <a:gd name="T51" fmla="*/ 27 h 44"/>
                <a:gd name="T52" fmla="*/ 70 w 79"/>
                <a:gd name="T53" fmla="*/ 25 h 44"/>
                <a:gd name="T54" fmla="*/ 73 w 79"/>
                <a:gd name="T55" fmla="*/ 23 h 44"/>
                <a:gd name="T56" fmla="*/ 77 w 79"/>
                <a:gd name="T57" fmla="*/ 23 h 44"/>
                <a:gd name="T58" fmla="*/ 77 w 79"/>
                <a:gd name="T59" fmla="*/ 19 h 44"/>
                <a:gd name="T60" fmla="*/ 74 w 79"/>
                <a:gd name="T61" fmla="*/ 17 h 44"/>
                <a:gd name="T62" fmla="*/ 76 w 79"/>
                <a:gd name="T63" fmla="*/ 15 h 44"/>
                <a:gd name="T64" fmla="*/ 77 w 79"/>
                <a:gd name="T65" fmla="*/ 14 h 44"/>
                <a:gd name="T66" fmla="*/ 75 w 79"/>
                <a:gd name="T67" fmla="*/ 13 h 44"/>
                <a:gd name="T68" fmla="*/ 69 w 79"/>
                <a:gd name="T69" fmla="*/ 9 h 44"/>
                <a:gd name="T70" fmla="*/ 57 w 79"/>
                <a:gd name="T71" fmla="*/ 5 h 44"/>
                <a:gd name="T72" fmla="*/ 53 w 79"/>
                <a:gd name="T73" fmla="*/ 1 h 44"/>
                <a:gd name="T74" fmla="*/ 50 w 79"/>
                <a:gd name="T75" fmla="*/ 1 h 44"/>
                <a:gd name="T76" fmla="*/ 43 w 79"/>
                <a:gd name="T77" fmla="*/ 3 h 44"/>
                <a:gd name="T78" fmla="*/ 33 w 79"/>
                <a:gd name="T79" fmla="*/ 2 h 44"/>
                <a:gd name="T80" fmla="*/ 27 w 79"/>
                <a:gd name="T81" fmla="*/ 1 h 44"/>
                <a:gd name="T82" fmla="*/ 24 w 79"/>
                <a:gd name="T83" fmla="*/ 2 h 44"/>
                <a:gd name="T84" fmla="*/ 21 w 79"/>
                <a:gd name="T85" fmla="*/ 1 h 44"/>
                <a:gd name="T86" fmla="*/ 14 w 79"/>
                <a:gd name="T87" fmla="*/ 1 h 44"/>
                <a:gd name="T88" fmla="*/ 5 w 79"/>
                <a:gd name="T89" fmla="*/ 4 h 44"/>
                <a:gd name="T90" fmla="*/ 2 w 79"/>
                <a:gd name="T91" fmla="*/ 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9" h="44">
                  <a:moveTo>
                    <a:pt x="0" y="6"/>
                  </a:moveTo>
                  <a:lnTo>
                    <a:pt x="1" y="11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2" y="13"/>
                  </a:lnTo>
                  <a:lnTo>
                    <a:pt x="4" y="16"/>
                  </a:lnTo>
                  <a:lnTo>
                    <a:pt x="4" y="19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5" y="21"/>
                  </a:lnTo>
                  <a:lnTo>
                    <a:pt x="7" y="21"/>
                  </a:lnTo>
                  <a:lnTo>
                    <a:pt x="10" y="22"/>
                  </a:lnTo>
                  <a:lnTo>
                    <a:pt x="12" y="22"/>
                  </a:lnTo>
                  <a:lnTo>
                    <a:pt x="13" y="23"/>
                  </a:lnTo>
                  <a:lnTo>
                    <a:pt x="15" y="23"/>
                  </a:lnTo>
                  <a:lnTo>
                    <a:pt x="19" y="24"/>
                  </a:lnTo>
                  <a:lnTo>
                    <a:pt x="23" y="23"/>
                  </a:lnTo>
                  <a:lnTo>
                    <a:pt x="24" y="24"/>
                  </a:lnTo>
                  <a:lnTo>
                    <a:pt x="27" y="29"/>
                  </a:lnTo>
                  <a:lnTo>
                    <a:pt x="26" y="31"/>
                  </a:lnTo>
                  <a:lnTo>
                    <a:pt x="27" y="34"/>
                  </a:lnTo>
                  <a:lnTo>
                    <a:pt x="29" y="36"/>
                  </a:lnTo>
                  <a:lnTo>
                    <a:pt x="32" y="37"/>
                  </a:lnTo>
                  <a:lnTo>
                    <a:pt x="36" y="40"/>
                  </a:lnTo>
                  <a:lnTo>
                    <a:pt x="39" y="42"/>
                  </a:lnTo>
                  <a:lnTo>
                    <a:pt x="39" y="43"/>
                  </a:lnTo>
                  <a:lnTo>
                    <a:pt x="42" y="44"/>
                  </a:lnTo>
                  <a:lnTo>
                    <a:pt x="46" y="43"/>
                  </a:lnTo>
                  <a:lnTo>
                    <a:pt x="50" y="44"/>
                  </a:lnTo>
                  <a:lnTo>
                    <a:pt x="52" y="43"/>
                  </a:lnTo>
                  <a:lnTo>
                    <a:pt x="53" y="42"/>
                  </a:lnTo>
                  <a:lnTo>
                    <a:pt x="55" y="43"/>
                  </a:lnTo>
                  <a:lnTo>
                    <a:pt x="57" y="43"/>
                  </a:lnTo>
                  <a:lnTo>
                    <a:pt x="55" y="40"/>
                  </a:lnTo>
                  <a:lnTo>
                    <a:pt x="57" y="40"/>
                  </a:lnTo>
                  <a:lnTo>
                    <a:pt x="60" y="40"/>
                  </a:lnTo>
                  <a:lnTo>
                    <a:pt x="61" y="39"/>
                  </a:lnTo>
                  <a:lnTo>
                    <a:pt x="62" y="37"/>
                  </a:lnTo>
                  <a:lnTo>
                    <a:pt x="64" y="37"/>
                  </a:lnTo>
                  <a:lnTo>
                    <a:pt x="65" y="40"/>
                  </a:lnTo>
                  <a:lnTo>
                    <a:pt x="67" y="40"/>
                  </a:lnTo>
                  <a:lnTo>
                    <a:pt x="69" y="40"/>
                  </a:lnTo>
                  <a:lnTo>
                    <a:pt x="69" y="37"/>
                  </a:lnTo>
                  <a:lnTo>
                    <a:pt x="67" y="36"/>
                  </a:lnTo>
                  <a:lnTo>
                    <a:pt x="66" y="35"/>
                  </a:lnTo>
                  <a:lnTo>
                    <a:pt x="66" y="34"/>
                  </a:lnTo>
                  <a:lnTo>
                    <a:pt x="67" y="32"/>
                  </a:lnTo>
                  <a:lnTo>
                    <a:pt x="67" y="30"/>
                  </a:lnTo>
                  <a:lnTo>
                    <a:pt x="67" y="29"/>
                  </a:lnTo>
                  <a:lnTo>
                    <a:pt x="67" y="27"/>
                  </a:lnTo>
                  <a:lnTo>
                    <a:pt x="67" y="25"/>
                  </a:lnTo>
                  <a:lnTo>
                    <a:pt x="70" y="25"/>
                  </a:lnTo>
                  <a:lnTo>
                    <a:pt x="71" y="24"/>
                  </a:lnTo>
                  <a:lnTo>
                    <a:pt x="73" y="23"/>
                  </a:lnTo>
                  <a:lnTo>
                    <a:pt x="74" y="23"/>
                  </a:lnTo>
                  <a:lnTo>
                    <a:pt x="77" y="23"/>
                  </a:lnTo>
                  <a:lnTo>
                    <a:pt x="79" y="20"/>
                  </a:lnTo>
                  <a:lnTo>
                    <a:pt x="77" y="19"/>
                  </a:lnTo>
                  <a:lnTo>
                    <a:pt x="75" y="19"/>
                  </a:lnTo>
                  <a:lnTo>
                    <a:pt x="74" y="17"/>
                  </a:lnTo>
                  <a:lnTo>
                    <a:pt x="74" y="16"/>
                  </a:lnTo>
                  <a:lnTo>
                    <a:pt x="76" y="15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5" y="13"/>
                  </a:lnTo>
                  <a:lnTo>
                    <a:pt x="73" y="13"/>
                  </a:lnTo>
                  <a:lnTo>
                    <a:pt x="69" y="9"/>
                  </a:lnTo>
                  <a:lnTo>
                    <a:pt x="62" y="5"/>
                  </a:lnTo>
                  <a:lnTo>
                    <a:pt x="57" y="5"/>
                  </a:lnTo>
                  <a:lnTo>
                    <a:pt x="55" y="5"/>
                  </a:lnTo>
                  <a:lnTo>
                    <a:pt x="53" y="1"/>
                  </a:lnTo>
                  <a:lnTo>
                    <a:pt x="51" y="0"/>
                  </a:lnTo>
                  <a:lnTo>
                    <a:pt x="50" y="1"/>
                  </a:lnTo>
                  <a:lnTo>
                    <a:pt x="46" y="3"/>
                  </a:lnTo>
                  <a:lnTo>
                    <a:pt x="43" y="3"/>
                  </a:lnTo>
                  <a:lnTo>
                    <a:pt x="35" y="1"/>
                  </a:lnTo>
                  <a:lnTo>
                    <a:pt x="33" y="2"/>
                  </a:lnTo>
                  <a:lnTo>
                    <a:pt x="30" y="1"/>
                  </a:lnTo>
                  <a:lnTo>
                    <a:pt x="27" y="1"/>
                  </a:lnTo>
                  <a:lnTo>
                    <a:pt x="25" y="1"/>
                  </a:lnTo>
                  <a:lnTo>
                    <a:pt x="24" y="2"/>
                  </a:lnTo>
                  <a:lnTo>
                    <a:pt x="22" y="2"/>
                  </a:lnTo>
                  <a:lnTo>
                    <a:pt x="21" y="1"/>
                  </a:lnTo>
                  <a:lnTo>
                    <a:pt x="19" y="1"/>
                  </a:lnTo>
                  <a:lnTo>
                    <a:pt x="14" y="1"/>
                  </a:lnTo>
                  <a:lnTo>
                    <a:pt x="9" y="2"/>
                  </a:lnTo>
                  <a:lnTo>
                    <a:pt x="5" y="4"/>
                  </a:lnTo>
                  <a:lnTo>
                    <a:pt x="4" y="6"/>
                  </a:lnTo>
                  <a:lnTo>
                    <a:pt x="2" y="6"/>
                  </a:lnTo>
                  <a:lnTo>
                    <a:pt x="0" y="6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71" name="Freeform 1071"/>
            <p:cNvSpPr>
              <a:spLocks/>
            </p:cNvSpPr>
            <p:nvPr/>
          </p:nvSpPr>
          <p:spPr bwMode="auto">
            <a:xfrm>
              <a:off x="940" y="1170"/>
              <a:ext cx="22" cy="17"/>
            </a:xfrm>
            <a:custGeom>
              <a:avLst/>
              <a:gdLst>
                <a:gd name="T0" fmla="*/ 16 w 22"/>
                <a:gd name="T1" fmla="*/ 2 h 17"/>
                <a:gd name="T2" fmla="*/ 20 w 22"/>
                <a:gd name="T3" fmla="*/ 2 h 17"/>
                <a:gd name="T4" fmla="*/ 22 w 22"/>
                <a:gd name="T5" fmla="*/ 1 h 17"/>
                <a:gd name="T6" fmla="*/ 22 w 22"/>
                <a:gd name="T7" fmla="*/ 1 h 17"/>
                <a:gd name="T8" fmla="*/ 21 w 22"/>
                <a:gd name="T9" fmla="*/ 3 h 17"/>
                <a:gd name="T10" fmla="*/ 17 w 22"/>
                <a:gd name="T11" fmla="*/ 6 h 17"/>
                <a:gd name="T12" fmla="*/ 14 w 22"/>
                <a:gd name="T13" fmla="*/ 8 h 17"/>
                <a:gd name="T14" fmla="*/ 12 w 22"/>
                <a:gd name="T15" fmla="*/ 11 h 17"/>
                <a:gd name="T16" fmla="*/ 8 w 22"/>
                <a:gd name="T17" fmla="*/ 14 h 17"/>
                <a:gd name="T18" fmla="*/ 5 w 22"/>
                <a:gd name="T19" fmla="*/ 16 h 17"/>
                <a:gd name="T20" fmla="*/ 5 w 22"/>
                <a:gd name="T21" fmla="*/ 15 h 17"/>
                <a:gd name="T22" fmla="*/ 3 w 22"/>
                <a:gd name="T23" fmla="*/ 15 h 17"/>
                <a:gd name="T24" fmla="*/ 2 w 22"/>
                <a:gd name="T25" fmla="*/ 15 h 17"/>
                <a:gd name="T26" fmla="*/ 0 w 22"/>
                <a:gd name="T27" fmla="*/ 17 h 17"/>
                <a:gd name="T28" fmla="*/ 0 w 22"/>
                <a:gd name="T29" fmla="*/ 16 h 17"/>
                <a:gd name="T30" fmla="*/ 0 w 22"/>
                <a:gd name="T31" fmla="*/ 16 h 17"/>
                <a:gd name="T32" fmla="*/ 1 w 22"/>
                <a:gd name="T33" fmla="*/ 14 h 17"/>
                <a:gd name="T34" fmla="*/ 1 w 22"/>
                <a:gd name="T35" fmla="*/ 14 h 17"/>
                <a:gd name="T36" fmla="*/ 3 w 22"/>
                <a:gd name="T37" fmla="*/ 13 h 17"/>
                <a:gd name="T38" fmla="*/ 3 w 22"/>
                <a:gd name="T39" fmla="*/ 12 h 17"/>
                <a:gd name="T40" fmla="*/ 1 w 22"/>
                <a:gd name="T41" fmla="*/ 12 h 17"/>
                <a:gd name="T42" fmla="*/ 1 w 22"/>
                <a:gd name="T43" fmla="*/ 11 h 17"/>
                <a:gd name="T44" fmla="*/ 0 w 22"/>
                <a:gd name="T45" fmla="*/ 10 h 17"/>
                <a:gd name="T46" fmla="*/ 2 w 22"/>
                <a:gd name="T47" fmla="*/ 4 h 17"/>
                <a:gd name="T48" fmla="*/ 1 w 22"/>
                <a:gd name="T49" fmla="*/ 4 h 17"/>
                <a:gd name="T50" fmla="*/ 4 w 22"/>
                <a:gd name="T51" fmla="*/ 0 h 17"/>
                <a:gd name="T52" fmla="*/ 11 w 22"/>
                <a:gd name="T53" fmla="*/ 1 h 17"/>
                <a:gd name="T54" fmla="*/ 11 w 22"/>
                <a:gd name="T55" fmla="*/ 1 h 17"/>
                <a:gd name="T56" fmla="*/ 8 w 22"/>
                <a:gd name="T57" fmla="*/ 3 h 17"/>
                <a:gd name="T58" fmla="*/ 7 w 22"/>
                <a:gd name="T59" fmla="*/ 4 h 17"/>
                <a:gd name="T60" fmla="*/ 10 w 22"/>
                <a:gd name="T61" fmla="*/ 3 h 17"/>
                <a:gd name="T62" fmla="*/ 12 w 22"/>
                <a:gd name="T63" fmla="*/ 2 h 17"/>
                <a:gd name="T64" fmla="*/ 14 w 22"/>
                <a:gd name="T65" fmla="*/ 1 h 17"/>
                <a:gd name="T66" fmla="*/ 13 w 22"/>
                <a:gd name="T67" fmla="*/ 3 h 17"/>
                <a:gd name="T68" fmla="*/ 11 w 22"/>
                <a:gd name="T69" fmla="*/ 6 h 17"/>
                <a:gd name="T70" fmla="*/ 10 w 22"/>
                <a:gd name="T71" fmla="*/ 6 h 17"/>
                <a:gd name="T72" fmla="*/ 3 w 22"/>
                <a:gd name="T73" fmla="*/ 8 h 17"/>
                <a:gd name="T74" fmla="*/ 6 w 22"/>
                <a:gd name="T75" fmla="*/ 8 h 17"/>
                <a:gd name="T76" fmla="*/ 5 w 22"/>
                <a:gd name="T77" fmla="*/ 10 h 17"/>
                <a:gd name="T78" fmla="*/ 6 w 22"/>
                <a:gd name="T79" fmla="*/ 10 h 17"/>
                <a:gd name="T80" fmla="*/ 10 w 22"/>
                <a:gd name="T81" fmla="*/ 8 h 17"/>
                <a:gd name="T82" fmla="*/ 11 w 22"/>
                <a:gd name="T83" fmla="*/ 7 h 17"/>
                <a:gd name="T84" fmla="*/ 14 w 22"/>
                <a:gd name="T85" fmla="*/ 5 h 17"/>
                <a:gd name="T86" fmla="*/ 16 w 22"/>
                <a:gd name="T87" fmla="*/ 3 h 17"/>
                <a:gd name="T88" fmla="*/ 16 w 22"/>
                <a:gd name="T8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2" h="17">
                  <a:moveTo>
                    <a:pt x="16" y="2"/>
                  </a:moveTo>
                  <a:lnTo>
                    <a:pt x="20" y="2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1" y="3"/>
                  </a:lnTo>
                  <a:lnTo>
                    <a:pt x="17" y="6"/>
                  </a:lnTo>
                  <a:lnTo>
                    <a:pt x="14" y="8"/>
                  </a:lnTo>
                  <a:lnTo>
                    <a:pt x="12" y="11"/>
                  </a:lnTo>
                  <a:lnTo>
                    <a:pt x="8" y="14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3" y="15"/>
                  </a:lnTo>
                  <a:lnTo>
                    <a:pt x="2" y="15"/>
                  </a:lnTo>
                  <a:lnTo>
                    <a:pt x="0" y="17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10"/>
                  </a:lnTo>
                  <a:lnTo>
                    <a:pt x="2" y="4"/>
                  </a:lnTo>
                  <a:lnTo>
                    <a:pt x="1" y="4"/>
                  </a:lnTo>
                  <a:lnTo>
                    <a:pt x="4" y="0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8" y="3"/>
                  </a:lnTo>
                  <a:lnTo>
                    <a:pt x="7" y="4"/>
                  </a:lnTo>
                  <a:lnTo>
                    <a:pt x="10" y="3"/>
                  </a:lnTo>
                  <a:lnTo>
                    <a:pt x="12" y="2"/>
                  </a:lnTo>
                  <a:lnTo>
                    <a:pt x="14" y="1"/>
                  </a:lnTo>
                  <a:lnTo>
                    <a:pt x="13" y="3"/>
                  </a:lnTo>
                  <a:lnTo>
                    <a:pt x="11" y="6"/>
                  </a:lnTo>
                  <a:lnTo>
                    <a:pt x="10" y="6"/>
                  </a:lnTo>
                  <a:lnTo>
                    <a:pt x="3" y="8"/>
                  </a:lnTo>
                  <a:lnTo>
                    <a:pt x="6" y="8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10" y="8"/>
                  </a:lnTo>
                  <a:lnTo>
                    <a:pt x="11" y="7"/>
                  </a:lnTo>
                  <a:lnTo>
                    <a:pt x="14" y="5"/>
                  </a:lnTo>
                  <a:lnTo>
                    <a:pt x="16" y="3"/>
                  </a:lnTo>
                  <a:lnTo>
                    <a:pt x="16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72" name="Freeform 1072"/>
            <p:cNvSpPr>
              <a:spLocks/>
            </p:cNvSpPr>
            <p:nvPr/>
          </p:nvSpPr>
          <p:spPr bwMode="auto">
            <a:xfrm>
              <a:off x="940" y="1170"/>
              <a:ext cx="22" cy="17"/>
            </a:xfrm>
            <a:custGeom>
              <a:avLst/>
              <a:gdLst>
                <a:gd name="T0" fmla="*/ 16 w 22"/>
                <a:gd name="T1" fmla="*/ 2 h 17"/>
                <a:gd name="T2" fmla="*/ 20 w 22"/>
                <a:gd name="T3" fmla="*/ 2 h 17"/>
                <a:gd name="T4" fmla="*/ 22 w 22"/>
                <a:gd name="T5" fmla="*/ 1 h 17"/>
                <a:gd name="T6" fmla="*/ 22 w 22"/>
                <a:gd name="T7" fmla="*/ 1 h 17"/>
                <a:gd name="T8" fmla="*/ 21 w 22"/>
                <a:gd name="T9" fmla="*/ 3 h 17"/>
                <a:gd name="T10" fmla="*/ 17 w 22"/>
                <a:gd name="T11" fmla="*/ 6 h 17"/>
                <a:gd name="T12" fmla="*/ 14 w 22"/>
                <a:gd name="T13" fmla="*/ 8 h 17"/>
                <a:gd name="T14" fmla="*/ 12 w 22"/>
                <a:gd name="T15" fmla="*/ 11 h 17"/>
                <a:gd name="T16" fmla="*/ 8 w 22"/>
                <a:gd name="T17" fmla="*/ 14 h 17"/>
                <a:gd name="T18" fmla="*/ 5 w 22"/>
                <a:gd name="T19" fmla="*/ 16 h 17"/>
                <a:gd name="T20" fmla="*/ 5 w 22"/>
                <a:gd name="T21" fmla="*/ 15 h 17"/>
                <a:gd name="T22" fmla="*/ 3 w 22"/>
                <a:gd name="T23" fmla="*/ 15 h 17"/>
                <a:gd name="T24" fmla="*/ 2 w 22"/>
                <a:gd name="T25" fmla="*/ 15 h 17"/>
                <a:gd name="T26" fmla="*/ 0 w 22"/>
                <a:gd name="T27" fmla="*/ 17 h 17"/>
                <a:gd name="T28" fmla="*/ 0 w 22"/>
                <a:gd name="T29" fmla="*/ 16 h 17"/>
                <a:gd name="T30" fmla="*/ 0 w 22"/>
                <a:gd name="T31" fmla="*/ 16 h 17"/>
                <a:gd name="T32" fmla="*/ 1 w 22"/>
                <a:gd name="T33" fmla="*/ 14 h 17"/>
                <a:gd name="T34" fmla="*/ 1 w 22"/>
                <a:gd name="T35" fmla="*/ 14 h 17"/>
                <a:gd name="T36" fmla="*/ 3 w 22"/>
                <a:gd name="T37" fmla="*/ 13 h 17"/>
                <a:gd name="T38" fmla="*/ 3 w 22"/>
                <a:gd name="T39" fmla="*/ 12 h 17"/>
                <a:gd name="T40" fmla="*/ 1 w 22"/>
                <a:gd name="T41" fmla="*/ 12 h 17"/>
                <a:gd name="T42" fmla="*/ 1 w 22"/>
                <a:gd name="T43" fmla="*/ 11 h 17"/>
                <a:gd name="T44" fmla="*/ 0 w 22"/>
                <a:gd name="T45" fmla="*/ 10 h 17"/>
                <a:gd name="T46" fmla="*/ 2 w 22"/>
                <a:gd name="T47" fmla="*/ 4 h 17"/>
                <a:gd name="T48" fmla="*/ 1 w 22"/>
                <a:gd name="T49" fmla="*/ 4 h 17"/>
                <a:gd name="T50" fmla="*/ 4 w 22"/>
                <a:gd name="T51" fmla="*/ 0 h 17"/>
                <a:gd name="T52" fmla="*/ 11 w 22"/>
                <a:gd name="T53" fmla="*/ 1 h 17"/>
                <a:gd name="T54" fmla="*/ 11 w 22"/>
                <a:gd name="T55" fmla="*/ 1 h 17"/>
                <a:gd name="T56" fmla="*/ 8 w 22"/>
                <a:gd name="T57" fmla="*/ 3 h 17"/>
                <a:gd name="T58" fmla="*/ 7 w 22"/>
                <a:gd name="T59" fmla="*/ 4 h 17"/>
                <a:gd name="T60" fmla="*/ 10 w 22"/>
                <a:gd name="T61" fmla="*/ 3 h 17"/>
                <a:gd name="T62" fmla="*/ 12 w 22"/>
                <a:gd name="T63" fmla="*/ 2 h 17"/>
                <a:gd name="T64" fmla="*/ 14 w 22"/>
                <a:gd name="T65" fmla="*/ 1 h 17"/>
                <a:gd name="T66" fmla="*/ 13 w 22"/>
                <a:gd name="T67" fmla="*/ 3 h 17"/>
                <a:gd name="T68" fmla="*/ 11 w 22"/>
                <a:gd name="T69" fmla="*/ 6 h 17"/>
                <a:gd name="T70" fmla="*/ 10 w 22"/>
                <a:gd name="T71" fmla="*/ 6 h 17"/>
                <a:gd name="T72" fmla="*/ 3 w 22"/>
                <a:gd name="T73" fmla="*/ 8 h 17"/>
                <a:gd name="T74" fmla="*/ 6 w 22"/>
                <a:gd name="T75" fmla="*/ 8 h 17"/>
                <a:gd name="T76" fmla="*/ 5 w 22"/>
                <a:gd name="T77" fmla="*/ 10 h 17"/>
                <a:gd name="T78" fmla="*/ 6 w 22"/>
                <a:gd name="T79" fmla="*/ 10 h 17"/>
                <a:gd name="T80" fmla="*/ 10 w 22"/>
                <a:gd name="T81" fmla="*/ 8 h 17"/>
                <a:gd name="T82" fmla="*/ 11 w 22"/>
                <a:gd name="T83" fmla="*/ 7 h 17"/>
                <a:gd name="T84" fmla="*/ 14 w 22"/>
                <a:gd name="T85" fmla="*/ 5 h 17"/>
                <a:gd name="T86" fmla="*/ 16 w 22"/>
                <a:gd name="T87" fmla="*/ 3 h 17"/>
                <a:gd name="T88" fmla="*/ 16 w 22"/>
                <a:gd name="T89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2" h="17">
                  <a:moveTo>
                    <a:pt x="16" y="2"/>
                  </a:moveTo>
                  <a:lnTo>
                    <a:pt x="20" y="2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1" y="3"/>
                  </a:lnTo>
                  <a:lnTo>
                    <a:pt x="17" y="6"/>
                  </a:lnTo>
                  <a:lnTo>
                    <a:pt x="14" y="8"/>
                  </a:lnTo>
                  <a:lnTo>
                    <a:pt x="12" y="11"/>
                  </a:lnTo>
                  <a:lnTo>
                    <a:pt x="8" y="14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3" y="15"/>
                  </a:lnTo>
                  <a:lnTo>
                    <a:pt x="2" y="15"/>
                  </a:lnTo>
                  <a:lnTo>
                    <a:pt x="0" y="17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10"/>
                  </a:lnTo>
                  <a:lnTo>
                    <a:pt x="2" y="4"/>
                  </a:lnTo>
                  <a:lnTo>
                    <a:pt x="1" y="4"/>
                  </a:lnTo>
                  <a:lnTo>
                    <a:pt x="4" y="0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8" y="3"/>
                  </a:lnTo>
                  <a:lnTo>
                    <a:pt x="7" y="4"/>
                  </a:lnTo>
                  <a:lnTo>
                    <a:pt x="10" y="3"/>
                  </a:lnTo>
                  <a:lnTo>
                    <a:pt x="12" y="2"/>
                  </a:lnTo>
                  <a:lnTo>
                    <a:pt x="14" y="1"/>
                  </a:lnTo>
                  <a:lnTo>
                    <a:pt x="13" y="3"/>
                  </a:lnTo>
                  <a:lnTo>
                    <a:pt x="11" y="6"/>
                  </a:lnTo>
                  <a:lnTo>
                    <a:pt x="10" y="6"/>
                  </a:lnTo>
                  <a:lnTo>
                    <a:pt x="3" y="8"/>
                  </a:lnTo>
                  <a:lnTo>
                    <a:pt x="6" y="8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10" y="8"/>
                  </a:lnTo>
                  <a:lnTo>
                    <a:pt x="11" y="7"/>
                  </a:lnTo>
                  <a:lnTo>
                    <a:pt x="14" y="5"/>
                  </a:lnTo>
                  <a:lnTo>
                    <a:pt x="16" y="3"/>
                  </a:lnTo>
                  <a:lnTo>
                    <a:pt x="16" y="2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73" name="Freeform 1073"/>
            <p:cNvSpPr>
              <a:spLocks/>
            </p:cNvSpPr>
            <p:nvPr/>
          </p:nvSpPr>
          <p:spPr bwMode="auto">
            <a:xfrm>
              <a:off x="936" y="1185"/>
              <a:ext cx="12" cy="20"/>
            </a:xfrm>
            <a:custGeom>
              <a:avLst/>
              <a:gdLst>
                <a:gd name="T0" fmla="*/ 0 w 12"/>
                <a:gd name="T1" fmla="*/ 10 h 20"/>
                <a:gd name="T2" fmla="*/ 1 w 12"/>
                <a:gd name="T3" fmla="*/ 9 h 20"/>
                <a:gd name="T4" fmla="*/ 4 w 12"/>
                <a:gd name="T5" fmla="*/ 6 h 20"/>
                <a:gd name="T6" fmla="*/ 1 w 12"/>
                <a:gd name="T7" fmla="*/ 8 h 20"/>
                <a:gd name="T8" fmla="*/ 1 w 12"/>
                <a:gd name="T9" fmla="*/ 7 h 20"/>
                <a:gd name="T10" fmla="*/ 2 w 12"/>
                <a:gd name="T11" fmla="*/ 6 h 20"/>
                <a:gd name="T12" fmla="*/ 4 w 12"/>
                <a:gd name="T13" fmla="*/ 5 h 20"/>
                <a:gd name="T14" fmla="*/ 1 w 12"/>
                <a:gd name="T15" fmla="*/ 5 h 20"/>
                <a:gd name="T16" fmla="*/ 8 w 12"/>
                <a:gd name="T17" fmla="*/ 2 h 20"/>
                <a:gd name="T18" fmla="*/ 12 w 12"/>
                <a:gd name="T19" fmla="*/ 0 h 20"/>
                <a:gd name="T20" fmla="*/ 12 w 12"/>
                <a:gd name="T21" fmla="*/ 1 h 20"/>
                <a:gd name="T22" fmla="*/ 12 w 12"/>
                <a:gd name="T23" fmla="*/ 3 h 20"/>
                <a:gd name="T24" fmla="*/ 9 w 12"/>
                <a:gd name="T25" fmla="*/ 3 h 20"/>
                <a:gd name="T26" fmla="*/ 8 w 12"/>
                <a:gd name="T27" fmla="*/ 5 h 20"/>
                <a:gd name="T28" fmla="*/ 11 w 12"/>
                <a:gd name="T29" fmla="*/ 5 h 20"/>
                <a:gd name="T30" fmla="*/ 10 w 12"/>
                <a:gd name="T31" fmla="*/ 6 h 20"/>
                <a:gd name="T32" fmla="*/ 8 w 12"/>
                <a:gd name="T33" fmla="*/ 7 h 20"/>
                <a:gd name="T34" fmla="*/ 7 w 12"/>
                <a:gd name="T35" fmla="*/ 7 h 20"/>
                <a:gd name="T36" fmla="*/ 6 w 12"/>
                <a:gd name="T37" fmla="*/ 7 h 20"/>
                <a:gd name="T38" fmla="*/ 5 w 12"/>
                <a:gd name="T39" fmla="*/ 9 h 20"/>
                <a:gd name="T40" fmla="*/ 4 w 12"/>
                <a:gd name="T41" fmla="*/ 9 h 20"/>
                <a:gd name="T42" fmla="*/ 4 w 12"/>
                <a:gd name="T43" fmla="*/ 10 h 20"/>
                <a:gd name="T44" fmla="*/ 2 w 12"/>
                <a:gd name="T45" fmla="*/ 12 h 20"/>
                <a:gd name="T46" fmla="*/ 6 w 12"/>
                <a:gd name="T47" fmla="*/ 13 h 20"/>
                <a:gd name="T48" fmla="*/ 5 w 12"/>
                <a:gd name="T49" fmla="*/ 15 h 20"/>
                <a:gd name="T50" fmla="*/ 6 w 12"/>
                <a:gd name="T51" fmla="*/ 15 h 20"/>
                <a:gd name="T52" fmla="*/ 6 w 12"/>
                <a:gd name="T53" fmla="*/ 17 h 20"/>
                <a:gd name="T54" fmla="*/ 6 w 12"/>
                <a:gd name="T55" fmla="*/ 19 h 20"/>
                <a:gd name="T56" fmla="*/ 5 w 12"/>
                <a:gd name="T57" fmla="*/ 20 h 20"/>
                <a:gd name="T58" fmla="*/ 4 w 12"/>
                <a:gd name="T59" fmla="*/ 20 h 20"/>
                <a:gd name="T60" fmla="*/ 2 w 12"/>
                <a:gd name="T61" fmla="*/ 18 h 20"/>
                <a:gd name="T62" fmla="*/ 1 w 12"/>
                <a:gd name="T63" fmla="*/ 16 h 20"/>
                <a:gd name="T64" fmla="*/ 1 w 12"/>
                <a:gd name="T65" fmla="*/ 16 h 20"/>
                <a:gd name="T66" fmla="*/ 2 w 12"/>
                <a:gd name="T67" fmla="*/ 15 h 20"/>
                <a:gd name="T68" fmla="*/ 2 w 12"/>
                <a:gd name="T69" fmla="*/ 15 h 20"/>
                <a:gd name="T70" fmla="*/ 1 w 12"/>
                <a:gd name="T71" fmla="*/ 15 h 20"/>
                <a:gd name="T72" fmla="*/ 1 w 12"/>
                <a:gd name="T73" fmla="*/ 12 h 20"/>
                <a:gd name="T74" fmla="*/ 1 w 12"/>
                <a:gd name="T75" fmla="*/ 10 h 20"/>
                <a:gd name="T76" fmla="*/ 0 w 12"/>
                <a:gd name="T7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" h="20">
                  <a:moveTo>
                    <a:pt x="0" y="10"/>
                  </a:moveTo>
                  <a:lnTo>
                    <a:pt x="1" y="9"/>
                  </a:lnTo>
                  <a:lnTo>
                    <a:pt x="4" y="6"/>
                  </a:lnTo>
                  <a:lnTo>
                    <a:pt x="1" y="8"/>
                  </a:lnTo>
                  <a:lnTo>
                    <a:pt x="1" y="7"/>
                  </a:lnTo>
                  <a:lnTo>
                    <a:pt x="2" y="6"/>
                  </a:lnTo>
                  <a:lnTo>
                    <a:pt x="4" y="5"/>
                  </a:lnTo>
                  <a:lnTo>
                    <a:pt x="1" y="5"/>
                  </a:lnTo>
                  <a:lnTo>
                    <a:pt x="8" y="2"/>
                  </a:lnTo>
                  <a:lnTo>
                    <a:pt x="12" y="0"/>
                  </a:lnTo>
                  <a:lnTo>
                    <a:pt x="12" y="1"/>
                  </a:lnTo>
                  <a:lnTo>
                    <a:pt x="12" y="3"/>
                  </a:lnTo>
                  <a:lnTo>
                    <a:pt x="9" y="3"/>
                  </a:lnTo>
                  <a:lnTo>
                    <a:pt x="8" y="5"/>
                  </a:lnTo>
                  <a:lnTo>
                    <a:pt x="11" y="5"/>
                  </a:lnTo>
                  <a:lnTo>
                    <a:pt x="10" y="6"/>
                  </a:lnTo>
                  <a:lnTo>
                    <a:pt x="8" y="7"/>
                  </a:lnTo>
                  <a:lnTo>
                    <a:pt x="7" y="7"/>
                  </a:lnTo>
                  <a:lnTo>
                    <a:pt x="6" y="7"/>
                  </a:lnTo>
                  <a:lnTo>
                    <a:pt x="5" y="9"/>
                  </a:lnTo>
                  <a:lnTo>
                    <a:pt x="4" y="9"/>
                  </a:lnTo>
                  <a:lnTo>
                    <a:pt x="4" y="10"/>
                  </a:lnTo>
                  <a:lnTo>
                    <a:pt x="2" y="12"/>
                  </a:lnTo>
                  <a:lnTo>
                    <a:pt x="6" y="13"/>
                  </a:lnTo>
                  <a:lnTo>
                    <a:pt x="5" y="15"/>
                  </a:lnTo>
                  <a:lnTo>
                    <a:pt x="6" y="15"/>
                  </a:lnTo>
                  <a:lnTo>
                    <a:pt x="6" y="17"/>
                  </a:lnTo>
                  <a:lnTo>
                    <a:pt x="6" y="19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2" y="18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74" name="Freeform 1074"/>
            <p:cNvSpPr>
              <a:spLocks/>
            </p:cNvSpPr>
            <p:nvPr/>
          </p:nvSpPr>
          <p:spPr bwMode="auto">
            <a:xfrm>
              <a:off x="936" y="1185"/>
              <a:ext cx="12" cy="20"/>
            </a:xfrm>
            <a:custGeom>
              <a:avLst/>
              <a:gdLst>
                <a:gd name="T0" fmla="*/ 0 w 12"/>
                <a:gd name="T1" fmla="*/ 10 h 20"/>
                <a:gd name="T2" fmla="*/ 1 w 12"/>
                <a:gd name="T3" fmla="*/ 9 h 20"/>
                <a:gd name="T4" fmla="*/ 4 w 12"/>
                <a:gd name="T5" fmla="*/ 6 h 20"/>
                <a:gd name="T6" fmla="*/ 1 w 12"/>
                <a:gd name="T7" fmla="*/ 8 h 20"/>
                <a:gd name="T8" fmla="*/ 1 w 12"/>
                <a:gd name="T9" fmla="*/ 7 h 20"/>
                <a:gd name="T10" fmla="*/ 2 w 12"/>
                <a:gd name="T11" fmla="*/ 6 h 20"/>
                <a:gd name="T12" fmla="*/ 4 w 12"/>
                <a:gd name="T13" fmla="*/ 5 h 20"/>
                <a:gd name="T14" fmla="*/ 1 w 12"/>
                <a:gd name="T15" fmla="*/ 5 h 20"/>
                <a:gd name="T16" fmla="*/ 8 w 12"/>
                <a:gd name="T17" fmla="*/ 2 h 20"/>
                <a:gd name="T18" fmla="*/ 12 w 12"/>
                <a:gd name="T19" fmla="*/ 0 h 20"/>
                <a:gd name="T20" fmla="*/ 12 w 12"/>
                <a:gd name="T21" fmla="*/ 1 h 20"/>
                <a:gd name="T22" fmla="*/ 12 w 12"/>
                <a:gd name="T23" fmla="*/ 3 h 20"/>
                <a:gd name="T24" fmla="*/ 9 w 12"/>
                <a:gd name="T25" fmla="*/ 3 h 20"/>
                <a:gd name="T26" fmla="*/ 8 w 12"/>
                <a:gd name="T27" fmla="*/ 5 h 20"/>
                <a:gd name="T28" fmla="*/ 11 w 12"/>
                <a:gd name="T29" fmla="*/ 5 h 20"/>
                <a:gd name="T30" fmla="*/ 10 w 12"/>
                <a:gd name="T31" fmla="*/ 6 h 20"/>
                <a:gd name="T32" fmla="*/ 8 w 12"/>
                <a:gd name="T33" fmla="*/ 7 h 20"/>
                <a:gd name="T34" fmla="*/ 7 w 12"/>
                <a:gd name="T35" fmla="*/ 7 h 20"/>
                <a:gd name="T36" fmla="*/ 6 w 12"/>
                <a:gd name="T37" fmla="*/ 7 h 20"/>
                <a:gd name="T38" fmla="*/ 5 w 12"/>
                <a:gd name="T39" fmla="*/ 9 h 20"/>
                <a:gd name="T40" fmla="*/ 4 w 12"/>
                <a:gd name="T41" fmla="*/ 9 h 20"/>
                <a:gd name="T42" fmla="*/ 4 w 12"/>
                <a:gd name="T43" fmla="*/ 10 h 20"/>
                <a:gd name="T44" fmla="*/ 2 w 12"/>
                <a:gd name="T45" fmla="*/ 12 h 20"/>
                <a:gd name="T46" fmla="*/ 6 w 12"/>
                <a:gd name="T47" fmla="*/ 13 h 20"/>
                <a:gd name="T48" fmla="*/ 5 w 12"/>
                <a:gd name="T49" fmla="*/ 15 h 20"/>
                <a:gd name="T50" fmla="*/ 6 w 12"/>
                <a:gd name="T51" fmla="*/ 15 h 20"/>
                <a:gd name="T52" fmla="*/ 6 w 12"/>
                <a:gd name="T53" fmla="*/ 17 h 20"/>
                <a:gd name="T54" fmla="*/ 6 w 12"/>
                <a:gd name="T55" fmla="*/ 19 h 20"/>
                <a:gd name="T56" fmla="*/ 5 w 12"/>
                <a:gd name="T57" fmla="*/ 20 h 20"/>
                <a:gd name="T58" fmla="*/ 4 w 12"/>
                <a:gd name="T59" fmla="*/ 20 h 20"/>
                <a:gd name="T60" fmla="*/ 2 w 12"/>
                <a:gd name="T61" fmla="*/ 18 h 20"/>
                <a:gd name="T62" fmla="*/ 1 w 12"/>
                <a:gd name="T63" fmla="*/ 16 h 20"/>
                <a:gd name="T64" fmla="*/ 1 w 12"/>
                <a:gd name="T65" fmla="*/ 16 h 20"/>
                <a:gd name="T66" fmla="*/ 2 w 12"/>
                <a:gd name="T67" fmla="*/ 15 h 20"/>
                <a:gd name="T68" fmla="*/ 2 w 12"/>
                <a:gd name="T69" fmla="*/ 15 h 20"/>
                <a:gd name="T70" fmla="*/ 1 w 12"/>
                <a:gd name="T71" fmla="*/ 15 h 20"/>
                <a:gd name="T72" fmla="*/ 1 w 12"/>
                <a:gd name="T73" fmla="*/ 12 h 20"/>
                <a:gd name="T74" fmla="*/ 1 w 12"/>
                <a:gd name="T75" fmla="*/ 10 h 20"/>
                <a:gd name="T76" fmla="*/ 0 w 12"/>
                <a:gd name="T77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" h="20">
                  <a:moveTo>
                    <a:pt x="0" y="10"/>
                  </a:moveTo>
                  <a:lnTo>
                    <a:pt x="1" y="9"/>
                  </a:lnTo>
                  <a:lnTo>
                    <a:pt x="4" y="6"/>
                  </a:lnTo>
                  <a:lnTo>
                    <a:pt x="1" y="8"/>
                  </a:lnTo>
                  <a:lnTo>
                    <a:pt x="1" y="7"/>
                  </a:lnTo>
                  <a:lnTo>
                    <a:pt x="2" y="6"/>
                  </a:lnTo>
                  <a:lnTo>
                    <a:pt x="4" y="5"/>
                  </a:lnTo>
                  <a:lnTo>
                    <a:pt x="1" y="5"/>
                  </a:lnTo>
                  <a:lnTo>
                    <a:pt x="8" y="2"/>
                  </a:lnTo>
                  <a:lnTo>
                    <a:pt x="12" y="0"/>
                  </a:lnTo>
                  <a:lnTo>
                    <a:pt x="12" y="1"/>
                  </a:lnTo>
                  <a:lnTo>
                    <a:pt x="12" y="3"/>
                  </a:lnTo>
                  <a:lnTo>
                    <a:pt x="9" y="3"/>
                  </a:lnTo>
                  <a:lnTo>
                    <a:pt x="8" y="5"/>
                  </a:lnTo>
                  <a:lnTo>
                    <a:pt x="11" y="5"/>
                  </a:lnTo>
                  <a:lnTo>
                    <a:pt x="10" y="6"/>
                  </a:lnTo>
                  <a:lnTo>
                    <a:pt x="8" y="7"/>
                  </a:lnTo>
                  <a:lnTo>
                    <a:pt x="7" y="7"/>
                  </a:lnTo>
                  <a:lnTo>
                    <a:pt x="6" y="7"/>
                  </a:lnTo>
                  <a:lnTo>
                    <a:pt x="5" y="9"/>
                  </a:lnTo>
                  <a:lnTo>
                    <a:pt x="4" y="9"/>
                  </a:lnTo>
                  <a:lnTo>
                    <a:pt x="4" y="10"/>
                  </a:lnTo>
                  <a:lnTo>
                    <a:pt x="2" y="12"/>
                  </a:lnTo>
                  <a:lnTo>
                    <a:pt x="6" y="13"/>
                  </a:lnTo>
                  <a:lnTo>
                    <a:pt x="5" y="15"/>
                  </a:lnTo>
                  <a:lnTo>
                    <a:pt x="6" y="15"/>
                  </a:lnTo>
                  <a:lnTo>
                    <a:pt x="6" y="17"/>
                  </a:lnTo>
                  <a:lnTo>
                    <a:pt x="6" y="19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2" y="18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1" y="12"/>
                  </a:lnTo>
                  <a:lnTo>
                    <a:pt x="1" y="10"/>
                  </a:lnTo>
                  <a:lnTo>
                    <a:pt x="0" y="1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75" name="Freeform 1075"/>
            <p:cNvSpPr>
              <a:spLocks/>
            </p:cNvSpPr>
            <p:nvPr/>
          </p:nvSpPr>
          <p:spPr bwMode="auto">
            <a:xfrm>
              <a:off x="975" y="1172"/>
              <a:ext cx="4" cy="3"/>
            </a:xfrm>
            <a:custGeom>
              <a:avLst/>
              <a:gdLst>
                <a:gd name="T0" fmla="*/ 0 w 4"/>
                <a:gd name="T1" fmla="*/ 2 h 3"/>
                <a:gd name="T2" fmla="*/ 1 w 4"/>
                <a:gd name="T3" fmla="*/ 1 h 3"/>
                <a:gd name="T4" fmla="*/ 4 w 4"/>
                <a:gd name="T5" fmla="*/ 0 h 3"/>
                <a:gd name="T6" fmla="*/ 4 w 4"/>
                <a:gd name="T7" fmla="*/ 1 h 3"/>
                <a:gd name="T8" fmla="*/ 4 w 4"/>
                <a:gd name="T9" fmla="*/ 2 h 3"/>
                <a:gd name="T10" fmla="*/ 1 w 4"/>
                <a:gd name="T11" fmla="*/ 3 h 3"/>
                <a:gd name="T12" fmla="*/ 0 w 4"/>
                <a:gd name="T13" fmla="*/ 2 h 3"/>
                <a:gd name="T14" fmla="*/ 0 w 4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1" y="1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76" name="Freeform 1076"/>
            <p:cNvSpPr>
              <a:spLocks/>
            </p:cNvSpPr>
            <p:nvPr/>
          </p:nvSpPr>
          <p:spPr bwMode="auto">
            <a:xfrm>
              <a:off x="975" y="1172"/>
              <a:ext cx="4" cy="3"/>
            </a:xfrm>
            <a:custGeom>
              <a:avLst/>
              <a:gdLst>
                <a:gd name="T0" fmla="*/ 0 w 4"/>
                <a:gd name="T1" fmla="*/ 2 h 3"/>
                <a:gd name="T2" fmla="*/ 1 w 4"/>
                <a:gd name="T3" fmla="*/ 1 h 3"/>
                <a:gd name="T4" fmla="*/ 4 w 4"/>
                <a:gd name="T5" fmla="*/ 0 h 3"/>
                <a:gd name="T6" fmla="*/ 4 w 4"/>
                <a:gd name="T7" fmla="*/ 1 h 3"/>
                <a:gd name="T8" fmla="*/ 4 w 4"/>
                <a:gd name="T9" fmla="*/ 2 h 3"/>
                <a:gd name="T10" fmla="*/ 1 w 4"/>
                <a:gd name="T11" fmla="*/ 3 h 3"/>
                <a:gd name="T12" fmla="*/ 0 w 4"/>
                <a:gd name="T13" fmla="*/ 2 h 3"/>
                <a:gd name="T14" fmla="*/ 0 w 4"/>
                <a:gd name="T15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1" y="1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77" name="Freeform 1077"/>
            <p:cNvSpPr>
              <a:spLocks/>
            </p:cNvSpPr>
            <p:nvPr/>
          </p:nvSpPr>
          <p:spPr bwMode="auto">
            <a:xfrm>
              <a:off x="972" y="1180"/>
              <a:ext cx="4" cy="7"/>
            </a:xfrm>
            <a:custGeom>
              <a:avLst/>
              <a:gdLst>
                <a:gd name="T0" fmla="*/ 0 w 4"/>
                <a:gd name="T1" fmla="*/ 0 h 7"/>
                <a:gd name="T2" fmla="*/ 2 w 4"/>
                <a:gd name="T3" fmla="*/ 0 h 7"/>
                <a:gd name="T4" fmla="*/ 4 w 4"/>
                <a:gd name="T5" fmla="*/ 2 h 7"/>
                <a:gd name="T6" fmla="*/ 4 w 4"/>
                <a:gd name="T7" fmla="*/ 3 h 7"/>
                <a:gd name="T8" fmla="*/ 3 w 4"/>
                <a:gd name="T9" fmla="*/ 6 h 7"/>
                <a:gd name="T10" fmla="*/ 3 w 4"/>
                <a:gd name="T11" fmla="*/ 7 h 7"/>
                <a:gd name="T12" fmla="*/ 2 w 4"/>
                <a:gd name="T13" fmla="*/ 7 h 7"/>
                <a:gd name="T14" fmla="*/ 2 w 4"/>
                <a:gd name="T15" fmla="*/ 4 h 7"/>
                <a:gd name="T16" fmla="*/ 0 w 4"/>
                <a:gd name="T17" fmla="*/ 3 h 7"/>
                <a:gd name="T18" fmla="*/ 0 w 4"/>
                <a:gd name="T19" fmla="*/ 2 h 7"/>
                <a:gd name="T20" fmla="*/ 0 w 4"/>
                <a:gd name="T21" fmla="*/ 1 h 7"/>
                <a:gd name="T22" fmla="*/ 0 w 4"/>
                <a:gd name="T2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7">
                  <a:moveTo>
                    <a:pt x="0" y="0"/>
                  </a:moveTo>
                  <a:lnTo>
                    <a:pt x="2" y="0"/>
                  </a:lnTo>
                  <a:lnTo>
                    <a:pt x="4" y="2"/>
                  </a:lnTo>
                  <a:lnTo>
                    <a:pt x="4" y="3"/>
                  </a:lnTo>
                  <a:lnTo>
                    <a:pt x="3" y="6"/>
                  </a:lnTo>
                  <a:lnTo>
                    <a:pt x="3" y="7"/>
                  </a:lnTo>
                  <a:lnTo>
                    <a:pt x="2" y="7"/>
                  </a:lnTo>
                  <a:lnTo>
                    <a:pt x="2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78" name="Freeform 1078"/>
            <p:cNvSpPr>
              <a:spLocks/>
            </p:cNvSpPr>
            <p:nvPr/>
          </p:nvSpPr>
          <p:spPr bwMode="auto">
            <a:xfrm>
              <a:off x="972" y="1180"/>
              <a:ext cx="4" cy="7"/>
            </a:xfrm>
            <a:custGeom>
              <a:avLst/>
              <a:gdLst>
                <a:gd name="T0" fmla="*/ 0 w 4"/>
                <a:gd name="T1" fmla="*/ 0 h 7"/>
                <a:gd name="T2" fmla="*/ 2 w 4"/>
                <a:gd name="T3" fmla="*/ 0 h 7"/>
                <a:gd name="T4" fmla="*/ 4 w 4"/>
                <a:gd name="T5" fmla="*/ 2 h 7"/>
                <a:gd name="T6" fmla="*/ 4 w 4"/>
                <a:gd name="T7" fmla="*/ 3 h 7"/>
                <a:gd name="T8" fmla="*/ 3 w 4"/>
                <a:gd name="T9" fmla="*/ 6 h 7"/>
                <a:gd name="T10" fmla="*/ 3 w 4"/>
                <a:gd name="T11" fmla="*/ 7 h 7"/>
                <a:gd name="T12" fmla="*/ 2 w 4"/>
                <a:gd name="T13" fmla="*/ 7 h 7"/>
                <a:gd name="T14" fmla="*/ 2 w 4"/>
                <a:gd name="T15" fmla="*/ 4 h 7"/>
                <a:gd name="T16" fmla="*/ 0 w 4"/>
                <a:gd name="T17" fmla="*/ 3 h 7"/>
                <a:gd name="T18" fmla="*/ 0 w 4"/>
                <a:gd name="T19" fmla="*/ 2 h 7"/>
                <a:gd name="T20" fmla="*/ 0 w 4"/>
                <a:gd name="T21" fmla="*/ 1 h 7"/>
                <a:gd name="T22" fmla="*/ 0 w 4"/>
                <a:gd name="T2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" h="7">
                  <a:moveTo>
                    <a:pt x="0" y="0"/>
                  </a:moveTo>
                  <a:lnTo>
                    <a:pt x="2" y="0"/>
                  </a:lnTo>
                  <a:lnTo>
                    <a:pt x="4" y="2"/>
                  </a:lnTo>
                  <a:lnTo>
                    <a:pt x="4" y="3"/>
                  </a:lnTo>
                  <a:lnTo>
                    <a:pt x="3" y="6"/>
                  </a:lnTo>
                  <a:lnTo>
                    <a:pt x="3" y="7"/>
                  </a:lnTo>
                  <a:lnTo>
                    <a:pt x="2" y="7"/>
                  </a:lnTo>
                  <a:lnTo>
                    <a:pt x="2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79" name="Freeform 1079"/>
            <p:cNvSpPr>
              <a:spLocks/>
            </p:cNvSpPr>
            <p:nvPr/>
          </p:nvSpPr>
          <p:spPr bwMode="auto">
            <a:xfrm>
              <a:off x="978" y="1175"/>
              <a:ext cx="5" cy="11"/>
            </a:xfrm>
            <a:custGeom>
              <a:avLst/>
              <a:gdLst>
                <a:gd name="T0" fmla="*/ 4 w 5"/>
                <a:gd name="T1" fmla="*/ 5 h 11"/>
                <a:gd name="T2" fmla="*/ 4 w 5"/>
                <a:gd name="T3" fmla="*/ 3 h 11"/>
                <a:gd name="T4" fmla="*/ 4 w 5"/>
                <a:gd name="T5" fmla="*/ 5 h 11"/>
                <a:gd name="T6" fmla="*/ 5 w 5"/>
                <a:gd name="T7" fmla="*/ 6 h 11"/>
                <a:gd name="T8" fmla="*/ 5 w 5"/>
                <a:gd name="T9" fmla="*/ 8 h 11"/>
                <a:gd name="T10" fmla="*/ 3 w 5"/>
                <a:gd name="T11" fmla="*/ 10 h 11"/>
                <a:gd name="T12" fmla="*/ 0 w 5"/>
                <a:gd name="T13" fmla="*/ 11 h 11"/>
                <a:gd name="T14" fmla="*/ 1 w 5"/>
                <a:gd name="T15" fmla="*/ 7 h 11"/>
                <a:gd name="T16" fmla="*/ 0 w 5"/>
                <a:gd name="T17" fmla="*/ 3 h 11"/>
                <a:gd name="T18" fmla="*/ 0 w 5"/>
                <a:gd name="T19" fmla="*/ 3 h 11"/>
                <a:gd name="T20" fmla="*/ 1 w 5"/>
                <a:gd name="T21" fmla="*/ 2 h 11"/>
                <a:gd name="T22" fmla="*/ 0 w 5"/>
                <a:gd name="T23" fmla="*/ 2 h 11"/>
                <a:gd name="T24" fmla="*/ 0 w 5"/>
                <a:gd name="T25" fmla="*/ 0 h 11"/>
                <a:gd name="T26" fmla="*/ 1 w 5"/>
                <a:gd name="T27" fmla="*/ 0 h 11"/>
                <a:gd name="T28" fmla="*/ 3 w 5"/>
                <a:gd name="T29" fmla="*/ 0 h 11"/>
                <a:gd name="T30" fmla="*/ 4 w 5"/>
                <a:gd name="T31" fmla="*/ 1 h 11"/>
                <a:gd name="T32" fmla="*/ 4 w 5"/>
                <a:gd name="T33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" h="11">
                  <a:moveTo>
                    <a:pt x="4" y="5"/>
                  </a:moveTo>
                  <a:lnTo>
                    <a:pt x="4" y="3"/>
                  </a:lnTo>
                  <a:lnTo>
                    <a:pt x="4" y="5"/>
                  </a:lnTo>
                  <a:lnTo>
                    <a:pt x="5" y="6"/>
                  </a:lnTo>
                  <a:lnTo>
                    <a:pt x="5" y="8"/>
                  </a:lnTo>
                  <a:lnTo>
                    <a:pt x="3" y="10"/>
                  </a:lnTo>
                  <a:lnTo>
                    <a:pt x="0" y="11"/>
                  </a:lnTo>
                  <a:lnTo>
                    <a:pt x="1" y="7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" y="0"/>
                  </a:lnTo>
                  <a:lnTo>
                    <a:pt x="3" y="0"/>
                  </a:lnTo>
                  <a:lnTo>
                    <a:pt x="4" y="1"/>
                  </a:lnTo>
                  <a:lnTo>
                    <a:pt x="4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80" name="Freeform 1080"/>
            <p:cNvSpPr>
              <a:spLocks/>
            </p:cNvSpPr>
            <p:nvPr/>
          </p:nvSpPr>
          <p:spPr bwMode="auto">
            <a:xfrm>
              <a:off x="978" y="1175"/>
              <a:ext cx="5" cy="11"/>
            </a:xfrm>
            <a:custGeom>
              <a:avLst/>
              <a:gdLst>
                <a:gd name="T0" fmla="*/ 4 w 5"/>
                <a:gd name="T1" fmla="*/ 5 h 11"/>
                <a:gd name="T2" fmla="*/ 4 w 5"/>
                <a:gd name="T3" fmla="*/ 3 h 11"/>
                <a:gd name="T4" fmla="*/ 4 w 5"/>
                <a:gd name="T5" fmla="*/ 5 h 11"/>
                <a:gd name="T6" fmla="*/ 5 w 5"/>
                <a:gd name="T7" fmla="*/ 6 h 11"/>
                <a:gd name="T8" fmla="*/ 5 w 5"/>
                <a:gd name="T9" fmla="*/ 8 h 11"/>
                <a:gd name="T10" fmla="*/ 3 w 5"/>
                <a:gd name="T11" fmla="*/ 10 h 11"/>
                <a:gd name="T12" fmla="*/ 0 w 5"/>
                <a:gd name="T13" fmla="*/ 11 h 11"/>
                <a:gd name="T14" fmla="*/ 1 w 5"/>
                <a:gd name="T15" fmla="*/ 7 h 11"/>
                <a:gd name="T16" fmla="*/ 0 w 5"/>
                <a:gd name="T17" fmla="*/ 3 h 11"/>
                <a:gd name="T18" fmla="*/ 0 w 5"/>
                <a:gd name="T19" fmla="*/ 3 h 11"/>
                <a:gd name="T20" fmla="*/ 1 w 5"/>
                <a:gd name="T21" fmla="*/ 2 h 11"/>
                <a:gd name="T22" fmla="*/ 0 w 5"/>
                <a:gd name="T23" fmla="*/ 2 h 11"/>
                <a:gd name="T24" fmla="*/ 0 w 5"/>
                <a:gd name="T25" fmla="*/ 0 h 11"/>
                <a:gd name="T26" fmla="*/ 1 w 5"/>
                <a:gd name="T27" fmla="*/ 0 h 11"/>
                <a:gd name="T28" fmla="*/ 3 w 5"/>
                <a:gd name="T29" fmla="*/ 0 h 11"/>
                <a:gd name="T30" fmla="*/ 4 w 5"/>
                <a:gd name="T31" fmla="*/ 1 h 11"/>
                <a:gd name="T32" fmla="*/ 4 w 5"/>
                <a:gd name="T33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" h="11">
                  <a:moveTo>
                    <a:pt x="4" y="5"/>
                  </a:moveTo>
                  <a:lnTo>
                    <a:pt x="4" y="3"/>
                  </a:lnTo>
                  <a:lnTo>
                    <a:pt x="4" y="5"/>
                  </a:lnTo>
                  <a:lnTo>
                    <a:pt x="5" y="6"/>
                  </a:lnTo>
                  <a:lnTo>
                    <a:pt x="5" y="8"/>
                  </a:lnTo>
                  <a:lnTo>
                    <a:pt x="3" y="10"/>
                  </a:lnTo>
                  <a:lnTo>
                    <a:pt x="0" y="11"/>
                  </a:lnTo>
                  <a:lnTo>
                    <a:pt x="1" y="7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" y="0"/>
                  </a:lnTo>
                  <a:lnTo>
                    <a:pt x="3" y="0"/>
                  </a:lnTo>
                  <a:lnTo>
                    <a:pt x="4" y="1"/>
                  </a:lnTo>
                  <a:lnTo>
                    <a:pt x="4" y="5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81" name="Freeform 1081"/>
            <p:cNvSpPr>
              <a:spLocks/>
            </p:cNvSpPr>
            <p:nvPr/>
          </p:nvSpPr>
          <p:spPr bwMode="auto">
            <a:xfrm>
              <a:off x="976" y="1193"/>
              <a:ext cx="2" cy="5"/>
            </a:xfrm>
            <a:custGeom>
              <a:avLst/>
              <a:gdLst>
                <a:gd name="T0" fmla="*/ 2 w 2"/>
                <a:gd name="T1" fmla="*/ 0 h 5"/>
                <a:gd name="T2" fmla="*/ 2 w 2"/>
                <a:gd name="T3" fmla="*/ 0 h 5"/>
                <a:gd name="T4" fmla="*/ 2 w 2"/>
                <a:gd name="T5" fmla="*/ 1 h 5"/>
                <a:gd name="T6" fmla="*/ 2 w 2"/>
                <a:gd name="T7" fmla="*/ 2 h 5"/>
                <a:gd name="T8" fmla="*/ 2 w 2"/>
                <a:gd name="T9" fmla="*/ 3 h 5"/>
                <a:gd name="T10" fmla="*/ 1 w 2"/>
                <a:gd name="T11" fmla="*/ 5 h 5"/>
                <a:gd name="T12" fmla="*/ 0 w 2"/>
                <a:gd name="T13" fmla="*/ 4 h 5"/>
                <a:gd name="T14" fmla="*/ 0 w 2"/>
                <a:gd name="T15" fmla="*/ 4 h 5"/>
                <a:gd name="T16" fmla="*/ 0 w 2"/>
                <a:gd name="T17" fmla="*/ 1 h 5"/>
                <a:gd name="T18" fmla="*/ 2 w 2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5">
                  <a:moveTo>
                    <a:pt x="2" y="0"/>
                  </a:moveTo>
                  <a:lnTo>
                    <a:pt x="2" y="0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3"/>
                  </a:lnTo>
                  <a:lnTo>
                    <a:pt x="1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82" name="Freeform 1082"/>
            <p:cNvSpPr>
              <a:spLocks/>
            </p:cNvSpPr>
            <p:nvPr/>
          </p:nvSpPr>
          <p:spPr bwMode="auto">
            <a:xfrm>
              <a:off x="976" y="1193"/>
              <a:ext cx="2" cy="5"/>
            </a:xfrm>
            <a:custGeom>
              <a:avLst/>
              <a:gdLst>
                <a:gd name="T0" fmla="*/ 2 w 2"/>
                <a:gd name="T1" fmla="*/ 0 h 5"/>
                <a:gd name="T2" fmla="*/ 2 w 2"/>
                <a:gd name="T3" fmla="*/ 0 h 5"/>
                <a:gd name="T4" fmla="*/ 2 w 2"/>
                <a:gd name="T5" fmla="*/ 1 h 5"/>
                <a:gd name="T6" fmla="*/ 2 w 2"/>
                <a:gd name="T7" fmla="*/ 2 h 5"/>
                <a:gd name="T8" fmla="*/ 2 w 2"/>
                <a:gd name="T9" fmla="*/ 3 h 5"/>
                <a:gd name="T10" fmla="*/ 1 w 2"/>
                <a:gd name="T11" fmla="*/ 5 h 5"/>
                <a:gd name="T12" fmla="*/ 0 w 2"/>
                <a:gd name="T13" fmla="*/ 4 h 5"/>
                <a:gd name="T14" fmla="*/ 0 w 2"/>
                <a:gd name="T15" fmla="*/ 4 h 5"/>
                <a:gd name="T16" fmla="*/ 0 w 2"/>
                <a:gd name="T17" fmla="*/ 1 h 5"/>
                <a:gd name="T18" fmla="*/ 2 w 2"/>
                <a:gd name="T1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5">
                  <a:moveTo>
                    <a:pt x="2" y="0"/>
                  </a:moveTo>
                  <a:lnTo>
                    <a:pt x="2" y="0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3"/>
                  </a:lnTo>
                  <a:lnTo>
                    <a:pt x="1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1"/>
                  </a:lnTo>
                  <a:lnTo>
                    <a:pt x="2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83" name="Freeform 1083"/>
            <p:cNvSpPr>
              <a:spLocks/>
            </p:cNvSpPr>
            <p:nvPr/>
          </p:nvSpPr>
          <p:spPr bwMode="auto">
            <a:xfrm>
              <a:off x="962" y="1227"/>
              <a:ext cx="44" cy="45"/>
            </a:xfrm>
            <a:custGeom>
              <a:avLst/>
              <a:gdLst>
                <a:gd name="T0" fmla="*/ 9 w 44"/>
                <a:gd name="T1" fmla="*/ 8 h 45"/>
                <a:gd name="T2" fmla="*/ 9 w 44"/>
                <a:gd name="T3" fmla="*/ 8 h 45"/>
                <a:gd name="T4" fmla="*/ 11 w 44"/>
                <a:gd name="T5" fmla="*/ 5 h 45"/>
                <a:gd name="T6" fmla="*/ 5 w 44"/>
                <a:gd name="T7" fmla="*/ 3 h 45"/>
                <a:gd name="T8" fmla="*/ 2 w 44"/>
                <a:gd name="T9" fmla="*/ 6 h 45"/>
                <a:gd name="T10" fmla="*/ 0 w 44"/>
                <a:gd name="T11" fmla="*/ 4 h 45"/>
                <a:gd name="T12" fmla="*/ 2 w 44"/>
                <a:gd name="T13" fmla="*/ 1 h 45"/>
                <a:gd name="T14" fmla="*/ 6 w 44"/>
                <a:gd name="T15" fmla="*/ 0 h 45"/>
                <a:gd name="T16" fmla="*/ 11 w 44"/>
                <a:gd name="T17" fmla="*/ 1 h 45"/>
                <a:gd name="T18" fmla="*/ 14 w 44"/>
                <a:gd name="T19" fmla="*/ 4 h 45"/>
                <a:gd name="T20" fmla="*/ 26 w 44"/>
                <a:gd name="T21" fmla="*/ 8 h 45"/>
                <a:gd name="T22" fmla="*/ 33 w 44"/>
                <a:gd name="T23" fmla="*/ 9 h 45"/>
                <a:gd name="T24" fmla="*/ 34 w 44"/>
                <a:gd name="T25" fmla="*/ 11 h 45"/>
                <a:gd name="T26" fmla="*/ 35 w 44"/>
                <a:gd name="T27" fmla="*/ 20 h 45"/>
                <a:gd name="T28" fmla="*/ 34 w 44"/>
                <a:gd name="T29" fmla="*/ 21 h 45"/>
                <a:gd name="T30" fmla="*/ 34 w 44"/>
                <a:gd name="T31" fmla="*/ 24 h 45"/>
                <a:gd name="T32" fmla="*/ 37 w 44"/>
                <a:gd name="T33" fmla="*/ 27 h 45"/>
                <a:gd name="T34" fmla="*/ 41 w 44"/>
                <a:gd name="T35" fmla="*/ 28 h 45"/>
                <a:gd name="T36" fmla="*/ 44 w 44"/>
                <a:gd name="T37" fmla="*/ 31 h 45"/>
                <a:gd name="T38" fmla="*/ 43 w 44"/>
                <a:gd name="T39" fmla="*/ 36 h 45"/>
                <a:gd name="T40" fmla="*/ 42 w 44"/>
                <a:gd name="T41" fmla="*/ 39 h 45"/>
                <a:gd name="T42" fmla="*/ 44 w 44"/>
                <a:gd name="T43" fmla="*/ 39 h 45"/>
                <a:gd name="T44" fmla="*/ 43 w 44"/>
                <a:gd name="T45" fmla="*/ 43 h 45"/>
                <a:gd name="T46" fmla="*/ 39 w 44"/>
                <a:gd name="T47" fmla="*/ 45 h 45"/>
                <a:gd name="T48" fmla="*/ 33 w 44"/>
                <a:gd name="T49" fmla="*/ 44 h 45"/>
                <a:gd name="T50" fmla="*/ 31 w 44"/>
                <a:gd name="T51" fmla="*/ 40 h 45"/>
                <a:gd name="T52" fmla="*/ 27 w 44"/>
                <a:gd name="T53" fmla="*/ 41 h 45"/>
                <a:gd name="T54" fmla="*/ 25 w 44"/>
                <a:gd name="T55" fmla="*/ 38 h 45"/>
                <a:gd name="T56" fmla="*/ 29 w 44"/>
                <a:gd name="T57" fmla="*/ 36 h 45"/>
                <a:gd name="T58" fmla="*/ 26 w 44"/>
                <a:gd name="T59" fmla="*/ 38 h 45"/>
                <a:gd name="T60" fmla="*/ 23 w 44"/>
                <a:gd name="T61" fmla="*/ 37 h 45"/>
                <a:gd name="T62" fmla="*/ 24 w 44"/>
                <a:gd name="T63" fmla="*/ 35 h 45"/>
                <a:gd name="T64" fmla="*/ 27 w 44"/>
                <a:gd name="T65" fmla="*/ 34 h 45"/>
                <a:gd name="T66" fmla="*/ 25 w 44"/>
                <a:gd name="T67" fmla="*/ 33 h 45"/>
                <a:gd name="T68" fmla="*/ 21 w 44"/>
                <a:gd name="T69" fmla="*/ 34 h 45"/>
                <a:gd name="T70" fmla="*/ 16 w 44"/>
                <a:gd name="T71" fmla="*/ 33 h 45"/>
                <a:gd name="T72" fmla="*/ 20 w 44"/>
                <a:gd name="T73" fmla="*/ 31 h 45"/>
                <a:gd name="T74" fmla="*/ 19 w 44"/>
                <a:gd name="T75" fmla="*/ 28 h 45"/>
                <a:gd name="T76" fmla="*/ 16 w 44"/>
                <a:gd name="T77" fmla="*/ 27 h 45"/>
                <a:gd name="T78" fmla="*/ 12 w 44"/>
                <a:gd name="T79" fmla="*/ 26 h 45"/>
                <a:gd name="T80" fmla="*/ 11 w 44"/>
                <a:gd name="T81" fmla="*/ 24 h 45"/>
                <a:gd name="T82" fmla="*/ 16 w 44"/>
                <a:gd name="T83" fmla="*/ 23 h 45"/>
                <a:gd name="T84" fmla="*/ 17 w 44"/>
                <a:gd name="T85" fmla="*/ 20 h 45"/>
                <a:gd name="T86" fmla="*/ 15 w 44"/>
                <a:gd name="T87" fmla="*/ 20 h 45"/>
                <a:gd name="T88" fmla="*/ 13 w 44"/>
                <a:gd name="T89" fmla="*/ 20 h 45"/>
                <a:gd name="T90" fmla="*/ 12 w 44"/>
                <a:gd name="T91" fmla="*/ 17 h 45"/>
                <a:gd name="T92" fmla="*/ 11 w 44"/>
                <a:gd name="T93" fmla="*/ 17 h 45"/>
                <a:gd name="T94" fmla="*/ 6 w 44"/>
                <a:gd name="T95" fmla="*/ 17 h 45"/>
                <a:gd name="T96" fmla="*/ 10 w 44"/>
                <a:gd name="T97" fmla="*/ 14 h 45"/>
                <a:gd name="T98" fmla="*/ 9 w 44"/>
                <a:gd name="T99" fmla="*/ 13 h 45"/>
                <a:gd name="T100" fmla="*/ 5 w 44"/>
                <a:gd name="T101" fmla="*/ 13 h 45"/>
                <a:gd name="T102" fmla="*/ 3 w 44"/>
                <a:gd name="T103" fmla="*/ 13 h 45"/>
                <a:gd name="T104" fmla="*/ 0 w 44"/>
                <a:gd name="T105" fmla="*/ 14 h 45"/>
                <a:gd name="T106" fmla="*/ 1 w 44"/>
                <a:gd name="T107" fmla="*/ 11 h 45"/>
                <a:gd name="T108" fmla="*/ 2 w 44"/>
                <a:gd name="T109" fmla="*/ 9 h 45"/>
                <a:gd name="T110" fmla="*/ 5 w 44"/>
                <a:gd name="T111" fmla="*/ 7 h 45"/>
                <a:gd name="T112" fmla="*/ 7 w 44"/>
                <a:gd name="T113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" h="45">
                  <a:moveTo>
                    <a:pt x="7" y="8"/>
                  </a:moveTo>
                  <a:lnTo>
                    <a:pt x="9" y="8"/>
                  </a:lnTo>
                  <a:lnTo>
                    <a:pt x="7" y="8"/>
                  </a:lnTo>
                  <a:lnTo>
                    <a:pt x="9" y="8"/>
                  </a:lnTo>
                  <a:lnTo>
                    <a:pt x="10" y="6"/>
                  </a:lnTo>
                  <a:lnTo>
                    <a:pt x="11" y="5"/>
                  </a:lnTo>
                  <a:lnTo>
                    <a:pt x="5" y="5"/>
                  </a:lnTo>
                  <a:lnTo>
                    <a:pt x="5" y="3"/>
                  </a:lnTo>
                  <a:lnTo>
                    <a:pt x="3" y="5"/>
                  </a:lnTo>
                  <a:lnTo>
                    <a:pt x="2" y="6"/>
                  </a:lnTo>
                  <a:lnTo>
                    <a:pt x="0" y="5"/>
                  </a:lnTo>
                  <a:lnTo>
                    <a:pt x="0" y="4"/>
                  </a:lnTo>
                  <a:lnTo>
                    <a:pt x="1" y="3"/>
                  </a:lnTo>
                  <a:lnTo>
                    <a:pt x="2" y="1"/>
                  </a:lnTo>
                  <a:lnTo>
                    <a:pt x="4" y="0"/>
                  </a:lnTo>
                  <a:lnTo>
                    <a:pt x="6" y="0"/>
                  </a:lnTo>
                  <a:lnTo>
                    <a:pt x="9" y="1"/>
                  </a:lnTo>
                  <a:lnTo>
                    <a:pt x="11" y="1"/>
                  </a:lnTo>
                  <a:lnTo>
                    <a:pt x="12" y="3"/>
                  </a:lnTo>
                  <a:lnTo>
                    <a:pt x="14" y="4"/>
                  </a:lnTo>
                  <a:lnTo>
                    <a:pt x="20" y="6"/>
                  </a:lnTo>
                  <a:lnTo>
                    <a:pt x="26" y="8"/>
                  </a:lnTo>
                  <a:lnTo>
                    <a:pt x="30" y="9"/>
                  </a:lnTo>
                  <a:lnTo>
                    <a:pt x="33" y="9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3" y="14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4" y="21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6" y="26"/>
                  </a:lnTo>
                  <a:lnTo>
                    <a:pt x="37" y="27"/>
                  </a:lnTo>
                  <a:lnTo>
                    <a:pt x="40" y="27"/>
                  </a:lnTo>
                  <a:lnTo>
                    <a:pt x="41" y="28"/>
                  </a:lnTo>
                  <a:lnTo>
                    <a:pt x="42" y="28"/>
                  </a:lnTo>
                  <a:lnTo>
                    <a:pt x="44" y="31"/>
                  </a:lnTo>
                  <a:lnTo>
                    <a:pt x="43" y="34"/>
                  </a:lnTo>
                  <a:lnTo>
                    <a:pt x="43" y="36"/>
                  </a:lnTo>
                  <a:lnTo>
                    <a:pt x="43" y="37"/>
                  </a:lnTo>
                  <a:lnTo>
                    <a:pt x="42" y="39"/>
                  </a:lnTo>
                  <a:lnTo>
                    <a:pt x="42" y="40"/>
                  </a:lnTo>
                  <a:lnTo>
                    <a:pt x="44" y="39"/>
                  </a:lnTo>
                  <a:lnTo>
                    <a:pt x="43" y="43"/>
                  </a:lnTo>
                  <a:lnTo>
                    <a:pt x="43" y="43"/>
                  </a:lnTo>
                  <a:lnTo>
                    <a:pt x="42" y="44"/>
                  </a:lnTo>
                  <a:lnTo>
                    <a:pt x="39" y="45"/>
                  </a:lnTo>
                  <a:lnTo>
                    <a:pt x="37" y="45"/>
                  </a:lnTo>
                  <a:lnTo>
                    <a:pt x="33" y="44"/>
                  </a:lnTo>
                  <a:lnTo>
                    <a:pt x="31" y="41"/>
                  </a:lnTo>
                  <a:lnTo>
                    <a:pt x="31" y="40"/>
                  </a:lnTo>
                  <a:lnTo>
                    <a:pt x="30" y="40"/>
                  </a:lnTo>
                  <a:lnTo>
                    <a:pt x="27" y="41"/>
                  </a:lnTo>
                  <a:lnTo>
                    <a:pt x="25" y="39"/>
                  </a:lnTo>
                  <a:lnTo>
                    <a:pt x="25" y="38"/>
                  </a:lnTo>
                  <a:lnTo>
                    <a:pt x="27" y="37"/>
                  </a:lnTo>
                  <a:lnTo>
                    <a:pt x="29" y="36"/>
                  </a:lnTo>
                  <a:lnTo>
                    <a:pt x="27" y="37"/>
                  </a:lnTo>
                  <a:lnTo>
                    <a:pt x="26" y="38"/>
                  </a:lnTo>
                  <a:lnTo>
                    <a:pt x="24" y="38"/>
                  </a:lnTo>
                  <a:lnTo>
                    <a:pt x="23" y="37"/>
                  </a:lnTo>
                  <a:lnTo>
                    <a:pt x="23" y="36"/>
                  </a:lnTo>
                  <a:lnTo>
                    <a:pt x="24" y="35"/>
                  </a:lnTo>
                  <a:lnTo>
                    <a:pt x="25" y="35"/>
                  </a:lnTo>
                  <a:lnTo>
                    <a:pt x="27" y="34"/>
                  </a:lnTo>
                  <a:lnTo>
                    <a:pt x="26" y="33"/>
                  </a:lnTo>
                  <a:lnTo>
                    <a:pt x="25" y="33"/>
                  </a:lnTo>
                  <a:lnTo>
                    <a:pt x="23" y="34"/>
                  </a:lnTo>
                  <a:lnTo>
                    <a:pt x="21" y="34"/>
                  </a:lnTo>
                  <a:lnTo>
                    <a:pt x="17" y="34"/>
                  </a:lnTo>
                  <a:lnTo>
                    <a:pt x="16" y="33"/>
                  </a:lnTo>
                  <a:lnTo>
                    <a:pt x="17" y="33"/>
                  </a:lnTo>
                  <a:lnTo>
                    <a:pt x="20" y="31"/>
                  </a:lnTo>
                  <a:lnTo>
                    <a:pt x="20" y="30"/>
                  </a:lnTo>
                  <a:lnTo>
                    <a:pt x="19" y="28"/>
                  </a:lnTo>
                  <a:lnTo>
                    <a:pt x="16" y="28"/>
                  </a:lnTo>
                  <a:lnTo>
                    <a:pt x="16" y="27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11" y="26"/>
                  </a:lnTo>
                  <a:lnTo>
                    <a:pt x="11" y="24"/>
                  </a:lnTo>
                  <a:lnTo>
                    <a:pt x="13" y="23"/>
                  </a:lnTo>
                  <a:lnTo>
                    <a:pt x="16" y="23"/>
                  </a:lnTo>
                  <a:lnTo>
                    <a:pt x="20" y="21"/>
                  </a:lnTo>
                  <a:lnTo>
                    <a:pt x="17" y="20"/>
                  </a:lnTo>
                  <a:lnTo>
                    <a:pt x="15" y="21"/>
                  </a:lnTo>
                  <a:lnTo>
                    <a:pt x="15" y="20"/>
                  </a:lnTo>
                  <a:lnTo>
                    <a:pt x="15" y="19"/>
                  </a:lnTo>
                  <a:lnTo>
                    <a:pt x="13" y="20"/>
                  </a:lnTo>
                  <a:lnTo>
                    <a:pt x="13" y="18"/>
                  </a:lnTo>
                  <a:lnTo>
                    <a:pt x="12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7" y="18"/>
                  </a:lnTo>
                  <a:lnTo>
                    <a:pt x="6" y="17"/>
                  </a:lnTo>
                  <a:lnTo>
                    <a:pt x="9" y="15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9" y="13"/>
                  </a:lnTo>
                  <a:lnTo>
                    <a:pt x="6" y="15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3" y="13"/>
                  </a:lnTo>
                  <a:lnTo>
                    <a:pt x="1" y="14"/>
                  </a:lnTo>
                  <a:lnTo>
                    <a:pt x="0" y="14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3" y="10"/>
                  </a:lnTo>
                  <a:lnTo>
                    <a:pt x="2" y="9"/>
                  </a:lnTo>
                  <a:lnTo>
                    <a:pt x="3" y="8"/>
                  </a:lnTo>
                  <a:lnTo>
                    <a:pt x="5" y="7"/>
                  </a:lnTo>
                  <a:lnTo>
                    <a:pt x="7" y="7"/>
                  </a:lnTo>
                  <a:lnTo>
                    <a:pt x="7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84" name="Freeform 1084"/>
            <p:cNvSpPr>
              <a:spLocks/>
            </p:cNvSpPr>
            <p:nvPr/>
          </p:nvSpPr>
          <p:spPr bwMode="auto">
            <a:xfrm>
              <a:off x="962" y="1227"/>
              <a:ext cx="44" cy="45"/>
            </a:xfrm>
            <a:custGeom>
              <a:avLst/>
              <a:gdLst>
                <a:gd name="T0" fmla="*/ 9 w 44"/>
                <a:gd name="T1" fmla="*/ 8 h 45"/>
                <a:gd name="T2" fmla="*/ 9 w 44"/>
                <a:gd name="T3" fmla="*/ 8 h 45"/>
                <a:gd name="T4" fmla="*/ 11 w 44"/>
                <a:gd name="T5" fmla="*/ 5 h 45"/>
                <a:gd name="T6" fmla="*/ 5 w 44"/>
                <a:gd name="T7" fmla="*/ 3 h 45"/>
                <a:gd name="T8" fmla="*/ 2 w 44"/>
                <a:gd name="T9" fmla="*/ 6 h 45"/>
                <a:gd name="T10" fmla="*/ 0 w 44"/>
                <a:gd name="T11" fmla="*/ 4 h 45"/>
                <a:gd name="T12" fmla="*/ 2 w 44"/>
                <a:gd name="T13" fmla="*/ 1 h 45"/>
                <a:gd name="T14" fmla="*/ 6 w 44"/>
                <a:gd name="T15" fmla="*/ 0 h 45"/>
                <a:gd name="T16" fmla="*/ 11 w 44"/>
                <a:gd name="T17" fmla="*/ 1 h 45"/>
                <a:gd name="T18" fmla="*/ 14 w 44"/>
                <a:gd name="T19" fmla="*/ 4 h 45"/>
                <a:gd name="T20" fmla="*/ 26 w 44"/>
                <a:gd name="T21" fmla="*/ 8 h 45"/>
                <a:gd name="T22" fmla="*/ 33 w 44"/>
                <a:gd name="T23" fmla="*/ 9 h 45"/>
                <a:gd name="T24" fmla="*/ 34 w 44"/>
                <a:gd name="T25" fmla="*/ 11 h 45"/>
                <a:gd name="T26" fmla="*/ 35 w 44"/>
                <a:gd name="T27" fmla="*/ 20 h 45"/>
                <a:gd name="T28" fmla="*/ 34 w 44"/>
                <a:gd name="T29" fmla="*/ 21 h 45"/>
                <a:gd name="T30" fmla="*/ 34 w 44"/>
                <a:gd name="T31" fmla="*/ 24 h 45"/>
                <a:gd name="T32" fmla="*/ 37 w 44"/>
                <a:gd name="T33" fmla="*/ 27 h 45"/>
                <a:gd name="T34" fmla="*/ 41 w 44"/>
                <a:gd name="T35" fmla="*/ 28 h 45"/>
                <a:gd name="T36" fmla="*/ 44 w 44"/>
                <a:gd name="T37" fmla="*/ 31 h 45"/>
                <a:gd name="T38" fmla="*/ 43 w 44"/>
                <a:gd name="T39" fmla="*/ 36 h 45"/>
                <a:gd name="T40" fmla="*/ 42 w 44"/>
                <a:gd name="T41" fmla="*/ 39 h 45"/>
                <a:gd name="T42" fmla="*/ 44 w 44"/>
                <a:gd name="T43" fmla="*/ 39 h 45"/>
                <a:gd name="T44" fmla="*/ 43 w 44"/>
                <a:gd name="T45" fmla="*/ 43 h 45"/>
                <a:gd name="T46" fmla="*/ 39 w 44"/>
                <a:gd name="T47" fmla="*/ 45 h 45"/>
                <a:gd name="T48" fmla="*/ 33 w 44"/>
                <a:gd name="T49" fmla="*/ 44 h 45"/>
                <a:gd name="T50" fmla="*/ 31 w 44"/>
                <a:gd name="T51" fmla="*/ 40 h 45"/>
                <a:gd name="T52" fmla="*/ 27 w 44"/>
                <a:gd name="T53" fmla="*/ 41 h 45"/>
                <a:gd name="T54" fmla="*/ 25 w 44"/>
                <a:gd name="T55" fmla="*/ 38 h 45"/>
                <a:gd name="T56" fmla="*/ 29 w 44"/>
                <a:gd name="T57" fmla="*/ 36 h 45"/>
                <a:gd name="T58" fmla="*/ 26 w 44"/>
                <a:gd name="T59" fmla="*/ 38 h 45"/>
                <a:gd name="T60" fmla="*/ 23 w 44"/>
                <a:gd name="T61" fmla="*/ 37 h 45"/>
                <a:gd name="T62" fmla="*/ 24 w 44"/>
                <a:gd name="T63" fmla="*/ 35 h 45"/>
                <a:gd name="T64" fmla="*/ 27 w 44"/>
                <a:gd name="T65" fmla="*/ 34 h 45"/>
                <a:gd name="T66" fmla="*/ 25 w 44"/>
                <a:gd name="T67" fmla="*/ 33 h 45"/>
                <a:gd name="T68" fmla="*/ 21 w 44"/>
                <a:gd name="T69" fmla="*/ 34 h 45"/>
                <a:gd name="T70" fmla="*/ 16 w 44"/>
                <a:gd name="T71" fmla="*/ 33 h 45"/>
                <a:gd name="T72" fmla="*/ 20 w 44"/>
                <a:gd name="T73" fmla="*/ 31 h 45"/>
                <a:gd name="T74" fmla="*/ 19 w 44"/>
                <a:gd name="T75" fmla="*/ 28 h 45"/>
                <a:gd name="T76" fmla="*/ 16 w 44"/>
                <a:gd name="T77" fmla="*/ 27 h 45"/>
                <a:gd name="T78" fmla="*/ 12 w 44"/>
                <a:gd name="T79" fmla="*/ 26 h 45"/>
                <a:gd name="T80" fmla="*/ 11 w 44"/>
                <a:gd name="T81" fmla="*/ 24 h 45"/>
                <a:gd name="T82" fmla="*/ 16 w 44"/>
                <a:gd name="T83" fmla="*/ 23 h 45"/>
                <a:gd name="T84" fmla="*/ 17 w 44"/>
                <a:gd name="T85" fmla="*/ 20 h 45"/>
                <a:gd name="T86" fmla="*/ 15 w 44"/>
                <a:gd name="T87" fmla="*/ 20 h 45"/>
                <a:gd name="T88" fmla="*/ 13 w 44"/>
                <a:gd name="T89" fmla="*/ 20 h 45"/>
                <a:gd name="T90" fmla="*/ 12 w 44"/>
                <a:gd name="T91" fmla="*/ 17 h 45"/>
                <a:gd name="T92" fmla="*/ 11 w 44"/>
                <a:gd name="T93" fmla="*/ 17 h 45"/>
                <a:gd name="T94" fmla="*/ 6 w 44"/>
                <a:gd name="T95" fmla="*/ 17 h 45"/>
                <a:gd name="T96" fmla="*/ 10 w 44"/>
                <a:gd name="T97" fmla="*/ 14 h 45"/>
                <a:gd name="T98" fmla="*/ 9 w 44"/>
                <a:gd name="T99" fmla="*/ 13 h 45"/>
                <a:gd name="T100" fmla="*/ 5 w 44"/>
                <a:gd name="T101" fmla="*/ 13 h 45"/>
                <a:gd name="T102" fmla="*/ 3 w 44"/>
                <a:gd name="T103" fmla="*/ 13 h 45"/>
                <a:gd name="T104" fmla="*/ 0 w 44"/>
                <a:gd name="T105" fmla="*/ 14 h 45"/>
                <a:gd name="T106" fmla="*/ 1 w 44"/>
                <a:gd name="T107" fmla="*/ 11 h 45"/>
                <a:gd name="T108" fmla="*/ 2 w 44"/>
                <a:gd name="T109" fmla="*/ 9 h 45"/>
                <a:gd name="T110" fmla="*/ 5 w 44"/>
                <a:gd name="T111" fmla="*/ 7 h 45"/>
                <a:gd name="T112" fmla="*/ 7 w 44"/>
                <a:gd name="T113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4" h="45">
                  <a:moveTo>
                    <a:pt x="7" y="8"/>
                  </a:moveTo>
                  <a:lnTo>
                    <a:pt x="9" y="8"/>
                  </a:lnTo>
                  <a:lnTo>
                    <a:pt x="7" y="8"/>
                  </a:lnTo>
                  <a:lnTo>
                    <a:pt x="9" y="8"/>
                  </a:lnTo>
                  <a:lnTo>
                    <a:pt x="10" y="6"/>
                  </a:lnTo>
                  <a:lnTo>
                    <a:pt x="11" y="5"/>
                  </a:lnTo>
                  <a:lnTo>
                    <a:pt x="5" y="5"/>
                  </a:lnTo>
                  <a:lnTo>
                    <a:pt x="5" y="3"/>
                  </a:lnTo>
                  <a:lnTo>
                    <a:pt x="3" y="5"/>
                  </a:lnTo>
                  <a:lnTo>
                    <a:pt x="2" y="6"/>
                  </a:lnTo>
                  <a:lnTo>
                    <a:pt x="0" y="5"/>
                  </a:lnTo>
                  <a:lnTo>
                    <a:pt x="0" y="4"/>
                  </a:lnTo>
                  <a:lnTo>
                    <a:pt x="1" y="3"/>
                  </a:lnTo>
                  <a:lnTo>
                    <a:pt x="2" y="1"/>
                  </a:lnTo>
                  <a:lnTo>
                    <a:pt x="4" y="0"/>
                  </a:lnTo>
                  <a:lnTo>
                    <a:pt x="6" y="0"/>
                  </a:lnTo>
                  <a:lnTo>
                    <a:pt x="9" y="1"/>
                  </a:lnTo>
                  <a:lnTo>
                    <a:pt x="11" y="1"/>
                  </a:lnTo>
                  <a:lnTo>
                    <a:pt x="12" y="3"/>
                  </a:lnTo>
                  <a:lnTo>
                    <a:pt x="14" y="4"/>
                  </a:lnTo>
                  <a:lnTo>
                    <a:pt x="20" y="6"/>
                  </a:lnTo>
                  <a:lnTo>
                    <a:pt x="26" y="8"/>
                  </a:lnTo>
                  <a:lnTo>
                    <a:pt x="30" y="9"/>
                  </a:lnTo>
                  <a:lnTo>
                    <a:pt x="33" y="9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3" y="14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4" y="21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6" y="26"/>
                  </a:lnTo>
                  <a:lnTo>
                    <a:pt x="37" y="27"/>
                  </a:lnTo>
                  <a:lnTo>
                    <a:pt x="40" y="27"/>
                  </a:lnTo>
                  <a:lnTo>
                    <a:pt x="41" y="28"/>
                  </a:lnTo>
                  <a:lnTo>
                    <a:pt x="42" y="28"/>
                  </a:lnTo>
                  <a:lnTo>
                    <a:pt x="44" y="31"/>
                  </a:lnTo>
                  <a:lnTo>
                    <a:pt x="43" y="34"/>
                  </a:lnTo>
                  <a:lnTo>
                    <a:pt x="43" y="36"/>
                  </a:lnTo>
                  <a:lnTo>
                    <a:pt x="43" y="37"/>
                  </a:lnTo>
                  <a:lnTo>
                    <a:pt x="42" y="39"/>
                  </a:lnTo>
                  <a:lnTo>
                    <a:pt x="42" y="40"/>
                  </a:lnTo>
                  <a:lnTo>
                    <a:pt x="44" y="39"/>
                  </a:lnTo>
                  <a:lnTo>
                    <a:pt x="43" y="43"/>
                  </a:lnTo>
                  <a:lnTo>
                    <a:pt x="43" y="43"/>
                  </a:lnTo>
                  <a:lnTo>
                    <a:pt x="42" y="44"/>
                  </a:lnTo>
                  <a:lnTo>
                    <a:pt x="39" y="45"/>
                  </a:lnTo>
                  <a:lnTo>
                    <a:pt x="37" y="45"/>
                  </a:lnTo>
                  <a:lnTo>
                    <a:pt x="33" y="44"/>
                  </a:lnTo>
                  <a:lnTo>
                    <a:pt x="31" y="41"/>
                  </a:lnTo>
                  <a:lnTo>
                    <a:pt x="31" y="40"/>
                  </a:lnTo>
                  <a:lnTo>
                    <a:pt x="30" y="40"/>
                  </a:lnTo>
                  <a:lnTo>
                    <a:pt x="27" y="41"/>
                  </a:lnTo>
                  <a:lnTo>
                    <a:pt x="25" y="39"/>
                  </a:lnTo>
                  <a:lnTo>
                    <a:pt x="25" y="38"/>
                  </a:lnTo>
                  <a:lnTo>
                    <a:pt x="27" y="37"/>
                  </a:lnTo>
                  <a:lnTo>
                    <a:pt x="29" y="36"/>
                  </a:lnTo>
                  <a:lnTo>
                    <a:pt x="27" y="37"/>
                  </a:lnTo>
                  <a:lnTo>
                    <a:pt x="26" y="38"/>
                  </a:lnTo>
                  <a:lnTo>
                    <a:pt x="24" y="38"/>
                  </a:lnTo>
                  <a:lnTo>
                    <a:pt x="23" y="37"/>
                  </a:lnTo>
                  <a:lnTo>
                    <a:pt x="23" y="36"/>
                  </a:lnTo>
                  <a:lnTo>
                    <a:pt x="24" y="35"/>
                  </a:lnTo>
                  <a:lnTo>
                    <a:pt x="25" y="35"/>
                  </a:lnTo>
                  <a:lnTo>
                    <a:pt x="27" y="34"/>
                  </a:lnTo>
                  <a:lnTo>
                    <a:pt x="26" y="33"/>
                  </a:lnTo>
                  <a:lnTo>
                    <a:pt x="25" y="33"/>
                  </a:lnTo>
                  <a:lnTo>
                    <a:pt x="23" y="34"/>
                  </a:lnTo>
                  <a:lnTo>
                    <a:pt x="21" y="34"/>
                  </a:lnTo>
                  <a:lnTo>
                    <a:pt x="17" y="34"/>
                  </a:lnTo>
                  <a:lnTo>
                    <a:pt x="16" y="33"/>
                  </a:lnTo>
                  <a:lnTo>
                    <a:pt x="17" y="33"/>
                  </a:lnTo>
                  <a:lnTo>
                    <a:pt x="20" y="31"/>
                  </a:lnTo>
                  <a:lnTo>
                    <a:pt x="20" y="30"/>
                  </a:lnTo>
                  <a:lnTo>
                    <a:pt x="19" y="28"/>
                  </a:lnTo>
                  <a:lnTo>
                    <a:pt x="16" y="28"/>
                  </a:lnTo>
                  <a:lnTo>
                    <a:pt x="16" y="27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11" y="26"/>
                  </a:lnTo>
                  <a:lnTo>
                    <a:pt x="11" y="24"/>
                  </a:lnTo>
                  <a:lnTo>
                    <a:pt x="13" y="23"/>
                  </a:lnTo>
                  <a:lnTo>
                    <a:pt x="16" y="23"/>
                  </a:lnTo>
                  <a:lnTo>
                    <a:pt x="20" y="21"/>
                  </a:lnTo>
                  <a:lnTo>
                    <a:pt x="17" y="20"/>
                  </a:lnTo>
                  <a:lnTo>
                    <a:pt x="15" y="21"/>
                  </a:lnTo>
                  <a:lnTo>
                    <a:pt x="15" y="20"/>
                  </a:lnTo>
                  <a:lnTo>
                    <a:pt x="15" y="19"/>
                  </a:lnTo>
                  <a:lnTo>
                    <a:pt x="13" y="20"/>
                  </a:lnTo>
                  <a:lnTo>
                    <a:pt x="13" y="18"/>
                  </a:lnTo>
                  <a:lnTo>
                    <a:pt x="12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7" y="18"/>
                  </a:lnTo>
                  <a:lnTo>
                    <a:pt x="6" y="17"/>
                  </a:lnTo>
                  <a:lnTo>
                    <a:pt x="9" y="15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9" y="13"/>
                  </a:lnTo>
                  <a:lnTo>
                    <a:pt x="6" y="15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3" y="13"/>
                  </a:lnTo>
                  <a:lnTo>
                    <a:pt x="1" y="14"/>
                  </a:lnTo>
                  <a:lnTo>
                    <a:pt x="0" y="14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3" y="10"/>
                  </a:lnTo>
                  <a:lnTo>
                    <a:pt x="2" y="9"/>
                  </a:lnTo>
                  <a:lnTo>
                    <a:pt x="3" y="8"/>
                  </a:lnTo>
                  <a:lnTo>
                    <a:pt x="5" y="7"/>
                  </a:lnTo>
                  <a:lnTo>
                    <a:pt x="7" y="7"/>
                  </a:lnTo>
                  <a:lnTo>
                    <a:pt x="7" y="8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85" name="Freeform 1085"/>
            <p:cNvSpPr>
              <a:spLocks/>
            </p:cNvSpPr>
            <p:nvPr/>
          </p:nvSpPr>
          <p:spPr bwMode="auto">
            <a:xfrm>
              <a:off x="1842" y="1243"/>
              <a:ext cx="34" cy="15"/>
            </a:xfrm>
            <a:custGeom>
              <a:avLst/>
              <a:gdLst>
                <a:gd name="T0" fmla="*/ 8 w 34"/>
                <a:gd name="T1" fmla="*/ 1 h 15"/>
                <a:gd name="T2" fmla="*/ 12 w 34"/>
                <a:gd name="T3" fmla="*/ 3 h 15"/>
                <a:gd name="T4" fmla="*/ 15 w 34"/>
                <a:gd name="T5" fmla="*/ 3 h 15"/>
                <a:gd name="T6" fmla="*/ 24 w 34"/>
                <a:gd name="T7" fmla="*/ 7 h 15"/>
                <a:gd name="T8" fmla="*/ 27 w 34"/>
                <a:gd name="T9" fmla="*/ 10 h 15"/>
                <a:gd name="T10" fmla="*/ 31 w 34"/>
                <a:gd name="T11" fmla="*/ 10 h 15"/>
                <a:gd name="T12" fmla="*/ 31 w 34"/>
                <a:gd name="T13" fmla="*/ 11 h 15"/>
                <a:gd name="T14" fmla="*/ 33 w 34"/>
                <a:gd name="T15" fmla="*/ 11 h 15"/>
                <a:gd name="T16" fmla="*/ 33 w 34"/>
                <a:gd name="T17" fmla="*/ 11 h 15"/>
                <a:gd name="T18" fmla="*/ 33 w 34"/>
                <a:gd name="T19" fmla="*/ 12 h 15"/>
                <a:gd name="T20" fmla="*/ 34 w 34"/>
                <a:gd name="T21" fmla="*/ 13 h 15"/>
                <a:gd name="T22" fmla="*/ 34 w 34"/>
                <a:gd name="T23" fmla="*/ 14 h 15"/>
                <a:gd name="T24" fmla="*/ 32 w 34"/>
                <a:gd name="T25" fmla="*/ 15 h 15"/>
                <a:gd name="T26" fmla="*/ 25 w 34"/>
                <a:gd name="T27" fmla="*/ 15 h 15"/>
                <a:gd name="T28" fmla="*/ 22 w 34"/>
                <a:gd name="T29" fmla="*/ 14 h 15"/>
                <a:gd name="T30" fmla="*/ 18 w 34"/>
                <a:gd name="T31" fmla="*/ 14 h 15"/>
                <a:gd name="T32" fmla="*/ 16 w 34"/>
                <a:gd name="T33" fmla="*/ 13 h 15"/>
                <a:gd name="T34" fmla="*/ 14 w 34"/>
                <a:gd name="T35" fmla="*/ 12 h 15"/>
                <a:gd name="T36" fmla="*/ 11 w 34"/>
                <a:gd name="T37" fmla="*/ 11 h 15"/>
                <a:gd name="T38" fmla="*/ 10 w 34"/>
                <a:gd name="T39" fmla="*/ 10 h 15"/>
                <a:gd name="T40" fmla="*/ 10 w 34"/>
                <a:gd name="T41" fmla="*/ 8 h 15"/>
                <a:gd name="T42" fmla="*/ 1 w 34"/>
                <a:gd name="T43" fmla="*/ 3 h 15"/>
                <a:gd name="T44" fmla="*/ 0 w 34"/>
                <a:gd name="T45" fmla="*/ 2 h 15"/>
                <a:gd name="T46" fmla="*/ 1 w 34"/>
                <a:gd name="T47" fmla="*/ 1 h 15"/>
                <a:gd name="T48" fmla="*/ 4 w 34"/>
                <a:gd name="T49" fmla="*/ 0 h 15"/>
                <a:gd name="T50" fmla="*/ 6 w 34"/>
                <a:gd name="T51" fmla="*/ 1 h 15"/>
                <a:gd name="T52" fmla="*/ 8 w 34"/>
                <a:gd name="T53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4" h="15">
                  <a:moveTo>
                    <a:pt x="8" y="1"/>
                  </a:moveTo>
                  <a:lnTo>
                    <a:pt x="12" y="3"/>
                  </a:lnTo>
                  <a:lnTo>
                    <a:pt x="15" y="3"/>
                  </a:lnTo>
                  <a:lnTo>
                    <a:pt x="24" y="7"/>
                  </a:lnTo>
                  <a:lnTo>
                    <a:pt x="27" y="10"/>
                  </a:lnTo>
                  <a:lnTo>
                    <a:pt x="31" y="10"/>
                  </a:lnTo>
                  <a:lnTo>
                    <a:pt x="31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2"/>
                  </a:lnTo>
                  <a:lnTo>
                    <a:pt x="34" y="13"/>
                  </a:lnTo>
                  <a:lnTo>
                    <a:pt x="34" y="14"/>
                  </a:lnTo>
                  <a:lnTo>
                    <a:pt x="32" y="15"/>
                  </a:lnTo>
                  <a:lnTo>
                    <a:pt x="25" y="15"/>
                  </a:lnTo>
                  <a:lnTo>
                    <a:pt x="22" y="14"/>
                  </a:lnTo>
                  <a:lnTo>
                    <a:pt x="18" y="14"/>
                  </a:lnTo>
                  <a:lnTo>
                    <a:pt x="16" y="13"/>
                  </a:lnTo>
                  <a:lnTo>
                    <a:pt x="14" y="12"/>
                  </a:lnTo>
                  <a:lnTo>
                    <a:pt x="11" y="11"/>
                  </a:lnTo>
                  <a:lnTo>
                    <a:pt x="10" y="10"/>
                  </a:lnTo>
                  <a:lnTo>
                    <a:pt x="10" y="8"/>
                  </a:lnTo>
                  <a:lnTo>
                    <a:pt x="1" y="3"/>
                  </a:lnTo>
                  <a:lnTo>
                    <a:pt x="0" y="2"/>
                  </a:lnTo>
                  <a:lnTo>
                    <a:pt x="1" y="1"/>
                  </a:lnTo>
                  <a:lnTo>
                    <a:pt x="4" y="0"/>
                  </a:lnTo>
                  <a:lnTo>
                    <a:pt x="6" y="1"/>
                  </a:lnTo>
                  <a:lnTo>
                    <a:pt x="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86" name="Freeform 1086"/>
            <p:cNvSpPr>
              <a:spLocks/>
            </p:cNvSpPr>
            <p:nvPr/>
          </p:nvSpPr>
          <p:spPr bwMode="auto">
            <a:xfrm>
              <a:off x="1842" y="1243"/>
              <a:ext cx="34" cy="15"/>
            </a:xfrm>
            <a:custGeom>
              <a:avLst/>
              <a:gdLst>
                <a:gd name="T0" fmla="*/ 8 w 34"/>
                <a:gd name="T1" fmla="*/ 1 h 15"/>
                <a:gd name="T2" fmla="*/ 12 w 34"/>
                <a:gd name="T3" fmla="*/ 3 h 15"/>
                <a:gd name="T4" fmla="*/ 15 w 34"/>
                <a:gd name="T5" fmla="*/ 3 h 15"/>
                <a:gd name="T6" fmla="*/ 24 w 34"/>
                <a:gd name="T7" fmla="*/ 7 h 15"/>
                <a:gd name="T8" fmla="*/ 27 w 34"/>
                <a:gd name="T9" fmla="*/ 10 h 15"/>
                <a:gd name="T10" fmla="*/ 31 w 34"/>
                <a:gd name="T11" fmla="*/ 10 h 15"/>
                <a:gd name="T12" fmla="*/ 31 w 34"/>
                <a:gd name="T13" fmla="*/ 11 h 15"/>
                <a:gd name="T14" fmla="*/ 33 w 34"/>
                <a:gd name="T15" fmla="*/ 11 h 15"/>
                <a:gd name="T16" fmla="*/ 33 w 34"/>
                <a:gd name="T17" fmla="*/ 11 h 15"/>
                <a:gd name="T18" fmla="*/ 33 w 34"/>
                <a:gd name="T19" fmla="*/ 12 h 15"/>
                <a:gd name="T20" fmla="*/ 34 w 34"/>
                <a:gd name="T21" fmla="*/ 13 h 15"/>
                <a:gd name="T22" fmla="*/ 34 w 34"/>
                <a:gd name="T23" fmla="*/ 14 h 15"/>
                <a:gd name="T24" fmla="*/ 32 w 34"/>
                <a:gd name="T25" fmla="*/ 15 h 15"/>
                <a:gd name="T26" fmla="*/ 25 w 34"/>
                <a:gd name="T27" fmla="*/ 15 h 15"/>
                <a:gd name="T28" fmla="*/ 22 w 34"/>
                <a:gd name="T29" fmla="*/ 14 h 15"/>
                <a:gd name="T30" fmla="*/ 18 w 34"/>
                <a:gd name="T31" fmla="*/ 14 h 15"/>
                <a:gd name="T32" fmla="*/ 16 w 34"/>
                <a:gd name="T33" fmla="*/ 13 h 15"/>
                <a:gd name="T34" fmla="*/ 14 w 34"/>
                <a:gd name="T35" fmla="*/ 12 h 15"/>
                <a:gd name="T36" fmla="*/ 11 w 34"/>
                <a:gd name="T37" fmla="*/ 11 h 15"/>
                <a:gd name="T38" fmla="*/ 10 w 34"/>
                <a:gd name="T39" fmla="*/ 10 h 15"/>
                <a:gd name="T40" fmla="*/ 10 w 34"/>
                <a:gd name="T41" fmla="*/ 8 h 15"/>
                <a:gd name="T42" fmla="*/ 1 w 34"/>
                <a:gd name="T43" fmla="*/ 3 h 15"/>
                <a:gd name="T44" fmla="*/ 0 w 34"/>
                <a:gd name="T45" fmla="*/ 2 h 15"/>
                <a:gd name="T46" fmla="*/ 1 w 34"/>
                <a:gd name="T47" fmla="*/ 1 h 15"/>
                <a:gd name="T48" fmla="*/ 4 w 34"/>
                <a:gd name="T49" fmla="*/ 0 h 15"/>
                <a:gd name="T50" fmla="*/ 6 w 34"/>
                <a:gd name="T51" fmla="*/ 1 h 15"/>
                <a:gd name="T52" fmla="*/ 8 w 34"/>
                <a:gd name="T53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4" h="15">
                  <a:moveTo>
                    <a:pt x="8" y="1"/>
                  </a:moveTo>
                  <a:lnTo>
                    <a:pt x="12" y="3"/>
                  </a:lnTo>
                  <a:lnTo>
                    <a:pt x="15" y="3"/>
                  </a:lnTo>
                  <a:lnTo>
                    <a:pt x="24" y="7"/>
                  </a:lnTo>
                  <a:lnTo>
                    <a:pt x="27" y="10"/>
                  </a:lnTo>
                  <a:lnTo>
                    <a:pt x="31" y="10"/>
                  </a:lnTo>
                  <a:lnTo>
                    <a:pt x="31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2"/>
                  </a:lnTo>
                  <a:lnTo>
                    <a:pt x="34" y="13"/>
                  </a:lnTo>
                  <a:lnTo>
                    <a:pt x="34" y="14"/>
                  </a:lnTo>
                  <a:lnTo>
                    <a:pt x="32" y="15"/>
                  </a:lnTo>
                  <a:lnTo>
                    <a:pt x="25" y="15"/>
                  </a:lnTo>
                  <a:lnTo>
                    <a:pt x="22" y="14"/>
                  </a:lnTo>
                  <a:lnTo>
                    <a:pt x="18" y="14"/>
                  </a:lnTo>
                  <a:lnTo>
                    <a:pt x="16" y="13"/>
                  </a:lnTo>
                  <a:lnTo>
                    <a:pt x="14" y="12"/>
                  </a:lnTo>
                  <a:lnTo>
                    <a:pt x="11" y="11"/>
                  </a:lnTo>
                  <a:lnTo>
                    <a:pt x="10" y="10"/>
                  </a:lnTo>
                  <a:lnTo>
                    <a:pt x="10" y="8"/>
                  </a:lnTo>
                  <a:lnTo>
                    <a:pt x="1" y="3"/>
                  </a:lnTo>
                  <a:lnTo>
                    <a:pt x="0" y="2"/>
                  </a:lnTo>
                  <a:lnTo>
                    <a:pt x="1" y="1"/>
                  </a:lnTo>
                  <a:lnTo>
                    <a:pt x="4" y="0"/>
                  </a:lnTo>
                  <a:lnTo>
                    <a:pt x="6" y="1"/>
                  </a:lnTo>
                  <a:lnTo>
                    <a:pt x="8" y="1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87" name="Freeform 1087"/>
            <p:cNvSpPr>
              <a:spLocks/>
            </p:cNvSpPr>
            <p:nvPr/>
          </p:nvSpPr>
          <p:spPr bwMode="auto">
            <a:xfrm>
              <a:off x="1939" y="1294"/>
              <a:ext cx="2" cy="5"/>
            </a:xfrm>
            <a:custGeom>
              <a:avLst/>
              <a:gdLst>
                <a:gd name="T0" fmla="*/ 1 w 2"/>
                <a:gd name="T1" fmla="*/ 0 h 5"/>
                <a:gd name="T2" fmla="*/ 1 w 2"/>
                <a:gd name="T3" fmla="*/ 0 h 5"/>
                <a:gd name="T4" fmla="*/ 1 w 2"/>
                <a:gd name="T5" fmla="*/ 1 h 5"/>
                <a:gd name="T6" fmla="*/ 0 w 2"/>
                <a:gd name="T7" fmla="*/ 5 h 5"/>
                <a:gd name="T8" fmla="*/ 1 w 2"/>
                <a:gd name="T9" fmla="*/ 4 h 5"/>
                <a:gd name="T10" fmla="*/ 2 w 2"/>
                <a:gd name="T11" fmla="*/ 1 h 5"/>
                <a:gd name="T12" fmla="*/ 1 w 2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5">
                  <a:moveTo>
                    <a:pt x="1" y="0"/>
                  </a:moveTo>
                  <a:lnTo>
                    <a:pt x="1" y="0"/>
                  </a:lnTo>
                  <a:lnTo>
                    <a:pt x="1" y="1"/>
                  </a:lnTo>
                  <a:lnTo>
                    <a:pt x="0" y="5"/>
                  </a:lnTo>
                  <a:lnTo>
                    <a:pt x="1" y="4"/>
                  </a:lnTo>
                  <a:lnTo>
                    <a:pt x="2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88" name="Freeform 1088"/>
            <p:cNvSpPr>
              <a:spLocks/>
            </p:cNvSpPr>
            <p:nvPr/>
          </p:nvSpPr>
          <p:spPr bwMode="auto">
            <a:xfrm>
              <a:off x="1939" y="1294"/>
              <a:ext cx="2" cy="5"/>
            </a:xfrm>
            <a:custGeom>
              <a:avLst/>
              <a:gdLst>
                <a:gd name="T0" fmla="*/ 1 w 2"/>
                <a:gd name="T1" fmla="*/ 0 h 5"/>
                <a:gd name="T2" fmla="*/ 1 w 2"/>
                <a:gd name="T3" fmla="*/ 0 h 5"/>
                <a:gd name="T4" fmla="*/ 1 w 2"/>
                <a:gd name="T5" fmla="*/ 1 h 5"/>
                <a:gd name="T6" fmla="*/ 0 w 2"/>
                <a:gd name="T7" fmla="*/ 5 h 5"/>
                <a:gd name="T8" fmla="*/ 1 w 2"/>
                <a:gd name="T9" fmla="*/ 4 h 5"/>
                <a:gd name="T10" fmla="*/ 2 w 2"/>
                <a:gd name="T11" fmla="*/ 1 h 5"/>
                <a:gd name="T12" fmla="*/ 1 w 2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" h="5">
                  <a:moveTo>
                    <a:pt x="1" y="0"/>
                  </a:moveTo>
                  <a:lnTo>
                    <a:pt x="1" y="0"/>
                  </a:lnTo>
                  <a:lnTo>
                    <a:pt x="1" y="1"/>
                  </a:lnTo>
                  <a:lnTo>
                    <a:pt x="0" y="5"/>
                  </a:lnTo>
                  <a:lnTo>
                    <a:pt x="1" y="4"/>
                  </a:lnTo>
                  <a:lnTo>
                    <a:pt x="2" y="1"/>
                  </a:lnTo>
                  <a:lnTo>
                    <a:pt x="1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89" name="Freeform 1089"/>
            <p:cNvSpPr>
              <a:spLocks/>
            </p:cNvSpPr>
            <p:nvPr/>
          </p:nvSpPr>
          <p:spPr bwMode="auto">
            <a:xfrm>
              <a:off x="1775" y="1335"/>
              <a:ext cx="3" cy="3"/>
            </a:xfrm>
            <a:custGeom>
              <a:avLst/>
              <a:gdLst>
                <a:gd name="T0" fmla="*/ 2 w 3"/>
                <a:gd name="T1" fmla="*/ 0 h 3"/>
                <a:gd name="T2" fmla="*/ 1 w 3"/>
                <a:gd name="T3" fmla="*/ 1 h 3"/>
                <a:gd name="T4" fmla="*/ 1 w 3"/>
                <a:gd name="T5" fmla="*/ 2 h 3"/>
                <a:gd name="T6" fmla="*/ 0 w 3"/>
                <a:gd name="T7" fmla="*/ 3 h 3"/>
                <a:gd name="T8" fmla="*/ 1 w 3"/>
                <a:gd name="T9" fmla="*/ 2 h 3"/>
                <a:gd name="T10" fmla="*/ 2 w 3"/>
                <a:gd name="T11" fmla="*/ 2 h 3"/>
                <a:gd name="T12" fmla="*/ 3 w 3"/>
                <a:gd name="T13" fmla="*/ 1 h 3"/>
                <a:gd name="T14" fmla="*/ 3 w 3"/>
                <a:gd name="T15" fmla="*/ 0 h 3"/>
                <a:gd name="T16" fmla="*/ 2 w 3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lnTo>
                    <a:pt x="1" y="1"/>
                  </a:lnTo>
                  <a:lnTo>
                    <a:pt x="1" y="2"/>
                  </a:lnTo>
                  <a:lnTo>
                    <a:pt x="0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3" y="1"/>
                  </a:lnTo>
                  <a:lnTo>
                    <a:pt x="3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90" name="Freeform 1090"/>
            <p:cNvSpPr>
              <a:spLocks/>
            </p:cNvSpPr>
            <p:nvPr/>
          </p:nvSpPr>
          <p:spPr bwMode="auto">
            <a:xfrm>
              <a:off x="1775" y="1335"/>
              <a:ext cx="3" cy="3"/>
            </a:xfrm>
            <a:custGeom>
              <a:avLst/>
              <a:gdLst>
                <a:gd name="T0" fmla="*/ 2 w 3"/>
                <a:gd name="T1" fmla="*/ 0 h 3"/>
                <a:gd name="T2" fmla="*/ 1 w 3"/>
                <a:gd name="T3" fmla="*/ 1 h 3"/>
                <a:gd name="T4" fmla="*/ 1 w 3"/>
                <a:gd name="T5" fmla="*/ 2 h 3"/>
                <a:gd name="T6" fmla="*/ 0 w 3"/>
                <a:gd name="T7" fmla="*/ 3 h 3"/>
                <a:gd name="T8" fmla="*/ 1 w 3"/>
                <a:gd name="T9" fmla="*/ 2 h 3"/>
                <a:gd name="T10" fmla="*/ 2 w 3"/>
                <a:gd name="T11" fmla="*/ 2 h 3"/>
                <a:gd name="T12" fmla="*/ 3 w 3"/>
                <a:gd name="T13" fmla="*/ 1 h 3"/>
                <a:gd name="T14" fmla="*/ 3 w 3"/>
                <a:gd name="T15" fmla="*/ 0 h 3"/>
                <a:gd name="T16" fmla="*/ 2 w 3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3">
                  <a:moveTo>
                    <a:pt x="2" y="0"/>
                  </a:moveTo>
                  <a:lnTo>
                    <a:pt x="1" y="1"/>
                  </a:lnTo>
                  <a:lnTo>
                    <a:pt x="1" y="2"/>
                  </a:lnTo>
                  <a:lnTo>
                    <a:pt x="0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3" y="1"/>
                  </a:lnTo>
                  <a:lnTo>
                    <a:pt x="3" y="0"/>
                  </a:lnTo>
                  <a:lnTo>
                    <a:pt x="2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91" name="Freeform 1091"/>
            <p:cNvSpPr>
              <a:spLocks/>
            </p:cNvSpPr>
            <p:nvPr/>
          </p:nvSpPr>
          <p:spPr bwMode="auto">
            <a:xfrm>
              <a:off x="1901" y="1214"/>
              <a:ext cx="94" cy="89"/>
            </a:xfrm>
            <a:custGeom>
              <a:avLst/>
              <a:gdLst>
                <a:gd name="T0" fmla="*/ 58 w 94"/>
                <a:gd name="T1" fmla="*/ 6 h 89"/>
                <a:gd name="T2" fmla="*/ 55 w 94"/>
                <a:gd name="T3" fmla="*/ 9 h 89"/>
                <a:gd name="T4" fmla="*/ 52 w 94"/>
                <a:gd name="T5" fmla="*/ 10 h 89"/>
                <a:gd name="T6" fmla="*/ 48 w 94"/>
                <a:gd name="T7" fmla="*/ 16 h 89"/>
                <a:gd name="T8" fmla="*/ 46 w 94"/>
                <a:gd name="T9" fmla="*/ 18 h 89"/>
                <a:gd name="T10" fmla="*/ 40 w 94"/>
                <a:gd name="T11" fmla="*/ 24 h 89"/>
                <a:gd name="T12" fmla="*/ 36 w 94"/>
                <a:gd name="T13" fmla="*/ 28 h 89"/>
                <a:gd name="T14" fmla="*/ 32 w 94"/>
                <a:gd name="T15" fmla="*/ 37 h 89"/>
                <a:gd name="T16" fmla="*/ 26 w 94"/>
                <a:gd name="T17" fmla="*/ 40 h 89"/>
                <a:gd name="T18" fmla="*/ 26 w 94"/>
                <a:gd name="T19" fmla="*/ 42 h 89"/>
                <a:gd name="T20" fmla="*/ 26 w 94"/>
                <a:gd name="T21" fmla="*/ 46 h 89"/>
                <a:gd name="T22" fmla="*/ 13 w 94"/>
                <a:gd name="T23" fmla="*/ 53 h 89"/>
                <a:gd name="T24" fmla="*/ 7 w 94"/>
                <a:gd name="T25" fmla="*/ 54 h 89"/>
                <a:gd name="T26" fmla="*/ 16 w 94"/>
                <a:gd name="T27" fmla="*/ 56 h 89"/>
                <a:gd name="T28" fmla="*/ 2 w 94"/>
                <a:gd name="T29" fmla="*/ 67 h 89"/>
                <a:gd name="T30" fmla="*/ 4 w 94"/>
                <a:gd name="T31" fmla="*/ 72 h 89"/>
                <a:gd name="T32" fmla="*/ 23 w 94"/>
                <a:gd name="T33" fmla="*/ 71 h 89"/>
                <a:gd name="T34" fmla="*/ 36 w 94"/>
                <a:gd name="T35" fmla="*/ 72 h 89"/>
                <a:gd name="T36" fmla="*/ 47 w 94"/>
                <a:gd name="T37" fmla="*/ 69 h 89"/>
                <a:gd name="T38" fmla="*/ 49 w 94"/>
                <a:gd name="T39" fmla="*/ 71 h 89"/>
                <a:gd name="T40" fmla="*/ 47 w 94"/>
                <a:gd name="T41" fmla="*/ 73 h 89"/>
                <a:gd name="T42" fmla="*/ 57 w 94"/>
                <a:gd name="T43" fmla="*/ 70 h 89"/>
                <a:gd name="T44" fmla="*/ 64 w 94"/>
                <a:gd name="T45" fmla="*/ 71 h 89"/>
                <a:gd name="T46" fmla="*/ 52 w 94"/>
                <a:gd name="T47" fmla="*/ 80 h 89"/>
                <a:gd name="T48" fmla="*/ 45 w 94"/>
                <a:gd name="T49" fmla="*/ 83 h 89"/>
                <a:gd name="T50" fmla="*/ 54 w 94"/>
                <a:gd name="T51" fmla="*/ 82 h 89"/>
                <a:gd name="T52" fmla="*/ 67 w 94"/>
                <a:gd name="T53" fmla="*/ 74 h 89"/>
                <a:gd name="T54" fmla="*/ 76 w 94"/>
                <a:gd name="T55" fmla="*/ 66 h 89"/>
                <a:gd name="T56" fmla="*/ 75 w 94"/>
                <a:gd name="T57" fmla="*/ 75 h 89"/>
                <a:gd name="T58" fmla="*/ 71 w 94"/>
                <a:gd name="T59" fmla="*/ 85 h 89"/>
                <a:gd name="T60" fmla="*/ 77 w 94"/>
                <a:gd name="T61" fmla="*/ 82 h 89"/>
                <a:gd name="T62" fmla="*/ 77 w 94"/>
                <a:gd name="T63" fmla="*/ 89 h 89"/>
                <a:gd name="T64" fmla="*/ 87 w 94"/>
                <a:gd name="T65" fmla="*/ 83 h 89"/>
                <a:gd name="T66" fmla="*/ 94 w 94"/>
                <a:gd name="T67" fmla="*/ 69 h 89"/>
                <a:gd name="T68" fmla="*/ 87 w 94"/>
                <a:gd name="T69" fmla="*/ 72 h 89"/>
                <a:gd name="T70" fmla="*/ 91 w 94"/>
                <a:gd name="T71" fmla="*/ 63 h 89"/>
                <a:gd name="T72" fmla="*/ 87 w 94"/>
                <a:gd name="T73" fmla="*/ 63 h 89"/>
                <a:gd name="T74" fmla="*/ 80 w 94"/>
                <a:gd name="T75" fmla="*/ 70 h 89"/>
                <a:gd name="T76" fmla="*/ 80 w 94"/>
                <a:gd name="T77" fmla="*/ 67 h 89"/>
                <a:gd name="T78" fmla="*/ 81 w 94"/>
                <a:gd name="T79" fmla="*/ 62 h 89"/>
                <a:gd name="T80" fmla="*/ 88 w 94"/>
                <a:gd name="T81" fmla="*/ 57 h 89"/>
                <a:gd name="T82" fmla="*/ 93 w 94"/>
                <a:gd name="T83" fmla="*/ 52 h 89"/>
                <a:gd name="T84" fmla="*/ 79 w 94"/>
                <a:gd name="T85" fmla="*/ 57 h 89"/>
                <a:gd name="T86" fmla="*/ 84 w 94"/>
                <a:gd name="T87" fmla="*/ 51 h 89"/>
                <a:gd name="T88" fmla="*/ 84 w 94"/>
                <a:gd name="T89" fmla="*/ 47 h 89"/>
                <a:gd name="T90" fmla="*/ 90 w 94"/>
                <a:gd name="T91" fmla="*/ 40 h 89"/>
                <a:gd name="T92" fmla="*/ 79 w 94"/>
                <a:gd name="T93" fmla="*/ 39 h 89"/>
                <a:gd name="T94" fmla="*/ 65 w 94"/>
                <a:gd name="T95" fmla="*/ 42 h 89"/>
                <a:gd name="T96" fmla="*/ 66 w 94"/>
                <a:gd name="T97" fmla="*/ 38 h 89"/>
                <a:gd name="T98" fmla="*/ 58 w 94"/>
                <a:gd name="T99" fmla="*/ 38 h 89"/>
                <a:gd name="T100" fmla="*/ 60 w 94"/>
                <a:gd name="T101" fmla="*/ 32 h 89"/>
                <a:gd name="T102" fmla="*/ 57 w 94"/>
                <a:gd name="T103" fmla="*/ 29 h 89"/>
                <a:gd name="T104" fmla="*/ 54 w 94"/>
                <a:gd name="T105" fmla="*/ 30 h 89"/>
                <a:gd name="T106" fmla="*/ 46 w 94"/>
                <a:gd name="T107" fmla="*/ 33 h 89"/>
                <a:gd name="T108" fmla="*/ 53 w 94"/>
                <a:gd name="T109" fmla="*/ 24 h 89"/>
                <a:gd name="T110" fmla="*/ 60 w 94"/>
                <a:gd name="T111" fmla="*/ 17 h 89"/>
                <a:gd name="T112" fmla="*/ 63 w 94"/>
                <a:gd name="T113" fmla="*/ 14 h 89"/>
                <a:gd name="T114" fmla="*/ 67 w 94"/>
                <a:gd name="T115" fmla="*/ 7 h 89"/>
                <a:gd name="T116" fmla="*/ 74 w 94"/>
                <a:gd name="T117" fmla="*/ 2 h 89"/>
                <a:gd name="T118" fmla="*/ 70 w 94"/>
                <a:gd name="T11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4" h="89">
                  <a:moveTo>
                    <a:pt x="65" y="2"/>
                  </a:moveTo>
                  <a:lnTo>
                    <a:pt x="62" y="3"/>
                  </a:lnTo>
                  <a:lnTo>
                    <a:pt x="58" y="6"/>
                  </a:lnTo>
                  <a:lnTo>
                    <a:pt x="57" y="7"/>
                  </a:lnTo>
                  <a:lnTo>
                    <a:pt x="55" y="8"/>
                  </a:lnTo>
                  <a:lnTo>
                    <a:pt x="55" y="9"/>
                  </a:lnTo>
                  <a:lnTo>
                    <a:pt x="54" y="9"/>
                  </a:lnTo>
                  <a:lnTo>
                    <a:pt x="53" y="10"/>
                  </a:lnTo>
                  <a:lnTo>
                    <a:pt x="52" y="10"/>
                  </a:lnTo>
                  <a:lnTo>
                    <a:pt x="50" y="12"/>
                  </a:lnTo>
                  <a:lnTo>
                    <a:pt x="49" y="13"/>
                  </a:lnTo>
                  <a:lnTo>
                    <a:pt x="48" y="16"/>
                  </a:lnTo>
                  <a:lnTo>
                    <a:pt x="46" y="16"/>
                  </a:lnTo>
                  <a:lnTo>
                    <a:pt x="44" y="17"/>
                  </a:lnTo>
                  <a:lnTo>
                    <a:pt x="46" y="18"/>
                  </a:lnTo>
                  <a:lnTo>
                    <a:pt x="44" y="19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2" y="26"/>
                  </a:lnTo>
                  <a:lnTo>
                    <a:pt x="37" y="27"/>
                  </a:lnTo>
                  <a:lnTo>
                    <a:pt x="36" y="28"/>
                  </a:lnTo>
                  <a:lnTo>
                    <a:pt x="32" y="33"/>
                  </a:lnTo>
                  <a:lnTo>
                    <a:pt x="30" y="36"/>
                  </a:lnTo>
                  <a:lnTo>
                    <a:pt x="32" y="37"/>
                  </a:lnTo>
                  <a:lnTo>
                    <a:pt x="30" y="37"/>
                  </a:lnTo>
                  <a:lnTo>
                    <a:pt x="29" y="37"/>
                  </a:lnTo>
                  <a:lnTo>
                    <a:pt x="26" y="40"/>
                  </a:lnTo>
                  <a:lnTo>
                    <a:pt x="25" y="41"/>
                  </a:lnTo>
                  <a:lnTo>
                    <a:pt x="25" y="42"/>
                  </a:lnTo>
                  <a:lnTo>
                    <a:pt x="26" y="42"/>
                  </a:lnTo>
                  <a:lnTo>
                    <a:pt x="26" y="43"/>
                  </a:lnTo>
                  <a:lnTo>
                    <a:pt x="25" y="44"/>
                  </a:lnTo>
                  <a:lnTo>
                    <a:pt x="26" y="46"/>
                  </a:lnTo>
                  <a:lnTo>
                    <a:pt x="22" y="44"/>
                  </a:lnTo>
                  <a:lnTo>
                    <a:pt x="15" y="52"/>
                  </a:lnTo>
                  <a:lnTo>
                    <a:pt x="13" y="53"/>
                  </a:lnTo>
                  <a:lnTo>
                    <a:pt x="13" y="52"/>
                  </a:lnTo>
                  <a:lnTo>
                    <a:pt x="10" y="53"/>
                  </a:lnTo>
                  <a:lnTo>
                    <a:pt x="7" y="54"/>
                  </a:lnTo>
                  <a:lnTo>
                    <a:pt x="7" y="56"/>
                  </a:lnTo>
                  <a:lnTo>
                    <a:pt x="13" y="54"/>
                  </a:lnTo>
                  <a:lnTo>
                    <a:pt x="16" y="56"/>
                  </a:lnTo>
                  <a:lnTo>
                    <a:pt x="16" y="57"/>
                  </a:lnTo>
                  <a:lnTo>
                    <a:pt x="7" y="62"/>
                  </a:lnTo>
                  <a:lnTo>
                    <a:pt x="2" y="67"/>
                  </a:lnTo>
                  <a:lnTo>
                    <a:pt x="0" y="69"/>
                  </a:lnTo>
                  <a:lnTo>
                    <a:pt x="0" y="71"/>
                  </a:lnTo>
                  <a:lnTo>
                    <a:pt x="4" y="72"/>
                  </a:lnTo>
                  <a:lnTo>
                    <a:pt x="9" y="71"/>
                  </a:lnTo>
                  <a:lnTo>
                    <a:pt x="18" y="70"/>
                  </a:lnTo>
                  <a:lnTo>
                    <a:pt x="23" y="71"/>
                  </a:lnTo>
                  <a:lnTo>
                    <a:pt x="26" y="71"/>
                  </a:lnTo>
                  <a:lnTo>
                    <a:pt x="28" y="71"/>
                  </a:lnTo>
                  <a:lnTo>
                    <a:pt x="36" y="72"/>
                  </a:lnTo>
                  <a:lnTo>
                    <a:pt x="39" y="71"/>
                  </a:lnTo>
                  <a:lnTo>
                    <a:pt x="45" y="70"/>
                  </a:lnTo>
                  <a:lnTo>
                    <a:pt x="47" y="69"/>
                  </a:lnTo>
                  <a:lnTo>
                    <a:pt x="52" y="67"/>
                  </a:lnTo>
                  <a:lnTo>
                    <a:pt x="50" y="69"/>
                  </a:lnTo>
                  <a:lnTo>
                    <a:pt x="49" y="71"/>
                  </a:lnTo>
                  <a:lnTo>
                    <a:pt x="46" y="72"/>
                  </a:lnTo>
                  <a:lnTo>
                    <a:pt x="45" y="73"/>
                  </a:lnTo>
                  <a:lnTo>
                    <a:pt x="47" y="73"/>
                  </a:lnTo>
                  <a:lnTo>
                    <a:pt x="47" y="74"/>
                  </a:lnTo>
                  <a:lnTo>
                    <a:pt x="54" y="73"/>
                  </a:lnTo>
                  <a:lnTo>
                    <a:pt x="57" y="70"/>
                  </a:lnTo>
                  <a:lnTo>
                    <a:pt x="59" y="71"/>
                  </a:lnTo>
                  <a:lnTo>
                    <a:pt x="63" y="71"/>
                  </a:lnTo>
                  <a:lnTo>
                    <a:pt x="64" y="71"/>
                  </a:lnTo>
                  <a:lnTo>
                    <a:pt x="59" y="73"/>
                  </a:lnTo>
                  <a:lnTo>
                    <a:pt x="56" y="75"/>
                  </a:lnTo>
                  <a:lnTo>
                    <a:pt x="52" y="80"/>
                  </a:lnTo>
                  <a:lnTo>
                    <a:pt x="48" y="81"/>
                  </a:lnTo>
                  <a:lnTo>
                    <a:pt x="46" y="81"/>
                  </a:lnTo>
                  <a:lnTo>
                    <a:pt x="45" y="83"/>
                  </a:lnTo>
                  <a:lnTo>
                    <a:pt x="47" y="84"/>
                  </a:lnTo>
                  <a:lnTo>
                    <a:pt x="52" y="83"/>
                  </a:lnTo>
                  <a:lnTo>
                    <a:pt x="54" y="82"/>
                  </a:lnTo>
                  <a:lnTo>
                    <a:pt x="58" y="79"/>
                  </a:lnTo>
                  <a:lnTo>
                    <a:pt x="63" y="75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74" y="66"/>
                  </a:lnTo>
                  <a:lnTo>
                    <a:pt x="76" y="66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75" y="75"/>
                  </a:lnTo>
                  <a:lnTo>
                    <a:pt x="71" y="80"/>
                  </a:lnTo>
                  <a:lnTo>
                    <a:pt x="70" y="84"/>
                  </a:lnTo>
                  <a:lnTo>
                    <a:pt x="71" y="85"/>
                  </a:lnTo>
                  <a:lnTo>
                    <a:pt x="78" y="79"/>
                  </a:lnTo>
                  <a:lnTo>
                    <a:pt x="79" y="80"/>
                  </a:lnTo>
                  <a:lnTo>
                    <a:pt x="77" y="82"/>
                  </a:lnTo>
                  <a:lnTo>
                    <a:pt x="77" y="84"/>
                  </a:lnTo>
                  <a:lnTo>
                    <a:pt x="77" y="87"/>
                  </a:lnTo>
                  <a:lnTo>
                    <a:pt x="77" y="89"/>
                  </a:lnTo>
                  <a:lnTo>
                    <a:pt x="80" y="87"/>
                  </a:lnTo>
                  <a:lnTo>
                    <a:pt x="84" y="88"/>
                  </a:lnTo>
                  <a:lnTo>
                    <a:pt x="87" y="83"/>
                  </a:lnTo>
                  <a:lnTo>
                    <a:pt x="89" y="78"/>
                  </a:lnTo>
                  <a:lnTo>
                    <a:pt x="93" y="74"/>
                  </a:lnTo>
                  <a:lnTo>
                    <a:pt x="94" y="69"/>
                  </a:lnTo>
                  <a:lnTo>
                    <a:pt x="93" y="69"/>
                  </a:lnTo>
                  <a:lnTo>
                    <a:pt x="87" y="74"/>
                  </a:lnTo>
                  <a:lnTo>
                    <a:pt x="87" y="72"/>
                  </a:lnTo>
                  <a:lnTo>
                    <a:pt x="87" y="69"/>
                  </a:lnTo>
                  <a:lnTo>
                    <a:pt x="89" y="66"/>
                  </a:lnTo>
                  <a:lnTo>
                    <a:pt x="91" y="63"/>
                  </a:lnTo>
                  <a:lnTo>
                    <a:pt x="93" y="62"/>
                  </a:lnTo>
                  <a:lnTo>
                    <a:pt x="94" y="61"/>
                  </a:lnTo>
                  <a:lnTo>
                    <a:pt x="87" y="63"/>
                  </a:lnTo>
                  <a:lnTo>
                    <a:pt x="84" y="68"/>
                  </a:lnTo>
                  <a:lnTo>
                    <a:pt x="81" y="70"/>
                  </a:lnTo>
                  <a:lnTo>
                    <a:pt x="80" y="70"/>
                  </a:lnTo>
                  <a:lnTo>
                    <a:pt x="79" y="70"/>
                  </a:lnTo>
                  <a:lnTo>
                    <a:pt x="79" y="68"/>
                  </a:lnTo>
                  <a:lnTo>
                    <a:pt x="80" y="67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2"/>
                  </a:lnTo>
                  <a:lnTo>
                    <a:pt x="79" y="60"/>
                  </a:lnTo>
                  <a:lnTo>
                    <a:pt x="85" y="59"/>
                  </a:lnTo>
                  <a:lnTo>
                    <a:pt x="88" y="57"/>
                  </a:lnTo>
                  <a:lnTo>
                    <a:pt x="90" y="56"/>
                  </a:lnTo>
                  <a:lnTo>
                    <a:pt x="93" y="53"/>
                  </a:lnTo>
                  <a:lnTo>
                    <a:pt x="93" y="52"/>
                  </a:lnTo>
                  <a:lnTo>
                    <a:pt x="85" y="56"/>
                  </a:lnTo>
                  <a:lnTo>
                    <a:pt x="84" y="54"/>
                  </a:lnTo>
                  <a:lnTo>
                    <a:pt x="79" y="57"/>
                  </a:lnTo>
                  <a:lnTo>
                    <a:pt x="79" y="56"/>
                  </a:lnTo>
                  <a:lnTo>
                    <a:pt x="81" y="53"/>
                  </a:lnTo>
                  <a:lnTo>
                    <a:pt x="84" y="51"/>
                  </a:lnTo>
                  <a:lnTo>
                    <a:pt x="83" y="50"/>
                  </a:lnTo>
                  <a:lnTo>
                    <a:pt x="81" y="50"/>
                  </a:lnTo>
                  <a:lnTo>
                    <a:pt x="84" y="47"/>
                  </a:lnTo>
                  <a:lnTo>
                    <a:pt x="87" y="44"/>
                  </a:lnTo>
                  <a:lnTo>
                    <a:pt x="90" y="41"/>
                  </a:lnTo>
                  <a:lnTo>
                    <a:pt x="90" y="40"/>
                  </a:lnTo>
                  <a:lnTo>
                    <a:pt x="89" y="40"/>
                  </a:lnTo>
                  <a:lnTo>
                    <a:pt x="85" y="39"/>
                  </a:lnTo>
                  <a:lnTo>
                    <a:pt x="79" y="39"/>
                  </a:lnTo>
                  <a:lnTo>
                    <a:pt x="78" y="38"/>
                  </a:lnTo>
                  <a:lnTo>
                    <a:pt x="67" y="41"/>
                  </a:lnTo>
                  <a:lnTo>
                    <a:pt x="65" y="42"/>
                  </a:lnTo>
                  <a:lnTo>
                    <a:pt x="68" y="38"/>
                  </a:lnTo>
                  <a:lnTo>
                    <a:pt x="68" y="37"/>
                  </a:lnTo>
                  <a:lnTo>
                    <a:pt x="66" y="38"/>
                  </a:lnTo>
                  <a:lnTo>
                    <a:pt x="65" y="39"/>
                  </a:lnTo>
                  <a:lnTo>
                    <a:pt x="64" y="38"/>
                  </a:lnTo>
                  <a:lnTo>
                    <a:pt x="58" y="38"/>
                  </a:lnTo>
                  <a:lnTo>
                    <a:pt x="59" y="36"/>
                  </a:lnTo>
                  <a:lnTo>
                    <a:pt x="57" y="34"/>
                  </a:lnTo>
                  <a:lnTo>
                    <a:pt x="60" y="32"/>
                  </a:lnTo>
                  <a:lnTo>
                    <a:pt x="66" y="30"/>
                  </a:lnTo>
                  <a:lnTo>
                    <a:pt x="64" y="30"/>
                  </a:lnTo>
                  <a:lnTo>
                    <a:pt x="57" y="29"/>
                  </a:lnTo>
                  <a:lnTo>
                    <a:pt x="59" y="27"/>
                  </a:lnTo>
                  <a:lnTo>
                    <a:pt x="57" y="27"/>
                  </a:lnTo>
                  <a:lnTo>
                    <a:pt x="54" y="30"/>
                  </a:lnTo>
                  <a:lnTo>
                    <a:pt x="49" y="32"/>
                  </a:lnTo>
                  <a:lnTo>
                    <a:pt x="47" y="36"/>
                  </a:lnTo>
                  <a:lnTo>
                    <a:pt x="46" y="33"/>
                  </a:lnTo>
                  <a:lnTo>
                    <a:pt x="48" y="30"/>
                  </a:lnTo>
                  <a:lnTo>
                    <a:pt x="49" y="28"/>
                  </a:lnTo>
                  <a:lnTo>
                    <a:pt x="53" y="24"/>
                  </a:lnTo>
                  <a:lnTo>
                    <a:pt x="56" y="21"/>
                  </a:lnTo>
                  <a:lnTo>
                    <a:pt x="59" y="19"/>
                  </a:lnTo>
                  <a:lnTo>
                    <a:pt x="60" y="17"/>
                  </a:lnTo>
                  <a:lnTo>
                    <a:pt x="60" y="16"/>
                  </a:lnTo>
                  <a:lnTo>
                    <a:pt x="62" y="13"/>
                  </a:lnTo>
                  <a:lnTo>
                    <a:pt x="63" y="14"/>
                  </a:lnTo>
                  <a:lnTo>
                    <a:pt x="65" y="13"/>
                  </a:lnTo>
                  <a:lnTo>
                    <a:pt x="68" y="9"/>
                  </a:lnTo>
                  <a:lnTo>
                    <a:pt x="67" y="7"/>
                  </a:lnTo>
                  <a:lnTo>
                    <a:pt x="68" y="6"/>
                  </a:lnTo>
                  <a:lnTo>
                    <a:pt x="71" y="6"/>
                  </a:lnTo>
                  <a:lnTo>
                    <a:pt x="74" y="2"/>
                  </a:lnTo>
                  <a:lnTo>
                    <a:pt x="75" y="0"/>
                  </a:lnTo>
                  <a:lnTo>
                    <a:pt x="71" y="1"/>
                  </a:lnTo>
                  <a:lnTo>
                    <a:pt x="70" y="1"/>
                  </a:lnTo>
                  <a:lnTo>
                    <a:pt x="68" y="1"/>
                  </a:lnTo>
                  <a:lnTo>
                    <a:pt x="65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92" name="Freeform 1092"/>
            <p:cNvSpPr>
              <a:spLocks/>
            </p:cNvSpPr>
            <p:nvPr/>
          </p:nvSpPr>
          <p:spPr bwMode="auto">
            <a:xfrm>
              <a:off x="1901" y="1214"/>
              <a:ext cx="94" cy="89"/>
            </a:xfrm>
            <a:custGeom>
              <a:avLst/>
              <a:gdLst>
                <a:gd name="T0" fmla="*/ 58 w 94"/>
                <a:gd name="T1" fmla="*/ 6 h 89"/>
                <a:gd name="T2" fmla="*/ 55 w 94"/>
                <a:gd name="T3" fmla="*/ 9 h 89"/>
                <a:gd name="T4" fmla="*/ 52 w 94"/>
                <a:gd name="T5" fmla="*/ 10 h 89"/>
                <a:gd name="T6" fmla="*/ 48 w 94"/>
                <a:gd name="T7" fmla="*/ 16 h 89"/>
                <a:gd name="T8" fmla="*/ 46 w 94"/>
                <a:gd name="T9" fmla="*/ 18 h 89"/>
                <a:gd name="T10" fmla="*/ 40 w 94"/>
                <a:gd name="T11" fmla="*/ 24 h 89"/>
                <a:gd name="T12" fmla="*/ 36 w 94"/>
                <a:gd name="T13" fmla="*/ 28 h 89"/>
                <a:gd name="T14" fmla="*/ 32 w 94"/>
                <a:gd name="T15" fmla="*/ 37 h 89"/>
                <a:gd name="T16" fmla="*/ 26 w 94"/>
                <a:gd name="T17" fmla="*/ 40 h 89"/>
                <a:gd name="T18" fmla="*/ 26 w 94"/>
                <a:gd name="T19" fmla="*/ 42 h 89"/>
                <a:gd name="T20" fmla="*/ 26 w 94"/>
                <a:gd name="T21" fmla="*/ 46 h 89"/>
                <a:gd name="T22" fmla="*/ 13 w 94"/>
                <a:gd name="T23" fmla="*/ 53 h 89"/>
                <a:gd name="T24" fmla="*/ 7 w 94"/>
                <a:gd name="T25" fmla="*/ 54 h 89"/>
                <a:gd name="T26" fmla="*/ 16 w 94"/>
                <a:gd name="T27" fmla="*/ 56 h 89"/>
                <a:gd name="T28" fmla="*/ 2 w 94"/>
                <a:gd name="T29" fmla="*/ 67 h 89"/>
                <a:gd name="T30" fmla="*/ 4 w 94"/>
                <a:gd name="T31" fmla="*/ 72 h 89"/>
                <a:gd name="T32" fmla="*/ 23 w 94"/>
                <a:gd name="T33" fmla="*/ 71 h 89"/>
                <a:gd name="T34" fmla="*/ 36 w 94"/>
                <a:gd name="T35" fmla="*/ 72 h 89"/>
                <a:gd name="T36" fmla="*/ 47 w 94"/>
                <a:gd name="T37" fmla="*/ 69 h 89"/>
                <a:gd name="T38" fmla="*/ 49 w 94"/>
                <a:gd name="T39" fmla="*/ 71 h 89"/>
                <a:gd name="T40" fmla="*/ 47 w 94"/>
                <a:gd name="T41" fmla="*/ 73 h 89"/>
                <a:gd name="T42" fmla="*/ 57 w 94"/>
                <a:gd name="T43" fmla="*/ 70 h 89"/>
                <a:gd name="T44" fmla="*/ 64 w 94"/>
                <a:gd name="T45" fmla="*/ 71 h 89"/>
                <a:gd name="T46" fmla="*/ 52 w 94"/>
                <a:gd name="T47" fmla="*/ 80 h 89"/>
                <a:gd name="T48" fmla="*/ 45 w 94"/>
                <a:gd name="T49" fmla="*/ 83 h 89"/>
                <a:gd name="T50" fmla="*/ 54 w 94"/>
                <a:gd name="T51" fmla="*/ 82 h 89"/>
                <a:gd name="T52" fmla="*/ 67 w 94"/>
                <a:gd name="T53" fmla="*/ 74 h 89"/>
                <a:gd name="T54" fmla="*/ 76 w 94"/>
                <a:gd name="T55" fmla="*/ 66 h 89"/>
                <a:gd name="T56" fmla="*/ 75 w 94"/>
                <a:gd name="T57" fmla="*/ 75 h 89"/>
                <a:gd name="T58" fmla="*/ 71 w 94"/>
                <a:gd name="T59" fmla="*/ 85 h 89"/>
                <a:gd name="T60" fmla="*/ 77 w 94"/>
                <a:gd name="T61" fmla="*/ 82 h 89"/>
                <a:gd name="T62" fmla="*/ 77 w 94"/>
                <a:gd name="T63" fmla="*/ 89 h 89"/>
                <a:gd name="T64" fmla="*/ 87 w 94"/>
                <a:gd name="T65" fmla="*/ 83 h 89"/>
                <a:gd name="T66" fmla="*/ 94 w 94"/>
                <a:gd name="T67" fmla="*/ 69 h 89"/>
                <a:gd name="T68" fmla="*/ 87 w 94"/>
                <a:gd name="T69" fmla="*/ 72 h 89"/>
                <a:gd name="T70" fmla="*/ 91 w 94"/>
                <a:gd name="T71" fmla="*/ 63 h 89"/>
                <a:gd name="T72" fmla="*/ 87 w 94"/>
                <a:gd name="T73" fmla="*/ 63 h 89"/>
                <a:gd name="T74" fmla="*/ 80 w 94"/>
                <a:gd name="T75" fmla="*/ 70 h 89"/>
                <a:gd name="T76" fmla="*/ 80 w 94"/>
                <a:gd name="T77" fmla="*/ 67 h 89"/>
                <a:gd name="T78" fmla="*/ 81 w 94"/>
                <a:gd name="T79" fmla="*/ 62 h 89"/>
                <a:gd name="T80" fmla="*/ 88 w 94"/>
                <a:gd name="T81" fmla="*/ 57 h 89"/>
                <a:gd name="T82" fmla="*/ 93 w 94"/>
                <a:gd name="T83" fmla="*/ 52 h 89"/>
                <a:gd name="T84" fmla="*/ 79 w 94"/>
                <a:gd name="T85" fmla="*/ 57 h 89"/>
                <a:gd name="T86" fmla="*/ 84 w 94"/>
                <a:gd name="T87" fmla="*/ 51 h 89"/>
                <a:gd name="T88" fmla="*/ 84 w 94"/>
                <a:gd name="T89" fmla="*/ 47 h 89"/>
                <a:gd name="T90" fmla="*/ 90 w 94"/>
                <a:gd name="T91" fmla="*/ 40 h 89"/>
                <a:gd name="T92" fmla="*/ 79 w 94"/>
                <a:gd name="T93" fmla="*/ 39 h 89"/>
                <a:gd name="T94" fmla="*/ 65 w 94"/>
                <a:gd name="T95" fmla="*/ 42 h 89"/>
                <a:gd name="T96" fmla="*/ 66 w 94"/>
                <a:gd name="T97" fmla="*/ 38 h 89"/>
                <a:gd name="T98" fmla="*/ 58 w 94"/>
                <a:gd name="T99" fmla="*/ 38 h 89"/>
                <a:gd name="T100" fmla="*/ 60 w 94"/>
                <a:gd name="T101" fmla="*/ 32 h 89"/>
                <a:gd name="T102" fmla="*/ 57 w 94"/>
                <a:gd name="T103" fmla="*/ 29 h 89"/>
                <a:gd name="T104" fmla="*/ 54 w 94"/>
                <a:gd name="T105" fmla="*/ 30 h 89"/>
                <a:gd name="T106" fmla="*/ 46 w 94"/>
                <a:gd name="T107" fmla="*/ 33 h 89"/>
                <a:gd name="T108" fmla="*/ 53 w 94"/>
                <a:gd name="T109" fmla="*/ 24 h 89"/>
                <a:gd name="T110" fmla="*/ 60 w 94"/>
                <a:gd name="T111" fmla="*/ 17 h 89"/>
                <a:gd name="T112" fmla="*/ 63 w 94"/>
                <a:gd name="T113" fmla="*/ 14 h 89"/>
                <a:gd name="T114" fmla="*/ 67 w 94"/>
                <a:gd name="T115" fmla="*/ 7 h 89"/>
                <a:gd name="T116" fmla="*/ 74 w 94"/>
                <a:gd name="T117" fmla="*/ 2 h 89"/>
                <a:gd name="T118" fmla="*/ 70 w 94"/>
                <a:gd name="T119" fmla="*/ 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4" h="89">
                  <a:moveTo>
                    <a:pt x="65" y="2"/>
                  </a:moveTo>
                  <a:lnTo>
                    <a:pt x="62" y="3"/>
                  </a:lnTo>
                  <a:lnTo>
                    <a:pt x="58" y="6"/>
                  </a:lnTo>
                  <a:lnTo>
                    <a:pt x="57" y="7"/>
                  </a:lnTo>
                  <a:lnTo>
                    <a:pt x="55" y="8"/>
                  </a:lnTo>
                  <a:lnTo>
                    <a:pt x="55" y="9"/>
                  </a:lnTo>
                  <a:lnTo>
                    <a:pt x="54" y="9"/>
                  </a:lnTo>
                  <a:lnTo>
                    <a:pt x="53" y="10"/>
                  </a:lnTo>
                  <a:lnTo>
                    <a:pt x="52" y="10"/>
                  </a:lnTo>
                  <a:lnTo>
                    <a:pt x="50" y="12"/>
                  </a:lnTo>
                  <a:lnTo>
                    <a:pt x="49" y="13"/>
                  </a:lnTo>
                  <a:lnTo>
                    <a:pt x="48" y="16"/>
                  </a:lnTo>
                  <a:lnTo>
                    <a:pt x="46" y="16"/>
                  </a:lnTo>
                  <a:lnTo>
                    <a:pt x="44" y="17"/>
                  </a:lnTo>
                  <a:lnTo>
                    <a:pt x="46" y="18"/>
                  </a:lnTo>
                  <a:lnTo>
                    <a:pt x="44" y="19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2" y="26"/>
                  </a:lnTo>
                  <a:lnTo>
                    <a:pt x="37" y="27"/>
                  </a:lnTo>
                  <a:lnTo>
                    <a:pt x="36" y="28"/>
                  </a:lnTo>
                  <a:lnTo>
                    <a:pt x="32" y="33"/>
                  </a:lnTo>
                  <a:lnTo>
                    <a:pt x="30" y="36"/>
                  </a:lnTo>
                  <a:lnTo>
                    <a:pt x="32" y="37"/>
                  </a:lnTo>
                  <a:lnTo>
                    <a:pt x="30" y="37"/>
                  </a:lnTo>
                  <a:lnTo>
                    <a:pt x="29" y="37"/>
                  </a:lnTo>
                  <a:lnTo>
                    <a:pt x="26" y="40"/>
                  </a:lnTo>
                  <a:lnTo>
                    <a:pt x="25" y="41"/>
                  </a:lnTo>
                  <a:lnTo>
                    <a:pt x="25" y="42"/>
                  </a:lnTo>
                  <a:lnTo>
                    <a:pt x="26" y="42"/>
                  </a:lnTo>
                  <a:lnTo>
                    <a:pt x="26" y="43"/>
                  </a:lnTo>
                  <a:lnTo>
                    <a:pt x="25" y="44"/>
                  </a:lnTo>
                  <a:lnTo>
                    <a:pt x="26" y="46"/>
                  </a:lnTo>
                  <a:lnTo>
                    <a:pt x="22" y="44"/>
                  </a:lnTo>
                  <a:lnTo>
                    <a:pt x="15" y="52"/>
                  </a:lnTo>
                  <a:lnTo>
                    <a:pt x="13" y="53"/>
                  </a:lnTo>
                  <a:lnTo>
                    <a:pt x="13" y="52"/>
                  </a:lnTo>
                  <a:lnTo>
                    <a:pt x="10" y="53"/>
                  </a:lnTo>
                  <a:lnTo>
                    <a:pt x="7" y="54"/>
                  </a:lnTo>
                  <a:lnTo>
                    <a:pt x="7" y="56"/>
                  </a:lnTo>
                  <a:lnTo>
                    <a:pt x="13" y="54"/>
                  </a:lnTo>
                  <a:lnTo>
                    <a:pt x="16" y="56"/>
                  </a:lnTo>
                  <a:lnTo>
                    <a:pt x="16" y="57"/>
                  </a:lnTo>
                  <a:lnTo>
                    <a:pt x="7" y="62"/>
                  </a:lnTo>
                  <a:lnTo>
                    <a:pt x="2" y="67"/>
                  </a:lnTo>
                  <a:lnTo>
                    <a:pt x="0" y="69"/>
                  </a:lnTo>
                  <a:lnTo>
                    <a:pt x="0" y="71"/>
                  </a:lnTo>
                  <a:lnTo>
                    <a:pt x="4" y="72"/>
                  </a:lnTo>
                  <a:lnTo>
                    <a:pt x="9" y="71"/>
                  </a:lnTo>
                  <a:lnTo>
                    <a:pt x="18" y="70"/>
                  </a:lnTo>
                  <a:lnTo>
                    <a:pt x="23" y="71"/>
                  </a:lnTo>
                  <a:lnTo>
                    <a:pt x="26" y="71"/>
                  </a:lnTo>
                  <a:lnTo>
                    <a:pt x="28" y="71"/>
                  </a:lnTo>
                  <a:lnTo>
                    <a:pt x="36" y="72"/>
                  </a:lnTo>
                  <a:lnTo>
                    <a:pt x="39" y="71"/>
                  </a:lnTo>
                  <a:lnTo>
                    <a:pt x="45" y="70"/>
                  </a:lnTo>
                  <a:lnTo>
                    <a:pt x="47" y="69"/>
                  </a:lnTo>
                  <a:lnTo>
                    <a:pt x="52" y="67"/>
                  </a:lnTo>
                  <a:lnTo>
                    <a:pt x="50" y="69"/>
                  </a:lnTo>
                  <a:lnTo>
                    <a:pt x="49" y="71"/>
                  </a:lnTo>
                  <a:lnTo>
                    <a:pt x="46" y="72"/>
                  </a:lnTo>
                  <a:lnTo>
                    <a:pt x="45" y="73"/>
                  </a:lnTo>
                  <a:lnTo>
                    <a:pt x="47" y="73"/>
                  </a:lnTo>
                  <a:lnTo>
                    <a:pt x="47" y="74"/>
                  </a:lnTo>
                  <a:lnTo>
                    <a:pt x="54" y="73"/>
                  </a:lnTo>
                  <a:lnTo>
                    <a:pt x="57" y="70"/>
                  </a:lnTo>
                  <a:lnTo>
                    <a:pt x="59" y="71"/>
                  </a:lnTo>
                  <a:lnTo>
                    <a:pt x="63" y="71"/>
                  </a:lnTo>
                  <a:lnTo>
                    <a:pt x="64" y="71"/>
                  </a:lnTo>
                  <a:lnTo>
                    <a:pt x="59" y="73"/>
                  </a:lnTo>
                  <a:lnTo>
                    <a:pt x="56" y="75"/>
                  </a:lnTo>
                  <a:lnTo>
                    <a:pt x="52" y="80"/>
                  </a:lnTo>
                  <a:lnTo>
                    <a:pt x="48" y="81"/>
                  </a:lnTo>
                  <a:lnTo>
                    <a:pt x="46" y="81"/>
                  </a:lnTo>
                  <a:lnTo>
                    <a:pt x="45" y="83"/>
                  </a:lnTo>
                  <a:lnTo>
                    <a:pt x="47" y="84"/>
                  </a:lnTo>
                  <a:lnTo>
                    <a:pt x="52" y="83"/>
                  </a:lnTo>
                  <a:lnTo>
                    <a:pt x="54" y="82"/>
                  </a:lnTo>
                  <a:lnTo>
                    <a:pt x="58" y="79"/>
                  </a:lnTo>
                  <a:lnTo>
                    <a:pt x="63" y="75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74" y="66"/>
                  </a:lnTo>
                  <a:lnTo>
                    <a:pt x="76" y="66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75" y="75"/>
                  </a:lnTo>
                  <a:lnTo>
                    <a:pt x="71" y="80"/>
                  </a:lnTo>
                  <a:lnTo>
                    <a:pt x="70" y="84"/>
                  </a:lnTo>
                  <a:lnTo>
                    <a:pt x="71" y="85"/>
                  </a:lnTo>
                  <a:lnTo>
                    <a:pt x="78" y="79"/>
                  </a:lnTo>
                  <a:lnTo>
                    <a:pt x="79" y="80"/>
                  </a:lnTo>
                  <a:lnTo>
                    <a:pt x="77" y="82"/>
                  </a:lnTo>
                  <a:lnTo>
                    <a:pt x="77" y="84"/>
                  </a:lnTo>
                  <a:lnTo>
                    <a:pt x="77" y="87"/>
                  </a:lnTo>
                  <a:lnTo>
                    <a:pt x="77" y="89"/>
                  </a:lnTo>
                  <a:lnTo>
                    <a:pt x="80" y="87"/>
                  </a:lnTo>
                  <a:lnTo>
                    <a:pt x="84" y="88"/>
                  </a:lnTo>
                  <a:lnTo>
                    <a:pt x="87" y="83"/>
                  </a:lnTo>
                  <a:lnTo>
                    <a:pt x="89" y="78"/>
                  </a:lnTo>
                  <a:lnTo>
                    <a:pt x="93" y="74"/>
                  </a:lnTo>
                  <a:lnTo>
                    <a:pt x="94" y="69"/>
                  </a:lnTo>
                  <a:lnTo>
                    <a:pt x="93" y="69"/>
                  </a:lnTo>
                  <a:lnTo>
                    <a:pt x="87" y="74"/>
                  </a:lnTo>
                  <a:lnTo>
                    <a:pt x="87" y="72"/>
                  </a:lnTo>
                  <a:lnTo>
                    <a:pt x="87" y="69"/>
                  </a:lnTo>
                  <a:lnTo>
                    <a:pt x="89" y="66"/>
                  </a:lnTo>
                  <a:lnTo>
                    <a:pt x="91" y="63"/>
                  </a:lnTo>
                  <a:lnTo>
                    <a:pt x="93" y="62"/>
                  </a:lnTo>
                  <a:lnTo>
                    <a:pt x="94" y="61"/>
                  </a:lnTo>
                  <a:lnTo>
                    <a:pt x="87" y="63"/>
                  </a:lnTo>
                  <a:lnTo>
                    <a:pt x="84" y="68"/>
                  </a:lnTo>
                  <a:lnTo>
                    <a:pt x="81" y="70"/>
                  </a:lnTo>
                  <a:lnTo>
                    <a:pt x="80" y="70"/>
                  </a:lnTo>
                  <a:lnTo>
                    <a:pt x="79" y="70"/>
                  </a:lnTo>
                  <a:lnTo>
                    <a:pt x="79" y="68"/>
                  </a:lnTo>
                  <a:lnTo>
                    <a:pt x="80" y="67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2"/>
                  </a:lnTo>
                  <a:lnTo>
                    <a:pt x="79" y="60"/>
                  </a:lnTo>
                  <a:lnTo>
                    <a:pt x="85" y="59"/>
                  </a:lnTo>
                  <a:lnTo>
                    <a:pt x="88" y="57"/>
                  </a:lnTo>
                  <a:lnTo>
                    <a:pt x="90" y="56"/>
                  </a:lnTo>
                  <a:lnTo>
                    <a:pt x="93" y="53"/>
                  </a:lnTo>
                  <a:lnTo>
                    <a:pt x="93" y="52"/>
                  </a:lnTo>
                  <a:lnTo>
                    <a:pt x="85" y="56"/>
                  </a:lnTo>
                  <a:lnTo>
                    <a:pt x="84" y="54"/>
                  </a:lnTo>
                  <a:lnTo>
                    <a:pt x="79" y="57"/>
                  </a:lnTo>
                  <a:lnTo>
                    <a:pt x="79" y="56"/>
                  </a:lnTo>
                  <a:lnTo>
                    <a:pt x="81" y="53"/>
                  </a:lnTo>
                  <a:lnTo>
                    <a:pt x="84" y="51"/>
                  </a:lnTo>
                  <a:lnTo>
                    <a:pt x="83" y="50"/>
                  </a:lnTo>
                  <a:lnTo>
                    <a:pt x="81" y="50"/>
                  </a:lnTo>
                  <a:lnTo>
                    <a:pt x="84" y="47"/>
                  </a:lnTo>
                  <a:lnTo>
                    <a:pt x="87" y="44"/>
                  </a:lnTo>
                  <a:lnTo>
                    <a:pt x="90" y="41"/>
                  </a:lnTo>
                  <a:lnTo>
                    <a:pt x="90" y="40"/>
                  </a:lnTo>
                  <a:lnTo>
                    <a:pt x="89" y="40"/>
                  </a:lnTo>
                  <a:lnTo>
                    <a:pt x="85" y="39"/>
                  </a:lnTo>
                  <a:lnTo>
                    <a:pt x="79" y="39"/>
                  </a:lnTo>
                  <a:lnTo>
                    <a:pt x="78" y="38"/>
                  </a:lnTo>
                  <a:lnTo>
                    <a:pt x="67" y="41"/>
                  </a:lnTo>
                  <a:lnTo>
                    <a:pt x="65" y="42"/>
                  </a:lnTo>
                  <a:lnTo>
                    <a:pt x="68" y="38"/>
                  </a:lnTo>
                  <a:lnTo>
                    <a:pt x="68" y="37"/>
                  </a:lnTo>
                  <a:lnTo>
                    <a:pt x="66" y="38"/>
                  </a:lnTo>
                  <a:lnTo>
                    <a:pt x="65" y="39"/>
                  </a:lnTo>
                  <a:lnTo>
                    <a:pt x="64" y="38"/>
                  </a:lnTo>
                  <a:lnTo>
                    <a:pt x="58" y="38"/>
                  </a:lnTo>
                  <a:lnTo>
                    <a:pt x="59" y="36"/>
                  </a:lnTo>
                  <a:lnTo>
                    <a:pt x="57" y="34"/>
                  </a:lnTo>
                  <a:lnTo>
                    <a:pt x="60" y="32"/>
                  </a:lnTo>
                  <a:lnTo>
                    <a:pt x="66" y="30"/>
                  </a:lnTo>
                  <a:lnTo>
                    <a:pt x="64" y="30"/>
                  </a:lnTo>
                  <a:lnTo>
                    <a:pt x="57" y="29"/>
                  </a:lnTo>
                  <a:lnTo>
                    <a:pt x="59" y="27"/>
                  </a:lnTo>
                  <a:lnTo>
                    <a:pt x="57" y="27"/>
                  </a:lnTo>
                  <a:lnTo>
                    <a:pt x="54" y="30"/>
                  </a:lnTo>
                  <a:lnTo>
                    <a:pt x="49" y="32"/>
                  </a:lnTo>
                  <a:lnTo>
                    <a:pt x="47" y="36"/>
                  </a:lnTo>
                  <a:lnTo>
                    <a:pt x="46" y="33"/>
                  </a:lnTo>
                  <a:lnTo>
                    <a:pt x="48" y="30"/>
                  </a:lnTo>
                  <a:lnTo>
                    <a:pt x="49" y="28"/>
                  </a:lnTo>
                  <a:lnTo>
                    <a:pt x="53" y="24"/>
                  </a:lnTo>
                  <a:lnTo>
                    <a:pt x="56" y="21"/>
                  </a:lnTo>
                  <a:lnTo>
                    <a:pt x="59" y="19"/>
                  </a:lnTo>
                  <a:lnTo>
                    <a:pt x="60" y="17"/>
                  </a:lnTo>
                  <a:lnTo>
                    <a:pt x="60" y="16"/>
                  </a:lnTo>
                  <a:lnTo>
                    <a:pt x="62" y="13"/>
                  </a:lnTo>
                  <a:lnTo>
                    <a:pt x="63" y="14"/>
                  </a:lnTo>
                  <a:lnTo>
                    <a:pt x="65" y="13"/>
                  </a:lnTo>
                  <a:lnTo>
                    <a:pt x="68" y="9"/>
                  </a:lnTo>
                  <a:lnTo>
                    <a:pt x="67" y="7"/>
                  </a:lnTo>
                  <a:lnTo>
                    <a:pt x="68" y="6"/>
                  </a:lnTo>
                  <a:lnTo>
                    <a:pt x="71" y="6"/>
                  </a:lnTo>
                  <a:lnTo>
                    <a:pt x="74" y="2"/>
                  </a:lnTo>
                  <a:lnTo>
                    <a:pt x="75" y="0"/>
                  </a:lnTo>
                  <a:lnTo>
                    <a:pt x="71" y="1"/>
                  </a:lnTo>
                  <a:lnTo>
                    <a:pt x="70" y="1"/>
                  </a:lnTo>
                  <a:lnTo>
                    <a:pt x="68" y="1"/>
                  </a:lnTo>
                  <a:lnTo>
                    <a:pt x="65" y="2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93" name="Freeform 1093"/>
            <p:cNvSpPr>
              <a:spLocks/>
            </p:cNvSpPr>
            <p:nvPr/>
          </p:nvSpPr>
          <p:spPr bwMode="auto">
            <a:xfrm>
              <a:off x="1166" y="915"/>
              <a:ext cx="22" cy="12"/>
            </a:xfrm>
            <a:custGeom>
              <a:avLst/>
              <a:gdLst>
                <a:gd name="T0" fmla="*/ 5 w 22"/>
                <a:gd name="T1" fmla="*/ 6 h 12"/>
                <a:gd name="T2" fmla="*/ 7 w 22"/>
                <a:gd name="T3" fmla="*/ 7 h 12"/>
                <a:gd name="T4" fmla="*/ 8 w 22"/>
                <a:gd name="T5" fmla="*/ 6 h 12"/>
                <a:gd name="T6" fmla="*/ 8 w 22"/>
                <a:gd name="T7" fmla="*/ 5 h 12"/>
                <a:gd name="T8" fmla="*/ 9 w 22"/>
                <a:gd name="T9" fmla="*/ 5 h 12"/>
                <a:gd name="T10" fmla="*/ 9 w 22"/>
                <a:gd name="T11" fmla="*/ 6 h 12"/>
                <a:gd name="T12" fmla="*/ 11 w 22"/>
                <a:gd name="T13" fmla="*/ 5 h 12"/>
                <a:gd name="T14" fmla="*/ 11 w 22"/>
                <a:gd name="T15" fmla="*/ 6 h 12"/>
                <a:gd name="T16" fmla="*/ 13 w 22"/>
                <a:gd name="T17" fmla="*/ 5 h 12"/>
                <a:gd name="T18" fmla="*/ 14 w 22"/>
                <a:gd name="T19" fmla="*/ 4 h 12"/>
                <a:gd name="T20" fmla="*/ 13 w 22"/>
                <a:gd name="T21" fmla="*/ 5 h 12"/>
                <a:gd name="T22" fmla="*/ 12 w 22"/>
                <a:gd name="T23" fmla="*/ 4 h 12"/>
                <a:gd name="T24" fmla="*/ 14 w 22"/>
                <a:gd name="T25" fmla="*/ 4 h 12"/>
                <a:gd name="T26" fmla="*/ 17 w 22"/>
                <a:gd name="T27" fmla="*/ 3 h 12"/>
                <a:gd name="T28" fmla="*/ 17 w 22"/>
                <a:gd name="T29" fmla="*/ 2 h 12"/>
                <a:gd name="T30" fmla="*/ 18 w 22"/>
                <a:gd name="T31" fmla="*/ 0 h 12"/>
                <a:gd name="T32" fmla="*/ 19 w 22"/>
                <a:gd name="T33" fmla="*/ 0 h 12"/>
                <a:gd name="T34" fmla="*/ 18 w 22"/>
                <a:gd name="T35" fmla="*/ 2 h 12"/>
                <a:gd name="T36" fmla="*/ 19 w 22"/>
                <a:gd name="T37" fmla="*/ 3 h 12"/>
                <a:gd name="T38" fmla="*/ 18 w 22"/>
                <a:gd name="T39" fmla="*/ 3 h 12"/>
                <a:gd name="T40" fmla="*/ 18 w 22"/>
                <a:gd name="T41" fmla="*/ 4 h 12"/>
                <a:gd name="T42" fmla="*/ 19 w 22"/>
                <a:gd name="T43" fmla="*/ 4 h 12"/>
                <a:gd name="T44" fmla="*/ 22 w 22"/>
                <a:gd name="T45" fmla="*/ 3 h 12"/>
                <a:gd name="T46" fmla="*/ 22 w 22"/>
                <a:gd name="T47" fmla="*/ 4 h 12"/>
                <a:gd name="T48" fmla="*/ 21 w 22"/>
                <a:gd name="T49" fmla="*/ 5 h 12"/>
                <a:gd name="T50" fmla="*/ 20 w 22"/>
                <a:gd name="T51" fmla="*/ 6 h 12"/>
                <a:gd name="T52" fmla="*/ 17 w 22"/>
                <a:gd name="T53" fmla="*/ 6 h 12"/>
                <a:gd name="T54" fmla="*/ 9 w 22"/>
                <a:gd name="T55" fmla="*/ 9 h 12"/>
                <a:gd name="T56" fmla="*/ 3 w 22"/>
                <a:gd name="T57" fmla="*/ 12 h 12"/>
                <a:gd name="T58" fmla="*/ 1 w 22"/>
                <a:gd name="T59" fmla="*/ 12 h 12"/>
                <a:gd name="T60" fmla="*/ 1 w 22"/>
                <a:gd name="T61" fmla="*/ 12 h 12"/>
                <a:gd name="T62" fmla="*/ 0 w 22"/>
                <a:gd name="T63" fmla="*/ 12 h 12"/>
                <a:gd name="T64" fmla="*/ 0 w 22"/>
                <a:gd name="T65" fmla="*/ 12 h 12"/>
                <a:gd name="T66" fmla="*/ 1 w 22"/>
                <a:gd name="T67" fmla="*/ 10 h 12"/>
                <a:gd name="T68" fmla="*/ 2 w 22"/>
                <a:gd name="T69" fmla="*/ 10 h 12"/>
                <a:gd name="T70" fmla="*/ 4 w 22"/>
                <a:gd name="T71" fmla="*/ 10 h 12"/>
                <a:gd name="T72" fmla="*/ 7 w 22"/>
                <a:gd name="T73" fmla="*/ 9 h 12"/>
                <a:gd name="T74" fmla="*/ 3 w 22"/>
                <a:gd name="T75" fmla="*/ 10 h 12"/>
                <a:gd name="T76" fmla="*/ 1 w 22"/>
                <a:gd name="T77" fmla="*/ 9 h 12"/>
                <a:gd name="T78" fmla="*/ 2 w 22"/>
                <a:gd name="T79" fmla="*/ 8 h 12"/>
                <a:gd name="T80" fmla="*/ 3 w 22"/>
                <a:gd name="T81" fmla="*/ 7 h 12"/>
                <a:gd name="T82" fmla="*/ 2 w 22"/>
                <a:gd name="T83" fmla="*/ 6 h 12"/>
                <a:gd name="T84" fmla="*/ 3 w 22"/>
                <a:gd name="T85" fmla="*/ 6 h 12"/>
                <a:gd name="T86" fmla="*/ 4 w 22"/>
                <a:gd name="T87" fmla="*/ 5 h 12"/>
                <a:gd name="T88" fmla="*/ 4 w 22"/>
                <a:gd name="T89" fmla="*/ 5 h 12"/>
                <a:gd name="T90" fmla="*/ 5 w 22"/>
                <a:gd name="T9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" h="12">
                  <a:moveTo>
                    <a:pt x="5" y="6"/>
                  </a:moveTo>
                  <a:lnTo>
                    <a:pt x="7" y="7"/>
                  </a:lnTo>
                  <a:lnTo>
                    <a:pt x="8" y="6"/>
                  </a:lnTo>
                  <a:lnTo>
                    <a:pt x="8" y="5"/>
                  </a:lnTo>
                  <a:lnTo>
                    <a:pt x="9" y="5"/>
                  </a:lnTo>
                  <a:lnTo>
                    <a:pt x="9" y="6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3" y="5"/>
                  </a:lnTo>
                  <a:lnTo>
                    <a:pt x="14" y="4"/>
                  </a:lnTo>
                  <a:lnTo>
                    <a:pt x="13" y="5"/>
                  </a:lnTo>
                  <a:lnTo>
                    <a:pt x="12" y="4"/>
                  </a:lnTo>
                  <a:lnTo>
                    <a:pt x="14" y="4"/>
                  </a:lnTo>
                  <a:lnTo>
                    <a:pt x="17" y="3"/>
                  </a:lnTo>
                  <a:lnTo>
                    <a:pt x="17" y="2"/>
                  </a:lnTo>
                  <a:lnTo>
                    <a:pt x="18" y="0"/>
                  </a:lnTo>
                  <a:lnTo>
                    <a:pt x="19" y="0"/>
                  </a:lnTo>
                  <a:lnTo>
                    <a:pt x="18" y="2"/>
                  </a:lnTo>
                  <a:lnTo>
                    <a:pt x="19" y="3"/>
                  </a:lnTo>
                  <a:lnTo>
                    <a:pt x="18" y="3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22" y="3"/>
                  </a:lnTo>
                  <a:lnTo>
                    <a:pt x="22" y="4"/>
                  </a:lnTo>
                  <a:lnTo>
                    <a:pt x="21" y="5"/>
                  </a:lnTo>
                  <a:lnTo>
                    <a:pt x="20" y="6"/>
                  </a:lnTo>
                  <a:lnTo>
                    <a:pt x="17" y="6"/>
                  </a:lnTo>
                  <a:lnTo>
                    <a:pt x="9" y="9"/>
                  </a:lnTo>
                  <a:lnTo>
                    <a:pt x="3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7" y="9"/>
                  </a:lnTo>
                  <a:lnTo>
                    <a:pt x="3" y="10"/>
                  </a:lnTo>
                  <a:lnTo>
                    <a:pt x="1" y="9"/>
                  </a:lnTo>
                  <a:lnTo>
                    <a:pt x="2" y="8"/>
                  </a:lnTo>
                  <a:lnTo>
                    <a:pt x="3" y="7"/>
                  </a:lnTo>
                  <a:lnTo>
                    <a:pt x="2" y="6"/>
                  </a:lnTo>
                  <a:lnTo>
                    <a:pt x="3" y="6"/>
                  </a:lnTo>
                  <a:lnTo>
                    <a:pt x="4" y="5"/>
                  </a:lnTo>
                  <a:lnTo>
                    <a:pt x="4" y="5"/>
                  </a:lnTo>
                  <a:lnTo>
                    <a:pt x="5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94" name="Freeform 1094"/>
            <p:cNvSpPr>
              <a:spLocks/>
            </p:cNvSpPr>
            <p:nvPr/>
          </p:nvSpPr>
          <p:spPr bwMode="auto">
            <a:xfrm>
              <a:off x="1166" y="915"/>
              <a:ext cx="22" cy="12"/>
            </a:xfrm>
            <a:custGeom>
              <a:avLst/>
              <a:gdLst>
                <a:gd name="T0" fmla="*/ 5 w 22"/>
                <a:gd name="T1" fmla="*/ 6 h 12"/>
                <a:gd name="T2" fmla="*/ 7 w 22"/>
                <a:gd name="T3" fmla="*/ 7 h 12"/>
                <a:gd name="T4" fmla="*/ 8 w 22"/>
                <a:gd name="T5" fmla="*/ 6 h 12"/>
                <a:gd name="T6" fmla="*/ 8 w 22"/>
                <a:gd name="T7" fmla="*/ 5 h 12"/>
                <a:gd name="T8" fmla="*/ 9 w 22"/>
                <a:gd name="T9" fmla="*/ 5 h 12"/>
                <a:gd name="T10" fmla="*/ 9 w 22"/>
                <a:gd name="T11" fmla="*/ 6 h 12"/>
                <a:gd name="T12" fmla="*/ 11 w 22"/>
                <a:gd name="T13" fmla="*/ 5 h 12"/>
                <a:gd name="T14" fmla="*/ 11 w 22"/>
                <a:gd name="T15" fmla="*/ 6 h 12"/>
                <a:gd name="T16" fmla="*/ 13 w 22"/>
                <a:gd name="T17" fmla="*/ 5 h 12"/>
                <a:gd name="T18" fmla="*/ 14 w 22"/>
                <a:gd name="T19" fmla="*/ 4 h 12"/>
                <a:gd name="T20" fmla="*/ 13 w 22"/>
                <a:gd name="T21" fmla="*/ 5 h 12"/>
                <a:gd name="T22" fmla="*/ 12 w 22"/>
                <a:gd name="T23" fmla="*/ 4 h 12"/>
                <a:gd name="T24" fmla="*/ 14 w 22"/>
                <a:gd name="T25" fmla="*/ 4 h 12"/>
                <a:gd name="T26" fmla="*/ 17 w 22"/>
                <a:gd name="T27" fmla="*/ 3 h 12"/>
                <a:gd name="T28" fmla="*/ 17 w 22"/>
                <a:gd name="T29" fmla="*/ 2 h 12"/>
                <a:gd name="T30" fmla="*/ 18 w 22"/>
                <a:gd name="T31" fmla="*/ 0 h 12"/>
                <a:gd name="T32" fmla="*/ 19 w 22"/>
                <a:gd name="T33" fmla="*/ 0 h 12"/>
                <a:gd name="T34" fmla="*/ 18 w 22"/>
                <a:gd name="T35" fmla="*/ 2 h 12"/>
                <a:gd name="T36" fmla="*/ 19 w 22"/>
                <a:gd name="T37" fmla="*/ 3 h 12"/>
                <a:gd name="T38" fmla="*/ 18 w 22"/>
                <a:gd name="T39" fmla="*/ 3 h 12"/>
                <a:gd name="T40" fmla="*/ 18 w 22"/>
                <a:gd name="T41" fmla="*/ 4 h 12"/>
                <a:gd name="T42" fmla="*/ 19 w 22"/>
                <a:gd name="T43" fmla="*/ 4 h 12"/>
                <a:gd name="T44" fmla="*/ 22 w 22"/>
                <a:gd name="T45" fmla="*/ 3 h 12"/>
                <a:gd name="T46" fmla="*/ 22 w 22"/>
                <a:gd name="T47" fmla="*/ 4 h 12"/>
                <a:gd name="T48" fmla="*/ 21 w 22"/>
                <a:gd name="T49" fmla="*/ 5 h 12"/>
                <a:gd name="T50" fmla="*/ 20 w 22"/>
                <a:gd name="T51" fmla="*/ 6 h 12"/>
                <a:gd name="T52" fmla="*/ 17 w 22"/>
                <a:gd name="T53" fmla="*/ 6 h 12"/>
                <a:gd name="T54" fmla="*/ 9 w 22"/>
                <a:gd name="T55" fmla="*/ 9 h 12"/>
                <a:gd name="T56" fmla="*/ 3 w 22"/>
                <a:gd name="T57" fmla="*/ 12 h 12"/>
                <a:gd name="T58" fmla="*/ 1 w 22"/>
                <a:gd name="T59" fmla="*/ 12 h 12"/>
                <a:gd name="T60" fmla="*/ 1 w 22"/>
                <a:gd name="T61" fmla="*/ 12 h 12"/>
                <a:gd name="T62" fmla="*/ 0 w 22"/>
                <a:gd name="T63" fmla="*/ 12 h 12"/>
                <a:gd name="T64" fmla="*/ 0 w 22"/>
                <a:gd name="T65" fmla="*/ 12 h 12"/>
                <a:gd name="T66" fmla="*/ 1 w 22"/>
                <a:gd name="T67" fmla="*/ 10 h 12"/>
                <a:gd name="T68" fmla="*/ 2 w 22"/>
                <a:gd name="T69" fmla="*/ 10 h 12"/>
                <a:gd name="T70" fmla="*/ 4 w 22"/>
                <a:gd name="T71" fmla="*/ 10 h 12"/>
                <a:gd name="T72" fmla="*/ 7 w 22"/>
                <a:gd name="T73" fmla="*/ 9 h 12"/>
                <a:gd name="T74" fmla="*/ 3 w 22"/>
                <a:gd name="T75" fmla="*/ 10 h 12"/>
                <a:gd name="T76" fmla="*/ 1 w 22"/>
                <a:gd name="T77" fmla="*/ 9 h 12"/>
                <a:gd name="T78" fmla="*/ 2 w 22"/>
                <a:gd name="T79" fmla="*/ 8 h 12"/>
                <a:gd name="T80" fmla="*/ 3 w 22"/>
                <a:gd name="T81" fmla="*/ 7 h 12"/>
                <a:gd name="T82" fmla="*/ 2 w 22"/>
                <a:gd name="T83" fmla="*/ 6 h 12"/>
                <a:gd name="T84" fmla="*/ 3 w 22"/>
                <a:gd name="T85" fmla="*/ 6 h 12"/>
                <a:gd name="T86" fmla="*/ 4 w 22"/>
                <a:gd name="T87" fmla="*/ 5 h 12"/>
                <a:gd name="T88" fmla="*/ 4 w 22"/>
                <a:gd name="T89" fmla="*/ 5 h 12"/>
                <a:gd name="T90" fmla="*/ 5 w 22"/>
                <a:gd name="T9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" h="12">
                  <a:moveTo>
                    <a:pt x="5" y="6"/>
                  </a:moveTo>
                  <a:lnTo>
                    <a:pt x="7" y="7"/>
                  </a:lnTo>
                  <a:lnTo>
                    <a:pt x="8" y="6"/>
                  </a:lnTo>
                  <a:lnTo>
                    <a:pt x="8" y="5"/>
                  </a:lnTo>
                  <a:lnTo>
                    <a:pt x="9" y="5"/>
                  </a:lnTo>
                  <a:lnTo>
                    <a:pt x="9" y="6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3" y="5"/>
                  </a:lnTo>
                  <a:lnTo>
                    <a:pt x="14" y="4"/>
                  </a:lnTo>
                  <a:lnTo>
                    <a:pt x="13" y="5"/>
                  </a:lnTo>
                  <a:lnTo>
                    <a:pt x="12" y="4"/>
                  </a:lnTo>
                  <a:lnTo>
                    <a:pt x="14" y="4"/>
                  </a:lnTo>
                  <a:lnTo>
                    <a:pt x="17" y="3"/>
                  </a:lnTo>
                  <a:lnTo>
                    <a:pt x="17" y="2"/>
                  </a:lnTo>
                  <a:lnTo>
                    <a:pt x="18" y="0"/>
                  </a:lnTo>
                  <a:lnTo>
                    <a:pt x="19" y="0"/>
                  </a:lnTo>
                  <a:lnTo>
                    <a:pt x="18" y="2"/>
                  </a:lnTo>
                  <a:lnTo>
                    <a:pt x="19" y="3"/>
                  </a:lnTo>
                  <a:lnTo>
                    <a:pt x="18" y="3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22" y="3"/>
                  </a:lnTo>
                  <a:lnTo>
                    <a:pt x="22" y="4"/>
                  </a:lnTo>
                  <a:lnTo>
                    <a:pt x="21" y="5"/>
                  </a:lnTo>
                  <a:lnTo>
                    <a:pt x="20" y="6"/>
                  </a:lnTo>
                  <a:lnTo>
                    <a:pt x="17" y="6"/>
                  </a:lnTo>
                  <a:lnTo>
                    <a:pt x="9" y="9"/>
                  </a:lnTo>
                  <a:lnTo>
                    <a:pt x="3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4" y="10"/>
                  </a:lnTo>
                  <a:lnTo>
                    <a:pt x="7" y="9"/>
                  </a:lnTo>
                  <a:lnTo>
                    <a:pt x="3" y="10"/>
                  </a:lnTo>
                  <a:lnTo>
                    <a:pt x="1" y="9"/>
                  </a:lnTo>
                  <a:lnTo>
                    <a:pt x="2" y="8"/>
                  </a:lnTo>
                  <a:lnTo>
                    <a:pt x="3" y="7"/>
                  </a:lnTo>
                  <a:lnTo>
                    <a:pt x="2" y="6"/>
                  </a:lnTo>
                  <a:lnTo>
                    <a:pt x="3" y="6"/>
                  </a:lnTo>
                  <a:lnTo>
                    <a:pt x="4" y="5"/>
                  </a:lnTo>
                  <a:lnTo>
                    <a:pt x="4" y="5"/>
                  </a:lnTo>
                  <a:lnTo>
                    <a:pt x="5" y="6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95" name="Freeform 1095"/>
            <p:cNvSpPr>
              <a:spLocks/>
            </p:cNvSpPr>
            <p:nvPr/>
          </p:nvSpPr>
          <p:spPr bwMode="auto">
            <a:xfrm>
              <a:off x="1156" y="923"/>
              <a:ext cx="8" cy="6"/>
            </a:xfrm>
            <a:custGeom>
              <a:avLst/>
              <a:gdLst>
                <a:gd name="T0" fmla="*/ 3 w 8"/>
                <a:gd name="T1" fmla="*/ 0 h 6"/>
                <a:gd name="T2" fmla="*/ 2 w 8"/>
                <a:gd name="T3" fmla="*/ 0 h 6"/>
                <a:gd name="T4" fmla="*/ 2 w 8"/>
                <a:gd name="T5" fmla="*/ 0 h 6"/>
                <a:gd name="T6" fmla="*/ 0 w 8"/>
                <a:gd name="T7" fmla="*/ 2 h 6"/>
                <a:gd name="T8" fmla="*/ 1 w 8"/>
                <a:gd name="T9" fmla="*/ 2 h 6"/>
                <a:gd name="T10" fmla="*/ 1 w 8"/>
                <a:gd name="T11" fmla="*/ 4 h 6"/>
                <a:gd name="T12" fmla="*/ 3 w 8"/>
                <a:gd name="T13" fmla="*/ 4 h 6"/>
                <a:gd name="T14" fmla="*/ 3 w 8"/>
                <a:gd name="T15" fmla="*/ 5 h 6"/>
                <a:gd name="T16" fmla="*/ 5 w 8"/>
                <a:gd name="T17" fmla="*/ 5 h 6"/>
                <a:gd name="T18" fmla="*/ 5 w 8"/>
                <a:gd name="T19" fmla="*/ 6 h 6"/>
                <a:gd name="T20" fmla="*/ 7 w 8"/>
                <a:gd name="T21" fmla="*/ 6 h 6"/>
                <a:gd name="T22" fmla="*/ 8 w 8"/>
                <a:gd name="T23" fmla="*/ 6 h 6"/>
                <a:gd name="T24" fmla="*/ 8 w 8"/>
                <a:gd name="T25" fmla="*/ 5 h 6"/>
                <a:gd name="T26" fmla="*/ 8 w 8"/>
                <a:gd name="T27" fmla="*/ 4 h 6"/>
                <a:gd name="T28" fmla="*/ 5 w 8"/>
                <a:gd name="T29" fmla="*/ 2 h 6"/>
                <a:gd name="T30" fmla="*/ 7 w 8"/>
                <a:gd name="T31" fmla="*/ 2 h 6"/>
                <a:gd name="T32" fmla="*/ 5 w 8"/>
                <a:gd name="T33" fmla="*/ 1 h 6"/>
                <a:gd name="T34" fmla="*/ 5 w 8"/>
                <a:gd name="T35" fmla="*/ 0 h 6"/>
                <a:gd name="T36" fmla="*/ 5 w 8"/>
                <a:gd name="T37" fmla="*/ 0 h 6"/>
                <a:gd name="T38" fmla="*/ 4 w 8"/>
                <a:gd name="T39" fmla="*/ 0 h 6"/>
                <a:gd name="T40" fmla="*/ 3 w 8"/>
                <a:gd name="T4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" h="6">
                  <a:moveTo>
                    <a:pt x="3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4"/>
                  </a:lnTo>
                  <a:lnTo>
                    <a:pt x="3" y="4"/>
                  </a:lnTo>
                  <a:lnTo>
                    <a:pt x="3" y="5"/>
                  </a:lnTo>
                  <a:lnTo>
                    <a:pt x="5" y="5"/>
                  </a:lnTo>
                  <a:lnTo>
                    <a:pt x="5" y="6"/>
                  </a:lnTo>
                  <a:lnTo>
                    <a:pt x="7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8" y="4"/>
                  </a:lnTo>
                  <a:lnTo>
                    <a:pt x="5" y="2"/>
                  </a:lnTo>
                  <a:lnTo>
                    <a:pt x="7" y="2"/>
                  </a:lnTo>
                  <a:lnTo>
                    <a:pt x="5" y="1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96" name="Freeform 1096"/>
            <p:cNvSpPr>
              <a:spLocks/>
            </p:cNvSpPr>
            <p:nvPr/>
          </p:nvSpPr>
          <p:spPr bwMode="auto">
            <a:xfrm>
              <a:off x="1156" y="923"/>
              <a:ext cx="8" cy="6"/>
            </a:xfrm>
            <a:custGeom>
              <a:avLst/>
              <a:gdLst>
                <a:gd name="T0" fmla="*/ 3 w 8"/>
                <a:gd name="T1" fmla="*/ 0 h 6"/>
                <a:gd name="T2" fmla="*/ 2 w 8"/>
                <a:gd name="T3" fmla="*/ 0 h 6"/>
                <a:gd name="T4" fmla="*/ 2 w 8"/>
                <a:gd name="T5" fmla="*/ 0 h 6"/>
                <a:gd name="T6" fmla="*/ 0 w 8"/>
                <a:gd name="T7" fmla="*/ 2 h 6"/>
                <a:gd name="T8" fmla="*/ 1 w 8"/>
                <a:gd name="T9" fmla="*/ 2 h 6"/>
                <a:gd name="T10" fmla="*/ 1 w 8"/>
                <a:gd name="T11" fmla="*/ 4 h 6"/>
                <a:gd name="T12" fmla="*/ 3 w 8"/>
                <a:gd name="T13" fmla="*/ 4 h 6"/>
                <a:gd name="T14" fmla="*/ 3 w 8"/>
                <a:gd name="T15" fmla="*/ 5 h 6"/>
                <a:gd name="T16" fmla="*/ 5 w 8"/>
                <a:gd name="T17" fmla="*/ 5 h 6"/>
                <a:gd name="T18" fmla="*/ 5 w 8"/>
                <a:gd name="T19" fmla="*/ 6 h 6"/>
                <a:gd name="T20" fmla="*/ 7 w 8"/>
                <a:gd name="T21" fmla="*/ 6 h 6"/>
                <a:gd name="T22" fmla="*/ 8 w 8"/>
                <a:gd name="T23" fmla="*/ 6 h 6"/>
                <a:gd name="T24" fmla="*/ 8 w 8"/>
                <a:gd name="T25" fmla="*/ 5 h 6"/>
                <a:gd name="T26" fmla="*/ 8 w 8"/>
                <a:gd name="T27" fmla="*/ 4 h 6"/>
                <a:gd name="T28" fmla="*/ 5 w 8"/>
                <a:gd name="T29" fmla="*/ 2 h 6"/>
                <a:gd name="T30" fmla="*/ 7 w 8"/>
                <a:gd name="T31" fmla="*/ 2 h 6"/>
                <a:gd name="T32" fmla="*/ 5 w 8"/>
                <a:gd name="T33" fmla="*/ 1 h 6"/>
                <a:gd name="T34" fmla="*/ 5 w 8"/>
                <a:gd name="T35" fmla="*/ 0 h 6"/>
                <a:gd name="T36" fmla="*/ 5 w 8"/>
                <a:gd name="T37" fmla="*/ 0 h 6"/>
                <a:gd name="T38" fmla="*/ 4 w 8"/>
                <a:gd name="T39" fmla="*/ 0 h 6"/>
                <a:gd name="T40" fmla="*/ 3 w 8"/>
                <a:gd name="T4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" h="6">
                  <a:moveTo>
                    <a:pt x="3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4"/>
                  </a:lnTo>
                  <a:lnTo>
                    <a:pt x="3" y="4"/>
                  </a:lnTo>
                  <a:lnTo>
                    <a:pt x="3" y="5"/>
                  </a:lnTo>
                  <a:lnTo>
                    <a:pt x="5" y="5"/>
                  </a:lnTo>
                  <a:lnTo>
                    <a:pt x="5" y="6"/>
                  </a:lnTo>
                  <a:lnTo>
                    <a:pt x="7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8" y="4"/>
                  </a:lnTo>
                  <a:lnTo>
                    <a:pt x="5" y="2"/>
                  </a:lnTo>
                  <a:lnTo>
                    <a:pt x="7" y="2"/>
                  </a:lnTo>
                  <a:lnTo>
                    <a:pt x="5" y="1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3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97" name="Freeform 1097"/>
            <p:cNvSpPr>
              <a:spLocks/>
            </p:cNvSpPr>
            <p:nvPr/>
          </p:nvSpPr>
          <p:spPr bwMode="auto">
            <a:xfrm>
              <a:off x="1578" y="913"/>
              <a:ext cx="49" cy="22"/>
            </a:xfrm>
            <a:custGeom>
              <a:avLst/>
              <a:gdLst>
                <a:gd name="T0" fmla="*/ 37 w 49"/>
                <a:gd name="T1" fmla="*/ 5 h 22"/>
                <a:gd name="T2" fmla="*/ 35 w 49"/>
                <a:gd name="T3" fmla="*/ 4 h 22"/>
                <a:gd name="T4" fmla="*/ 36 w 49"/>
                <a:gd name="T5" fmla="*/ 2 h 22"/>
                <a:gd name="T6" fmla="*/ 34 w 49"/>
                <a:gd name="T7" fmla="*/ 1 h 22"/>
                <a:gd name="T8" fmla="*/ 31 w 49"/>
                <a:gd name="T9" fmla="*/ 0 h 22"/>
                <a:gd name="T10" fmla="*/ 26 w 49"/>
                <a:gd name="T11" fmla="*/ 2 h 22"/>
                <a:gd name="T12" fmla="*/ 24 w 49"/>
                <a:gd name="T13" fmla="*/ 6 h 22"/>
                <a:gd name="T14" fmla="*/ 23 w 49"/>
                <a:gd name="T15" fmla="*/ 6 h 22"/>
                <a:gd name="T16" fmla="*/ 20 w 49"/>
                <a:gd name="T17" fmla="*/ 6 h 22"/>
                <a:gd name="T18" fmla="*/ 17 w 49"/>
                <a:gd name="T19" fmla="*/ 8 h 22"/>
                <a:gd name="T20" fmla="*/ 15 w 49"/>
                <a:gd name="T21" fmla="*/ 10 h 22"/>
                <a:gd name="T22" fmla="*/ 12 w 49"/>
                <a:gd name="T23" fmla="*/ 11 h 22"/>
                <a:gd name="T24" fmla="*/ 5 w 49"/>
                <a:gd name="T25" fmla="*/ 12 h 22"/>
                <a:gd name="T26" fmla="*/ 1 w 49"/>
                <a:gd name="T27" fmla="*/ 14 h 22"/>
                <a:gd name="T28" fmla="*/ 1 w 49"/>
                <a:gd name="T29" fmla="*/ 17 h 22"/>
                <a:gd name="T30" fmla="*/ 4 w 49"/>
                <a:gd name="T31" fmla="*/ 16 h 22"/>
                <a:gd name="T32" fmla="*/ 6 w 49"/>
                <a:gd name="T33" fmla="*/ 16 h 22"/>
                <a:gd name="T34" fmla="*/ 8 w 49"/>
                <a:gd name="T35" fmla="*/ 17 h 22"/>
                <a:gd name="T36" fmla="*/ 10 w 49"/>
                <a:gd name="T37" fmla="*/ 18 h 22"/>
                <a:gd name="T38" fmla="*/ 12 w 49"/>
                <a:gd name="T39" fmla="*/ 17 h 22"/>
                <a:gd name="T40" fmla="*/ 13 w 49"/>
                <a:gd name="T41" fmla="*/ 19 h 22"/>
                <a:gd name="T42" fmla="*/ 16 w 49"/>
                <a:gd name="T43" fmla="*/ 19 h 22"/>
                <a:gd name="T44" fmla="*/ 18 w 49"/>
                <a:gd name="T45" fmla="*/ 21 h 22"/>
                <a:gd name="T46" fmla="*/ 23 w 49"/>
                <a:gd name="T47" fmla="*/ 21 h 22"/>
                <a:gd name="T48" fmla="*/ 25 w 49"/>
                <a:gd name="T49" fmla="*/ 21 h 22"/>
                <a:gd name="T50" fmla="*/ 30 w 49"/>
                <a:gd name="T51" fmla="*/ 22 h 22"/>
                <a:gd name="T52" fmla="*/ 36 w 49"/>
                <a:gd name="T53" fmla="*/ 20 h 22"/>
                <a:gd name="T54" fmla="*/ 42 w 49"/>
                <a:gd name="T55" fmla="*/ 18 h 22"/>
                <a:gd name="T56" fmla="*/ 43 w 49"/>
                <a:gd name="T57" fmla="*/ 19 h 22"/>
                <a:gd name="T58" fmla="*/ 47 w 49"/>
                <a:gd name="T59" fmla="*/ 18 h 22"/>
                <a:gd name="T60" fmla="*/ 48 w 49"/>
                <a:gd name="T61" fmla="*/ 17 h 22"/>
                <a:gd name="T62" fmla="*/ 44 w 49"/>
                <a:gd name="T63" fmla="*/ 16 h 22"/>
                <a:gd name="T64" fmla="*/ 45 w 49"/>
                <a:gd name="T65" fmla="*/ 14 h 22"/>
                <a:gd name="T66" fmla="*/ 42 w 49"/>
                <a:gd name="T67" fmla="*/ 10 h 22"/>
                <a:gd name="T68" fmla="*/ 38 w 49"/>
                <a:gd name="T69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" h="22">
                  <a:moveTo>
                    <a:pt x="38" y="6"/>
                  </a:moveTo>
                  <a:lnTo>
                    <a:pt x="37" y="5"/>
                  </a:lnTo>
                  <a:lnTo>
                    <a:pt x="37" y="4"/>
                  </a:lnTo>
                  <a:lnTo>
                    <a:pt x="35" y="4"/>
                  </a:lnTo>
                  <a:lnTo>
                    <a:pt x="36" y="4"/>
                  </a:lnTo>
                  <a:lnTo>
                    <a:pt x="36" y="2"/>
                  </a:lnTo>
                  <a:lnTo>
                    <a:pt x="35" y="2"/>
                  </a:lnTo>
                  <a:lnTo>
                    <a:pt x="34" y="1"/>
                  </a:lnTo>
                  <a:lnTo>
                    <a:pt x="33" y="0"/>
                  </a:lnTo>
                  <a:lnTo>
                    <a:pt x="31" y="0"/>
                  </a:lnTo>
                  <a:lnTo>
                    <a:pt x="30" y="1"/>
                  </a:lnTo>
                  <a:lnTo>
                    <a:pt x="26" y="2"/>
                  </a:lnTo>
                  <a:lnTo>
                    <a:pt x="23" y="5"/>
                  </a:lnTo>
                  <a:lnTo>
                    <a:pt x="24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1" y="6"/>
                  </a:lnTo>
                  <a:lnTo>
                    <a:pt x="20" y="6"/>
                  </a:lnTo>
                  <a:lnTo>
                    <a:pt x="18" y="7"/>
                  </a:lnTo>
                  <a:lnTo>
                    <a:pt x="17" y="8"/>
                  </a:lnTo>
                  <a:lnTo>
                    <a:pt x="17" y="9"/>
                  </a:lnTo>
                  <a:lnTo>
                    <a:pt x="15" y="10"/>
                  </a:lnTo>
                  <a:lnTo>
                    <a:pt x="14" y="11"/>
                  </a:lnTo>
                  <a:lnTo>
                    <a:pt x="12" y="11"/>
                  </a:lnTo>
                  <a:lnTo>
                    <a:pt x="8" y="12"/>
                  </a:lnTo>
                  <a:lnTo>
                    <a:pt x="5" y="12"/>
                  </a:lnTo>
                  <a:lnTo>
                    <a:pt x="3" y="12"/>
                  </a:lnTo>
                  <a:lnTo>
                    <a:pt x="1" y="14"/>
                  </a:lnTo>
                  <a:lnTo>
                    <a:pt x="0" y="16"/>
                  </a:lnTo>
                  <a:lnTo>
                    <a:pt x="1" y="17"/>
                  </a:lnTo>
                  <a:lnTo>
                    <a:pt x="3" y="17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8" y="17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1" y="18"/>
                  </a:lnTo>
                  <a:lnTo>
                    <a:pt x="12" y="17"/>
                  </a:lnTo>
                  <a:lnTo>
                    <a:pt x="13" y="18"/>
                  </a:lnTo>
                  <a:lnTo>
                    <a:pt x="13" y="19"/>
                  </a:lnTo>
                  <a:lnTo>
                    <a:pt x="14" y="19"/>
                  </a:lnTo>
                  <a:lnTo>
                    <a:pt x="16" y="19"/>
                  </a:lnTo>
                  <a:lnTo>
                    <a:pt x="17" y="20"/>
                  </a:lnTo>
                  <a:lnTo>
                    <a:pt x="18" y="21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4" y="21"/>
                  </a:lnTo>
                  <a:lnTo>
                    <a:pt x="25" y="21"/>
                  </a:lnTo>
                  <a:lnTo>
                    <a:pt x="27" y="22"/>
                  </a:lnTo>
                  <a:lnTo>
                    <a:pt x="30" y="22"/>
                  </a:lnTo>
                  <a:lnTo>
                    <a:pt x="32" y="22"/>
                  </a:lnTo>
                  <a:lnTo>
                    <a:pt x="36" y="20"/>
                  </a:lnTo>
                  <a:lnTo>
                    <a:pt x="37" y="20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3" y="19"/>
                  </a:lnTo>
                  <a:lnTo>
                    <a:pt x="45" y="19"/>
                  </a:lnTo>
                  <a:lnTo>
                    <a:pt x="47" y="18"/>
                  </a:lnTo>
                  <a:lnTo>
                    <a:pt x="49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4" y="16"/>
                  </a:lnTo>
                  <a:lnTo>
                    <a:pt x="44" y="15"/>
                  </a:lnTo>
                  <a:lnTo>
                    <a:pt x="45" y="14"/>
                  </a:lnTo>
                  <a:lnTo>
                    <a:pt x="44" y="11"/>
                  </a:lnTo>
                  <a:lnTo>
                    <a:pt x="42" y="10"/>
                  </a:lnTo>
                  <a:lnTo>
                    <a:pt x="42" y="9"/>
                  </a:lnTo>
                  <a:lnTo>
                    <a:pt x="38" y="7"/>
                  </a:lnTo>
                  <a:lnTo>
                    <a:pt x="3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98" name="Freeform 1098"/>
            <p:cNvSpPr>
              <a:spLocks/>
            </p:cNvSpPr>
            <p:nvPr/>
          </p:nvSpPr>
          <p:spPr bwMode="auto">
            <a:xfrm>
              <a:off x="1578" y="913"/>
              <a:ext cx="49" cy="22"/>
            </a:xfrm>
            <a:custGeom>
              <a:avLst/>
              <a:gdLst>
                <a:gd name="T0" fmla="*/ 37 w 49"/>
                <a:gd name="T1" fmla="*/ 5 h 22"/>
                <a:gd name="T2" fmla="*/ 35 w 49"/>
                <a:gd name="T3" fmla="*/ 4 h 22"/>
                <a:gd name="T4" fmla="*/ 36 w 49"/>
                <a:gd name="T5" fmla="*/ 2 h 22"/>
                <a:gd name="T6" fmla="*/ 34 w 49"/>
                <a:gd name="T7" fmla="*/ 1 h 22"/>
                <a:gd name="T8" fmla="*/ 31 w 49"/>
                <a:gd name="T9" fmla="*/ 0 h 22"/>
                <a:gd name="T10" fmla="*/ 26 w 49"/>
                <a:gd name="T11" fmla="*/ 2 h 22"/>
                <a:gd name="T12" fmla="*/ 24 w 49"/>
                <a:gd name="T13" fmla="*/ 6 h 22"/>
                <a:gd name="T14" fmla="*/ 23 w 49"/>
                <a:gd name="T15" fmla="*/ 6 h 22"/>
                <a:gd name="T16" fmla="*/ 20 w 49"/>
                <a:gd name="T17" fmla="*/ 6 h 22"/>
                <a:gd name="T18" fmla="*/ 17 w 49"/>
                <a:gd name="T19" fmla="*/ 8 h 22"/>
                <a:gd name="T20" fmla="*/ 15 w 49"/>
                <a:gd name="T21" fmla="*/ 10 h 22"/>
                <a:gd name="T22" fmla="*/ 12 w 49"/>
                <a:gd name="T23" fmla="*/ 11 h 22"/>
                <a:gd name="T24" fmla="*/ 5 w 49"/>
                <a:gd name="T25" fmla="*/ 12 h 22"/>
                <a:gd name="T26" fmla="*/ 1 w 49"/>
                <a:gd name="T27" fmla="*/ 14 h 22"/>
                <a:gd name="T28" fmla="*/ 1 w 49"/>
                <a:gd name="T29" fmla="*/ 17 h 22"/>
                <a:gd name="T30" fmla="*/ 4 w 49"/>
                <a:gd name="T31" fmla="*/ 16 h 22"/>
                <a:gd name="T32" fmla="*/ 6 w 49"/>
                <a:gd name="T33" fmla="*/ 16 h 22"/>
                <a:gd name="T34" fmla="*/ 8 w 49"/>
                <a:gd name="T35" fmla="*/ 17 h 22"/>
                <a:gd name="T36" fmla="*/ 10 w 49"/>
                <a:gd name="T37" fmla="*/ 18 h 22"/>
                <a:gd name="T38" fmla="*/ 12 w 49"/>
                <a:gd name="T39" fmla="*/ 17 h 22"/>
                <a:gd name="T40" fmla="*/ 13 w 49"/>
                <a:gd name="T41" fmla="*/ 19 h 22"/>
                <a:gd name="T42" fmla="*/ 16 w 49"/>
                <a:gd name="T43" fmla="*/ 19 h 22"/>
                <a:gd name="T44" fmla="*/ 18 w 49"/>
                <a:gd name="T45" fmla="*/ 21 h 22"/>
                <a:gd name="T46" fmla="*/ 23 w 49"/>
                <a:gd name="T47" fmla="*/ 21 h 22"/>
                <a:gd name="T48" fmla="*/ 25 w 49"/>
                <a:gd name="T49" fmla="*/ 21 h 22"/>
                <a:gd name="T50" fmla="*/ 30 w 49"/>
                <a:gd name="T51" fmla="*/ 22 h 22"/>
                <a:gd name="T52" fmla="*/ 36 w 49"/>
                <a:gd name="T53" fmla="*/ 20 h 22"/>
                <a:gd name="T54" fmla="*/ 42 w 49"/>
                <a:gd name="T55" fmla="*/ 18 h 22"/>
                <a:gd name="T56" fmla="*/ 43 w 49"/>
                <a:gd name="T57" fmla="*/ 19 h 22"/>
                <a:gd name="T58" fmla="*/ 47 w 49"/>
                <a:gd name="T59" fmla="*/ 18 h 22"/>
                <a:gd name="T60" fmla="*/ 48 w 49"/>
                <a:gd name="T61" fmla="*/ 17 h 22"/>
                <a:gd name="T62" fmla="*/ 44 w 49"/>
                <a:gd name="T63" fmla="*/ 16 h 22"/>
                <a:gd name="T64" fmla="*/ 45 w 49"/>
                <a:gd name="T65" fmla="*/ 14 h 22"/>
                <a:gd name="T66" fmla="*/ 42 w 49"/>
                <a:gd name="T67" fmla="*/ 10 h 22"/>
                <a:gd name="T68" fmla="*/ 38 w 49"/>
                <a:gd name="T69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9" h="22">
                  <a:moveTo>
                    <a:pt x="38" y="6"/>
                  </a:moveTo>
                  <a:lnTo>
                    <a:pt x="37" y="5"/>
                  </a:lnTo>
                  <a:lnTo>
                    <a:pt x="37" y="4"/>
                  </a:lnTo>
                  <a:lnTo>
                    <a:pt x="35" y="4"/>
                  </a:lnTo>
                  <a:lnTo>
                    <a:pt x="36" y="4"/>
                  </a:lnTo>
                  <a:lnTo>
                    <a:pt x="36" y="2"/>
                  </a:lnTo>
                  <a:lnTo>
                    <a:pt x="35" y="2"/>
                  </a:lnTo>
                  <a:lnTo>
                    <a:pt x="34" y="1"/>
                  </a:lnTo>
                  <a:lnTo>
                    <a:pt x="33" y="0"/>
                  </a:lnTo>
                  <a:lnTo>
                    <a:pt x="31" y="0"/>
                  </a:lnTo>
                  <a:lnTo>
                    <a:pt x="30" y="1"/>
                  </a:lnTo>
                  <a:lnTo>
                    <a:pt x="26" y="2"/>
                  </a:lnTo>
                  <a:lnTo>
                    <a:pt x="23" y="5"/>
                  </a:lnTo>
                  <a:lnTo>
                    <a:pt x="24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1" y="6"/>
                  </a:lnTo>
                  <a:lnTo>
                    <a:pt x="20" y="6"/>
                  </a:lnTo>
                  <a:lnTo>
                    <a:pt x="18" y="7"/>
                  </a:lnTo>
                  <a:lnTo>
                    <a:pt x="17" y="8"/>
                  </a:lnTo>
                  <a:lnTo>
                    <a:pt x="17" y="9"/>
                  </a:lnTo>
                  <a:lnTo>
                    <a:pt x="15" y="10"/>
                  </a:lnTo>
                  <a:lnTo>
                    <a:pt x="14" y="11"/>
                  </a:lnTo>
                  <a:lnTo>
                    <a:pt x="12" y="11"/>
                  </a:lnTo>
                  <a:lnTo>
                    <a:pt x="8" y="12"/>
                  </a:lnTo>
                  <a:lnTo>
                    <a:pt x="5" y="12"/>
                  </a:lnTo>
                  <a:lnTo>
                    <a:pt x="3" y="12"/>
                  </a:lnTo>
                  <a:lnTo>
                    <a:pt x="1" y="14"/>
                  </a:lnTo>
                  <a:lnTo>
                    <a:pt x="0" y="16"/>
                  </a:lnTo>
                  <a:lnTo>
                    <a:pt x="1" y="17"/>
                  </a:lnTo>
                  <a:lnTo>
                    <a:pt x="3" y="17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8" y="17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1" y="18"/>
                  </a:lnTo>
                  <a:lnTo>
                    <a:pt x="12" y="17"/>
                  </a:lnTo>
                  <a:lnTo>
                    <a:pt x="13" y="18"/>
                  </a:lnTo>
                  <a:lnTo>
                    <a:pt x="13" y="19"/>
                  </a:lnTo>
                  <a:lnTo>
                    <a:pt x="14" y="19"/>
                  </a:lnTo>
                  <a:lnTo>
                    <a:pt x="16" y="19"/>
                  </a:lnTo>
                  <a:lnTo>
                    <a:pt x="17" y="20"/>
                  </a:lnTo>
                  <a:lnTo>
                    <a:pt x="18" y="21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4" y="21"/>
                  </a:lnTo>
                  <a:lnTo>
                    <a:pt x="25" y="21"/>
                  </a:lnTo>
                  <a:lnTo>
                    <a:pt x="27" y="22"/>
                  </a:lnTo>
                  <a:lnTo>
                    <a:pt x="30" y="22"/>
                  </a:lnTo>
                  <a:lnTo>
                    <a:pt x="32" y="22"/>
                  </a:lnTo>
                  <a:lnTo>
                    <a:pt x="36" y="20"/>
                  </a:lnTo>
                  <a:lnTo>
                    <a:pt x="37" y="20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3" y="19"/>
                  </a:lnTo>
                  <a:lnTo>
                    <a:pt x="45" y="19"/>
                  </a:lnTo>
                  <a:lnTo>
                    <a:pt x="47" y="18"/>
                  </a:lnTo>
                  <a:lnTo>
                    <a:pt x="49" y="17"/>
                  </a:lnTo>
                  <a:lnTo>
                    <a:pt x="48" y="17"/>
                  </a:lnTo>
                  <a:lnTo>
                    <a:pt x="45" y="17"/>
                  </a:lnTo>
                  <a:lnTo>
                    <a:pt x="44" y="16"/>
                  </a:lnTo>
                  <a:lnTo>
                    <a:pt x="44" y="15"/>
                  </a:lnTo>
                  <a:lnTo>
                    <a:pt x="45" y="14"/>
                  </a:lnTo>
                  <a:lnTo>
                    <a:pt x="44" y="11"/>
                  </a:lnTo>
                  <a:lnTo>
                    <a:pt x="42" y="10"/>
                  </a:lnTo>
                  <a:lnTo>
                    <a:pt x="42" y="9"/>
                  </a:lnTo>
                  <a:lnTo>
                    <a:pt x="38" y="7"/>
                  </a:lnTo>
                  <a:lnTo>
                    <a:pt x="38" y="6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099" name="Freeform 1099"/>
            <p:cNvSpPr>
              <a:spLocks/>
            </p:cNvSpPr>
            <p:nvPr/>
          </p:nvSpPr>
          <p:spPr bwMode="auto">
            <a:xfrm>
              <a:off x="1622" y="1187"/>
              <a:ext cx="15" cy="9"/>
            </a:xfrm>
            <a:custGeom>
              <a:avLst/>
              <a:gdLst>
                <a:gd name="T0" fmla="*/ 2 w 15"/>
                <a:gd name="T1" fmla="*/ 1 h 9"/>
                <a:gd name="T2" fmla="*/ 9 w 15"/>
                <a:gd name="T3" fmla="*/ 0 h 9"/>
                <a:gd name="T4" fmla="*/ 12 w 15"/>
                <a:gd name="T5" fmla="*/ 1 h 9"/>
                <a:gd name="T6" fmla="*/ 14 w 15"/>
                <a:gd name="T7" fmla="*/ 1 h 9"/>
                <a:gd name="T8" fmla="*/ 15 w 15"/>
                <a:gd name="T9" fmla="*/ 3 h 9"/>
                <a:gd name="T10" fmla="*/ 15 w 15"/>
                <a:gd name="T11" fmla="*/ 5 h 9"/>
                <a:gd name="T12" fmla="*/ 15 w 15"/>
                <a:gd name="T13" fmla="*/ 7 h 9"/>
                <a:gd name="T14" fmla="*/ 15 w 15"/>
                <a:gd name="T15" fmla="*/ 9 h 9"/>
                <a:gd name="T16" fmla="*/ 14 w 15"/>
                <a:gd name="T17" fmla="*/ 9 h 9"/>
                <a:gd name="T18" fmla="*/ 13 w 15"/>
                <a:gd name="T19" fmla="*/ 8 h 9"/>
                <a:gd name="T20" fmla="*/ 10 w 15"/>
                <a:gd name="T21" fmla="*/ 8 h 9"/>
                <a:gd name="T22" fmla="*/ 7 w 15"/>
                <a:gd name="T23" fmla="*/ 6 h 9"/>
                <a:gd name="T24" fmla="*/ 2 w 15"/>
                <a:gd name="T25" fmla="*/ 5 h 9"/>
                <a:gd name="T26" fmla="*/ 0 w 15"/>
                <a:gd name="T27" fmla="*/ 4 h 9"/>
                <a:gd name="T28" fmla="*/ 2 w 15"/>
                <a:gd name="T2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9">
                  <a:moveTo>
                    <a:pt x="2" y="1"/>
                  </a:moveTo>
                  <a:lnTo>
                    <a:pt x="9" y="0"/>
                  </a:lnTo>
                  <a:lnTo>
                    <a:pt x="12" y="1"/>
                  </a:lnTo>
                  <a:lnTo>
                    <a:pt x="14" y="1"/>
                  </a:lnTo>
                  <a:lnTo>
                    <a:pt x="15" y="3"/>
                  </a:lnTo>
                  <a:lnTo>
                    <a:pt x="15" y="5"/>
                  </a:lnTo>
                  <a:lnTo>
                    <a:pt x="15" y="7"/>
                  </a:lnTo>
                  <a:lnTo>
                    <a:pt x="15" y="9"/>
                  </a:lnTo>
                  <a:lnTo>
                    <a:pt x="14" y="9"/>
                  </a:lnTo>
                  <a:lnTo>
                    <a:pt x="13" y="8"/>
                  </a:lnTo>
                  <a:lnTo>
                    <a:pt x="10" y="8"/>
                  </a:lnTo>
                  <a:lnTo>
                    <a:pt x="7" y="6"/>
                  </a:lnTo>
                  <a:lnTo>
                    <a:pt x="2" y="5"/>
                  </a:lnTo>
                  <a:lnTo>
                    <a:pt x="0" y="4"/>
                  </a:lnTo>
                  <a:lnTo>
                    <a:pt x="2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00" name="Freeform 1100"/>
            <p:cNvSpPr>
              <a:spLocks/>
            </p:cNvSpPr>
            <p:nvPr/>
          </p:nvSpPr>
          <p:spPr bwMode="auto">
            <a:xfrm>
              <a:off x="1622" y="1187"/>
              <a:ext cx="15" cy="9"/>
            </a:xfrm>
            <a:custGeom>
              <a:avLst/>
              <a:gdLst>
                <a:gd name="T0" fmla="*/ 2 w 15"/>
                <a:gd name="T1" fmla="*/ 1 h 9"/>
                <a:gd name="T2" fmla="*/ 9 w 15"/>
                <a:gd name="T3" fmla="*/ 0 h 9"/>
                <a:gd name="T4" fmla="*/ 12 w 15"/>
                <a:gd name="T5" fmla="*/ 1 h 9"/>
                <a:gd name="T6" fmla="*/ 14 w 15"/>
                <a:gd name="T7" fmla="*/ 1 h 9"/>
                <a:gd name="T8" fmla="*/ 15 w 15"/>
                <a:gd name="T9" fmla="*/ 3 h 9"/>
                <a:gd name="T10" fmla="*/ 15 w 15"/>
                <a:gd name="T11" fmla="*/ 5 h 9"/>
                <a:gd name="T12" fmla="*/ 15 w 15"/>
                <a:gd name="T13" fmla="*/ 7 h 9"/>
                <a:gd name="T14" fmla="*/ 15 w 15"/>
                <a:gd name="T15" fmla="*/ 9 h 9"/>
                <a:gd name="T16" fmla="*/ 14 w 15"/>
                <a:gd name="T17" fmla="*/ 9 h 9"/>
                <a:gd name="T18" fmla="*/ 13 w 15"/>
                <a:gd name="T19" fmla="*/ 8 h 9"/>
                <a:gd name="T20" fmla="*/ 10 w 15"/>
                <a:gd name="T21" fmla="*/ 8 h 9"/>
                <a:gd name="T22" fmla="*/ 7 w 15"/>
                <a:gd name="T23" fmla="*/ 6 h 9"/>
                <a:gd name="T24" fmla="*/ 2 w 15"/>
                <a:gd name="T25" fmla="*/ 5 h 9"/>
                <a:gd name="T26" fmla="*/ 0 w 15"/>
                <a:gd name="T27" fmla="*/ 4 h 9"/>
                <a:gd name="T28" fmla="*/ 2 w 15"/>
                <a:gd name="T29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" h="9">
                  <a:moveTo>
                    <a:pt x="2" y="1"/>
                  </a:moveTo>
                  <a:lnTo>
                    <a:pt x="9" y="0"/>
                  </a:lnTo>
                  <a:lnTo>
                    <a:pt x="12" y="1"/>
                  </a:lnTo>
                  <a:lnTo>
                    <a:pt x="14" y="1"/>
                  </a:lnTo>
                  <a:lnTo>
                    <a:pt x="15" y="3"/>
                  </a:lnTo>
                  <a:lnTo>
                    <a:pt x="15" y="5"/>
                  </a:lnTo>
                  <a:lnTo>
                    <a:pt x="15" y="7"/>
                  </a:lnTo>
                  <a:lnTo>
                    <a:pt x="15" y="9"/>
                  </a:lnTo>
                  <a:lnTo>
                    <a:pt x="14" y="9"/>
                  </a:lnTo>
                  <a:lnTo>
                    <a:pt x="13" y="8"/>
                  </a:lnTo>
                  <a:lnTo>
                    <a:pt x="10" y="8"/>
                  </a:lnTo>
                  <a:lnTo>
                    <a:pt x="7" y="6"/>
                  </a:lnTo>
                  <a:lnTo>
                    <a:pt x="2" y="5"/>
                  </a:lnTo>
                  <a:lnTo>
                    <a:pt x="0" y="4"/>
                  </a:lnTo>
                  <a:lnTo>
                    <a:pt x="2" y="1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01" name="Freeform 1101"/>
            <p:cNvSpPr>
              <a:spLocks/>
            </p:cNvSpPr>
            <p:nvPr/>
          </p:nvSpPr>
          <p:spPr bwMode="auto">
            <a:xfrm>
              <a:off x="1322" y="844"/>
              <a:ext cx="147" cy="51"/>
            </a:xfrm>
            <a:custGeom>
              <a:avLst/>
              <a:gdLst>
                <a:gd name="T0" fmla="*/ 58 w 147"/>
                <a:gd name="T1" fmla="*/ 10 h 51"/>
                <a:gd name="T2" fmla="*/ 50 w 147"/>
                <a:gd name="T3" fmla="*/ 14 h 51"/>
                <a:gd name="T4" fmla="*/ 46 w 147"/>
                <a:gd name="T5" fmla="*/ 16 h 51"/>
                <a:gd name="T6" fmla="*/ 40 w 147"/>
                <a:gd name="T7" fmla="*/ 18 h 51"/>
                <a:gd name="T8" fmla="*/ 37 w 147"/>
                <a:gd name="T9" fmla="*/ 20 h 51"/>
                <a:gd name="T10" fmla="*/ 33 w 147"/>
                <a:gd name="T11" fmla="*/ 21 h 51"/>
                <a:gd name="T12" fmla="*/ 34 w 147"/>
                <a:gd name="T13" fmla="*/ 23 h 51"/>
                <a:gd name="T14" fmla="*/ 34 w 147"/>
                <a:gd name="T15" fmla="*/ 24 h 51"/>
                <a:gd name="T16" fmla="*/ 26 w 147"/>
                <a:gd name="T17" fmla="*/ 25 h 51"/>
                <a:gd name="T18" fmla="*/ 25 w 147"/>
                <a:gd name="T19" fmla="*/ 27 h 51"/>
                <a:gd name="T20" fmla="*/ 21 w 147"/>
                <a:gd name="T21" fmla="*/ 28 h 51"/>
                <a:gd name="T22" fmla="*/ 20 w 147"/>
                <a:gd name="T23" fmla="*/ 29 h 51"/>
                <a:gd name="T24" fmla="*/ 18 w 147"/>
                <a:gd name="T25" fmla="*/ 30 h 51"/>
                <a:gd name="T26" fmla="*/ 13 w 147"/>
                <a:gd name="T27" fmla="*/ 33 h 51"/>
                <a:gd name="T28" fmla="*/ 11 w 147"/>
                <a:gd name="T29" fmla="*/ 34 h 51"/>
                <a:gd name="T30" fmla="*/ 8 w 147"/>
                <a:gd name="T31" fmla="*/ 36 h 51"/>
                <a:gd name="T32" fmla="*/ 5 w 147"/>
                <a:gd name="T33" fmla="*/ 37 h 51"/>
                <a:gd name="T34" fmla="*/ 0 w 147"/>
                <a:gd name="T35" fmla="*/ 38 h 51"/>
                <a:gd name="T36" fmla="*/ 10 w 147"/>
                <a:gd name="T37" fmla="*/ 38 h 51"/>
                <a:gd name="T38" fmla="*/ 8 w 147"/>
                <a:gd name="T39" fmla="*/ 39 h 51"/>
                <a:gd name="T40" fmla="*/ 13 w 147"/>
                <a:gd name="T41" fmla="*/ 39 h 51"/>
                <a:gd name="T42" fmla="*/ 17 w 147"/>
                <a:gd name="T43" fmla="*/ 41 h 51"/>
                <a:gd name="T44" fmla="*/ 17 w 147"/>
                <a:gd name="T45" fmla="*/ 46 h 51"/>
                <a:gd name="T46" fmla="*/ 18 w 147"/>
                <a:gd name="T47" fmla="*/ 51 h 51"/>
                <a:gd name="T48" fmla="*/ 34 w 147"/>
                <a:gd name="T49" fmla="*/ 47 h 51"/>
                <a:gd name="T50" fmla="*/ 40 w 147"/>
                <a:gd name="T51" fmla="*/ 46 h 51"/>
                <a:gd name="T52" fmla="*/ 41 w 147"/>
                <a:gd name="T53" fmla="*/ 47 h 51"/>
                <a:gd name="T54" fmla="*/ 47 w 147"/>
                <a:gd name="T55" fmla="*/ 45 h 51"/>
                <a:gd name="T56" fmla="*/ 49 w 147"/>
                <a:gd name="T57" fmla="*/ 46 h 51"/>
                <a:gd name="T58" fmla="*/ 57 w 147"/>
                <a:gd name="T59" fmla="*/ 43 h 51"/>
                <a:gd name="T60" fmla="*/ 60 w 147"/>
                <a:gd name="T61" fmla="*/ 39 h 51"/>
                <a:gd name="T62" fmla="*/ 68 w 147"/>
                <a:gd name="T63" fmla="*/ 35 h 51"/>
                <a:gd name="T64" fmla="*/ 72 w 147"/>
                <a:gd name="T65" fmla="*/ 35 h 51"/>
                <a:gd name="T66" fmla="*/ 81 w 147"/>
                <a:gd name="T67" fmla="*/ 33 h 51"/>
                <a:gd name="T68" fmla="*/ 88 w 147"/>
                <a:gd name="T69" fmla="*/ 28 h 51"/>
                <a:gd name="T70" fmla="*/ 98 w 147"/>
                <a:gd name="T71" fmla="*/ 27 h 51"/>
                <a:gd name="T72" fmla="*/ 114 w 147"/>
                <a:gd name="T73" fmla="*/ 23 h 51"/>
                <a:gd name="T74" fmla="*/ 128 w 147"/>
                <a:gd name="T75" fmla="*/ 19 h 51"/>
                <a:gd name="T76" fmla="*/ 147 w 147"/>
                <a:gd name="T77" fmla="*/ 15 h 51"/>
                <a:gd name="T78" fmla="*/ 143 w 147"/>
                <a:gd name="T79" fmla="*/ 13 h 51"/>
                <a:gd name="T80" fmla="*/ 139 w 147"/>
                <a:gd name="T81" fmla="*/ 8 h 51"/>
                <a:gd name="T82" fmla="*/ 135 w 147"/>
                <a:gd name="T83" fmla="*/ 5 h 51"/>
                <a:gd name="T84" fmla="*/ 119 w 147"/>
                <a:gd name="T85" fmla="*/ 6 h 51"/>
                <a:gd name="T86" fmla="*/ 116 w 147"/>
                <a:gd name="T87" fmla="*/ 8 h 51"/>
                <a:gd name="T88" fmla="*/ 112 w 147"/>
                <a:gd name="T89" fmla="*/ 8 h 51"/>
                <a:gd name="T90" fmla="*/ 116 w 147"/>
                <a:gd name="T91" fmla="*/ 6 h 51"/>
                <a:gd name="T92" fmla="*/ 111 w 147"/>
                <a:gd name="T93" fmla="*/ 6 h 51"/>
                <a:gd name="T94" fmla="*/ 107 w 147"/>
                <a:gd name="T95" fmla="*/ 7 h 51"/>
                <a:gd name="T96" fmla="*/ 105 w 147"/>
                <a:gd name="T97" fmla="*/ 4 h 51"/>
                <a:gd name="T98" fmla="*/ 102 w 147"/>
                <a:gd name="T99" fmla="*/ 2 h 51"/>
                <a:gd name="T100" fmla="*/ 92 w 147"/>
                <a:gd name="T101" fmla="*/ 2 h 51"/>
                <a:gd name="T102" fmla="*/ 79 w 147"/>
                <a:gd name="T103" fmla="*/ 2 h 51"/>
                <a:gd name="T104" fmla="*/ 77 w 147"/>
                <a:gd name="T105" fmla="*/ 4 h 51"/>
                <a:gd name="T106" fmla="*/ 77 w 147"/>
                <a:gd name="T107" fmla="*/ 2 h 51"/>
                <a:gd name="T108" fmla="*/ 74 w 147"/>
                <a:gd name="T109" fmla="*/ 3 h 51"/>
                <a:gd name="T110" fmla="*/ 70 w 147"/>
                <a:gd name="T111" fmla="*/ 3 h 51"/>
                <a:gd name="T112" fmla="*/ 66 w 147"/>
                <a:gd name="T113" fmla="*/ 3 h 51"/>
                <a:gd name="T114" fmla="*/ 60 w 147"/>
                <a:gd name="T115" fmla="*/ 4 h 51"/>
                <a:gd name="T116" fmla="*/ 59 w 147"/>
                <a:gd name="T117" fmla="*/ 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7" h="51">
                  <a:moveTo>
                    <a:pt x="57" y="8"/>
                  </a:moveTo>
                  <a:lnTo>
                    <a:pt x="57" y="9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55" y="12"/>
                  </a:lnTo>
                  <a:lnTo>
                    <a:pt x="50" y="14"/>
                  </a:lnTo>
                  <a:lnTo>
                    <a:pt x="49" y="15"/>
                  </a:lnTo>
                  <a:lnTo>
                    <a:pt x="47" y="15"/>
                  </a:lnTo>
                  <a:lnTo>
                    <a:pt x="46" y="16"/>
                  </a:lnTo>
                  <a:lnTo>
                    <a:pt x="45" y="17"/>
                  </a:lnTo>
                  <a:lnTo>
                    <a:pt x="43" y="17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37" y="19"/>
                  </a:lnTo>
                  <a:lnTo>
                    <a:pt x="37" y="20"/>
                  </a:lnTo>
                  <a:lnTo>
                    <a:pt x="36" y="20"/>
                  </a:lnTo>
                  <a:lnTo>
                    <a:pt x="35" y="21"/>
                  </a:lnTo>
                  <a:lnTo>
                    <a:pt x="33" y="21"/>
                  </a:lnTo>
                  <a:lnTo>
                    <a:pt x="33" y="23"/>
                  </a:lnTo>
                  <a:lnTo>
                    <a:pt x="34" y="21"/>
                  </a:lnTo>
                  <a:lnTo>
                    <a:pt x="34" y="23"/>
                  </a:lnTo>
                  <a:lnTo>
                    <a:pt x="35" y="23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28" y="25"/>
                  </a:lnTo>
                  <a:lnTo>
                    <a:pt x="27" y="25"/>
                  </a:lnTo>
                  <a:lnTo>
                    <a:pt x="26" y="25"/>
                  </a:lnTo>
                  <a:lnTo>
                    <a:pt x="25" y="26"/>
                  </a:lnTo>
                  <a:lnTo>
                    <a:pt x="26" y="26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4" y="27"/>
                  </a:lnTo>
                  <a:lnTo>
                    <a:pt x="21" y="28"/>
                  </a:lnTo>
                  <a:lnTo>
                    <a:pt x="23" y="28"/>
                  </a:lnTo>
                  <a:lnTo>
                    <a:pt x="23" y="29"/>
                  </a:lnTo>
                  <a:lnTo>
                    <a:pt x="20" y="29"/>
                  </a:lnTo>
                  <a:lnTo>
                    <a:pt x="18" y="30"/>
                  </a:lnTo>
                  <a:lnTo>
                    <a:pt x="19" y="30"/>
                  </a:lnTo>
                  <a:lnTo>
                    <a:pt x="18" y="30"/>
                  </a:lnTo>
                  <a:lnTo>
                    <a:pt x="17" y="30"/>
                  </a:lnTo>
                  <a:lnTo>
                    <a:pt x="14" y="31"/>
                  </a:lnTo>
                  <a:lnTo>
                    <a:pt x="13" y="33"/>
                  </a:lnTo>
                  <a:lnTo>
                    <a:pt x="11" y="33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8" y="36"/>
                  </a:lnTo>
                  <a:lnTo>
                    <a:pt x="7" y="35"/>
                  </a:lnTo>
                  <a:lnTo>
                    <a:pt x="6" y="36"/>
                  </a:lnTo>
                  <a:lnTo>
                    <a:pt x="5" y="37"/>
                  </a:lnTo>
                  <a:lnTo>
                    <a:pt x="6" y="37"/>
                  </a:lnTo>
                  <a:lnTo>
                    <a:pt x="3" y="38"/>
                  </a:lnTo>
                  <a:lnTo>
                    <a:pt x="0" y="38"/>
                  </a:lnTo>
                  <a:lnTo>
                    <a:pt x="0" y="39"/>
                  </a:lnTo>
                  <a:lnTo>
                    <a:pt x="7" y="38"/>
                  </a:lnTo>
                  <a:lnTo>
                    <a:pt x="10" y="38"/>
                  </a:lnTo>
                  <a:lnTo>
                    <a:pt x="10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10" y="40"/>
                  </a:lnTo>
                  <a:lnTo>
                    <a:pt x="11" y="40"/>
                  </a:lnTo>
                  <a:lnTo>
                    <a:pt x="13" y="39"/>
                  </a:lnTo>
                  <a:lnTo>
                    <a:pt x="14" y="40"/>
                  </a:lnTo>
                  <a:lnTo>
                    <a:pt x="13" y="40"/>
                  </a:lnTo>
                  <a:lnTo>
                    <a:pt x="17" y="41"/>
                  </a:lnTo>
                  <a:lnTo>
                    <a:pt x="17" y="44"/>
                  </a:lnTo>
                  <a:lnTo>
                    <a:pt x="17" y="45"/>
                  </a:lnTo>
                  <a:lnTo>
                    <a:pt x="17" y="46"/>
                  </a:lnTo>
                  <a:lnTo>
                    <a:pt x="15" y="49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25" y="49"/>
                  </a:lnTo>
                  <a:lnTo>
                    <a:pt x="28" y="49"/>
                  </a:lnTo>
                  <a:lnTo>
                    <a:pt x="34" y="47"/>
                  </a:lnTo>
                  <a:lnTo>
                    <a:pt x="37" y="46"/>
                  </a:lnTo>
                  <a:lnTo>
                    <a:pt x="39" y="45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39" y="47"/>
                  </a:lnTo>
                  <a:lnTo>
                    <a:pt x="41" y="47"/>
                  </a:lnTo>
                  <a:lnTo>
                    <a:pt x="44" y="47"/>
                  </a:lnTo>
                  <a:lnTo>
                    <a:pt x="45" y="46"/>
                  </a:lnTo>
                  <a:lnTo>
                    <a:pt x="47" y="45"/>
                  </a:lnTo>
                  <a:lnTo>
                    <a:pt x="47" y="46"/>
                  </a:lnTo>
                  <a:lnTo>
                    <a:pt x="47" y="46"/>
                  </a:lnTo>
                  <a:lnTo>
                    <a:pt x="49" y="46"/>
                  </a:lnTo>
                  <a:lnTo>
                    <a:pt x="52" y="45"/>
                  </a:lnTo>
                  <a:lnTo>
                    <a:pt x="56" y="44"/>
                  </a:lnTo>
                  <a:lnTo>
                    <a:pt x="57" y="43"/>
                  </a:lnTo>
                  <a:lnTo>
                    <a:pt x="58" y="41"/>
                  </a:lnTo>
                  <a:lnTo>
                    <a:pt x="58" y="41"/>
                  </a:lnTo>
                  <a:lnTo>
                    <a:pt x="60" y="39"/>
                  </a:lnTo>
                  <a:lnTo>
                    <a:pt x="61" y="38"/>
                  </a:lnTo>
                  <a:lnTo>
                    <a:pt x="67" y="36"/>
                  </a:lnTo>
                  <a:lnTo>
                    <a:pt x="68" y="35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2" y="35"/>
                  </a:lnTo>
                  <a:lnTo>
                    <a:pt x="75" y="34"/>
                  </a:lnTo>
                  <a:lnTo>
                    <a:pt x="77" y="34"/>
                  </a:lnTo>
                  <a:lnTo>
                    <a:pt x="81" y="33"/>
                  </a:lnTo>
                  <a:lnTo>
                    <a:pt x="84" y="31"/>
                  </a:lnTo>
                  <a:lnTo>
                    <a:pt x="87" y="29"/>
                  </a:lnTo>
                  <a:lnTo>
                    <a:pt x="88" y="28"/>
                  </a:lnTo>
                  <a:lnTo>
                    <a:pt x="90" y="28"/>
                  </a:lnTo>
                  <a:lnTo>
                    <a:pt x="94" y="27"/>
                  </a:lnTo>
                  <a:lnTo>
                    <a:pt x="98" y="27"/>
                  </a:lnTo>
                  <a:lnTo>
                    <a:pt x="100" y="26"/>
                  </a:lnTo>
                  <a:lnTo>
                    <a:pt x="107" y="25"/>
                  </a:lnTo>
                  <a:lnTo>
                    <a:pt x="114" y="23"/>
                  </a:lnTo>
                  <a:lnTo>
                    <a:pt x="116" y="23"/>
                  </a:lnTo>
                  <a:lnTo>
                    <a:pt x="118" y="21"/>
                  </a:lnTo>
                  <a:lnTo>
                    <a:pt x="128" y="19"/>
                  </a:lnTo>
                  <a:lnTo>
                    <a:pt x="137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6" y="15"/>
                  </a:lnTo>
                  <a:lnTo>
                    <a:pt x="145" y="13"/>
                  </a:lnTo>
                  <a:lnTo>
                    <a:pt x="143" y="13"/>
                  </a:lnTo>
                  <a:lnTo>
                    <a:pt x="142" y="12"/>
                  </a:lnTo>
                  <a:lnTo>
                    <a:pt x="139" y="9"/>
                  </a:lnTo>
                  <a:lnTo>
                    <a:pt x="139" y="8"/>
                  </a:lnTo>
                  <a:lnTo>
                    <a:pt x="138" y="7"/>
                  </a:lnTo>
                  <a:lnTo>
                    <a:pt x="136" y="6"/>
                  </a:lnTo>
                  <a:lnTo>
                    <a:pt x="135" y="5"/>
                  </a:lnTo>
                  <a:lnTo>
                    <a:pt x="127" y="5"/>
                  </a:lnTo>
                  <a:lnTo>
                    <a:pt x="120" y="5"/>
                  </a:lnTo>
                  <a:lnTo>
                    <a:pt x="119" y="6"/>
                  </a:lnTo>
                  <a:lnTo>
                    <a:pt x="117" y="6"/>
                  </a:lnTo>
                  <a:lnTo>
                    <a:pt x="118" y="7"/>
                  </a:lnTo>
                  <a:lnTo>
                    <a:pt x="116" y="8"/>
                  </a:lnTo>
                  <a:lnTo>
                    <a:pt x="115" y="8"/>
                  </a:lnTo>
                  <a:lnTo>
                    <a:pt x="112" y="9"/>
                  </a:lnTo>
                  <a:lnTo>
                    <a:pt x="112" y="8"/>
                  </a:lnTo>
                  <a:lnTo>
                    <a:pt x="115" y="7"/>
                  </a:lnTo>
                  <a:lnTo>
                    <a:pt x="116" y="6"/>
                  </a:lnTo>
                  <a:lnTo>
                    <a:pt x="116" y="6"/>
                  </a:lnTo>
                  <a:lnTo>
                    <a:pt x="114" y="6"/>
                  </a:lnTo>
                  <a:lnTo>
                    <a:pt x="111" y="6"/>
                  </a:lnTo>
                  <a:lnTo>
                    <a:pt x="111" y="6"/>
                  </a:lnTo>
                  <a:lnTo>
                    <a:pt x="109" y="7"/>
                  </a:lnTo>
                  <a:lnTo>
                    <a:pt x="107" y="8"/>
                  </a:lnTo>
                  <a:lnTo>
                    <a:pt x="107" y="7"/>
                  </a:lnTo>
                  <a:lnTo>
                    <a:pt x="108" y="7"/>
                  </a:lnTo>
                  <a:lnTo>
                    <a:pt x="111" y="6"/>
                  </a:lnTo>
                  <a:lnTo>
                    <a:pt x="105" y="4"/>
                  </a:lnTo>
                  <a:lnTo>
                    <a:pt x="104" y="3"/>
                  </a:lnTo>
                  <a:lnTo>
                    <a:pt x="102" y="2"/>
                  </a:lnTo>
                  <a:lnTo>
                    <a:pt x="102" y="2"/>
                  </a:lnTo>
                  <a:lnTo>
                    <a:pt x="98" y="0"/>
                  </a:lnTo>
                  <a:lnTo>
                    <a:pt x="95" y="0"/>
                  </a:lnTo>
                  <a:lnTo>
                    <a:pt x="92" y="2"/>
                  </a:lnTo>
                  <a:lnTo>
                    <a:pt x="90" y="0"/>
                  </a:lnTo>
                  <a:lnTo>
                    <a:pt x="87" y="2"/>
                  </a:lnTo>
                  <a:lnTo>
                    <a:pt x="79" y="2"/>
                  </a:lnTo>
                  <a:lnTo>
                    <a:pt x="78" y="2"/>
                  </a:lnTo>
                  <a:lnTo>
                    <a:pt x="77" y="3"/>
                  </a:lnTo>
                  <a:lnTo>
                    <a:pt x="77" y="4"/>
                  </a:lnTo>
                  <a:lnTo>
                    <a:pt x="77" y="3"/>
                  </a:lnTo>
                  <a:lnTo>
                    <a:pt x="76" y="3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5" y="3"/>
                  </a:lnTo>
                  <a:lnTo>
                    <a:pt x="74" y="3"/>
                  </a:lnTo>
                  <a:lnTo>
                    <a:pt x="75" y="2"/>
                  </a:lnTo>
                  <a:lnTo>
                    <a:pt x="71" y="2"/>
                  </a:lnTo>
                  <a:lnTo>
                    <a:pt x="70" y="3"/>
                  </a:lnTo>
                  <a:lnTo>
                    <a:pt x="68" y="2"/>
                  </a:lnTo>
                  <a:lnTo>
                    <a:pt x="67" y="2"/>
                  </a:lnTo>
                  <a:lnTo>
                    <a:pt x="66" y="3"/>
                  </a:lnTo>
                  <a:lnTo>
                    <a:pt x="62" y="3"/>
                  </a:lnTo>
                  <a:lnTo>
                    <a:pt x="59" y="3"/>
                  </a:lnTo>
                  <a:lnTo>
                    <a:pt x="60" y="4"/>
                  </a:lnTo>
                  <a:lnTo>
                    <a:pt x="59" y="5"/>
                  </a:lnTo>
                  <a:lnTo>
                    <a:pt x="61" y="5"/>
                  </a:lnTo>
                  <a:lnTo>
                    <a:pt x="59" y="6"/>
                  </a:lnTo>
                  <a:lnTo>
                    <a:pt x="58" y="7"/>
                  </a:lnTo>
                  <a:lnTo>
                    <a:pt x="57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02" name="Freeform 1102"/>
            <p:cNvSpPr>
              <a:spLocks/>
            </p:cNvSpPr>
            <p:nvPr/>
          </p:nvSpPr>
          <p:spPr bwMode="auto">
            <a:xfrm>
              <a:off x="1322" y="844"/>
              <a:ext cx="147" cy="51"/>
            </a:xfrm>
            <a:custGeom>
              <a:avLst/>
              <a:gdLst>
                <a:gd name="T0" fmla="*/ 58 w 147"/>
                <a:gd name="T1" fmla="*/ 10 h 51"/>
                <a:gd name="T2" fmla="*/ 50 w 147"/>
                <a:gd name="T3" fmla="*/ 14 h 51"/>
                <a:gd name="T4" fmla="*/ 46 w 147"/>
                <a:gd name="T5" fmla="*/ 16 h 51"/>
                <a:gd name="T6" fmla="*/ 40 w 147"/>
                <a:gd name="T7" fmla="*/ 18 h 51"/>
                <a:gd name="T8" fmla="*/ 37 w 147"/>
                <a:gd name="T9" fmla="*/ 20 h 51"/>
                <a:gd name="T10" fmla="*/ 33 w 147"/>
                <a:gd name="T11" fmla="*/ 21 h 51"/>
                <a:gd name="T12" fmla="*/ 34 w 147"/>
                <a:gd name="T13" fmla="*/ 23 h 51"/>
                <a:gd name="T14" fmla="*/ 34 w 147"/>
                <a:gd name="T15" fmla="*/ 24 h 51"/>
                <a:gd name="T16" fmla="*/ 26 w 147"/>
                <a:gd name="T17" fmla="*/ 25 h 51"/>
                <a:gd name="T18" fmla="*/ 25 w 147"/>
                <a:gd name="T19" fmla="*/ 27 h 51"/>
                <a:gd name="T20" fmla="*/ 21 w 147"/>
                <a:gd name="T21" fmla="*/ 28 h 51"/>
                <a:gd name="T22" fmla="*/ 20 w 147"/>
                <a:gd name="T23" fmla="*/ 29 h 51"/>
                <a:gd name="T24" fmla="*/ 18 w 147"/>
                <a:gd name="T25" fmla="*/ 30 h 51"/>
                <a:gd name="T26" fmla="*/ 13 w 147"/>
                <a:gd name="T27" fmla="*/ 33 h 51"/>
                <a:gd name="T28" fmla="*/ 11 w 147"/>
                <a:gd name="T29" fmla="*/ 34 h 51"/>
                <a:gd name="T30" fmla="*/ 8 w 147"/>
                <a:gd name="T31" fmla="*/ 36 h 51"/>
                <a:gd name="T32" fmla="*/ 5 w 147"/>
                <a:gd name="T33" fmla="*/ 37 h 51"/>
                <a:gd name="T34" fmla="*/ 0 w 147"/>
                <a:gd name="T35" fmla="*/ 38 h 51"/>
                <a:gd name="T36" fmla="*/ 10 w 147"/>
                <a:gd name="T37" fmla="*/ 38 h 51"/>
                <a:gd name="T38" fmla="*/ 8 w 147"/>
                <a:gd name="T39" fmla="*/ 39 h 51"/>
                <a:gd name="T40" fmla="*/ 13 w 147"/>
                <a:gd name="T41" fmla="*/ 39 h 51"/>
                <a:gd name="T42" fmla="*/ 17 w 147"/>
                <a:gd name="T43" fmla="*/ 41 h 51"/>
                <a:gd name="T44" fmla="*/ 17 w 147"/>
                <a:gd name="T45" fmla="*/ 46 h 51"/>
                <a:gd name="T46" fmla="*/ 18 w 147"/>
                <a:gd name="T47" fmla="*/ 51 h 51"/>
                <a:gd name="T48" fmla="*/ 34 w 147"/>
                <a:gd name="T49" fmla="*/ 47 h 51"/>
                <a:gd name="T50" fmla="*/ 40 w 147"/>
                <a:gd name="T51" fmla="*/ 46 h 51"/>
                <a:gd name="T52" fmla="*/ 41 w 147"/>
                <a:gd name="T53" fmla="*/ 47 h 51"/>
                <a:gd name="T54" fmla="*/ 47 w 147"/>
                <a:gd name="T55" fmla="*/ 45 h 51"/>
                <a:gd name="T56" fmla="*/ 49 w 147"/>
                <a:gd name="T57" fmla="*/ 46 h 51"/>
                <a:gd name="T58" fmla="*/ 57 w 147"/>
                <a:gd name="T59" fmla="*/ 43 h 51"/>
                <a:gd name="T60" fmla="*/ 60 w 147"/>
                <a:gd name="T61" fmla="*/ 39 h 51"/>
                <a:gd name="T62" fmla="*/ 68 w 147"/>
                <a:gd name="T63" fmla="*/ 35 h 51"/>
                <a:gd name="T64" fmla="*/ 72 w 147"/>
                <a:gd name="T65" fmla="*/ 35 h 51"/>
                <a:gd name="T66" fmla="*/ 81 w 147"/>
                <a:gd name="T67" fmla="*/ 33 h 51"/>
                <a:gd name="T68" fmla="*/ 88 w 147"/>
                <a:gd name="T69" fmla="*/ 28 h 51"/>
                <a:gd name="T70" fmla="*/ 98 w 147"/>
                <a:gd name="T71" fmla="*/ 27 h 51"/>
                <a:gd name="T72" fmla="*/ 114 w 147"/>
                <a:gd name="T73" fmla="*/ 23 h 51"/>
                <a:gd name="T74" fmla="*/ 128 w 147"/>
                <a:gd name="T75" fmla="*/ 19 h 51"/>
                <a:gd name="T76" fmla="*/ 147 w 147"/>
                <a:gd name="T77" fmla="*/ 15 h 51"/>
                <a:gd name="T78" fmla="*/ 143 w 147"/>
                <a:gd name="T79" fmla="*/ 13 h 51"/>
                <a:gd name="T80" fmla="*/ 139 w 147"/>
                <a:gd name="T81" fmla="*/ 8 h 51"/>
                <a:gd name="T82" fmla="*/ 135 w 147"/>
                <a:gd name="T83" fmla="*/ 5 h 51"/>
                <a:gd name="T84" fmla="*/ 119 w 147"/>
                <a:gd name="T85" fmla="*/ 6 h 51"/>
                <a:gd name="T86" fmla="*/ 116 w 147"/>
                <a:gd name="T87" fmla="*/ 8 h 51"/>
                <a:gd name="T88" fmla="*/ 112 w 147"/>
                <a:gd name="T89" fmla="*/ 8 h 51"/>
                <a:gd name="T90" fmla="*/ 116 w 147"/>
                <a:gd name="T91" fmla="*/ 6 h 51"/>
                <a:gd name="T92" fmla="*/ 111 w 147"/>
                <a:gd name="T93" fmla="*/ 6 h 51"/>
                <a:gd name="T94" fmla="*/ 107 w 147"/>
                <a:gd name="T95" fmla="*/ 7 h 51"/>
                <a:gd name="T96" fmla="*/ 105 w 147"/>
                <a:gd name="T97" fmla="*/ 4 h 51"/>
                <a:gd name="T98" fmla="*/ 102 w 147"/>
                <a:gd name="T99" fmla="*/ 2 h 51"/>
                <a:gd name="T100" fmla="*/ 92 w 147"/>
                <a:gd name="T101" fmla="*/ 2 h 51"/>
                <a:gd name="T102" fmla="*/ 79 w 147"/>
                <a:gd name="T103" fmla="*/ 2 h 51"/>
                <a:gd name="T104" fmla="*/ 77 w 147"/>
                <a:gd name="T105" fmla="*/ 4 h 51"/>
                <a:gd name="T106" fmla="*/ 77 w 147"/>
                <a:gd name="T107" fmla="*/ 2 h 51"/>
                <a:gd name="T108" fmla="*/ 74 w 147"/>
                <a:gd name="T109" fmla="*/ 3 h 51"/>
                <a:gd name="T110" fmla="*/ 70 w 147"/>
                <a:gd name="T111" fmla="*/ 3 h 51"/>
                <a:gd name="T112" fmla="*/ 66 w 147"/>
                <a:gd name="T113" fmla="*/ 3 h 51"/>
                <a:gd name="T114" fmla="*/ 60 w 147"/>
                <a:gd name="T115" fmla="*/ 4 h 51"/>
                <a:gd name="T116" fmla="*/ 59 w 147"/>
                <a:gd name="T117" fmla="*/ 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7" h="51">
                  <a:moveTo>
                    <a:pt x="57" y="8"/>
                  </a:moveTo>
                  <a:lnTo>
                    <a:pt x="57" y="9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55" y="12"/>
                  </a:lnTo>
                  <a:lnTo>
                    <a:pt x="50" y="14"/>
                  </a:lnTo>
                  <a:lnTo>
                    <a:pt x="49" y="15"/>
                  </a:lnTo>
                  <a:lnTo>
                    <a:pt x="47" y="15"/>
                  </a:lnTo>
                  <a:lnTo>
                    <a:pt x="46" y="16"/>
                  </a:lnTo>
                  <a:lnTo>
                    <a:pt x="45" y="17"/>
                  </a:lnTo>
                  <a:lnTo>
                    <a:pt x="43" y="17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37" y="19"/>
                  </a:lnTo>
                  <a:lnTo>
                    <a:pt x="37" y="20"/>
                  </a:lnTo>
                  <a:lnTo>
                    <a:pt x="36" y="20"/>
                  </a:lnTo>
                  <a:lnTo>
                    <a:pt x="35" y="21"/>
                  </a:lnTo>
                  <a:lnTo>
                    <a:pt x="33" y="21"/>
                  </a:lnTo>
                  <a:lnTo>
                    <a:pt x="33" y="23"/>
                  </a:lnTo>
                  <a:lnTo>
                    <a:pt x="34" y="21"/>
                  </a:lnTo>
                  <a:lnTo>
                    <a:pt x="34" y="23"/>
                  </a:lnTo>
                  <a:lnTo>
                    <a:pt x="35" y="23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28" y="25"/>
                  </a:lnTo>
                  <a:lnTo>
                    <a:pt x="27" y="25"/>
                  </a:lnTo>
                  <a:lnTo>
                    <a:pt x="26" y="25"/>
                  </a:lnTo>
                  <a:lnTo>
                    <a:pt x="25" y="26"/>
                  </a:lnTo>
                  <a:lnTo>
                    <a:pt x="26" y="26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4" y="27"/>
                  </a:lnTo>
                  <a:lnTo>
                    <a:pt x="21" y="28"/>
                  </a:lnTo>
                  <a:lnTo>
                    <a:pt x="23" y="28"/>
                  </a:lnTo>
                  <a:lnTo>
                    <a:pt x="23" y="29"/>
                  </a:lnTo>
                  <a:lnTo>
                    <a:pt x="20" y="29"/>
                  </a:lnTo>
                  <a:lnTo>
                    <a:pt x="18" y="30"/>
                  </a:lnTo>
                  <a:lnTo>
                    <a:pt x="19" y="30"/>
                  </a:lnTo>
                  <a:lnTo>
                    <a:pt x="18" y="30"/>
                  </a:lnTo>
                  <a:lnTo>
                    <a:pt x="17" y="30"/>
                  </a:lnTo>
                  <a:lnTo>
                    <a:pt x="14" y="31"/>
                  </a:lnTo>
                  <a:lnTo>
                    <a:pt x="13" y="33"/>
                  </a:lnTo>
                  <a:lnTo>
                    <a:pt x="11" y="33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8" y="36"/>
                  </a:lnTo>
                  <a:lnTo>
                    <a:pt x="7" y="35"/>
                  </a:lnTo>
                  <a:lnTo>
                    <a:pt x="6" y="36"/>
                  </a:lnTo>
                  <a:lnTo>
                    <a:pt x="5" y="37"/>
                  </a:lnTo>
                  <a:lnTo>
                    <a:pt x="6" y="37"/>
                  </a:lnTo>
                  <a:lnTo>
                    <a:pt x="3" y="38"/>
                  </a:lnTo>
                  <a:lnTo>
                    <a:pt x="0" y="38"/>
                  </a:lnTo>
                  <a:lnTo>
                    <a:pt x="0" y="39"/>
                  </a:lnTo>
                  <a:lnTo>
                    <a:pt x="7" y="38"/>
                  </a:lnTo>
                  <a:lnTo>
                    <a:pt x="10" y="38"/>
                  </a:lnTo>
                  <a:lnTo>
                    <a:pt x="10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10" y="40"/>
                  </a:lnTo>
                  <a:lnTo>
                    <a:pt x="11" y="40"/>
                  </a:lnTo>
                  <a:lnTo>
                    <a:pt x="13" y="39"/>
                  </a:lnTo>
                  <a:lnTo>
                    <a:pt x="14" y="40"/>
                  </a:lnTo>
                  <a:lnTo>
                    <a:pt x="13" y="40"/>
                  </a:lnTo>
                  <a:lnTo>
                    <a:pt x="17" y="41"/>
                  </a:lnTo>
                  <a:lnTo>
                    <a:pt x="17" y="44"/>
                  </a:lnTo>
                  <a:lnTo>
                    <a:pt x="17" y="45"/>
                  </a:lnTo>
                  <a:lnTo>
                    <a:pt x="17" y="46"/>
                  </a:lnTo>
                  <a:lnTo>
                    <a:pt x="15" y="49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25" y="49"/>
                  </a:lnTo>
                  <a:lnTo>
                    <a:pt x="28" y="49"/>
                  </a:lnTo>
                  <a:lnTo>
                    <a:pt x="34" y="47"/>
                  </a:lnTo>
                  <a:lnTo>
                    <a:pt x="37" y="46"/>
                  </a:lnTo>
                  <a:lnTo>
                    <a:pt x="39" y="45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39" y="47"/>
                  </a:lnTo>
                  <a:lnTo>
                    <a:pt x="41" y="47"/>
                  </a:lnTo>
                  <a:lnTo>
                    <a:pt x="44" y="47"/>
                  </a:lnTo>
                  <a:lnTo>
                    <a:pt x="45" y="46"/>
                  </a:lnTo>
                  <a:lnTo>
                    <a:pt x="47" y="45"/>
                  </a:lnTo>
                  <a:lnTo>
                    <a:pt x="47" y="46"/>
                  </a:lnTo>
                  <a:lnTo>
                    <a:pt x="47" y="46"/>
                  </a:lnTo>
                  <a:lnTo>
                    <a:pt x="49" y="46"/>
                  </a:lnTo>
                  <a:lnTo>
                    <a:pt x="52" y="45"/>
                  </a:lnTo>
                  <a:lnTo>
                    <a:pt x="56" y="44"/>
                  </a:lnTo>
                  <a:lnTo>
                    <a:pt x="57" y="43"/>
                  </a:lnTo>
                  <a:lnTo>
                    <a:pt x="58" y="41"/>
                  </a:lnTo>
                  <a:lnTo>
                    <a:pt x="58" y="41"/>
                  </a:lnTo>
                  <a:lnTo>
                    <a:pt x="60" y="39"/>
                  </a:lnTo>
                  <a:lnTo>
                    <a:pt x="61" y="38"/>
                  </a:lnTo>
                  <a:lnTo>
                    <a:pt x="67" y="36"/>
                  </a:lnTo>
                  <a:lnTo>
                    <a:pt x="68" y="35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2" y="35"/>
                  </a:lnTo>
                  <a:lnTo>
                    <a:pt x="75" y="34"/>
                  </a:lnTo>
                  <a:lnTo>
                    <a:pt x="77" y="34"/>
                  </a:lnTo>
                  <a:lnTo>
                    <a:pt x="81" y="33"/>
                  </a:lnTo>
                  <a:lnTo>
                    <a:pt x="84" y="31"/>
                  </a:lnTo>
                  <a:lnTo>
                    <a:pt x="87" y="29"/>
                  </a:lnTo>
                  <a:lnTo>
                    <a:pt x="88" y="28"/>
                  </a:lnTo>
                  <a:lnTo>
                    <a:pt x="90" y="28"/>
                  </a:lnTo>
                  <a:lnTo>
                    <a:pt x="94" y="27"/>
                  </a:lnTo>
                  <a:lnTo>
                    <a:pt x="98" y="27"/>
                  </a:lnTo>
                  <a:lnTo>
                    <a:pt x="100" y="26"/>
                  </a:lnTo>
                  <a:lnTo>
                    <a:pt x="107" y="25"/>
                  </a:lnTo>
                  <a:lnTo>
                    <a:pt x="114" y="23"/>
                  </a:lnTo>
                  <a:lnTo>
                    <a:pt x="116" y="23"/>
                  </a:lnTo>
                  <a:lnTo>
                    <a:pt x="118" y="21"/>
                  </a:lnTo>
                  <a:lnTo>
                    <a:pt x="128" y="19"/>
                  </a:lnTo>
                  <a:lnTo>
                    <a:pt x="137" y="18"/>
                  </a:lnTo>
                  <a:lnTo>
                    <a:pt x="145" y="16"/>
                  </a:lnTo>
                  <a:lnTo>
                    <a:pt x="147" y="15"/>
                  </a:lnTo>
                  <a:lnTo>
                    <a:pt x="146" y="15"/>
                  </a:lnTo>
                  <a:lnTo>
                    <a:pt x="145" y="13"/>
                  </a:lnTo>
                  <a:lnTo>
                    <a:pt x="143" y="13"/>
                  </a:lnTo>
                  <a:lnTo>
                    <a:pt x="142" y="12"/>
                  </a:lnTo>
                  <a:lnTo>
                    <a:pt x="139" y="9"/>
                  </a:lnTo>
                  <a:lnTo>
                    <a:pt x="139" y="8"/>
                  </a:lnTo>
                  <a:lnTo>
                    <a:pt x="138" y="7"/>
                  </a:lnTo>
                  <a:lnTo>
                    <a:pt x="136" y="6"/>
                  </a:lnTo>
                  <a:lnTo>
                    <a:pt x="135" y="5"/>
                  </a:lnTo>
                  <a:lnTo>
                    <a:pt x="127" y="5"/>
                  </a:lnTo>
                  <a:lnTo>
                    <a:pt x="120" y="5"/>
                  </a:lnTo>
                  <a:lnTo>
                    <a:pt x="119" y="6"/>
                  </a:lnTo>
                  <a:lnTo>
                    <a:pt x="117" y="6"/>
                  </a:lnTo>
                  <a:lnTo>
                    <a:pt x="118" y="7"/>
                  </a:lnTo>
                  <a:lnTo>
                    <a:pt x="116" y="8"/>
                  </a:lnTo>
                  <a:lnTo>
                    <a:pt x="115" y="8"/>
                  </a:lnTo>
                  <a:lnTo>
                    <a:pt x="112" y="9"/>
                  </a:lnTo>
                  <a:lnTo>
                    <a:pt x="112" y="8"/>
                  </a:lnTo>
                  <a:lnTo>
                    <a:pt x="115" y="7"/>
                  </a:lnTo>
                  <a:lnTo>
                    <a:pt x="116" y="6"/>
                  </a:lnTo>
                  <a:lnTo>
                    <a:pt x="116" y="6"/>
                  </a:lnTo>
                  <a:lnTo>
                    <a:pt x="114" y="6"/>
                  </a:lnTo>
                  <a:lnTo>
                    <a:pt x="111" y="6"/>
                  </a:lnTo>
                  <a:lnTo>
                    <a:pt x="111" y="6"/>
                  </a:lnTo>
                  <a:lnTo>
                    <a:pt x="109" y="7"/>
                  </a:lnTo>
                  <a:lnTo>
                    <a:pt x="107" y="8"/>
                  </a:lnTo>
                  <a:lnTo>
                    <a:pt x="107" y="7"/>
                  </a:lnTo>
                  <a:lnTo>
                    <a:pt x="108" y="7"/>
                  </a:lnTo>
                  <a:lnTo>
                    <a:pt x="111" y="6"/>
                  </a:lnTo>
                  <a:lnTo>
                    <a:pt x="105" y="4"/>
                  </a:lnTo>
                  <a:lnTo>
                    <a:pt x="104" y="3"/>
                  </a:lnTo>
                  <a:lnTo>
                    <a:pt x="102" y="2"/>
                  </a:lnTo>
                  <a:lnTo>
                    <a:pt x="102" y="2"/>
                  </a:lnTo>
                  <a:lnTo>
                    <a:pt x="98" y="0"/>
                  </a:lnTo>
                  <a:lnTo>
                    <a:pt x="95" y="0"/>
                  </a:lnTo>
                  <a:lnTo>
                    <a:pt x="92" y="2"/>
                  </a:lnTo>
                  <a:lnTo>
                    <a:pt x="90" y="0"/>
                  </a:lnTo>
                  <a:lnTo>
                    <a:pt x="87" y="2"/>
                  </a:lnTo>
                  <a:lnTo>
                    <a:pt x="79" y="2"/>
                  </a:lnTo>
                  <a:lnTo>
                    <a:pt x="78" y="2"/>
                  </a:lnTo>
                  <a:lnTo>
                    <a:pt x="77" y="3"/>
                  </a:lnTo>
                  <a:lnTo>
                    <a:pt x="77" y="4"/>
                  </a:lnTo>
                  <a:lnTo>
                    <a:pt x="77" y="3"/>
                  </a:lnTo>
                  <a:lnTo>
                    <a:pt x="76" y="3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5" y="3"/>
                  </a:lnTo>
                  <a:lnTo>
                    <a:pt x="74" y="3"/>
                  </a:lnTo>
                  <a:lnTo>
                    <a:pt x="75" y="2"/>
                  </a:lnTo>
                  <a:lnTo>
                    <a:pt x="71" y="2"/>
                  </a:lnTo>
                  <a:lnTo>
                    <a:pt x="70" y="3"/>
                  </a:lnTo>
                  <a:lnTo>
                    <a:pt x="68" y="2"/>
                  </a:lnTo>
                  <a:lnTo>
                    <a:pt x="67" y="2"/>
                  </a:lnTo>
                  <a:lnTo>
                    <a:pt x="66" y="3"/>
                  </a:lnTo>
                  <a:lnTo>
                    <a:pt x="62" y="3"/>
                  </a:lnTo>
                  <a:lnTo>
                    <a:pt x="59" y="3"/>
                  </a:lnTo>
                  <a:lnTo>
                    <a:pt x="60" y="4"/>
                  </a:lnTo>
                  <a:lnTo>
                    <a:pt x="59" y="5"/>
                  </a:lnTo>
                  <a:lnTo>
                    <a:pt x="61" y="5"/>
                  </a:lnTo>
                  <a:lnTo>
                    <a:pt x="59" y="6"/>
                  </a:lnTo>
                  <a:lnTo>
                    <a:pt x="58" y="7"/>
                  </a:lnTo>
                  <a:lnTo>
                    <a:pt x="57" y="8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03" name="Freeform 1103"/>
            <p:cNvSpPr>
              <a:spLocks/>
            </p:cNvSpPr>
            <p:nvPr/>
          </p:nvSpPr>
          <p:spPr bwMode="auto">
            <a:xfrm>
              <a:off x="1386" y="862"/>
              <a:ext cx="193" cy="73"/>
            </a:xfrm>
            <a:custGeom>
              <a:avLst/>
              <a:gdLst>
                <a:gd name="T0" fmla="*/ 1 w 193"/>
                <a:gd name="T1" fmla="*/ 57 h 73"/>
                <a:gd name="T2" fmla="*/ 21 w 193"/>
                <a:gd name="T3" fmla="*/ 47 h 73"/>
                <a:gd name="T4" fmla="*/ 61 w 193"/>
                <a:gd name="T5" fmla="*/ 46 h 73"/>
                <a:gd name="T6" fmla="*/ 66 w 193"/>
                <a:gd name="T7" fmla="*/ 42 h 73"/>
                <a:gd name="T8" fmla="*/ 51 w 193"/>
                <a:gd name="T9" fmla="*/ 39 h 73"/>
                <a:gd name="T10" fmla="*/ 13 w 193"/>
                <a:gd name="T11" fmla="*/ 40 h 73"/>
                <a:gd name="T12" fmla="*/ 13 w 193"/>
                <a:gd name="T13" fmla="*/ 32 h 73"/>
                <a:gd name="T14" fmla="*/ 41 w 193"/>
                <a:gd name="T15" fmla="*/ 30 h 73"/>
                <a:gd name="T16" fmla="*/ 33 w 193"/>
                <a:gd name="T17" fmla="*/ 28 h 73"/>
                <a:gd name="T18" fmla="*/ 22 w 193"/>
                <a:gd name="T19" fmla="*/ 28 h 73"/>
                <a:gd name="T20" fmla="*/ 15 w 193"/>
                <a:gd name="T21" fmla="*/ 28 h 73"/>
                <a:gd name="T22" fmla="*/ 14 w 193"/>
                <a:gd name="T23" fmla="*/ 25 h 73"/>
                <a:gd name="T24" fmla="*/ 30 w 193"/>
                <a:gd name="T25" fmla="*/ 17 h 73"/>
                <a:gd name="T26" fmla="*/ 35 w 193"/>
                <a:gd name="T27" fmla="*/ 11 h 73"/>
                <a:gd name="T28" fmla="*/ 86 w 193"/>
                <a:gd name="T29" fmla="*/ 0 h 73"/>
                <a:gd name="T30" fmla="*/ 85 w 193"/>
                <a:gd name="T31" fmla="*/ 8 h 73"/>
                <a:gd name="T32" fmla="*/ 74 w 193"/>
                <a:gd name="T33" fmla="*/ 11 h 73"/>
                <a:gd name="T34" fmla="*/ 92 w 193"/>
                <a:gd name="T35" fmla="*/ 7 h 73"/>
                <a:gd name="T36" fmla="*/ 111 w 193"/>
                <a:gd name="T37" fmla="*/ 8 h 73"/>
                <a:gd name="T38" fmla="*/ 107 w 193"/>
                <a:gd name="T39" fmla="*/ 13 h 73"/>
                <a:gd name="T40" fmla="*/ 114 w 193"/>
                <a:gd name="T41" fmla="*/ 12 h 73"/>
                <a:gd name="T42" fmla="*/ 124 w 193"/>
                <a:gd name="T43" fmla="*/ 11 h 73"/>
                <a:gd name="T44" fmla="*/ 128 w 193"/>
                <a:gd name="T45" fmla="*/ 10 h 73"/>
                <a:gd name="T46" fmla="*/ 133 w 193"/>
                <a:gd name="T47" fmla="*/ 6 h 73"/>
                <a:gd name="T48" fmla="*/ 138 w 193"/>
                <a:gd name="T49" fmla="*/ 9 h 73"/>
                <a:gd name="T50" fmla="*/ 135 w 193"/>
                <a:gd name="T51" fmla="*/ 17 h 73"/>
                <a:gd name="T52" fmla="*/ 134 w 193"/>
                <a:gd name="T53" fmla="*/ 25 h 73"/>
                <a:gd name="T54" fmla="*/ 143 w 193"/>
                <a:gd name="T55" fmla="*/ 20 h 73"/>
                <a:gd name="T56" fmla="*/ 148 w 193"/>
                <a:gd name="T57" fmla="*/ 13 h 73"/>
                <a:gd name="T58" fmla="*/ 155 w 193"/>
                <a:gd name="T59" fmla="*/ 3 h 73"/>
                <a:gd name="T60" fmla="*/ 159 w 193"/>
                <a:gd name="T61" fmla="*/ 1 h 73"/>
                <a:gd name="T62" fmla="*/ 170 w 193"/>
                <a:gd name="T63" fmla="*/ 2 h 73"/>
                <a:gd name="T64" fmla="*/ 174 w 193"/>
                <a:gd name="T65" fmla="*/ 3 h 73"/>
                <a:gd name="T66" fmla="*/ 180 w 193"/>
                <a:gd name="T67" fmla="*/ 9 h 73"/>
                <a:gd name="T68" fmla="*/ 176 w 193"/>
                <a:gd name="T69" fmla="*/ 16 h 73"/>
                <a:gd name="T70" fmla="*/ 173 w 193"/>
                <a:gd name="T71" fmla="*/ 27 h 73"/>
                <a:gd name="T72" fmla="*/ 166 w 193"/>
                <a:gd name="T73" fmla="*/ 36 h 73"/>
                <a:gd name="T74" fmla="*/ 176 w 193"/>
                <a:gd name="T75" fmla="*/ 40 h 73"/>
                <a:gd name="T76" fmla="*/ 187 w 193"/>
                <a:gd name="T77" fmla="*/ 46 h 73"/>
                <a:gd name="T78" fmla="*/ 192 w 193"/>
                <a:gd name="T79" fmla="*/ 50 h 73"/>
                <a:gd name="T80" fmla="*/ 180 w 193"/>
                <a:gd name="T81" fmla="*/ 52 h 73"/>
                <a:gd name="T82" fmla="*/ 176 w 193"/>
                <a:gd name="T83" fmla="*/ 51 h 73"/>
                <a:gd name="T84" fmla="*/ 167 w 193"/>
                <a:gd name="T85" fmla="*/ 55 h 73"/>
                <a:gd name="T86" fmla="*/ 158 w 193"/>
                <a:gd name="T87" fmla="*/ 59 h 73"/>
                <a:gd name="T88" fmla="*/ 172 w 193"/>
                <a:gd name="T89" fmla="*/ 58 h 73"/>
                <a:gd name="T90" fmla="*/ 166 w 193"/>
                <a:gd name="T91" fmla="*/ 62 h 73"/>
                <a:gd name="T92" fmla="*/ 167 w 193"/>
                <a:gd name="T93" fmla="*/ 65 h 73"/>
                <a:gd name="T94" fmla="*/ 153 w 193"/>
                <a:gd name="T95" fmla="*/ 68 h 73"/>
                <a:gd name="T96" fmla="*/ 136 w 193"/>
                <a:gd name="T97" fmla="*/ 66 h 73"/>
                <a:gd name="T98" fmla="*/ 128 w 193"/>
                <a:gd name="T99" fmla="*/ 63 h 73"/>
                <a:gd name="T100" fmla="*/ 119 w 193"/>
                <a:gd name="T101" fmla="*/ 59 h 73"/>
                <a:gd name="T102" fmla="*/ 106 w 193"/>
                <a:gd name="T103" fmla="*/ 62 h 73"/>
                <a:gd name="T104" fmla="*/ 71 w 193"/>
                <a:gd name="T105" fmla="*/ 70 h 73"/>
                <a:gd name="T106" fmla="*/ 50 w 193"/>
                <a:gd name="T107" fmla="*/ 71 h 73"/>
                <a:gd name="T108" fmla="*/ 25 w 193"/>
                <a:gd name="T109" fmla="*/ 73 h 73"/>
                <a:gd name="T110" fmla="*/ 30 w 193"/>
                <a:gd name="T111" fmla="*/ 65 h 73"/>
                <a:gd name="T112" fmla="*/ 18 w 193"/>
                <a:gd name="T113" fmla="*/ 61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93" h="73">
                  <a:moveTo>
                    <a:pt x="18" y="61"/>
                  </a:moveTo>
                  <a:lnTo>
                    <a:pt x="16" y="61"/>
                  </a:lnTo>
                  <a:lnTo>
                    <a:pt x="12" y="61"/>
                  </a:lnTo>
                  <a:lnTo>
                    <a:pt x="11" y="61"/>
                  </a:lnTo>
                  <a:lnTo>
                    <a:pt x="6" y="60"/>
                  </a:lnTo>
                  <a:lnTo>
                    <a:pt x="1" y="58"/>
                  </a:lnTo>
                  <a:lnTo>
                    <a:pt x="2" y="57"/>
                  </a:lnTo>
                  <a:lnTo>
                    <a:pt x="1" y="57"/>
                  </a:lnTo>
                  <a:lnTo>
                    <a:pt x="0" y="56"/>
                  </a:lnTo>
                  <a:lnTo>
                    <a:pt x="1" y="55"/>
                  </a:lnTo>
                  <a:lnTo>
                    <a:pt x="0" y="53"/>
                  </a:lnTo>
                  <a:lnTo>
                    <a:pt x="0" y="52"/>
                  </a:lnTo>
                  <a:lnTo>
                    <a:pt x="0" y="50"/>
                  </a:lnTo>
                  <a:lnTo>
                    <a:pt x="1" y="49"/>
                  </a:lnTo>
                  <a:lnTo>
                    <a:pt x="6" y="49"/>
                  </a:lnTo>
                  <a:lnTo>
                    <a:pt x="21" y="47"/>
                  </a:lnTo>
                  <a:lnTo>
                    <a:pt x="30" y="46"/>
                  </a:lnTo>
                  <a:lnTo>
                    <a:pt x="34" y="46"/>
                  </a:lnTo>
                  <a:lnTo>
                    <a:pt x="40" y="45"/>
                  </a:lnTo>
                  <a:lnTo>
                    <a:pt x="42" y="45"/>
                  </a:lnTo>
                  <a:lnTo>
                    <a:pt x="45" y="46"/>
                  </a:lnTo>
                  <a:lnTo>
                    <a:pt x="53" y="46"/>
                  </a:lnTo>
                  <a:lnTo>
                    <a:pt x="56" y="46"/>
                  </a:lnTo>
                  <a:lnTo>
                    <a:pt x="61" y="46"/>
                  </a:lnTo>
                  <a:lnTo>
                    <a:pt x="64" y="45"/>
                  </a:lnTo>
                  <a:lnTo>
                    <a:pt x="63" y="45"/>
                  </a:lnTo>
                  <a:lnTo>
                    <a:pt x="64" y="43"/>
                  </a:lnTo>
                  <a:lnTo>
                    <a:pt x="65" y="45"/>
                  </a:lnTo>
                  <a:lnTo>
                    <a:pt x="67" y="45"/>
                  </a:lnTo>
                  <a:lnTo>
                    <a:pt x="67" y="43"/>
                  </a:lnTo>
                  <a:lnTo>
                    <a:pt x="67" y="42"/>
                  </a:lnTo>
                  <a:lnTo>
                    <a:pt x="66" y="42"/>
                  </a:lnTo>
                  <a:lnTo>
                    <a:pt x="62" y="42"/>
                  </a:lnTo>
                  <a:lnTo>
                    <a:pt x="62" y="41"/>
                  </a:lnTo>
                  <a:lnTo>
                    <a:pt x="60" y="41"/>
                  </a:lnTo>
                  <a:lnTo>
                    <a:pt x="57" y="41"/>
                  </a:lnTo>
                  <a:lnTo>
                    <a:pt x="56" y="40"/>
                  </a:lnTo>
                  <a:lnTo>
                    <a:pt x="54" y="40"/>
                  </a:lnTo>
                  <a:lnTo>
                    <a:pt x="52" y="40"/>
                  </a:lnTo>
                  <a:lnTo>
                    <a:pt x="51" y="39"/>
                  </a:lnTo>
                  <a:lnTo>
                    <a:pt x="44" y="40"/>
                  </a:lnTo>
                  <a:lnTo>
                    <a:pt x="31" y="41"/>
                  </a:lnTo>
                  <a:lnTo>
                    <a:pt x="30" y="41"/>
                  </a:lnTo>
                  <a:lnTo>
                    <a:pt x="26" y="41"/>
                  </a:lnTo>
                  <a:lnTo>
                    <a:pt x="25" y="41"/>
                  </a:lnTo>
                  <a:lnTo>
                    <a:pt x="24" y="40"/>
                  </a:lnTo>
                  <a:lnTo>
                    <a:pt x="15" y="41"/>
                  </a:lnTo>
                  <a:lnTo>
                    <a:pt x="13" y="40"/>
                  </a:lnTo>
                  <a:lnTo>
                    <a:pt x="8" y="40"/>
                  </a:lnTo>
                  <a:lnTo>
                    <a:pt x="10" y="40"/>
                  </a:lnTo>
                  <a:lnTo>
                    <a:pt x="10" y="39"/>
                  </a:lnTo>
                  <a:lnTo>
                    <a:pt x="7" y="39"/>
                  </a:lnTo>
                  <a:lnTo>
                    <a:pt x="6" y="38"/>
                  </a:lnTo>
                  <a:lnTo>
                    <a:pt x="6" y="36"/>
                  </a:lnTo>
                  <a:lnTo>
                    <a:pt x="6" y="35"/>
                  </a:lnTo>
                  <a:lnTo>
                    <a:pt x="13" y="32"/>
                  </a:lnTo>
                  <a:lnTo>
                    <a:pt x="18" y="32"/>
                  </a:lnTo>
                  <a:lnTo>
                    <a:pt x="23" y="31"/>
                  </a:lnTo>
                  <a:lnTo>
                    <a:pt x="27" y="31"/>
                  </a:lnTo>
                  <a:lnTo>
                    <a:pt x="33" y="30"/>
                  </a:lnTo>
                  <a:lnTo>
                    <a:pt x="37" y="29"/>
                  </a:lnTo>
                  <a:lnTo>
                    <a:pt x="36" y="30"/>
                  </a:lnTo>
                  <a:lnTo>
                    <a:pt x="37" y="30"/>
                  </a:lnTo>
                  <a:lnTo>
                    <a:pt x="41" y="30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38" y="29"/>
                  </a:lnTo>
                  <a:lnTo>
                    <a:pt x="42" y="28"/>
                  </a:lnTo>
                  <a:lnTo>
                    <a:pt x="44" y="28"/>
                  </a:lnTo>
                  <a:lnTo>
                    <a:pt x="46" y="27"/>
                  </a:lnTo>
                  <a:lnTo>
                    <a:pt x="46" y="27"/>
                  </a:lnTo>
                  <a:lnTo>
                    <a:pt x="33" y="28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6" y="29"/>
                  </a:lnTo>
                  <a:lnTo>
                    <a:pt x="24" y="29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3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29"/>
                  </a:lnTo>
                  <a:lnTo>
                    <a:pt x="18" y="29"/>
                  </a:lnTo>
                  <a:lnTo>
                    <a:pt x="17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8"/>
                  </a:lnTo>
                  <a:lnTo>
                    <a:pt x="15" y="28"/>
                  </a:lnTo>
                  <a:lnTo>
                    <a:pt x="17" y="27"/>
                  </a:lnTo>
                  <a:lnTo>
                    <a:pt x="21" y="27"/>
                  </a:lnTo>
                  <a:lnTo>
                    <a:pt x="23" y="25"/>
                  </a:lnTo>
                  <a:lnTo>
                    <a:pt x="20" y="26"/>
                  </a:lnTo>
                  <a:lnTo>
                    <a:pt x="16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4" y="25"/>
                  </a:lnTo>
                  <a:lnTo>
                    <a:pt x="10" y="26"/>
                  </a:lnTo>
                  <a:lnTo>
                    <a:pt x="11" y="25"/>
                  </a:lnTo>
                  <a:lnTo>
                    <a:pt x="11" y="23"/>
                  </a:lnTo>
                  <a:lnTo>
                    <a:pt x="12" y="22"/>
                  </a:lnTo>
                  <a:lnTo>
                    <a:pt x="15" y="20"/>
                  </a:lnTo>
                  <a:lnTo>
                    <a:pt x="21" y="19"/>
                  </a:lnTo>
                  <a:lnTo>
                    <a:pt x="24" y="17"/>
                  </a:lnTo>
                  <a:lnTo>
                    <a:pt x="30" y="17"/>
                  </a:lnTo>
                  <a:lnTo>
                    <a:pt x="30" y="16"/>
                  </a:lnTo>
                  <a:lnTo>
                    <a:pt x="31" y="16"/>
                  </a:lnTo>
                  <a:lnTo>
                    <a:pt x="31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8" y="13"/>
                  </a:lnTo>
                  <a:lnTo>
                    <a:pt x="32" y="12"/>
                  </a:lnTo>
                  <a:lnTo>
                    <a:pt x="35" y="11"/>
                  </a:lnTo>
                  <a:lnTo>
                    <a:pt x="47" y="7"/>
                  </a:lnTo>
                  <a:lnTo>
                    <a:pt x="56" y="6"/>
                  </a:lnTo>
                  <a:lnTo>
                    <a:pt x="58" y="5"/>
                  </a:lnTo>
                  <a:lnTo>
                    <a:pt x="62" y="5"/>
                  </a:lnTo>
                  <a:lnTo>
                    <a:pt x="64" y="3"/>
                  </a:lnTo>
                  <a:lnTo>
                    <a:pt x="67" y="3"/>
                  </a:lnTo>
                  <a:lnTo>
                    <a:pt x="75" y="2"/>
                  </a:lnTo>
                  <a:lnTo>
                    <a:pt x="86" y="0"/>
                  </a:lnTo>
                  <a:lnTo>
                    <a:pt x="88" y="0"/>
                  </a:lnTo>
                  <a:lnTo>
                    <a:pt x="88" y="1"/>
                  </a:lnTo>
                  <a:lnTo>
                    <a:pt x="89" y="1"/>
                  </a:lnTo>
                  <a:lnTo>
                    <a:pt x="89" y="1"/>
                  </a:lnTo>
                  <a:lnTo>
                    <a:pt x="89" y="2"/>
                  </a:lnTo>
                  <a:lnTo>
                    <a:pt x="89" y="3"/>
                  </a:lnTo>
                  <a:lnTo>
                    <a:pt x="87" y="6"/>
                  </a:lnTo>
                  <a:lnTo>
                    <a:pt x="85" y="8"/>
                  </a:lnTo>
                  <a:lnTo>
                    <a:pt x="82" y="8"/>
                  </a:lnTo>
                  <a:lnTo>
                    <a:pt x="79" y="9"/>
                  </a:lnTo>
                  <a:lnTo>
                    <a:pt x="78" y="9"/>
                  </a:lnTo>
                  <a:lnTo>
                    <a:pt x="78" y="9"/>
                  </a:lnTo>
                  <a:lnTo>
                    <a:pt x="77" y="10"/>
                  </a:lnTo>
                  <a:lnTo>
                    <a:pt x="74" y="10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81" y="10"/>
                  </a:lnTo>
                  <a:lnTo>
                    <a:pt x="83" y="10"/>
                  </a:lnTo>
                  <a:lnTo>
                    <a:pt x="82" y="11"/>
                  </a:lnTo>
                  <a:lnTo>
                    <a:pt x="86" y="10"/>
                  </a:lnTo>
                  <a:lnTo>
                    <a:pt x="88" y="9"/>
                  </a:lnTo>
                  <a:lnTo>
                    <a:pt x="87" y="9"/>
                  </a:lnTo>
                  <a:lnTo>
                    <a:pt x="88" y="8"/>
                  </a:lnTo>
                  <a:lnTo>
                    <a:pt x="92" y="7"/>
                  </a:lnTo>
                  <a:lnTo>
                    <a:pt x="94" y="6"/>
                  </a:lnTo>
                  <a:lnTo>
                    <a:pt x="94" y="6"/>
                  </a:lnTo>
                  <a:lnTo>
                    <a:pt x="96" y="5"/>
                  </a:lnTo>
                  <a:lnTo>
                    <a:pt x="99" y="5"/>
                  </a:lnTo>
                  <a:lnTo>
                    <a:pt x="103" y="7"/>
                  </a:lnTo>
                  <a:lnTo>
                    <a:pt x="108" y="7"/>
                  </a:lnTo>
                  <a:lnTo>
                    <a:pt x="109" y="8"/>
                  </a:lnTo>
                  <a:lnTo>
                    <a:pt x="111" y="8"/>
                  </a:lnTo>
                  <a:lnTo>
                    <a:pt x="112" y="9"/>
                  </a:lnTo>
                  <a:lnTo>
                    <a:pt x="113" y="10"/>
                  </a:lnTo>
                  <a:lnTo>
                    <a:pt x="112" y="11"/>
                  </a:lnTo>
                  <a:lnTo>
                    <a:pt x="105" y="13"/>
                  </a:lnTo>
                  <a:lnTo>
                    <a:pt x="99" y="15"/>
                  </a:lnTo>
                  <a:lnTo>
                    <a:pt x="99" y="16"/>
                  </a:lnTo>
                  <a:lnTo>
                    <a:pt x="103" y="15"/>
                  </a:lnTo>
                  <a:lnTo>
                    <a:pt x="107" y="13"/>
                  </a:lnTo>
                  <a:lnTo>
                    <a:pt x="109" y="13"/>
                  </a:lnTo>
                  <a:lnTo>
                    <a:pt x="108" y="13"/>
                  </a:lnTo>
                  <a:lnTo>
                    <a:pt x="106" y="15"/>
                  </a:lnTo>
                  <a:lnTo>
                    <a:pt x="108" y="16"/>
                  </a:lnTo>
                  <a:lnTo>
                    <a:pt x="109" y="15"/>
                  </a:lnTo>
                  <a:lnTo>
                    <a:pt x="112" y="13"/>
                  </a:lnTo>
                  <a:lnTo>
                    <a:pt x="113" y="12"/>
                  </a:lnTo>
                  <a:lnTo>
                    <a:pt x="114" y="12"/>
                  </a:lnTo>
                  <a:lnTo>
                    <a:pt x="116" y="11"/>
                  </a:lnTo>
                  <a:lnTo>
                    <a:pt x="118" y="12"/>
                  </a:lnTo>
                  <a:lnTo>
                    <a:pt x="121" y="11"/>
                  </a:lnTo>
                  <a:lnTo>
                    <a:pt x="122" y="12"/>
                  </a:lnTo>
                  <a:lnTo>
                    <a:pt x="123" y="12"/>
                  </a:lnTo>
                  <a:lnTo>
                    <a:pt x="123" y="11"/>
                  </a:lnTo>
                  <a:lnTo>
                    <a:pt x="123" y="11"/>
                  </a:lnTo>
                  <a:lnTo>
                    <a:pt x="124" y="11"/>
                  </a:lnTo>
                  <a:lnTo>
                    <a:pt x="125" y="12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5" y="10"/>
                  </a:lnTo>
                  <a:lnTo>
                    <a:pt x="125" y="10"/>
                  </a:lnTo>
                  <a:lnTo>
                    <a:pt x="126" y="10"/>
                  </a:lnTo>
                  <a:lnTo>
                    <a:pt x="127" y="10"/>
                  </a:lnTo>
                  <a:lnTo>
                    <a:pt x="128" y="10"/>
                  </a:lnTo>
                  <a:lnTo>
                    <a:pt x="127" y="8"/>
                  </a:lnTo>
                  <a:lnTo>
                    <a:pt x="126" y="8"/>
                  </a:lnTo>
                  <a:lnTo>
                    <a:pt x="126" y="7"/>
                  </a:lnTo>
                  <a:lnTo>
                    <a:pt x="126" y="6"/>
                  </a:lnTo>
                  <a:lnTo>
                    <a:pt x="127" y="6"/>
                  </a:lnTo>
                  <a:lnTo>
                    <a:pt x="128" y="6"/>
                  </a:lnTo>
                  <a:lnTo>
                    <a:pt x="132" y="6"/>
                  </a:lnTo>
                  <a:lnTo>
                    <a:pt x="133" y="6"/>
                  </a:lnTo>
                  <a:lnTo>
                    <a:pt x="133" y="7"/>
                  </a:lnTo>
                  <a:lnTo>
                    <a:pt x="135" y="7"/>
                  </a:lnTo>
                  <a:lnTo>
                    <a:pt x="135" y="7"/>
                  </a:lnTo>
                  <a:lnTo>
                    <a:pt x="135" y="9"/>
                  </a:lnTo>
                  <a:lnTo>
                    <a:pt x="136" y="9"/>
                  </a:lnTo>
                  <a:lnTo>
                    <a:pt x="137" y="9"/>
                  </a:lnTo>
                  <a:lnTo>
                    <a:pt x="138" y="9"/>
                  </a:lnTo>
                  <a:lnTo>
                    <a:pt x="138" y="9"/>
                  </a:lnTo>
                  <a:lnTo>
                    <a:pt x="139" y="10"/>
                  </a:lnTo>
                  <a:lnTo>
                    <a:pt x="138" y="10"/>
                  </a:lnTo>
                  <a:lnTo>
                    <a:pt x="137" y="11"/>
                  </a:lnTo>
                  <a:lnTo>
                    <a:pt x="139" y="11"/>
                  </a:lnTo>
                  <a:lnTo>
                    <a:pt x="139" y="12"/>
                  </a:lnTo>
                  <a:lnTo>
                    <a:pt x="136" y="15"/>
                  </a:lnTo>
                  <a:lnTo>
                    <a:pt x="136" y="16"/>
                  </a:lnTo>
                  <a:lnTo>
                    <a:pt x="135" y="17"/>
                  </a:lnTo>
                  <a:lnTo>
                    <a:pt x="136" y="17"/>
                  </a:lnTo>
                  <a:lnTo>
                    <a:pt x="134" y="19"/>
                  </a:lnTo>
                  <a:lnTo>
                    <a:pt x="135" y="21"/>
                  </a:lnTo>
                  <a:lnTo>
                    <a:pt x="133" y="22"/>
                  </a:lnTo>
                  <a:lnTo>
                    <a:pt x="131" y="23"/>
                  </a:lnTo>
                  <a:lnTo>
                    <a:pt x="132" y="23"/>
                  </a:lnTo>
                  <a:lnTo>
                    <a:pt x="133" y="26"/>
                  </a:lnTo>
                  <a:lnTo>
                    <a:pt x="134" y="25"/>
                  </a:lnTo>
                  <a:lnTo>
                    <a:pt x="135" y="25"/>
                  </a:lnTo>
                  <a:lnTo>
                    <a:pt x="136" y="23"/>
                  </a:lnTo>
                  <a:lnTo>
                    <a:pt x="138" y="23"/>
                  </a:lnTo>
                  <a:lnTo>
                    <a:pt x="141" y="23"/>
                  </a:lnTo>
                  <a:lnTo>
                    <a:pt x="142" y="22"/>
                  </a:lnTo>
                  <a:lnTo>
                    <a:pt x="144" y="21"/>
                  </a:lnTo>
                  <a:lnTo>
                    <a:pt x="144" y="21"/>
                  </a:lnTo>
                  <a:lnTo>
                    <a:pt x="143" y="20"/>
                  </a:lnTo>
                  <a:lnTo>
                    <a:pt x="144" y="19"/>
                  </a:lnTo>
                  <a:lnTo>
                    <a:pt x="145" y="18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6" y="15"/>
                  </a:lnTo>
                  <a:lnTo>
                    <a:pt x="147" y="15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8" y="12"/>
                  </a:lnTo>
                  <a:lnTo>
                    <a:pt x="149" y="11"/>
                  </a:lnTo>
                  <a:lnTo>
                    <a:pt x="150" y="9"/>
                  </a:lnTo>
                  <a:lnTo>
                    <a:pt x="152" y="8"/>
                  </a:lnTo>
                  <a:lnTo>
                    <a:pt x="153" y="6"/>
                  </a:lnTo>
                  <a:lnTo>
                    <a:pt x="153" y="5"/>
                  </a:lnTo>
                  <a:lnTo>
                    <a:pt x="154" y="5"/>
                  </a:lnTo>
                  <a:lnTo>
                    <a:pt x="155" y="3"/>
                  </a:lnTo>
                  <a:lnTo>
                    <a:pt x="154" y="3"/>
                  </a:lnTo>
                  <a:lnTo>
                    <a:pt x="154" y="3"/>
                  </a:lnTo>
                  <a:lnTo>
                    <a:pt x="156" y="2"/>
                  </a:lnTo>
                  <a:lnTo>
                    <a:pt x="157" y="2"/>
                  </a:lnTo>
                  <a:lnTo>
                    <a:pt x="158" y="2"/>
                  </a:lnTo>
                  <a:lnTo>
                    <a:pt x="157" y="1"/>
                  </a:lnTo>
                  <a:lnTo>
                    <a:pt x="158" y="1"/>
                  </a:lnTo>
                  <a:lnTo>
                    <a:pt x="159" y="1"/>
                  </a:lnTo>
                  <a:lnTo>
                    <a:pt x="159" y="0"/>
                  </a:lnTo>
                  <a:lnTo>
                    <a:pt x="160" y="0"/>
                  </a:lnTo>
                  <a:lnTo>
                    <a:pt x="165" y="1"/>
                  </a:lnTo>
                  <a:lnTo>
                    <a:pt x="164" y="1"/>
                  </a:lnTo>
                  <a:lnTo>
                    <a:pt x="166" y="2"/>
                  </a:lnTo>
                  <a:lnTo>
                    <a:pt x="169" y="3"/>
                  </a:lnTo>
                  <a:lnTo>
                    <a:pt x="169" y="3"/>
                  </a:lnTo>
                  <a:lnTo>
                    <a:pt x="170" y="2"/>
                  </a:lnTo>
                  <a:lnTo>
                    <a:pt x="169" y="2"/>
                  </a:lnTo>
                  <a:lnTo>
                    <a:pt x="169" y="1"/>
                  </a:lnTo>
                  <a:lnTo>
                    <a:pt x="170" y="1"/>
                  </a:lnTo>
                  <a:lnTo>
                    <a:pt x="172" y="1"/>
                  </a:lnTo>
                  <a:lnTo>
                    <a:pt x="173" y="1"/>
                  </a:lnTo>
                  <a:lnTo>
                    <a:pt x="173" y="2"/>
                  </a:lnTo>
                  <a:lnTo>
                    <a:pt x="174" y="2"/>
                  </a:lnTo>
                  <a:lnTo>
                    <a:pt x="174" y="3"/>
                  </a:lnTo>
                  <a:lnTo>
                    <a:pt x="174" y="5"/>
                  </a:lnTo>
                  <a:lnTo>
                    <a:pt x="177" y="6"/>
                  </a:lnTo>
                  <a:lnTo>
                    <a:pt x="177" y="6"/>
                  </a:lnTo>
                  <a:lnTo>
                    <a:pt x="179" y="7"/>
                  </a:lnTo>
                  <a:lnTo>
                    <a:pt x="180" y="7"/>
                  </a:lnTo>
                  <a:lnTo>
                    <a:pt x="179" y="8"/>
                  </a:lnTo>
                  <a:lnTo>
                    <a:pt x="180" y="8"/>
                  </a:lnTo>
                  <a:lnTo>
                    <a:pt x="180" y="9"/>
                  </a:lnTo>
                  <a:lnTo>
                    <a:pt x="178" y="10"/>
                  </a:lnTo>
                  <a:lnTo>
                    <a:pt x="179" y="10"/>
                  </a:lnTo>
                  <a:lnTo>
                    <a:pt x="179" y="11"/>
                  </a:lnTo>
                  <a:lnTo>
                    <a:pt x="178" y="12"/>
                  </a:lnTo>
                  <a:lnTo>
                    <a:pt x="177" y="12"/>
                  </a:lnTo>
                  <a:lnTo>
                    <a:pt x="177" y="13"/>
                  </a:lnTo>
                  <a:lnTo>
                    <a:pt x="176" y="15"/>
                  </a:lnTo>
                  <a:lnTo>
                    <a:pt x="176" y="16"/>
                  </a:lnTo>
                  <a:lnTo>
                    <a:pt x="173" y="20"/>
                  </a:lnTo>
                  <a:lnTo>
                    <a:pt x="173" y="20"/>
                  </a:lnTo>
                  <a:lnTo>
                    <a:pt x="172" y="22"/>
                  </a:lnTo>
                  <a:lnTo>
                    <a:pt x="173" y="23"/>
                  </a:lnTo>
                  <a:lnTo>
                    <a:pt x="174" y="25"/>
                  </a:lnTo>
                  <a:lnTo>
                    <a:pt x="174" y="26"/>
                  </a:lnTo>
                  <a:lnTo>
                    <a:pt x="173" y="27"/>
                  </a:lnTo>
                  <a:lnTo>
                    <a:pt x="173" y="27"/>
                  </a:lnTo>
                  <a:lnTo>
                    <a:pt x="170" y="29"/>
                  </a:lnTo>
                  <a:lnTo>
                    <a:pt x="170" y="29"/>
                  </a:lnTo>
                  <a:lnTo>
                    <a:pt x="168" y="29"/>
                  </a:lnTo>
                  <a:lnTo>
                    <a:pt x="167" y="31"/>
                  </a:lnTo>
                  <a:lnTo>
                    <a:pt x="165" y="32"/>
                  </a:lnTo>
                  <a:lnTo>
                    <a:pt x="164" y="33"/>
                  </a:lnTo>
                  <a:lnTo>
                    <a:pt x="166" y="35"/>
                  </a:lnTo>
                  <a:lnTo>
                    <a:pt x="166" y="36"/>
                  </a:lnTo>
                  <a:lnTo>
                    <a:pt x="167" y="38"/>
                  </a:lnTo>
                  <a:lnTo>
                    <a:pt x="170" y="38"/>
                  </a:lnTo>
                  <a:lnTo>
                    <a:pt x="170" y="40"/>
                  </a:lnTo>
                  <a:lnTo>
                    <a:pt x="170" y="40"/>
                  </a:lnTo>
                  <a:lnTo>
                    <a:pt x="173" y="40"/>
                  </a:lnTo>
                  <a:lnTo>
                    <a:pt x="174" y="41"/>
                  </a:lnTo>
                  <a:lnTo>
                    <a:pt x="175" y="41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8" y="40"/>
                  </a:lnTo>
                  <a:lnTo>
                    <a:pt x="179" y="40"/>
                  </a:lnTo>
                  <a:lnTo>
                    <a:pt x="178" y="41"/>
                  </a:lnTo>
                  <a:lnTo>
                    <a:pt x="183" y="45"/>
                  </a:lnTo>
                  <a:lnTo>
                    <a:pt x="184" y="46"/>
                  </a:lnTo>
                  <a:lnTo>
                    <a:pt x="187" y="46"/>
                  </a:lnTo>
                  <a:lnTo>
                    <a:pt x="187" y="46"/>
                  </a:lnTo>
                  <a:lnTo>
                    <a:pt x="186" y="47"/>
                  </a:lnTo>
                  <a:lnTo>
                    <a:pt x="186" y="48"/>
                  </a:lnTo>
                  <a:lnTo>
                    <a:pt x="187" y="48"/>
                  </a:lnTo>
                  <a:lnTo>
                    <a:pt x="189" y="47"/>
                  </a:lnTo>
                  <a:lnTo>
                    <a:pt x="189" y="48"/>
                  </a:lnTo>
                  <a:lnTo>
                    <a:pt x="192" y="47"/>
                  </a:lnTo>
                  <a:lnTo>
                    <a:pt x="193" y="48"/>
                  </a:lnTo>
                  <a:lnTo>
                    <a:pt x="192" y="50"/>
                  </a:lnTo>
                  <a:lnTo>
                    <a:pt x="189" y="51"/>
                  </a:lnTo>
                  <a:lnTo>
                    <a:pt x="187" y="53"/>
                  </a:lnTo>
                  <a:lnTo>
                    <a:pt x="185" y="55"/>
                  </a:lnTo>
                  <a:lnTo>
                    <a:pt x="184" y="55"/>
                  </a:lnTo>
                  <a:lnTo>
                    <a:pt x="182" y="55"/>
                  </a:lnTo>
                  <a:lnTo>
                    <a:pt x="182" y="52"/>
                  </a:lnTo>
                  <a:lnTo>
                    <a:pt x="184" y="51"/>
                  </a:lnTo>
                  <a:lnTo>
                    <a:pt x="180" y="52"/>
                  </a:lnTo>
                  <a:lnTo>
                    <a:pt x="178" y="55"/>
                  </a:lnTo>
                  <a:lnTo>
                    <a:pt x="177" y="55"/>
                  </a:lnTo>
                  <a:lnTo>
                    <a:pt x="177" y="55"/>
                  </a:lnTo>
                  <a:lnTo>
                    <a:pt x="176" y="53"/>
                  </a:lnTo>
                  <a:lnTo>
                    <a:pt x="175" y="55"/>
                  </a:lnTo>
                  <a:lnTo>
                    <a:pt x="175" y="53"/>
                  </a:lnTo>
                  <a:lnTo>
                    <a:pt x="175" y="52"/>
                  </a:lnTo>
                  <a:lnTo>
                    <a:pt x="176" y="51"/>
                  </a:lnTo>
                  <a:lnTo>
                    <a:pt x="175" y="51"/>
                  </a:lnTo>
                  <a:lnTo>
                    <a:pt x="174" y="52"/>
                  </a:lnTo>
                  <a:lnTo>
                    <a:pt x="174" y="51"/>
                  </a:lnTo>
                  <a:lnTo>
                    <a:pt x="172" y="52"/>
                  </a:lnTo>
                  <a:lnTo>
                    <a:pt x="170" y="52"/>
                  </a:lnTo>
                  <a:lnTo>
                    <a:pt x="167" y="53"/>
                  </a:lnTo>
                  <a:lnTo>
                    <a:pt x="166" y="55"/>
                  </a:lnTo>
                  <a:lnTo>
                    <a:pt x="167" y="55"/>
                  </a:lnTo>
                  <a:lnTo>
                    <a:pt x="166" y="57"/>
                  </a:lnTo>
                  <a:lnTo>
                    <a:pt x="164" y="57"/>
                  </a:lnTo>
                  <a:lnTo>
                    <a:pt x="163" y="57"/>
                  </a:lnTo>
                  <a:lnTo>
                    <a:pt x="160" y="57"/>
                  </a:lnTo>
                  <a:lnTo>
                    <a:pt x="158" y="57"/>
                  </a:lnTo>
                  <a:lnTo>
                    <a:pt x="158" y="57"/>
                  </a:lnTo>
                  <a:lnTo>
                    <a:pt x="158" y="58"/>
                  </a:lnTo>
                  <a:lnTo>
                    <a:pt x="158" y="59"/>
                  </a:lnTo>
                  <a:lnTo>
                    <a:pt x="156" y="60"/>
                  </a:lnTo>
                  <a:lnTo>
                    <a:pt x="155" y="61"/>
                  </a:lnTo>
                  <a:lnTo>
                    <a:pt x="159" y="59"/>
                  </a:lnTo>
                  <a:lnTo>
                    <a:pt x="163" y="58"/>
                  </a:lnTo>
                  <a:lnTo>
                    <a:pt x="165" y="57"/>
                  </a:lnTo>
                  <a:lnTo>
                    <a:pt x="169" y="57"/>
                  </a:lnTo>
                  <a:lnTo>
                    <a:pt x="169" y="58"/>
                  </a:lnTo>
                  <a:lnTo>
                    <a:pt x="172" y="58"/>
                  </a:lnTo>
                  <a:lnTo>
                    <a:pt x="169" y="59"/>
                  </a:lnTo>
                  <a:lnTo>
                    <a:pt x="169" y="59"/>
                  </a:lnTo>
                  <a:lnTo>
                    <a:pt x="167" y="60"/>
                  </a:lnTo>
                  <a:lnTo>
                    <a:pt x="167" y="60"/>
                  </a:lnTo>
                  <a:lnTo>
                    <a:pt x="166" y="60"/>
                  </a:lnTo>
                  <a:lnTo>
                    <a:pt x="165" y="61"/>
                  </a:lnTo>
                  <a:lnTo>
                    <a:pt x="165" y="62"/>
                  </a:lnTo>
                  <a:lnTo>
                    <a:pt x="166" y="62"/>
                  </a:lnTo>
                  <a:lnTo>
                    <a:pt x="167" y="61"/>
                  </a:lnTo>
                  <a:lnTo>
                    <a:pt x="169" y="61"/>
                  </a:lnTo>
                  <a:lnTo>
                    <a:pt x="172" y="61"/>
                  </a:lnTo>
                  <a:lnTo>
                    <a:pt x="172" y="62"/>
                  </a:lnTo>
                  <a:lnTo>
                    <a:pt x="170" y="63"/>
                  </a:lnTo>
                  <a:lnTo>
                    <a:pt x="169" y="63"/>
                  </a:lnTo>
                  <a:lnTo>
                    <a:pt x="168" y="63"/>
                  </a:lnTo>
                  <a:lnTo>
                    <a:pt x="167" y="65"/>
                  </a:lnTo>
                  <a:lnTo>
                    <a:pt x="166" y="65"/>
                  </a:lnTo>
                  <a:lnTo>
                    <a:pt x="165" y="66"/>
                  </a:lnTo>
                  <a:lnTo>
                    <a:pt x="164" y="66"/>
                  </a:lnTo>
                  <a:lnTo>
                    <a:pt x="159" y="66"/>
                  </a:lnTo>
                  <a:lnTo>
                    <a:pt x="157" y="67"/>
                  </a:lnTo>
                  <a:lnTo>
                    <a:pt x="155" y="67"/>
                  </a:lnTo>
                  <a:lnTo>
                    <a:pt x="154" y="67"/>
                  </a:lnTo>
                  <a:lnTo>
                    <a:pt x="153" y="68"/>
                  </a:lnTo>
                  <a:lnTo>
                    <a:pt x="152" y="68"/>
                  </a:lnTo>
                  <a:lnTo>
                    <a:pt x="150" y="69"/>
                  </a:lnTo>
                  <a:lnTo>
                    <a:pt x="149" y="68"/>
                  </a:lnTo>
                  <a:lnTo>
                    <a:pt x="145" y="69"/>
                  </a:lnTo>
                  <a:lnTo>
                    <a:pt x="141" y="68"/>
                  </a:lnTo>
                  <a:lnTo>
                    <a:pt x="141" y="67"/>
                  </a:lnTo>
                  <a:lnTo>
                    <a:pt x="137" y="67"/>
                  </a:lnTo>
                  <a:lnTo>
                    <a:pt x="136" y="66"/>
                  </a:lnTo>
                  <a:lnTo>
                    <a:pt x="134" y="66"/>
                  </a:lnTo>
                  <a:lnTo>
                    <a:pt x="133" y="67"/>
                  </a:lnTo>
                  <a:lnTo>
                    <a:pt x="127" y="67"/>
                  </a:lnTo>
                  <a:lnTo>
                    <a:pt x="125" y="66"/>
                  </a:lnTo>
                  <a:lnTo>
                    <a:pt x="126" y="66"/>
                  </a:lnTo>
                  <a:lnTo>
                    <a:pt x="131" y="63"/>
                  </a:lnTo>
                  <a:lnTo>
                    <a:pt x="131" y="63"/>
                  </a:lnTo>
                  <a:lnTo>
                    <a:pt x="128" y="63"/>
                  </a:lnTo>
                  <a:lnTo>
                    <a:pt x="125" y="63"/>
                  </a:lnTo>
                  <a:lnTo>
                    <a:pt x="125" y="62"/>
                  </a:lnTo>
                  <a:lnTo>
                    <a:pt x="123" y="62"/>
                  </a:lnTo>
                  <a:lnTo>
                    <a:pt x="121" y="62"/>
                  </a:lnTo>
                  <a:lnTo>
                    <a:pt x="116" y="62"/>
                  </a:lnTo>
                  <a:lnTo>
                    <a:pt x="117" y="61"/>
                  </a:lnTo>
                  <a:lnTo>
                    <a:pt x="118" y="60"/>
                  </a:lnTo>
                  <a:lnTo>
                    <a:pt x="119" y="59"/>
                  </a:lnTo>
                  <a:lnTo>
                    <a:pt x="119" y="58"/>
                  </a:lnTo>
                  <a:lnTo>
                    <a:pt x="117" y="57"/>
                  </a:lnTo>
                  <a:lnTo>
                    <a:pt x="116" y="58"/>
                  </a:lnTo>
                  <a:lnTo>
                    <a:pt x="114" y="59"/>
                  </a:lnTo>
                  <a:lnTo>
                    <a:pt x="111" y="59"/>
                  </a:lnTo>
                  <a:lnTo>
                    <a:pt x="111" y="61"/>
                  </a:lnTo>
                  <a:lnTo>
                    <a:pt x="109" y="62"/>
                  </a:lnTo>
                  <a:lnTo>
                    <a:pt x="106" y="62"/>
                  </a:lnTo>
                  <a:lnTo>
                    <a:pt x="101" y="65"/>
                  </a:lnTo>
                  <a:lnTo>
                    <a:pt x="95" y="66"/>
                  </a:lnTo>
                  <a:lnTo>
                    <a:pt x="86" y="66"/>
                  </a:lnTo>
                  <a:lnTo>
                    <a:pt x="86" y="67"/>
                  </a:lnTo>
                  <a:lnTo>
                    <a:pt x="83" y="68"/>
                  </a:lnTo>
                  <a:lnTo>
                    <a:pt x="78" y="69"/>
                  </a:lnTo>
                  <a:lnTo>
                    <a:pt x="74" y="70"/>
                  </a:lnTo>
                  <a:lnTo>
                    <a:pt x="71" y="70"/>
                  </a:lnTo>
                  <a:lnTo>
                    <a:pt x="66" y="71"/>
                  </a:lnTo>
                  <a:lnTo>
                    <a:pt x="65" y="70"/>
                  </a:lnTo>
                  <a:lnTo>
                    <a:pt x="62" y="71"/>
                  </a:lnTo>
                  <a:lnTo>
                    <a:pt x="58" y="71"/>
                  </a:lnTo>
                  <a:lnTo>
                    <a:pt x="56" y="71"/>
                  </a:lnTo>
                  <a:lnTo>
                    <a:pt x="56" y="70"/>
                  </a:lnTo>
                  <a:lnTo>
                    <a:pt x="53" y="71"/>
                  </a:lnTo>
                  <a:lnTo>
                    <a:pt x="50" y="71"/>
                  </a:lnTo>
                  <a:lnTo>
                    <a:pt x="48" y="72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46" y="72"/>
                  </a:lnTo>
                  <a:lnTo>
                    <a:pt x="41" y="73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25" y="73"/>
                  </a:lnTo>
                  <a:lnTo>
                    <a:pt x="26" y="72"/>
                  </a:lnTo>
                  <a:lnTo>
                    <a:pt x="28" y="72"/>
                  </a:lnTo>
                  <a:lnTo>
                    <a:pt x="26" y="70"/>
                  </a:lnTo>
                  <a:lnTo>
                    <a:pt x="26" y="69"/>
                  </a:lnTo>
                  <a:lnTo>
                    <a:pt x="26" y="68"/>
                  </a:lnTo>
                  <a:lnTo>
                    <a:pt x="26" y="67"/>
                  </a:lnTo>
                  <a:lnTo>
                    <a:pt x="27" y="66"/>
                  </a:lnTo>
                  <a:lnTo>
                    <a:pt x="30" y="65"/>
                  </a:lnTo>
                  <a:lnTo>
                    <a:pt x="30" y="63"/>
                  </a:lnTo>
                  <a:lnTo>
                    <a:pt x="28" y="63"/>
                  </a:lnTo>
                  <a:lnTo>
                    <a:pt x="28" y="63"/>
                  </a:lnTo>
                  <a:lnTo>
                    <a:pt x="28" y="62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5" y="60"/>
                  </a:lnTo>
                  <a:lnTo>
                    <a:pt x="18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04" name="Freeform 1104"/>
            <p:cNvSpPr>
              <a:spLocks/>
            </p:cNvSpPr>
            <p:nvPr/>
          </p:nvSpPr>
          <p:spPr bwMode="auto">
            <a:xfrm>
              <a:off x="1386" y="862"/>
              <a:ext cx="193" cy="73"/>
            </a:xfrm>
            <a:custGeom>
              <a:avLst/>
              <a:gdLst>
                <a:gd name="T0" fmla="*/ 1 w 193"/>
                <a:gd name="T1" fmla="*/ 57 h 73"/>
                <a:gd name="T2" fmla="*/ 21 w 193"/>
                <a:gd name="T3" fmla="*/ 47 h 73"/>
                <a:gd name="T4" fmla="*/ 61 w 193"/>
                <a:gd name="T5" fmla="*/ 46 h 73"/>
                <a:gd name="T6" fmla="*/ 66 w 193"/>
                <a:gd name="T7" fmla="*/ 42 h 73"/>
                <a:gd name="T8" fmla="*/ 51 w 193"/>
                <a:gd name="T9" fmla="*/ 39 h 73"/>
                <a:gd name="T10" fmla="*/ 13 w 193"/>
                <a:gd name="T11" fmla="*/ 40 h 73"/>
                <a:gd name="T12" fmla="*/ 13 w 193"/>
                <a:gd name="T13" fmla="*/ 32 h 73"/>
                <a:gd name="T14" fmla="*/ 41 w 193"/>
                <a:gd name="T15" fmla="*/ 30 h 73"/>
                <a:gd name="T16" fmla="*/ 33 w 193"/>
                <a:gd name="T17" fmla="*/ 28 h 73"/>
                <a:gd name="T18" fmla="*/ 22 w 193"/>
                <a:gd name="T19" fmla="*/ 28 h 73"/>
                <a:gd name="T20" fmla="*/ 15 w 193"/>
                <a:gd name="T21" fmla="*/ 28 h 73"/>
                <a:gd name="T22" fmla="*/ 14 w 193"/>
                <a:gd name="T23" fmla="*/ 25 h 73"/>
                <a:gd name="T24" fmla="*/ 30 w 193"/>
                <a:gd name="T25" fmla="*/ 17 h 73"/>
                <a:gd name="T26" fmla="*/ 35 w 193"/>
                <a:gd name="T27" fmla="*/ 11 h 73"/>
                <a:gd name="T28" fmla="*/ 86 w 193"/>
                <a:gd name="T29" fmla="*/ 0 h 73"/>
                <a:gd name="T30" fmla="*/ 85 w 193"/>
                <a:gd name="T31" fmla="*/ 8 h 73"/>
                <a:gd name="T32" fmla="*/ 74 w 193"/>
                <a:gd name="T33" fmla="*/ 11 h 73"/>
                <a:gd name="T34" fmla="*/ 92 w 193"/>
                <a:gd name="T35" fmla="*/ 7 h 73"/>
                <a:gd name="T36" fmla="*/ 111 w 193"/>
                <a:gd name="T37" fmla="*/ 8 h 73"/>
                <a:gd name="T38" fmla="*/ 107 w 193"/>
                <a:gd name="T39" fmla="*/ 13 h 73"/>
                <a:gd name="T40" fmla="*/ 114 w 193"/>
                <a:gd name="T41" fmla="*/ 12 h 73"/>
                <a:gd name="T42" fmla="*/ 124 w 193"/>
                <a:gd name="T43" fmla="*/ 11 h 73"/>
                <a:gd name="T44" fmla="*/ 128 w 193"/>
                <a:gd name="T45" fmla="*/ 10 h 73"/>
                <a:gd name="T46" fmla="*/ 133 w 193"/>
                <a:gd name="T47" fmla="*/ 6 h 73"/>
                <a:gd name="T48" fmla="*/ 138 w 193"/>
                <a:gd name="T49" fmla="*/ 9 h 73"/>
                <a:gd name="T50" fmla="*/ 135 w 193"/>
                <a:gd name="T51" fmla="*/ 17 h 73"/>
                <a:gd name="T52" fmla="*/ 134 w 193"/>
                <a:gd name="T53" fmla="*/ 25 h 73"/>
                <a:gd name="T54" fmla="*/ 143 w 193"/>
                <a:gd name="T55" fmla="*/ 20 h 73"/>
                <a:gd name="T56" fmla="*/ 148 w 193"/>
                <a:gd name="T57" fmla="*/ 13 h 73"/>
                <a:gd name="T58" fmla="*/ 155 w 193"/>
                <a:gd name="T59" fmla="*/ 3 h 73"/>
                <a:gd name="T60" fmla="*/ 159 w 193"/>
                <a:gd name="T61" fmla="*/ 1 h 73"/>
                <a:gd name="T62" fmla="*/ 170 w 193"/>
                <a:gd name="T63" fmla="*/ 2 h 73"/>
                <a:gd name="T64" fmla="*/ 174 w 193"/>
                <a:gd name="T65" fmla="*/ 3 h 73"/>
                <a:gd name="T66" fmla="*/ 180 w 193"/>
                <a:gd name="T67" fmla="*/ 9 h 73"/>
                <a:gd name="T68" fmla="*/ 176 w 193"/>
                <a:gd name="T69" fmla="*/ 16 h 73"/>
                <a:gd name="T70" fmla="*/ 173 w 193"/>
                <a:gd name="T71" fmla="*/ 27 h 73"/>
                <a:gd name="T72" fmla="*/ 166 w 193"/>
                <a:gd name="T73" fmla="*/ 36 h 73"/>
                <a:gd name="T74" fmla="*/ 176 w 193"/>
                <a:gd name="T75" fmla="*/ 40 h 73"/>
                <a:gd name="T76" fmla="*/ 187 w 193"/>
                <a:gd name="T77" fmla="*/ 46 h 73"/>
                <a:gd name="T78" fmla="*/ 192 w 193"/>
                <a:gd name="T79" fmla="*/ 50 h 73"/>
                <a:gd name="T80" fmla="*/ 180 w 193"/>
                <a:gd name="T81" fmla="*/ 52 h 73"/>
                <a:gd name="T82" fmla="*/ 176 w 193"/>
                <a:gd name="T83" fmla="*/ 51 h 73"/>
                <a:gd name="T84" fmla="*/ 167 w 193"/>
                <a:gd name="T85" fmla="*/ 55 h 73"/>
                <a:gd name="T86" fmla="*/ 158 w 193"/>
                <a:gd name="T87" fmla="*/ 59 h 73"/>
                <a:gd name="T88" fmla="*/ 172 w 193"/>
                <a:gd name="T89" fmla="*/ 58 h 73"/>
                <a:gd name="T90" fmla="*/ 166 w 193"/>
                <a:gd name="T91" fmla="*/ 62 h 73"/>
                <a:gd name="T92" fmla="*/ 167 w 193"/>
                <a:gd name="T93" fmla="*/ 65 h 73"/>
                <a:gd name="T94" fmla="*/ 153 w 193"/>
                <a:gd name="T95" fmla="*/ 68 h 73"/>
                <a:gd name="T96" fmla="*/ 136 w 193"/>
                <a:gd name="T97" fmla="*/ 66 h 73"/>
                <a:gd name="T98" fmla="*/ 128 w 193"/>
                <a:gd name="T99" fmla="*/ 63 h 73"/>
                <a:gd name="T100" fmla="*/ 119 w 193"/>
                <a:gd name="T101" fmla="*/ 59 h 73"/>
                <a:gd name="T102" fmla="*/ 106 w 193"/>
                <a:gd name="T103" fmla="*/ 62 h 73"/>
                <a:gd name="T104" fmla="*/ 71 w 193"/>
                <a:gd name="T105" fmla="*/ 70 h 73"/>
                <a:gd name="T106" fmla="*/ 50 w 193"/>
                <a:gd name="T107" fmla="*/ 71 h 73"/>
                <a:gd name="T108" fmla="*/ 25 w 193"/>
                <a:gd name="T109" fmla="*/ 73 h 73"/>
                <a:gd name="T110" fmla="*/ 30 w 193"/>
                <a:gd name="T111" fmla="*/ 65 h 73"/>
                <a:gd name="T112" fmla="*/ 18 w 193"/>
                <a:gd name="T113" fmla="*/ 61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93" h="73">
                  <a:moveTo>
                    <a:pt x="18" y="61"/>
                  </a:moveTo>
                  <a:lnTo>
                    <a:pt x="16" y="61"/>
                  </a:lnTo>
                  <a:lnTo>
                    <a:pt x="12" y="61"/>
                  </a:lnTo>
                  <a:lnTo>
                    <a:pt x="11" y="61"/>
                  </a:lnTo>
                  <a:lnTo>
                    <a:pt x="6" y="60"/>
                  </a:lnTo>
                  <a:lnTo>
                    <a:pt x="1" y="58"/>
                  </a:lnTo>
                  <a:lnTo>
                    <a:pt x="2" y="57"/>
                  </a:lnTo>
                  <a:lnTo>
                    <a:pt x="1" y="57"/>
                  </a:lnTo>
                  <a:lnTo>
                    <a:pt x="0" y="56"/>
                  </a:lnTo>
                  <a:lnTo>
                    <a:pt x="1" y="55"/>
                  </a:lnTo>
                  <a:lnTo>
                    <a:pt x="0" y="53"/>
                  </a:lnTo>
                  <a:lnTo>
                    <a:pt x="0" y="52"/>
                  </a:lnTo>
                  <a:lnTo>
                    <a:pt x="0" y="50"/>
                  </a:lnTo>
                  <a:lnTo>
                    <a:pt x="1" y="49"/>
                  </a:lnTo>
                  <a:lnTo>
                    <a:pt x="6" y="49"/>
                  </a:lnTo>
                  <a:lnTo>
                    <a:pt x="21" y="47"/>
                  </a:lnTo>
                  <a:lnTo>
                    <a:pt x="30" y="46"/>
                  </a:lnTo>
                  <a:lnTo>
                    <a:pt x="34" y="46"/>
                  </a:lnTo>
                  <a:lnTo>
                    <a:pt x="40" y="45"/>
                  </a:lnTo>
                  <a:lnTo>
                    <a:pt x="42" y="45"/>
                  </a:lnTo>
                  <a:lnTo>
                    <a:pt x="45" y="46"/>
                  </a:lnTo>
                  <a:lnTo>
                    <a:pt x="53" y="46"/>
                  </a:lnTo>
                  <a:lnTo>
                    <a:pt x="56" y="46"/>
                  </a:lnTo>
                  <a:lnTo>
                    <a:pt x="61" y="46"/>
                  </a:lnTo>
                  <a:lnTo>
                    <a:pt x="64" y="45"/>
                  </a:lnTo>
                  <a:lnTo>
                    <a:pt x="63" y="45"/>
                  </a:lnTo>
                  <a:lnTo>
                    <a:pt x="64" y="43"/>
                  </a:lnTo>
                  <a:lnTo>
                    <a:pt x="65" y="45"/>
                  </a:lnTo>
                  <a:lnTo>
                    <a:pt x="67" y="45"/>
                  </a:lnTo>
                  <a:lnTo>
                    <a:pt x="67" y="43"/>
                  </a:lnTo>
                  <a:lnTo>
                    <a:pt x="67" y="42"/>
                  </a:lnTo>
                  <a:lnTo>
                    <a:pt x="66" y="42"/>
                  </a:lnTo>
                  <a:lnTo>
                    <a:pt x="62" y="42"/>
                  </a:lnTo>
                  <a:lnTo>
                    <a:pt x="62" y="41"/>
                  </a:lnTo>
                  <a:lnTo>
                    <a:pt x="60" y="41"/>
                  </a:lnTo>
                  <a:lnTo>
                    <a:pt x="57" y="41"/>
                  </a:lnTo>
                  <a:lnTo>
                    <a:pt x="56" y="40"/>
                  </a:lnTo>
                  <a:lnTo>
                    <a:pt x="54" y="40"/>
                  </a:lnTo>
                  <a:lnTo>
                    <a:pt x="52" y="40"/>
                  </a:lnTo>
                  <a:lnTo>
                    <a:pt x="51" y="39"/>
                  </a:lnTo>
                  <a:lnTo>
                    <a:pt x="44" y="40"/>
                  </a:lnTo>
                  <a:lnTo>
                    <a:pt x="31" y="41"/>
                  </a:lnTo>
                  <a:lnTo>
                    <a:pt x="30" y="41"/>
                  </a:lnTo>
                  <a:lnTo>
                    <a:pt x="26" y="41"/>
                  </a:lnTo>
                  <a:lnTo>
                    <a:pt x="25" y="41"/>
                  </a:lnTo>
                  <a:lnTo>
                    <a:pt x="24" y="40"/>
                  </a:lnTo>
                  <a:lnTo>
                    <a:pt x="15" y="41"/>
                  </a:lnTo>
                  <a:lnTo>
                    <a:pt x="13" y="40"/>
                  </a:lnTo>
                  <a:lnTo>
                    <a:pt x="8" y="40"/>
                  </a:lnTo>
                  <a:lnTo>
                    <a:pt x="10" y="40"/>
                  </a:lnTo>
                  <a:lnTo>
                    <a:pt x="10" y="39"/>
                  </a:lnTo>
                  <a:lnTo>
                    <a:pt x="7" y="39"/>
                  </a:lnTo>
                  <a:lnTo>
                    <a:pt x="6" y="38"/>
                  </a:lnTo>
                  <a:lnTo>
                    <a:pt x="6" y="36"/>
                  </a:lnTo>
                  <a:lnTo>
                    <a:pt x="6" y="35"/>
                  </a:lnTo>
                  <a:lnTo>
                    <a:pt x="13" y="32"/>
                  </a:lnTo>
                  <a:lnTo>
                    <a:pt x="18" y="32"/>
                  </a:lnTo>
                  <a:lnTo>
                    <a:pt x="23" y="31"/>
                  </a:lnTo>
                  <a:lnTo>
                    <a:pt x="27" y="31"/>
                  </a:lnTo>
                  <a:lnTo>
                    <a:pt x="33" y="30"/>
                  </a:lnTo>
                  <a:lnTo>
                    <a:pt x="37" y="29"/>
                  </a:lnTo>
                  <a:lnTo>
                    <a:pt x="36" y="30"/>
                  </a:lnTo>
                  <a:lnTo>
                    <a:pt x="37" y="30"/>
                  </a:lnTo>
                  <a:lnTo>
                    <a:pt x="41" y="30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38" y="29"/>
                  </a:lnTo>
                  <a:lnTo>
                    <a:pt x="42" y="28"/>
                  </a:lnTo>
                  <a:lnTo>
                    <a:pt x="44" y="28"/>
                  </a:lnTo>
                  <a:lnTo>
                    <a:pt x="46" y="27"/>
                  </a:lnTo>
                  <a:lnTo>
                    <a:pt x="46" y="27"/>
                  </a:lnTo>
                  <a:lnTo>
                    <a:pt x="33" y="28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6" y="29"/>
                  </a:lnTo>
                  <a:lnTo>
                    <a:pt x="24" y="29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3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29"/>
                  </a:lnTo>
                  <a:lnTo>
                    <a:pt x="18" y="29"/>
                  </a:lnTo>
                  <a:lnTo>
                    <a:pt x="17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8"/>
                  </a:lnTo>
                  <a:lnTo>
                    <a:pt x="15" y="28"/>
                  </a:lnTo>
                  <a:lnTo>
                    <a:pt x="17" y="27"/>
                  </a:lnTo>
                  <a:lnTo>
                    <a:pt x="21" y="27"/>
                  </a:lnTo>
                  <a:lnTo>
                    <a:pt x="23" y="25"/>
                  </a:lnTo>
                  <a:lnTo>
                    <a:pt x="20" y="26"/>
                  </a:lnTo>
                  <a:lnTo>
                    <a:pt x="16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4" y="25"/>
                  </a:lnTo>
                  <a:lnTo>
                    <a:pt x="10" y="26"/>
                  </a:lnTo>
                  <a:lnTo>
                    <a:pt x="11" y="25"/>
                  </a:lnTo>
                  <a:lnTo>
                    <a:pt x="11" y="23"/>
                  </a:lnTo>
                  <a:lnTo>
                    <a:pt x="12" y="22"/>
                  </a:lnTo>
                  <a:lnTo>
                    <a:pt x="15" y="20"/>
                  </a:lnTo>
                  <a:lnTo>
                    <a:pt x="21" y="19"/>
                  </a:lnTo>
                  <a:lnTo>
                    <a:pt x="24" y="17"/>
                  </a:lnTo>
                  <a:lnTo>
                    <a:pt x="30" y="17"/>
                  </a:lnTo>
                  <a:lnTo>
                    <a:pt x="30" y="16"/>
                  </a:lnTo>
                  <a:lnTo>
                    <a:pt x="31" y="16"/>
                  </a:lnTo>
                  <a:lnTo>
                    <a:pt x="31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8" y="13"/>
                  </a:lnTo>
                  <a:lnTo>
                    <a:pt x="32" y="12"/>
                  </a:lnTo>
                  <a:lnTo>
                    <a:pt x="35" y="11"/>
                  </a:lnTo>
                  <a:lnTo>
                    <a:pt x="47" y="7"/>
                  </a:lnTo>
                  <a:lnTo>
                    <a:pt x="56" y="6"/>
                  </a:lnTo>
                  <a:lnTo>
                    <a:pt x="58" y="5"/>
                  </a:lnTo>
                  <a:lnTo>
                    <a:pt x="62" y="5"/>
                  </a:lnTo>
                  <a:lnTo>
                    <a:pt x="64" y="3"/>
                  </a:lnTo>
                  <a:lnTo>
                    <a:pt x="67" y="3"/>
                  </a:lnTo>
                  <a:lnTo>
                    <a:pt x="75" y="2"/>
                  </a:lnTo>
                  <a:lnTo>
                    <a:pt x="86" y="0"/>
                  </a:lnTo>
                  <a:lnTo>
                    <a:pt x="88" y="0"/>
                  </a:lnTo>
                  <a:lnTo>
                    <a:pt x="88" y="1"/>
                  </a:lnTo>
                  <a:lnTo>
                    <a:pt x="89" y="1"/>
                  </a:lnTo>
                  <a:lnTo>
                    <a:pt x="89" y="1"/>
                  </a:lnTo>
                  <a:lnTo>
                    <a:pt x="89" y="2"/>
                  </a:lnTo>
                  <a:lnTo>
                    <a:pt x="89" y="3"/>
                  </a:lnTo>
                  <a:lnTo>
                    <a:pt x="87" y="6"/>
                  </a:lnTo>
                  <a:lnTo>
                    <a:pt x="85" y="8"/>
                  </a:lnTo>
                  <a:lnTo>
                    <a:pt x="82" y="8"/>
                  </a:lnTo>
                  <a:lnTo>
                    <a:pt x="79" y="9"/>
                  </a:lnTo>
                  <a:lnTo>
                    <a:pt x="78" y="9"/>
                  </a:lnTo>
                  <a:lnTo>
                    <a:pt x="78" y="9"/>
                  </a:lnTo>
                  <a:lnTo>
                    <a:pt x="77" y="10"/>
                  </a:lnTo>
                  <a:lnTo>
                    <a:pt x="74" y="10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81" y="10"/>
                  </a:lnTo>
                  <a:lnTo>
                    <a:pt x="83" y="10"/>
                  </a:lnTo>
                  <a:lnTo>
                    <a:pt x="82" y="11"/>
                  </a:lnTo>
                  <a:lnTo>
                    <a:pt x="86" y="10"/>
                  </a:lnTo>
                  <a:lnTo>
                    <a:pt x="88" y="9"/>
                  </a:lnTo>
                  <a:lnTo>
                    <a:pt x="87" y="9"/>
                  </a:lnTo>
                  <a:lnTo>
                    <a:pt x="88" y="8"/>
                  </a:lnTo>
                  <a:lnTo>
                    <a:pt x="92" y="7"/>
                  </a:lnTo>
                  <a:lnTo>
                    <a:pt x="94" y="6"/>
                  </a:lnTo>
                  <a:lnTo>
                    <a:pt x="94" y="6"/>
                  </a:lnTo>
                  <a:lnTo>
                    <a:pt x="96" y="5"/>
                  </a:lnTo>
                  <a:lnTo>
                    <a:pt x="99" y="5"/>
                  </a:lnTo>
                  <a:lnTo>
                    <a:pt x="103" y="7"/>
                  </a:lnTo>
                  <a:lnTo>
                    <a:pt x="108" y="7"/>
                  </a:lnTo>
                  <a:lnTo>
                    <a:pt x="109" y="8"/>
                  </a:lnTo>
                  <a:lnTo>
                    <a:pt x="111" y="8"/>
                  </a:lnTo>
                  <a:lnTo>
                    <a:pt x="112" y="9"/>
                  </a:lnTo>
                  <a:lnTo>
                    <a:pt x="113" y="10"/>
                  </a:lnTo>
                  <a:lnTo>
                    <a:pt x="112" y="11"/>
                  </a:lnTo>
                  <a:lnTo>
                    <a:pt x="105" y="13"/>
                  </a:lnTo>
                  <a:lnTo>
                    <a:pt x="99" y="15"/>
                  </a:lnTo>
                  <a:lnTo>
                    <a:pt x="99" y="16"/>
                  </a:lnTo>
                  <a:lnTo>
                    <a:pt x="103" y="15"/>
                  </a:lnTo>
                  <a:lnTo>
                    <a:pt x="107" y="13"/>
                  </a:lnTo>
                  <a:lnTo>
                    <a:pt x="109" y="13"/>
                  </a:lnTo>
                  <a:lnTo>
                    <a:pt x="108" y="13"/>
                  </a:lnTo>
                  <a:lnTo>
                    <a:pt x="106" y="15"/>
                  </a:lnTo>
                  <a:lnTo>
                    <a:pt x="108" y="16"/>
                  </a:lnTo>
                  <a:lnTo>
                    <a:pt x="109" y="15"/>
                  </a:lnTo>
                  <a:lnTo>
                    <a:pt x="112" y="13"/>
                  </a:lnTo>
                  <a:lnTo>
                    <a:pt x="113" y="12"/>
                  </a:lnTo>
                  <a:lnTo>
                    <a:pt x="114" y="12"/>
                  </a:lnTo>
                  <a:lnTo>
                    <a:pt x="116" y="11"/>
                  </a:lnTo>
                  <a:lnTo>
                    <a:pt x="118" y="12"/>
                  </a:lnTo>
                  <a:lnTo>
                    <a:pt x="121" y="11"/>
                  </a:lnTo>
                  <a:lnTo>
                    <a:pt x="122" y="12"/>
                  </a:lnTo>
                  <a:lnTo>
                    <a:pt x="123" y="12"/>
                  </a:lnTo>
                  <a:lnTo>
                    <a:pt x="123" y="11"/>
                  </a:lnTo>
                  <a:lnTo>
                    <a:pt x="123" y="11"/>
                  </a:lnTo>
                  <a:lnTo>
                    <a:pt x="124" y="11"/>
                  </a:lnTo>
                  <a:lnTo>
                    <a:pt x="125" y="12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5" y="10"/>
                  </a:lnTo>
                  <a:lnTo>
                    <a:pt x="125" y="10"/>
                  </a:lnTo>
                  <a:lnTo>
                    <a:pt x="126" y="10"/>
                  </a:lnTo>
                  <a:lnTo>
                    <a:pt x="127" y="10"/>
                  </a:lnTo>
                  <a:lnTo>
                    <a:pt x="128" y="10"/>
                  </a:lnTo>
                  <a:lnTo>
                    <a:pt x="127" y="8"/>
                  </a:lnTo>
                  <a:lnTo>
                    <a:pt x="126" y="8"/>
                  </a:lnTo>
                  <a:lnTo>
                    <a:pt x="126" y="7"/>
                  </a:lnTo>
                  <a:lnTo>
                    <a:pt x="126" y="6"/>
                  </a:lnTo>
                  <a:lnTo>
                    <a:pt x="127" y="6"/>
                  </a:lnTo>
                  <a:lnTo>
                    <a:pt x="128" y="6"/>
                  </a:lnTo>
                  <a:lnTo>
                    <a:pt x="132" y="6"/>
                  </a:lnTo>
                  <a:lnTo>
                    <a:pt x="133" y="6"/>
                  </a:lnTo>
                  <a:lnTo>
                    <a:pt x="133" y="7"/>
                  </a:lnTo>
                  <a:lnTo>
                    <a:pt x="135" y="7"/>
                  </a:lnTo>
                  <a:lnTo>
                    <a:pt x="135" y="7"/>
                  </a:lnTo>
                  <a:lnTo>
                    <a:pt x="135" y="9"/>
                  </a:lnTo>
                  <a:lnTo>
                    <a:pt x="136" y="9"/>
                  </a:lnTo>
                  <a:lnTo>
                    <a:pt x="137" y="9"/>
                  </a:lnTo>
                  <a:lnTo>
                    <a:pt x="138" y="9"/>
                  </a:lnTo>
                  <a:lnTo>
                    <a:pt x="138" y="9"/>
                  </a:lnTo>
                  <a:lnTo>
                    <a:pt x="139" y="10"/>
                  </a:lnTo>
                  <a:lnTo>
                    <a:pt x="138" y="10"/>
                  </a:lnTo>
                  <a:lnTo>
                    <a:pt x="137" y="11"/>
                  </a:lnTo>
                  <a:lnTo>
                    <a:pt x="139" y="11"/>
                  </a:lnTo>
                  <a:lnTo>
                    <a:pt x="139" y="12"/>
                  </a:lnTo>
                  <a:lnTo>
                    <a:pt x="136" y="15"/>
                  </a:lnTo>
                  <a:lnTo>
                    <a:pt x="136" y="16"/>
                  </a:lnTo>
                  <a:lnTo>
                    <a:pt x="135" y="17"/>
                  </a:lnTo>
                  <a:lnTo>
                    <a:pt x="136" y="17"/>
                  </a:lnTo>
                  <a:lnTo>
                    <a:pt x="134" y="19"/>
                  </a:lnTo>
                  <a:lnTo>
                    <a:pt x="135" y="21"/>
                  </a:lnTo>
                  <a:lnTo>
                    <a:pt x="133" y="22"/>
                  </a:lnTo>
                  <a:lnTo>
                    <a:pt x="131" y="23"/>
                  </a:lnTo>
                  <a:lnTo>
                    <a:pt x="132" y="23"/>
                  </a:lnTo>
                  <a:lnTo>
                    <a:pt x="133" y="26"/>
                  </a:lnTo>
                  <a:lnTo>
                    <a:pt x="134" y="25"/>
                  </a:lnTo>
                  <a:lnTo>
                    <a:pt x="135" y="25"/>
                  </a:lnTo>
                  <a:lnTo>
                    <a:pt x="136" y="23"/>
                  </a:lnTo>
                  <a:lnTo>
                    <a:pt x="138" y="23"/>
                  </a:lnTo>
                  <a:lnTo>
                    <a:pt x="141" y="23"/>
                  </a:lnTo>
                  <a:lnTo>
                    <a:pt x="142" y="22"/>
                  </a:lnTo>
                  <a:lnTo>
                    <a:pt x="144" y="21"/>
                  </a:lnTo>
                  <a:lnTo>
                    <a:pt x="144" y="21"/>
                  </a:lnTo>
                  <a:lnTo>
                    <a:pt x="143" y="20"/>
                  </a:lnTo>
                  <a:lnTo>
                    <a:pt x="144" y="19"/>
                  </a:lnTo>
                  <a:lnTo>
                    <a:pt x="145" y="18"/>
                  </a:lnTo>
                  <a:lnTo>
                    <a:pt x="144" y="18"/>
                  </a:lnTo>
                  <a:lnTo>
                    <a:pt x="145" y="16"/>
                  </a:lnTo>
                  <a:lnTo>
                    <a:pt x="146" y="15"/>
                  </a:lnTo>
                  <a:lnTo>
                    <a:pt x="147" y="15"/>
                  </a:lnTo>
                  <a:lnTo>
                    <a:pt x="147" y="15"/>
                  </a:lnTo>
                  <a:lnTo>
                    <a:pt x="148" y="13"/>
                  </a:lnTo>
                  <a:lnTo>
                    <a:pt x="148" y="12"/>
                  </a:lnTo>
                  <a:lnTo>
                    <a:pt x="149" y="11"/>
                  </a:lnTo>
                  <a:lnTo>
                    <a:pt x="150" y="9"/>
                  </a:lnTo>
                  <a:lnTo>
                    <a:pt x="152" y="8"/>
                  </a:lnTo>
                  <a:lnTo>
                    <a:pt x="153" y="6"/>
                  </a:lnTo>
                  <a:lnTo>
                    <a:pt x="153" y="5"/>
                  </a:lnTo>
                  <a:lnTo>
                    <a:pt x="154" y="5"/>
                  </a:lnTo>
                  <a:lnTo>
                    <a:pt x="155" y="3"/>
                  </a:lnTo>
                  <a:lnTo>
                    <a:pt x="154" y="3"/>
                  </a:lnTo>
                  <a:lnTo>
                    <a:pt x="154" y="3"/>
                  </a:lnTo>
                  <a:lnTo>
                    <a:pt x="156" y="2"/>
                  </a:lnTo>
                  <a:lnTo>
                    <a:pt x="157" y="2"/>
                  </a:lnTo>
                  <a:lnTo>
                    <a:pt x="158" y="2"/>
                  </a:lnTo>
                  <a:lnTo>
                    <a:pt x="157" y="1"/>
                  </a:lnTo>
                  <a:lnTo>
                    <a:pt x="158" y="1"/>
                  </a:lnTo>
                  <a:lnTo>
                    <a:pt x="159" y="1"/>
                  </a:lnTo>
                  <a:lnTo>
                    <a:pt x="159" y="0"/>
                  </a:lnTo>
                  <a:lnTo>
                    <a:pt x="160" y="0"/>
                  </a:lnTo>
                  <a:lnTo>
                    <a:pt x="165" y="1"/>
                  </a:lnTo>
                  <a:lnTo>
                    <a:pt x="164" y="1"/>
                  </a:lnTo>
                  <a:lnTo>
                    <a:pt x="166" y="2"/>
                  </a:lnTo>
                  <a:lnTo>
                    <a:pt x="169" y="3"/>
                  </a:lnTo>
                  <a:lnTo>
                    <a:pt x="169" y="3"/>
                  </a:lnTo>
                  <a:lnTo>
                    <a:pt x="170" y="2"/>
                  </a:lnTo>
                  <a:lnTo>
                    <a:pt x="169" y="2"/>
                  </a:lnTo>
                  <a:lnTo>
                    <a:pt x="169" y="1"/>
                  </a:lnTo>
                  <a:lnTo>
                    <a:pt x="170" y="1"/>
                  </a:lnTo>
                  <a:lnTo>
                    <a:pt x="172" y="1"/>
                  </a:lnTo>
                  <a:lnTo>
                    <a:pt x="173" y="1"/>
                  </a:lnTo>
                  <a:lnTo>
                    <a:pt x="173" y="2"/>
                  </a:lnTo>
                  <a:lnTo>
                    <a:pt x="174" y="2"/>
                  </a:lnTo>
                  <a:lnTo>
                    <a:pt x="174" y="3"/>
                  </a:lnTo>
                  <a:lnTo>
                    <a:pt x="174" y="5"/>
                  </a:lnTo>
                  <a:lnTo>
                    <a:pt x="177" y="6"/>
                  </a:lnTo>
                  <a:lnTo>
                    <a:pt x="177" y="6"/>
                  </a:lnTo>
                  <a:lnTo>
                    <a:pt x="179" y="7"/>
                  </a:lnTo>
                  <a:lnTo>
                    <a:pt x="180" y="7"/>
                  </a:lnTo>
                  <a:lnTo>
                    <a:pt x="179" y="8"/>
                  </a:lnTo>
                  <a:lnTo>
                    <a:pt x="180" y="8"/>
                  </a:lnTo>
                  <a:lnTo>
                    <a:pt x="180" y="9"/>
                  </a:lnTo>
                  <a:lnTo>
                    <a:pt x="178" y="10"/>
                  </a:lnTo>
                  <a:lnTo>
                    <a:pt x="179" y="10"/>
                  </a:lnTo>
                  <a:lnTo>
                    <a:pt x="179" y="11"/>
                  </a:lnTo>
                  <a:lnTo>
                    <a:pt x="178" y="12"/>
                  </a:lnTo>
                  <a:lnTo>
                    <a:pt x="177" y="12"/>
                  </a:lnTo>
                  <a:lnTo>
                    <a:pt x="177" y="13"/>
                  </a:lnTo>
                  <a:lnTo>
                    <a:pt x="176" y="15"/>
                  </a:lnTo>
                  <a:lnTo>
                    <a:pt x="176" y="16"/>
                  </a:lnTo>
                  <a:lnTo>
                    <a:pt x="173" y="20"/>
                  </a:lnTo>
                  <a:lnTo>
                    <a:pt x="173" y="20"/>
                  </a:lnTo>
                  <a:lnTo>
                    <a:pt x="172" y="22"/>
                  </a:lnTo>
                  <a:lnTo>
                    <a:pt x="173" y="23"/>
                  </a:lnTo>
                  <a:lnTo>
                    <a:pt x="174" y="25"/>
                  </a:lnTo>
                  <a:lnTo>
                    <a:pt x="174" y="26"/>
                  </a:lnTo>
                  <a:lnTo>
                    <a:pt x="173" y="27"/>
                  </a:lnTo>
                  <a:lnTo>
                    <a:pt x="173" y="27"/>
                  </a:lnTo>
                  <a:lnTo>
                    <a:pt x="170" y="29"/>
                  </a:lnTo>
                  <a:lnTo>
                    <a:pt x="170" y="29"/>
                  </a:lnTo>
                  <a:lnTo>
                    <a:pt x="168" y="29"/>
                  </a:lnTo>
                  <a:lnTo>
                    <a:pt x="167" y="31"/>
                  </a:lnTo>
                  <a:lnTo>
                    <a:pt x="165" y="32"/>
                  </a:lnTo>
                  <a:lnTo>
                    <a:pt x="164" y="33"/>
                  </a:lnTo>
                  <a:lnTo>
                    <a:pt x="166" y="35"/>
                  </a:lnTo>
                  <a:lnTo>
                    <a:pt x="166" y="36"/>
                  </a:lnTo>
                  <a:lnTo>
                    <a:pt x="167" y="38"/>
                  </a:lnTo>
                  <a:lnTo>
                    <a:pt x="170" y="38"/>
                  </a:lnTo>
                  <a:lnTo>
                    <a:pt x="170" y="40"/>
                  </a:lnTo>
                  <a:lnTo>
                    <a:pt x="170" y="40"/>
                  </a:lnTo>
                  <a:lnTo>
                    <a:pt x="173" y="40"/>
                  </a:lnTo>
                  <a:lnTo>
                    <a:pt x="174" y="41"/>
                  </a:lnTo>
                  <a:lnTo>
                    <a:pt x="175" y="41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8" y="40"/>
                  </a:lnTo>
                  <a:lnTo>
                    <a:pt x="179" y="40"/>
                  </a:lnTo>
                  <a:lnTo>
                    <a:pt x="178" y="41"/>
                  </a:lnTo>
                  <a:lnTo>
                    <a:pt x="183" y="45"/>
                  </a:lnTo>
                  <a:lnTo>
                    <a:pt x="184" y="46"/>
                  </a:lnTo>
                  <a:lnTo>
                    <a:pt x="187" y="46"/>
                  </a:lnTo>
                  <a:lnTo>
                    <a:pt x="187" y="46"/>
                  </a:lnTo>
                  <a:lnTo>
                    <a:pt x="186" y="47"/>
                  </a:lnTo>
                  <a:lnTo>
                    <a:pt x="186" y="48"/>
                  </a:lnTo>
                  <a:lnTo>
                    <a:pt x="187" y="48"/>
                  </a:lnTo>
                  <a:lnTo>
                    <a:pt x="189" y="47"/>
                  </a:lnTo>
                  <a:lnTo>
                    <a:pt x="189" y="48"/>
                  </a:lnTo>
                  <a:lnTo>
                    <a:pt x="192" y="47"/>
                  </a:lnTo>
                  <a:lnTo>
                    <a:pt x="193" y="48"/>
                  </a:lnTo>
                  <a:lnTo>
                    <a:pt x="192" y="50"/>
                  </a:lnTo>
                  <a:lnTo>
                    <a:pt x="189" y="51"/>
                  </a:lnTo>
                  <a:lnTo>
                    <a:pt x="187" y="53"/>
                  </a:lnTo>
                  <a:lnTo>
                    <a:pt x="185" y="55"/>
                  </a:lnTo>
                  <a:lnTo>
                    <a:pt x="184" y="55"/>
                  </a:lnTo>
                  <a:lnTo>
                    <a:pt x="182" y="55"/>
                  </a:lnTo>
                  <a:lnTo>
                    <a:pt x="182" y="52"/>
                  </a:lnTo>
                  <a:lnTo>
                    <a:pt x="184" y="51"/>
                  </a:lnTo>
                  <a:lnTo>
                    <a:pt x="180" y="52"/>
                  </a:lnTo>
                  <a:lnTo>
                    <a:pt x="178" y="55"/>
                  </a:lnTo>
                  <a:lnTo>
                    <a:pt x="177" y="55"/>
                  </a:lnTo>
                  <a:lnTo>
                    <a:pt x="177" y="55"/>
                  </a:lnTo>
                  <a:lnTo>
                    <a:pt x="176" y="53"/>
                  </a:lnTo>
                  <a:lnTo>
                    <a:pt x="175" y="55"/>
                  </a:lnTo>
                  <a:lnTo>
                    <a:pt x="175" y="53"/>
                  </a:lnTo>
                  <a:lnTo>
                    <a:pt x="175" y="52"/>
                  </a:lnTo>
                  <a:lnTo>
                    <a:pt x="176" y="51"/>
                  </a:lnTo>
                  <a:lnTo>
                    <a:pt x="175" y="51"/>
                  </a:lnTo>
                  <a:lnTo>
                    <a:pt x="174" y="52"/>
                  </a:lnTo>
                  <a:lnTo>
                    <a:pt x="174" y="51"/>
                  </a:lnTo>
                  <a:lnTo>
                    <a:pt x="172" y="52"/>
                  </a:lnTo>
                  <a:lnTo>
                    <a:pt x="170" y="52"/>
                  </a:lnTo>
                  <a:lnTo>
                    <a:pt x="167" y="53"/>
                  </a:lnTo>
                  <a:lnTo>
                    <a:pt x="166" y="55"/>
                  </a:lnTo>
                  <a:lnTo>
                    <a:pt x="167" y="55"/>
                  </a:lnTo>
                  <a:lnTo>
                    <a:pt x="166" y="57"/>
                  </a:lnTo>
                  <a:lnTo>
                    <a:pt x="164" y="57"/>
                  </a:lnTo>
                  <a:lnTo>
                    <a:pt x="163" y="57"/>
                  </a:lnTo>
                  <a:lnTo>
                    <a:pt x="160" y="57"/>
                  </a:lnTo>
                  <a:lnTo>
                    <a:pt x="158" y="57"/>
                  </a:lnTo>
                  <a:lnTo>
                    <a:pt x="158" y="57"/>
                  </a:lnTo>
                  <a:lnTo>
                    <a:pt x="158" y="58"/>
                  </a:lnTo>
                  <a:lnTo>
                    <a:pt x="158" y="59"/>
                  </a:lnTo>
                  <a:lnTo>
                    <a:pt x="156" y="60"/>
                  </a:lnTo>
                  <a:lnTo>
                    <a:pt x="155" y="61"/>
                  </a:lnTo>
                  <a:lnTo>
                    <a:pt x="159" y="59"/>
                  </a:lnTo>
                  <a:lnTo>
                    <a:pt x="163" y="58"/>
                  </a:lnTo>
                  <a:lnTo>
                    <a:pt x="165" y="57"/>
                  </a:lnTo>
                  <a:lnTo>
                    <a:pt x="169" y="57"/>
                  </a:lnTo>
                  <a:lnTo>
                    <a:pt x="169" y="58"/>
                  </a:lnTo>
                  <a:lnTo>
                    <a:pt x="172" y="58"/>
                  </a:lnTo>
                  <a:lnTo>
                    <a:pt x="169" y="59"/>
                  </a:lnTo>
                  <a:lnTo>
                    <a:pt x="169" y="59"/>
                  </a:lnTo>
                  <a:lnTo>
                    <a:pt x="167" y="60"/>
                  </a:lnTo>
                  <a:lnTo>
                    <a:pt x="167" y="60"/>
                  </a:lnTo>
                  <a:lnTo>
                    <a:pt x="166" y="60"/>
                  </a:lnTo>
                  <a:lnTo>
                    <a:pt x="165" y="61"/>
                  </a:lnTo>
                  <a:lnTo>
                    <a:pt x="165" y="62"/>
                  </a:lnTo>
                  <a:lnTo>
                    <a:pt x="166" y="62"/>
                  </a:lnTo>
                  <a:lnTo>
                    <a:pt x="167" y="61"/>
                  </a:lnTo>
                  <a:lnTo>
                    <a:pt x="169" y="61"/>
                  </a:lnTo>
                  <a:lnTo>
                    <a:pt x="172" y="61"/>
                  </a:lnTo>
                  <a:lnTo>
                    <a:pt x="172" y="62"/>
                  </a:lnTo>
                  <a:lnTo>
                    <a:pt x="170" y="63"/>
                  </a:lnTo>
                  <a:lnTo>
                    <a:pt x="169" y="63"/>
                  </a:lnTo>
                  <a:lnTo>
                    <a:pt x="168" y="63"/>
                  </a:lnTo>
                  <a:lnTo>
                    <a:pt x="167" y="65"/>
                  </a:lnTo>
                  <a:lnTo>
                    <a:pt x="166" y="65"/>
                  </a:lnTo>
                  <a:lnTo>
                    <a:pt x="165" y="66"/>
                  </a:lnTo>
                  <a:lnTo>
                    <a:pt x="164" y="66"/>
                  </a:lnTo>
                  <a:lnTo>
                    <a:pt x="159" y="66"/>
                  </a:lnTo>
                  <a:lnTo>
                    <a:pt x="157" y="67"/>
                  </a:lnTo>
                  <a:lnTo>
                    <a:pt x="155" y="67"/>
                  </a:lnTo>
                  <a:lnTo>
                    <a:pt x="154" y="67"/>
                  </a:lnTo>
                  <a:lnTo>
                    <a:pt x="153" y="68"/>
                  </a:lnTo>
                  <a:lnTo>
                    <a:pt x="152" y="68"/>
                  </a:lnTo>
                  <a:lnTo>
                    <a:pt x="150" y="69"/>
                  </a:lnTo>
                  <a:lnTo>
                    <a:pt x="149" y="68"/>
                  </a:lnTo>
                  <a:lnTo>
                    <a:pt x="145" y="69"/>
                  </a:lnTo>
                  <a:lnTo>
                    <a:pt x="141" y="68"/>
                  </a:lnTo>
                  <a:lnTo>
                    <a:pt x="141" y="67"/>
                  </a:lnTo>
                  <a:lnTo>
                    <a:pt x="137" y="67"/>
                  </a:lnTo>
                  <a:lnTo>
                    <a:pt x="136" y="66"/>
                  </a:lnTo>
                  <a:lnTo>
                    <a:pt x="134" y="66"/>
                  </a:lnTo>
                  <a:lnTo>
                    <a:pt x="133" y="67"/>
                  </a:lnTo>
                  <a:lnTo>
                    <a:pt x="127" y="67"/>
                  </a:lnTo>
                  <a:lnTo>
                    <a:pt x="125" y="66"/>
                  </a:lnTo>
                  <a:lnTo>
                    <a:pt x="126" y="66"/>
                  </a:lnTo>
                  <a:lnTo>
                    <a:pt x="131" y="63"/>
                  </a:lnTo>
                  <a:lnTo>
                    <a:pt x="131" y="63"/>
                  </a:lnTo>
                  <a:lnTo>
                    <a:pt x="128" y="63"/>
                  </a:lnTo>
                  <a:lnTo>
                    <a:pt x="125" y="63"/>
                  </a:lnTo>
                  <a:lnTo>
                    <a:pt x="125" y="62"/>
                  </a:lnTo>
                  <a:lnTo>
                    <a:pt x="123" y="62"/>
                  </a:lnTo>
                  <a:lnTo>
                    <a:pt x="121" y="62"/>
                  </a:lnTo>
                  <a:lnTo>
                    <a:pt x="116" y="62"/>
                  </a:lnTo>
                  <a:lnTo>
                    <a:pt x="117" y="61"/>
                  </a:lnTo>
                  <a:lnTo>
                    <a:pt x="118" y="60"/>
                  </a:lnTo>
                  <a:lnTo>
                    <a:pt x="119" y="59"/>
                  </a:lnTo>
                  <a:lnTo>
                    <a:pt x="119" y="58"/>
                  </a:lnTo>
                  <a:lnTo>
                    <a:pt x="117" y="57"/>
                  </a:lnTo>
                  <a:lnTo>
                    <a:pt x="116" y="58"/>
                  </a:lnTo>
                  <a:lnTo>
                    <a:pt x="114" y="59"/>
                  </a:lnTo>
                  <a:lnTo>
                    <a:pt x="111" y="59"/>
                  </a:lnTo>
                  <a:lnTo>
                    <a:pt x="111" y="61"/>
                  </a:lnTo>
                  <a:lnTo>
                    <a:pt x="109" y="62"/>
                  </a:lnTo>
                  <a:lnTo>
                    <a:pt x="106" y="62"/>
                  </a:lnTo>
                  <a:lnTo>
                    <a:pt x="101" y="65"/>
                  </a:lnTo>
                  <a:lnTo>
                    <a:pt x="95" y="66"/>
                  </a:lnTo>
                  <a:lnTo>
                    <a:pt x="86" y="66"/>
                  </a:lnTo>
                  <a:lnTo>
                    <a:pt x="86" y="67"/>
                  </a:lnTo>
                  <a:lnTo>
                    <a:pt x="83" y="68"/>
                  </a:lnTo>
                  <a:lnTo>
                    <a:pt x="78" y="69"/>
                  </a:lnTo>
                  <a:lnTo>
                    <a:pt x="74" y="70"/>
                  </a:lnTo>
                  <a:lnTo>
                    <a:pt x="71" y="70"/>
                  </a:lnTo>
                  <a:lnTo>
                    <a:pt x="66" y="71"/>
                  </a:lnTo>
                  <a:lnTo>
                    <a:pt x="65" y="70"/>
                  </a:lnTo>
                  <a:lnTo>
                    <a:pt x="62" y="71"/>
                  </a:lnTo>
                  <a:lnTo>
                    <a:pt x="58" y="71"/>
                  </a:lnTo>
                  <a:lnTo>
                    <a:pt x="56" y="71"/>
                  </a:lnTo>
                  <a:lnTo>
                    <a:pt x="56" y="70"/>
                  </a:lnTo>
                  <a:lnTo>
                    <a:pt x="53" y="71"/>
                  </a:lnTo>
                  <a:lnTo>
                    <a:pt x="50" y="71"/>
                  </a:lnTo>
                  <a:lnTo>
                    <a:pt x="48" y="72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46" y="72"/>
                  </a:lnTo>
                  <a:lnTo>
                    <a:pt x="41" y="73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25" y="73"/>
                  </a:lnTo>
                  <a:lnTo>
                    <a:pt x="26" y="72"/>
                  </a:lnTo>
                  <a:lnTo>
                    <a:pt x="28" y="72"/>
                  </a:lnTo>
                  <a:lnTo>
                    <a:pt x="26" y="70"/>
                  </a:lnTo>
                  <a:lnTo>
                    <a:pt x="26" y="69"/>
                  </a:lnTo>
                  <a:lnTo>
                    <a:pt x="26" y="68"/>
                  </a:lnTo>
                  <a:lnTo>
                    <a:pt x="26" y="67"/>
                  </a:lnTo>
                  <a:lnTo>
                    <a:pt x="27" y="66"/>
                  </a:lnTo>
                  <a:lnTo>
                    <a:pt x="30" y="65"/>
                  </a:lnTo>
                  <a:lnTo>
                    <a:pt x="30" y="63"/>
                  </a:lnTo>
                  <a:lnTo>
                    <a:pt x="28" y="63"/>
                  </a:lnTo>
                  <a:lnTo>
                    <a:pt x="28" y="63"/>
                  </a:lnTo>
                  <a:lnTo>
                    <a:pt x="28" y="62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5" y="60"/>
                  </a:lnTo>
                  <a:lnTo>
                    <a:pt x="18" y="61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05" name="Freeform 1105"/>
            <p:cNvSpPr>
              <a:spLocks/>
            </p:cNvSpPr>
            <p:nvPr/>
          </p:nvSpPr>
          <p:spPr bwMode="auto">
            <a:xfrm>
              <a:off x="1559" y="857"/>
              <a:ext cx="29" cy="12"/>
            </a:xfrm>
            <a:custGeom>
              <a:avLst/>
              <a:gdLst>
                <a:gd name="T0" fmla="*/ 16 w 29"/>
                <a:gd name="T1" fmla="*/ 10 h 12"/>
                <a:gd name="T2" fmla="*/ 17 w 29"/>
                <a:gd name="T3" fmla="*/ 8 h 12"/>
                <a:gd name="T4" fmla="*/ 19 w 29"/>
                <a:gd name="T5" fmla="*/ 7 h 12"/>
                <a:gd name="T6" fmla="*/ 22 w 29"/>
                <a:gd name="T7" fmla="*/ 6 h 12"/>
                <a:gd name="T8" fmla="*/ 25 w 29"/>
                <a:gd name="T9" fmla="*/ 5 h 12"/>
                <a:gd name="T10" fmla="*/ 26 w 29"/>
                <a:gd name="T11" fmla="*/ 4 h 12"/>
                <a:gd name="T12" fmla="*/ 27 w 29"/>
                <a:gd name="T13" fmla="*/ 3 h 12"/>
                <a:gd name="T14" fmla="*/ 29 w 29"/>
                <a:gd name="T15" fmla="*/ 2 h 12"/>
                <a:gd name="T16" fmla="*/ 29 w 29"/>
                <a:gd name="T17" fmla="*/ 2 h 12"/>
                <a:gd name="T18" fmla="*/ 27 w 29"/>
                <a:gd name="T19" fmla="*/ 2 h 12"/>
                <a:gd name="T20" fmla="*/ 27 w 29"/>
                <a:gd name="T21" fmla="*/ 1 h 12"/>
                <a:gd name="T22" fmla="*/ 24 w 29"/>
                <a:gd name="T23" fmla="*/ 0 h 12"/>
                <a:gd name="T24" fmla="*/ 22 w 29"/>
                <a:gd name="T25" fmla="*/ 0 h 12"/>
                <a:gd name="T26" fmla="*/ 17 w 29"/>
                <a:gd name="T27" fmla="*/ 0 h 12"/>
                <a:gd name="T28" fmla="*/ 11 w 29"/>
                <a:gd name="T29" fmla="*/ 0 h 12"/>
                <a:gd name="T30" fmla="*/ 7 w 29"/>
                <a:gd name="T31" fmla="*/ 1 h 12"/>
                <a:gd name="T32" fmla="*/ 4 w 29"/>
                <a:gd name="T33" fmla="*/ 2 h 12"/>
                <a:gd name="T34" fmla="*/ 1 w 29"/>
                <a:gd name="T35" fmla="*/ 3 h 12"/>
                <a:gd name="T36" fmla="*/ 0 w 29"/>
                <a:gd name="T37" fmla="*/ 4 h 12"/>
                <a:gd name="T38" fmla="*/ 4 w 29"/>
                <a:gd name="T39" fmla="*/ 5 h 12"/>
                <a:gd name="T40" fmla="*/ 4 w 29"/>
                <a:gd name="T41" fmla="*/ 5 h 12"/>
                <a:gd name="T42" fmla="*/ 5 w 29"/>
                <a:gd name="T43" fmla="*/ 6 h 12"/>
                <a:gd name="T44" fmla="*/ 6 w 29"/>
                <a:gd name="T45" fmla="*/ 7 h 12"/>
                <a:gd name="T46" fmla="*/ 7 w 29"/>
                <a:gd name="T47" fmla="*/ 8 h 12"/>
                <a:gd name="T48" fmla="*/ 7 w 29"/>
                <a:gd name="T49" fmla="*/ 10 h 12"/>
                <a:gd name="T50" fmla="*/ 7 w 29"/>
                <a:gd name="T51" fmla="*/ 10 h 12"/>
                <a:gd name="T52" fmla="*/ 10 w 29"/>
                <a:gd name="T53" fmla="*/ 12 h 12"/>
                <a:gd name="T54" fmla="*/ 10 w 29"/>
                <a:gd name="T55" fmla="*/ 12 h 12"/>
                <a:gd name="T56" fmla="*/ 11 w 29"/>
                <a:gd name="T57" fmla="*/ 12 h 12"/>
                <a:gd name="T58" fmla="*/ 12 w 29"/>
                <a:gd name="T59" fmla="*/ 12 h 12"/>
                <a:gd name="T60" fmla="*/ 14 w 29"/>
                <a:gd name="T61" fmla="*/ 11 h 12"/>
                <a:gd name="T62" fmla="*/ 16 w 29"/>
                <a:gd name="T63" fmla="*/ 10 h 12"/>
                <a:gd name="T64" fmla="*/ 16 w 29"/>
                <a:gd name="T65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9" h="12">
                  <a:moveTo>
                    <a:pt x="16" y="10"/>
                  </a:moveTo>
                  <a:lnTo>
                    <a:pt x="17" y="8"/>
                  </a:lnTo>
                  <a:lnTo>
                    <a:pt x="19" y="7"/>
                  </a:lnTo>
                  <a:lnTo>
                    <a:pt x="22" y="6"/>
                  </a:lnTo>
                  <a:lnTo>
                    <a:pt x="25" y="5"/>
                  </a:lnTo>
                  <a:lnTo>
                    <a:pt x="26" y="4"/>
                  </a:lnTo>
                  <a:lnTo>
                    <a:pt x="27" y="3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7" y="2"/>
                  </a:lnTo>
                  <a:lnTo>
                    <a:pt x="27" y="1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17" y="0"/>
                  </a:lnTo>
                  <a:lnTo>
                    <a:pt x="11" y="0"/>
                  </a:lnTo>
                  <a:lnTo>
                    <a:pt x="7" y="1"/>
                  </a:lnTo>
                  <a:lnTo>
                    <a:pt x="4" y="2"/>
                  </a:lnTo>
                  <a:lnTo>
                    <a:pt x="1" y="3"/>
                  </a:lnTo>
                  <a:lnTo>
                    <a:pt x="0" y="4"/>
                  </a:lnTo>
                  <a:lnTo>
                    <a:pt x="4" y="5"/>
                  </a:lnTo>
                  <a:lnTo>
                    <a:pt x="4" y="5"/>
                  </a:lnTo>
                  <a:lnTo>
                    <a:pt x="5" y="6"/>
                  </a:lnTo>
                  <a:lnTo>
                    <a:pt x="6" y="7"/>
                  </a:lnTo>
                  <a:lnTo>
                    <a:pt x="7" y="8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4" y="11"/>
                  </a:lnTo>
                  <a:lnTo>
                    <a:pt x="16" y="10"/>
                  </a:lnTo>
                  <a:lnTo>
                    <a:pt x="16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06" name="Freeform 1106"/>
            <p:cNvSpPr>
              <a:spLocks/>
            </p:cNvSpPr>
            <p:nvPr/>
          </p:nvSpPr>
          <p:spPr bwMode="auto">
            <a:xfrm>
              <a:off x="1559" y="857"/>
              <a:ext cx="29" cy="12"/>
            </a:xfrm>
            <a:custGeom>
              <a:avLst/>
              <a:gdLst>
                <a:gd name="T0" fmla="*/ 16 w 29"/>
                <a:gd name="T1" fmla="*/ 10 h 12"/>
                <a:gd name="T2" fmla="*/ 17 w 29"/>
                <a:gd name="T3" fmla="*/ 8 h 12"/>
                <a:gd name="T4" fmla="*/ 19 w 29"/>
                <a:gd name="T5" fmla="*/ 7 h 12"/>
                <a:gd name="T6" fmla="*/ 22 w 29"/>
                <a:gd name="T7" fmla="*/ 6 h 12"/>
                <a:gd name="T8" fmla="*/ 25 w 29"/>
                <a:gd name="T9" fmla="*/ 5 h 12"/>
                <a:gd name="T10" fmla="*/ 26 w 29"/>
                <a:gd name="T11" fmla="*/ 4 h 12"/>
                <a:gd name="T12" fmla="*/ 27 w 29"/>
                <a:gd name="T13" fmla="*/ 3 h 12"/>
                <a:gd name="T14" fmla="*/ 29 w 29"/>
                <a:gd name="T15" fmla="*/ 2 h 12"/>
                <a:gd name="T16" fmla="*/ 29 w 29"/>
                <a:gd name="T17" fmla="*/ 2 h 12"/>
                <a:gd name="T18" fmla="*/ 27 w 29"/>
                <a:gd name="T19" fmla="*/ 2 h 12"/>
                <a:gd name="T20" fmla="*/ 27 w 29"/>
                <a:gd name="T21" fmla="*/ 1 h 12"/>
                <a:gd name="T22" fmla="*/ 24 w 29"/>
                <a:gd name="T23" fmla="*/ 0 h 12"/>
                <a:gd name="T24" fmla="*/ 22 w 29"/>
                <a:gd name="T25" fmla="*/ 0 h 12"/>
                <a:gd name="T26" fmla="*/ 17 w 29"/>
                <a:gd name="T27" fmla="*/ 0 h 12"/>
                <a:gd name="T28" fmla="*/ 11 w 29"/>
                <a:gd name="T29" fmla="*/ 0 h 12"/>
                <a:gd name="T30" fmla="*/ 7 w 29"/>
                <a:gd name="T31" fmla="*/ 1 h 12"/>
                <a:gd name="T32" fmla="*/ 4 w 29"/>
                <a:gd name="T33" fmla="*/ 2 h 12"/>
                <a:gd name="T34" fmla="*/ 1 w 29"/>
                <a:gd name="T35" fmla="*/ 3 h 12"/>
                <a:gd name="T36" fmla="*/ 0 w 29"/>
                <a:gd name="T37" fmla="*/ 4 h 12"/>
                <a:gd name="T38" fmla="*/ 4 w 29"/>
                <a:gd name="T39" fmla="*/ 5 h 12"/>
                <a:gd name="T40" fmla="*/ 4 w 29"/>
                <a:gd name="T41" fmla="*/ 5 h 12"/>
                <a:gd name="T42" fmla="*/ 5 w 29"/>
                <a:gd name="T43" fmla="*/ 6 h 12"/>
                <a:gd name="T44" fmla="*/ 6 w 29"/>
                <a:gd name="T45" fmla="*/ 7 h 12"/>
                <a:gd name="T46" fmla="*/ 7 w 29"/>
                <a:gd name="T47" fmla="*/ 8 h 12"/>
                <a:gd name="T48" fmla="*/ 7 w 29"/>
                <a:gd name="T49" fmla="*/ 10 h 12"/>
                <a:gd name="T50" fmla="*/ 7 w 29"/>
                <a:gd name="T51" fmla="*/ 10 h 12"/>
                <a:gd name="T52" fmla="*/ 10 w 29"/>
                <a:gd name="T53" fmla="*/ 12 h 12"/>
                <a:gd name="T54" fmla="*/ 10 w 29"/>
                <a:gd name="T55" fmla="*/ 12 h 12"/>
                <a:gd name="T56" fmla="*/ 11 w 29"/>
                <a:gd name="T57" fmla="*/ 12 h 12"/>
                <a:gd name="T58" fmla="*/ 12 w 29"/>
                <a:gd name="T59" fmla="*/ 12 h 12"/>
                <a:gd name="T60" fmla="*/ 14 w 29"/>
                <a:gd name="T61" fmla="*/ 11 h 12"/>
                <a:gd name="T62" fmla="*/ 16 w 29"/>
                <a:gd name="T63" fmla="*/ 10 h 12"/>
                <a:gd name="T64" fmla="*/ 16 w 29"/>
                <a:gd name="T65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9" h="12">
                  <a:moveTo>
                    <a:pt x="16" y="10"/>
                  </a:moveTo>
                  <a:lnTo>
                    <a:pt x="17" y="8"/>
                  </a:lnTo>
                  <a:lnTo>
                    <a:pt x="19" y="7"/>
                  </a:lnTo>
                  <a:lnTo>
                    <a:pt x="22" y="6"/>
                  </a:lnTo>
                  <a:lnTo>
                    <a:pt x="25" y="5"/>
                  </a:lnTo>
                  <a:lnTo>
                    <a:pt x="26" y="4"/>
                  </a:lnTo>
                  <a:lnTo>
                    <a:pt x="27" y="3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7" y="2"/>
                  </a:lnTo>
                  <a:lnTo>
                    <a:pt x="27" y="1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17" y="0"/>
                  </a:lnTo>
                  <a:lnTo>
                    <a:pt x="11" y="0"/>
                  </a:lnTo>
                  <a:lnTo>
                    <a:pt x="7" y="1"/>
                  </a:lnTo>
                  <a:lnTo>
                    <a:pt x="4" y="2"/>
                  </a:lnTo>
                  <a:lnTo>
                    <a:pt x="1" y="3"/>
                  </a:lnTo>
                  <a:lnTo>
                    <a:pt x="0" y="4"/>
                  </a:lnTo>
                  <a:lnTo>
                    <a:pt x="4" y="5"/>
                  </a:lnTo>
                  <a:lnTo>
                    <a:pt x="4" y="5"/>
                  </a:lnTo>
                  <a:lnTo>
                    <a:pt x="5" y="6"/>
                  </a:lnTo>
                  <a:lnTo>
                    <a:pt x="6" y="7"/>
                  </a:lnTo>
                  <a:lnTo>
                    <a:pt x="7" y="8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4" y="11"/>
                  </a:lnTo>
                  <a:lnTo>
                    <a:pt x="16" y="10"/>
                  </a:lnTo>
                  <a:lnTo>
                    <a:pt x="16" y="1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07" name="Freeform 1107"/>
            <p:cNvSpPr>
              <a:spLocks/>
            </p:cNvSpPr>
            <p:nvPr/>
          </p:nvSpPr>
          <p:spPr bwMode="auto">
            <a:xfrm>
              <a:off x="1596" y="854"/>
              <a:ext cx="77" cy="39"/>
            </a:xfrm>
            <a:custGeom>
              <a:avLst/>
              <a:gdLst>
                <a:gd name="T0" fmla="*/ 17 w 77"/>
                <a:gd name="T1" fmla="*/ 28 h 39"/>
                <a:gd name="T2" fmla="*/ 16 w 77"/>
                <a:gd name="T3" fmla="*/ 26 h 39"/>
                <a:gd name="T4" fmla="*/ 13 w 77"/>
                <a:gd name="T5" fmla="*/ 25 h 39"/>
                <a:gd name="T6" fmla="*/ 5 w 77"/>
                <a:gd name="T7" fmla="*/ 26 h 39"/>
                <a:gd name="T8" fmla="*/ 5 w 77"/>
                <a:gd name="T9" fmla="*/ 23 h 39"/>
                <a:gd name="T10" fmla="*/ 0 w 77"/>
                <a:gd name="T11" fmla="*/ 19 h 39"/>
                <a:gd name="T12" fmla="*/ 6 w 77"/>
                <a:gd name="T13" fmla="*/ 15 h 39"/>
                <a:gd name="T14" fmla="*/ 13 w 77"/>
                <a:gd name="T15" fmla="*/ 15 h 39"/>
                <a:gd name="T16" fmla="*/ 13 w 77"/>
                <a:gd name="T17" fmla="*/ 16 h 39"/>
                <a:gd name="T18" fmla="*/ 16 w 77"/>
                <a:gd name="T19" fmla="*/ 17 h 39"/>
                <a:gd name="T20" fmla="*/ 15 w 77"/>
                <a:gd name="T21" fmla="*/ 19 h 39"/>
                <a:gd name="T22" fmla="*/ 21 w 77"/>
                <a:gd name="T23" fmla="*/ 18 h 39"/>
                <a:gd name="T24" fmla="*/ 27 w 77"/>
                <a:gd name="T25" fmla="*/ 17 h 39"/>
                <a:gd name="T26" fmla="*/ 29 w 77"/>
                <a:gd name="T27" fmla="*/ 15 h 39"/>
                <a:gd name="T28" fmla="*/ 31 w 77"/>
                <a:gd name="T29" fmla="*/ 15 h 39"/>
                <a:gd name="T30" fmla="*/ 30 w 77"/>
                <a:gd name="T31" fmla="*/ 14 h 39"/>
                <a:gd name="T32" fmla="*/ 31 w 77"/>
                <a:gd name="T33" fmla="*/ 11 h 39"/>
                <a:gd name="T34" fmla="*/ 36 w 77"/>
                <a:gd name="T35" fmla="*/ 11 h 39"/>
                <a:gd name="T36" fmla="*/ 34 w 77"/>
                <a:gd name="T37" fmla="*/ 9 h 39"/>
                <a:gd name="T38" fmla="*/ 28 w 77"/>
                <a:gd name="T39" fmla="*/ 10 h 39"/>
                <a:gd name="T40" fmla="*/ 24 w 77"/>
                <a:gd name="T41" fmla="*/ 8 h 39"/>
                <a:gd name="T42" fmla="*/ 30 w 77"/>
                <a:gd name="T43" fmla="*/ 6 h 39"/>
                <a:gd name="T44" fmla="*/ 33 w 77"/>
                <a:gd name="T45" fmla="*/ 8 h 39"/>
                <a:gd name="T46" fmla="*/ 34 w 77"/>
                <a:gd name="T47" fmla="*/ 6 h 39"/>
                <a:gd name="T48" fmla="*/ 29 w 77"/>
                <a:gd name="T49" fmla="*/ 5 h 39"/>
                <a:gd name="T50" fmla="*/ 37 w 77"/>
                <a:gd name="T51" fmla="*/ 2 h 39"/>
                <a:gd name="T52" fmla="*/ 41 w 77"/>
                <a:gd name="T53" fmla="*/ 4 h 39"/>
                <a:gd name="T54" fmla="*/ 41 w 77"/>
                <a:gd name="T55" fmla="*/ 2 h 39"/>
                <a:gd name="T56" fmla="*/ 46 w 77"/>
                <a:gd name="T57" fmla="*/ 0 h 39"/>
                <a:gd name="T58" fmla="*/ 49 w 77"/>
                <a:gd name="T59" fmla="*/ 2 h 39"/>
                <a:gd name="T60" fmla="*/ 55 w 77"/>
                <a:gd name="T61" fmla="*/ 3 h 39"/>
                <a:gd name="T62" fmla="*/ 69 w 77"/>
                <a:gd name="T63" fmla="*/ 2 h 39"/>
                <a:gd name="T64" fmla="*/ 76 w 77"/>
                <a:gd name="T65" fmla="*/ 3 h 39"/>
                <a:gd name="T66" fmla="*/ 71 w 77"/>
                <a:gd name="T67" fmla="*/ 5 h 39"/>
                <a:gd name="T68" fmla="*/ 68 w 77"/>
                <a:gd name="T69" fmla="*/ 6 h 39"/>
                <a:gd name="T70" fmla="*/ 68 w 77"/>
                <a:gd name="T71" fmla="*/ 9 h 39"/>
                <a:gd name="T72" fmla="*/ 60 w 77"/>
                <a:gd name="T73" fmla="*/ 10 h 39"/>
                <a:gd name="T74" fmla="*/ 54 w 77"/>
                <a:gd name="T75" fmla="*/ 13 h 39"/>
                <a:gd name="T76" fmla="*/ 49 w 77"/>
                <a:gd name="T77" fmla="*/ 15 h 39"/>
                <a:gd name="T78" fmla="*/ 60 w 77"/>
                <a:gd name="T79" fmla="*/ 14 h 39"/>
                <a:gd name="T80" fmla="*/ 61 w 77"/>
                <a:gd name="T81" fmla="*/ 16 h 39"/>
                <a:gd name="T82" fmla="*/ 61 w 77"/>
                <a:gd name="T83" fmla="*/ 17 h 39"/>
                <a:gd name="T84" fmla="*/ 59 w 77"/>
                <a:gd name="T85" fmla="*/ 19 h 39"/>
                <a:gd name="T86" fmla="*/ 67 w 77"/>
                <a:gd name="T87" fmla="*/ 17 h 39"/>
                <a:gd name="T88" fmla="*/ 66 w 77"/>
                <a:gd name="T89" fmla="*/ 19 h 39"/>
                <a:gd name="T90" fmla="*/ 64 w 77"/>
                <a:gd name="T91" fmla="*/ 23 h 39"/>
                <a:gd name="T92" fmla="*/ 60 w 77"/>
                <a:gd name="T93" fmla="*/ 25 h 39"/>
                <a:gd name="T94" fmla="*/ 58 w 77"/>
                <a:gd name="T95" fmla="*/ 27 h 39"/>
                <a:gd name="T96" fmla="*/ 58 w 77"/>
                <a:gd name="T97" fmla="*/ 28 h 39"/>
                <a:gd name="T98" fmla="*/ 55 w 77"/>
                <a:gd name="T99" fmla="*/ 31 h 39"/>
                <a:gd name="T100" fmla="*/ 49 w 77"/>
                <a:gd name="T101" fmla="*/ 33 h 39"/>
                <a:gd name="T102" fmla="*/ 37 w 77"/>
                <a:gd name="T103" fmla="*/ 34 h 39"/>
                <a:gd name="T104" fmla="*/ 35 w 77"/>
                <a:gd name="T105" fmla="*/ 36 h 39"/>
                <a:gd name="T106" fmla="*/ 29 w 77"/>
                <a:gd name="T107" fmla="*/ 38 h 39"/>
                <a:gd name="T108" fmla="*/ 25 w 77"/>
                <a:gd name="T109" fmla="*/ 37 h 39"/>
                <a:gd name="T110" fmla="*/ 20 w 77"/>
                <a:gd name="T111" fmla="*/ 38 h 39"/>
                <a:gd name="T112" fmla="*/ 21 w 77"/>
                <a:gd name="T113" fmla="*/ 34 h 39"/>
                <a:gd name="T114" fmla="*/ 18 w 77"/>
                <a:gd name="T115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7" h="39">
                  <a:moveTo>
                    <a:pt x="18" y="30"/>
                  </a:moveTo>
                  <a:lnTo>
                    <a:pt x="17" y="29"/>
                  </a:lnTo>
                  <a:lnTo>
                    <a:pt x="17" y="28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6" y="26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2" y="25"/>
                  </a:lnTo>
                  <a:lnTo>
                    <a:pt x="10" y="26"/>
                  </a:lnTo>
                  <a:lnTo>
                    <a:pt x="5" y="26"/>
                  </a:lnTo>
                  <a:lnTo>
                    <a:pt x="6" y="24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0" y="19"/>
                  </a:lnTo>
                  <a:lnTo>
                    <a:pt x="2" y="18"/>
                  </a:lnTo>
                  <a:lnTo>
                    <a:pt x="4" y="16"/>
                  </a:lnTo>
                  <a:lnTo>
                    <a:pt x="6" y="15"/>
                  </a:lnTo>
                  <a:lnTo>
                    <a:pt x="8" y="14"/>
                  </a:lnTo>
                  <a:lnTo>
                    <a:pt x="12" y="14"/>
                  </a:lnTo>
                  <a:lnTo>
                    <a:pt x="13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5" y="17"/>
                  </a:lnTo>
                  <a:lnTo>
                    <a:pt x="16" y="17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9"/>
                  </a:lnTo>
                  <a:lnTo>
                    <a:pt x="19" y="19"/>
                  </a:lnTo>
                  <a:lnTo>
                    <a:pt x="20" y="19"/>
                  </a:lnTo>
                  <a:lnTo>
                    <a:pt x="21" y="18"/>
                  </a:lnTo>
                  <a:lnTo>
                    <a:pt x="23" y="18"/>
                  </a:lnTo>
                  <a:lnTo>
                    <a:pt x="24" y="18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8" y="15"/>
                  </a:lnTo>
                  <a:lnTo>
                    <a:pt x="29" y="15"/>
                  </a:lnTo>
                  <a:lnTo>
                    <a:pt x="29" y="16"/>
                  </a:lnTo>
                  <a:lnTo>
                    <a:pt x="30" y="16"/>
                  </a:lnTo>
                  <a:lnTo>
                    <a:pt x="31" y="15"/>
                  </a:lnTo>
                  <a:lnTo>
                    <a:pt x="31" y="14"/>
                  </a:lnTo>
                  <a:lnTo>
                    <a:pt x="29" y="14"/>
                  </a:lnTo>
                  <a:lnTo>
                    <a:pt x="30" y="14"/>
                  </a:lnTo>
                  <a:lnTo>
                    <a:pt x="29" y="13"/>
                  </a:lnTo>
                  <a:lnTo>
                    <a:pt x="30" y="13"/>
                  </a:lnTo>
                  <a:lnTo>
                    <a:pt x="31" y="11"/>
                  </a:lnTo>
                  <a:lnTo>
                    <a:pt x="31" y="10"/>
                  </a:lnTo>
                  <a:lnTo>
                    <a:pt x="34" y="10"/>
                  </a:lnTo>
                  <a:lnTo>
                    <a:pt x="36" y="11"/>
                  </a:lnTo>
                  <a:lnTo>
                    <a:pt x="37" y="11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3" y="10"/>
                  </a:lnTo>
                  <a:lnTo>
                    <a:pt x="30" y="10"/>
                  </a:lnTo>
                  <a:lnTo>
                    <a:pt x="28" y="10"/>
                  </a:lnTo>
                  <a:lnTo>
                    <a:pt x="26" y="9"/>
                  </a:lnTo>
                  <a:lnTo>
                    <a:pt x="26" y="8"/>
                  </a:lnTo>
                  <a:lnTo>
                    <a:pt x="24" y="8"/>
                  </a:lnTo>
                  <a:lnTo>
                    <a:pt x="25" y="7"/>
                  </a:lnTo>
                  <a:lnTo>
                    <a:pt x="26" y="6"/>
                  </a:lnTo>
                  <a:lnTo>
                    <a:pt x="30" y="6"/>
                  </a:lnTo>
                  <a:lnTo>
                    <a:pt x="31" y="7"/>
                  </a:lnTo>
                  <a:lnTo>
                    <a:pt x="30" y="7"/>
                  </a:lnTo>
                  <a:lnTo>
                    <a:pt x="33" y="8"/>
                  </a:lnTo>
                  <a:lnTo>
                    <a:pt x="34" y="7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1" y="6"/>
                  </a:lnTo>
                  <a:lnTo>
                    <a:pt x="31" y="5"/>
                  </a:lnTo>
                  <a:lnTo>
                    <a:pt x="29" y="5"/>
                  </a:lnTo>
                  <a:lnTo>
                    <a:pt x="30" y="4"/>
                  </a:lnTo>
                  <a:lnTo>
                    <a:pt x="33" y="3"/>
                  </a:lnTo>
                  <a:lnTo>
                    <a:pt x="37" y="2"/>
                  </a:lnTo>
                  <a:lnTo>
                    <a:pt x="38" y="3"/>
                  </a:lnTo>
                  <a:lnTo>
                    <a:pt x="40" y="3"/>
                  </a:lnTo>
                  <a:lnTo>
                    <a:pt x="41" y="4"/>
                  </a:lnTo>
                  <a:lnTo>
                    <a:pt x="43" y="3"/>
                  </a:lnTo>
                  <a:lnTo>
                    <a:pt x="44" y="3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4" y="0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7" y="2"/>
                  </a:lnTo>
                  <a:lnTo>
                    <a:pt x="49" y="2"/>
                  </a:lnTo>
                  <a:lnTo>
                    <a:pt x="50" y="3"/>
                  </a:lnTo>
                  <a:lnTo>
                    <a:pt x="53" y="3"/>
                  </a:lnTo>
                  <a:lnTo>
                    <a:pt x="55" y="3"/>
                  </a:lnTo>
                  <a:lnTo>
                    <a:pt x="56" y="3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5" y="0"/>
                  </a:lnTo>
                  <a:lnTo>
                    <a:pt x="75" y="2"/>
                  </a:lnTo>
                  <a:lnTo>
                    <a:pt x="76" y="3"/>
                  </a:lnTo>
                  <a:lnTo>
                    <a:pt x="77" y="3"/>
                  </a:lnTo>
                  <a:lnTo>
                    <a:pt x="75" y="4"/>
                  </a:lnTo>
                  <a:lnTo>
                    <a:pt x="71" y="5"/>
                  </a:lnTo>
                  <a:lnTo>
                    <a:pt x="69" y="6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70" y="7"/>
                  </a:lnTo>
                  <a:lnTo>
                    <a:pt x="69" y="7"/>
                  </a:lnTo>
                  <a:lnTo>
                    <a:pt x="68" y="9"/>
                  </a:lnTo>
                  <a:lnTo>
                    <a:pt x="68" y="8"/>
                  </a:lnTo>
                  <a:lnTo>
                    <a:pt x="65" y="9"/>
                  </a:lnTo>
                  <a:lnTo>
                    <a:pt x="60" y="10"/>
                  </a:lnTo>
                  <a:lnTo>
                    <a:pt x="57" y="11"/>
                  </a:lnTo>
                  <a:lnTo>
                    <a:pt x="55" y="13"/>
                  </a:lnTo>
                  <a:lnTo>
                    <a:pt x="54" y="13"/>
                  </a:lnTo>
                  <a:lnTo>
                    <a:pt x="51" y="14"/>
                  </a:lnTo>
                  <a:lnTo>
                    <a:pt x="50" y="15"/>
                  </a:lnTo>
                  <a:lnTo>
                    <a:pt x="49" y="15"/>
                  </a:lnTo>
                  <a:lnTo>
                    <a:pt x="56" y="14"/>
                  </a:lnTo>
                  <a:lnTo>
                    <a:pt x="59" y="13"/>
                  </a:lnTo>
                  <a:lnTo>
                    <a:pt x="60" y="14"/>
                  </a:lnTo>
                  <a:lnTo>
                    <a:pt x="61" y="15"/>
                  </a:lnTo>
                  <a:lnTo>
                    <a:pt x="60" y="16"/>
                  </a:lnTo>
                  <a:lnTo>
                    <a:pt x="61" y="16"/>
                  </a:lnTo>
                  <a:lnTo>
                    <a:pt x="60" y="17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1" y="18"/>
                  </a:lnTo>
                  <a:lnTo>
                    <a:pt x="60" y="18"/>
                  </a:lnTo>
                  <a:lnTo>
                    <a:pt x="59" y="19"/>
                  </a:lnTo>
                  <a:lnTo>
                    <a:pt x="63" y="18"/>
                  </a:lnTo>
                  <a:lnTo>
                    <a:pt x="65" y="18"/>
                  </a:lnTo>
                  <a:lnTo>
                    <a:pt x="67" y="17"/>
                  </a:lnTo>
                  <a:lnTo>
                    <a:pt x="67" y="18"/>
                  </a:lnTo>
                  <a:lnTo>
                    <a:pt x="66" y="19"/>
                  </a:lnTo>
                  <a:lnTo>
                    <a:pt x="66" y="19"/>
                  </a:lnTo>
                  <a:lnTo>
                    <a:pt x="66" y="21"/>
                  </a:lnTo>
                  <a:lnTo>
                    <a:pt x="65" y="23"/>
                  </a:lnTo>
                  <a:lnTo>
                    <a:pt x="64" y="23"/>
                  </a:lnTo>
                  <a:lnTo>
                    <a:pt x="61" y="24"/>
                  </a:lnTo>
                  <a:lnTo>
                    <a:pt x="60" y="24"/>
                  </a:lnTo>
                  <a:lnTo>
                    <a:pt x="60" y="25"/>
                  </a:lnTo>
                  <a:lnTo>
                    <a:pt x="60" y="26"/>
                  </a:lnTo>
                  <a:lnTo>
                    <a:pt x="59" y="27"/>
                  </a:lnTo>
                  <a:lnTo>
                    <a:pt x="58" y="27"/>
                  </a:lnTo>
                  <a:lnTo>
                    <a:pt x="56" y="28"/>
                  </a:lnTo>
                  <a:lnTo>
                    <a:pt x="58" y="28"/>
                  </a:lnTo>
                  <a:lnTo>
                    <a:pt x="58" y="28"/>
                  </a:lnTo>
                  <a:lnTo>
                    <a:pt x="57" y="29"/>
                  </a:lnTo>
                  <a:lnTo>
                    <a:pt x="56" y="30"/>
                  </a:lnTo>
                  <a:lnTo>
                    <a:pt x="55" y="31"/>
                  </a:lnTo>
                  <a:lnTo>
                    <a:pt x="55" y="30"/>
                  </a:lnTo>
                  <a:lnTo>
                    <a:pt x="51" y="31"/>
                  </a:lnTo>
                  <a:lnTo>
                    <a:pt x="49" y="33"/>
                  </a:lnTo>
                  <a:lnTo>
                    <a:pt x="43" y="35"/>
                  </a:lnTo>
                  <a:lnTo>
                    <a:pt x="40" y="34"/>
                  </a:lnTo>
                  <a:lnTo>
                    <a:pt x="37" y="34"/>
                  </a:lnTo>
                  <a:lnTo>
                    <a:pt x="35" y="34"/>
                  </a:lnTo>
                  <a:lnTo>
                    <a:pt x="34" y="35"/>
                  </a:lnTo>
                  <a:lnTo>
                    <a:pt x="35" y="36"/>
                  </a:lnTo>
                  <a:lnTo>
                    <a:pt x="35" y="37"/>
                  </a:lnTo>
                  <a:lnTo>
                    <a:pt x="30" y="38"/>
                  </a:lnTo>
                  <a:lnTo>
                    <a:pt x="29" y="38"/>
                  </a:lnTo>
                  <a:lnTo>
                    <a:pt x="26" y="39"/>
                  </a:lnTo>
                  <a:lnTo>
                    <a:pt x="25" y="39"/>
                  </a:lnTo>
                  <a:lnTo>
                    <a:pt x="25" y="37"/>
                  </a:lnTo>
                  <a:lnTo>
                    <a:pt x="24" y="37"/>
                  </a:lnTo>
                  <a:lnTo>
                    <a:pt x="21" y="38"/>
                  </a:lnTo>
                  <a:lnTo>
                    <a:pt x="20" y="38"/>
                  </a:lnTo>
                  <a:lnTo>
                    <a:pt x="20" y="37"/>
                  </a:lnTo>
                  <a:lnTo>
                    <a:pt x="21" y="35"/>
                  </a:lnTo>
                  <a:lnTo>
                    <a:pt x="21" y="34"/>
                  </a:lnTo>
                  <a:lnTo>
                    <a:pt x="21" y="33"/>
                  </a:lnTo>
                  <a:lnTo>
                    <a:pt x="20" y="31"/>
                  </a:lnTo>
                  <a:lnTo>
                    <a:pt x="18" y="30"/>
                  </a:lnTo>
                  <a:lnTo>
                    <a:pt x="18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08" name="Freeform 1108"/>
            <p:cNvSpPr>
              <a:spLocks/>
            </p:cNvSpPr>
            <p:nvPr/>
          </p:nvSpPr>
          <p:spPr bwMode="auto">
            <a:xfrm>
              <a:off x="1596" y="854"/>
              <a:ext cx="77" cy="39"/>
            </a:xfrm>
            <a:custGeom>
              <a:avLst/>
              <a:gdLst>
                <a:gd name="T0" fmla="*/ 17 w 77"/>
                <a:gd name="T1" fmla="*/ 28 h 39"/>
                <a:gd name="T2" fmla="*/ 16 w 77"/>
                <a:gd name="T3" fmla="*/ 26 h 39"/>
                <a:gd name="T4" fmla="*/ 13 w 77"/>
                <a:gd name="T5" fmla="*/ 25 h 39"/>
                <a:gd name="T6" fmla="*/ 5 w 77"/>
                <a:gd name="T7" fmla="*/ 26 h 39"/>
                <a:gd name="T8" fmla="*/ 5 w 77"/>
                <a:gd name="T9" fmla="*/ 23 h 39"/>
                <a:gd name="T10" fmla="*/ 0 w 77"/>
                <a:gd name="T11" fmla="*/ 19 h 39"/>
                <a:gd name="T12" fmla="*/ 6 w 77"/>
                <a:gd name="T13" fmla="*/ 15 h 39"/>
                <a:gd name="T14" fmla="*/ 13 w 77"/>
                <a:gd name="T15" fmla="*/ 15 h 39"/>
                <a:gd name="T16" fmla="*/ 13 w 77"/>
                <a:gd name="T17" fmla="*/ 16 h 39"/>
                <a:gd name="T18" fmla="*/ 16 w 77"/>
                <a:gd name="T19" fmla="*/ 17 h 39"/>
                <a:gd name="T20" fmla="*/ 15 w 77"/>
                <a:gd name="T21" fmla="*/ 19 h 39"/>
                <a:gd name="T22" fmla="*/ 21 w 77"/>
                <a:gd name="T23" fmla="*/ 18 h 39"/>
                <a:gd name="T24" fmla="*/ 27 w 77"/>
                <a:gd name="T25" fmla="*/ 17 h 39"/>
                <a:gd name="T26" fmla="*/ 29 w 77"/>
                <a:gd name="T27" fmla="*/ 15 h 39"/>
                <a:gd name="T28" fmla="*/ 31 w 77"/>
                <a:gd name="T29" fmla="*/ 15 h 39"/>
                <a:gd name="T30" fmla="*/ 30 w 77"/>
                <a:gd name="T31" fmla="*/ 14 h 39"/>
                <a:gd name="T32" fmla="*/ 31 w 77"/>
                <a:gd name="T33" fmla="*/ 11 h 39"/>
                <a:gd name="T34" fmla="*/ 36 w 77"/>
                <a:gd name="T35" fmla="*/ 11 h 39"/>
                <a:gd name="T36" fmla="*/ 34 w 77"/>
                <a:gd name="T37" fmla="*/ 9 h 39"/>
                <a:gd name="T38" fmla="*/ 28 w 77"/>
                <a:gd name="T39" fmla="*/ 10 h 39"/>
                <a:gd name="T40" fmla="*/ 24 w 77"/>
                <a:gd name="T41" fmla="*/ 8 h 39"/>
                <a:gd name="T42" fmla="*/ 30 w 77"/>
                <a:gd name="T43" fmla="*/ 6 h 39"/>
                <a:gd name="T44" fmla="*/ 33 w 77"/>
                <a:gd name="T45" fmla="*/ 8 h 39"/>
                <a:gd name="T46" fmla="*/ 34 w 77"/>
                <a:gd name="T47" fmla="*/ 6 h 39"/>
                <a:gd name="T48" fmla="*/ 29 w 77"/>
                <a:gd name="T49" fmla="*/ 5 h 39"/>
                <a:gd name="T50" fmla="*/ 37 w 77"/>
                <a:gd name="T51" fmla="*/ 2 h 39"/>
                <a:gd name="T52" fmla="*/ 41 w 77"/>
                <a:gd name="T53" fmla="*/ 4 h 39"/>
                <a:gd name="T54" fmla="*/ 41 w 77"/>
                <a:gd name="T55" fmla="*/ 2 h 39"/>
                <a:gd name="T56" fmla="*/ 46 w 77"/>
                <a:gd name="T57" fmla="*/ 0 h 39"/>
                <a:gd name="T58" fmla="*/ 49 w 77"/>
                <a:gd name="T59" fmla="*/ 2 h 39"/>
                <a:gd name="T60" fmla="*/ 55 w 77"/>
                <a:gd name="T61" fmla="*/ 3 h 39"/>
                <a:gd name="T62" fmla="*/ 69 w 77"/>
                <a:gd name="T63" fmla="*/ 2 h 39"/>
                <a:gd name="T64" fmla="*/ 76 w 77"/>
                <a:gd name="T65" fmla="*/ 3 h 39"/>
                <a:gd name="T66" fmla="*/ 71 w 77"/>
                <a:gd name="T67" fmla="*/ 5 h 39"/>
                <a:gd name="T68" fmla="*/ 68 w 77"/>
                <a:gd name="T69" fmla="*/ 6 h 39"/>
                <a:gd name="T70" fmla="*/ 68 w 77"/>
                <a:gd name="T71" fmla="*/ 9 h 39"/>
                <a:gd name="T72" fmla="*/ 60 w 77"/>
                <a:gd name="T73" fmla="*/ 10 h 39"/>
                <a:gd name="T74" fmla="*/ 54 w 77"/>
                <a:gd name="T75" fmla="*/ 13 h 39"/>
                <a:gd name="T76" fmla="*/ 49 w 77"/>
                <a:gd name="T77" fmla="*/ 15 h 39"/>
                <a:gd name="T78" fmla="*/ 60 w 77"/>
                <a:gd name="T79" fmla="*/ 14 h 39"/>
                <a:gd name="T80" fmla="*/ 61 w 77"/>
                <a:gd name="T81" fmla="*/ 16 h 39"/>
                <a:gd name="T82" fmla="*/ 61 w 77"/>
                <a:gd name="T83" fmla="*/ 17 h 39"/>
                <a:gd name="T84" fmla="*/ 59 w 77"/>
                <a:gd name="T85" fmla="*/ 19 h 39"/>
                <a:gd name="T86" fmla="*/ 67 w 77"/>
                <a:gd name="T87" fmla="*/ 17 h 39"/>
                <a:gd name="T88" fmla="*/ 66 w 77"/>
                <a:gd name="T89" fmla="*/ 19 h 39"/>
                <a:gd name="T90" fmla="*/ 64 w 77"/>
                <a:gd name="T91" fmla="*/ 23 h 39"/>
                <a:gd name="T92" fmla="*/ 60 w 77"/>
                <a:gd name="T93" fmla="*/ 25 h 39"/>
                <a:gd name="T94" fmla="*/ 58 w 77"/>
                <a:gd name="T95" fmla="*/ 27 h 39"/>
                <a:gd name="T96" fmla="*/ 58 w 77"/>
                <a:gd name="T97" fmla="*/ 28 h 39"/>
                <a:gd name="T98" fmla="*/ 55 w 77"/>
                <a:gd name="T99" fmla="*/ 31 h 39"/>
                <a:gd name="T100" fmla="*/ 49 w 77"/>
                <a:gd name="T101" fmla="*/ 33 h 39"/>
                <a:gd name="T102" fmla="*/ 37 w 77"/>
                <a:gd name="T103" fmla="*/ 34 h 39"/>
                <a:gd name="T104" fmla="*/ 35 w 77"/>
                <a:gd name="T105" fmla="*/ 36 h 39"/>
                <a:gd name="T106" fmla="*/ 29 w 77"/>
                <a:gd name="T107" fmla="*/ 38 h 39"/>
                <a:gd name="T108" fmla="*/ 25 w 77"/>
                <a:gd name="T109" fmla="*/ 37 h 39"/>
                <a:gd name="T110" fmla="*/ 20 w 77"/>
                <a:gd name="T111" fmla="*/ 38 h 39"/>
                <a:gd name="T112" fmla="*/ 21 w 77"/>
                <a:gd name="T113" fmla="*/ 34 h 39"/>
                <a:gd name="T114" fmla="*/ 18 w 77"/>
                <a:gd name="T115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7" h="39">
                  <a:moveTo>
                    <a:pt x="18" y="30"/>
                  </a:moveTo>
                  <a:lnTo>
                    <a:pt x="17" y="29"/>
                  </a:lnTo>
                  <a:lnTo>
                    <a:pt x="17" y="28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6" y="26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2" y="25"/>
                  </a:lnTo>
                  <a:lnTo>
                    <a:pt x="10" y="26"/>
                  </a:lnTo>
                  <a:lnTo>
                    <a:pt x="5" y="26"/>
                  </a:lnTo>
                  <a:lnTo>
                    <a:pt x="6" y="24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0" y="19"/>
                  </a:lnTo>
                  <a:lnTo>
                    <a:pt x="2" y="18"/>
                  </a:lnTo>
                  <a:lnTo>
                    <a:pt x="4" y="16"/>
                  </a:lnTo>
                  <a:lnTo>
                    <a:pt x="6" y="15"/>
                  </a:lnTo>
                  <a:lnTo>
                    <a:pt x="8" y="14"/>
                  </a:lnTo>
                  <a:lnTo>
                    <a:pt x="12" y="14"/>
                  </a:lnTo>
                  <a:lnTo>
                    <a:pt x="13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5" y="17"/>
                  </a:lnTo>
                  <a:lnTo>
                    <a:pt x="16" y="17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9"/>
                  </a:lnTo>
                  <a:lnTo>
                    <a:pt x="19" y="19"/>
                  </a:lnTo>
                  <a:lnTo>
                    <a:pt x="20" y="19"/>
                  </a:lnTo>
                  <a:lnTo>
                    <a:pt x="21" y="18"/>
                  </a:lnTo>
                  <a:lnTo>
                    <a:pt x="23" y="18"/>
                  </a:lnTo>
                  <a:lnTo>
                    <a:pt x="24" y="18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8" y="15"/>
                  </a:lnTo>
                  <a:lnTo>
                    <a:pt x="29" y="15"/>
                  </a:lnTo>
                  <a:lnTo>
                    <a:pt x="29" y="16"/>
                  </a:lnTo>
                  <a:lnTo>
                    <a:pt x="30" y="16"/>
                  </a:lnTo>
                  <a:lnTo>
                    <a:pt x="31" y="15"/>
                  </a:lnTo>
                  <a:lnTo>
                    <a:pt x="31" y="14"/>
                  </a:lnTo>
                  <a:lnTo>
                    <a:pt x="29" y="14"/>
                  </a:lnTo>
                  <a:lnTo>
                    <a:pt x="30" y="14"/>
                  </a:lnTo>
                  <a:lnTo>
                    <a:pt x="29" y="13"/>
                  </a:lnTo>
                  <a:lnTo>
                    <a:pt x="30" y="13"/>
                  </a:lnTo>
                  <a:lnTo>
                    <a:pt x="31" y="11"/>
                  </a:lnTo>
                  <a:lnTo>
                    <a:pt x="31" y="10"/>
                  </a:lnTo>
                  <a:lnTo>
                    <a:pt x="34" y="10"/>
                  </a:lnTo>
                  <a:lnTo>
                    <a:pt x="36" y="11"/>
                  </a:lnTo>
                  <a:lnTo>
                    <a:pt x="37" y="11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3" y="10"/>
                  </a:lnTo>
                  <a:lnTo>
                    <a:pt x="30" y="10"/>
                  </a:lnTo>
                  <a:lnTo>
                    <a:pt x="28" y="10"/>
                  </a:lnTo>
                  <a:lnTo>
                    <a:pt x="26" y="9"/>
                  </a:lnTo>
                  <a:lnTo>
                    <a:pt x="26" y="8"/>
                  </a:lnTo>
                  <a:lnTo>
                    <a:pt x="24" y="8"/>
                  </a:lnTo>
                  <a:lnTo>
                    <a:pt x="25" y="7"/>
                  </a:lnTo>
                  <a:lnTo>
                    <a:pt x="26" y="6"/>
                  </a:lnTo>
                  <a:lnTo>
                    <a:pt x="30" y="6"/>
                  </a:lnTo>
                  <a:lnTo>
                    <a:pt x="31" y="7"/>
                  </a:lnTo>
                  <a:lnTo>
                    <a:pt x="30" y="7"/>
                  </a:lnTo>
                  <a:lnTo>
                    <a:pt x="33" y="8"/>
                  </a:lnTo>
                  <a:lnTo>
                    <a:pt x="34" y="7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1" y="6"/>
                  </a:lnTo>
                  <a:lnTo>
                    <a:pt x="31" y="5"/>
                  </a:lnTo>
                  <a:lnTo>
                    <a:pt x="29" y="5"/>
                  </a:lnTo>
                  <a:lnTo>
                    <a:pt x="30" y="4"/>
                  </a:lnTo>
                  <a:lnTo>
                    <a:pt x="33" y="3"/>
                  </a:lnTo>
                  <a:lnTo>
                    <a:pt x="37" y="2"/>
                  </a:lnTo>
                  <a:lnTo>
                    <a:pt x="38" y="3"/>
                  </a:lnTo>
                  <a:lnTo>
                    <a:pt x="40" y="3"/>
                  </a:lnTo>
                  <a:lnTo>
                    <a:pt x="41" y="4"/>
                  </a:lnTo>
                  <a:lnTo>
                    <a:pt x="43" y="3"/>
                  </a:lnTo>
                  <a:lnTo>
                    <a:pt x="44" y="3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4" y="0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7" y="2"/>
                  </a:lnTo>
                  <a:lnTo>
                    <a:pt x="49" y="2"/>
                  </a:lnTo>
                  <a:lnTo>
                    <a:pt x="50" y="3"/>
                  </a:lnTo>
                  <a:lnTo>
                    <a:pt x="53" y="3"/>
                  </a:lnTo>
                  <a:lnTo>
                    <a:pt x="55" y="3"/>
                  </a:lnTo>
                  <a:lnTo>
                    <a:pt x="56" y="3"/>
                  </a:lnTo>
                  <a:lnTo>
                    <a:pt x="61" y="3"/>
                  </a:lnTo>
                  <a:lnTo>
                    <a:pt x="69" y="2"/>
                  </a:lnTo>
                  <a:lnTo>
                    <a:pt x="75" y="0"/>
                  </a:lnTo>
                  <a:lnTo>
                    <a:pt x="75" y="2"/>
                  </a:lnTo>
                  <a:lnTo>
                    <a:pt x="76" y="3"/>
                  </a:lnTo>
                  <a:lnTo>
                    <a:pt x="77" y="3"/>
                  </a:lnTo>
                  <a:lnTo>
                    <a:pt x="75" y="4"/>
                  </a:lnTo>
                  <a:lnTo>
                    <a:pt x="71" y="5"/>
                  </a:lnTo>
                  <a:lnTo>
                    <a:pt x="69" y="6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70" y="7"/>
                  </a:lnTo>
                  <a:lnTo>
                    <a:pt x="69" y="7"/>
                  </a:lnTo>
                  <a:lnTo>
                    <a:pt x="68" y="9"/>
                  </a:lnTo>
                  <a:lnTo>
                    <a:pt x="68" y="8"/>
                  </a:lnTo>
                  <a:lnTo>
                    <a:pt x="65" y="9"/>
                  </a:lnTo>
                  <a:lnTo>
                    <a:pt x="60" y="10"/>
                  </a:lnTo>
                  <a:lnTo>
                    <a:pt x="57" y="11"/>
                  </a:lnTo>
                  <a:lnTo>
                    <a:pt x="55" y="13"/>
                  </a:lnTo>
                  <a:lnTo>
                    <a:pt x="54" y="13"/>
                  </a:lnTo>
                  <a:lnTo>
                    <a:pt x="51" y="14"/>
                  </a:lnTo>
                  <a:lnTo>
                    <a:pt x="50" y="15"/>
                  </a:lnTo>
                  <a:lnTo>
                    <a:pt x="49" y="15"/>
                  </a:lnTo>
                  <a:lnTo>
                    <a:pt x="56" y="14"/>
                  </a:lnTo>
                  <a:lnTo>
                    <a:pt x="59" y="13"/>
                  </a:lnTo>
                  <a:lnTo>
                    <a:pt x="60" y="14"/>
                  </a:lnTo>
                  <a:lnTo>
                    <a:pt x="61" y="15"/>
                  </a:lnTo>
                  <a:lnTo>
                    <a:pt x="60" y="16"/>
                  </a:lnTo>
                  <a:lnTo>
                    <a:pt x="61" y="16"/>
                  </a:lnTo>
                  <a:lnTo>
                    <a:pt x="60" y="17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1" y="18"/>
                  </a:lnTo>
                  <a:lnTo>
                    <a:pt x="60" y="18"/>
                  </a:lnTo>
                  <a:lnTo>
                    <a:pt x="59" y="19"/>
                  </a:lnTo>
                  <a:lnTo>
                    <a:pt x="63" y="18"/>
                  </a:lnTo>
                  <a:lnTo>
                    <a:pt x="65" y="18"/>
                  </a:lnTo>
                  <a:lnTo>
                    <a:pt x="67" y="17"/>
                  </a:lnTo>
                  <a:lnTo>
                    <a:pt x="67" y="18"/>
                  </a:lnTo>
                  <a:lnTo>
                    <a:pt x="66" y="19"/>
                  </a:lnTo>
                  <a:lnTo>
                    <a:pt x="66" y="19"/>
                  </a:lnTo>
                  <a:lnTo>
                    <a:pt x="66" y="21"/>
                  </a:lnTo>
                  <a:lnTo>
                    <a:pt x="65" y="23"/>
                  </a:lnTo>
                  <a:lnTo>
                    <a:pt x="64" y="23"/>
                  </a:lnTo>
                  <a:lnTo>
                    <a:pt x="61" y="24"/>
                  </a:lnTo>
                  <a:lnTo>
                    <a:pt x="60" y="24"/>
                  </a:lnTo>
                  <a:lnTo>
                    <a:pt x="60" y="25"/>
                  </a:lnTo>
                  <a:lnTo>
                    <a:pt x="60" y="26"/>
                  </a:lnTo>
                  <a:lnTo>
                    <a:pt x="59" y="27"/>
                  </a:lnTo>
                  <a:lnTo>
                    <a:pt x="58" y="27"/>
                  </a:lnTo>
                  <a:lnTo>
                    <a:pt x="56" y="28"/>
                  </a:lnTo>
                  <a:lnTo>
                    <a:pt x="58" y="28"/>
                  </a:lnTo>
                  <a:lnTo>
                    <a:pt x="58" y="28"/>
                  </a:lnTo>
                  <a:lnTo>
                    <a:pt x="57" y="29"/>
                  </a:lnTo>
                  <a:lnTo>
                    <a:pt x="56" y="30"/>
                  </a:lnTo>
                  <a:lnTo>
                    <a:pt x="55" y="31"/>
                  </a:lnTo>
                  <a:lnTo>
                    <a:pt x="55" y="30"/>
                  </a:lnTo>
                  <a:lnTo>
                    <a:pt x="51" y="31"/>
                  </a:lnTo>
                  <a:lnTo>
                    <a:pt x="49" y="33"/>
                  </a:lnTo>
                  <a:lnTo>
                    <a:pt x="43" y="35"/>
                  </a:lnTo>
                  <a:lnTo>
                    <a:pt x="40" y="34"/>
                  </a:lnTo>
                  <a:lnTo>
                    <a:pt x="37" y="34"/>
                  </a:lnTo>
                  <a:lnTo>
                    <a:pt x="35" y="34"/>
                  </a:lnTo>
                  <a:lnTo>
                    <a:pt x="34" y="35"/>
                  </a:lnTo>
                  <a:lnTo>
                    <a:pt x="35" y="36"/>
                  </a:lnTo>
                  <a:lnTo>
                    <a:pt x="35" y="37"/>
                  </a:lnTo>
                  <a:lnTo>
                    <a:pt x="30" y="38"/>
                  </a:lnTo>
                  <a:lnTo>
                    <a:pt x="29" y="38"/>
                  </a:lnTo>
                  <a:lnTo>
                    <a:pt x="26" y="39"/>
                  </a:lnTo>
                  <a:lnTo>
                    <a:pt x="25" y="39"/>
                  </a:lnTo>
                  <a:lnTo>
                    <a:pt x="25" y="37"/>
                  </a:lnTo>
                  <a:lnTo>
                    <a:pt x="24" y="37"/>
                  </a:lnTo>
                  <a:lnTo>
                    <a:pt x="21" y="38"/>
                  </a:lnTo>
                  <a:lnTo>
                    <a:pt x="20" y="38"/>
                  </a:lnTo>
                  <a:lnTo>
                    <a:pt x="20" y="37"/>
                  </a:lnTo>
                  <a:lnTo>
                    <a:pt x="21" y="35"/>
                  </a:lnTo>
                  <a:lnTo>
                    <a:pt x="21" y="34"/>
                  </a:lnTo>
                  <a:lnTo>
                    <a:pt x="21" y="33"/>
                  </a:lnTo>
                  <a:lnTo>
                    <a:pt x="20" y="31"/>
                  </a:lnTo>
                  <a:lnTo>
                    <a:pt x="18" y="30"/>
                  </a:lnTo>
                  <a:lnTo>
                    <a:pt x="18" y="3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09" name="Freeform 1109"/>
            <p:cNvSpPr>
              <a:spLocks/>
            </p:cNvSpPr>
            <p:nvPr/>
          </p:nvSpPr>
          <p:spPr bwMode="auto">
            <a:xfrm>
              <a:off x="1661" y="865"/>
              <a:ext cx="8" cy="4"/>
            </a:xfrm>
            <a:custGeom>
              <a:avLst/>
              <a:gdLst>
                <a:gd name="T0" fmla="*/ 5 w 8"/>
                <a:gd name="T1" fmla="*/ 3 h 4"/>
                <a:gd name="T2" fmla="*/ 8 w 8"/>
                <a:gd name="T3" fmla="*/ 2 h 4"/>
                <a:gd name="T4" fmla="*/ 8 w 8"/>
                <a:gd name="T5" fmla="*/ 0 h 4"/>
                <a:gd name="T6" fmla="*/ 6 w 8"/>
                <a:gd name="T7" fmla="*/ 0 h 4"/>
                <a:gd name="T8" fmla="*/ 5 w 8"/>
                <a:gd name="T9" fmla="*/ 0 h 4"/>
                <a:gd name="T10" fmla="*/ 1 w 8"/>
                <a:gd name="T11" fmla="*/ 2 h 4"/>
                <a:gd name="T12" fmla="*/ 0 w 8"/>
                <a:gd name="T13" fmla="*/ 2 h 4"/>
                <a:gd name="T14" fmla="*/ 0 w 8"/>
                <a:gd name="T15" fmla="*/ 4 h 4"/>
                <a:gd name="T16" fmla="*/ 2 w 8"/>
                <a:gd name="T17" fmla="*/ 4 h 4"/>
                <a:gd name="T18" fmla="*/ 4 w 8"/>
                <a:gd name="T19" fmla="*/ 3 h 4"/>
                <a:gd name="T20" fmla="*/ 5 w 8"/>
                <a:gd name="T2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4">
                  <a:moveTo>
                    <a:pt x="5" y="3"/>
                  </a:moveTo>
                  <a:lnTo>
                    <a:pt x="8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5" y="0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4"/>
                  </a:lnTo>
                  <a:lnTo>
                    <a:pt x="4" y="3"/>
                  </a:lnTo>
                  <a:lnTo>
                    <a:pt x="5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10" name="Freeform 1110"/>
            <p:cNvSpPr>
              <a:spLocks/>
            </p:cNvSpPr>
            <p:nvPr/>
          </p:nvSpPr>
          <p:spPr bwMode="auto">
            <a:xfrm>
              <a:off x="1661" y="865"/>
              <a:ext cx="8" cy="4"/>
            </a:xfrm>
            <a:custGeom>
              <a:avLst/>
              <a:gdLst>
                <a:gd name="T0" fmla="*/ 5 w 8"/>
                <a:gd name="T1" fmla="*/ 3 h 4"/>
                <a:gd name="T2" fmla="*/ 8 w 8"/>
                <a:gd name="T3" fmla="*/ 2 h 4"/>
                <a:gd name="T4" fmla="*/ 8 w 8"/>
                <a:gd name="T5" fmla="*/ 0 h 4"/>
                <a:gd name="T6" fmla="*/ 6 w 8"/>
                <a:gd name="T7" fmla="*/ 0 h 4"/>
                <a:gd name="T8" fmla="*/ 5 w 8"/>
                <a:gd name="T9" fmla="*/ 0 h 4"/>
                <a:gd name="T10" fmla="*/ 1 w 8"/>
                <a:gd name="T11" fmla="*/ 2 h 4"/>
                <a:gd name="T12" fmla="*/ 0 w 8"/>
                <a:gd name="T13" fmla="*/ 2 h 4"/>
                <a:gd name="T14" fmla="*/ 0 w 8"/>
                <a:gd name="T15" fmla="*/ 4 h 4"/>
                <a:gd name="T16" fmla="*/ 2 w 8"/>
                <a:gd name="T17" fmla="*/ 4 h 4"/>
                <a:gd name="T18" fmla="*/ 4 w 8"/>
                <a:gd name="T19" fmla="*/ 3 h 4"/>
                <a:gd name="T20" fmla="*/ 5 w 8"/>
                <a:gd name="T2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4">
                  <a:moveTo>
                    <a:pt x="5" y="3"/>
                  </a:moveTo>
                  <a:lnTo>
                    <a:pt x="8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5" y="0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4"/>
                  </a:lnTo>
                  <a:lnTo>
                    <a:pt x="4" y="3"/>
                  </a:lnTo>
                  <a:lnTo>
                    <a:pt x="5" y="3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11" name="Freeform 1111"/>
            <p:cNvSpPr>
              <a:spLocks/>
            </p:cNvSpPr>
            <p:nvPr/>
          </p:nvSpPr>
          <p:spPr bwMode="auto">
            <a:xfrm>
              <a:off x="1649" y="852"/>
              <a:ext cx="20" cy="4"/>
            </a:xfrm>
            <a:custGeom>
              <a:avLst/>
              <a:gdLst>
                <a:gd name="T0" fmla="*/ 7 w 20"/>
                <a:gd name="T1" fmla="*/ 4 h 4"/>
                <a:gd name="T2" fmla="*/ 11 w 20"/>
                <a:gd name="T3" fmla="*/ 4 h 4"/>
                <a:gd name="T4" fmla="*/ 15 w 20"/>
                <a:gd name="T5" fmla="*/ 2 h 4"/>
                <a:gd name="T6" fmla="*/ 17 w 20"/>
                <a:gd name="T7" fmla="*/ 1 h 4"/>
                <a:gd name="T8" fmla="*/ 20 w 20"/>
                <a:gd name="T9" fmla="*/ 0 h 4"/>
                <a:gd name="T10" fmla="*/ 20 w 20"/>
                <a:gd name="T11" fmla="*/ 0 h 4"/>
                <a:gd name="T12" fmla="*/ 17 w 20"/>
                <a:gd name="T13" fmla="*/ 0 h 4"/>
                <a:gd name="T14" fmla="*/ 11 w 20"/>
                <a:gd name="T15" fmla="*/ 1 h 4"/>
                <a:gd name="T16" fmla="*/ 7 w 20"/>
                <a:gd name="T17" fmla="*/ 1 h 4"/>
                <a:gd name="T18" fmla="*/ 5 w 20"/>
                <a:gd name="T19" fmla="*/ 1 h 4"/>
                <a:gd name="T20" fmla="*/ 4 w 20"/>
                <a:gd name="T21" fmla="*/ 2 h 4"/>
                <a:gd name="T22" fmla="*/ 0 w 20"/>
                <a:gd name="T23" fmla="*/ 2 h 4"/>
                <a:gd name="T24" fmla="*/ 0 w 20"/>
                <a:gd name="T25" fmla="*/ 4 h 4"/>
                <a:gd name="T26" fmla="*/ 2 w 20"/>
                <a:gd name="T27" fmla="*/ 4 h 4"/>
                <a:gd name="T28" fmla="*/ 3 w 20"/>
                <a:gd name="T29" fmla="*/ 4 h 4"/>
                <a:gd name="T30" fmla="*/ 4 w 20"/>
                <a:gd name="T31" fmla="*/ 4 h 4"/>
                <a:gd name="T32" fmla="*/ 4 w 20"/>
                <a:gd name="T33" fmla="*/ 4 h 4"/>
                <a:gd name="T34" fmla="*/ 6 w 20"/>
                <a:gd name="T35" fmla="*/ 4 h 4"/>
                <a:gd name="T36" fmla="*/ 6 w 20"/>
                <a:gd name="T37" fmla="*/ 4 h 4"/>
                <a:gd name="T38" fmla="*/ 7 w 20"/>
                <a:gd name="T3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4">
                  <a:moveTo>
                    <a:pt x="7" y="4"/>
                  </a:moveTo>
                  <a:lnTo>
                    <a:pt x="11" y="4"/>
                  </a:lnTo>
                  <a:lnTo>
                    <a:pt x="15" y="2"/>
                  </a:lnTo>
                  <a:lnTo>
                    <a:pt x="17" y="1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11" y="1"/>
                  </a:lnTo>
                  <a:lnTo>
                    <a:pt x="7" y="1"/>
                  </a:lnTo>
                  <a:lnTo>
                    <a:pt x="5" y="1"/>
                  </a:lnTo>
                  <a:lnTo>
                    <a:pt x="4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7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12" name="Freeform 1112"/>
            <p:cNvSpPr>
              <a:spLocks/>
            </p:cNvSpPr>
            <p:nvPr/>
          </p:nvSpPr>
          <p:spPr bwMode="auto">
            <a:xfrm>
              <a:off x="1649" y="852"/>
              <a:ext cx="20" cy="4"/>
            </a:xfrm>
            <a:custGeom>
              <a:avLst/>
              <a:gdLst>
                <a:gd name="T0" fmla="*/ 7 w 20"/>
                <a:gd name="T1" fmla="*/ 4 h 4"/>
                <a:gd name="T2" fmla="*/ 11 w 20"/>
                <a:gd name="T3" fmla="*/ 4 h 4"/>
                <a:gd name="T4" fmla="*/ 15 w 20"/>
                <a:gd name="T5" fmla="*/ 2 h 4"/>
                <a:gd name="T6" fmla="*/ 17 w 20"/>
                <a:gd name="T7" fmla="*/ 1 h 4"/>
                <a:gd name="T8" fmla="*/ 20 w 20"/>
                <a:gd name="T9" fmla="*/ 0 h 4"/>
                <a:gd name="T10" fmla="*/ 20 w 20"/>
                <a:gd name="T11" fmla="*/ 0 h 4"/>
                <a:gd name="T12" fmla="*/ 17 w 20"/>
                <a:gd name="T13" fmla="*/ 0 h 4"/>
                <a:gd name="T14" fmla="*/ 11 w 20"/>
                <a:gd name="T15" fmla="*/ 1 h 4"/>
                <a:gd name="T16" fmla="*/ 7 w 20"/>
                <a:gd name="T17" fmla="*/ 1 h 4"/>
                <a:gd name="T18" fmla="*/ 5 w 20"/>
                <a:gd name="T19" fmla="*/ 1 h 4"/>
                <a:gd name="T20" fmla="*/ 4 w 20"/>
                <a:gd name="T21" fmla="*/ 2 h 4"/>
                <a:gd name="T22" fmla="*/ 0 w 20"/>
                <a:gd name="T23" fmla="*/ 2 h 4"/>
                <a:gd name="T24" fmla="*/ 0 w 20"/>
                <a:gd name="T25" fmla="*/ 4 h 4"/>
                <a:gd name="T26" fmla="*/ 2 w 20"/>
                <a:gd name="T27" fmla="*/ 4 h 4"/>
                <a:gd name="T28" fmla="*/ 3 w 20"/>
                <a:gd name="T29" fmla="*/ 4 h 4"/>
                <a:gd name="T30" fmla="*/ 4 w 20"/>
                <a:gd name="T31" fmla="*/ 4 h 4"/>
                <a:gd name="T32" fmla="*/ 4 w 20"/>
                <a:gd name="T33" fmla="*/ 4 h 4"/>
                <a:gd name="T34" fmla="*/ 6 w 20"/>
                <a:gd name="T35" fmla="*/ 4 h 4"/>
                <a:gd name="T36" fmla="*/ 6 w 20"/>
                <a:gd name="T37" fmla="*/ 4 h 4"/>
                <a:gd name="T38" fmla="*/ 7 w 20"/>
                <a:gd name="T3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4">
                  <a:moveTo>
                    <a:pt x="7" y="4"/>
                  </a:moveTo>
                  <a:lnTo>
                    <a:pt x="11" y="4"/>
                  </a:lnTo>
                  <a:lnTo>
                    <a:pt x="15" y="2"/>
                  </a:lnTo>
                  <a:lnTo>
                    <a:pt x="17" y="1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11" y="1"/>
                  </a:lnTo>
                  <a:lnTo>
                    <a:pt x="7" y="1"/>
                  </a:lnTo>
                  <a:lnTo>
                    <a:pt x="5" y="1"/>
                  </a:lnTo>
                  <a:lnTo>
                    <a:pt x="4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7" y="4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13" name="Freeform 1113"/>
            <p:cNvSpPr>
              <a:spLocks/>
            </p:cNvSpPr>
            <p:nvPr/>
          </p:nvSpPr>
          <p:spPr bwMode="auto">
            <a:xfrm>
              <a:off x="1698" y="829"/>
              <a:ext cx="14" cy="3"/>
            </a:xfrm>
            <a:custGeom>
              <a:avLst/>
              <a:gdLst>
                <a:gd name="T0" fmla="*/ 10 w 14"/>
                <a:gd name="T1" fmla="*/ 1 h 3"/>
                <a:gd name="T2" fmla="*/ 9 w 14"/>
                <a:gd name="T3" fmla="*/ 1 h 3"/>
                <a:gd name="T4" fmla="*/ 7 w 14"/>
                <a:gd name="T5" fmla="*/ 1 h 3"/>
                <a:gd name="T6" fmla="*/ 7 w 14"/>
                <a:gd name="T7" fmla="*/ 2 h 3"/>
                <a:gd name="T8" fmla="*/ 6 w 14"/>
                <a:gd name="T9" fmla="*/ 2 h 3"/>
                <a:gd name="T10" fmla="*/ 6 w 14"/>
                <a:gd name="T11" fmla="*/ 2 h 3"/>
                <a:gd name="T12" fmla="*/ 4 w 14"/>
                <a:gd name="T13" fmla="*/ 3 h 3"/>
                <a:gd name="T14" fmla="*/ 4 w 14"/>
                <a:gd name="T15" fmla="*/ 3 h 3"/>
                <a:gd name="T16" fmla="*/ 3 w 14"/>
                <a:gd name="T17" fmla="*/ 3 h 3"/>
                <a:gd name="T18" fmla="*/ 0 w 14"/>
                <a:gd name="T19" fmla="*/ 3 h 3"/>
                <a:gd name="T20" fmla="*/ 0 w 14"/>
                <a:gd name="T21" fmla="*/ 3 h 3"/>
                <a:gd name="T22" fmla="*/ 2 w 14"/>
                <a:gd name="T23" fmla="*/ 3 h 3"/>
                <a:gd name="T24" fmla="*/ 0 w 14"/>
                <a:gd name="T25" fmla="*/ 2 h 3"/>
                <a:gd name="T26" fmla="*/ 0 w 14"/>
                <a:gd name="T27" fmla="*/ 2 h 3"/>
                <a:gd name="T28" fmla="*/ 5 w 14"/>
                <a:gd name="T29" fmla="*/ 1 h 3"/>
                <a:gd name="T30" fmla="*/ 6 w 14"/>
                <a:gd name="T31" fmla="*/ 1 h 3"/>
                <a:gd name="T32" fmla="*/ 7 w 14"/>
                <a:gd name="T33" fmla="*/ 1 h 3"/>
                <a:gd name="T34" fmla="*/ 9 w 14"/>
                <a:gd name="T35" fmla="*/ 1 h 3"/>
                <a:gd name="T36" fmla="*/ 10 w 14"/>
                <a:gd name="T37" fmla="*/ 0 h 3"/>
                <a:gd name="T38" fmla="*/ 14 w 14"/>
                <a:gd name="T39" fmla="*/ 0 h 3"/>
                <a:gd name="T40" fmla="*/ 14 w 14"/>
                <a:gd name="T41" fmla="*/ 1 h 3"/>
                <a:gd name="T42" fmla="*/ 10 w 14"/>
                <a:gd name="T43" fmla="*/ 2 h 3"/>
                <a:gd name="T44" fmla="*/ 10 w 14"/>
                <a:gd name="T45" fmla="*/ 2 h 3"/>
                <a:gd name="T46" fmla="*/ 9 w 14"/>
                <a:gd name="T47" fmla="*/ 2 h 3"/>
                <a:gd name="T48" fmla="*/ 10 w 14"/>
                <a:gd name="T4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" h="3">
                  <a:moveTo>
                    <a:pt x="10" y="1"/>
                  </a:moveTo>
                  <a:lnTo>
                    <a:pt x="9" y="1"/>
                  </a:lnTo>
                  <a:lnTo>
                    <a:pt x="7" y="1"/>
                  </a:lnTo>
                  <a:lnTo>
                    <a:pt x="7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5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9" y="1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4" y="1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9" y="2"/>
                  </a:lnTo>
                  <a:lnTo>
                    <a:pt x="1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14" name="Freeform 1114"/>
            <p:cNvSpPr>
              <a:spLocks/>
            </p:cNvSpPr>
            <p:nvPr/>
          </p:nvSpPr>
          <p:spPr bwMode="auto">
            <a:xfrm>
              <a:off x="1698" y="829"/>
              <a:ext cx="14" cy="3"/>
            </a:xfrm>
            <a:custGeom>
              <a:avLst/>
              <a:gdLst>
                <a:gd name="T0" fmla="*/ 10 w 14"/>
                <a:gd name="T1" fmla="*/ 1 h 3"/>
                <a:gd name="T2" fmla="*/ 9 w 14"/>
                <a:gd name="T3" fmla="*/ 1 h 3"/>
                <a:gd name="T4" fmla="*/ 7 w 14"/>
                <a:gd name="T5" fmla="*/ 1 h 3"/>
                <a:gd name="T6" fmla="*/ 7 w 14"/>
                <a:gd name="T7" fmla="*/ 2 h 3"/>
                <a:gd name="T8" fmla="*/ 6 w 14"/>
                <a:gd name="T9" fmla="*/ 2 h 3"/>
                <a:gd name="T10" fmla="*/ 6 w 14"/>
                <a:gd name="T11" fmla="*/ 2 h 3"/>
                <a:gd name="T12" fmla="*/ 4 w 14"/>
                <a:gd name="T13" fmla="*/ 3 h 3"/>
                <a:gd name="T14" fmla="*/ 4 w 14"/>
                <a:gd name="T15" fmla="*/ 3 h 3"/>
                <a:gd name="T16" fmla="*/ 3 w 14"/>
                <a:gd name="T17" fmla="*/ 3 h 3"/>
                <a:gd name="T18" fmla="*/ 0 w 14"/>
                <a:gd name="T19" fmla="*/ 3 h 3"/>
                <a:gd name="T20" fmla="*/ 0 w 14"/>
                <a:gd name="T21" fmla="*/ 3 h 3"/>
                <a:gd name="T22" fmla="*/ 2 w 14"/>
                <a:gd name="T23" fmla="*/ 3 h 3"/>
                <a:gd name="T24" fmla="*/ 0 w 14"/>
                <a:gd name="T25" fmla="*/ 2 h 3"/>
                <a:gd name="T26" fmla="*/ 0 w 14"/>
                <a:gd name="T27" fmla="*/ 2 h 3"/>
                <a:gd name="T28" fmla="*/ 5 w 14"/>
                <a:gd name="T29" fmla="*/ 1 h 3"/>
                <a:gd name="T30" fmla="*/ 6 w 14"/>
                <a:gd name="T31" fmla="*/ 1 h 3"/>
                <a:gd name="T32" fmla="*/ 7 w 14"/>
                <a:gd name="T33" fmla="*/ 1 h 3"/>
                <a:gd name="T34" fmla="*/ 9 w 14"/>
                <a:gd name="T35" fmla="*/ 1 h 3"/>
                <a:gd name="T36" fmla="*/ 10 w 14"/>
                <a:gd name="T37" fmla="*/ 0 h 3"/>
                <a:gd name="T38" fmla="*/ 14 w 14"/>
                <a:gd name="T39" fmla="*/ 0 h 3"/>
                <a:gd name="T40" fmla="*/ 14 w 14"/>
                <a:gd name="T41" fmla="*/ 1 h 3"/>
                <a:gd name="T42" fmla="*/ 10 w 14"/>
                <a:gd name="T43" fmla="*/ 2 h 3"/>
                <a:gd name="T44" fmla="*/ 10 w 14"/>
                <a:gd name="T45" fmla="*/ 2 h 3"/>
                <a:gd name="T46" fmla="*/ 9 w 14"/>
                <a:gd name="T47" fmla="*/ 2 h 3"/>
                <a:gd name="T48" fmla="*/ 10 w 14"/>
                <a:gd name="T49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" h="3">
                  <a:moveTo>
                    <a:pt x="10" y="1"/>
                  </a:moveTo>
                  <a:lnTo>
                    <a:pt x="9" y="1"/>
                  </a:lnTo>
                  <a:lnTo>
                    <a:pt x="7" y="1"/>
                  </a:lnTo>
                  <a:lnTo>
                    <a:pt x="7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5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9" y="1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4" y="1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9" y="2"/>
                  </a:lnTo>
                  <a:lnTo>
                    <a:pt x="10" y="1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15" name="Freeform 1115"/>
            <p:cNvSpPr>
              <a:spLocks/>
            </p:cNvSpPr>
            <p:nvPr/>
          </p:nvSpPr>
          <p:spPr bwMode="auto">
            <a:xfrm>
              <a:off x="1640" y="816"/>
              <a:ext cx="66" cy="23"/>
            </a:xfrm>
            <a:custGeom>
              <a:avLst/>
              <a:gdLst>
                <a:gd name="T0" fmla="*/ 60 w 66"/>
                <a:gd name="T1" fmla="*/ 10 h 23"/>
                <a:gd name="T2" fmla="*/ 54 w 66"/>
                <a:gd name="T3" fmla="*/ 12 h 23"/>
                <a:gd name="T4" fmla="*/ 56 w 66"/>
                <a:gd name="T5" fmla="*/ 13 h 23"/>
                <a:gd name="T6" fmla="*/ 54 w 66"/>
                <a:gd name="T7" fmla="*/ 14 h 23"/>
                <a:gd name="T8" fmla="*/ 50 w 66"/>
                <a:gd name="T9" fmla="*/ 14 h 23"/>
                <a:gd name="T10" fmla="*/ 50 w 66"/>
                <a:gd name="T11" fmla="*/ 15 h 23"/>
                <a:gd name="T12" fmla="*/ 47 w 66"/>
                <a:gd name="T13" fmla="*/ 16 h 23"/>
                <a:gd name="T14" fmla="*/ 45 w 66"/>
                <a:gd name="T15" fmla="*/ 16 h 23"/>
                <a:gd name="T16" fmla="*/ 45 w 66"/>
                <a:gd name="T17" fmla="*/ 20 h 23"/>
                <a:gd name="T18" fmla="*/ 43 w 66"/>
                <a:gd name="T19" fmla="*/ 20 h 23"/>
                <a:gd name="T20" fmla="*/ 41 w 66"/>
                <a:gd name="T21" fmla="*/ 21 h 23"/>
                <a:gd name="T22" fmla="*/ 35 w 66"/>
                <a:gd name="T23" fmla="*/ 22 h 23"/>
                <a:gd name="T24" fmla="*/ 31 w 66"/>
                <a:gd name="T25" fmla="*/ 22 h 23"/>
                <a:gd name="T26" fmla="*/ 27 w 66"/>
                <a:gd name="T27" fmla="*/ 22 h 23"/>
                <a:gd name="T28" fmla="*/ 25 w 66"/>
                <a:gd name="T29" fmla="*/ 22 h 23"/>
                <a:gd name="T30" fmla="*/ 15 w 66"/>
                <a:gd name="T31" fmla="*/ 22 h 23"/>
                <a:gd name="T32" fmla="*/ 16 w 66"/>
                <a:gd name="T33" fmla="*/ 20 h 23"/>
                <a:gd name="T34" fmla="*/ 22 w 66"/>
                <a:gd name="T35" fmla="*/ 17 h 23"/>
                <a:gd name="T36" fmla="*/ 19 w 66"/>
                <a:gd name="T37" fmla="*/ 16 h 23"/>
                <a:gd name="T38" fmla="*/ 25 w 66"/>
                <a:gd name="T39" fmla="*/ 15 h 23"/>
                <a:gd name="T40" fmla="*/ 29 w 66"/>
                <a:gd name="T41" fmla="*/ 14 h 23"/>
                <a:gd name="T42" fmla="*/ 33 w 66"/>
                <a:gd name="T43" fmla="*/ 13 h 23"/>
                <a:gd name="T44" fmla="*/ 43 w 66"/>
                <a:gd name="T45" fmla="*/ 12 h 23"/>
                <a:gd name="T46" fmla="*/ 35 w 66"/>
                <a:gd name="T47" fmla="*/ 12 h 23"/>
                <a:gd name="T48" fmla="*/ 25 w 66"/>
                <a:gd name="T49" fmla="*/ 13 h 23"/>
                <a:gd name="T50" fmla="*/ 11 w 66"/>
                <a:gd name="T51" fmla="*/ 14 h 23"/>
                <a:gd name="T52" fmla="*/ 0 w 66"/>
                <a:gd name="T53" fmla="*/ 14 h 23"/>
                <a:gd name="T54" fmla="*/ 3 w 66"/>
                <a:gd name="T55" fmla="*/ 13 h 23"/>
                <a:gd name="T56" fmla="*/ 7 w 66"/>
                <a:gd name="T57" fmla="*/ 12 h 23"/>
                <a:gd name="T58" fmla="*/ 12 w 66"/>
                <a:gd name="T59" fmla="*/ 10 h 23"/>
                <a:gd name="T60" fmla="*/ 19 w 66"/>
                <a:gd name="T61" fmla="*/ 12 h 23"/>
                <a:gd name="T62" fmla="*/ 19 w 66"/>
                <a:gd name="T63" fmla="*/ 8 h 23"/>
                <a:gd name="T64" fmla="*/ 16 w 66"/>
                <a:gd name="T65" fmla="*/ 7 h 23"/>
                <a:gd name="T66" fmla="*/ 15 w 66"/>
                <a:gd name="T67" fmla="*/ 5 h 23"/>
                <a:gd name="T68" fmla="*/ 21 w 66"/>
                <a:gd name="T69" fmla="*/ 3 h 23"/>
                <a:gd name="T70" fmla="*/ 27 w 66"/>
                <a:gd name="T71" fmla="*/ 3 h 23"/>
                <a:gd name="T72" fmla="*/ 30 w 66"/>
                <a:gd name="T73" fmla="*/ 4 h 23"/>
                <a:gd name="T74" fmla="*/ 30 w 66"/>
                <a:gd name="T75" fmla="*/ 7 h 23"/>
                <a:gd name="T76" fmla="*/ 32 w 66"/>
                <a:gd name="T77" fmla="*/ 7 h 23"/>
                <a:gd name="T78" fmla="*/ 39 w 66"/>
                <a:gd name="T79" fmla="*/ 8 h 23"/>
                <a:gd name="T80" fmla="*/ 40 w 66"/>
                <a:gd name="T81" fmla="*/ 6 h 23"/>
                <a:gd name="T82" fmla="*/ 34 w 66"/>
                <a:gd name="T83" fmla="*/ 4 h 23"/>
                <a:gd name="T84" fmla="*/ 39 w 66"/>
                <a:gd name="T85" fmla="*/ 4 h 23"/>
                <a:gd name="T86" fmla="*/ 32 w 66"/>
                <a:gd name="T87" fmla="*/ 2 h 23"/>
                <a:gd name="T88" fmla="*/ 41 w 66"/>
                <a:gd name="T89" fmla="*/ 0 h 23"/>
                <a:gd name="T90" fmla="*/ 50 w 66"/>
                <a:gd name="T91" fmla="*/ 1 h 23"/>
                <a:gd name="T92" fmla="*/ 53 w 66"/>
                <a:gd name="T93" fmla="*/ 2 h 23"/>
                <a:gd name="T94" fmla="*/ 57 w 66"/>
                <a:gd name="T95" fmla="*/ 0 h 23"/>
                <a:gd name="T96" fmla="*/ 62 w 66"/>
                <a:gd name="T97" fmla="*/ 0 h 23"/>
                <a:gd name="T98" fmla="*/ 62 w 66"/>
                <a:gd name="T99" fmla="*/ 1 h 23"/>
                <a:gd name="T100" fmla="*/ 65 w 66"/>
                <a:gd name="T101" fmla="*/ 3 h 23"/>
                <a:gd name="T102" fmla="*/ 62 w 66"/>
                <a:gd name="T103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6" h="23">
                  <a:moveTo>
                    <a:pt x="60" y="8"/>
                  </a:move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58" y="11"/>
                  </a:lnTo>
                  <a:lnTo>
                    <a:pt x="55" y="11"/>
                  </a:lnTo>
                  <a:lnTo>
                    <a:pt x="54" y="12"/>
                  </a:lnTo>
                  <a:lnTo>
                    <a:pt x="57" y="12"/>
                  </a:lnTo>
                  <a:lnTo>
                    <a:pt x="58" y="12"/>
                  </a:lnTo>
                  <a:lnTo>
                    <a:pt x="57" y="13"/>
                  </a:lnTo>
                  <a:lnTo>
                    <a:pt x="56" y="13"/>
                  </a:lnTo>
                  <a:lnTo>
                    <a:pt x="54" y="15"/>
                  </a:lnTo>
                  <a:lnTo>
                    <a:pt x="53" y="16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3" y="14"/>
                  </a:lnTo>
                  <a:lnTo>
                    <a:pt x="52" y="14"/>
                  </a:lnTo>
                  <a:lnTo>
                    <a:pt x="51" y="14"/>
                  </a:lnTo>
                  <a:lnTo>
                    <a:pt x="50" y="14"/>
                  </a:lnTo>
                  <a:lnTo>
                    <a:pt x="51" y="14"/>
                  </a:lnTo>
                  <a:lnTo>
                    <a:pt x="51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7" y="15"/>
                  </a:lnTo>
                  <a:lnTo>
                    <a:pt x="48" y="16"/>
                  </a:lnTo>
                  <a:lnTo>
                    <a:pt x="47" y="16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7"/>
                  </a:lnTo>
                  <a:lnTo>
                    <a:pt x="45" y="16"/>
                  </a:lnTo>
                  <a:lnTo>
                    <a:pt x="43" y="17"/>
                  </a:lnTo>
                  <a:lnTo>
                    <a:pt x="43" y="18"/>
                  </a:lnTo>
                  <a:lnTo>
                    <a:pt x="44" y="17"/>
                  </a:lnTo>
                  <a:lnTo>
                    <a:pt x="45" y="20"/>
                  </a:lnTo>
                  <a:lnTo>
                    <a:pt x="45" y="21"/>
                  </a:lnTo>
                  <a:lnTo>
                    <a:pt x="44" y="21"/>
                  </a:lnTo>
                  <a:lnTo>
                    <a:pt x="43" y="21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2" y="20"/>
                  </a:lnTo>
                  <a:lnTo>
                    <a:pt x="41" y="20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3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2" y="22"/>
                  </a:lnTo>
                  <a:lnTo>
                    <a:pt x="31" y="22"/>
                  </a:lnTo>
                  <a:lnTo>
                    <a:pt x="30" y="22"/>
                  </a:lnTo>
                  <a:lnTo>
                    <a:pt x="27" y="22"/>
                  </a:lnTo>
                  <a:lnTo>
                    <a:pt x="29" y="22"/>
                  </a:lnTo>
                  <a:lnTo>
                    <a:pt x="27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6" y="21"/>
                  </a:lnTo>
                  <a:lnTo>
                    <a:pt x="22" y="23"/>
                  </a:lnTo>
                  <a:lnTo>
                    <a:pt x="17" y="23"/>
                  </a:lnTo>
                  <a:lnTo>
                    <a:pt x="15" y="22"/>
                  </a:lnTo>
                  <a:lnTo>
                    <a:pt x="14" y="22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1" y="20"/>
                  </a:lnTo>
                  <a:lnTo>
                    <a:pt x="22" y="18"/>
                  </a:lnTo>
                  <a:lnTo>
                    <a:pt x="20" y="18"/>
                  </a:lnTo>
                  <a:lnTo>
                    <a:pt x="22" y="17"/>
                  </a:lnTo>
                  <a:lnTo>
                    <a:pt x="17" y="18"/>
                  </a:lnTo>
                  <a:lnTo>
                    <a:pt x="17" y="17"/>
                  </a:lnTo>
                  <a:lnTo>
                    <a:pt x="21" y="16"/>
                  </a:lnTo>
                  <a:lnTo>
                    <a:pt x="19" y="16"/>
                  </a:lnTo>
                  <a:lnTo>
                    <a:pt x="23" y="16"/>
                  </a:lnTo>
                  <a:lnTo>
                    <a:pt x="24" y="16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25" y="15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30" y="14"/>
                  </a:lnTo>
                  <a:lnTo>
                    <a:pt x="33" y="14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41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1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3" y="12"/>
                  </a:lnTo>
                  <a:lnTo>
                    <a:pt x="31" y="12"/>
                  </a:lnTo>
                  <a:lnTo>
                    <a:pt x="26" y="13"/>
                  </a:lnTo>
                  <a:lnTo>
                    <a:pt x="25" y="13"/>
                  </a:lnTo>
                  <a:lnTo>
                    <a:pt x="17" y="14"/>
                  </a:lnTo>
                  <a:lnTo>
                    <a:pt x="14" y="14"/>
                  </a:lnTo>
                  <a:lnTo>
                    <a:pt x="12" y="14"/>
                  </a:lnTo>
                  <a:lnTo>
                    <a:pt x="11" y="14"/>
                  </a:lnTo>
                  <a:lnTo>
                    <a:pt x="9" y="14"/>
                  </a:lnTo>
                  <a:lnTo>
                    <a:pt x="3" y="14"/>
                  </a:lnTo>
                  <a:lnTo>
                    <a:pt x="1" y="15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4" y="12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2" y="10"/>
                  </a:lnTo>
                  <a:lnTo>
                    <a:pt x="13" y="10"/>
                  </a:lnTo>
                  <a:lnTo>
                    <a:pt x="15" y="11"/>
                  </a:lnTo>
                  <a:lnTo>
                    <a:pt x="15" y="12"/>
                  </a:lnTo>
                  <a:lnTo>
                    <a:pt x="19" y="12"/>
                  </a:lnTo>
                  <a:lnTo>
                    <a:pt x="19" y="11"/>
                  </a:lnTo>
                  <a:lnTo>
                    <a:pt x="20" y="11"/>
                  </a:lnTo>
                  <a:lnTo>
                    <a:pt x="17" y="10"/>
                  </a:lnTo>
                  <a:lnTo>
                    <a:pt x="19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15" y="8"/>
                  </a:lnTo>
                  <a:lnTo>
                    <a:pt x="16" y="7"/>
                  </a:lnTo>
                  <a:lnTo>
                    <a:pt x="15" y="7"/>
                  </a:lnTo>
                  <a:lnTo>
                    <a:pt x="16" y="6"/>
                  </a:lnTo>
                  <a:lnTo>
                    <a:pt x="19" y="5"/>
                  </a:lnTo>
                  <a:lnTo>
                    <a:pt x="15" y="5"/>
                  </a:lnTo>
                  <a:lnTo>
                    <a:pt x="16" y="5"/>
                  </a:lnTo>
                  <a:lnTo>
                    <a:pt x="17" y="4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6" y="3"/>
                  </a:lnTo>
                  <a:lnTo>
                    <a:pt x="27" y="3"/>
                  </a:lnTo>
                  <a:lnTo>
                    <a:pt x="29" y="3"/>
                  </a:lnTo>
                  <a:lnTo>
                    <a:pt x="27" y="3"/>
                  </a:lnTo>
                  <a:lnTo>
                    <a:pt x="29" y="3"/>
                  </a:lnTo>
                  <a:lnTo>
                    <a:pt x="30" y="4"/>
                  </a:lnTo>
                  <a:lnTo>
                    <a:pt x="27" y="5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7"/>
                  </a:lnTo>
                  <a:lnTo>
                    <a:pt x="31" y="6"/>
                  </a:lnTo>
                  <a:lnTo>
                    <a:pt x="32" y="7"/>
                  </a:lnTo>
                  <a:lnTo>
                    <a:pt x="31" y="7"/>
                  </a:lnTo>
                  <a:lnTo>
                    <a:pt x="32" y="7"/>
                  </a:lnTo>
                  <a:lnTo>
                    <a:pt x="34" y="8"/>
                  </a:lnTo>
                  <a:lnTo>
                    <a:pt x="36" y="8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36" y="8"/>
                  </a:lnTo>
                  <a:lnTo>
                    <a:pt x="36" y="7"/>
                  </a:lnTo>
                  <a:lnTo>
                    <a:pt x="36" y="6"/>
                  </a:lnTo>
                  <a:lnTo>
                    <a:pt x="40" y="6"/>
                  </a:lnTo>
                  <a:lnTo>
                    <a:pt x="39" y="5"/>
                  </a:lnTo>
                  <a:lnTo>
                    <a:pt x="34" y="5"/>
                  </a:lnTo>
                  <a:lnTo>
                    <a:pt x="33" y="5"/>
                  </a:lnTo>
                  <a:lnTo>
                    <a:pt x="34" y="4"/>
                  </a:lnTo>
                  <a:lnTo>
                    <a:pt x="36" y="5"/>
                  </a:lnTo>
                  <a:lnTo>
                    <a:pt x="37" y="4"/>
                  </a:lnTo>
                  <a:lnTo>
                    <a:pt x="40" y="4"/>
                  </a:lnTo>
                  <a:lnTo>
                    <a:pt x="39" y="4"/>
                  </a:lnTo>
                  <a:lnTo>
                    <a:pt x="37" y="3"/>
                  </a:lnTo>
                  <a:lnTo>
                    <a:pt x="34" y="3"/>
                  </a:lnTo>
                  <a:lnTo>
                    <a:pt x="33" y="3"/>
                  </a:lnTo>
                  <a:lnTo>
                    <a:pt x="32" y="2"/>
                  </a:lnTo>
                  <a:lnTo>
                    <a:pt x="33" y="2"/>
                  </a:lnTo>
                  <a:lnTo>
                    <a:pt x="35" y="1"/>
                  </a:lnTo>
                  <a:lnTo>
                    <a:pt x="36" y="1"/>
                  </a:lnTo>
                  <a:lnTo>
                    <a:pt x="41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1"/>
                  </a:lnTo>
                  <a:lnTo>
                    <a:pt x="54" y="1"/>
                  </a:lnTo>
                  <a:lnTo>
                    <a:pt x="53" y="2"/>
                  </a:lnTo>
                  <a:lnTo>
                    <a:pt x="52" y="2"/>
                  </a:lnTo>
                  <a:lnTo>
                    <a:pt x="53" y="2"/>
                  </a:lnTo>
                  <a:lnTo>
                    <a:pt x="55" y="2"/>
                  </a:lnTo>
                  <a:lnTo>
                    <a:pt x="56" y="2"/>
                  </a:lnTo>
                  <a:lnTo>
                    <a:pt x="56" y="1"/>
                  </a:lnTo>
                  <a:lnTo>
                    <a:pt x="57" y="0"/>
                  </a:lnTo>
                  <a:lnTo>
                    <a:pt x="60" y="1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2" y="0"/>
                  </a:lnTo>
                  <a:lnTo>
                    <a:pt x="63" y="0"/>
                  </a:lnTo>
                  <a:lnTo>
                    <a:pt x="64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5" y="1"/>
                  </a:lnTo>
                  <a:lnTo>
                    <a:pt x="66" y="2"/>
                  </a:lnTo>
                  <a:lnTo>
                    <a:pt x="66" y="3"/>
                  </a:lnTo>
                  <a:lnTo>
                    <a:pt x="65" y="3"/>
                  </a:lnTo>
                  <a:lnTo>
                    <a:pt x="64" y="4"/>
                  </a:lnTo>
                  <a:lnTo>
                    <a:pt x="64" y="5"/>
                  </a:lnTo>
                  <a:lnTo>
                    <a:pt x="63" y="6"/>
                  </a:lnTo>
                  <a:lnTo>
                    <a:pt x="62" y="7"/>
                  </a:lnTo>
                  <a:lnTo>
                    <a:pt x="62" y="7"/>
                  </a:lnTo>
                  <a:lnTo>
                    <a:pt x="61" y="7"/>
                  </a:lnTo>
                  <a:lnTo>
                    <a:pt x="6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16" name="Freeform 1116"/>
            <p:cNvSpPr>
              <a:spLocks/>
            </p:cNvSpPr>
            <p:nvPr/>
          </p:nvSpPr>
          <p:spPr bwMode="auto">
            <a:xfrm>
              <a:off x="1640" y="816"/>
              <a:ext cx="66" cy="23"/>
            </a:xfrm>
            <a:custGeom>
              <a:avLst/>
              <a:gdLst>
                <a:gd name="T0" fmla="*/ 60 w 66"/>
                <a:gd name="T1" fmla="*/ 10 h 23"/>
                <a:gd name="T2" fmla="*/ 54 w 66"/>
                <a:gd name="T3" fmla="*/ 12 h 23"/>
                <a:gd name="T4" fmla="*/ 56 w 66"/>
                <a:gd name="T5" fmla="*/ 13 h 23"/>
                <a:gd name="T6" fmla="*/ 54 w 66"/>
                <a:gd name="T7" fmla="*/ 14 h 23"/>
                <a:gd name="T8" fmla="*/ 50 w 66"/>
                <a:gd name="T9" fmla="*/ 14 h 23"/>
                <a:gd name="T10" fmla="*/ 50 w 66"/>
                <a:gd name="T11" fmla="*/ 15 h 23"/>
                <a:gd name="T12" fmla="*/ 47 w 66"/>
                <a:gd name="T13" fmla="*/ 16 h 23"/>
                <a:gd name="T14" fmla="*/ 45 w 66"/>
                <a:gd name="T15" fmla="*/ 16 h 23"/>
                <a:gd name="T16" fmla="*/ 45 w 66"/>
                <a:gd name="T17" fmla="*/ 20 h 23"/>
                <a:gd name="T18" fmla="*/ 43 w 66"/>
                <a:gd name="T19" fmla="*/ 20 h 23"/>
                <a:gd name="T20" fmla="*/ 41 w 66"/>
                <a:gd name="T21" fmla="*/ 21 h 23"/>
                <a:gd name="T22" fmla="*/ 35 w 66"/>
                <a:gd name="T23" fmla="*/ 22 h 23"/>
                <a:gd name="T24" fmla="*/ 31 w 66"/>
                <a:gd name="T25" fmla="*/ 22 h 23"/>
                <a:gd name="T26" fmla="*/ 27 w 66"/>
                <a:gd name="T27" fmla="*/ 22 h 23"/>
                <a:gd name="T28" fmla="*/ 25 w 66"/>
                <a:gd name="T29" fmla="*/ 22 h 23"/>
                <a:gd name="T30" fmla="*/ 15 w 66"/>
                <a:gd name="T31" fmla="*/ 22 h 23"/>
                <a:gd name="T32" fmla="*/ 16 w 66"/>
                <a:gd name="T33" fmla="*/ 20 h 23"/>
                <a:gd name="T34" fmla="*/ 22 w 66"/>
                <a:gd name="T35" fmla="*/ 17 h 23"/>
                <a:gd name="T36" fmla="*/ 19 w 66"/>
                <a:gd name="T37" fmla="*/ 16 h 23"/>
                <a:gd name="T38" fmla="*/ 25 w 66"/>
                <a:gd name="T39" fmla="*/ 15 h 23"/>
                <a:gd name="T40" fmla="*/ 29 w 66"/>
                <a:gd name="T41" fmla="*/ 14 h 23"/>
                <a:gd name="T42" fmla="*/ 33 w 66"/>
                <a:gd name="T43" fmla="*/ 13 h 23"/>
                <a:gd name="T44" fmla="*/ 43 w 66"/>
                <a:gd name="T45" fmla="*/ 12 h 23"/>
                <a:gd name="T46" fmla="*/ 35 w 66"/>
                <a:gd name="T47" fmla="*/ 12 h 23"/>
                <a:gd name="T48" fmla="*/ 25 w 66"/>
                <a:gd name="T49" fmla="*/ 13 h 23"/>
                <a:gd name="T50" fmla="*/ 11 w 66"/>
                <a:gd name="T51" fmla="*/ 14 h 23"/>
                <a:gd name="T52" fmla="*/ 0 w 66"/>
                <a:gd name="T53" fmla="*/ 14 h 23"/>
                <a:gd name="T54" fmla="*/ 3 w 66"/>
                <a:gd name="T55" fmla="*/ 13 h 23"/>
                <a:gd name="T56" fmla="*/ 7 w 66"/>
                <a:gd name="T57" fmla="*/ 12 h 23"/>
                <a:gd name="T58" fmla="*/ 12 w 66"/>
                <a:gd name="T59" fmla="*/ 10 h 23"/>
                <a:gd name="T60" fmla="*/ 19 w 66"/>
                <a:gd name="T61" fmla="*/ 12 h 23"/>
                <a:gd name="T62" fmla="*/ 19 w 66"/>
                <a:gd name="T63" fmla="*/ 8 h 23"/>
                <a:gd name="T64" fmla="*/ 16 w 66"/>
                <a:gd name="T65" fmla="*/ 7 h 23"/>
                <a:gd name="T66" fmla="*/ 15 w 66"/>
                <a:gd name="T67" fmla="*/ 5 h 23"/>
                <a:gd name="T68" fmla="*/ 21 w 66"/>
                <a:gd name="T69" fmla="*/ 3 h 23"/>
                <a:gd name="T70" fmla="*/ 27 w 66"/>
                <a:gd name="T71" fmla="*/ 3 h 23"/>
                <a:gd name="T72" fmla="*/ 30 w 66"/>
                <a:gd name="T73" fmla="*/ 4 h 23"/>
                <a:gd name="T74" fmla="*/ 30 w 66"/>
                <a:gd name="T75" fmla="*/ 7 h 23"/>
                <a:gd name="T76" fmla="*/ 32 w 66"/>
                <a:gd name="T77" fmla="*/ 7 h 23"/>
                <a:gd name="T78" fmla="*/ 39 w 66"/>
                <a:gd name="T79" fmla="*/ 8 h 23"/>
                <a:gd name="T80" fmla="*/ 40 w 66"/>
                <a:gd name="T81" fmla="*/ 6 h 23"/>
                <a:gd name="T82" fmla="*/ 34 w 66"/>
                <a:gd name="T83" fmla="*/ 4 h 23"/>
                <a:gd name="T84" fmla="*/ 39 w 66"/>
                <a:gd name="T85" fmla="*/ 4 h 23"/>
                <a:gd name="T86" fmla="*/ 32 w 66"/>
                <a:gd name="T87" fmla="*/ 2 h 23"/>
                <a:gd name="T88" fmla="*/ 41 w 66"/>
                <a:gd name="T89" fmla="*/ 0 h 23"/>
                <a:gd name="T90" fmla="*/ 50 w 66"/>
                <a:gd name="T91" fmla="*/ 1 h 23"/>
                <a:gd name="T92" fmla="*/ 53 w 66"/>
                <a:gd name="T93" fmla="*/ 2 h 23"/>
                <a:gd name="T94" fmla="*/ 57 w 66"/>
                <a:gd name="T95" fmla="*/ 0 h 23"/>
                <a:gd name="T96" fmla="*/ 62 w 66"/>
                <a:gd name="T97" fmla="*/ 0 h 23"/>
                <a:gd name="T98" fmla="*/ 62 w 66"/>
                <a:gd name="T99" fmla="*/ 1 h 23"/>
                <a:gd name="T100" fmla="*/ 65 w 66"/>
                <a:gd name="T101" fmla="*/ 3 h 23"/>
                <a:gd name="T102" fmla="*/ 62 w 66"/>
                <a:gd name="T103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6" h="23">
                  <a:moveTo>
                    <a:pt x="60" y="8"/>
                  </a:moveTo>
                  <a:lnTo>
                    <a:pt x="60" y="8"/>
                  </a:lnTo>
                  <a:lnTo>
                    <a:pt x="60" y="8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58" y="11"/>
                  </a:lnTo>
                  <a:lnTo>
                    <a:pt x="55" y="11"/>
                  </a:lnTo>
                  <a:lnTo>
                    <a:pt x="54" y="12"/>
                  </a:lnTo>
                  <a:lnTo>
                    <a:pt x="57" y="12"/>
                  </a:lnTo>
                  <a:lnTo>
                    <a:pt x="58" y="12"/>
                  </a:lnTo>
                  <a:lnTo>
                    <a:pt x="57" y="13"/>
                  </a:lnTo>
                  <a:lnTo>
                    <a:pt x="56" y="13"/>
                  </a:lnTo>
                  <a:lnTo>
                    <a:pt x="54" y="15"/>
                  </a:lnTo>
                  <a:lnTo>
                    <a:pt x="53" y="16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3" y="14"/>
                  </a:lnTo>
                  <a:lnTo>
                    <a:pt x="52" y="14"/>
                  </a:lnTo>
                  <a:lnTo>
                    <a:pt x="51" y="14"/>
                  </a:lnTo>
                  <a:lnTo>
                    <a:pt x="50" y="14"/>
                  </a:lnTo>
                  <a:lnTo>
                    <a:pt x="51" y="14"/>
                  </a:lnTo>
                  <a:lnTo>
                    <a:pt x="51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8" y="15"/>
                  </a:lnTo>
                  <a:lnTo>
                    <a:pt x="47" y="15"/>
                  </a:lnTo>
                  <a:lnTo>
                    <a:pt x="48" y="16"/>
                  </a:lnTo>
                  <a:lnTo>
                    <a:pt x="47" y="16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7"/>
                  </a:lnTo>
                  <a:lnTo>
                    <a:pt x="45" y="16"/>
                  </a:lnTo>
                  <a:lnTo>
                    <a:pt x="43" y="17"/>
                  </a:lnTo>
                  <a:lnTo>
                    <a:pt x="43" y="18"/>
                  </a:lnTo>
                  <a:lnTo>
                    <a:pt x="44" y="17"/>
                  </a:lnTo>
                  <a:lnTo>
                    <a:pt x="45" y="20"/>
                  </a:lnTo>
                  <a:lnTo>
                    <a:pt x="45" y="21"/>
                  </a:lnTo>
                  <a:lnTo>
                    <a:pt x="44" y="21"/>
                  </a:lnTo>
                  <a:lnTo>
                    <a:pt x="43" y="21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2" y="20"/>
                  </a:lnTo>
                  <a:lnTo>
                    <a:pt x="41" y="20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3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2" y="22"/>
                  </a:lnTo>
                  <a:lnTo>
                    <a:pt x="31" y="22"/>
                  </a:lnTo>
                  <a:lnTo>
                    <a:pt x="30" y="22"/>
                  </a:lnTo>
                  <a:lnTo>
                    <a:pt x="27" y="22"/>
                  </a:lnTo>
                  <a:lnTo>
                    <a:pt x="29" y="22"/>
                  </a:lnTo>
                  <a:lnTo>
                    <a:pt x="27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6" y="21"/>
                  </a:lnTo>
                  <a:lnTo>
                    <a:pt x="22" y="23"/>
                  </a:lnTo>
                  <a:lnTo>
                    <a:pt x="17" y="23"/>
                  </a:lnTo>
                  <a:lnTo>
                    <a:pt x="15" y="22"/>
                  </a:lnTo>
                  <a:lnTo>
                    <a:pt x="14" y="22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1" y="20"/>
                  </a:lnTo>
                  <a:lnTo>
                    <a:pt x="22" y="18"/>
                  </a:lnTo>
                  <a:lnTo>
                    <a:pt x="20" y="18"/>
                  </a:lnTo>
                  <a:lnTo>
                    <a:pt x="22" y="17"/>
                  </a:lnTo>
                  <a:lnTo>
                    <a:pt x="17" y="18"/>
                  </a:lnTo>
                  <a:lnTo>
                    <a:pt x="17" y="17"/>
                  </a:lnTo>
                  <a:lnTo>
                    <a:pt x="21" y="16"/>
                  </a:lnTo>
                  <a:lnTo>
                    <a:pt x="19" y="16"/>
                  </a:lnTo>
                  <a:lnTo>
                    <a:pt x="23" y="16"/>
                  </a:lnTo>
                  <a:lnTo>
                    <a:pt x="24" y="16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25" y="15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30" y="14"/>
                  </a:lnTo>
                  <a:lnTo>
                    <a:pt x="33" y="14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41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1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3" y="12"/>
                  </a:lnTo>
                  <a:lnTo>
                    <a:pt x="31" y="12"/>
                  </a:lnTo>
                  <a:lnTo>
                    <a:pt x="26" y="13"/>
                  </a:lnTo>
                  <a:lnTo>
                    <a:pt x="25" y="13"/>
                  </a:lnTo>
                  <a:lnTo>
                    <a:pt x="17" y="14"/>
                  </a:lnTo>
                  <a:lnTo>
                    <a:pt x="14" y="14"/>
                  </a:lnTo>
                  <a:lnTo>
                    <a:pt x="12" y="14"/>
                  </a:lnTo>
                  <a:lnTo>
                    <a:pt x="11" y="14"/>
                  </a:lnTo>
                  <a:lnTo>
                    <a:pt x="9" y="14"/>
                  </a:lnTo>
                  <a:lnTo>
                    <a:pt x="3" y="14"/>
                  </a:lnTo>
                  <a:lnTo>
                    <a:pt x="1" y="15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4" y="12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7" y="12"/>
                  </a:lnTo>
                  <a:lnTo>
                    <a:pt x="9" y="12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2" y="10"/>
                  </a:lnTo>
                  <a:lnTo>
                    <a:pt x="13" y="10"/>
                  </a:lnTo>
                  <a:lnTo>
                    <a:pt x="15" y="11"/>
                  </a:lnTo>
                  <a:lnTo>
                    <a:pt x="15" y="12"/>
                  </a:lnTo>
                  <a:lnTo>
                    <a:pt x="19" y="12"/>
                  </a:lnTo>
                  <a:lnTo>
                    <a:pt x="19" y="11"/>
                  </a:lnTo>
                  <a:lnTo>
                    <a:pt x="20" y="11"/>
                  </a:lnTo>
                  <a:lnTo>
                    <a:pt x="17" y="10"/>
                  </a:lnTo>
                  <a:lnTo>
                    <a:pt x="19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15" y="8"/>
                  </a:lnTo>
                  <a:lnTo>
                    <a:pt x="16" y="7"/>
                  </a:lnTo>
                  <a:lnTo>
                    <a:pt x="15" y="7"/>
                  </a:lnTo>
                  <a:lnTo>
                    <a:pt x="16" y="6"/>
                  </a:lnTo>
                  <a:lnTo>
                    <a:pt x="19" y="5"/>
                  </a:lnTo>
                  <a:lnTo>
                    <a:pt x="15" y="5"/>
                  </a:lnTo>
                  <a:lnTo>
                    <a:pt x="16" y="5"/>
                  </a:lnTo>
                  <a:lnTo>
                    <a:pt x="17" y="4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6" y="3"/>
                  </a:lnTo>
                  <a:lnTo>
                    <a:pt x="27" y="3"/>
                  </a:lnTo>
                  <a:lnTo>
                    <a:pt x="29" y="3"/>
                  </a:lnTo>
                  <a:lnTo>
                    <a:pt x="27" y="3"/>
                  </a:lnTo>
                  <a:lnTo>
                    <a:pt x="29" y="3"/>
                  </a:lnTo>
                  <a:lnTo>
                    <a:pt x="30" y="4"/>
                  </a:lnTo>
                  <a:lnTo>
                    <a:pt x="27" y="5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7"/>
                  </a:lnTo>
                  <a:lnTo>
                    <a:pt x="31" y="6"/>
                  </a:lnTo>
                  <a:lnTo>
                    <a:pt x="32" y="7"/>
                  </a:lnTo>
                  <a:lnTo>
                    <a:pt x="31" y="7"/>
                  </a:lnTo>
                  <a:lnTo>
                    <a:pt x="32" y="7"/>
                  </a:lnTo>
                  <a:lnTo>
                    <a:pt x="34" y="8"/>
                  </a:lnTo>
                  <a:lnTo>
                    <a:pt x="36" y="8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36" y="8"/>
                  </a:lnTo>
                  <a:lnTo>
                    <a:pt x="36" y="7"/>
                  </a:lnTo>
                  <a:lnTo>
                    <a:pt x="36" y="6"/>
                  </a:lnTo>
                  <a:lnTo>
                    <a:pt x="40" y="6"/>
                  </a:lnTo>
                  <a:lnTo>
                    <a:pt x="39" y="5"/>
                  </a:lnTo>
                  <a:lnTo>
                    <a:pt x="34" y="5"/>
                  </a:lnTo>
                  <a:lnTo>
                    <a:pt x="33" y="5"/>
                  </a:lnTo>
                  <a:lnTo>
                    <a:pt x="34" y="4"/>
                  </a:lnTo>
                  <a:lnTo>
                    <a:pt x="36" y="5"/>
                  </a:lnTo>
                  <a:lnTo>
                    <a:pt x="37" y="4"/>
                  </a:lnTo>
                  <a:lnTo>
                    <a:pt x="40" y="4"/>
                  </a:lnTo>
                  <a:lnTo>
                    <a:pt x="39" y="4"/>
                  </a:lnTo>
                  <a:lnTo>
                    <a:pt x="37" y="3"/>
                  </a:lnTo>
                  <a:lnTo>
                    <a:pt x="34" y="3"/>
                  </a:lnTo>
                  <a:lnTo>
                    <a:pt x="33" y="3"/>
                  </a:lnTo>
                  <a:lnTo>
                    <a:pt x="32" y="2"/>
                  </a:lnTo>
                  <a:lnTo>
                    <a:pt x="33" y="2"/>
                  </a:lnTo>
                  <a:lnTo>
                    <a:pt x="35" y="1"/>
                  </a:lnTo>
                  <a:lnTo>
                    <a:pt x="36" y="1"/>
                  </a:lnTo>
                  <a:lnTo>
                    <a:pt x="41" y="0"/>
                  </a:lnTo>
                  <a:lnTo>
                    <a:pt x="45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0" y="1"/>
                  </a:lnTo>
                  <a:lnTo>
                    <a:pt x="54" y="1"/>
                  </a:lnTo>
                  <a:lnTo>
                    <a:pt x="53" y="2"/>
                  </a:lnTo>
                  <a:lnTo>
                    <a:pt x="52" y="2"/>
                  </a:lnTo>
                  <a:lnTo>
                    <a:pt x="53" y="2"/>
                  </a:lnTo>
                  <a:lnTo>
                    <a:pt x="55" y="2"/>
                  </a:lnTo>
                  <a:lnTo>
                    <a:pt x="56" y="2"/>
                  </a:lnTo>
                  <a:lnTo>
                    <a:pt x="56" y="1"/>
                  </a:lnTo>
                  <a:lnTo>
                    <a:pt x="57" y="0"/>
                  </a:lnTo>
                  <a:lnTo>
                    <a:pt x="60" y="1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62" y="0"/>
                  </a:lnTo>
                  <a:lnTo>
                    <a:pt x="63" y="0"/>
                  </a:lnTo>
                  <a:lnTo>
                    <a:pt x="64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5" y="1"/>
                  </a:lnTo>
                  <a:lnTo>
                    <a:pt x="66" y="2"/>
                  </a:lnTo>
                  <a:lnTo>
                    <a:pt x="66" y="3"/>
                  </a:lnTo>
                  <a:lnTo>
                    <a:pt x="65" y="3"/>
                  </a:lnTo>
                  <a:lnTo>
                    <a:pt x="64" y="4"/>
                  </a:lnTo>
                  <a:lnTo>
                    <a:pt x="64" y="5"/>
                  </a:lnTo>
                  <a:lnTo>
                    <a:pt x="63" y="6"/>
                  </a:lnTo>
                  <a:lnTo>
                    <a:pt x="62" y="7"/>
                  </a:lnTo>
                  <a:lnTo>
                    <a:pt x="62" y="7"/>
                  </a:lnTo>
                  <a:lnTo>
                    <a:pt x="61" y="7"/>
                  </a:lnTo>
                  <a:lnTo>
                    <a:pt x="60" y="8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17" name="Freeform 1117"/>
            <p:cNvSpPr>
              <a:spLocks/>
            </p:cNvSpPr>
            <p:nvPr/>
          </p:nvSpPr>
          <p:spPr bwMode="auto">
            <a:xfrm>
              <a:off x="1733" y="786"/>
              <a:ext cx="35" cy="15"/>
            </a:xfrm>
            <a:custGeom>
              <a:avLst/>
              <a:gdLst>
                <a:gd name="T0" fmla="*/ 23 w 35"/>
                <a:gd name="T1" fmla="*/ 12 h 15"/>
                <a:gd name="T2" fmla="*/ 12 w 35"/>
                <a:gd name="T3" fmla="*/ 13 h 15"/>
                <a:gd name="T4" fmla="*/ 6 w 35"/>
                <a:gd name="T5" fmla="*/ 13 h 15"/>
                <a:gd name="T6" fmla="*/ 8 w 35"/>
                <a:gd name="T7" fmla="*/ 14 h 15"/>
                <a:gd name="T8" fmla="*/ 4 w 35"/>
                <a:gd name="T9" fmla="*/ 15 h 15"/>
                <a:gd name="T10" fmla="*/ 1 w 35"/>
                <a:gd name="T11" fmla="*/ 14 h 15"/>
                <a:gd name="T12" fmla="*/ 0 w 35"/>
                <a:gd name="T13" fmla="*/ 11 h 15"/>
                <a:gd name="T14" fmla="*/ 9 w 35"/>
                <a:gd name="T15" fmla="*/ 10 h 15"/>
                <a:gd name="T16" fmla="*/ 10 w 35"/>
                <a:gd name="T17" fmla="*/ 10 h 15"/>
                <a:gd name="T18" fmla="*/ 6 w 35"/>
                <a:gd name="T19" fmla="*/ 8 h 15"/>
                <a:gd name="T20" fmla="*/ 2 w 35"/>
                <a:gd name="T21" fmla="*/ 8 h 15"/>
                <a:gd name="T22" fmla="*/ 3 w 35"/>
                <a:gd name="T23" fmla="*/ 7 h 15"/>
                <a:gd name="T24" fmla="*/ 2 w 35"/>
                <a:gd name="T25" fmla="*/ 7 h 15"/>
                <a:gd name="T26" fmla="*/ 3 w 35"/>
                <a:gd name="T27" fmla="*/ 5 h 15"/>
                <a:gd name="T28" fmla="*/ 2 w 35"/>
                <a:gd name="T29" fmla="*/ 4 h 15"/>
                <a:gd name="T30" fmla="*/ 5 w 35"/>
                <a:gd name="T31" fmla="*/ 3 h 15"/>
                <a:gd name="T32" fmla="*/ 5 w 35"/>
                <a:gd name="T33" fmla="*/ 2 h 15"/>
                <a:gd name="T34" fmla="*/ 5 w 35"/>
                <a:gd name="T35" fmla="*/ 2 h 15"/>
                <a:gd name="T36" fmla="*/ 8 w 35"/>
                <a:gd name="T37" fmla="*/ 1 h 15"/>
                <a:gd name="T38" fmla="*/ 12 w 35"/>
                <a:gd name="T39" fmla="*/ 0 h 15"/>
                <a:gd name="T40" fmla="*/ 22 w 35"/>
                <a:gd name="T41" fmla="*/ 2 h 15"/>
                <a:gd name="T42" fmla="*/ 26 w 35"/>
                <a:gd name="T43" fmla="*/ 2 h 15"/>
                <a:gd name="T44" fmla="*/ 28 w 35"/>
                <a:gd name="T45" fmla="*/ 3 h 15"/>
                <a:gd name="T46" fmla="*/ 25 w 35"/>
                <a:gd name="T47" fmla="*/ 4 h 15"/>
                <a:gd name="T48" fmla="*/ 28 w 35"/>
                <a:gd name="T49" fmla="*/ 4 h 15"/>
                <a:gd name="T50" fmla="*/ 34 w 35"/>
                <a:gd name="T51" fmla="*/ 5 h 15"/>
                <a:gd name="T52" fmla="*/ 35 w 35"/>
                <a:gd name="T53" fmla="*/ 6 h 15"/>
                <a:gd name="T54" fmla="*/ 32 w 35"/>
                <a:gd name="T55" fmla="*/ 7 h 15"/>
                <a:gd name="T56" fmla="*/ 29 w 35"/>
                <a:gd name="T57" fmla="*/ 10 h 15"/>
                <a:gd name="T58" fmla="*/ 30 w 35"/>
                <a:gd name="T59" fmla="*/ 11 h 15"/>
                <a:gd name="T60" fmla="*/ 29 w 35"/>
                <a:gd name="T61" fmla="*/ 12 h 15"/>
                <a:gd name="T62" fmla="*/ 26 w 35"/>
                <a:gd name="T63" fmla="*/ 13 h 15"/>
                <a:gd name="T64" fmla="*/ 25 w 35"/>
                <a:gd name="T65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5" h="15">
                  <a:moveTo>
                    <a:pt x="25" y="12"/>
                  </a:moveTo>
                  <a:lnTo>
                    <a:pt x="23" y="12"/>
                  </a:lnTo>
                  <a:lnTo>
                    <a:pt x="14" y="13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6" y="13"/>
                  </a:lnTo>
                  <a:lnTo>
                    <a:pt x="8" y="13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4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4" y="13"/>
                  </a:lnTo>
                  <a:lnTo>
                    <a:pt x="0" y="11"/>
                  </a:lnTo>
                  <a:lnTo>
                    <a:pt x="1" y="10"/>
                  </a:lnTo>
                  <a:lnTo>
                    <a:pt x="9" y="10"/>
                  </a:lnTo>
                  <a:lnTo>
                    <a:pt x="11" y="10"/>
                  </a:lnTo>
                  <a:lnTo>
                    <a:pt x="10" y="10"/>
                  </a:lnTo>
                  <a:lnTo>
                    <a:pt x="11" y="8"/>
                  </a:lnTo>
                  <a:lnTo>
                    <a:pt x="6" y="8"/>
                  </a:lnTo>
                  <a:lnTo>
                    <a:pt x="4" y="8"/>
                  </a:lnTo>
                  <a:lnTo>
                    <a:pt x="2" y="8"/>
                  </a:lnTo>
                  <a:lnTo>
                    <a:pt x="1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2" y="7"/>
                  </a:lnTo>
                  <a:lnTo>
                    <a:pt x="2" y="6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4" y="4"/>
                  </a:lnTo>
                  <a:lnTo>
                    <a:pt x="5" y="3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6" y="1"/>
                  </a:lnTo>
                  <a:lnTo>
                    <a:pt x="8" y="1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6" y="2"/>
                  </a:lnTo>
                  <a:lnTo>
                    <a:pt x="28" y="2"/>
                  </a:lnTo>
                  <a:lnTo>
                    <a:pt x="28" y="3"/>
                  </a:lnTo>
                  <a:lnTo>
                    <a:pt x="26" y="3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1" y="4"/>
                  </a:lnTo>
                  <a:lnTo>
                    <a:pt x="34" y="5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4" y="7"/>
                  </a:lnTo>
                  <a:lnTo>
                    <a:pt x="32" y="7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29" y="12"/>
                  </a:lnTo>
                  <a:lnTo>
                    <a:pt x="26" y="12"/>
                  </a:lnTo>
                  <a:lnTo>
                    <a:pt x="26" y="13"/>
                  </a:lnTo>
                  <a:lnTo>
                    <a:pt x="25" y="13"/>
                  </a:lnTo>
                  <a:lnTo>
                    <a:pt x="25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18" name="Freeform 1118"/>
            <p:cNvSpPr>
              <a:spLocks/>
            </p:cNvSpPr>
            <p:nvPr/>
          </p:nvSpPr>
          <p:spPr bwMode="auto">
            <a:xfrm>
              <a:off x="1733" y="786"/>
              <a:ext cx="35" cy="15"/>
            </a:xfrm>
            <a:custGeom>
              <a:avLst/>
              <a:gdLst>
                <a:gd name="T0" fmla="*/ 23 w 35"/>
                <a:gd name="T1" fmla="*/ 12 h 15"/>
                <a:gd name="T2" fmla="*/ 12 w 35"/>
                <a:gd name="T3" fmla="*/ 13 h 15"/>
                <a:gd name="T4" fmla="*/ 6 w 35"/>
                <a:gd name="T5" fmla="*/ 13 h 15"/>
                <a:gd name="T6" fmla="*/ 8 w 35"/>
                <a:gd name="T7" fmla="*/ 14 h 15"/>
                <a:gd name="T8" fmla="*/ 4 w 35"/>
                <a:gd name="T9" fmla="*/ 15 h 15"/>
                <a:gd name="T10" fmla="*/ 1 w 35"/>
                <a:gd name="T11" fmla="*/ 14 h 15"/>
                <a:gd name="T12" fmla="*/ 0 w 35"/>
                <a:gd name="T13" fmla="*/ 11 h 15"/>
                <a:gd name="T14" fmla="*/ 9 w 35"/>
                <a:gd name="T15" fmla="*/ 10 h 15"/>
                <a:gd name="T16" fmla="*/ 10 w 35"/>
                <a:gd name="T17" fmla="*/ 10 h 15"/>
                <a:gd name="T18" fmla="*/ 6 w 35"/>
                <a:gd name="T19" fmla="*/ 8 h 15"/>
                <a:gd name="T20" fmla="*/ 2 w 35"/>
                <a:gd name="T21" fmla="*/ 8 h 15"/>
                <a:gd name="T22" fmla="*/ 3 w 35"/>
                <a:gd name="T23" fmla="*/ 7 h 15"/>
                <a:gd name="T24" fmla="*/ 2 w 35"/>
                <a:gd name="T25" fmla="*/ 7 h 15"/>
                <a:gd name="T26" fmla="*/ 3 w 35"/>
                <a:gd name="T27" fmla="*/ 5 h 15"/>
                <a:gd name="T28" fmla="*/ 2 w 35"/>
                <a:gd name="T29" fmla="*/ 4 h 15"/>
                <a:gd name="T30" fmla="*/ 5 w 35"/>
                <a:gd name="T31" fmla="*/ 3 h 15"/>
                <a:gd name="T32" fmla="*/ 5 w 35"/>
                <a:gd name="T33" fmla="*/ 2 h 15"/>
                <a:gd name="T34" fmla="*/ 5 w 35"/>
                <a:gd name="T35" fmla="*/ 2 h 15"/>
                <a:gd name="T36" fmla="*/ 8 w 35"/>
                <a:gd name="T37" fmla="*/ 1 h 15"/>
                <a:gd name="T38" fmla="*/ 12 w 35"/>
                <a:gd name="T39" fmla="*/ 0 h 15"/>
                <a:gd name="T40" fmla="*/ 22 w 35"/>
                <a:gd name="T41" fmla="*/ 2 h 15"/>
                <a:gd name="T42" fmla="*/ 26 w 35"/>
                <a:gd name="T43" fmla="*/ 2 h 15"/>
                <a:gd name="T44" fmla="*/ 28 w 35"/>
                <a:gd name="T45" fmla="*/ 3 h 15"/>
                <a:gd name="T46" fmla="*/ 25 w 35"/>
                <a:gd name="T47" fmla="*/ 4 h 15"/>
                <a:gd name="T48" fmla="*/ 28 w 35"/>
                <a:gd name="T49" fmla="*/ 4 h 15"/>
                <a:gd name="T50" fmla="*/ 34 w 35"/>
                <a:gd name="T51" fmla="*/ 5 h 15"/>
                <a:gd name="T52" fmla="*/ 35 w 35"/>
                <a:gd name="T53" fmla="*/ 6 h 15"/>
                <a:gd name="T54" fmla="*/ 32 w 35"/>
                <a:gd name="T55" fmla="*/ 7 h 15"/>
                <a:gd name="T56" fmla="*/ 29 w 35"/>
                <a:gd name="T57" fmla="*/ 10 h 15"/>
                <a:gd name="T58" fmla="*/ 30 w 35"/>
                <a:gd name="T59" fmla="*/ 11 h 15"/>
                <a:gd name="T60" fmla="*/ 29 w 35"/>
                <a:gd name="T61" fmla="*/ 12 h 15"/>
                <a:gd name="T62" fmla="*/ 26 w 35"/>
                <a:gd name="T63" fmla="*/ 13 h 15"/>
                <a:gd name="T64" fmla="*/ 25 w 35"/>
                <a:gd name="T65" fmla="*/ 1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5" h="15">
                  <a:moveTo>
                    <a:pt x="25" y="12"/>
                  </a:moveTo>
                  <a:lnTo>
                    <a:pt x="23" y="12"/>
                  </a:lnTo>
                  <a:lnTo>
                    <a:pt x="14" y="13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6" y="13"/>
                  </a:lnTo>
                  <a:lnTo>
                    <a:pt x="8" y="13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4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4" y="13"/>
                  </a:lnTo>
                  <a:lnTo>
                    <a:pt x="0" y="11"/>
                  </a:lnTo>
                  <a:lnTo>
                    <a:pt x="1" y="10"/>
                  </a:lnTo>
                  <a:lnTo>
                    <a:pt x="9" y="10"/>
                  </a:lnTo>
                  <a:lnTo>
                    <a:pt x="11" y="10"/>
                  </a:lnTo>
                  <a:lnTo>
                    <a:pt x="10" y="10"/>
                  </a:lnTo>
                  <a:lnTo>
                    <a:pt x="11" y="8"/>
                  </a:lnTo>
                  <a:lnTo>
                    <a:pt x="6" y="8"/>
                  </a:lnTo>
                  <a:lnTo>
                    <a:pt x="4" y="8"/>
                  </a:lnTo>
                  <a:lnTo>
                    <a:pt x="2" y="8"/>
                  </a:lnTo>
                  <a:lnTo>
                    <a:pt x="1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2" y="7"/>
                  </a:lnTo>
                  <a:lnTo>
                    <a:pt x="2" y="6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4" y="4"/>
                  </a:lnTo>
                  <a:lnTo>
                    <a:pt x="5" y="3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6" y="1"/>
                  </a:lnTo>
                  <a:lnTo>
                    <a:pt x="8" y="1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4" y="2"/>
                  </a:lnTo>
                  <a:lnTo>
                    <a:pt x="26" y="2"/>
                  </a:lnTo>
                  <a:lnTo>
                    <a:pt x="28" y="2"/>
                  </a:lnTo>
                  <a:lnTo>
                    <a:pt x="28" y="3"/>
                  </a:lnTo>
                  <a:lnTo>
                    <a:pt x="26" y="3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1" y="4"/>
                  </a:lnTo>
                  <a:lnTo>
                    <a:pt x="34" y="5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4" y="7"/>
                  </a:lnTo>
                  <a:lnTo>
                    <a:pt x="32" y="7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29" y="12"/>
                  </a:lnTo>
                  <a:lnTo>
                    <a:pt x="26" y="12"/>
                  </a:lnTo>
                  <a:lnTo>
                    <a:pt x="26" y="13"/>
                  </a:lnTo>
                  <a:lnTo>
                    <a:pt x="25" y="13"/>
                  </a:lnTo>
                  <a:lnTo>
                    <a:pt x="25" y="12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19" name="Freeform 1119"/>
            <p:cNvSpPr>
              <a:spLocks/>
            </p:cNvSpPr>
            <p:nvPr/>
          </p:nvSpPr>
          <p:spPr bwMode="auto">
            <a:xfrm>
              <a:off x="1664" y="780"/>
              <a:ext cx="59" cy="20"/>
            </a:xfrm>
            <a:custGeom>
              <a:avLst/>
              <a:gdLst>
                <a:gd name="T0" fmla="*/ 57 w 59"/>
                <a:gd name="T1" fmla="*/ 9 h 20"/>
                <a:gd name="T2" fmla="*/ 59 w 59"/>
                <a:gd name="T3" fmla="*/ 9 h 20"/>
                <a:gd name="T4" fmla="*/ 57 w 59"/>
                <a:gd name="T5" fmla="*/ 10 h 20"/>
                <a:gd name="T6" fmla="*/ 51 w 59"/>
                <a:gd name="T7" fmla="*/ 12 h 20"/>
                <a:gd name="T8" fmla="*/ 56 w 59"/>
                <a:gd name="T9" fmla="*/ 17 h 20"/>
                <a:gd name="T10" fmla="*/ 50 w 59"/>
                <a:gd name="T11" fmla="*/ 19 h 20"/>
                <a:gd name="T12" fmla="*/ 42 w 59"/>
                <a:gd name="T13" fmla="*/ 20 h 20"/>
                <a:gd name="T14" fmla="*/ 38 w 59"/>
                <a:gd name="T15" fmla="*/ 20 h 20"/>
                <a:gd name="T16" fmla="*/ 36 w 59"/>
                <a:gd name="T17" fmla="*/ 17 h 20"/>
                <a:gd name="T18" fmla="*/ 37 w 59"/>
                <a:gd name="T19" fmla="*/ 14 h 20"/>
                <a:gd name="T20" fmla="*/ 32 w 59"/>
                <a:gd name="T21" fmla="*/ 14 h 20"/>
                <a:gd name="T22" fmla="*/ 29 w 59"/>
                <a:gd name="T23" fmla="*/ 13 h 20"/>
                <a:gd name="T24" fmla="*/ 22 w 59"/>
                <a:gd name="T25" fmla="*/ 13 h 20"/>
                <a:gd name="T26" fmla="*/ 21 w 59"/>
                <a:gd name="T27" fmla="*/ 12 h 20"/>
                <a:gd name="T28" fmla="*/ 11 w 59"/>
                <a:gd name="T29" fmla="*/ 13 h 20"/>
                <a:gd name="T30" fmla="*/ 1 w 59"/>
                <a:gd name="T31" fmla="*/ 13 h 20"/>
                <a:gd name="T32" fmla="*/ 2 w 59"/>
                <a:gd name="T33" fmla="*/ 10 h 20"/>
                <a:gd name="T34" fmla="*/ 11 w 59"/>
                <a:gd name="T35" fmla="*/ 11 h 20"/>
                <a:gd name="T36" fmla="*/ 19 w 59"/>
                <a:gd name="T37" fmla="*/ 10 h 20"/>
                <a:gd name="T38" fmla="*/ 19 w 59"/>
                <a:gd name="T39" fmla="*/ 9 h 20"/>
                <a:gd name="T40" fmla="*/ 18 w 59"/>
                <a:gd name="T41" fmla="*/ 8 h 20"/>
                <a:gd name="T42" fmla="*/ 16 w 59"/>
                <a:gd name="T43" fmla="*/ 8 h 20"/>
                <a:gd name="T44" fmla="*/ 17 w 59"/>
                <a:gd name="T45" fmla="*/ 7 h 20"/>
                <a:gd name="T46" fmla="*/ 19 w 59"/>
                <a:gd name="T47" fmla="*/ 4 h 20"/>
                <a:gd name="T48" fmla="*/ 16 w 59"/>
                <a:gd name="T49" fmla="*/ 4 h 20"/>
                <a:gd name="T50" fmla="*/ 7 w 59"/>
                <a:gd name="T51" fmla="*/ 7 h 20"/>
                <a:gd name="T52" fmla="*/ 12 w 59"/>
                <a:gd name="T53" fmla="*/ 4 h 20"/>
                <a:gd name="T54" fmla="*/ 6 w 59"/>
                <a:gd name="T55" fmla="*/ 4 h 20"/>
                <a:gd name="T56" fmla="*/ 6 w 59"/>
                <a:gd name="T57" fmla="*/ 2 h 20"/>
                <a:gd name="T58" fmla="*/ 12 w 59"/>
                <a:gd name="T59" fmla="*/ 1 h 20"/>
                <a:gd name="T60" fmla="*/ 27 w 59"/>
                <a:gd name="T61" fmla="*/ 0 h 20"/>
                <a:gd name="T62" fmla="*/ 27 w 59"/>
                <a:gd name="T63" fmla="*/ 1 h 20"/>
                <a:gd name="T64" fmla="*/ 32 w 59"/>
                <a:gd name="T65" fmla="*/ 1 h 20"/>
                <a:gd name="T66" fmla="*/ 30 w 59"/>
                <a:gd name="T67" fmla="*/ 4 h 20"/>
                <a:gd name="T68" fmla="*/ 33 w 59"/>
                <a:gd name="T69" fmla="*/ 2 h 20"/>
                <a:gd name="T70" fmla="*/ 42 w 59"/>
                <a:gd name="T71" fmla="*/ 2 h 20"/>
                <a:gd name="T72" fmla="*/ 43 w 59"/>
                <a:gd name="T73" fmla="*/ 3 h 20"/>
                <a:gd name="T74" fmla="*/ 46 w 59"/>
                <a:gd name="T75" fmla="*/ 3 h 20"/>
                <a:gd name="T76" fmla="*/ 44 w 59"/>
                <a:gd name="T77" fmla="*/ 6 h 20"/>
                <a:gd name="T78" fmla="*/ 44 w 59"/>
                <a:gd name="T79" fmla="*/ 6 h 20"/>
                <a:gd name="T80" fmla="*/ 50 w 59"/>
                <a:gd name="T81" fmla="*/ 6 h 20"/>
                <a:gd name="T82" fmla="*/ 56 w 59"/>
                <a:gd name="T83" fmla="*/ 7 h 20"/>
                <a:gd name="T84" fmla="*/ 57 w 59"/>
                <a:gd name="T85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9" h="20">
                  <a:moveTo>
                    <a:pt x="57" y="8"/>
                  </a:moveTo>
                  <a:lnTo>
                    <a:pt x="56" y="8"/>
                  </a:lnTo>
                  <a:lnTo>
                    <a:pt x="57" y="9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7" y="9"/>
                  </a:lnTo>
                  <a:lnTo>
                    <a:pt x="57" y="10"/>
                  </a:lnTo>
                  <a:lnTo>
                    <a:pt x="53" y="11"/>
                  </a:lnTo>
                  <a:lnTo>
                    <a:pt x="52" y="12"/>
                  </a:lnTo>
                  <a:lnTo>
                    <a:pt x="51" y="12"/>
                  </a:lnTo>
                  <a:lnTo>
                    <a:pt x="53" y="12"/>
                  </a:lnTo>
                  <a:lnTo>
                    <a:pt x="53" y="13"/>
                  </a:lnTo>
                  <a:lnTo>
                    <a:pt x="56" y="17"/>
                  </a:lnTo>
                  <a:lnTo>
                    <a:pt x="52" y="18"/>
                  </a:lnTo>
                  <a:lnTo>
                    <a:pt x="52" y="19"/>
                  </a:lnTo>
                  <a:lnTo>
                    <a:pt x="50" y="19"/>
                  </a:lnTo>
                  <a:lnTo>
                    <a:pt x="47" y="19"/>
                  </a:lnTo>
                  <a:lnTo>
                    <a:pt x="44" y="19"/>
                  </a:lnTo>
                  <a:lnTo>
                    <a:pt x="42" y="20"/>
                  </a:lnTo>
                  <a:lnTo>
                    <a:pt x="41" y="20"/>
                  </a:lnTo>
                  <a:lnTo>
                    <a:pt x="39" y="19"/>
                  </a:lnTo>
                  <a:lnTo>
                    <a:pt x="38" y="20"/>
                  </a:lnTo>
                  <a:lnTo>
                    <a:pt x="36" y="19"/>
                  </a:lnTo>
                  <a:lnTo>
                    <a:pt x="37" y="18"/>
                  </a:lnTo>
                  <a:lnTo>
                    <a:pt x="36" y="17"/>
                  </a:lnTo>
                  <a:lnTo>
                    <a:pt x="38" y="16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6" y="14"/>
                  </a:lnTo>
                  <a:lnTo>
                    <a:pt x="32" y="14"/>
                  </a:lnTo>
                  <a:lnTo>
                    <a:pt x="33" y="14"/>
                  </a:lnTo>
                  <a:lnTo>
                    <a:pt x="33" y="13"/>
                  </a:lnTo>
                  <a:lnTo>
                    <a:pt x="29" y="13"/>
                  </a:lnTo>
                  <a:lnTo>
                    <a:pt x="26" y="13"/>
                  </a:lnTo>
                  <a:lnTo>
                    <a:pt x="23" y="13"/>
                  </a:lnTo>
                  <a:lnTo>
                    <a:pt x="22" y="13"/>
                  </a:lnTo>
                  <a:lnTo>
                    <a:pt x="20" y="13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15" y="13"/>
                  </a:lnTo>
                  <a:lnTo>
                    <a:pt x="13" y="13"/>
                  </a:lnTo>
                  <a:lnTo>
                    <a:pt x="11" y="13"/>
                  </a:lnTo>
                  <a:lnTo>
                    <a:pt x="9" y="14"/>
                  </a:lnTo>
                  <a:lnTo>
                    <a:pt x="5" y="14"/>
                  </a:lnTo>
                  <a:lnTo>
                    <a:pt x="1" y="13"/>
                  </a:lnTo>
                  <a:lnTo>
                    <a:pt x="0" y="12"/>
                  </a:lnTo>
                  <a:lnTo>
                    <a:pt x="1" y="11"/>
                  </a:lnTo>
                  <a:lnTo>
                    <a:pt x="2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11" y="11"/>
                  </a:lnTo>
                  <a:lnTo>
                    <a:pt x="16" y="11"/>
                  </a:lnTo>
                  <a:lnTo>
                    <a:pt x="18" y="10"/>
                  </a:lnTo>
                  <a:lnTo>
                    <a:pt x="19" y="10"/>
                  </a:lnTo>
                  <a:lnTo>
                    <a:pt x="13" y="9"/>
                  </a:lnTo>
                  <a:lnTo>
                    <a:pt x="15" y="9"/>
                  </a:lnTo>
                  <a:lnTo>
                    <a:pt x="19" y="9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18" y="8"/>
                  </a:lnTo>
                  <a:lnTo>
                    <a:pt x="18" y="7"/>
                  </a:lnTo>
                  <a:lnTo>
                    <a:pt x="17" y="7"/>
                  </a:lnTo>
                  <a:lnTo>
                    <a:pt x="16" y="8"/>
                  </a:lnTo>
                  <a:lnTo>
                    <a:pt x="15" y="8"/>
                  </a:lnTo>
                  <a:lnTo>
                    <a:pt x="15" y="7"/>
                  </a:lnTo>
                  <a:lnTo>
                    <a:pt x="17" y="7"/>
                  </a:lnTo>
                  <a:lnTo>
                    <a:pt x="18" y="6"/>
                  </a:lnTo>
                  <a:lnTo>
                    <a:pt x="19" y="6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6" y="4"/>
                  </a:lnTo>
                  <a:lnTo>
                    <a:pt x="15" y="6"/>
                  </a:lnTo>
                  <a:lnTo>
                    <a:pt x="10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8" y="7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1" y="4"/>
                  </a:lnTo>
                  <a:lnTo>
                    <a:pt x="6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6" y="2"/>
                  </a:lnTo>
                  <a:lnTo>
                    <a:pt x="10" y="1"/>
                  </a:lnTo>
                  <a:lnTo>
                    <a:pt x="10" y="0"/>
                  </a:lnTo>
                  <a:lnTo>
                    <a:pt x="12" y="1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7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7" y="1"/>
                  </a:lnTo>
                  <a:lnTo>
                    <a:pt x="30" y="1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3" y="2"/>
                  </a:lnTo>
                  <a:lnTo>
                    <a:pt x="38" y="2"/>
                  </a:lnTo>
                  <a:lnTo>
                    <a:pt x="39" y="1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4" y="3"/>
                  </a:lnTo>
                  <a:lnTo>
                    <a:pt x="46" y="3"/>
                  </a:lnTo>
                  <a:lnTo>
                    <a:pt x="47" y="3"/>
                  </a:lnTo>
                  <a:lnTo>
                    <a:pt x="47" y="4"/>
                  </a:lnTo>
                  <a:lnTo>
                    <a:pt x="44" y="6"/>
                  </a:lnTo>
                  <a:lnTo>
                    <a:pt x="43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7" y="6"/>
                  </a:lnTo>
                  <a:lnTo>
                    <a:pt x="50" y="6"/>
                  </a:lnTo>
                  <a:lnTo>
                    <a:pt x="51" y="6"/>
                  </a:lnTo>
                  <a:lnTo>
                    <a:pt x="56" y="6"/>
                  </a:lnTo>
                  <a:lnTo>
                    <a:pt x="56" y="7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7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20" name="Freeform 1120"/>
            <p:cNvSpPr>
              <a:spLocks/>
            </p:cNvSpPr>
            <p:nvPr/>
          </p:nvSpPr>
          <p:spPr bwMode="auto">
            <a:xfrm>
              <a:off x="1664" y="780"/>
              <a:ext cx="59" cy="20"/>
            </a:xfrm>
            <a:custGeom>
              <a:avLst/>
              <a:gdLst>
                <a:gd name="T0" fmla="*/ 57 w 59"/>
                <a:gd name="T1" fmla="*/ 9 h 20"/>
                <a:gd name="T2" fmla="*/ 59 w 59"/>
                <a:gd name="T3" fmla="*/ 9 h 20"/>
                <a:gd name="T4" fmla="*/ 57 w 59"/>
                <a:gd name="T5" fmla="*/ 10 h 20"/>
                <a:gd name="T6" fmla="*/ 51 w 59"/>
                <a:gd name="T7" fmla="*/ 12 h 20"/>
                <a:gd name="T8" fmla="*/ 56 w 59"/>
                <a:gd name="T9" fmla="*/ 17 h 20"/>
                <a:gd name="T10" fmla="*/ 50 w 59"/>
                <a:gd name="T11" fmla="*/ 19 h 20"/>
                <a:gd name="T12" fmla="*/ 42 w 59"/>
                <a:gd name="T13" fmla="*/ 20 h 20"/>
                <a:gd name="T14" fmla="*/ 38 w 59"/>
                <a:gd name="T15" fmla="*/ 20 h 20"/>
                <a:gd name="T16" fmla="*/ 36 w 59"/>
                <a:gd name="T17" fmla="*/ 17 h 20"/>
                <a:gd name="T18" fmla="*/ 37 w 59"/>
                <a:gd name="T19" fmla="*/ 14 h 20"/>
                <a:gd name="T20" fmla="*/ 32 w 59"/>
                <a:gd name="T21" fmla="*/ 14 h 20"/>
                <a:gd name="T22" fmla="*/ 29 w 59"/>
                <a:gd name="T23" fmla="*/ 13 h 20"/>
                <a:gd name="T24" fmla="*/ 22 w 59"/>
                <a:gd name="T25" fmla="*/ 13 h 20"/>
                <a:gd name="T26" fmla="*/ 21 w 59"/>
                <a:gd name="T27" fmla="*/ 12 h 20"/>
                <a:gd name="T28" fmla="*/ 11 w 59"/>
                <a:gd name="T29" fmla="*/ 13 h 20"/>
                <a:gd name="T30" fmla="*/ 1 w 59"/>
                <a:gd name="T31" fmla="*/ 13 h 20"/>
                <a:gd name="T32" fmla="*/ 2 w 59"/>
                <a:gd name="T33" fmla="*/ 10 h 20"/>
                <a:gd name="T34" fmla="*/ 11 w 59"/>
                <a:gd name="T35" fmla="*/ 11 h 20"/>
                <a:gd name="T36" fmla="*/ 19 w 59"/>
                <a:gd name="T37" fmla="*/ 10 h 20"/>
                <a:gd name="T38" fmla="*/ 19 w 59"/>
                <a:gd name="T39" fmla="*/ 9 h 20"/>
                <a:gd name="T40" fmla="*/ 18 w 59"/>
                <a:gd name="T41" fmla="*/ 8 h 20"/>
                <a:gd name="T42" fmla="*/ 16 w 59"/>
                <a:gd name="T43" fmla="*/ 8 h 20"/>
                <a:gd name="T44" fmla="*/ 17 w 59"/>
                <a:gd name="T45" fmla="*/ 7 h 20"/>
                <a:gd name="T46" fmla="*/ 19 w 59"/>
                <a:gd name="T47" fmla="*/ 4 h 20"/>
                <a:gd name="T48" fmla="*/ 16 w 59"/>
                <a:gd name="T49" fmla="*/ 4 h 20"/>
                <a:gd name="T50" fmla="*/ 7 w 59"/>
                <a:gd name="T51" fmla="*/ 7 h 20"/>
                <a:gd name="T52" fmla="*/ 12 w 59"/>
                <a:gd name="T53" fmla="*/ 4 h 20"/>
                <a:gd name="T54" fmla="*/ 6 w 59"/>
                <a:gd name="T55" fmla="*/ 4 h 20"/>
                <a:gd name="T56" fmla="*/ 6 w 59"/>
                <a:gd name="T57" fmla="*/ 2 h 20"/>
                <a:gd name="T58" fmla="*/ 12 w 59"/>
                <a:gd name="T59" fmla="*/ 1 h 20"/>
                <a:gd name="T60" fmla="*/ 27 w 59"/>
                <a:gd name="T61" fmla="*/ 0 h 20"/>
                <a:gd name="T62" fmla="*/ 27 w 59"/>
                <a:gd name="T63" fmla="*/ 1 h 20"/>
                <a:gd name="T64" fmla="*/ 32 w 59"/>
                <a:gd name="T65" fmla="*/ 1 h 20"/>
                <a:gd name="T66" fmla="*/ 30 w 59"/>
                <a:gd name="T67" fmla="*/ 4 h 20"/>
                <a:gd name="T68" fmla="*/ 33 w 59"/>
                <a:gd name="T69" fmla="*/ 2 h 20"/>
                <a:gd name="T70" fmla="*/ 42 w 59"/>
                <a:gd name="T71" fmla="*/ 2 h 20"/>
                <a:gd name="T72" fmla="*/ 43 w 59"/>
                <a:gd name="T73" fmla="*/ 3 h 20"/>
                <a:gd name="T74" fmla="*/ 46 w 59"/>
                <a:gd name="T75" fmla="*/ 3 h 20"/>
                <a:gd name="T76" fmla="*/ 44 w 59"/>
                <a:gd name="T77" fmla="*/ 6 h 20"/>
                <a:gd name="T78" fmla="*/ 44 w 59"/>
                <a:gd name="T79" fmla="*/ 6 h 20"/>
                <a:gd name="T80" fmla="*/ 50 w 59"/>
                <a:gd name="T81" fmla="*/ 6 h 20"/>
                <a:gd name="T82" fmla="*/ 56 w 59"/>
                <a:gd name="T83" fmla="*/ 7 h 20"/>
                <a:gd name="T84" fmla="*/ 57 w 59"/>
                <a:gd name="T85" fmla="*/ 8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9" h="20">
                  <a:moveTo>
                    <a:pt x="57" y="8"/>
                  </a:moveTo>
                  <a:lnTo>
                    <a:pt x="56" y="8"/>
                  </a:lnTo>
                  <a:lnTo>
                    <a:pt x="57" y="9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7" y="9"/>
                  </a:lnTo>
                  <a:lnTo>
                    <a:pt x="57" y="10"/>
                  </a:lnTo>
                  <a:lnTo>
                    <a:pt x="53" y="11"/>
                  </a:lnTo>
                  <a:lnTo>
                    <a:pt x="52" y="12"/>
                  </a:lnTo>
                  <a:lnTo>
                    <a:pt x="51" y="12"/>
                  </a:lnTo>
                  <a:lnTo>
                    <a:pt x="53" y="12"/>
                  </a:lnTo>
                  <a:lnTo>
                    <a:pt x="53" y="13"/>
                  </a:lnTo>
                  <a:lnTo>
                    <a:pt x="56" y="17"/>
                  </a:lnTo>
                  <a:lnTo>
                    <a:pt x="52" y="18"/>
                  </a:lnTo>
                  <a:lnTo>
                    <a:pt x="52" y="19"/>
                  </a:lnTo>
                  <a:lnTo>
                    <a:pt x="50" y="19"/>
                  </a:lnTo>
                  <a:lnTo>
                    <a:pt x="47" y="19"/>
                  </a:lnTo>
                  <a:lnTo>
                    <a:pt x="44" y="19"/>
                  </a:lnTo>
                  <a:lnTo>
                    <a:pt x="42" y="20"/>
                  </a:lnTo>
                  <a:lnTo>
                    <a:pt x="41" y="20"/>
                  </a:lnTo>
                  <a:lnTo>
                    <a:pt x="39" y="19"/>
                  </a:lnTo>
                  <a:lnTo>
                    <a:pt x="38" y="20"/>
                  </a:lnTo>
                  <a:lnTo>
                    <a:pt x="36" y="19"/>
                  </a:lnTo>
                  <a:lnTo>
                    <a:pt x="37" y="18"/>
                  </a:lnTo>
                  <a:lnTo>
                    <a:pt x="36" y="17"/>
                  </a:lnTo>
                  <a:lnTo>
                    <a:pt x="38" y="16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6" y="14"/>
                  </a:lnTo>
                  <a:lnTo>
                    <a:pt x="32" y="14"/>
                  </a:lnTo>
                  <a:lnTo>
                    <a:pt x="33" y="14"/>
                  </a:lnTo>
                  <a:lnTo>
                    <a:pt x="33" y="13"/>
                  </a:lnTo>
                  <a:lnTo>
                    <a:pt x="29" y="13"/>
                  </a:lnTo>
                  <a:lnTo>
                    <a:pt x="26" y="13"/>
                  </a:lnTo>
                  <a:lnTo>
                    <a:pt x="23" y="13"/>
                  </a:lnTo>
                  <a:lnTo>
                    <a:pt x="22" y="13"/>
                  </a:lnTo>
                  <a:lnTo>
                    <a:pt x="20" y="13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15" y="13"/>
                  </a:lnTo>
                  <a:lnTo>
                    <a:pt x="13" y="13"/>
                  </a:lnTo>
                  <a:lnTo>
                    <a:pt x="11" y="13"/>
                  </a:lnTo>
                  <a:lnTo>
                    <a:pt x="9" y="14"/>
                  </a:lnTo>
                  <a:lnTo>
                    <a:pt x="5" y="14"/>
                  </a:lnTo>
                  <a:lnTo>
                    <a:pt x="1" y="13"/>
                  </a:lnTo>
                  <a:lnTo>
                    <a:pt x="0" y="12"/>
                  </a:lnTo>
                  <a:lnTo>
                    <a:pt x="1" y="11"/>
                  </a:lnTo>
                  <a:lnTo>
                    <a:pt x="2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11" y="11"/>
                  </a:lnTo>
                  <a:lnTo>
                    <a:pt x="16" y="11"/>
                  </a:lnTo>
                  <a:lnTo>
                    <a:pt x="18" y="10"/>
                  </a:lnTo>
                  <a:lnTo>
                    <a:pt x="19" y="10"/>
                  </a:lnTo>
                  <a:lnTo>
                    <a:pt x="13" y="9"/>
                  </a:lnTo>
                  <a:lnTo>
                    <a:pt x="15" y="9"/>
                  </a:lnTo>
                  <a:lnTo>
                    <a:pt x="19" y="9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18" y="8"/>
                  </a:lnTo>
                  <a:lnTo>
                    <a:pt x="18" y="7"/>
                  </a:lnTo>
                  <a:lnTo>
                    <a:pt x="17" y="7"/>
                  </a:lnTo>
                  <a:lnTo>
                    <a:pt x="16" y="8"/>
                  </a:lnTo>
                  <a:lnTo>
                    <a:pt x="15" y="8"/>
                  </a:lnTo>
                  <a:lnTo>
                    <a:pt x="15" y="7"/>
                  </a:lnTo>
                  <a:lnTo>
                    <a:pt x="17" y="7"/>
                  </a:lnTo>
                  <a:lnTo>
                    <a:pt x="18" y="6"/>
                  </a:lnTo>
                  <a:lnTo>
                    <a:pt x="19" y="6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6" y="4"/>
                  </a:lnTo>
                  <a:lnTo>
                    <a:pt x="15" y="6"/>
                  </a:lnTo>
                  <a:lnTo>
                    <a:pt x="10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8" y="7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1" y="4"/>
                  </a:lnTo>
                  <a:lnTo>
                    <a:pt x="6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6" y="2"/>
                  </a:lnTo>
                  <a:lnTo>
                    <a:pt x="10" y="1"/>
                  </a:lnTo>
                  <a:lnTo>
                    <a:pt x="10" y="0"/>
                  </a:lnTo>
                  <a:lnTo>
                    <a:pt x="12" y="1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7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7" y="1"/>
                  </a:lnTo>
                  <a:lnTo>
                    <a:pt x="30" y="1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3" y="2"/>
                  </a:lnTo>
                  <a:lnTo>
                    <a:pt x="38" y="2"/>
                  </a:lnTo>
                  <a:lnTo>
                    <a:pt x="39" y="1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4" y="3"/>
                  </a:lnTo>
                  <a:lnTo>
                    <a:pt x="46" y="3"/>
                  </a:lnTo>
                  <a:lnTo>
                    <a:pt x="47" y="3"/>
                  </a:lnTo>
                  <a:lnTo>
                    <a:pt x="47" y="4"/>
                  </a:lnTo>
                  <a:lnTo>
                    <a:pt x="44" y="6"/>
                  </a:lnTo>
                  <a:lnTo>
                    <a:pt x="43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7" y="6"/>
                  </a:lnTo>
                  <a:lnTo>
                    <a:pt x="50" y="6"/>
                  </a:lnTo>
                  <a:lnTo>
                    <a:pt x="51" y="6"/>
                  </a:lnTo>
                  <a:lnTo>
                    <a:pt x="56" y="6"/>
                  </a:lnTo>
                  <a:lnTo>
                    <a:pt x="56" y="7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7" y="8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21" name="Freeform 1121"/>
            <p:cNvSpPr>
              <a:spLocks/>
            </p:cNvSpPr>
            <p:nvPr/>
          </p:nvSpPr>
          <p:spPr bwMode="auto">
            <a:xfrm>
              <a:off x="1680" y="798"/>
              <a:ext cx="15" cy="3"/>
            </a:xfrm>
            <a:custGeom>
              <a:avLst/>
              <a:gdLst>
                <a:gd name="T0" fmla="*/ 7 w 15"/>
                <a:gd name="T1" fmla="*/ 0 h 3"/>
                <a:gd name="T2" fmla="*/ 10 w 15"/>
                <a:gd name="T3" fmla="*/ 0 h 3"/>
                <a:gd name="T4" fmla="*/ 15 w 15"/>
                <a:gd name="T5" fmla="*/ 2 h 3"/>
                <a:gd name="T6" fmla="*/ 15 w 15"/>
                <a:gd name="T7" fmla="*/ 2 h 3"/>
                <a:gd name="T8" fmla="*/ 12 w 15"/>
                <a:gd name="T9" fmla="*/ 2 h 3"/>
                <a:gd name="T10" fmla="*/ 8 w 15"/>
                <a:gd name="T11" fmla="*/ 2 h 3"/>
                <a:gd name="T12" fmla="*/ 6 w 15"/>
                <a:gd name="T13" fmla="*/ 3 h 3"/>
                <a:gd name="T14" fmla="*/ 2 w 15"/>
                <a:gd name="T15" fmla="*/ 3 h 3"/>
                <a:gd name="T16" fmla="*/ 0 w 15"/>
                <a:gd name="T17" fmla="*/ 2 h 3"/>
                <a:gd name="T18" fmla="*/ 0 w 15"/>
                <a:gd name="T19" fmla="*/ 1 h 3"/>
                <a:gd name="T20" fmla="*/ 0 w 15"/>
                <a:gd name="T21" fmla="*/ 1 h 3"/>
                <a:gd name="T22" fmla="*/ 4 w 15"/>
                <a:gd name="T23" fmla="*/ 0 h 3"/>
                <a:gd name="T24" fmla="*/ 7 w 15"/>
                <a:gd name="T2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3">
                  <a:moveTo>
                    <a:pt x="7" y="0"/>
                  </a:moveTo>
                  <a:lnTo>
                    <a:pt x="10" y="0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2" y="2"/>
                  </a:lnTo>
                  <a:lnTo>
                    <a:pt x="8" y="2"/>
                  </a:lnTo>
                  <a:lnTo>
                    <a:pt x="6" y="3"/>
                  </a:lnTo>
                  <a:lnTo>
                    <a:pt x="2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4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22" name="Freeform 1122"/>
            <p:cNvSpPr>
              <a:spLocks/>
            </p:cNvSpPr>
            <p:nvPr/>
          </p:nvSpPr>
          <p:spPr bwMode="auto">
            <a:xfrm>
              <a:off x="1680" y="798"/>
              <a:ext cx="15" cy="3"/>
            </a:xfrm>
            <a:custGeom>
              <a:avLst/>
              <a:gdLst>
                <a:gd name="T0" fmla="*/ 7 w 15"/>
                <a:gd name="T1" fmla="*/ 0 h 3"/>
                <a:gd name="T2" fmla="*/ 10 w 15"/>
                <a:gd name="T3" fmla="*/ 0 h 3"/>
                <a:gd name="T4" fmla="*/ 15 w 15"/>
                <a:gd name="T5" fmla="*/ 2 h 3"/>
                <a:gd name="T6" fmla="*/ 15 w 15"/>
                <a:gd name="T7" fmla="*/ 2 h 3"/>
                <a:gd name="T8" fmla="*/ 12 w 15"/>
                <a:gd name="T9" fmla="*/ 2 h 3"/>
                <a:gd name="T10" fmla="*/ 8 w 15"/>
                <a:gd name="T11" fmla="*/ 2 h 3"/>
                <a:gd name="T12" fmla="*/ 6 w 15"/>
                <a:gd name="T13" fmla="*/ 3 h 3"/>
                <a:gd name="T14" fmla="*/ 2 w 15"/>
                <a:gd name="T15" fmla="*/ 3 h 3"/>
                <a:gd name="T16" fmla="*/ 0 w 15"/>
                <a:gd name="T17" fmla="*/ 2 h 3"/>
                <a:gd name="T18" fmla="*/ 0 w 15"/>
                <a:gd name="T19" fmla="*/ 1 h 3"/>
                <a:gd name="T20" fmla="*/ 0 w 15"/>
                <a:gd name="T21" fmla="*/ 1 h 3"/>
                <a:gd name="T22" fmla="*/ 4 w 15"/>
                <a:gd name="T23" fmla="*/ 0 h 3"/>
                <a:gd name="T24" fmla="*/ 7 w 15"/>
                <a:gd name="T2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" h="3">
                  <a:moveTo>
                    <a:pt x="7" y="0"/>
                  </a:moveTo>
                  <a:lnTo>
                    <a:pt x="10" y="0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2" y="2"/>
                  </a:lnTo>
                  <a:lnTo>
                    <a:pt x="8" y="2"/>
                  </a:lnTo>
                  <a:lnTo>
                    <a:pt x="6" y="3"/>
                  </a:lnTo>
                  <a:lnTo>
                    <a:pt x="2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4" y="0"/>
                  </a:lnTo>
                  <a:lnTo>
                    <a:pt x="7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23" name="Freeform 1123"/>
            <p:cNvSpPr>
              <a:spLocks/>
            </p:cNvSpPr>
            <p:nvPr/>
          </p:nvSpPr>
          <p:spPr bwMode="auto">
            <a:xfrm>
              <a:off x="1641" y="801"/>
              <a:ext cx="11" cy="8"/>
            </a:xfrm>
            <a:custGeom>
              <a:avLst/>
              <a:gdLst>
                <a:gd name="T0" fmla="*/ 8 w 11"/>
                <a:gd name="T1" fmla="*/ 2 h 8"/>
                <a:gd name="T2" fmla="*/ 8 w 11"/>
                <a:gd name="T3" fmla="*/ 2 h 8"/>
                <a:gd name="T4" fmla="*/ 6 w 11"/>
                <a:gd name="T5" fmla="*/ 3 h 8"/>
                <a:gd name="T6" fmla="*/ 6 w 11"/>
                <a:gd name="T7" fmla="*/ 3 h 8"/>
                <a:gd name="T8" fmla="*/ 9 w 11"/>
                <a:gd name="T9" fmla="*/ 5 h 8"/>
                <a:gd name="T10" fmla="*/ 9 w 11"/>
                <a:gd name="T11" fmla="*/ 5 h 8"/>
                <a:gd name="T12" fmla="*/ 11 w 11"/>
                <a:gd name="T13" fmla="*/ 6 h 8"/>
                <a:gd name="T14" fmla="*/ 9 w 11"/>
                <a:gd name="T15" fmla="*/ 6 h 8"/>
                <a:gd name="T16" fmla="*/ 10 w 11"/>
                <a:gd name="T17" fmla="*/ 7 h 8"/>
                <a:gd name="T18" fmla="*/ 10 w 11"/>
                <a:gd name="T19" fmla="*/ 7 h 8"/>
                <a:gd name="T20" fmla="*/ 8 w 11"/>
                <a:gd name="T21" fmla="*/ 8 h 8"/>
                <a:gd name="T22" fmla="*/ 6 w 11"/>
                <a:gd name="T23" fmla="*/ 8 h 8"/>
                <a:gd name="T24" fmla="*/ 4 w 11"/>
                <a:gd name="T25" fmla="*/ 8 h 8"/>
                <a:gd name="T26" fmla="*/ 2 w 11"/>
                <a:gd name="T27" fmla="*/ 8 h 8"/>
                <a:gd name="T28" fmla="*/ 0 w 11"/>
                <a:gd name="T29" fmla="*/ 8 h 8"/>
                <a:gd name="T30" fmla="*/ 0 w 11"/>
                <a:gd name="T31" fmla="*/ 7 h 8"/>
                <a:gd name="T32" fmla="*/ 0 w 11"/>
                <a:gd name="T33" fmla="*/ 6 h 8"/>
                <a:gd name="T34" fmla="*/ 0 w 11"/>
                <a:gd name="T35" fmla="*/ 3 h 8"/>
                <a:gd name="T36" fmla="*/ 1 w 11"/>
                <a:gd name="T37" fmla="*/ 2 h 8"/>
                <a:gd name="T38" fmla="*/ 1 w 11"/>
                <a:gd name="T39" fmla="*/ 1 h 8"/>
                <a:gd name="T40" fmla="*/ 1 w 11"/>
                <a:gd name="T41" fmla="*/ 0 h 8"/>
                <a:gd name="T42" fmla="*/ 2 w 11"/>
                <a:gd name="T43" fmla="*/ 0 h 8"/>
                <a:gd name="T44" fmla="*/ 2 w 11"/>
                <a:gd name="T45" fmla="*/ 0 h 8"/>
                <a:gd name="T46" fmla="*/ 5 w 11"/>
                <a:gd name="T47" fmla="*/ 0 h 8"/>
                <a:gd name="T48" fmla="*/ 6 w 11"/>
                <a:gd name="T49" fmla="*/ 0 h 8"/>
                <a:gd name="T50" fmla="*/ 6 w 11"/>
                <a:gd name="T51" fmla="*/ 1 h 8"/>
                <a:gd name="T52" fmla="*/ 8 w 11"/>
                <a:gd name="T53" fmla="*/ 1 h 8"/>
                <a:gd name="T54" fmla="*/ 8 w 11"/>
                <a:gd name="T55" fmla="*/ 1 h 8"/>
                <a:gd name="T56" fmla="*/ 8 w 11"/>
                <a:gd name="T57" fmla="*/ 2 h 8"/>
                <a:gd name="T58" fmla="*/ 8 w 11"/>
                <a:gd name="T59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" h="8">
                  <a:moveTo>
                    <a:pt x="8" y="2"/>
                  </a:moveTo>
                  <a:lnTo>
                    <a:pt x="8" y="2"/>
                  </a:lnTo>
                  <a:lnTo>
                    <a:pt x="6" y="3"/>
                  </a:lnTo>
                  <a:lnTo>
                    <a:pt x="6" y="3"/>
                  </a:lnTo>
                  <a:lnTo>
                    <a:pt x="9" y="5"/>
                  </a:lnTo>
                  <a:lnTo>
                    <a:pt x="9" y="5"/>
                  </a:lnTo>
                  <a:lnTo>
                    <a:pt x="11" y="6"/>
                  </a:lnTo>
                  <a:lnTo>
                    <a:pt x="9" y="6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8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3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24" name="Freeform 1124"/>
            <p:cNvSpPr>
              <a:spLocks/>
            </p:cNvSpPr>
            <p:nvPr/>
          </p:nvSpPr>
          <p:spPr bwMode="auto">
            <a:xfrm>
              <a:off x="1641" y="801"/>
              <a:ext cx="11" cy="8"/>
            </a:xfrm>
            <a:custGeom>
              <a:avLst/>
              <a:gdLst>
                <a:gd name="T0" fmla="*/ 8 w 11"/>
                <a:gd name="T1" fmla="*/ 2 h 8"/>
                <a:gd name="T2" fmla="*/ 8 w 11"/>
                <a:gd name="T3" fmla="*/ 2 h 8"/>
                <a:gd name="T4" fmla="*/ 6 w 11"/>
                <a:gd name="T5" fmla="*/ 3 h 8"/>
                <a:gd name="T6" fmla="*/ 6 w 11"/>
                <a:gd name="T7" fmla="*/ 3 h 8"/>
                <a:gd name="T8" fmla="*/ 9 w 11"/>
                <a:gd name="T9" fmla="*/ 5 h 8"/>
                <a:gd name="T10" fmla="*/ 9 w 11"/>
                <a:gd name="T11" fmla="*/ 5 h 8"/>
                <a:gd name="T12" fmla="*/ 11 w 11"/>
                <a:gd name="T13" fmla="*/ 6 h 8"/>
                <a:gd name="T14" fmla="*/ 9 w 11"/>
                <a:gd name="T15" fmla="*/ 6 h 8"/>
                <a:gd name="T16" fmla="*/ 10 w 11"/>
                <a:gd name="T17" fmla="*/ 7 h 8"/>
                <a:gd name="T18" fmla="*/ 10 w 11"/>
                <a:gd name="T19" fmla="*/ 7 h 8"/>
                <a:gd name="T20" fmla="*/ 8 w 11"/>
                <a:gd name="T21" fmla="*/ 8 h 8"/>
                <a:gd name="T22" fmla="*/ 6 w 11"/>
                <a:gd name="T23" fmla="*/ 8 h 8"/>
                <a:gd name="T24" fmla="*/ 4 w 11"/>
                <a:gd name="T25" fmla="*/ 8 h 8"/>
                <a:gd name="T26" fmla="*/ 2 w 11"/>
                <a:gd name="T27" fmla="*/ 8 h 8"/>
                <a:gd name="T28" fmla="*/ 0 w 11"/>
                <a:gd name="T29" fmla="*/ 8 h 8"/>
                <a:gd name="T30" fmla="*/ 0 w 11"/>
                <a:gd name="T31" fmla="*/ 7 h 8"/>
                <a:gd name="T32" fmla="*/ 0 w 11"/>
                <a:gd name="T33" fmla="*/ 6 h 8"/>
                <a:gd name="T34" fmla="*/ 0 w 11"/>
                <a:gd name="T35" fmla="*/ 3 h 8"/>
                <a:gd name="T36" fmla="*/ 1 w 11"/>
                <a:gd name="T37" fmla="*/ 2 h 8"/>
                <a:gd name="T38" fmla="*/ 1 w 11"/>
                <a:gd name="T39" fmla="*/ 1 h 8"/>
                <a:gd name="T40" fmla="*/ 1 w 11"/>
                <a:gd name="T41" fmla="*/ 0 h 8"/>
                <a:gd name="T42" fmla="*/ 2 w 11"/>
                <a:gd name="T43" fmla="*/ 0 h 8"/>
                <a:gd name="T44" fmla="*/ 2 w 11"/>
                <a:gd name="T45" fmla="*/ 0 h 8"/>
                <a:gd name="T46" fmla="*/ 5 w 11"/>
                <a:gd name="T47" fmla="*/ 0 h 8"/>
                <a:gd name="T48" fmla="*/ 6 w 11"/>
                <a:gd name="T49" fmla="*/ 0 h 8"/>
                <a:gd name="T50" fmla="*/ 6 w 11"/>
                <a:gd name="T51" fmla="*/ 1 h 8"/>
                <a:gd name="T52" fmla="*/ 8 w 11"/>
                <a:gd name="T53" fmla="*/ 1 h 8"/>
                <a:gd name="T54" fmla="*/ 8 w 11"/>
                <a:gd name="T55" fmla="*/ 1 h 8"/>
                <a:gd name="T56" fmla="*/ 8 w 11"/>
                <a:gd name="T57" fmla="*/ 2 h 8"/>
                <a:gd name="T58" fmla="*/ 8 w 11"/>
                <a:gd name="T59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" h="8">
                  <a:moveTo>
                    <a:pt x="8" y="2"/>
                  </a:moveTo>
                  <a:lnTo>
                    <a:pt x="8" y="2"/>
                  </a:lnTo>
                  <a:lnTo>
                    <a:pt x="6" y="3"/>
                  </a:lnTo>
                  <a:lnTo>
                    <a:pt x="6" y="3"/>
                  </a:lnTo>
                  <a:lnTo>
                    <a:pt x="9" y="5"/>
                  </a:lnTo>
                  <a:lnTo>
                    <a:pt x="9" y="5"/>
                  </a:lnTo>
                  <a:lnTo>
                    <a:pt x="11" y="6"/>
                  </a:lnTo>
                  <a:lnTo>
                    <a:pt x="9" y="6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8"/>
                  </a:lnTo>
                  <a:lnTo>
                    <a:pt x="2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3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2"/>
                  </a:lnTo>
                  <a:lnTo>
                    <a:pt x="8" y="2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25" name="Freeform 1125"/>
            <p:cNvSpPr>
              <a:spLocks/>
            </p:cNvSpPr>
            <p:nvPr/>
          </p:nvSpPr>
          <p:spPr bwMode="auto">
            <a:xfrm>
              <a:off x="1635" y="816"/>
              <a:ext cx="15" cy="4"/>
            </a:xfrm>
            <a:custGeom>
              <a:avLst/>
              <a:gdLst>
                <a:gd name="T0" fmla="*/ 8 w 15"/>
                <a:gd name="T1" fmla="*/ 1 h 4"/>
                <a:gd name="T2" fmla="*/ 8 w 15"/>
                <a:gd name="T3" fmla="*/ 1 h 4"/>
                <a:gd name="T4" fmla="*/ 9 w 15"/>
                <a:gd name="T5" fmla="*/ 0 h 4"/>
                <a:gd name="T6" fmla="*/ 11 w 15"/>
                <a:gd name="T7" fmla="*/ 1 h 4"/>
                <a:gd name="T8" fmla="*/ 11 w 15"/>
                <a:gd name="T9" fmla="*/ 2 h 4"/>
                <a:gd name="T10" fmla="*/ 14 w 15"/>
                <a:gd name="T11" fmla="*/ 2 h 4"/>
                <a:gd name="T12" fmla="*/ 15 w 15"/>
                <a:gd name="T13" fmla="*/ 3 h 4"/>
                <a:gd name="T14" fmla="*/ 12 w 15"/>
                <a:gd name="T15" fmla="*/ 4 h 4"/>
                <a:gd name="T16" fmla="*/ 7 w 15"/>
                <a:gd name="T17" fmla="*/ 4 h 4"/>
                <a:gd name="T18" fmla="*/ 0 w 15"/>
                <a:gd name="T19" fmla="*/ 4 h 4"/>
                <a:gd name="T20" fmla="*/ 0 w 15"/>
                <a:gd name="T21" fmla="*/ 3 h 4"/>
                <a:gd name="T22" fmla="*/ 0 w 15"/>
                <a:gd name="T23" fmla="*/ 3 h 4"/>
                <a:gd name="T24" fmla="*/ 2 w 15"/>
                <a:gd name="T25" fmla="*/ 2 h 4"/>
                <a:gd name="T26" fmla="*/ 0 w 15"/>
                <a:gd name="T27" fmla="*/ 2 h 4"/>
                <a:gd name="T28" fmla="*/ 0 w 15"/>
                <a:gd name="T29" fmla="*/ 2 h 4"/>
                <a:gd name="T30" fmla="*/ 1 w 15"/>
                <a:gd name="T31" fmla="*/ 1 h 4"/>
                <a:gd name="T32" fmla="*/ 0 w 15"/>
                <a:gd name="T33" fmla="*/ 1 h 4"/>
                <a:gd name="T34" fmla="*/ 0 w 15"/>
                <a:gd name="T35" fmla="*/ 1 h 4"/>
                <a:gd name="T36" fmla="*/ 2 w 15"/>
                <a:gd name="T37" fmla="*/ 0 h 4"/>
                <a:gd name="T38" fmla="*/ 7 w 15"/>
                <a:gd name="T39" fmla="*/ 0 h 4"/>
                <a:gd name="T40" fmla="*/ 9 w 15"/>
                <a:gd name="T41" fmla="*/ 0 h 4"/>
                <a:gd name="T42" fmla="*/ 9 w 15"/>
                <a:gd name="T43" fmla="*/ 0 h 4"/>
                <a:gd name="T44" fmla="*/ 8 w 15"/>
                <a:gd name="T4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" h="4">
                  <a:moveTo>
                    <a:pt x="8" y="1"/>
                  </a:moveTo>
                  <a:lnTo>
                    <a:pt x="8" y="1"/>
                  </a:lnTo>
                  <a:lnTo>
                    <a:pt x="9" y="0"/>
                  </a:lnTo>
                  <a:lnTo>
                    <a:pt x="11" y="1"/>
                  </a:lnTo>
                  <a:lnTo>
                    <a:pt x="11" y="2"/>
                  </a:lnTo>
                  <a:lnTo>
                    <a:pt x="14" y="2"/>
                  </a:lnTo>
                  <a:lnTo>
                    <a:pt x="15" y="3"/>
                  </a:lnTo>
                  <a:lnTo>
                    <a:pt x="12" y="4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2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8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26" name="Freeform 1126"/>
            <p:cNvSpPr>
              <a:spLocks/>
            </p:cNvSpPr>
            <p:nvPr/>
          </p:nvSpPr>
          <p:spPr bwMode="auto">
            <a:xfrm>
              <a:off x="1635" y="816"/>
              <a:ext cx="15" cy="4"/>
            </a:xfrm>
            <a:custGeom>
              <a:avLst/>
              <a:gdLst>
                <a:gd name="T0" fmla="*/ 8 w 15"/>
                <a:gd name="T1" fmla="*/ 1 h 4"/>
                <a:gd name="T2" fmla="*/ 8 w 15"/>
                <a:gd name="T3" fmla="*/ 1 h 4"/>
                <a:gd name="T4" fmla="*/ 9 w 15"/>
                <a:gd name="T5" fmla="*/ 0 h 4"/>
                <a:gd name="T6" fmla="*/ 11 w 15"/>
                <a:gd name="T7" fmla="*/ 1 h 4"/>
                <a:gd name="T8" fmla="*/ 11 w 15"/>
                <a:gd name="T9" fmla="*/ 2 h 4"/>
                <a:gd name="T10" fmla="*/ 14 w 15"/>
                <a:gd name="T11" fmla="*/ 2 h 4"/>
                <a:gd name="T12" fmla="*/ 15 w 15"/>
                <a:gd name="T13" fmla="*/ 3 h 4"/>
                <a:gd name="T14" fmla="*/ 12 w 15"/>
                <a:gd name="T15" fmla="*/ 4 h 4"/>
                <a:gd name="T16" fmla="*/ 7 w 15"/>
                <a:gd name="T17" fmla="*/ 4 h 4"/>
                <a:gd name="T18" fmla="*/ 0 w 15"/>
                <a:gd name="T19" fmla="*/ 4 h 4"/>
                <a:gd name="T20" fmla="*/ 0 w 15"/>
                <a:gd name="T21" fmla="*/ 3 h 4"/>
                <a:gd name="T22" fmla="*/ 0 w 15"/>
                <a:gd name="T23" fmla="*/ 3 h 4"/>
                <a:gd name="T24" fmla="*/ 2 w 15"/>
                <a:gd name="T25" fmla="*/ 2 h 4"/>
                <a:gd name="T26" fmla="*/ 0 w 15"/>
                <a:gd name="T27" fmla="*/ 2 h 4"/>
                <a:gd name="T28" fmla="*/ 0 w 15"/>
                <a:gd name="T29" fmla="*/ 2 h 4"/>
                <a:gd name="T30" fmla="*/ 1 w 15"/>
                <a:gd name="T31" fmla="*/ 1 h 4"/>
                <a:gd name="T32" fmla="*/ 0 w 15"/>
                <a:gd name="T33" fmla="*/ 1 h 4"/>
                <a:gd name="T34" fmla="*/ 0 w 15"/>
                <a:gd name="T35" fmla="*/ 1 h 4"/>
                <a:gd name="T36" fmla="*/ 2 w 15"/>
                <a:gd name="T37" fmla="*/ 0 h 4"/>
                <a:gd name="T38" fmla="*/ 7 w 15"/>
                <a:gd name="T39" fmla="*/ 0 h 4"/>
                <a:gd name="T40" fmla="*/ 9 w 15"/>
                <a:gd name="T41" fmla="*/ 0 h 4"/>
                <a:gd name="T42" fmla="*/ 9 w 15"/>
                <a:gd name="T43" fmla="*/ 0 h 4"/>
                <a:gd name="T44" fmla="*/ 8 w 15"/>
                <a:gd name="T4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" h="4">
                  <a:moveTo>
                    <a:pt x="8" y="1"/>
                  </a:moveTo>
                  <a:lnTo>
                    <a:pt x="8" y="1"/>
                  </a:lnTo>
                  <a:lnTo>
                    <a:pt x="9" y="0"/>
                  </a:lnTo>
                  <a:lnTo>
                    <a:pt x="11" y="1"/>
                  </a:lnTo>
                  <a:lnTo>
                    <a:pt x="11" y="2"/>
                  </a:lnTo>
                  <a:lnTo>
                    <a:pt x="14" y="2"/>
                  </a:lnTo>
                  <a:lnTo>
                    <a:pt x="15" y="3"/>
                  </a:lnTo>
                  <a:lnTo>
                    <a:pt x="12" y="4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2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8" y="1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27" name="Freeform 1127"/>
            <p:cNvSpPr>
              <a:spLocks/>
            </p:cNvSpPr>
            <p:nvPr/>
          </p:nvSpPr>
          <p:spPr bwMode="auto">
            <a:xfrm>
              <a:off x="1630" y="820"/>
              <a:ext cx="22" cy="3"/>
            </a:xfrm>
            <a:custGeom>
              <a:avLst/>
              <a:gdLst>
                <a:gd name="T0" fmla="*/ 19 w 22"/>
                <a:gd name="T1" fmla="*/ 0 h 3"/>
                <a:gd name="T2" fmla="*/ 22 w 22"/>
                <a:gd name="T3" fmla="*/ 0 h 3"/>
                <a:gd name="T4" fmla="*/ 22 w 22"/>
                <a:gd name="T5" fmla="*/ 1 h 3"/>
                <a:gd name="T6" fmla="*/ 22 w 22"/>
                <a:gd name="T7" fmla="*/ 1 h 3"/>
                <a:gd name="T8" fmla="*/ 21 w 22"/>
                <a:gd name="T9" fmla="*/ 2 h 3"/>
                <a:gd name="T10" fmla="*/ 20 w 22"/>
                <a:gd name="T11" fmla="*/ 2 h 3"/>
                <a:gd name="T12" fmla="*/ 14 w 22"/>
                <a:gd name="T13" fmla="*/ 3 h 3"/>
                <a:gd name="T14" fmla="*/ 11 w 22"/>
                <a:gd name="T15" fmla="*/ 3 h 3"/>
                <a:gd name="T16" fmla="*/ 4 w 22"/>
                <a:gd name="T17" fmla="*/ 3 h 3"/>
                <a:gd name="T18" fmla="*/ 4 w 22"/>
                <a:gd name="T19" fmla="*/ 3 h 3"/>
                <a:gd name="T20" fmla="*/ 4 w 22"/>
                <a:gd name="T21" fmla="*/ 3 h 3"/>
                <a:gd name="T22" fmla="*/ 4 w 22"/>
                <a:gd name="T23" fmla="*/ 3 h 3"/>
                <a:gd name="T24" fmla="*/ 2 w 22"/>
                <a:gd name="T25" fmla="*/ 3 h 3"/>
                <a:gd name="T26" fmla="*/ 2 w 22"/>
                <a:gd name="T27" fmla="*/ 3 h 3"/>
                <a:gd name="T28" fmla="*/ 0 w 22"/>
                <a:gd name="T29" fmla="*/ 3 h 3"/>
                <a:gd name="T30" fmla="*/ 1 w 22"/>
                <a:gd name="T31" fmla="*/ 2 h 3"/>
                <a:gd name="T32" fmla="*/ 2 w 22"/>
                <a:gd name="T33" fmla="*/ 2 h 3"/>
                <a:gd name="T34" fmla="*/ 2 w 22"/>
                <a:gd name="T35" fmla="*/ 1 h 3"/>
                <a:gd name="T36" fmla="*/ 6 w 22"/>
                <a:gd name="T37" fmla="*/ 1 h 3"/>
                <a:gd name="T38" fmla="*/ 17 w 22"/>
                <a:gd name="T39" fmla="*/ 0 h 3"/>
                <a:gd name="T40" fmla="*/ 19 w 22"/>
                <a:gd name="T4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" h="3">
                  <a:moveTo>
                    <a:pt x="19" y="0"/>
                  </a:moveTo>
                  <a:lnTo>
                    <a:pt x="22" y="0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14" y="3"/>
                  </a:lnTo>
                  <a:lnTo>
                    <a:pt x="11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6" y="1"/>
                  </a:lnTo>
                  <a:lnTo>
                    <a:pt x="17" y="0"/>
                  </a:lnTo>
                  <a:lnTo>
                    <a:pt x="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28" name="Freeform 1128"/>
            <p:cNvSpPr>
              <a:spLocks/>
            </p:cNvSpPr>
            <p:nvPr/>
          </p:nvSpPr>
          <p:spPr bwMode="auto">
            <a:xfrm>
              <a:off x="1630" y="820"/>
              <a:ext cx="22" cy="3"/>
            </a:xfrm>
            <a:custGeom>
              <a:avLst/>
              <a:gdLst>
                <a:gd name="T0" fmla="*/ 19 w 22"/>
                <a:gd name="T1" fmla="*/ 0 h 3"/>
                <a:gd name="T2" fmla="*/ 22 w 22"/>
                <a:gd name="T3" fmla="*/ 0 h 3"/>
                <a:gd name="T4" fmla="*/ 22 w 22"/>
                <a:gd name="T5" fmla="*/ 1 h 3"/>
                <a:gd name="T6" fmla="*/ 22 w 22"/>
                <a:gd name="T7" fmla="*/ 1 h 3"/>
                <a:gd name="T8" fmla="*/ 21 w 22"/>
                <a:gd name="T9" fmla="*/ 2 h 3"/>
                <a:gd name="T10" fmla="*/ 20 w 22"/>
                <a:gd name="T11" fmla="*/ 2 h 3"/>
                <a:gd name="T12" fmla="*/ 14 w 22"/>
                <a:gd name="T13" fmla="*/ 3 h 3"/>
                <a:gd name="T14" fmla="*/ 11 w 22"/>
                <a:gd name="T15" fmla="*/ 3 h 3"/>
                <a:gd name="T16" fmla="*/ 4 w 22"/>
                <a:gd name="T17" fmla="*/ 3 h 3"/>
                <a:gd name="T18" fmla="*/ 4 w 22"/>
                <a:gd name="T19" fmla="*/ 3 h 3"/>
                <a:gd name="T20" fmla="*/ 4 w 22"/>
                <a:gd name="T21" fmla="*/ 3 h 3"/>
                <a:gd name="T22" fmla="*/ 4 w 22"/>
                <a:gd name="T23" fmla="*/ 3 h 3"/>
                <a:gd name="T24" fmla="*/ 2 w 22"/>
                <a:gd name="T25" fmla="*/ 3 h 3"/>
                <a:gd name="T26" fmla="*/ 2 w 22"/>
                <a:gd name="T27" fmla="*/ 3 h 3"/>
                <a:gd name="T28" fmla="*/ 0 w 22"/>
                <a:gd name="T29" fmla="*/ 3 h 3"/>
                <a:gd name="T30" fmla="*/ 1 w 22"/>
                <a:gd name="T31" fmla="*/ 2 h 3"/>
                <a:gd name="T32" fmla="*/ 2 w 22"/>
                <a:gd name="T33" fmla="*/ 2 h 3"/>
                <a:gd name="T34" fmla="*/ 2 w 22"/>
                <a:gd name="T35" fmla="*/ 1 h 3"/>
                <a:gd name="T36" fmla="*/ 6 w 22"/>
                <a:gd name="T37" fmla="*/ 1 h 3"/>
                <a:gd name="T38" fmla="*/ 17 w 22"/>
                <a:gd name="T39" fmla="*/ 0 h 3"/>
                <a:gd name="T40" fmla="*/ 19 w 22"/>
                <a:gd name="T4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" h="3">
                  <a:moveTo>
                    <a:pt x="19" y="0"/>
                  </a:moveTo>
                  <a:lnTo>
                    <a:pt x="22" y="0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14" y="3"/>
                  </a:lnTo>
                  <a:lnTo>
                    <a:pt x="11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0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6" y="1"/>
                  </a:lnTo>
                  <a:lnTo>
                    <a:pt x="17" y="0"/>
                  </a:lnTo>
                  <a:lnTo>
                    <a:pt x="19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29" name="Freeform 1129"/>
            <p:cNvSpPr>
              <a:spLocks/>
            </p:cNvSpPr>
            <p:nvPr/>
          </p:nvSpPr>
          <p:spPr bwMode="auto">
            <a:xfrm>
              <a:off x="1632" y="823"/>
              <a:ext cx="19" cy="3"/>
            </a:xfrm>
            <a:custGeom>
              <a:avLst/>
              <a:gdLst>
                <a:gd name="T0" fmla="*/ 12 w 19"/>
                <a:gd name="T1" fmla="*/ 0 h 3"/>
                <a:gd name="T2" fmla="*/ 17 w 19"/>
                <a:gd name="T3" fmla="*/ 0 h 3"/>
                <a:gd name="T4" fmla="*/ 19 w 19"/>
                <a:gd name="T5" fmla="*/ 0 h 3"/>
                <a:gd name="T6" fmla="*/ 18 w 19"/>
                <a:gd name="T7" fmla="*/ 1 h 3"/>
                <a:gd name="T8" fmla="*/ 17 w 19"/>
                <a:gd name="T9" fmla="*/ 1 h 3"/>
                <a:gd name="T10" fmla="*/ 8 w 19"/>
                <a:gd name="T11" fmla="*/ 3 h 3"/>
                <a:gd name="T12" fmla="*/ 0 w 19"/>
                <a:gd name="T13" fmla="*/ 3 h 3"/>
                <a:gd name="T14" fmla="*/ 1 w 19"/>
                <a:gd name="T15" fmla="*/ 3 h 3"/>
                <a:gd name="T16" fmla="*/ 12 w 19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">
                  <a:moveTo>
                    <a:pt x="12" y="0"/>
                  </a:moveTo>
                  <a:lnTo>
                    <a:pt x="17" y="0"/>
                  </a:lnTo>
                  <a:lnTo>
                    <a:pt x="19" y="0"/>
                  </a:lnTo>
                  <a:lnTo>
                    <a:pt x="18" y="1"/>
                  </a:lnTo>
                  <a:lnTo>
                    <a:pt x="17" y="1"/>
                  </a:lnTo>
                  <a:lnTo>
                    <a:pt x="8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30" name="Freeform 1130"/>
            <p:cNvSpPr>
              <a:spLocks/>
            </p:cNvSpPr>
            <p:nvPr/>
          </p:nvSpPr>
          <p:spPr bwMode="auto">
            <a:xfrm>
              <a:off x="1632" y="823"/>
              <a:ext cx="19" cy="3"/>
            </a:xfrm>
            <a:custGeom>
              <a:avLst/>
              <a:gdLst>
                <a:gd name="T0" fmla="*/ 12 w 19"/>
                <a:gd name="T1" fmla="*/ 0 h 3"/>
                <a:gd name="T2" fmla="*/ 17 w 19"/>
                <a:gd name="T3" fmla="*/ 0 h 3"/>
                <a:gd name="T4" fmla="*/ 19 w 19"/>
                <a:gd name="T5" fmla="*/ 0 h 3"/>
                <a:gd name="T6" fmla="*/ 18 w 19"/>
                <a:gd name="T7" fmla="*/ 1 h 3"/>
                <a:gd name="T8" fmla="*/ 17 w 19"/>
                <a:gd name="T9" fmla="*/ 1 h 3"/>
                <a:gd name="T10" fmla="*/ 8 w 19"/>
                <a:gd name="T11" fmla="*/ 3 h 3"/>
                <a:gd name="T12" fmla="*/ 0 w 19"/>
                <a:gd name="T13" fmla="*/ 3 h 3"/>
                <a:gd name="T14" fmla="*/ 1 w 19"/>
                <a:gd name="T15" fmla="*/ 3 h 3"/>
                <a:gd name="T16" fmla="*/ 12 w 19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3">
                  <a:moveTo>
                    <a:pt x="12" y="0"/>
                  </a:moveTo>
                  <a:lnTo>
                    <a:pt x="17" y="0"/>
                  </a:lnTo>
                  <a:lnTo>
                    <a:pt x="19" y="0"/>
                  </a:lnTo>
                  <a:lnTo>
                    <a:pt x="18" y="1"/>
                  </a:lnTo>
                  <a:lnTo>
                    <a:pt x="17" y="1"/>
                  </a:lnTo>
                  <a:lnTo>
                    <a:pt x="8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2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31" name="Freeform 1131"/>
            <p:cNvSpPr>
              <a:spLocks/>
            </p:cNvSpPr>
            <p:nvPr/>
          </p:nvSpPr>
          <p:spPr bwMode="auto">
            <a:xfrm>
              <a:off x="1635" y="824"/>
              <a:ext cx="17" cy="4"/>
            </a:xfrm>
            <a:custGeom>
              <a:avLst/>
              <a:gdLst>
                <a:gd name="T0" fmla="*/ 7 w 17"/>
                <a:gd name="T1" fmla="*/ 2 h 4"/>
                <a:gd name="T2" fmla="*/ 8 w 17"/>
                <a:gd name="T3" fmla="*/ 2 h 4"/>
                <a:gd name="T4" fmla="*/ 17 w 17"/>
                <a:gd name="T5" fmla="*/ 0 h 4"/>
                <a:gd name="T6" fmla="*/ 17 w 17"/>
                <a:gd name="T7" fmla="*/ 2 h 4"/>
                <a:gd name="T8" fmla="*/ 12 w 17"/>
                <a:gd name="T9" fmla="*/ 3 h 4"/>
                <a:gd name="T10" fmla="*/ 11 w 17"/>
                <a:gd name="T11" fmla="*/ 3 h 4"/>
                <a:gd name="T12" fmla="*/ 9 w 17"/>
                <a:gd name="T13" fmla="*/ 4 h 4"/>
                <a:gd name="T14" fmla="*/ 7 w 17"/>
                <a:gd name="T15" fmla="*/ 4 h 4"/>
                <a:gd name="T16" fmla="*/ 2 w 17"/>
                <a:gd name="T17" fmla="*/ 4 h 4"/>
                <a:gd name="T18" fmla="*/ 1 w 17"/>
                <a:gd name="T19" fmla="*/ 4 h 4"/>
                <a:gd name="T20" fmla="*/ 0 w 17"/>
                <a:gd name="T21" fmla="*/ 4 h 4"/>
                <a:gd name="T22" fmla="*/ 1 w 17"/>
                <a:gd name="T23" fmla="*/ 4 h 4"/>
                <a:gd name="T24" fmla="*/ 5 w 17"/>
                <a:gd name="T25" fmla="*/ 3 h 4"/>
                <a:gd name="T26" fmla="*/ 6 w 17"/>
                <a:gd name="T27" fmla="*/ 2 h 4"/>
                <a:gd name="T28" fmla="*/ 7 w 17"/>
                <a:gd name="T2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4">
                  <a:moveTo>
                    <a:pt x="7" y="2"/>
                  </a:moveTo>
                  <a:lnTo>
                    <a:pt x="8" y="2"/>
                  </a:lnTo>
                  <a:lnTo>
                    <a:pt x="17" y="0"/>
                  </a:lnTo>
                  <a:lnTo>
                    <a:pt x="17" y="2"/>
                  </a:lnTo>
                  <a:lnTo>
                    <a:pt x="12" y="3"/>
                  </a:lnTo>
                  <a:lnTo>
                    <a:pt x="11" y="3"/>
                  </a:lnTo>
                  <a:lnTo>
                    <a:pt x="9" y="4"/>
                  </a:lnTo>
                  <a:lnTo>
                    <a:pt x="7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5" y="3"/>
                  </a:lnTo>
                  <a:lnTo>
                    <a:pt x="6" y="2"/>
                  </a:lnTo>
                  <a:lnTo>
                    <a:pt x="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32" name="Freeform 1132"/>
            <p:cNvSpPr>
              <a:spLocks/>
            </p:cNvSpPr>
            <p:nvPr/>
          </p:nvSpPr>
          <p:spPr bwMode="auto">
            <a:xfrm>
              <a:off x="1635" y="824"/>
              <a:ext cx="17" cy="4"/>
            </a:xfrm>
            <a:custGeom>
              <a:avLst/>
              <a:gdLst>
                <a:gd name="T0" fmla="*/ 7 w 17"/>
                <a:gd name="T1" fmla="*/ 2 h 4"/>
                <a:gd name="T2" fmla="*/ 8 w 17"/>
                <a:gd name="T3" fmla="*/ 2 h 4"/>
                <a:gd name="T4" fmla="*/ 17 w 17"/>
                <a:gd name="T5" fmla="*/ 0 h 4"/>
                <a:gd name="T6" fmla="*/ 17 w 17"/>
                <a:gd name="T7" fmla="*/ 2 h 4"/>
                <a:gd name="T8" fmla="*/ 12 w 17"/>
                <a:gd name="T9" fmla="*/ 3 h 4"/>
                <a:gd name="T10" fmla="*/ 11 w 17"/>
                <a:gd name="T11" fmla="*/ 3 h 4"/>
                <a:gd name="T12" fmla="*/ 9 w 17"/>
                <a:gd name="T13" fmla="*/ 4 h 4"/>
                <a:gd name="T14" fmla="*/ 7 w 17"/>
                <a:gd name="T15" fmla="*/ 4 h 4"/>
                <a:gd name="T16" fmla="*/ 2 w 17"/>
                <a:gd name="T17" fmla="*/ 4 h 4"/>
                <a:gd name="T18" fmla="*/ 1 w 17"/>
                <a:gd name="T19" fmla="*/ 4 h 4"/>
                <a:gd name="T20" fmla="*/ 0 w 17"/>
                <a:gd name="T21" fmla="*/ 4 h 4"/>
                <a:gd name="T22" fmla="*/ 1 w 17"/>
                <a:gd name="T23" fmla="*/ 4 h 4"/>
                <a:gd name="T24" fmla="*/ 5 w 17"/>
                <a:gd name="T25" fmla="*/ 3 h 4"/>
                <a:gd name="T26" fmla="*/ 6 w 17"/>
                <a:gd name="T27" fmla="*/ 2 h 4"/>
                <a:gd name="T28" fmla="*/ 7 w 17"/>
                <a:gd name="T2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" h="4">
                  <a:moveTo>
                    <a:pt x="7" y="2"/>
                  </a:moveTo>
                  <a:lnTo>
                    <a:pt x="8" y="2"/>
                  </a:lnTo>
                  <a:lnTo>
                    <a:pt x="17" y="0"/>
                  </a:lnTo>
                  <a:lnTo>
                    <a:pt x="17" y="2"/>
                  </a:lnTo>
                  <a:lnTo>
                    <a:pt x="12" y="3"/>
                  </a:lnTo>
                  <a:lnTo>
                    <a:pt x="11" y="3"/>
                  </a:lnTo>
                  <a:lnTo>
                    <a:pt x="9" y="4"/>
                  </a:lnTo>
                  <a:lnTo>
                    <a:pt x="7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5" y="3"/>
                  </a:lnTo>
                  <a:lnTo>
                    <a:pt x="6" y="2"/>
                  </a:lnTo>
                  <a:lnTo>
                    <a:pt x="7" y="2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33" name="Freeform 1133"/>
            <p:cNvSpPr>
              <a:spLocks/>
            </p:cNvSpPr>
            <p:nvPr/>
          </p:nvSpPr>
          <p:spPr bwMode="auto">
            <a:xfrm>
              <a:off x="1610" y="832"/>
              <a:ext cx="14" cy="6"/>
            </a:xfrm>
            <a:custGeom>
              <a:avLst/>
              <a:gdLst>
                <a:gd name="T0" fmla="*/ 13 w 14"/>
                <a:gd name="T1" fmla="*/ 0 h 6"/>
                <a:gd name="T2" fmla="*/ 14 w 14"/>
                <a:gd name="T3" fmla="*/ 0 h 6"/>
                <a:gd name="T4" fmla="*/ 13 w 14"/>
                <a:gd name="T5" fmla="*/ 1 h 6"/>
                <a:gd name="T6" fmla="*/ 14 w 14"/>
                <a:gd name="T7" fmla="*/ 1 h 6"/>
                <a:gd name="T8" fmla="*/ 13 w 14"/>
                <a:gd name="T9" fmla="*/ 4 h 6"/>
                <a:gd name="T10" fmla="*/ 13 w 14"/>
                <a:gd name="T11" fmla="*/ 4 h 6"/>
                <a:gd name="T12" fmla="*/ 11 w 14"/>
                <a:gd name="T13" fmla="*/ 5 h 6"/>
                <a:gd name="T14" fmla="*/ 5 w 14"/>
                <a:gd name="T15" fmla="*/ 6 h 6"/>
                <a:gd name="T16" fmla="*/ 1 w 14"/>
                <a:gd name="T17" fmla="*/ 6 h 6"/>
                <a:gd name="T18" fmla="*/ 0 w 14"/>
                <a:gd name="T19" fmla="*/ 5 h 6"/>
                <a:gd name="T20" fmla="*/ 0 w 14"/>
                <a:gd name="T21" fmla="*/ 4 h 6"/>
                <a:gd name="T22" fmla="*/ 4 w 14"/>
                <a:gd name="T23" fmla="*/ 2 h 6"/>
                <a:gd name="T24" fmla="*/ 7 w 14"/>
                <a:gd name="T25" fmla="*/ 0 h 6"/>
                <a:gd name="T26" fmla="*/ 13 w 14"/>
                <a:gd name="T2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" h="6">
                  <a:moveTo>
                    <a:pt x="13" y="0"/>
                  </a:moveTo>
                  <a:lnTo>
                    <a:pt x="14" y="0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1" y="5"/>
                  </a:lnTo>
                  <a:lnTo>
                    <a:pt x="5" y="6"/>
                  </a:lnTo>
                  <a:lnTo>
                    <a:pt x="1" y="6"/>
                  </a:lnTo>
                  <a:lnTo>
                    <a:pt x="0" y="5"/>
                  </a:lnTo>
                  <a:lnTo>
                    <a:pt x="0" y="4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34" name="Freeform 1134"/>
            <p:cNvSpPr>
              <a:spLocks/>
            </p:cNvSpPr>
            <p:nvPr/>
          </p:nvSpPr>
          <p:spPr bwMode="auto">
            <a:xfrm>
              <a:off x="1610" y="832"/>
              <a:ext cx="14" cy="6"/>
            </a:xfrm>
            <a:custGeom>
              <a:avLst/>
              <a:gdLst>
                <a:gd name="T0" fmla="*/ 13 w 14"/>
                <a:gd name="T1" fmla="*/ 0 h 6"/>
                <a:gd name="T2" fmla="*/ 14 w 14"/>
                <a:gd name="T3" fmla="*/ 0 h 6"/>
                <a:gd name="T4" fmla="*/ 13 w 14"/>
                <a:gd name="T5" fmla="*/ 1 h 6"/>
                <a:gd name="T6" fmla="*/ 14 w 14"/>
                <a:gd name="T7" fmla="*/ 1 h 6"/>
                <a:gd name="T8" fmla="*/ 13 w 14"/>
                <a:gd name="T9" fmla="*/ 4 h 6"/>
                <a:gd name="T10" fmla="*/ 13 w 14"/>
                <a:gd name="T11" fmla="*/ 4 h 6"/>
                <a:gd name="T12" fmla="*/ 11 w 14"/>
                <a:gd name="T13" fmla="*/ 5 h 6"/>
                <a:gd name="T14" fmla="*/ 5 w 14"/>
                <a:gd name="T15" fmla="*/ 6 h 6"/>
                <a:gd name="T16" fmla="*/ 1 w 14"/>
                <a:gd name="T17" fmla="*/ 6 h 6"/>
                <a:gd name="T18" fmla="*/ 0 w 14"/>
                <a:gd name="T19" fmla="*/ 5 h 6"/>
                <a:gd name="T20" fmla="*/ 0 w 14"/>
                <a:gd name="T21" fmla="*/ 4 h 6"/>
                <a:gd name="T22" fmla="*/ 4 w 14"/>
                <a:gd name="T23" fmla="*/ 2 h 6"/>
                <a:gd name="T24" fmla="*/ 7 w 14"/>
                <a:gd name="T25" fmla="*/ 0 h 6"/>
                <a:gd name="T26" fmla="*/ 13 w 14"/>
                <a:gd name="T2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" h="6">
                  <a:moveTo>
                    <a:pt x="13" y="0"/>
                  </a:moveTo>
                  <a:lnTo>
                    <a:pt x="14" y="0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1" y="5"/>
                  </a:lnTo>
                  <a:lnTo>
                    <a:pt x="5" y="6"/>
                  </a:lnTo>
                  <a:lnTo>
                    <a:pt x="1" y="6"/>
                  </a:lnTo>
                  <a:lnTo>
                    <a:pt x="0" y="5"/>
                  </a:lnTo>
                  <a:lnTo>
                    <a:pt x="0" y="4"/>
                  </a:lnTo>
                  <a:lnTo>
                    <a:pt x="4" y="2"/>
                  </a:lnTo>
                  <a:lnTo>
                    <a:pt x="7" y="0"/>
                  </a:lnTo>
                  <a:lnTo>
                    <a:pt x="13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35" name="Freeform 1135"/>
            <p:cNvSpPr>
              <a:spLocks/>
            </p:cNvSpPr>
            <p:nvPr/>
          </p:nvSpPr>
          <p:spPr bwMode="auto">
            <a:xfrm>
              <a:off x="1473" y="813"/>
              <a:ext cx="141" cy="34"/>
            </a:xfrm>
            <a:custGeom>
              <a:avLst/>
              <a:gdLst>
                <a:gd name="T0" fmla="*/ 109 w 141"/>
                <a:gd name="T1" fmla="*/ 4 h 34"/>
                <a:gd name="T2" fmla="*/ 123 w 141"/>
                <a:gd name="T3" fmla="*/ 0 h 34"/>
                <a:gd name="T4" fmla="*/ 121 w 141"/>
                <a:gd name="T5" fmla="*/ 4 h 34"/>
                <a:gd name="T6" fmla="*/ 122 w 141"/>
                <a:gd name="T7" fmla="*/ 7 h 34"/>
                <a:gd name="T8" fmla="*/ 115 w 141"/>
                <a:gd name="T9" fmla="*/ 10 h 34"/>
                <a:gd name="T10" fmla="*/ 119 w 141"/>
                <a:gd name="T11" fmla="*/ 13 h 34"/>
                <a:gd name="T12" fmla="*/ 119 w 141"/>
                <a:gd name="T13" fmla="*/ 13 h 34"/>
                <a:gd name="T14" fmla="*/ 128 w 141"/>
                <a:gd name="T15" fmla="*/ 14 h 34"/>
                <a:gd name="T16" fmla="*/ 138 w 141"/>
                <a:gd name="T17" fmla="*/ 11 h 34"/>
                <a:gd name="T18" fmla="*/ 138 w 141"/>
                <a:gd name="T19" fmla="*/ 17 h 34"/>
                <a:gd name="T20" fmla="*/ 125 w 141"/>
                <a:gd name="T21" fmla="*/ 24 h 34"/>
                <a:gd name="T22" fmla="*/ 108 w 141"/>
                <a:gd name="T23" fmla="*/ 26 h 34"/>
                <a:gd name="T24" fmla="*/ 99 w 141"/>
                <a:gd name="T25" fmla="*/ 26 h 34"/>
                <a:gd name="T26" fmla="*/ 95 w 141"/>
                <a:gd name="T27" fmla="*/ 24 h 34"/>
                <a:gd name="T28" fmla="*/ 82 w 141"/>
                <a:gd name="T29" fmla="*/ 27 h 34"/>
                <a:gd name="T30" fmla="*/ 67 w 141"/>
                <a:gd name="T31" fmla="*/ 29 h 34"/>
                <a:gd name="T32" fmla="*/ 57 w 141"/>
                <a:gd name="T33" fmla="*/ 31 h 34"/>
                <a:gd name="T34" fmla="*/ 31 w 141"/>
                <a:gd name="T35" fmla="*/ 34 h 34"/>
                <a:gd name="T36" fmla="*/ 27 w 141"/>
                <a:gd name="T37" fmla="*/ 29 h 34"/>
                <a:gd name="T38" fmla="*/ 38 w 141"/>
                <a:gd name="T39" fmla="*/ 27 h 34"/>
                <a:gd name="T40" fmla="*/ 56 w 141"/>
                <a:gd name="T41" fmla="*/ 25 h 34"/>
                <a:gd name="T42" fmla="*/ 65 w 141"/>
                <a:gd name="T43" fmla="*/ 24 h 34"/>
                <a:gd name="T44" fmla="*/ 71 w 141"/>
                <a:gd name="T45" fmla="*/ 21 h 34"/>
                <a:gd name="T46" fmla="*/ 58 w 141"/>
                <a:gd name="T47" fmla="*/ 21 h 34"/>
                <a:gd name="T48" fmla="*/ 49 w 141"/>
                <a:gd name="T49" fmla="*/ 24 h 34"/>
                <a:gd name="T50" fmla="*/ 37 w 141"/>
                <a:gd name="T51" fmla="*/ 25 h 34"/>
                <a:gd name="T52" fmla="*/ 41 w 141"/>
                <a:gd name="T53" fmla="*/ 21 h 34"/>
                <a:gd name="T54" fmla="*/ 46 w 141"/>
                <a:gd name="T55" fmla="*/ 19 h 34"/>
                <a:gd name="T56" fmla="*/ 35 w 141"/>
                <a:gd name="T57" fmla="*/ 20 h 34"/>
                <a:gd name="T58" fmla="*/ 26 w 141"/>
                <a:gd name="T59" fmla="*/ 26 h 34"/>
                <a:gd name="T60" fmla="*/ 20 w 141"/>
                <a:gd name="T61" fmla="*/ 24 h 34"/>
                <a:gd name="T62" fmla="*/ 15 w 141"/>
                <a:gd name="T63" fmla="*/ 24 h 34"/>
                <a:gd name="T64" fmla="*/ 4 w 141"/>
                <a:gd name="T65" fmla="*/ 23 h 34"/>
                <a:gd name="T66" fmla="*/ 9 w 141"/>
                <a:gd name="T67" fmla="*/ 18 h 34"/>
                <a:gd name="T68" fmla="*/ 32 w 141"/>
                <a:gd name="T69" fmla="*/ 16 h 34"/>
                <a:gd name="T70" fmla="*/ 18 w 141"/>
                <a:gd name="T71" fmla="*/ 18 h 34"/>
                <a:gd name="T72" fmla="*/ 31 w 141"/>
                <a:gd name="T73" fmla="*/ 14 h 34"/>
                <a:gd name="T74" fmla="*/ 21 w 141"/>
                <a:gd name="T75" fmla="*/ 13 h 34"/>
                <a:gd name="T76" fmla="*/ 26 w 141"/>
                <a:gd name="T77" fmla="*/ 10 h 34"/>
                <a:gd name="T78" fmla="*/ 48 w 141"/>
                <a:gd name="T79" fmla="*/ 9 h 34"/>
                <a:gd name="T80" fmla="*/ 38 w 141"/>
                <a:gd name="T81" fmla="*/ 7 h 34"/>
                <a:gd name="T82" fmla="*/ 56 w 141"/>
                <a:gd name="T83" fmla="*/ 5 h 34"/>
                <a:gd name="T84" fmla="*/ 56 w 141"/>
                <a:gd name="T85" fmla="*/ 8 h 34"/>
                <a:gd name="T86" fmla="*/ 72 w 141"/>
                <a:gd name="T87" fmla="*/ 9 h 34"/>
                <a:gd name="T88" fmla="*/ 70 w 141"/>
                <a:gd name="T89" fmla="*/ 13 h 34"/>
                <a:gd name="T90" fmla="*/ 77 w 141"/>
                <a:gd name="T91" fmla="*/ 14 h 34"/>
                <a:gd name="T92" fmla="*/ 73 w 141"/>
                <a:gd name="T93" fmla="*/ 17 h 34"/>
                <a:gd name="T94" fmla="*/ 80 w 141"/>
                <a:gd name="T95" fmla="*/ 17 h 34"/>
                <a:gd name="T96" fmla="*/ 99 w 141"/>
                <a:gd name="T97" fmla="*/ 18 h 34"/>
                <a:gd name="T98" fmla="*/ 98 w 141"/>
                <a:gd name="T99" fmla="*/ 14 h 34"/>
                <a:gd name="T100" fmla="*/ 101 w 141"/>
                <a:gd name="T101" fmla="*/ 11 h 34"/>
                <a:gd name="T102" fmla="*/ 103 w 141"/>
                <a:gd name="T103" fmla="*/ 8 h 34"/>
                <a:gd name="T104" fmla="*/ 99 w 141"/>
                <a:gd name="T105" fmla="*/ 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1" h="34">
                  <a:moveTo>
                    <a:pt x="105" y="5"/>
                  </a:moveTo>
                  <a:lnTo>
                    <a:pt x="105" y="5"/>
                  </a:lnTo>
                  <a:lnTo>
                    <a:pt x="105" y="5"/>
                  </a:lnTo>
                  <a:lnTo>
                    <a:pt x="107" y="5"/>
                  </a:lnTo>
                  <a:lnTo>
                    <a:pt x="109" y="4"/>
                  </a:lnTo>
                  <a:lnTo>
                    <a:pt x="110" y="4"/>
                  </a:lnTo>
                  <a:lnTo>
                    <a:pt x="118" y="0"/>
                  </a:lnTo>
                  <a:lnTo>
                    <a:pt x="119" y="0"/>
                  </a:lnTo>
                  <a:lnTo>
                    <a:pt x="121" y="0"/>
                  </a:lnTo>
                  <a:lnTo>
                    <a:pt x="123" y="0"/>
                  </a:lnTo>
                  <a:lnTo>
                    <a:pt x="125" y="1"/>
                  </a:lnTo>
                  <a:lnTo>
                    <a:pt x="123" y="1"/>
                  </a:lnTo>
                  <a:lnTo>
                    <a:pt x="121" y="3"/>
                  </a:lnTo>
                  <a:lnTo>
                    <a:pt x="120" y="4"/>
                  </a:lnTo>
                  <a:lnTo>
                    <a:pt x="121" y="4"/>
                  </a:lnTo>
                  <a:lnTo>
                    <a:pt x="120" y="5"/>
                  </a:lnTo>
                  <a:lnTo>
                    <a:pt x="119" y="5"/>
                  </a:lnTo>
                  <a:lnTo>
                    <a:pt x="119" y="6"/>
                  </a:lnTo>
                  <a:lnTo>
                    <a:pt x="121" y="6"/>
                  </a:lnTo>
                  <a:lnTo>
                    <a:pt x="122" y="7"/>
                  </a:lnTo>
                  <a:lnTo>
                    <a:pt x="121" y="7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18" y="9"/>
                  </a:lnTo>
                  <a:lnTo>
                    <a:pt x="115" y="10"/>
                  </a:lnTo>
                  <a:lnTo>
                    <a:pt x="112" y="10"/>
                  </a:lnTo>
                  <a:lnTo>
                    <a:pt x="115" y="10"/>
                  </a:lnTo>
                  <a:lnTo>
                    <a:pt x="120" y="10"/>
                  </a:lnTo>
                  <a:lnTo>
                    <a:pt x="122" y="11"/>
                  </a:lnTo>
                  <a:lnTo>
                    <a:pt x="119" y="13"/>
                  </a:lnTo>
                  <a:lnTo>
                    <a:pt x="118" y="13"/>
                  </a:lnTo>
                  <a:lnTo>
                    <a:pt x="115" y="14"/>
                  </a:lnTo>
                  <a:lnTo>
                    <a:pt x="115" y="15"/>
                  </a:lnTo>
                  <a:lnTo>
                    <a:pt x="118" y="13"/>
                  </a:lnTo>
                  <a:lnTo>
                    <a:pt x="119" y="13"/>
                  </a:lnTo>
                  <a:lnTo>
                    <a:pt x="121" y="13"/>
                  </a:lnTo>
                  <a:lnTo>
                    <a:pt x="125" y="13"/>
                  </a:lnTo>
                  <a:lnTo>
                    <a:pt x="125" y="16"/>
                  </a:lnTo>
                  <a:lnTo>
                    <a:pt x="127" y="14"/>
                  </a:lnTo>
                  <a:lnTo>
                    <a:pt x="128" y="14"/>
                  </a:lnTo>
                  <a:lnTo>
                    <a:pt x="128" y="14"/>
                  </a:lnTo>
                  <a:lnTo>
                    <a:pt x="129" y="13"/>
                  </a:lnTo>
                  <a:lnTo>
                    <a:pt x="131" y="11"/>
                  </a:lnTo>
                  <a:lnTo>
                    <a:pt x="132" y="10"/>
                  </a:lnTo>
                  <a:lnTo>
                    <a:pt x="138" y="11"/>
                  </a:lnTo>
                  <a:lnTo>
                    <a:pt x="141" y="13"/>
                  </a:lnTo>
                  <a:lnTo>
                    <a:pt x="141" y="15"/>
                  </a:lnTo>
                  <a:lnTo>
                    <a:pt x="140" y="15"/>
                  </a:lnTo>
                  <a:lnTo>
                    <a:pt x="140" y="16"/>
                  </a:lnTo>
                  <a:lnTo>
                    <a:pt x="138" y="17"/>
                  </a:lnTo>
                  <a:lnTo>
                    <a:pt x="137" y="17"/>
                  </a:lnTo>
                  <a:lnTo>
                    <a:pt x="135" y="18"/>
                  </a:lnTo>
                  <a:lnTo>
                    <a:pt x="130" y="21"/>
                  </a:lnTo>
                  <a:lnTo>
                    <a:pt x="128" y="21"/>
                  </a:lnTo>
                  <a:lnTo>
                    <a:pt x="125" y="24"/>
                  </a:lnTo>
                  <a:lnTo>
                    <a:pt x="121" y="25"/>
                  </a:lnTo>
                  <a:lnTo>
                    <a:pt x="118" y="25"/>
                  </a:lnTo>
                  <a:lnTo>
                    <a:pt x="117" y="25"/>
                  </a:lnTo>
                  <a:lnTo>
                    <a:pt x="113" y="26"/>
                  </a:lnTo>
                  <a:lnTo>
                    <a:pt x="108" y="26"/>
                  </a:lnTo>
                  <a:lnTo>
                    <a:pt x="106" y="26"/>
                  </a:lnTo>
                  <a:lnTo>
                    <a:pt x="105" y="26"/>
                  </a:lnTo>
                  <a:lnTo>
                    <a:pt x="103" y="25"/>
                  </a:lnTo>
                  <a:lnTo>
                    <a:pt x="105" y="24"/>
                  </a:lnTo>
                  <a:lnTo>
                    <a:pt x="99" y="26"/>
                  </a:lnTo>
                  <a:lnTo>
                    <a:pt x="96" y="26"/>
                  </a:lnTo>
                  <a:lnTo>
                    <a:pt x="92" y="26"/>
                  </a:lnTo>
                  <a:lnTo>
                    <a:pt x="95" y="25"/>
                  </a:lnTo>
                  <a:lnTo>
                    <a:pt x="93" y="24"/>
                  </a:lnTo>
                  <a:lnTo>
                    <a:pt x="95" y="24"/>
                  </a:lnTo>
                  <a:lnTo>
                    <a:pt x="92" y="24"/>
                  </a:lnTo>
                  <a:lnTo>
                    <a:pt x="91" y="25"/>
                  </a:lnTo>
                  <a:lnTo>
                    <a:pt x="89" y="26"/>
                  </a:lnTo>
                  <a:lnTo>
                    <a:pt x="86" y="26"/>
                  </a:lnTo>
                  <a:lnTo>
                    <a:pt x="82" y="27"/>
                  </a:lnTo>
                  <a:lnTo>
                    <a:pt x="77" y="27"/>
                  </a:lnTo>
                  <a:lnTo>
                    <a:pt x="75" y="27"/>
                  </a:lnTo>
                  <a:lnTo>
                    <a:pt x="68" y="28"/>
                  </a:lnTo>
                  <a:lnTo>
                    <a:pt x="68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3" y="30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7" y="31"/>
                  </a:lnTo>
                  <a:lnTo>
                    <a:pt x="54" y="31"/>
                  </a:lnTo>
                  <a:lnTo>
                    <a:pt x="51" y="33"/>
                  </a:lnTo>
                  <a:lnTo>
                    <a:pt x="45" y="33"/>
                  </a:lnTo>
                  <a:lnTo>
                    <a:pt x="40" y="34"/>
                  </a:lnTo>
                  <a:lnTo>
                    <a:pt x="31" y="34"/>
                  </a:lnTo>
                  <a:lnTo>
                    <a:pt x="27" y="31"/>
                  </a:lnTo>
                  <a:lnTo>
                    <a:pt x="26" y="30"/>
                  </a:lnTo>
                  <a:lnTo>
                    <a:pt x="25" y="30"/>
                  </a:lnTo>
                  <a:lnTo>
                    <a:pt x="26" y="29"/>
                  </a:lnTo>
                  <a:lnTo>
                    <a:pt x="27" y="29"/>
                  </a:lnTo>
                  <a:lnTo>
                    <a:pt x="30" y="28"/>
                  </a:lnTo>
                  <a:lnTo>
                    <a:pt x="31" y="28"/>
                  </a:lnTo>
                  <a:lnTo>
                    <a:pt x="35" y="27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9" y="27"/>
                  </a:lnTo>
                  <a:lnTo>
                    <a:pt x="41" y="27"/>
                  </a:lnTo>
                  <a:lnTo>
                    <a:pt x="42" y="26"/>
                  </a:lnTo>
                  <a:lnTo>
                    <a:pt x="46" y="25"/>
                  </a:lnTo>
                  <a:lnTo>
                    <a:pt x="56" y="25"/>
                  </a:lnTo>
                  <a:lnTo>
                    <a:pt x="58" y="25"/>
                  </a:lnTo>
                  <a:lnTo>
                    <a:pt x="58" y="26"/>
                  </a:lnTo>
                  <a:lnTo>
                    <a:pt x="60" y="26"/>
                  </a:lnTo>
                  <a:lnTo>
                    <a:pt x="62" y="25"/>
                  </a:lnTo>
                  <a:lnTo>
                    <a:pt x="65" y="24"/>
                  </a:lnTo>
                  <a:lnTo>
                    <a:pt x="67" y="24"/>
                  </a:lnTo>
                  <a:lnTo>
                    <a:pt x="70" y="23"/>
                  </a:lnTo>
                  <a:lnTo>
                    <a:pt x="72" y="21"/>
                  </a:lnTo>
                  <a:lnTo>
                    <a:pt x="73" y="21"/>
                  </a:lnTo>
                  <a:lnTo>
                    <a:pt x="71" y="21"/>
                  </a:lnTo>
                  <a:lnTo>
                    <a:pt x="67" y="23"/>
                  </a:lnTo>
                  <a:lnTo>
                    <a:pt x="65" y="23"/>
                  </a:lnTo>
                  <a:lnTo>
                    <a:pt x="56" y="24"/>
                  </a:lnTo>
                  <a:lnTo>
                    <a:pt x="56" y="23"/>
                  </a:lnTo>
                  <a:lnTo>
                    <a:pt x="58" y="21"/>
                  </a:lnTo>
                  <a:lnTo>
                    <a:pt x="54" y="23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2" y="23"/>
                  </a:lnTo>
                  <a:lnTo>
                    <a:pt x="49" y="24"/>
                  </a:lnTo>
                  <a:lnTo>
                    <a:pt x="47" y="24"/>
                  </a:lnTo>
                  <a:lnTo>
                    <a:pt x="47" y="23"/>
                  </a:lnTo>
                  <a:lnTo>
                    <a:pt x="45" y="24"/>
                  </a:lnTo>
                  <a:lnTo>
                    <a:pt x="41" y="24"/>
                  </a:lnTo>
                  <a:lnTo>
                    <a:pt x="37" y="25"/>
                  </a:lnTo>
                  <a:lnTo>
                    <a:pt x="37" y="24"/>
                  </a:lnTo>
                  <a:lnTo>
                    <a:pt x="38" y="24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21"/>
                  </a:lnTo>
                  <a:lnTo>
                    <a:pt x="44" y="20"/>
                  </a:lnTo>
                  <a:lnTo>
                    <a:pt x="47" y="19"/>
                  </a:lnTo>
                  <a:lnTo>
                    <a:pt x="50" y="19"/>
                  </a:lnTo>
                  <a:lnTo>
                    <a:pt x="48" y="19"/>
                  </a:lnTo>
                  <a:lnTo>
                    <a:pt x="46" y="19"/>
                  </a:lnTo>
                  <a:lnTo>
                    <a:pt x="42" y="19"/>
                  </a:lnTo>
                  <a:lnTo>
                    <a:pt x="38" y="21"/>
                  </a:lnTo>
                  <a:lnTo>
                    <a:pt x="37" y="23"/>
                  </a:lnTo>
                  <a:lnTo>
                    <a:pt x="37" y="21"/>
                  </a:lnTo>
                  <a:lnTo>
                    <a:pt x="35" y="20"/>
                  </a:lnTo>
                  <a:lnTo>
                    <a:pt x="34" y="21"/>
                  </a:lnTo>
                  <a:lnTo>
                    <a:pt x="34" y="23"/>
                  </a:lnTo>
                  <a:lnTo>
                    <a:pt x="32" y="24"/>
                  </a:lnTo>
                  <a:lnTo>
                    <a:pt x="31" y="24"/>
                  </a:lnTo>
                  <a:lnTo>
                    <a:pt x="26" y="26"/>
                  </a:lnTo>
                  <a:lnTo>
                    <a:pt x="24" y="25"/>
                  </a:lnTo>
                  <a:lnTo>
                    <a:pt x="25" y="24"/>
                  </a:lnTo>
                  <a:lnTo>
                    <a:pt x="26" y="23"/>
                  </a:lnTo>
                  <a:lnTo>
                    <a:pt x="22" y="24"/>
                  </a:lnTo>
                  <a:lnTo>
                    <a:pt x="20" y="24"/>
                  </a:lnTo>
                  <a:lnTo>
                    <a:pt x="19" y="25"/>
                  </a:lnTo>
                  <a:lnTo>
                    <a:pt x="18" y="26"/>
                  </a:lnTo>
                  <a:lnTo>
                    <a:pt x="16" y="26"/>
                  </a:lnTo>
                  <a:lnTo>
                    <a:pt x="12" y="25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9" y="24"/>
                  </a:lnTo>
                  <a:lnTo>
                    <a:pt x="4" y="23"/>
                  </a:lnTo>
                  <a:lnTo>
                    <a:pt x="1" y="23"/>
                  </a:lnTo>
                  <a:lnTo>
                    <a:pt x="0" y="21"/>
                  </a:lnTo>
                  <a:lnTo>
                    <a:pt x="1" y="21"/>
                  </a:lnTo>
                  <a:lnTo>
                    <a:pt x="6" y="19"/>
                  </a:lnTo>
                  <a:lnTo>
                    <a:pt x="9" y="18"/>
                  </a:lnTo>
                  <a:lnTo>
                    <a:pt x="15" y="18"/>
                  </a:lnTo>
                  <a:lnTo>
                    <a:pt x="21" y="18"/>
                  </a:lnTo>
                  <a:lnTo>
                    <a:pt x="24" y="18"/>
                  </a:lnTo>
                  <a:lnTo>
                    <a:pt x="27" y="17"/>
                  </a:lnTo>
                  <a:lnTo>
                    <a:pt x="32" y="16"/>
                  </a:lnTo>
                  <a:lnTo>
                    <a:pt x="36" y="15"/>
                  </a:lnTo>
                  <a:lnTo>
                    <a:pt x="31" y="16"/>
                  </a:lnTo>
                  <a:lnTo>
                    <a:pt x="27" y="16"/>
                  </a:lnTo>
                  <a:lnTo>
                    <a:pt x="24" y="17"/>
                  </a:lnTo>
                  <a:lnTo>
                    <a:pt x="18" y="18"/>
                  </a:lnTo>
                  <a:lnTo>
                    <a:pt x="10" y="17"/>
                  </a:lnTo>
                  <a:lnTo>
                    <a:pt x="12" y="16"/>
                  </a:lnTo>
                  <a:lnTo>
                    <a:pt x="17" y="15"/>
                  </a:lnTo>
                  <a:lnTo>
                    <a:pt x="26" y="14"/>
                  </a:lnTo>
                  <a:lnTo>
                    <a:pt x="31" y="14"/>
                  </a:lnTo>
                  <a:lnTo>
                    <a:pt x="40" y="14"/>
                  </a:lnTo>
                  <a:lnTo>
                    <a:pt x="44" y="13"/>
                  </a:lnTo>
                  <a:lnTo>
                    <a:pt x="38" y="13"/>
                  </a:lnTo>
                  <a:lnTo>
                    <a:pt x="22" y="14"/>
                  </a:lnTo>
                  <a:lnTo>
                    <a:pt x="21" y="13"/>
                  </a:lnTo>
                  <a:lnTo>
                    <a:pt x="22" y="13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9" y="9"/>
                  </a:lnTo>
                  <a:lnTo>
                    <a:pt x="32" y="8"/>
                  </a:lnTo>
                  <a:lnTo>
                    <a:pt x="38" y="9"/>
                  </a:lnTo>
                  <a:lnTo>
                    <a:pt x="41" y="8"/>
                  </a:lnTo>
                  <a:lnTo>
                    <a:pt x="48" y="9"/>
                  </a:lnTo>
                  <a:lnTo>
                    <a:pt x="49" y="9"/>
                  </a:lnTo>
                  <a:lnTo>
                    <a:pt x="47" y="9"/>
                  </a:lnTo>
                  <a:lnTo>
                    <a:pt x="47" y="8"/>
                  </a:lnTo>
                  <a:lnTo>
                    <a:pt x="38" y="8"/>
                  </a:lnTo>
                  <a:lnTo>
                    <a:pt x="38" y="7"/>
                  </a:lnTo>
                  <a:lnTo>
                    <a:pt x="41" y="6"/>
                  </a:lnTo>
                  <a:lnTo>
                    <a:pt x="45" y="5"/>
                  </a:lnTo>
                  <a:lnTo>
                    <a:pt x="50" y="5"/>
                  </a:lnTo>
                  <a:lnTo>
                    <a:pt x="52" y="5"/>
                  </a:lnTo>
                  <a:lnTo>
                    <a:pt x="56" y="5"/>
                  </a:lnTo>
                  <a:lnTo>
                    <a:pt x="58" y="5"/>
                  </a:lnTo>
                  <a:lnTo>
                    <a:pt x="59" y="6"/>
                  </a:lnTo>
                  <a:lnTo>
                    <a:pt x="58" y="7"/>
                  </a:lnTo>
                  <a:lnTo>
                    <a:pt x="56" y="7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5" y="8"/>
                  </a:lnTo>
                  <a:lnTo>
                    <a:pt x="69" y="8"/>
                  </a:lnTo>
                  <a:lnTo>
                    <a:pt x="68" y="8"/>
                  </a:lnTo>
                  <a:lnTo>
                    <a:pt x="72" y="9"/>
                  </a:lnTo>
                  <a:lnTo>
                    <a:pt x="71" y="10"/>
                  </a:lnTo>
                  <a:lnTo>
                    <a:pt x="72" y="11"/>
                  </a:lnTo>
                  <a:lnTo>
                    <a:pt x="75" y="11"/>
                  </a:lnTo>
                  <a:lnTo>
                    <a:pt x="76" y="13"/>
                  </a:lnTo>
                  <a:lnTo>
                    <a:pt x="70" y="13"/>
                  </a:lnTo>
                  <a:lnTo>
                    <a:pt x="69" y="14"/>
                  </a:lnTo>
                  <a:lnTo>
                    <a:pt x="71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7" y="15"/>
                  </a:lnTo>
                  <a:lnTo>
                    <a:pt x="75" y="15"/>
                  </a:lnTo>
                  <a:lnTo>
                    <a:pt x="76" y="15"/>
                  </a:lnTo>
                  <a:lnTo>
                    <a:pt x="76" y="16"/>
                  </a:lnTo>
                  <a:lnTo>
                    <a:pt x="73" y="17"/>
                  </a:lnTo>
                  <a:lnTo>
                    <a:pt x="75" y="18"/>
                  </a:lnTo>
                  <a:lnTo>
                    <a:pt x="76" y="18"/>
                  </a:lnTo>
                  <a:lnTo>
                    <a:pt x="77" y="18"/>
                  </a:lnTo>
                  <a:lnTo>
                    <a:pt x="79" y="17"/>
                  </a:lnTo>
                  <a:lnTo>
                    <a:pt x="80" y="17"/>
                  </a:lnTo>
                  <a:lnTo>
                    <a:pt x="83" y="17"/>
                  </a:lnTo>
                  <a:lnTo>
                    <a:pt x="83" y="18"/>
                  </a:lnTo>
                  <a:lnTo>
                    <a:pt x="88" y="17"/>
                  </a:lnTo>
                  <a:lnTo>
                    <a:pt x="97" y="18"/>
                  </a:lnTo>
                  <a:lnTo>
                    <a:pt x="99" y="18"/>
                  </a:lnTo>
                  <a:lnTo>
                    <a:pt x="101" y="17"/>
                  </a:lnTo>
                  <a:lnTo>
                    <a:pt x="102" y="16"/>
                  </a:lnTo>
                  <a:lnTo>
                    <a:pt x="101" y="15"/>
                  </a:lnTo>
                  <a:lnTo>
                    <a:pt x="101" y="14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8" y="13"/>
                  </a:lnTo>
                  <a:lnTo>
                    <a:pt x="96" y="14"/>
                  </a:lnTo>
                  <a:lnTo>
                    <a:pt x="95" y="13"/>
                  </a:lnTo>
                  <a:lnTo>
                    <a:pt x="101" y="11"/>
                  </a:lnTo>
                  <a:lnTo>
                    <a:pt x="102" y="11"/>
                  </a:lnTo>
                  <a:lnTo>
                    <a:pt x="105" y="11"/>
                  </a:lnTo>
                  <a:lnTo>
                    <a:pt x="106" y="9"/>
                  </a:lnTo>
                  <a:lnTo>
                    <a:pt x="105" y="9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101" y="8"/>
                  </a:lnTo>
                  <a:lnTo>
                    <a:pt x="98" y="7"/>
                  </a:lnTo>
                  <a:lnTo>
                    <a:pt x="99" y="6"/>
                  </a:lnTo>
                  <a:lnTo>
                    <a:pt x="99" y="6"/>
                  </a:lnTo>
                  <a:lnTo>
                    <a:pt x="99" y="5"/>
                  </a:lnTo>
                  <a:lnTo>
                    <a:pt x="102" y="5"/>
                  </a:lnTo>
                  <a:lnTo>
                    <a:pt x="105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36" name="Freeform 1136"/>
            <p:cNvSpPr>
              <a:spLocks/>
            </p:cNvSpPr>
            <p:nvPr/>
          </p:nvSpPr>
          <p:spPr bwMode="auto">
            <a:xfrm>
              <a:off x="1473" y="813"/>
              <a:ext cx="141" cy="34"/>
            </a:xfrm>
            <a:custGeom>
              <a:avLst/>
              <a:gdLst>
                <a:gd name="T0" fmla="*/ 109 w 141"/>
                <a:gd name="T1" fmla="*/ 4 h 34"/>
                <a:gd name="T2" fmla="*/ 123 w 141"/>
                <a:gd name="T3" fmla="*/ 0 h 34"/>
                <a:gd name="T4" fmla="*/ 121 w 141"/>
                <a:gd name="T5" fmla="*/ 4 h 34"/>
                <a:gd name="T6" fmla="*/ 122 w 141"/>
                <a:gd name="T7" fmla="*/ 7 h 34"/>
                <a:gd name="T8" fmla="*/ 115 w 141"/>
                <a:gd name="T9" fmla="*/ 10 h 34"/>
                <a:gd name="T10" fmla="*/ 119 w 141"/>
                <a:gd name="T11" fmla="*/ 13 h 34"/>
                <a:gd name="T12" fmla="*/ 119 w 141"/>
                <a:gd name="T13" fmla="*/ 13 h 34"/>
                <a:gd name="T14" fmla="*/ 128 w 141"/>
                <a:gd name="T15" fmla="*/ 14 h 34"/>
                <a:gd name="T16" fmla="*/ 138 w 141"/>
                <a:gd name="T17" fmla="*/ 11 h 34"/>
                <a:gd name="T18" fmla="*/ 138 w 141"/>
                <a:gd name="T19" fmla="*/ 17 h 34"/>
                <a:gd name="T20" fmla="*/ 125 w 141"/>
                <a:gd name="T21" fmla="*/ 24 h 34"/>
                <a:gd name="T22" fmla="*/ 108 w 141"/>
                <a:gd name="T23" fmla="*/ 26 h 34"/>
                <a:gd name="T24" fmla="*/ 99 w 141"/>
                <a:gd name="T25" fmla="*/ 26 h 34"/>
                <a:gd name="T26" fmla="*/ 95 w 141"/>
                <a:gd name="T27" fmla="*/ 24 h 34"/>
                <a:gd name="T28" fmla="*/ 82 w 141"/>
                <a:gd name="T29" fmla="*/ 27 h 34"/>
                <a:gd name="T30" fmla="*/ 67 w 141"/>
                <a:gd name="T31" fmla="*/ 29 h 34"/>
                <a:gd name="T32" fmla="*/ 57 w 141"/>
                <a:gd name="T33" fmla="*/ 31 h 34"/>
                <a:gd name="T34" fmla="*/ 31 w 141"/>
                <a:gd name="T35" fmla="*/ 34 h 34"/>
                <a:gd name="T36" fmla="*/ 27 w 141"/>
                <a:gd name="T37" fmla="*/ 29 h 34"/>
                <a:gd name="T38" fmla="*/ 38 w 141"/>
                <a:gd name="T39" fmla="*/ 27 h 34"/>
                <a:gd name="T40" fmla="*/ 56 w 141"/>
                <a:gd name="T41" fmla="*/ 25 h 34"/>
                <a:gd name="T42" fmla="*/ 65 w 141"/>
                <a:gd name="T43" fmla="*/ 24 h 34"/>
                <a:gd name="T44" fmla="*/ 71 w 141"/>
                <a:gd name="T45" fmla="*/ 21 h 34"/>
                <a:gd name="T46" fmla="*/ 58 w 141"/>
                <a:gd name="T47" fmla="*/ 21 h 34"/>
                <a:gd name="T48" fmla="*/ 49 w 141"/>
                <a:gd name="T49" fmla="*/ 24 h 34"/>
                <a:gd name="T50" fmla="*/ 37 w 141"/>
                <a:gd name="T51" fmla="*/ 25 h 34"/>
                <a:gd name="T52" fmla="*/ 41 w 141"/>
                <a:gd name="T53" fmla="*/ 21 h 34"/>
                <a:gd name="T54" fmla="*/ 46 w 141"/>
                <a:gd name="T55" fmla="*/ 19 h 34"/>
                <a:gd name="T56" fmla="*/ 35 w 141"/>
                <a:gd name="T57" fmla="*/ 20 h 34"/>
                <a:gd name="T58" fmla="*/ 26 w 141"/>
                <a:gd name="T59" fmla="*/ 26 h 34"/>
                <a:gd name="T60" fmla="*/ 20 w 141"/>
                <a:gd name="T61" fmla="*/ 24 h 34"/>
                <a:gd name="T62" fmla="*/ 15 w 141"/>
                <a:gd name="T63" fmla="*/ 24 h 34"/>
                <a:gd name="T64" fmla="*/ 4 w 141"/>
                <a:gd name="T65" fmla="*/ 23 h 34"/>
                <a:gd name="T66" fmla="*/ 9 w 141"/>
                <a:gd name="T67" fmla="*/ 18 h 34"/>
                <a:gd name="T68" fmla="*/ 32 w 141"/>
                <a:gd name="T69" fmla="*/ 16 h 34"/>
                <a:gd name="T70" fmla="*/ 18 w 141"/>
                <a:gd name="T71" fmla="*/ 18 h 34"/>
                <a:gd name="T72" fmla="*/ 31 w 141"/>
                <a:gd name="T73" fmla="*/ 14 h 34"/>
                <a:gd name="T74" fmla="*/ 21 w 141"/>
                <a:gd name="T75" fmla="*/ 13 h 34"/>
                <a:gd name="T76" fmla="*/ 26 w 141"/>
                <a:gd name="T77" fmla="*/ 10 h 34"/>
                <a:gd name="T78" fmla="*/ 48 w 141"/>
                <a:gd name="T79" fmla="*/ 9 h 34"/>
                <a:gd name="T80" fmla="*/ 38 w 141"/>
                <a:gd name="T81" fmla="*/ 7 h 34"/>
                <a:gd name="T82" fmla="*/ 56 w 141"/>
                <a:gd name="T83" fmla="*/ 5 h 34"/>
                <a:gd name="T84" fmla="*/ 56 w 141"/>
                <a:gd name="T85" fmla="*/ 8 h 34"/>
                <a:gd name="T86" fmla="*/ 72 w 141"/>
                <a:gd name="T87" fmla="*/ 9 h 34"/>
                <a:gd name="T88" fmla="*/ 70 w 141"/>
                <a:gd name="T89" fmla="*/ 13 h 34"/>
                <a:gd name="T90" fmla="*/ 77 w 141"/>
                <a:gd name="T91" fmla="*/ 14 h 34"/>
                <a:gd name="T92" fmla="*/ 73 w 141"/>
                <a:gd name="T93" fmla="*/ 17 h 34"/>
                <a:gd name="T94" fmla="*/ 80 w 141"/>
                <a:gd name="T95" fmla="*/ 17 h 34"/>
                <a:gd name="T96" fmla="*/ 99 w 141"/>
                <a:gd name="T97" fmla="*/ 18 h 34"/>
                <a:gd name="T98" fmla="*/ 98 w 141"/>
                <a:gd name="T99" fmla="*/ 14 h 34"/>
                <a:gd name="T100" fmla="*/ 101 w 141"/>
                <a:gd name="T101" fmla="*/ 11 h 34"/>
                <a:gd name="T102" fmla="*/ 103 w 141"/>
                <a:gd name="T103" fmla="*/ 8 h 34"/>
                <a:gd name="T104" fmla="*/ 99 w 141"/>
                <a:gd name="T105" fmla="*/ 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1" h="34">
                  <a:moveTo>
                    <a:pt x="105" y="5"/>
                  </a:moveTo>
                  <a:lnTo>
                    <a:pt x="105" y="5"/>
                  </a:lnTo>
                  <a:lnTo>
                    <a:pt x="105" y="5"/>
                  </a:lnTo>
                  <a:lnTo>
                    <a:pt x="107" y="5"/>
                  </a:lnTo>
                  <a:lnTo>
                    <a:pt x="109" y="4"/>
                  </a:lnTo>
                  <a:lnTo>
                    <a:pt x="110" y="4"/>
                  </a:lnTo>
                  <a:lnTo>
                    <a:pt x="118" y="0"/>
                  </a:lnTo>
                  <a:lnTo>
                    <a:pt x="119" y="0"/>
                  </a:lnTo>
                  <a:lnTo>
                    <a:pt x="121" y="0"/>
                  </a:lnTo>
                  <a:lnTo>
                    <a:pt x="123" y="0"/>
                  </a:lnTo>
                  <a:lnTo>
                    <a:pt x="125" y="1"/>
                  </a:lnTo>
                  <a:lnTo>
                    <a:pt x="123" y="1"/>
                  </a:lnTo>
                  <a:lnTo>
                    <a:pt x="121" y="3"/>
                  </a:lnTo>
                  <a:lnTo>
                    <a:pt x="120" y="4"/>
                  </a:lnTo>
                  <a:lnTo>
                    <a:pt x="121" y="4"/>
                  </a:lnTo>
                  <a:lnTo>
                    <a:pt x="120" y="5"/>
                  </a:lnTo>
                  <a:lnTo>
                    <a:pt x="119" y="5"/>
                  </a:lnTo>
                  <a:lnTo>
                    <a:pt x="119" y="6"/>
                  </a:lnTo>
                  <a:lnTo>
                    <a:pt x="121" y="6"/>
                  </a:lnTo>
                  <a:lnTo>
                    <a:pt x="122" y="7"/>
                  </a:lnTo>
                  <a:lnTo>
                    <a:pt x="121" y="7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18" y="9"/>
                  </a:lnTo>
                  <a:lnTo>
                    <a:pt x="115" y="10"/>
                  </a:lnTo>
                  <a:lnTo>
                    <a:pt x="112" y="10"/>
                  </a:lnTo>
                  <a:lnTo>
                    <a:pt x="115" y="10"/>
                  </a:lnTo>
                  <a:lnTo>
                    <a:pt x="120" y="10"/>
                  </a:lnTo>
                  <a:lnTo>
                    <a:pt x="122" y="11"/>
                  </a:lnTo>
                  <a:lnTo>
                    <a:pt x="119" y="13"/>
                  </a:lnTo>
                  <a:lnTo>
                    <a:pt x="118" y="13"/>
                  </a:lnTo>
                  <a:lnTo>
                    <a:pt x="115" y="14"/>
                  </a:lnTo>
                  <a:lnTo>
                    <a:pt x="115" y="15"/>
                  </a:lnTo>
                  <a:lnTo>
                    <a:pt x="118" y="13"/>
                  </a:lnTo>
                  <a:lnTo>
                    <a:pt x="119" y="13"/>
                  </a:lnTo>
                  <a:lnTo>
                    <a:pt x="121" y="13"/>
                  </a:lnTo>
                  <a:lnTo>
                    <a:pt x="125" y="13"/>
                  </a:lnTo>
                  <a:lnTo>
                    <a:pt x="125" y="16"/>
                  </a:lnTo>
                  <a:lnTo>
                    <a:pt x="127" y="14"/>
                  </a:lnTo>
                  <a:lnTo>
                    <a:pt x="128" y="14"/>
                  </a:lnTo>
                  <a:lnTo>
                    <a:pt x="128" y="14"/>
                  </a:lnTo>
                  <a:lnTo>
                    <a:pt x="129" y="13"/>
                  </a:lnTo>
                  <a:lnTo>
                    <a:pt x="131" y="11"/>
                  </a:lnTo>
                  <a:lnTo>
                    <a:pt x="132" y="10"/>
                  </a:lnTo>
                  <a:lnTo>
                    <a:pt x="138" y="11"/>
                  </a:lnTo>
                  <a:lnTo>
                    <a:pt x="141" y="13"/>
                  </a:lnTo>
                  <a:lnTo>
                    <a:pt x="141" y="15"/>
                  </a:lnTo>
                  <a:lnTo>
                    <a:pt x="140" y="15"/>
                  </a:lnTo>
                  <a:lnTo>
                    <a:pt x="140" y="16"/>
                  </a:lnTo>
                  <a:lnTo>
                    <a:pt x="138" y="17"/>
                  </a:lnTo>
                  <a:lnTo>
                    <a:pt x="137" y="17"/>
                  </a:lnTo>
                  <a:lnTo>
                    <a:pt x="135" y="18"/>
                  </a:lnTo>
                  <a:lnTo>
                    <a:pt x="130" y="21"/>
                  </a:lnTo>
                  <a:lnTo>
                    <a:pt x="128" y="21"/>
                  </a:lnTo>
                  <a:lnTo>
                    <a:pt x="125" y="24"/>
                  </a:lnTo>
                  <a:lnTo>
                    <a:pt x="121" y="25"/>
                  </a:lnTo>
                  <a:lnTo>
                    <a:pt x="118" y="25"/>
                  </a:lnTo>
                  <a:lnTo>
                    <a:pt x="117" y="25"/>
                  </a:lnTo>
                  <a:lnTo>
                    <a:pt x="113" y="26"/>
                  </a:lnTo>
                  <a:lnTo>
                    <a:pt x="108" y="26"/>
                  </a:lnTo>
                  <a:lnTo>
                    <a:pt x="106" y="26"/>
                  </a:lnTo>
                  <a:lnTo>
                    <a:pt x="105" y="26"/>
                  </a:lnTo>
                  <a:lnTo>
                    <a:pt x="103" y="25"/>
                  </a:lnTo>
                  <a:lnTo>
                    <a:pt x="105" y="24"/>
                  </a:lnTo>
                  <a:lnTo>
                    <a:pt x="99" y="26"/>
                  </a:lnTo>
                  <a:lnTo>
                    <a:pt x="96" y="26"/>
                  </a:lnTo>
                  <a:lnTo>
                    <a:pt x="92" y="26"/>
                  </a:lnTo>
                  <a:lnTo>
                    <a:pt x="95" y="25"/>
                  </a:lnTo>
                  <a:lnTo>
                    <a:pt x="93" y="24"/>
                  </a:lnTo>
                  <a:lnTo>
                    <a:pt x="95" y="24"/>
                  </a:lnTo>
                  <a:lnTo>
                    <a:pt x="92" y="24"/>
                  </a:lnTo>
                  <a:lnTo>
                    <a:pt x="91" y="25"/>
                  </a:lnTo>
                  <a:lnTo>
                    <a:pt x="89" y="26"/>
                  </a:lnTo>
                  <a:lnTo>
                    <a:pt x="86" y="26"/>
                  </a:lnTo>
                  <a:lnTo>
                    <a:pt x="82" y="27"/>
                  </a:lnTo>
                  <a:lnTo>
                    <a:pt x="77" y="27"/>
                  </a:lnTo>
                  <a:lnTo>
                    <a:pt x="75" y="27"/>
                  </a:lnTo>
                  <a:lnTo>
                    <a:pt x="68" y="28"/>
                  </a:lnTo>
                  <a:lnTo>
                    <a:pt x="68" y="29"/>
                  </a:lnTo>
                  <a:lnTo>
                    <a:pt x="67" y="29"/>
                  </a:lnTo>
                  <a:lnTo>
                    <a:pt x="65" y="29"/>
                  </a:lnTo>
                  <a:lnTo>
                    <a:pt x="63" y="30"/>
                  </a:lnTo>
                  <a:lnTo>
                    <a:pt x="60" y="30"/>
                  </a:lnTo>
                  <a:lnTo>
                    <a:pt x="58" y="30"/>
                  </a:lnTo>
                  <a:lnTo>
                    <a:pt x="57" y="31"/>
                  </a:lnTo>
                  <a:lnTo>
                    <a:pt x="54" y="31"/>
                  </a:lnTo>
                  <a:lnTo>
                    <a:pt x="51" y="33"/>
                  </a:lnTo>
                  <a:lnTo>
                    <a:pt x="45" y="33"/>
                  </a:lnTo>
                  <a:lnTo>
                    <a:pt x="40" y="34"/>
                  </a:lnTo>
                  <a:lnTo>
                    <a:pt x="31" y="34"/>
                  </a:lnTo>
                  <a:lnTo>
                    <a:pt x="27" y="31"/>
                  </a:lnTo>
                  <a:lnTo>
                    <a:pt x="26" y="30"/>
                  </a:lnTo>
                  <a:lnTo>
                    <a:pt x="25" y="30"/>
                  </a:lnTo>
                  <a:lnTo>
                    <a:pt x="26" y="29"/>
                  </a:lnTo>
                  <a:lnTo>
                    <a:pt x="27" y="29"/>
                  </a:lnTo>
                  <a:lnTo>
                    <a:pt x="30" y="28"/>
                  </a:lnTo>
                  <a:lnTo>
                    <a:pt x="31" y="28"/>
                  </a:lnTo>
                  <a:lnTo>
                    <a:pt x="35" y="27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9" y="27"/>
                  </a:lnTo>
                  <a:lnTo>
                    <a:pt x="41" y="27"/>
                  </a:lnTo>
                  <a:lnTo>
                    <a:pt x="42" y="26"/>
                  </a:lnTo>
                  <a:lnTo>
                    <a:pt x="46" y="25"/>
                  </a:lnTo>
                  <a:lnTo>
                    <a:pt x="56" y="25"/>
                  </a:lnTo>
                  <a:lnTo>
                    <a:pt x="58" y="25"/>
                  </a:lnTo>
                  <a:lnTo>
                    <a:pt x="58" y="26"/>
                  </a:lnTo>
                  <a:lnTo>
                    <a:pt x="60" y="26"/>
                  </a:lnTo>
                  <a:lnTo>
                    <a:pt x="62" y="25"/>
                  </a:lnTo>
                  <a:lnTo>
                    <a:pt x="65" y="24"/>
                  </a:lnTo>
                  <a:lnTo>
                    <a:pt x="67" y="24"/>
                  </a:lnTo>
                  <a:lnTo>
                    <a:pt x="70" y="23"/>
                  </a:lnTo>
                  <a:lnTo>
                    <a:pt x="72" y="21"/>
                  </a:lnTo>
                  <a:lnTo>
                    <a:pt x="73" y="21"/>
                  </a:lnTo>
                  <a:lnTo>
                    <a:pt x="71" y="21"/>
                  </a:lnTo>
                  <a:lnTo>
                    <a:pt x="67" y="23"/>
                  </a:lnTo>
                  <a:lnTo>
                    <a:pt x="65" y="23"/>
                  </a:lnTo>
                  <a:lnTo>
                    <a:pt x="56" y="24"/>
                  </a:lnTo>
                  <a:lnTo>
                    <a:pt x="56" y="23"/>
                  </a:lnTo>
                  <a:lnTo>
                    <a:pt x="58" y="21"/>
                  </a:lnTo>
                  <a:lnTo>
                    <a:pt x="54" y="23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2" y="23"/>
                  </a:lnTo>
                  <a:lnTo>
                    <a:pt x="49" y="24"/>
                  </a:lnTo>
                  <a:lnTo>
                    <a:pt x="47" y="24"/>
                  </a:lnTo>
                  <a:lnTo>
                    <a:pt x="47" y="23"/>
                  </a:lnTo>
                  <a:lnTo>
                    <a:pt x="45" y="24"/>
                  </a:lnTo>
                  <a:lnTo>
                    <a:pt x="41" y="24"/>
                  </a:lnTo>
                  <a:lnTo>
                    <a:pt x="37" y="25"/>
                  </a:lnTo>
                  <a:lnTo>
                    <a:pt x="37" y="24"/>
                  </a:lnTo>
                  <a:lnTo>
                    <a:pt x="38" y="24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21"/>
                  </a:lnTo>
                  <a:lnTo>
                    <a:pt x="44" y="20"/>
                  </a:lnTo>
                  <a:lnTo>
                    <a:pt x="47" y="19"/>
                  </a:lnTo>
                  <a:lnTo>
                    <a:pt x="50" y="19"/>
                  </a:lnTo>
                  <a:lnTo>
                    <a:pt x="48" y="19"/>
                  </a:lnTo>
                  <a:lnTo>
                    <a:pt x="46" y="19"/>
                  </a:lnTo>
                  <a:lnTo>
                    <a:pt x="42" y="19"/>
                  </a:lnTo>
                  <a:lnTo>
                    <a:pt x="38" y="21"/>
                  </a:lnTo>
                  <a:lnTo>
                    <a:pt x="37" y="23"/>
                  </a:lnTo>
                  <a:lnTo>
                    <a:pt x="37" y="21"/>
                  </a:lnTo>
                  <a:lnTo>
                    <a:pt x="35" y="20"/>
                  </a:lnTo>
                  <a:lnTo>
                    <a:pt x="34" y="21"/>
                  </a:lnTo>
                  <a:lnTo>
                    <a:pt x="34" y="23"/>
                  </a:lnTo>
                  <a:lnTo>
                    <a:pt x="32" y="24"/>
                  </a:lnTo>
                  <a:lnTo>
                    <a:pt x="31" y="24"/>
                  </a:lnTo>
                  <a:lnTo>
                    <a:pt x="26" y="26"/>
                  </a:lnTo>
                  <a:lnTo>
                    <a:pt x="24" y="25"/>
                  </a:lnTo>
                  <a:lnTo>
                    <a:pt x="25" y="24"/>
                  </a:lnTo>
                  <a:lnTo>
                    <a:pt x="26" y="23"/>
                  </a:lnTo>
                  <a:lnTo>
                    <a:pt x="22" y="24"/>
                  </a:lnTo>
                  <a:lnTo>
                    <a:pt x="20" y="24"/>
                  </a:lnTo>
                  <a:lnTo>
                    <a:pt x="19" y="25"/>
                  </a:lnTo>
                  <a:lnTo>
                    <a:pt x="18" y="26"/>
                  </a:lnTo>
                  <a:lnTo>
                    <a:pt x="16" y="26"/>
                  </a:lnTo>
                  <a:lnTo>
                    <a:pt x="12" y="25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5" y="23"/>
                  </a:lnTo>
                  <a:lnTo>
                    <a:pt x="11" y="23"/>
                  </a:lnTo>
                  <a:lnTo>
                    <a:pt x="9" y="24"/>
                  </a:lnTo>
                  <a:lnTo>
                    <a:pt x="4" y="23"/>
                  </a:lnTo>
                  <a:lnTo>
                    <a:pt x="1" y="23"/>
                  </a:lnTo>
                  <a:lnTo>
                    <a:pt x="0" y="21"/>
                  </a:lnTo>
                  <a:lnTo>
                    <a:pt x="1" y="21"/>
                  </a:lnTo>
                  <a:lnTo>
                    <a:pt x="6" y="19"/>
                  </a:lnTo>
                  <a:lnTo>
                    <a:pt x="9" y="18"/>
                  </a:lnTo>
                  <a:lnTo>
                    <a:pt x="15" y="18"/>
                  </a:lnTo>
                  <a:lnTo>
                    <a:pt x="21" y="18"/>
                  </a:lnTo>
                  <a:lnTo>
                    <a:pt x="24" y="18"/>
                  </a:lnTo>
                  <a:lnTo>
                    <a:pt x="27" y="17"/>
                  </a:lnTo>
                  <a:lnTo>
                    <a:pt x="32" y="16"/>
                  </a:lnTo>
                  <a:lnTo>
                    <a:pt x="36" y="15"/>
                  </a:lnTo>
                  <a:lnTo>
                    <a:pt x="31" y="16"/>
                  </a:lnTo>
                  <a:lnTo>
                    <a:pt x="27" y="16"/>
                  </a:lnTo>
                  <a:lnTo>
                    <a:pt x="24" y="17"/>
                  </a:lnTo>
                  <a:lnTo>
                    <a:pt x="18" y="18"/>
                  </a:lnTo>
                  <a:lnTo>
                    <a:pt x="10" y="17"/>
                  </a:lnTo>
                  <a:lnTo>
                    <a:pt x="12" y="16"/>
                  </a:lnTo>
                  <a:lnTo>
                    <a:pt x="17" y="15"/>
                  </a:lnTo>
                  <a:lnTo>
                    <a:pt x="26" y="14"/>
                  </a:lnTo>
                  <a:lnTo>
                    <a:pt x="31" y="14"/>
                  </a:lnTo>
                  <a:lnTo>
                    <a:pt x="40" y="14"/>
                  </a:lnTo>
                  <a:lnTo>
                    <a:pt x="44" y="13"/>
                  </a:lnTo>
                  <a:lnTo>
                    <a:pt x="38" y="13"/>
                  </a:lnTo>
                  <a:lnTo>
                    <a:pt x="22" y="14"/>
                  </a:lnTo>
                  <a:lnTo>
                    <a:pt x="21" y="13"/>
                  </a:lnTo>
                  <a:lnTo>
                    <a:pt x="22" y="13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9" y="9"/>
                  </a:lnTo>
                  <a:lnTo>
                    <a:pt x="32" y="8"/>
                  </a:lnTo>
                  <a:lnTo>
                    <a:pt x="38" y="9"/>
                  </a:lnTo>
                  <a:lnTo>
                    <a:pt x="41" y="8"/>
                  </a:lnTo>
                  <a:lnTo>
                    <a:pt x="48" y="9"/>
                  </a:lnTo>
                  <a:lnTo>
                    <a:pt x="49" y="9"/>
                  </a:lnTo>
                  <a:lnTo>
                    <a:pt x="47" y="9"/>
                  </a:lnTo>
                  <a:lnTo>
                    <a:pt x="47" y="8"/>
                  </a:lnTo>
                  <a:lnTo>
                    <a:pt x="38" y="8"/>
                  </a:lnTo>
                  <a:lnTo>
                    <a:pt x="38" y="7"/>
                  </a:lnTo>
                  <a:lnTo>
                    <a:pt x="41" y="6"/>
                  </a:lnTo>
                  <a:lnTo>
                    <a:pt x="45" y="5"/>
                  </a:lnTo>
                  <a:lnTo>
                    <a:pt x="50" y="5"/>
                  </a:lnTo>
                  <a:lnTo>
                    <a:pt x="52" y="5"/>
                  </a:lnTo>
                  <a:lnTo>
                    <a:pt x="56" y="5"/>
                  </a:lnTo>
                  <a:lnTo>
                    <a:pt x="58" y="5"/>
                  </a:lnTo>
                  <a:lnTo>
                    <a:pt x="59" y="6"/>
                  </a:lnTo>
                  <a:lnTo>
                    <a:pt x="58" y="7"/>
                  </a:lnTo>
                  <a:lnTo>
                    <a:pt x="56" y="7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5" y="8"/>
                  </a:lnTo>
                  <a:lnTo>
                    <a:pt x="69" y="8"/>
                  </a:lnTo>
                  <a:lnTo>
                    <a:pt x="68" y="8"/>
                  </a:lnTo>
                  <a:lnTo>
                    <a:pt x="72" y="9"/>
                  </a:lnTo>
                  <a:lnTo>
                    <a:pt x="71" y="10"/>
                  </a:lnTo>
                  <a:lnTo>
                    <a:pt x="72" y="11"/>
                  </a:lnTo>
                  <a:lnTo>
                    <a:pt x="75" y="11"/>
                  </a:lnTo>
                  <a:lnTo>
                    <a:pt x="76" y="13"/>
                  </a:lnTo>
                  <a:lnTo>
                    <a:pt x="70" y="13"/>
                  </a:lnTo>
                  <a:lnTo>
                    <a:pt x="69" y="14"/>
                  </a:lnTo>
                  <a:lnTo>
                    <a:pt x="71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7" y="15"/>
                  </a:lnTo>
                  <a:lnTo>
                    <a:pt x="75" y="15"/>
                  </a:lnTo>
                  <a:lnTo>
                    <a:pt x="76" y="15"/>
                  </a:lnTo>
                  <a:lnTo>
                    <a:pt x="76" y="16"/>
                  </a:lnTo>
                  <a:lnTo>
                    <a:pt x="73" y="17"/>
                  </a:lnTo>
                  <a:lnTo>
                    <a:pt x="75" y="18"/>
                  </a:lnTo>
                  <a:lnTo>
                    <a:pt x="76" y="18"/>
                  </a:lnTo>
                  <a:lnTo>
                    <a:pt x="77" y="18"/>
                  </a:lnTo>
                  <a:lnTo>
                    <a:pt x="79" y="17"/>
                  </a:lnTo>
                  <a:lnTo>
                    <a:pt x="80" y="17"/>
                  </a:lnTo>
                  <a:lnTo>
                    <a:pt x="83" y="17"/>
                  </a:lnTo>
                  <a:lnTo>
                    <a:pt x="83" y="18"/>
                  </a:lnTo>
                  <a:lnTo>
                    <a:pt x="88" y="17"/>
                  </a:lnTo>
                  <a:lnTo>
                    <a:pt x="97" y="18"/>
                  </a:lnTo>
                  <a:lnTo>
                    <a:pt x="99" y="18"/>
                  </a:lnTo>
                  <a:lnTo>
                    <a:pt x="101" y="17"/>
                  </a:lnTo>
                  <a:lnTo>
                    <a:pt x="102" y="16"/>
                  </a:lnTo>
                  <a:lnTo>
                    <a:pt x="101" y="15"/>
                  </a:lnTo>
                  <a:lnTo>
                    <a:pt x="101" y="14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8" y="13"/>
                  </a:lnTo>
                  <a:lnTo>
                    <a:pt x="96" y="14"/>
                  </a:lnTo>
                  <a:lnTo>
                    <a:pt x="95" y="13"/>
                  </a:lnTo>
                  <a:lnTo>
                    <a:pt x="101" y="11"/>
                  </a:lnTo>
                  <a:lnTo>
                    <a:pt x="102" y="11"/>
                  </a:lnTo>
                  <a:lnTo>
                    <a:pt x="105" y="11"/>
                  </a:lnTo>
                  <a:lnTo>
                    <a:pt x="106" y="9"/>
                  </a:lnTo>
                  <a:lnTo>
                    <a:pt x="105" y="9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101" y="8"/>
                  </a:lnTo>
                  <a:lnTo>
                    <a:pt x="98" y="7"/>
                  </a:lnTo>
                  <a:lnTo>
                    <a:pt x="99" y="6"/>
                  </a:lnTo>
                  <a:lnTo>
                    <a:pt x="99" y="6"/>
                  </a:lnTo>
                  <a:lnTo>
                    <a:pt x="99" y="5"/>
                  </a:lnTo>
                  <a:lnTo>
                    <a:pt x="102" y="5"/>
                  </a:lnTo>
                  <a:lnTo>
                    <a:pt x="105" y="5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37" name="Freeform 1137"/>
            <p:cNvSpPr>
              <a:spLocks/>
            </p:cNvSpPr>
            <p:nvPr/>
          </p:nvSpPr>
          <p:spPr bwMode="auto">
            <a:xfrm>
              <a:off x="1462" y="823"/>
              <a:ext cx="29" cy="8"/>
            </a:xfrm>
            <a:custGeom>
              <a:avLst/>
              <a:gdLst>
                <a:gd name="T0" fmla="*/ 22 w 29"/>
                <a:gd name="T1" fmla="*/ 0 h 8"/>
                <a:gd name="T2" fmla="*/ 20 w 29"/>
                <a:gd name="T3" fmla="*/ 1 h 8"/>
                <a:gd name="T4" fmla="*/ 21 w 29"/>
                <a:gd name="T5" fmla="*/ 1 h 8"/>
                <a:gd name="T6" fmla="*/ 22 w 29"/>
                <a:gd name="T7" fmla="*/ 0 h 8"/>
                <a:gd name="T8" fmla="*/ 25 w 29"/>
                <a:gd name="T9" fmla="*/ 0 h 8"/>
                <a:gd name="T10" fmla="*/ 27 w 29"/>
                <a:gd name="T11" fmla="*/ 0 h 8"/>
                <a:gd name="T12" fmla="*/ 29 w 29"/>
                <a:gd name="T13" fmla="*/ 0 h 8"/>
                <a:gd name="T14" fmla="*/ 27 w 29"/>
                <a:gd name="T15" fmla="*/ 1 h 8"/>
                <a:gd name="T16" fmla="*/ 21 w 29"/>
                <a:gd name="T17" fmla="*/ 4 h 8"/>
                <a:gd name="T18" fmla="*/ 20 w 29"/>
                <a:gd name="T19" fmla="*/ 4 h 8"/>
                <a:gd name="T20" fmla="*/ 19 w 29"/>
                <a:gd name="T21" fmla="*/ 5 h 8"/>
                <a:gd name="T22" fmla="*/ 16 w 29"/>
                <a:gd name="T23" fmla="*/ 6 h 8"/>
                <a:gd name="T24" fmla="*/ 12 w 29"/>
                <a:gd name="T25" fmla="*/ 7 h 8"/>
                <a:gd name="T26" fmla="*/ 8 w 29"/>
                <a:gd name="T27" fmla="*/ 8 h 8"/>
                <a:gd name="T28" fmla="*/ 5 w 29"/>
                <a:gd name="T29" fmla="*/ 8 h 8"/>
                <a:gd name="T30" fmla="*/ 5 w 29"/>
                <a:gd name="T31" fmla="*/ 8 h 8"/>
                <a:gd name="T32" fmla="*/ 0 w 29"/>
                <a:gd name="T33" fmla="*/ 7 h 8"/>
                <a:gd name="T34" fmla="*/ 1 w 29"/>
                <a:gd name="T35" fmla="*/ 6 h 8"/>
                <a:gd name="T36" fmla="*/ 2 w 29"/>
                <a:gd name="T37" fmla="*/ 5 h 8"/>
                <a:gd name="T38" fmla="*/ 7 w 29"/>
                <a:gd name="T39" fmla="*/ 5 h 8"/>
                <a:gd name="T40" fmla="*/ 16 w 29"/>
                <a:gd name="T41" fmla="*/ 3 h 8"/>
                <a:gd name="T42" fmla="*/ 19 w 29"/>
                <a:gd name="T43" fmla="*/ 1 h 8"/>
                <a:gd name="T44" fmla="*/ 20 w 29"/>
                <a:gd name="T45" fmla="*/ 1 h 8"/>
                <a:gd name="T46" fmla="*/ 22 w 29"/>
                <a:gd name="T4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8">
                  <a:moveTo>
                    <a:pt x="22" y="0"/>
                  </a:moveTo>
                  <a:lnTo>
                    <a:pt x="20" y="1"/>
                  </a:lnTo>
                  <a:lnTo>
                    <a:pt x="21" y="1"/>
                  </a:lnTo>
                  <a:lnTo>
                    <a:pt x="22" y="0"/>
                  </a:lnTo>
                  <a:lnTo>
                    <a:pt x="25" y="0"/>
                  </a:lnTo>
                  <a:lnTo>
                    <a:pt x="27" y="0"/>
                  </a:lnTo>
                  <a:lnTo>
                    <a:pt x="29" y="0"/>
                  </a:lnTo>
                  <a:lnTo>
                    <a:pt x="27" y="1"/>
                  </a:lnTo>
                  <a:lnTo>
                    <a:pt x="21" y="4"/>
                  </a:lnTo>
                  <a:lnTo>
                    <a:pt x="20" y="4"/>
                  </a:lnTo>
                  <a:lnTo>
                    <a:pt x="19" y="5"/>
                  </a:lnTo>
                  <a:lnTo>
                    <a:pt x="16" y="6"/>
                  </a:lnTo>
                  <a:lnTo>
                    <a:pt x="12" y="7"/>
                  </a:lnTo>
                  <a:lnTo>
                    <a:pt x="8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0" y="7"/>
                  </a:lnTo>
                  <a:lnTo>
                    <a:pt x="1" y="6"/>
                  </a:lnTo>
                  <a:lnTo>
                    <a:pt x="2" y="5"/>
                  </a:lnTo>
                  <a:lnTo>
                    <a:pt x="7" y="5"/>
                  </a:lnTo>
                  <a:lnTo>
                    <a:pt x="16" y="3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38" name="Freeform 1138"/>
            <p:cNvSpPr>
              <a:spLocks/>
            </p:cNvSpPr>
            <p:nvPr/>
          </p:nvSpPr>
          <p:spPr bwMode="auto">
            <a:xfrm>
              <a:off x="1462" y="823"/>
              <a:ext cx="29" cy="8"/>
            </a:xfrm>
            <a:custGeom>
              <a:avLst/>
              <a:gdLst>
                <a:gd name="T0" fmla="*/ 22 w 29"/>
                <a:gd name="T1" fmla="*/ 0 h 8"/>
                <a:gd name="T2" fmla="*/ 20 w 29"/>
                <a:gd name="T3" fmla="*/ 1 h 8"/>
                <a:gd name="T4" fmla="*/ 21 w 29"/>
                <a:gd name="T5" fmla="*/ 1 h 8"/>
                <a:gd name="T6" fmla="*/ 22 w 29"/>
                <a:gd name="T7" fmla="*/ 0 h 8"/>
                <a:gd name="T8" fmla="*/ 25 w 29"/>
                <a:gd name="T9" fmla="*/ 0 h 8"/>
                <a:gd name="T10" fmla="*/ 27 w 29"/>
                <a:gd name="T11" fmla="*/ 0 h 8"/>
                <a:gd name="T12" fmla="*/ 29 w 29"/>
                <a:gd name="T13" fmla="*/ 0 h 8"/>
                <a:gd name="T14" fmla="*/ 27 w 29"/>
                <a:gd name="T15" fmla="*/ 1 h 8"/>
                <a:gd name="T16" fmla="*/ 21 w 29"/>
                <a:gd name="T17" fmla="*/ 4 h 8"/>
                <a:gd name="T18" fmla="*/ 20 w 29"/>
                <a:gd name="T19" fmla="*/ 4 h 8"/>
                <a:gd name="T20" fmla="*/ 19 w 29"/>
                <a:gd name="T21" fmla="*/ 5 h 8"/>
                <a:gd name="T22" fmla="*/ 16 w 29"/>
                <a:gd name="T23" fmla="*/ 6 h 8"/>
                <a:gd name="T24" fmla="*/ 12 w 29"/>
                <a:gd name="T25" fmla="*/ 7 h 8"/>
                <a:gd name="T26" fmla="*/ 8 w 29"/>
                <a:gd name="T27" fmla="*/ 8 h 8"/>
                <a:gd name="T28" fmla="*/ 5 w 29"/>
                <a:gd name="T29" fmla="*/ 8 h 8"/>
                <a:gd name="T30" fmla="*/ 5 w 29"/>
                <a:gd name="T31" fmla="*/ 8 h 8"/>
                <a:gd name="T32" fmla="*/ 0 w 29"/>
                <a:gd name="T33" fmla="*/ 7 h 8"/>
                <a:gd name="T34" fmla="*/ 1 w 29"/>
                <a:gd name="T35" fmla="*/ 6 h 8"/>
                <a:gd name="T36" fmla="*/ 2 w 29"/>
                <a:gd name="T37" fmla="*/ 5 h 8"/>
                <a:gd name="T38" fmla="*/ 7 w 29"/>
                <a:gd name="T39" fmla="*/ 5 h 8"/>
                <a:gd name="T40" fmla="*/ 16 w 29"/>
                <a:gd name="T41" fmla="*/ 3 h 8"/>
                <a:gd name="T42" fmla="*/ 19 w 29"/>
                <a:gd name="T43" fmla="*/ 1 h 8"/>
                <a:gd name="T44" fmla="*/ 20 w 29"/>
                <a:gd name="T45" fmla="*/ 1 h 8"/>
                <a:gd name="T46" fmla="*/ 22 w 29"/>
                <a:gd name="T4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8">
                  <a:moveTo>
                    <a:pt x="22" y="0"/>
                  </a:moveTo>
                  <a:lnTo>
                    <a:pt x="20" y="1"/>
                  </a:lnTo>
                  <a:lnTo>
                    <a:pt x="21" y="1"/>
                  </a:lnTo>
                  <a:lnTo>
                    <a:pt x="22" y="0"/>
                  </a:lnTo>
                  <a:lnTo>
                    <a:pt x="25" y="0"/>
                  </a:lnTo>
                  <a:lnTo>
                    <a:pt x="27" y="0"/>
                  </a:lnTo>
                  <a:lnTo>
                    <a:pt x="29" y="0"/>
                  </a:lnTo>
                  <a:lnTo>
                    <a:pt x="27" y="1"/>
                  </a:lnTo>
                  <a:lnTo>
                    <a:pt x="21" y="4"/>
                  </a:lnTo>
                  <a:lnTo>
                    <a:pt x="20" y="4"/>
                  </a:lnTo>
                  <a:lnTo>
                    <a:pt x="19" y="5"/>
                  </a:lnTo>
                  <a:lnTo>
                    <a:pt x="16" y="6"/>
                  </a:lnTo>
                  <a:lnTo>
                    <a:pt x="12" y="7"/>
                  </a:lnTo>
                  <a:lnTo>
                    <a:pt x="8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0" y="7"/>
                  </a:lnTo>
                  <a:lnTo>
                    <a:pt x="1" y="6"/>
                  </a:lnTo>
                  <a:lnTo>
                    <a:pt x="2" y="5"/>
                  </a:lnTo>
                  <a:lnTo>
                    <a:pt x="7" y="5"/>
                  </a:lnTo>
                  <a:lnTo>
                    <a:pt x="16" y="3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2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39" name="Freeform 1139"/>
            <p:cNvSpPr>
              <a:spLocks/>
            </p:cNvSpPr>
            <p:nvPr/>
          </p:nvSpPr>
          <p:spPr bwMode="auto">
            <a:xfrm>
              <a:off x="1433" y="803"/>
              <a:ext cx="101" cy="24"/>
            </a:xfrm>
            <a:custGeom>
              <a:avLst/>
              <a:gdLst>
                <a:gd name="T0" fmla="*/ 49 w 101"/>
                <a:gd name="T1" fmla="*/ 7 h 24"/>
                <a:gd name="T2" fmla="*/ 56 w 101"/>
                <a:gd name="T3" fmla="*/ 6 h 24"/>
                <a:gd name="T4" fmla="*/ 61 w 101"/>
                <a:gd name="T5" fmla="*/ 5 h 24"/>
                <a:gd name="T6" fmla="*/ 68 w 101"/>
                <a:gd name="T7" fmla="*/ 3 h 24"/>
                <a:gd name="T8" fmla="*/ 71 w 101"/>
                <a:gd name="T9" fmla="*/ 4 h 24"/>
                <a:gd name="T10" fmla="*/ 77 w 101"/>
                <a:gd name="T11" fmla="*/ 3 h 24"/>
                <a:gd name="T12" fmla="*/ 76 w 101"/>
                <a:gd name="T13" fmla="*/ 5 h 24"/>
                <a:gd name="T14" fmla="*/ 79 w 101"/>
                <a:gd name="T15" fmla="*/ 4 h 24"/>
                <a:gd name="T16" fmla="*/ 82 w 101"/>
                <a:gd name="T17" fmla="*/ 4 h 24"/>
                <a:gd name="T18" fmla="*/ 89 w 101"/>
                <a:gd name="T19" fmla="*/ 3 h 24"/>
                <a:gd name="T20" fmla="*/ 86 w 101"/>
                <a:gd name="T21" fmla="*/ 1 h 24"/>
                <a:gd name="T22" fmla="*/ 95 w 101"/>
                <a:gd name="T23" fmla="*/ 0 h 24"/>
                <a:gd name="T24" fmla="*/ 99 w 101"/>
                <a:gd name="T25" fmla="*/ 3 h 24"/>
                <a:gd name="T26" fmla="*/ 99 w 101"/>
                <a:gd name="T27" fmla="*/ 5 h 24"/>
                <a:gd name="T28" fmla="*/ 90 w 101"/>
                <a:gd name="T29" fmla="*/ 5 h 24"/>
                <a:gd name="T30" fmla="*/ 87 w 101"/>
                <a:gd name="T31" fmla="*/ 7 h 24"/>
                <a:gd name="T32" fmla="*/ 87 w 101"/>
                <a:gd name="T33" fmla="*/ 9 h 24"/>
                <a:gd name="T34" fmla="*/ 84 w 101"/>
                <a:gd name="T35" fmla="*/ 10 h 24"/>
                <a:gd name="T36" fmla="*/ 85 w 101"/>
                <a:gd name="T37" fmla="*/ 10 h 24"/>
                <a:gd name="T38" fmla="*/ 78 w 101"/>
                <a:gd name="T39" fmla="*/ 14 h 24"/>
                <a:gd name="T40" fmla="*/ 69 w 101"/>
                <a:gd name="T41" fmla="*/ 15 h 24"/>
                <a:gd name="T42" fmla="*/ 61 w 101"/>
                <a:gd name="T43" fmla="*/ 18 h 24"/>
                <a:gd name="T44" fmla="*/ 60 w 101"/>
                <a:gd name="T45" fmla="*/ 15 h 24"/>
                <a:gd name="T46" fmla="*/ 67 w 101"/>
                <a:gd name="T47" fmla="*/ 11 h 24"/>
                <a:gd name="T48" fmla="*/ 64 w 101"/>
                <a:gd name="T49" fmla="*/ 11 h 24"/>
                <a:gd name="T50" fmla="*/ 59 w 101"/>
                <a:gd name="T51" fmla="*/ 11 h 24"/>
                <a:gd name="T52" fmla="*/ 57 w 101"/>
                <a:gd name="T53" fmla="*/ 14 h 24"/>
                <a:gd name="T54" fmla="*/ 51 w 101"/>
                <a:gd name="T55" fmla="*/ 14 h 24"/>
                <a:gd name="T56" fmla="*/ 49 w 101"/>
                <a:gd name="T57" fmla="*/ 15 h 24"/>
                <a:gd name="T58" fmla="*/ 49 w 101"/>
                <a:gd name="T59" fmla="*/ 17 h 24"/>
                <a:gd name="T60" fmla="*/ 42 w 101"/>
                <a:gd name="T61" fmla="*/ 20 h 24"/>
                <a:gd name="T62" fmla="*/ 40 w 101"/>
                <a:gd name="T63" fmla="*/ 19 h 24"/>
                <a:gd name="T64" fmla="*/ 40 w 101"/>
                <a:gd name="T65" fmla="*/ 17 h 24"/>
                <a:gd name="T66" fmla="*/ 37 w 101"/>
                <a:gd name="T67" fmla="*/ 18 h 24"/>
                <a:gd name="T68" fmla="*/ 36 w 101"/>
                <a:gd name="T69" fmla="*/ 19 h 24"/>
                <a:gd name="T70" fmla="*/ 34 w 101"/>
                <a:gd name="T71" fmla="*/ 21 h 24"/>
                <a:gd name="T72" fmla="*/ 30 w 101"/>
                <a:gd name="T73" fmla="*/ 23 h 24"/>
                <a:gd name="T74" fmla="*/ 26 w 101"/>
                <a:gd name="T75" fmla="*/ 23 h 24"/>
                <a:gd name="T76" fmla="*/ 22 w 101"/>
                <a:gd name="T77" fmla="*/ 23 h 24"/>
                <a:gd name="T78" fmla="*/ 22 w 101"/>
                <a:gd name="T79" fmla="*/ 20 h 24"/>
                <a:gd name="T80" fmla="*/ 25 w 101"/>
                <a:gd name="T81" fmla="*/ 18 h 24"/>
                <a:gd name="T82" fmla="*/ 19 w 101"/>
                <a:gd name="T83" fmla="*/ 20 h 24"/>
                <a:gd name="T84" fmla="*/ 10 w 101"/>
                <a:gd name="T85" fmla="*/ 20 h 24"/>
                <a:gd name="T86" fmla="*/ 13 w 101"/>
                <a:gd name="T87" fmla="*/ 19 h 24"/>
                <a:gd name="T88" fmla="*/ 5 w 101"/>
                <a:gd name="T89" fmla="*/ 21 h 24"/>
                <a:gd name="T90" fmla="*/ 1 w 101"/>
                <a:gd name="T91" fmla="*/ 21 h 24"/>
                <a:gd name="T92" fmla="*/ 1 w 101"/>
                <a:gd name="T93" fmla="*/ 20 h 24"/>
                <a:gd name="T94" fmla="*/ 7 w 101"/>
                <a:gd name="T95" fmla="*/ 18 h 24"/>
                <a:gd name="T96" fmla="*/ 13 w 101"/>
                <a:gd name="T97" fmla="*/ 16 h 24"/>
                <a:gd name="T98" fmla="*/ 18 w 101"/>
                <a:gd name="T99" fmla="*/ 16 h 24"/>
                <a:gd name="T100" fmla="*/ 26 w 101"/>
                <a:gd name="T101" fmla="*/ 14 h 24"/>
                <a:gd name="T102" fmla="*/ 29 w 101"/>
                <a:gd name="T103" fmla="*/ 11 h 24"/>
                <a:gd name="T104" fmla="*/ 34 w 101"/>
                <a:gd name="T105" fmla="*/ 11 h 24"/>
                <a:gd name="T106" fmla="*/ 40 w 101"/>
                <a:gd name="T107" fmla="*/ 10 h 24"/>
                <a:gd name="T108" fmla="*/ 46 w 101"/>
                <a:gd name="T109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1" h="24">
                  <a:moveTo>
                    <a:pt x="48" y="8"/>
                  </a:moveTo>
                  <a:lnTo>
                    <a:pt x="48" y="8"/>
                  </a:lnTo>
                  <a:lnTo>
                    <a:pt x="49" y="7"/>
                  </a:lnTo>
                  <a:lnTo>
                    <a:pt x="51" y="7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57" y="6"/>
                  </a:lnTo>
                  <a:lnTo>
                    <a:pt x="58" y="5"/>
                  </a:lnTo>
                  <a:lnTo>
                    <a:pt x="61" y="5"/>
                  </a:lnTo>
                  <a:lnTo>
                    <a:pt x="62" y="4"/>
                  </a:lnTo>
                  <a:lnTo>
                    <a:pt x="67" y="4"/>
                  </a:lnTo>
                  <a:lnTo>
                    <a:pt x="68" y="3"/>
                  </a:lnTo>
                  <a:lnTo>
                    <a:pt x="69" y="3"/>
                  </a:lnTo>
                  <a:lnTo>
                    <a:pt x="70" y="4"/>
                  </a:lnTo>
                  <a:lnTo>
                    <a:pt x="71" y="4"/>
                  </a:lnTo>
                  <a:lnTo>
                    <a:pt x="75" y="4"/>
                  </a:lnTo>
                  <a:lnTo>
                    <a:pt x="76" y="3"/>
                  </a:lnTo>
                  <a:lnTo>
                    <a:pt x="77" y="3"/>
                  </a:lnTo>
                  <a:lnTo>
                    <a:pt x="76" y="4"/>
                  </a:lnTo>
                  <a:lnTo>
                    <a:pt x="75" y="5"/>
                  </a:lnTo>
                  <a:lnTo>
                    <a:pt x="76" y="5"/>
                  </a:lnTo>
                  <a:lnTo>
                    <a:pt x="77" y="4"/>
                  </a:lnTo>
                  <a:lnTo>
                    <a:pt x="78" y="3"/>
                  </a:lnTo>
                  <a:lnTo>
                    <a:pt x="79" y="4"/>
                  </a:lnTo>
                  <a:lnTo>
                    <a:pt x="81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6" y="4"/>
                  </a:lnTo>
                  <a:lnTo>
                    <a:pt x="88" y="3"/>
                  </a:lnTo>
                  <a:lnTo>
                    <a:pt x="89" y="3"/>
                  </a:lnTo>
                  <a:lnTo>
                    <a:pt x="87" y="3"/>
                  </a:lnTo>
                  <a:lnTo>
                    <a:pt x="86" y="3"/>
                  </a:lnTo>
                  <a:lnTo>
                    <a:pt x="86" y="1"/>
                  </a:lnTo>
                  <a:lnTo>
                    <a:pt x="88" y="1"/>
                  </a:lnTo>
                  <a:lnTo>
                    <a:pt x="90" y="0"/>
                  </a:lnTo>
                  <a:lnTo>
                    <a:pt x="95" y="0"/>
                  </a:lnTo>
                  <a:lnTo>
                    <a:pt x="97" y="1"/>
                  </a:lnTo>
                  <a:lnTo>
                    <a:pt x="97" y="1"/>
                  </a:lnTo>
                  <a:lnTo>
                    <a:pt x="99" y="3"/>
                  </a:lnTo>
                  <a:lnTo>
                    <a:pt x="101" y="4"/>
                  </a:lnTo>
                  <a:lnTo>
                    <a:pt x="100" y="4"/>
                  </a:lnTo>
                  <a:lnTo>
                    <a:pt x="99" y="5"/>
                  </a:lnTo>
                  <a:lnTo>
                    <a:pt x="97" y="5"/>
                  </a:lnTo>
                  <a:lnTo>
                    <a:pt x="96" y="5"/>
                  </a:lnTo>
                  <a:lnTo>
                    <a:pt x="90" y="5"/>
                  </a:lnTo>
                  <a:lnTo>
                    <a:pt x="88" y="6"/>
                  </a:lnTo>
                  <a:lnTo>
                    <a:pt x="87" y="6"/>
                  </a:lnTo>
                  <a:lnTo>
                    <a:pt x="87" y="7"/>
                  </a:lnTo>
                  <a:lnTo>
                    <a:pt x="89" y="8"/>
                  </a:lnTo>
                  <a:lnTo>
                    <a:pt x="89" y="9"/>
                  </a:lnTo>
                  <a:lnTo>
                    <a:pt x="87" y="9"/>
                  </a:lnTo>
                  <a:lnTo>
                    <a:pt x="86" y="9"/>
                  </a:lnTo>
                  <a:lnTo>
                    <a:pt x="84" y="9"/>
                  </a:lnTo>
                  <a:lnTo>
                    <a:pt x="84" y="10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5" y="11"/>
                  </a:lnTo>
                  <a:lnTo>
                    <a:pt x="81" y="13"/>
                  </a:lnTo>
                  <a:lnTo>
                    <a:pt x="78" y="14"/>
                  </a:lnTo>
                  <a:lnTo>
                    <a:pt x="72" y="14"/>
                  </a:lnTo>
                  <a:lnTo>
                    <a:pt x="70" y="14"/>
                  </a:lnTo>
                  <a:lnTo>
                    <a:pt x="69" y="15"/>
                  </a:lnTo>
                  <a:lnTo>
                    <a:pt x="67" y="17"/>
                  </a:lnTo>
                  <a:lnTo>
                    <a:pt x="65" y="17"/>
                  </a:lnTo>
                  <a:lnTo>
                    <a:pt x="61" y="18"/>
                  </a:lnTo>
                  <a:lnTo>
                    <a:pt x="60" y="18"/>
                  </a:lnTo>
                  <a:lnTo>
                    <a:pt x="58" y="16"/>
                  </a:lnTo>
                  <a:lnTo>
                    <a:pt x="60" y="15"/>
                  </a:lnTo>
                  <a:lnTo>
                    <a:pt x="61" y="14"/>
                  </a:lnTo>
                  <a:lnTo>
                    <a:pt x="62" y="13"/>
                  </a:lnTo>
                  <a:lnTo>
                    <a:pt x="67" y="11"/>
                  </a:lnTo>
                  <a:lnTo>
                    <a:pt x="68" y="10"/>
                  </a:lnTo>
                  <a:lnTo>
                    <a:pt x="67" y="10"/>
                  </a:lnTo>
                  <a:lnTo>
                    <a:pt x="64" y="11"/>
                  </a:lnTo>
                  <a:lnTo>
                    <a:pt x="61" y="10"/>
                  </a:lnTo>
                  <a:lnTo>
                    <a:pt x="60" y="11"/>
                  </a:lnTo>
                  <a:lnTo>
                    <a:pt x="59" y="11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7" y="14"/>
                  </a:lnTo>
                  <a:lnTo>
                    <a:pt x="54" y="15"/>
                  </a:lnTo>
                  <a:lnTo>
                    <a:pt x="52" y="14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51" y="16"/>
                  </a:lnTo>
                  <a:lnTo>
                    <a:pt x="50" y="17"/>
                  </a:lnTo>
                  <a:lnTo>
                    <a:pt x="49" y="17"/>
                  </a:lnTo>
                  <a:lnTo>
                    <a:pt x="46" y="18"/>
                  </a:lnTo>
                  <a:lnTo>
                    <a:pt x="44" y="19"/>
                  </a:lnTo>
                  <a:lnTo>
                    <a:pt x="42" y="20"/>
                  </a:lnTo>
                  <a:lnTo>
                    <a:pt x="41" y="19"/>
                  </a:lnTo>
                  <a:lnTo>
                    <a:pt x="40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1" y="17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8" y="17"/>
                  </a:lnTo>
                  <a:lnTo>
                    <a:pt x="37" y="18"/>
                  </a:lnTo>
                  <a:lnTo>
                    <a:pt x="37" y="19"/>
                  </a:lnTo>
                  <a:lnTo>
                    <a:pt x="35" y="19"/>
                  </a:lnTo>
                  <a:lnTo>
                    <a:pt x="36" y="19"/>
                  </a:lnTo>
                  <a:lnTo>
                    <a:pt x="32" y="20"/>
                  </a:lnTo>
                  <a:lnTo>
                    <a:pt x="34" y="20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1" y="21"/>
                  </a:lnTo>
                  <a:lnTo>
                    <a:pt x="30" y="23"/>
                  </a:lnTo>
                  <a:lnTo>
                    <a:pt x="28" y="24"/>
                  </a:lnTo>
                  <a:lnTo>
                    <a:pt x="26" y="24"/>
                  </a:lnTo>
                  <a:lnTo>
                    <a:pt x="26" y="23"/>
                  </a:lnTo>
                  <a:lnTo>
                    <a:pt x="24" y="24"/>
                  </a:lnTo>
                  <a:lnTo>
                    <a:pt x="22" y="24"/>
                  </a:lnTo>
                  <a:lnTo>
                    <a:pt x="22" y="23"/>
                  </a:lnTo>
                  <a:lnTo>
                    <a:pt x="25" y="21"/>
                  </a:lnTo>
                  <a:lnTo>
                    <a:pt x="22" y="21"/>
                  </a:lnTo>
                  <a:lnTo>
                    <a:pt x="22" y="20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18"/>
                  </a:lnTo>
                  <a:lnTo>
                    <a:pt x="22" y="19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5" y="23"/>
                  </a:lnTo>
                  <a:lnTo>
                    <a:pt x="15" y="21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3" y="19"/>
                  </a:lnTo>
                  <a:lnTo>
                    <a:pt x="9" y="20"/>
                  </a:lnTo>
                  <a:lnTo>
                    <a:pt x="8" y="21"/>
                  </a:lnTo>
                  <a:lnTo>
                    <a:pt x="5" y="21"/>
                  </a:lnTo>
                  <a:lnTo>
                    <a:pt x="1" y="23"/>
                  </a:lnTo>
                  <a:lnTo>
                    <a:pt x="0" y="21"/>
                  </a:lnTo>
                  <a:lnTo>
                    <a:pt x="1" y="21"/>
                  </a:lnTo>
                  <a:lnTo>
                    <a:pt x="7" y="19"/>
                  </a:lnTo>
                  <a:lnTo>
                    <a:pt x="6" y="19"/>
                  </a:lnTo>
                  <a:lnTo>
                    <a:pt x="1" y="20"/>
                  </a:lnTo>
                  <a:lnTo>
                    <a:pt x="3" y="19"/>
                  </a:lnTo>
                  <a:lnTo>
                    <a:pt x="4" y="18"/>
                  </a:lnTo>
                  <a:lnTo>
                    <a:pt x="7" y="18"/>
                  </a:lnTo>
                  <a:lnTo>
                    <a:pt x="9" y="16"/>
                  </a:lnTo>
                  <a:lnTo>
                    <a:pt x="11" y="16"/>
                  </a:lnTo>
                  <a:lnTo>
                    <a:pt x="13" y="16"/>
                  </a:lnTo>
                  <a:lnTo>
                    <a:pt x="15" y="15"/>
                  </a:lnTo>
                  <a:lnTo>
                    <a:pt x="17" y="15"/>
                  </a:lnTo>
                  <a:lnTo>
                    <a:pt x="18" y="16"/>
                  </a:lnTo>
                  <a:lnTo>
                    <a:pt x="19" y="16"/>
                  </a:lnTo>
                  <a:lnTo>
                    <a:pt x="20" y="16"/>
                  </a:lnTo>
                  <a:lnTo>
                    <a:pt x="26" y="14"/>
                  </a:lnTo>
                  <a:lnTo>
                    <a:pt x="28" y="14"/>
                  </a:lnTo>
                  <a:lnTo>
                    <a:pt x="28" y="13"/>
                  </a:lnTo>
                  <a:lnTo>
                    <a:pt x="29" y="11"/>
                  </a:lnTo>
                  <a:lnTo>
                    <a:pt x="30" y="13"/>
                  </a:lnTo>
                  <a:lnTo>
                    <a:pt x="31" y="13"/>
                  </a:lnTo>
                  <a:lnTo>
                    <a:pt x="34" y="11"/>
                  </a:lnTo>
                  <a:lnTo>
                    <a:pt x="35" y="11"/>
                  </a:lnTo>
                  <a:lnTo>
                    <a:pt x="37" y="11"/>
                  </a:lnTo>
                  <a:lnTo>
                    <a:pt x="40" y="10"/>
                  </a:lnTo>
                  <a:lnTo>
                    <a:pt x="44" y="10"/>
                  </a:lnTo>
                  <a:lnTo>
                    <a:pt x="42" y="9"/>
                  </a:lnTo>
                  <a:lnTo>
                    <a:pt x="46" y="8"/>
                  </a:lnTo>
                  <a:lnTo>
                    <a:pt x="47" y="8"/>
                  </a:lnTo>
                  <a:lnTo>
                    <a:pt x="48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40" name="Freeform 1140"/>
            <p:cNvSpPr>
              <a:spLocks/>
            </p:cNvSpPr>
            <p:nvPr/>
          </p:nvSpPr>
          <p:spPr bwMode="auto">
            <a:xfrm>
              <a:off x="1433" y="803"/>
              <a:ext cx="101" cy="24"/>
            </a:xfrm>
            <a:custGeom>
              <a:avLst/>
              <a:gdLst>
                <a:gd name="T0" fmla="*/ 49 w 101"/>
                <a:gd name="T1" fmla="*/ 7 h 24"/>
                <a:gd name="T2" fmla="*/ 56 w 101"/>
                <a:gd name="T3" fmla="*/ 6 h 24"/>
                <a:gd name="T4" fmla="*/ 61 w 101"/>
                <a:gd name="T5" fmla="*/ 5 h 24"/>
                <a:gd name="T6" fmla="*/ 68 w 101"/>
                <a:gd name="T7" fmla="*/ 3 h 24"/>
                <a:gd name="T8" fmla="*/ 71 w 101"/>
                <a:gd name="T9" fmla="*/ 4 h 24"/>
                <a:gd name="T10" fmla="*/ 77 w 101"/>
                <a:gd name="T11" fmla="*/ 3 h 24"/>
                <a:gd name="T12" fmla="*/ 76 w 101"/>
                <a:gd name="T13" fmla="*/ 5 h 24"/>
                <a:gd name="T14" fmla="*/ 79 w 101"/>
                <a:gd name="T15" fmla="*/ 4 h 24"/>
                <a:gd name="T16" fmla="*/ 82 w 101"/>
                <a:gd name="T17" fmla="*/ 4 h 24"/>
                <a:gd name="T18" fmla="*/ 89 w 101"/>
                <a:gd name="T19" fmla="*/ 3 h 24"/>
                <a:gd name="T20" fmla="*/ 86 w 101"/>
                <a:gd name="T21" fmla="*/ 1 h 24"/>
                <a:gd name="T22" fmla="*/ 95 w 101"/>
                <a:gd name="T23" fmla="*/ 0 h 24"/>
                <a:gd name="T24" fmla="*/ 99 w 101"/>
                <a:gd name="T25" fmla="*/ 3 h 24"/>
                <a:gd name="T26" fmla="*/ 99 w 101"/>
                <a:gd name="T27" fmla="*/ 5 h 24"/>
                <a:gd name="T28" fmla="*/ 90 w 101"/>
                <a:gd name="T29" fmla="*/ 5 h 24"/>
                <a:gd name="T30" fmla="*/ 87 w 101"/>
                <a:gd name="T31" fmla="*/ 7 h 24"/>
                <a:gd name="T32" fmla="*/ 87 w 101"/>
                <a:gd name="T33" fmla="*/ 9 h 24"/>
                <a:gd name="T34" fmla="*/ 84 w 101"/>
                <a:gd name="T35" fmla="*/ 10 h 24"/>
                <a:gd name="T36" fmla="*/ 85 w 101"/>
                <a:gd name="T37" fmla="*/ 10 h 24"/>
                <a:gd name="T38" fmla="*/ 78 w 101"/>
                <a:gd name="T39" fmla="*/ 14 h 24"/>
                <a:gd name="T40" fmla="*/ 69 w 101"/>
                <a:gd name="T41" fmla="*/ 15 h 24"/>
                <a:gd name="T42" fmla="*/ 61 w 101"/>
                <a:gd name="T43" fmla="*/ 18 h 24"/>
                <a:gd name="T44" fmla="*/ 60 w 101"/>
                <a:gd name="T45" fmla="*/ 15 h 24"/>
                <a:gd name="T46" fmla="*/ 67 w 101"/>
                <a:gd name="T47" fmla="*/ 11 h 24"/>
                <a:gd name="T48" fmla="*/ 64 w 101"/>
                <a:gd name="T49" fmla="*/ 11 h 24"/>
                <a:gd name="T50" fmla="*/ 59 w 101"/>
                <a:gd name="T51" fmla="*/ 11 h 24"/>
                <a:gd name="T52" fmla="*/ 57 w 101"/>
                <a:gd name="T53" fmla="*/ 14 h 24"/>
                <a:gd name="T54" fmla="*/ 51 w 101"/>
                <a:gd name="T55" fmla="*/ 14 h 24"/>
                <a:gd name="T56" fmla="*/ 49 w 101"/>
                <a:gd name="T57" fmla="*/ 15 h 24"/>
                <a:gd name="T58" fmla="*/ 49 w 101"/>
                <a:gd name="T59" fmla="*/ 17 h 24"/>
                <a:gd name="T60" fmla="*/ 42 w 101"/>
                <a:gd name="T61" fmla="*/ 20 h 24"/>
                <a:gd name="T62" fmla="*/ 40 w 101"/>
                <a:gd name="T63" fmla="*/ 19 h 24"/>
                <a:gd name="T64" fmla="*/ 40 w 101"/>
                <a:gd name="T65" fmla="*/ 17 h 24"/>
                <a:gd name="T66" fmla="*/ 37 w 101"/>
                <a:gd name="T67" fmla="*/ 18 h 24"/>
                <a:gd name="T68" fmla="*/ 36 w 101"/>
                <a:gd name="T69" fmla="*/ 19 h 24"/>
                <a:gd name="T70" fmla="*/ 34 w 101"/>
                <a:gd name="T71" fmla="*/ 21 h 24"/>
                <a:gd name="T72" fmla="*/ 30 w 101"/>
                <a:gd name="T73" fmla="*/ 23 h 24"/>
                <a:gd name="T74" fmla="*/ 26 w 101"/>
                <a:gd name="T75" fmla="*/ 23 h 24"/>
                <a:gd name="T76" fmla="*/ 22 w 101"/>
                <a:gd name="T77" fmla="*/ 23 h 24"/>
                <a:gd name="T78" fmla="*/ 22 w 101"/>
                <a:gd name="T79" fmla="*/ 20 h 24"/>
                <a:gd name="T80" fmla="*/ 25 w 101"/>
                <a:gd name="T81" fmla="*/ 18 h 24"/>
                <a:gd name="T82" fmla="*/ 19 w 101"/>
                <a:gd name="T83" fmla="*/ 20 h 24"/>
                <a:gd name="T84" fmla="*/ 10 w 101"/>
                <a:gd name="T85" fmla="*/ 20 h 24"/>
                <a:gd name="T86" fmla="*/ 13 w 101"/>
                <a:gd name="T87" fmla="*/ 19 h 24"/>
                <a:gd name="T88" fmla="*/ 5 w 101"/>
                <a:gd name="T89" fmla="*/ 21 h 24"/>
                <a:gd name="T90" fmla="*/ 1 w 101"/>
                <a:gd name="T91" fmla="*/ 21 h 24"/>
                <a:gd name="T92" fmla="*/ 1 w 101"/>
                <a:gd name="T93" fmla="*/ 20 h 24"/>
                <a:gd name="T94" fmla="*/ 7 w 101"/>
                <a:gd name="T95" fmla="*/ 18 h 24"/>
                <a:gd name="T96" fmla="*/ 13 w 101"/>
                <a:gd name="T97" fmla="*/ 16 h 24"/>
                <a:gd name="T98" fmla="*/ 18 w 101"/>
                <a:gd name="T99" fmla="*/ 16 h 24"/>
                <a:gd name="T100" fmla="*/ 26 w 101"/>
                <a:gd name="T101" fmla="*/ 14 h 24"/>
                <a:gd name="T102" fmla="*/ 29 w 101"/>
                <a:gd name="T103" fmla="*/ 11 h 24"/>
                <a:gd name="T104" fmla="*/ 34 w 101"/>
                <a:gd name="T105" fmla="*/ 11 h 24"/>
                <a:gd name="T106" fmla="*/ 40 w 101"/>
                <a:gd name="T107" fmla="*/ 10 h 24"/>
                <a:gd name="T108" fmla="*/ 46 w 101"/>
                <a:gd name="T109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1" h="24">
                  <a:moveTo>
                    <a:pt x="48" y="8"/>
                  </a:moveTo>
                  <a:lnTo>
                    <a:pt x="48" y="8"/>
                  </a:lnTo>
                  <a:lnTo>
                    <a:pt x="49" y="7"/>
                  </a:lnTo>
                  <a:lnTo>
                    <a:pt x="51" y="7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57" y="6"/>
                  </a:lnTo>
                  <a:lnTo>
                    <a:pt x="58" y="5"/>
                  </a:lnTo>
                  <a:lnTo>
                    <a:pt x="61" y="5"/>
                  </a:lnTo>
                  <a:lnTo>
                    <a:pt x="62" y="4"/>
                  </a:lnTo>
                  <a:lnTo>
                    <a:pt x="67" y="4"/>
                  </a:lnTo>
                  <a:lnTo>
                    <a:pt x="68" y="3"/>
                  </a:lnTo>
                  <a:lnTo>
                    <a:pt x="69" y="3"/>
                  </a:lnTo>
                  <a:lnTo>
                    <a:pt x="70" y="4"/>
                  </a:lnTo>
                  <a:lnTo>
                    <a:pt x="71" y="4"/>
                  </a:lnTo>
                  <a:lnTo>
                    <a:pt x="75" y="4"/>
                  </a:lnTo>
                  <a:lnTo>
                    <a:pt x="76" y="3"/>
                  </a:lnTo>
                  <a:lnTo>
                    <a:pt x="77" y="3"/>
                  </a:lnTo>
                  <a:lnTo>
                    <a:pt x="76" y="4"/>
                  </a:lnTo>
                  <a:lnTo>
                    <a:pt x="75" y="5"/>
                  </a:lnTo>
                  <a:lnTo>
                    <a:pt x="76" y="5"/>
                  </a:lnTo>
                  <a:lnTo>
                    <a:pt x="77" y="4"/>
                  </a:lnTo>
                  <a:lnTo>
                    <a:pt x="78" y="3"/>
                  </a:lnTo>
                  <a:lnTo>
                    <a:pt x="79" y="4"/>
                  </a:lnTo>
                  <a:lnTo>
                    <a:pt x="81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6" y="4"/>
                  </a:lnTo>
                  <a:lnTo>
                    <a:pt x="88" y="3"/>
                  </a:lnTo>
                  <a:lnTo>
                    <a:pt x="89" y="3"/>
                  </a:lnTo>
                  <a:lnTo>
                    <a:pt x="87" y="3"/>
                  </a:lnTo>
                  <a:lnTo>
                    <a:pt x="86" y="3"/>
                  </a:lnTo>
                  <a:lnTo>
                    <a:pt x="86" y="1"/>
                  </a:lnTo>
                  <a:lnTo>
                    <a:pt x="88" y="1"/>
                  </a:lnTo>
                  <a:lnTo>
                    <a:pt x="90" y="0"/>
                  </a:lnTo>
                  <a:lnTo>
                    <a:pt x="95" y="0"/>
                  </a:lnTo>
                  <a:lnTo>
                    <a:pt x="97" y="1"/>
                  </a:lnTo>
                  <a:lnTo>
                    <a:pt x="97" y="1"/>
                  </a:lnTo>
                  <a:lnTo>
                    <a:pt x="99" y="3"/>
                  </a:lnTo>
                  <a:lnTo>
                    <a:pt x="101" y="4"/>
                  </a:lnTo>
                  <a:lnTo>
                    <a:pt x="100" y="4"/>
                  </a:lnTo>
                  <a:lnTo>
                    <a:pt x="99" y="5"/>
                  </a:lnTo>
                  <a:lnTo>
                    <a:pt x="97" y="5"/>
                  </a:lnTo>
                  <a:lnTo>
                    <a:pt x="96" y="5"/>
                  </a:lnTo>
                  <a:lnTo>
                    <a:pt x="90" y="5"/>
                  </a:lnTo>
                  <a:lnTo>
                    <a:pt x="88" y="6"/>
                  </a:lnTo>
                  <a:lnTo>
                    <a:pt x="87" y="6"/>
                  </a:lnTo>
                  <a:lnTo>
                    <a:pt x="87" y="7"/>
                  </a:lnTo>
                  <a:lnTo>
                    <a:pt x="89" y="8"/>
                  </a:lnTo>
                  <a:lnTo>
                    <a:pt x="89" y="9"/>
                  </a:lnTo>
                  <a:lnTo>
                    <a:pt x="87" y="9"/>
                  </a:lnTo>
                  <a:lnTo>
                    <a:pt x="86" y="9"/>
                  </a:lnTo>
                  <a:lnTo>
                    <a:pt x="84" y="9"/>
                  </a:lnTo>
                  <a:lnTo>
                    <a:pt x="84" y="10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5" y="11"/>
                  </a:lnTo>
                  <a:lnTo>
                    <a:pt x="81" y="13"/>
                  </a:lnTo>
                  <a:lnTo>
                    <a:pt x="78" y="14"/>
                  </a:lnTo>
                  <a:lnTo>
                    <a:pt x="72" y="14"/>
                  </a:lnTo>
                  <a:lnTo>
                    <a:pt x="70" y="14"/>
                  </a:lnTo>
                  <a:lnTo>
                    <a:pt x="69" y="15"/>
                  </a:lnTo>
                  <a:lnTo>
                    <a:pt x="67" y="17"/>
                  </a:lnTo>
                  <a:lnTo>
                    <a:pt x="65" y="17"/>
                  </a:lnTo>
                  <a:lnTo>
                    <a:pt x="61" y="18"/>
                  </a:lnTo>
                  <a:lnTo>
                    <a:pt x="60" y="18"/>
                  </a:lnTo>
                  <a:lnTo>
                    <a:pt x="58" y="16"/>
                  </a:lnTo>
                  <a:lnTo>
                    <a:pt x="60" y="15"/>
                  </a:lnTo>
                  <a:lnTo>
                    <a:pt x="61" y="14"/>
                  </a:lnTo>
                  <a:lnTo>
                    <a:pt x="62" y="13"/>
                  </a:lnTo>
                  <a:lnTo>
                    <a:pt x="67" y="11"/>
                  </a:lnTo>
                  <a:lnTo>
                    <a:pt x="68" y="10"/>
                  </a:lnTo>
                  <a:lnTo>
                    <a:pt x="67" y="10"/>
                  </a:lnTo>
                  <a:lnTo>
                    <a:pt x="64" y="11"/>
                  </a:lnTo>
                  <a:lnTo>
                    <a:pt x="61" y="10"/>
                  </a:lnTo>
                  <a:lnTo>
                    <a:pt x="60" y="11"/>
                  </a:lnTo>
                  <a:lnTo>
                    <a:pt x="59" y="11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7" y="14"/>
                  </a:lnTo>
                  <a:lnTo>
                    <a:pt x="54" y="15"/>
                  </a:lnTo>
                  <a:lnTo>
                    <a:pt x="52" y="14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51" y="16"/>
                  </a:lnTo>
                  <a:lnTo>
                    <a:pt x="50" y="17"/>
                  </a:lnTo>
                  <a:lnTo>
                    <a:pt x="49" y="17"/>
                  </a:lnTo>
                  <a:lnTo>
                    <a:pt x="46" y="18"/>
                  </a:lnTo>
                  <a:lnTo>
                    <a:pt x="44" y="19"/>
                  </a:lnTo>
                  <a:lnTo>
                    <a:pt x="42" y="20"/>
                  </a:lnTo>
                  <a:lnTo>
                    <a:pt x="41" y="19"/>
                  </a:lnTo>
                  <a:lnTo>
                    <a:pt x="40" y="20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1" y="17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8" y="17"/>
                  </a:lnTo>
                  <a:lnTo>
                    <a:pt x="37" y="18"/>
                  </a:lnTo>
                  <a:lnTo>
                    <a:pt x="37" y="19"/>
                  </a:lnTo>
                  <a:lnTo>
                    <a:pt x="35" y="19"/>
                  </a:lnTo>
                  <a:lnTo>
                    <a:pt x="36" y="19"/>
                  </a:lnTo>
                  <a:lnTo>
                    <a:pt x="32" y="20"/>
                  </a:lnTo>
                  <a:lnTo>
                    <a:pt x="34" y="20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1" y="21"/>
                  </a:lnTo>
                  <a:lnTo>
                    <a:pt x="30" y="23"/>
                  </a:lnTo>
                  <a:lnTo>
                    <a:pt x="28" y="24"/>
                  </a:lnTo>
                  <a:lnTo>
                    <a:pt x="26" y="24"/>
                  </a:lnTo>
                  <a:lnTo>
                    <a:pt x="26" y="23"/>
                  </a:lnTo>
                  <a:lnTo>
                    <a:pt x="24" y="24"/>
                  </a:lnTo>
                  <a:lnTo>
                    <a:pt x="22" y="24"/>
                  </a:lnTo>
                  <a:lnTo>
                    <a:pt x="22" y="23"/>
                  </a:lnTo>
                  <a:lnTo>
                    <a:pt x="25" y="21"/>
                  </a:lnTo>
                  <a:lnTo>
                    <a:pt x="22" y="21"/>
                  </a:lnTo>
                  <a:lnTo>
                    <a:pt x="22" y="20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18"/>
                  </a:lnTo>
                  <a:lnTo>
                    <a:pt x="22" y="19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5" y="23"/>
                  </a:lnTo>
                  <a:lnTo>
                    <a:pt x="15" y="21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3" y="19"/>
                  </a:lnTo>
                  <a:lnTo>
                    <a:pt x="9" y="20"/>
                  </a:lnTo>
                  <a:lnTo>
                    <a:pt x="8" y="21"/>
                  </a:lnTo>
                  <a:lnTo>
                    <a:pt x="5" y="21"/>
                  </a:lnTo>
                  <a:lnTo>
                    <a:pt x="1" y="23"/>
                  </a:lnTo>
                  <a:lnTo>
                    <a:pt x="0" y="21"/>
                  </a:lnTo>
                  <a:lnTo>
                    <a:pt x="1" y="21"/>
                  </a:lnTo>
                  <a:lnTo>
                    <a:pt x="7" y="19"/>
                  </a:lnTo>
                  <a:lnTo>
                    <a:pt x="6" y="19"/>
                  </a:lnTo>
                  <a:lnTo>
                    <a:pt x="1" y="20"/>
                  </a:lnTo>
                  <a:lnTo>
                    <a:pt x="3" y="19"/>
                  </a:lnTo>
                  <a:lnTo>
                    <a:pt x="4" y="18"/>
                  </a:lnTo>
                  <a:lnTo>
                    <a:pt x="7" y="18"/>
                  </a:lnTo>
                  <a:lnTo>
                    <a:pt x="9" y="16"/>
                  </a:lnTo>
                  <a:lnTo>
                    <a:pt x="11" y="16"/>
                  </a:lnTo>
                  <a:lnTo>
                    <a:pt x="13" y="16"/>
                  </a:lnTo>
                  <a:lnTo>
                    <a:pt x="15" y="15"/>
                  </a:lnTo>
                  <a:lnTo>
                    <a:pt x="17" y="15"/>
                  </a:lnTo>
                  <a:lnTo>
                    <a:pt x="18" y="16"/>
                  </a:lnTo>
                  <a:lnTo>
                    <a:pt x="19" y="16"/>
                  </a:lnTo>
                  <a:lnTo>
                    <a:pt x="20" y="16"/>
                  </a:lnTo>
                  <a:lnTo>
                    <a:pt x="26" y="14"/>
                  </a:lnTo>
                  <a:lnTo>
                    <a:pt x="28" y="14"/>
                  </a:lnTo>
                  <a:lnTo>
                    <a:pt x="28" y="13"/>
                  </a:lnTo>
                  <a:lnTo>
                    <a:pt x="29" y="11"/>
                  </a:lnTo>
                  <a:lnTo>
                    <a:pt x="30" y="13"/>
                  </a:lnTo>
                  <a:lnTo>
                    <a:pt x="31" y="13"/>
                  </a:lnTo>
                  <a:lnTo>
                    <a:pt x="34" y="11"/>
                  </a:lnTo>
                  <a:lnTo>
                    <a:pt x="35" y="11"/>
                  </a:lnTo>
                  <a:lnTo>
                    <a:pt x="37" y="11"/>
                  </a:lnTo>
                  <a:lnTo>
                    <a:pt x="40" y="10"/>
                  </a:lnTo>
                  <a:lnTo>
                    <a:pt x="44" y="10"/>
                  </a:lnTo>
                  <a:lnTo>
                    <a:pt x="42" y="9"/>
                  </a:lnTo>
                  <a:lnTo>
                    <a:pt x="46" y="8"/>
                  </a:lnTo>
                  <a:lnTo>
                    <a:pt x="47" y="8"/>
                  </a:lnTo>
                  <a:lnTo>
                    <a:pt x="48" y="8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41" name="Freeform 1141"/>
            <p:cNvSpPr>
              <a:spLocks/>
            </p:cNvSpPr>
            <p:nvPr/>
          </p:nvSpPr>
          <p:spPr bwMode="auto">
            <a:xfrm>
              <a:off x="1531" y="812"/>
              <a:ext cx="14" cy="2"/>
            </a:xfrm>
            <a:custGeom>
              <a:avLst/>
              <a:gdLst>
                <a:gd name="T0" fmla="*/ 10 w 14"/>
                <a:gd name="T1" fmla="*/ 0 h 2"/>
                <a:gd name="T2" fmla="*/ 12 w 14"/>
                <a:gd name="T3" fmla="*/ 0 h 2"/>
                <a:gd name="T4" fmla="*/ 14 w 14"/>
                <a:gd name="T5" fmla="*/ 1 h 2"/>
                <a:gd name="T6" fmla="*/ 13 w 14"/>
                <a:gd name="T7" fmla="*/ 2 h 2"/>
                <a:gd name="T8" fmla="*/ 12 w 14"/>
                <a:gd name="T9" fmla="*/ 2 h 2"/>
                <a:gd name="T10" fmla="*/ 7 w 14"/>
                <a:gd name="T11" fmla="*/ 2 h 2"/>
                <a:gd name="T12" fmla="*/ 1 w 14"/>
                <a:gd name="T13" fmla="*/ 2 h 2"/>
                <a:gd name="T14" fmla="*/ 0 w 14"/>
                <a:gd name="T15" fmla="*/ 1 h 2"/>
                <a:gd name="T16" fmla="*/ 1 w 14"/>
                <a:gd name="T17" fmla="*/ 1 h 2"/>
                <a:gd name="T18" fmla="*/ 10 w 14"/>
                <a:gd name="T1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2">
                  <a:moveTo>
                    <a:pt x="10" y="0"/>
                  </a:moveTo>
                  <a:lnTo>
                    <a:pt x="12" y="0"/>
                  </a:lnTo>
                  <a:lnTo>
                    <a:pt x="14" y="1"/>
                  </a:lnTo>
                  <a:lnTo>
                    <a:pt x="13" y="2"/>
                  </a:lnTo>
                  <a:lnTo>
                    <a:pt x="12" y="2"/>
                  </a:lnTo>
                  <a:lnTo>
                    <a:pt x="7" y="2"/>
                  </a:lnTo>
                  <a:lnTo>
                    <a:pt x="1" y="2"/>
                  </a:lnTo>
                  <a:lnTo>
                    <a:pt x="0" y="1"/>
                  </a:lnTo>
                  <a:lnTo>
                    <a:pt x="1" y="1"/>
                  </a:lnTo>
                  <a:lnTo>
                    <a:pt x="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42" name="Freeform 1142"/>
            <p:cNvSpPr>
              <a:spLocks/>
            </p:cNvSpPr>
            <p:nvPr/>
          </p:nvSpPr>
          <p:spPr bwMode="auto">
            <a:xfrm>
              <a:off x="1531" y="812"/>
              <a:ext cx="14" cy="2"/>
            </a:xfrm>
            <a:custGeom>
              <a:avLst/>
              <a:gdLst>
                <a:gd name="T0" fmla="*/ 10 w 14"/>
                <a:gd name="T1" fmla="*/ 0 h 2"/>
                <a:gd name="T2" fmla="*/ 12 w 14"/>
                <a:gd name="T3" fmla="*/ 0 h 2"/>
                <a:gd name="T4" fmla="*/ 14 w 14"/>
                <a:gd name="T5" fmla="*/ 1 h 2"/>
                <a:gd name="T6" fmla="*/ 13 w 14"/>
                <a:gd name="T7" fmla="*/ 2 h 2"/>
                <a:gd name="T8" fmla="*/ 12 w 14"/>
                <a:gd name="T9" fmla="*/ 2 h 2"/>
                <a:gd name="T10" fmla="*/ 7 w 14"/>
                <a:gd name="T11" fmla="*/ 2 h 2"/>
                <a:gd name="T12" fmla="*/ 1 w 14"/>
                <a:gd name="T13" fmla="*/ 2 h 2"/>
                <a:gd name="T14" fmla="*/ 0 w 14"/>
                <a:gd name="T15" fmla="*/ 1 h 2"/>
                <a:gd name="T16" fmla="*/ 1 w 14"/>
                <a:gd name="T17" fmla="*/ 1 h 2"/>
                <a:gd name="T18" fmla="*/ 10 w 14"/>
                <a:gd name="T1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2">
                  <a:moveTo>
                    <a:pt x="10" y="0"/>
                  </a:moveTo>
                  <a:lnTo>
                    <a:pt x="12" y="0"/>
                  </a:lnTo>
                  <a:lnTo>
                    <a:pt x="14" y="1"/>
                  </a:lnTo>
                  <a:lnTo>
                    <a:pt x="13" y="2"/>
                  </a:lnTo>
                  <a:lnTo>
                    <a:pt x="12" y="2"/>
                  </a:lnTo>
                  <a:lnTo>
                    <a:pt x="7" y="2"/>
                  </a:lnTo>
                  <a:lnTo>
                    <a:pt x="1" y="2"/>
                  </a:lnTo>
                  <a:lnTo>
                    <a:pt x="0" y="1"/>
                  </a:lnTo>
                  <a:lnTo>
                    <a:pt x="1" y="1"/>
                  </a:lnTo>
                  <a:lnTo>
                    <a:pt x="10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43" name="Freeform 1143"/>
            <p:cNvSpPr>
              <a:spLocks/>
            </p:cNvSpPr>
            <p:nvPr/>
          </p:nvSpPr>
          <p:spPr bwMode="auto">
            <a:xfrm>
              <a:off x="1562" y="796"/>
              <a:ext cx="46" cy="11"/>
            </a:xfrm>
            <a:custGeom>
              <a:avLst/>
              <a:gdLst>
                <a:gd name="T0" fmla="*/ 22 w 46"/>
                <a:gd name="T1" fmla="*/ 1 h 11"/>
                <a:gd name="T2" fmla="*/ 23 w 46"/>
                <a:gd name="T3" fmla="*/ 1 h 11"/>
                <a:gd name="T4" fmla="*/ 23 w 46"/>
                <a:gd name="T5" fmla="*/ 1 h 11"/>
                <a:gd name="T6" fmla="*/ 26 w 46"/>
                <a:gd name="T7" fmla="*/ 1 h 11"/>
                <a:gd name="T8" fmla="*/ 32 w 46"/>
                <a:gd name="T9" fmla="*/ 1 h 11"/>
                <a:gd name="T10" fmla="*/ 32 w 46"/>
                <a:gd name="T11" fmla="*/ 1 h 11"/>
                <a:gd name="T12" fmla="*/ 33 w 46"/>
                <a:gd name="T13" fmla="*/ 1 h 11"/>
                <a:gd name="T14" fmla="*/ 37 w 46"/>
                <a:gd name="T15" fmla="*/ 1 h 11"/>
                <a:gd name="T16" fmla="*/ 41 w 46"/>
                <a:gd name="T17" fmla="*/ 0 h 11"/>
                <a:gd name="T18" fmla="*/ 46 w 46"/>
                <a:gd name="T19" fmla="*/ 1 h 11"/>
                <a:gd name="T20" fmla="*/ 46 w 46"/>
                <a:gd name="T21" fmla="*/ 1 h 11"/>
                <a:gd name="T22" fmla="*/ 44 w 46"/>
                <a:gd name="T23" fmla="*/ 2 h 11"/>
                <a:gd name="T24" fmla="*/ 42 w 46"/>
                <a:gd name="T25" fmla="*/ 3 h 11"/>
                <a:gd name="T26" fmla="*/ 33 w 46"/>
                <a:gd name="T27" fmla="*/ 3 h 11"/>
                <a:gd name="T28" fmla="*/ 30 w 46"/>
                <a:gd name="T29" fmla="*/ 3 h 11"/>
                <a:gd name="T30" fmla="*/ 30 w 46"/>
                <a:gd name="T31" fmla="*/ 3 h 11"/>
                <a:gd name="T32" fmla="*/ 28 w 46"/>
                <a:gd name="T33" fmla="*/ 4 h 11"/>
                <a:gd name="T34" fmla="*/ 29 w 46"/>
                <a:gd name="T35" fmla="*/ 4 h 11"/>
                <a:gd name="T36" fmla="*/ 28 w 46"/>
                <a:gd name="T37" fmla="*/ 4 h 11"/>
                <a:gd name="T38" fmla="*/ 23 w 46"/>
                <a:gd name="T39" fmla="*/ 4 h 11"/>
                <a:gd name="T40" fmla="*/ 23 w 46"/>
                <a:gd name="T41" fmla="*/ 4 h 11"/>
                <a:gd name="T42" fmla="*/ 22 w 46"/>
                <a:gd name="T43" fmla="*/ 5 h 11"/>
                <a:gd name="T44" fmla="*/ 24 w 46"/>
                <a:gd name="T45" fmla="*/ 4 h 11"/>
                <a:gd name="T46" fmla="*/ 24 w 46"/>
                <a:gd name="T47" fmla="*/ 5 h 11"/>
                <a:gd name="T48" fmla="*/ 22 w 46"/>
                <a:gd name="T49" fmla="*/ 5 h 11"/>
                <a:gd name="T50" fmla="*/ 26 w 46"/>
                <a:gd name="T51" fmla="*/ 5 h 11"/>
                <a:gd name="T52" fmla="*/ 27 w 46"/>
                <a:gd name="T53" fmla="*/ 5 h 11"/>
                <a:gd name="T54" fmla="*/ 26 w 46"/>
                <a:gd name="T55" fmla="*/ 5 h 11"/>
                <a:gd name="T56" fmla="*/ 27 w 46"/>
                <a:gd name="T57" fmla="*/ 5 h 11"/>
                <a:gd name="T58" fmla="*/ 29 w 46"/>
                <a:gd name="T59" fmla="*/ 4 h 11"/>
                <a:gd name="T60" fmla="*/ 30 w 46"/>
                <a:gd name="T61" fmla="*/ 4 h 11"/>
                <a:gd name="T62" fmla="*/ 30 w 46"/>
                <a:gd name="T63" fmla="*/ 5 h 11"/>
                <a:gd name="T64" fmla="*/ 31 w 46"/>
                <a:gd name="T65" fmla="*/ 5 h 11"/>
                <a:gd name="T66" fmla="*/ 36 w 46"/>
                <a:gd name="T67" fmla="*/ 4 h 11"/>
                <a:gd name="T68" fmla="*/ 34 w 46"/>
                <a:gd name="T69" fmla="*/ 6 h 11"/>
                <a:gd name="T70" fmla="*/ 31 w 46"/>
                <a:gd name="T71" fmla="*/ 7 h 11"/>
                <a:gd name="T72" fmla="*/ 30 w 46"/>
                <a:gd name="T73" fmla="*/ 8 h 11"/>
                <a:gd name="T74" fmla="*/ 28 w 46"/>
                <a:gd name="T75" fmla="*/ 8 h 11"/>
                <a:gd name="T76" fmla="*/ 20 w 46"/>
                <a:gd name="T77" fmla="*/ 10 h 11"/>
                <a:gd name="T78" fmla="*/ 19 w 46"/>
                <a:gd name="T79" fmla="*/ 8 h 11"/>
                <a:gd name="T80" fmla="*/ 9 w 46"/>
                <a:gd name="T81" fmla="*/ 11 h 11"/>
                <a:gd name="T82" fmla="*/ 7 w 46"/>
                <a:gd name="T83" fmla="*/ 11 h 11"/>
                <a:gd name="T84" fmla="*/ 4 w 46"/>
                <a:gd name="T85" fmla="*/ 10 h 11"/>
                <a:gd name="T86" fmla="*/ 4 w 46"/>
                <a:gd name="T87" fmla="*/ 10 h 11"/>
                <a:gd name="T88" fmla="*/ 6 w 46"/>
                <a:gd name="T89" fmla="*/ 8 h 11"/>
                <a:gd name="T90" fmla="*/ 0 w 46"/>
                <a:gd name="T91" fmla="*/ 8 h 11"/>
                <a:gd name="T92" fmla="*/ 0 w 46"/>
                <a:gd name="T93" fmla="*/ 7 h 11"/>
                <a:gd name="T94" fmla="*/ 0 w 46"/>
                <a:gd name="T95" fmla="*/ 7 h 11"/>
                <a:gd name="T96" fmla="*/ 1 w 46"/>
                <a:gd name="T97" fmla="*/ 6 h 11"/>
                <a:gd name="T98" fmla="*/ 2 w 46"/>
                <a:gd name="T99" fmla="*/ 6 h 11"/>
                <a:gd name="T100" fmla="*/ 3 w 46"/>
                <a:gd name="T101" fmla="*/ 5 h 11"/>
                <a:gd name="T102" fmla="*/ 3 w 46"/>
                <a:gd name="T103" fmla="*/ 4 h 11"/>
                <a:gd name="T104" fmla="*/ 6 w 46"/>
                <a:gd name="T105" fmla="*/ 3 h 11"/>
                <a:gd name="T106" fmla="*/ 7 w 46"/>
                <a:gd name="T107" fmla="*/ 3 h 11"/>
                <a:gd name="T108" fmla="*/ 11 w 46"/>
                <a:gd name="T109" fmla="*/ 3 h 11"/>
                <a:gd name="T110" fmla="*/ 13 w 46"/>
                <a:gd name="T111" fmla="*/ 2 h 11"/>
                <a:gd name="T112" fmla="*/ 16 w 46"/>
                <a:gd name="T113" fmla="*/ 2 h 11"/>
                <a:gd name="T114" fmla="*/ 17 w 46"/>
                <a:gd name="T115" fmla="*/ 2 h 11"/>
                <a:gd name="T116" fmla="*/ 19 w 46"/>
                <a:gd name="T117" fmla="*/ 1 h 11"/>
                <a:gd name="T118" fmla="*/ 21 w 46"/>
                <a:gd name="T119" fmla="*/ 1 h 11"/>
                <a:gd name="T120" fmla="*/ 22 w 46"/>
                <a:gd name="T12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6" h="11">
                  <a:moveTo>
                    <a:pt x="22" y="1"/>
                  </a:moveTo>
                  <a:lnTo>
                    <a:pt x="23" y="1"/>
                  </a:lnTo>
                  <a:lnTo>
                    <a:pt x="23" y="1"/>
                  </a:lnTo>
                  <a:lnTo>
                    <a:pt x="26" y="1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7" y="1"/>
                  </a:lnTo>
                  <a:lnTo>
                    <a:pt x="41" y="0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4" y="2"/>
                  </a:lnTo>
                  <a:lnTo>
                    <a:pt x="42" y="3"/>
                  </a:lnTo>
                  <a:lnTo>
                    <a:pt x="33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28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2" y="5"/>
                  </a:lnTo>
                  <a:lnTo>
                    <a:pt x="24" y="4"/>
                  </a:lnTo>
                  <a:lnTo>
                    <a:pt x="24" y="5"/>
                  </a:lnTo>
                  <a:lnTo>
                    <a:pt x="22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36" y="4"/>
                  </a:lnTo>
                  <a:lnTo>
                    <a:pt x="34" y="6"/>
                  </a:lnTo>
                  <a:lnTo>
                    <a:pt x="31" y="7"/>
                  </a:lnTo>
                  <a:lnTo>
                    <a:pt x="30" y="8"/>
                  </a:lnTo>
                  <a:lnTo>
                    <a:pt x="28" y="8"/>
                  </a:lnTo>
                  <a:lnTo>
                    <a:pt x="20" y="10"/>
                  </a:lnTo>
                  <a:lnTo>
                    <a:pt x="19" y="8"/>
                  </a:lnTo>
                  <a:lnTo>
                    <a:pt x="9" y="11"/>
                  </a:lnTo>
                  <a:lnTo>
                    <a:pt x="7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6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6"/>
                  </a:lnTo>
                  <a:lnTo>
                    <a:pt x="2" y="6"/>
                  </a:lnTo>
                  <a:lnTo>
                    <a:pt x="3" y="5"/>
                  </a:lnTo>
                  <a:lnTo>
                    <a:pt x="3" y="4"/>
                  </a:lnTo>
                  <a:lnTo>
                    <a:pt x="6" y="3"/>
                  </a:lnTo>
                  <a:lnTo>
                    <a:pt x="7" y="3"/>
                  </a:lnTo>
                  <a:lnTo>
                    <a:pt x="11" y="3"/>
                  </a:lnTo>
                  <a:lnTo>
                    <a:pt x="13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9" y="1"/>
                  </a:lnTo>
                  <a:lnTo>
                    <a:pt x="21" y="1"/>
                  </a:lnTo>
                  <a:lnTo>
                    <a:pt x="22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44" name="Freeform 1144"/>
            <p:cNvSpPr>
              <a:spLocks/>
            </p:cNvSpPr>
            <p:nvPr/>
          </p:nvSpPr>
          <p:spPr bwMode="auto">
            <a:xfrm>
              <a:off x="1562" y="796"/>
              <a:ext cx="46" cy="11"/>
            </a:xfrm>
            <a:custGeom>
              <a:avLst/>
              <a:gdLst>
                <a:gd name="T0" fmla="*/ 22 w 46"/>
                <a:gd name="T1" fmla="*/ 1 h 11"/>
                <a:gd name="T2" fmla="*/ 23 w 46"/>
                <a:gd name="T3" fmla="*/ 1 h 11"/>
                <a:gd name="T4" fmla="*/ 23 w 46"/>
                <a:gd name="T5" fmla="*/ 1 h 11"/>
                <a:gd name="T6" fmla="*/ 26 w 46"/>
                <a:gd name="T7" fmla="*/ 1 h 11"/>
                <a:gd name="T8" fmla="*/ 32 w 46"/>
                <a:gd name="T9" fmla="*/ 1 h 11"/>
                <a:gd name="T10" fmla="*/ 32 w 46"/>
                <a:gd name="T11" fmla="*/ 1 h 11"/>
                <a:gd name="T12" fmla="*/ 33 w 46"/>
                <a:gd name="T13" fmla="*/ 1 h 11"/>
                <a:gd name="T14" fmla="*/ 37 w 46"/>
                <a:gd name="T15" fmla="*/ 1 h 11"/>
                <a:gd name="T16" fmla="*/ 41 w 46"/>
                <a:gd name="T17" fmla="*/ 0 h 11"/>
                <a:gd name="T18" fmla="*/ 46 w 46"/>
                <a:gd name="T19" fmla="*/ 1 h 11"/>
                <a:gd name="T20" fmla="*/ 46 w 46"/>
                <a:gd name="T21" fmla="*/ 1 h 11"/>
                <a:gd name="T22" fmla="*/ 44 w 46"/>
                <a:gd name="T23" fmla="*/ 2 h 11"/>
                <a:gd name="T24" fmla="*/ 42 w 46"/>
                <a:gd name="T25" fmla="*/ 3 h 11"/>
                <a:gd name="T26" fmla="*/ 33 w 46"/>
                <a:gd name="T27" fmla="*/ 3 h 11"/>
                <a:gd name="T28" fmla="*/ 30 w 46"/>
                <a:gd name="T29" fmla="*/ 3 h 11"/>
                <a:gd name="T30" fmla="*/ 30 w 46"/>
                <a:gd name="T31" fmla="*/ 3 h 11"/>
                <a:gd name="T32" fmla="*/ 28 w 46"/>
                <a:gd name="T33" fmla="*/ 4 h 11"/>
                <a:gd name="T34" fmla="*/ 29 w 46"/>
                <a:gd name="T35" fmla="*/ 4 h 11"/>
                <a:gd name="T36" fmla="*/ 28 w 46"/>
                <a:gd name="T37" fmla="*/ 4 h 11"/>
                <a:gd name="T38" fmla="*/ 23 w 46"/>
                <a:gd name="T39" fmla="*/ 4 h 11"/>
                <a:gd name="T40" fmla="*/ 23 w 46"/>
                <a:gd name="T41" fmla="*/ 4 h 11"/>
                <a:gd name="T42" fmla="*/ 22 w 46"/>
                <a:gd name="T43" fmla="*/ 5 h 11"/>
                <a:gd name="T44" fmla="*/ 24 w 46"/>
                <a:gd name="T45" fmla="*/ 4 h 11"/>
                <a:gd name="T46" fmla="*/ 24 w 46"/>
                <a:gd name="T47" fmla="*/ 5 h 11"/>
                <a:gd name="T48" fmla="*/ 22 w 46"/>
                <a:gd name="T49" fmla="*/ 5 h 11"/>
                <a:gd name="T50" fmla="*/ 26 w 46"/>
                <a:gd name="T51" fmla="*/ 5 h 11"/>
                <a:gd name="T52" fmla="*/ 27 w 46"/>
                <a:gd name="T53" fmla="*/ 5 h 11"/>
                <a:gd name="T54" fmla="*/ 26 w 46"/>
                <a:gd name="T55" fmla="*/ 5 h 11"/>
                <a:gd name="T56" fmla="*/ 27 w 46"/>
                <a:gd name="T57" fmla="*/ 5 h 11"/>
                <a:gd name="T58" fmla="*/ 29 w 46"/>
                <a:gd name="T59" fmla="*/ 4 h 11"/>
                <a:gd name="T60" fmla="*/ 30 w 46"/>
                <a:gd name="T61" fmla="*/ 4 h 11"/>
                <a:gd name="T62" fmla="*/ 30 w 46"/>
                <a:gd name="T63" fmla="*/ 5 h 11"/>
                <a:gd name="T64" fmla="*/ 31 w 46"/>
                <a:gd name="T65" fmla="*/ 5 h 11"/>
                <a:gd name="T66" fmla="*/ 36 w 46"/>
                <a:gd name="T67" fmla="*/ 4 h 11"/>
                <a:gd name="T68" fmla="*/ 34 w 46"/>
                <a:gd name="T69" fmla="*/ 6 h 11"/>
                <a:gd name="T70" fmla="*/ 31 w 46"/>
                <a:gd name="T71" fmla="*/ 7 h 11"/>
                <a:gd name="T72" fmla="*/ 30 w 46"/>
                <a:gd name="T73" fmla="*/ 8 h 11"/>
                <a:gd name="T74" fmla="*/ 28 w 46"/>
                <a:gd name="T75" fmla="*/ 8 h 11"/>
                <a:gd name="T76" fmla="*/ 20 w 46"/>
                <a:gd name="T77" fmla="*/ 10 h 11"/>
                <a:gd name="T78" fmla="*/ 19 w 46"/>
                <a:gd name="T79" fmla="*/ 8 h 11"/>
                <a:gd name="T80" fmla="*/ 9 w 46"/>
                <a:gd name="T81" fmla="*/ 11 h 11"/>
                <a:gd name="T82" fmla="*/ 7 w 46"/>
                <a:gd name="T83" fmla="*/ 11 h 11"/>
                <a:gd name="T84" fmla="*/ 4 w 46"/>
                <a:gd name="T85" fmla="*/ 10 h 11"/>
                <a:gd name="T86" fmla="*/ 4 w 46"/>
                <a:gd name="T87" fmla="*/ 10 h 11"/>
                <a:gd name="T88" fmla="*/ 6 w 46"/>
                <a:gd name="T89" fmla="*/ 8 h 11"/>
                <a:gd name="T90" fmla="*/ 0 w 46"/>
                <a:gd name="T91" fmla="*/ 8 h 11"/>
                <a:gd name="T92" fmla="*/ 0 w 46"/>
                <a:gd name="T93" fmla="*/ 7 h 11"/>
                <a:gd name="T94" fmla="*/ 0 w 46"/>
                <a:gd name="T95" fmla="*/ 7 h 11"/>
                <a:gd name="T96" fmla="*/ 1 w 46"/>
                <a:gd name="T97" fmla="*/ 6 h 11"/>
                <a:gd name="T98" fmla="*/ 2 w 46"/>
                <a:gd name="T99" fmla="*/ 6 h 11"/>
                <a:gd name="T100" fmla="*/ 3 w 46"/>
                <a:gd name="T101" fmla="*/ 5 h 11"/>
                <a:gd name="T102" fmla="*/ 3 w 46"/>
                <a:gd name="T103" fmla="*/ 4 h 11"/>
                <a:gd name="T104" fmla="*/ 6 w 46"/>
                <a:gd name="T105" fmla="*/ 3 h 11"/>
                <a:gd name="T106" fmla="*/ 7 w 46"/>
                <a:gd name="T107" fmla="*/ 3 h 11"/>
                <a:gd name="T108" fmla="*/ 11 w 46"/>
                <a:gd name="T109" fmla="*/ 3 h 11"/>
                <a:gd name="T110" fmla="*/ 13 w 46"/>
                <a:gd name="T111" fmla="*/ 2 h 11"/>
                <a:gd name="T112" fmla="*/ 16 w 46"/>
                <a:gd name="T113" fmla="*/ 2 h 11"/>
                <a:gd name="T114" fmla="*/ 17 w 46"/>
                <a:gd name="T115" fmla="*/ 2 h 11"/>
                <a:gd name="T116" fmla="*/ 19 w 46"/>
                <a:gd name="T117" fmla="*/ 1 h 11"/>
                <a:gd name="T118" fmla="*/ 21 w 46"/>
                <a:gd name="T119" fmla="*/ 1 h 11"/>
                <a:gd name="T120" fmla="*/ 22 w 46"/>
                <a:gd name="T12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6" h="11">
                  <a:moveTo>
                    <a:pt x="22" y="1"/>
                  </a:moveTo>
                  <a:lnTo>
                    <a:pt x="23" y="1"/>
                  </a:lnTo>
                  <a:lnTo>
                    <a:pt x="23" y="1"/>
                  </a:lnTo>
                  <a:lnTo>
                    <a:pt x="26" y="1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7" y="1"/>
                  </a:lnTo>
                  <a:lnTo>
                    <a:pt x="41" y="0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4" y="2"/>
                  </a:lnTo>
                  <a:lnTo>
                    <a:pt x="42" y="3"/>
                  </a:lnTo>
                  <a:lnTo>
                    <a:pt x="33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28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2" y="5"/>
                  </a:lnTo>
                  <a:lnTo>
                    <a:pt x="24" y="4"/>
                  </a:lnTo>
                  <a:lnTo>
                    <a:pt x="24" y="5"/>
                  </a:lnTo>
                  <a:lnTo>
                    <a:pt x="22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36" y="4"/>
                  </a:lnTo>
                  <a:lnTo>
                    <a:pt x="34" y="6"/>
                  </a:lnTo>
                  <a:lnTo>
                    <a:pt x="31" y="7"/>
                  </a:lnTo>
                  <a:lnTo>
                    <a:pt x="30" y="8"/>
                  </a:lnTo>
                  <a:lnTo>
                    <a:pt x="28" y="8"/>
                  </a:lnTo>
                  <a:lnTo>
                    <a:pt x="20" y="10"/>
                  </a:lnTo>
                  <a:lnTo>
                    <a:pt x="19" y="8"/>
                  </a:lnTo>
                  <a:lnTo>
                    <a:pt x="9" y="11"/>
                  </a:lnTo>
                  <a:lnTo>
                    <a:pt x="7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6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6"/>
                  </a:lnTo>
                  <a:lnTo>
                    <a:pt x="2" y="6"/>
                  </a:lnTo>
                  <a:lnTo>
                    <a:pt x="3" y="5"/>
                  </a:lnTo>
                  <a:lnTo>
                    <a:pt x="3" y="4"/>
                  </a:lnTo>
                  <a:lnTo>
                    <a:pt x="6" y="3"/>
                  </a:lnTo>
                  <a:lnTo>
                    <a:pt x="7" y="3"/>
                  </a:lnTo>
                  <a:lnTo>
                    <a:pt x="11" y="3"/>
                  </a:lnTo>
                  <a:lnTo>
                    <a:pt x="13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9" y="1"/>
                  </a:lnTo>
                  <a:lnTo>
                    <a:pt x="21" y="1"/>
                  </a:lnTo>
                  <a:lnTo>
                    <a:pt x="22" y="1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45" name="Freeform 1145"/>
            <p:cNvSpPr>
              <a:spLocks/>
            </p:cNvSpPr>
            <p:nvPr/>
          </p:nvSpPr>
          <p:spPr bwMode="auto">
            <a:xfrm>
              <a:off x="1551" y="797"/>
              <a:ext cx="12" cy="4"/>
            </a:xfrm>
            <a:custGeom>
              <a:avLst/>
              <a:gdLst>
                <a:gd name="T0" fmla="*/ 1 w 12"/>
                <a:gd name="T1" fmla="*/ 1 h 4"/>
                <a:gd name="T2" fmla="*/ 2 w 12"/>
                <a:gd name="T3" fmla="*/ 1 h 4"/>
                <a:gd name="T4" fmla="*/ 3 w 12"/>
                <a:gd name="T5" fmla="*/ 1 h 4"/>
                <a:gd name="T6" fmla="*/ 3 w 12"/>
                <a:gd name="T7" fmla="*/ 1 h 4"/>
                <a:gd name="T8" fmla="*/ 4 w 12"/>
                <a:gd name="T9" fmla="*/ 1 h 4"/>
                <a:gd name="T10" fmla="*/ 8 w 12"/>
                <a:gd name="T11" fmla="*/ 0 h 4"/>
                <a:gd name="T12" fmla="*/ 9 w 12"/>
                <a:gd name="T13" fmla="*/ 0 h 4"/>
                <a:gd name="T14" fmla="*/ 8 w 12"/>
                <a:gd name="T15" fmla="*/ 1 h 4"/>
                <a:gd name="T16" fmla="*/ 8 w 12"/>
                <a:gd name="T17" fmla="*/ 1 h 4"/>
                <a:gd name="T18" fmla="*/ 12 w 12"/>
                <a:gd name="T19" fmla="*/ 3 h 4"/>
                <a:gd name="T20" fmla="*/ 11 w 12"/>
                <a:gd name="T21" fmla="*/ 3 h 4"/>
                <a:gd name="T22" fmla="*/ 9 w 12"/>
                <a:gd name="T23" fmla="*/ 4 h 4"/>
                <a:gd name="T24" fmla="*/ 3 w 12"/>
                <a:gd name="T25" fmla="*/ 4 h 4"/>
                <a:gd name="T26" fmla="*/ 2 w 12"/>
                <a:gd name="T27" fmla="*/ 4 h 4"/>
                <a:gd name="T28" fmla="*/ 1 w 12"/>
                <a:gd name="T29" fmla="*/ 2 h 4"/>
                <a:gd name="T30" fmla="*/ 0 w 12"/>
                <a:gd name="T31" fmla="*/ 3 h 4"/>
                <a:gd name="T32" fmla="*/ 0 w 12"/>
                <a:gd name="T33" fmla="*/ 2 h 4"/>
                <a:gd name="T34" fmla="*/ 0 w 12"/>
                <a:gd name="T35" fmla="*/ 1 h 4"/>
                <a:gd name="T36" fmla="*/ 1 w 12"/>
                <a:gd name="T3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" h="4">
                  <a:moveTo>
                    <a:pt x="1" y="1"/>
                  </a:move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8" y="0"/>
                  </a:lnTo>
                  <a:lnTo>
                    <a:pt x="9" y="0"/>
                  </a:lnTo>
                  <a:lnTo>
                    <a:pt x="8" y="1"/>
                  </a:lnTo>
                  <a:lnTo>
                    <a:pt x="8" y="1"/>
                  </a:lnTo>
                  <a:lnTo>
                    <a:pt x="12" y="3"/>
                  </a:lnTo>
                  <a:lnTo>
                    <a:pt x="11" y="3"/>
                  </a:lnTo>
                  <a:lnTo>
                    <a:pt x="9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1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46" name="Freeform 1146"/>
            <p:cNvSpPr>
              <a:spLocks/>
            </p:cNvSpPr>
            <p:nvPr/>
          </p:nvSpPr>
          <p:spPr bwMode="auto">
            <a:xfrm>
              <a:off x="1551" y="797"/>
              <a:ext cx="12" cy="4"/>
            </a:xfrm>
            <a:custGeom>
              <a:avLst/>
              <a:gdLst>
                <a:gd name="T0" fmla="*/ 1 w 12"/>
                <a:gd name="T1" fmla="*/ 1 h 4"/>
                <a:gd name="T2" fmla="*/ 2 w 12"/>
                <a:gd name="T3" fmla="*/ 1 h 4"/>
                <a:gd name="T4" fmla="*/ 3 w 12"/>
                <a:gd name="T5" fmla="*/ 1 h 4"/>
                <a:gd name="T6" fmla="*/ 3 w 12"/>
                <a:gd name="T7" fmla="*/ 1 h 4"/>
                <a:gd name="T8" fmla="*/ 4 w 12"/>
                <a:gd name="T9" fmla="*/ 1 h 4"/>
                <a:gd name="T10" fmla="*/ 8 w 12"/>
                <a:gd name="T11" fmla="*/ 0 h 4"/>
                <a:gd name="T12" fmla="*/ 9 w 12"/>
                <a:gd name="T13" fmla="*/ 0 h 4"/>
                <a:gd name="T14" fmla="*/ 8 w 12"/>
                <a:gd name="T15" fmla="*/ 1 h 4"/>
                <a:gd name="T16" fmla="*/ 8 w 12"/>
                <a:gd name="T17" fmla="*/ 1 h 4"/>
                <a:gd name="T18" fmla="*/ 12 w 12"/>
                <a:gd name="T19" fmla="*/ 3 h 4"/>
                <a:gd name="T20" fmla="*/ 11 w 12"/>
                <a:gd name="T21" fmla="*/ 3 h 4"/>
                <a:gd name="T22" fmla="*/ 9 w 12"/>
                <a:gd name="T23" fmla="*/ 4 h 4"/>
                <a:gd name="T24" fmla="*/ 3 w 12"/>
                <a:gd name="T25" fmla="*/ 4 h 4"/>
                <a:gd name="T26" fmla="*/ 2 w 12"/>
                <a:gd name="T27" fmla="*/ 4 h 4"/>
                <a:gd name="T28" fmla="*/ 1 w 12"/>
                <a:gd name="T29" fmla="*/ 2 h 4"/>
                <a:gd name="T30" fmla="*/ 0 w 12"/>
                <a:gd name="T31" fmla="*/ 3 h 4"/>
                <a:gd name="T32" fmla="*/ 0 w 12"/>
                <a:gd name="T33" fmla="*/ 2 h 4"/>
                <a:gd name="T34" fmla="*/ 0 w 12"/>
                <a:gd name="T35" fmla="*/ 1 h 4"/>
                <a:gd name="T36" fmla="*/ 1 w 12"/>
                <a:gd name="T3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" h="4">
                  <a:moveTo>
                    <a:pt x="1" y="1"/>
                  </a:move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8" y="0"/>
                  </a:lnTo>
                  <a:lnTo>
                    <a:pt x="9" y="0"/>
                  </a:lnTo>
                  <a:lnTo>
                    <a:pt x="8" y="1"/>
                  </a:lnTo>
                  <a:lnTo>
                    <a:pt x="8" y="1"/>
                  </a:lnTo>
                  <a:lnTo>
                    <a:pt x="12" y="3"/>
                  </a:lnTo>
                  <a:lnTo>
                    <a:pt x="11" y="3"/>
                  </a:lnTo>
                  <a:lnTo>
                    <a:pt x="9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1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1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47" name="Freeform 1147"/>
            <p:cNvSpPr>
              <a:spLocks/>
            </p:cNvSpPr>
            <p:nvPr/>
          </p:nvSpPr>
          <p:spPr bwMode="auto">
            <a:xfrm>
              <a:off x="1575" y="788"/>
              <a:ext cx="45" cy="6"/>
            </a:xfrm>
            <a:custGeom>
              <a:avLst/>
              <a:gdLst>
                <a:gd name="T0" fmla="*/ 40 w 45"/>
                <a:gd name="T1" fmla="*/ 1 h 6"/>
                <a:gd name="T2" fmla="*/ 41 w 45"/>
                <a:gd name="T3" fmla="*/ 1 h 6"/>
                <a:gd name="T4" fmla="*/ 41 w 45"/>
                <a:gd name="T5" fmla="*/ 2 h 6"/>
                <a:gd name="T6" fmla="*/ 44 w 45"/>
                <a:gd name="T7" fmla="*/ 2 h 6"/>
                <a:gd name="T8" fmla="*/ 44 w 45"/>
                <a:gd name="T9" fmla="*/ 2 h 6"/>
                <a:gd name="T10" fmla="*/ 45 w 45"/>
                <a:gd name="T11" fmla="*/ 3 h 6"/>
                <a:gd name="T12" fmla="*/ 44 w 45"/>
                <a:gd name="T13" fmla="*/ 3 h 6"/>
                <a:gd name="T14" fmla="*/ 44 w 45"/>
                <a:gd name="T15" fmla="*/ 3 h 6"/>
                <a:gd name="T16" fmla="*/ 42 w 45"/>
                <a:gd name="T17" fmla="*/ 4 h 6"/>
                <a:gd name="T18" fmla="*/ 40 w 45"/>
                <a:gd name="T19" fmla="*/ 5 h 6"/>
                <a:gd name="T20" fmla="*/ 39 w 45"/>
                <a:gd name="T21" fmla="*/ 5 h 6"/>
                <a:gd name="T22" fmla="*/ 36 w 45"/>
                <a:gd name="T23" fmla="*/ 5 h 6"/>
                <a:gd name="T24" fmla="*/ 35 w 45"/>
                <a:gd name="T25" fmla="*/ 5 h 6"/>
                <a:gd name="T26" fmla="*/ 29 w 45"/>
                <a:gd name="T27" fmla="*/ 5 h 6"/>
                <a:gd name="T28" fmla="*/ 27 w 45"/>
                <a:gd name="T29" fmla="*/ 5 h 6"/>
                <a:gd name="T30" fmla="*/ 26 w 45"/>
                <a:gd name="T31" fmla="*/ 4 h 6"/>
                <a:gd name="T32" fmla="*/ 24 w 45"/>
                <a:gd name="T33" fmla="*/ 4 h 6"/>
                <a:gd name="T34" fmla="*/ 24 w 45"/>
                <a:gd name="T35" fmla="*/ 4 h 6"/>
                <a:gd name="T36" fmla="*/ 23 w 45"/>
                <a:gd name="T37" fmla="*/ 4 h 6"/>
                <a:gd name="T38" fmla="*/ 23 w 45"/>
                <a:gd name="T39" fmla="*/ 4 h 6"/>
                <a:gd name="T40" fmla="*/ 21 w 45"/>
                <a:gd name="T41" fmla="*/ 4 h 6"/>
                <a:gd name="T42" fmla="*/ 21 w 45"/>
                <a:gd name="T43" fmla="*/ 5 h 6"/>
                <a:gd name="T44" fmla="*/ 20 w 45"/>
                <a:gd name="T45" fmla="*/ 5 h 6"/>
                <a:gd name="T46" fmla="*/ 19 w 45"/>
                <a:gd name="T47" fmla="*/ 5 h 6"/>
                <a:gd name="T48" fmla="*/ 16 w 45"/>
                <a:gd name="T49" fmla="*/ 6 h 6"/>
                <a:gd name="T50" fmla="*/ 15 w 45"/>
                <a:gd name="T51" fmla="*/ 5 h 6"/>
                <a:gd name="T52" fmla="*/ 13 w 45"/>
                <a:gd name="T53" fmla="*/ 4 h 6"/>
                <a:gd name="T54" fmla="*/ 13 w 45"/>
                <a:gd name="T55" fmla="*/ 4 h 6"/>
                <a:gd name="T56" fmla="*/ 10 w 45"/>
                <a:gd name="T57" fmla="*/ 4 h 6"/>
                <a:gd name="T58" fmla="*/ 10 w 45"/>
                <a:gd name="T59" fmla="*/ 4 h 6"/>
                <a:gd name="T60" fmla="*/ 10 w 45"/>
                <a:gd name="T61" fmla="*/ 5 h 6"/>
                <a:gd name="T62" fmla="*/ 9 w 45"/>
                <a:gd name="T63" fmla="*/ 4 h 6"/>
                <a:gd name="T64" fmla="*/ 6 w 45"/>
                <a:gd name="T65" fmla="*/ 5 h 6"/>
                <a:gd name="T66" fmla="*/ 6 w 45"/>
                <a:gd name="T67" fmla="*/ 5 h 6"/>
                <a:gd name="T68" fmla="*/ 5 w 45"/>
                <a:gd name="T69" fmla="*/ 6 h 6"/>
                <a:gd name="T70" fmla="*/ 5 w 45"/>
                <a:gd name="T71" fmla="*/ 5 h 6"/>
                <a:gd name="T72" fmla="*/ 3 w 45"/>
                <a:gd name="T73" fmla="*/ 6 h 6"/>
                <a:gd name="T74" fmla="*/ 1 w 45"/>
                <a:gd name="T75" fmla="*/ 5 h 6"/>
                <a:gd name="T76" fmla="*/ 1 w 45"/>
                <a:gd name="T77" fmla="*/ 5 h 6"/>
                <a:gd name="T78" fmla="*/ 0 w 45"/>
                <a:gd name="T79" fmla="*/ 5 h 6"/>
                <a:gd name="T80" fmla="*/ 4 w 45"/>
                <a:gd name="T81" fmla="*/ 4 h 6"/>
                <a:gd name="T82" fmla="*/ 7 w 45"/>
                <a:gd name="T83" fmla="*/ 3 h 6"/>
                <a:gd name="T84" fmla="*/ 8 w 45"/>
                <a:gd name="T85" fmla="*/ 3 h 6"/>
                <a:gd name="T86" fmla="*/ 9 w 45"/>
                <a:gd name="T87" fmla="*/ 3 h 6"/>
                <a:gd name="T88" fmla="*/ 10 w 45"/>
                <a:gd name="T89" fmla="*/ 3 h 6"/>
                <a:gd name="T90" fmla="*/ 14 w 45"/>
                <a:gd name="T91" fmla="*/ 2 h 6"/>
                <a:gd name="T92" fmla="*/ 20 w 45"/>
                <a:gd name="T93" fmla="*/ 2 h 6"/>
                <a:gd name="T94" fmla="*/ 25 w 45"/>
                <a:gd name="T95" fmla="*/ 2 h 6"/>
                <a:gd name="T96" fmla="*/ 29 w 45"/>
                <a:gd name="T97" fmla="*/ 1 h 6"/>
                <a:gd name="T98" fmla="*/ 29 w 45"/>
                <a:gd name="T99" fmla="*/ 1 h 6"/>
                <a:gd name="T100" fmla="*/ 35 w 45"/>
                <a:gd name="T101" fmla="*/ 0 h 6"/>
                <a:gd name="T102" fmla="*/ 38 w 45"/>
                <a:gd name="T103" fmla="*/ 0 h 6"/>
                <a:gd name="T104" fmla="*/ 38 w 45"/>
                <a:gd name="T105" fmla="*/ 0 h 6"/>
                <a:gd name="T106" fmla="*/ 38 w 45"/>
                <a:gd name="T107" fmla="*/ 0 h 6"/>
                <a:gd name="T108" fmla="*/ 39 w 45"/>
                <a:gd name="T109" fmla="*/ 0 h 6"/>
                <a:gd name="T110" fmla="*/ 39 w 45"/>
                <a:gd name="T111" fmla="*/ 1 h 6"/>
                <a:gd name="T112" fmla="*/ 41 w 45"/>
                <a:gd name="T113" fmla="*/ 1 h 6"/>
                <a:gd name="T114" fmla="*/ 40 w 45"/>
                <a:gd name="T11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5" h="6">
                  <a:moveTo>
                    <a:pt x="40" y="1"/>
                  </a:moveTo>
                  <a:lnTo>
                    <a:pt x="41" y="1"/>
                  </a:lnTo>
                  <a:lnTo>
                    <a:pt x="41" y="2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5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2" y="4"/>
                  </a:lnTo>
                  <a:lnTo>
                    <a:pt x="40" y="5"/>
                  </a:lnTo>
                  <a:lnTo>
                    <a:pt x="39" y="5"/>
                  </a:lnTo>
                  <a:lnTo>
                    <a:pt x="36" y="5"/>
                  </a:lnTo>
                  <a:lnTo>
                    <a:pt x="35" y="5"/>
                  </a:lnTo>
                  <a:lnTo>
                    <a:pt x="29" y="5"/>
                  </a:lnTo>
                  <a:lnTo>
                    <a:pt x="27" y="5"/>
                  </a:lnTo>
                  <a:lnTo>
                    <a:pt x="26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1" y="4"/>
                  </a:lnTo>
                  <a:lnTo>
                    <a:pt x="21" y="5"/>
                  </a:lnTo>
                  <a:lnTo>
                    <a:pt x="20" y="5"/>
                  </a:lnTo>
                  <a:lnTo>
                    <a:pt x="19" y="5"/>
                  </a:lnTo>
                  <a:lnTo>
                    <a:pt x="16" y="6"/>
                  </a:lnTo>
                  <a:lnTo>
                    <a:pt x="15" y="5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5"/>
                  </a:lnTo>
                  <a:lnTo>
                    <a:pt x="9" y="4"/>
                  </a:lnTo>
                  <a:lnTo>
                    <a:pt x="6" y="5"/>
                  </a:lnTo>
                  <a:lnTo>
                    <a:pt x="6" y="5"/>
                  </a:lnTo>
                  <a:lnTo>
                    <a:pt x="5" y="6"/>
                  </a:lnTo>
                  <a:lnTo>
                    <a:pt x="5" y="5"/>
                  </a:lnTo>
                  <a:lnTo>
                    <a:pt x="3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4" y="4"/>
                  </a:lnTo>
                  <a:lnTo>
                    <a:pt x="7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10" y="3"/>
                  </a:lnTo>
                  <a:lnTo>
                    <a:pt x="14" y="2"/>
                  </a:lnTo>
                  <a:lnTo>
                    <a:pt x="20" y="2"/>
                  </a:lnTo>
                  <a:lnTo>
                    <a:pt x="25" y="2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9" y="0"/>
                  </a:lnTo>
                  <a:lnTo>
                    <a:pt x="39" y="1"/>
                  </a:lnTo>
                  <a:lnTo>
                    <a:pt x="41" y="1"/>
                  </a:lnTo>
                  <a:lnTo>
                    <a:pt x="4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48" name="Freeform 1148"/>
            <p:cNvSpPr>
              <a:spLocks/>
            </p:cNvSpPr>
            <p:nvPr/>
          </p:nvSpPr>
          <p:spPr bwMode="auto">
            <a:xfrm>
              <a:off x="1575" y="788"/>
              <a:ext cx="45" cy="6"/>
            </a:xfrm>
            <a:custGeom>
              <a:avLst/>
              <a:gdLst>
                <a:gd name="T0" fmla="*/ 40 w 45"/>
                <a:gd name="T1" fmla="*/ 1 h 6"/>
                <a:gd name="T2" fmla="*/ 41 w 45"/>
                <a:gd name="T3" fmla="*/ 1 h 6"/>
                <a:gd name="T4" fmla="*/ 41 w 45"/>
                <a:gd name="T5" fmla="*/ 2 h 6"/>
                <a:gd name="T6" fmla="*/ 44 w 45"/>
                <a:gd name="T7" fmla="*/ 2 h 6"/>
                <a:gd name="T8" fmla="*/ 44 w 45"/>
                <a:gd name="T9" fmla="*/ 2 h 6"/>
                <a:gd name="T10" fmla="*/ 45 w 45"/>
                <a:gd name="T11" fmla="*/ 3 h 6"/>
                <a:gd name="T12" fmla="*/ 44 w 45"/>
                <a:gd name="T13" fmla="*/ 3 h 6"/>
                <a:gd name="T14" fmla="*/ 44 w 45"/>
                <a:gd name="T15" fmla="*/ 3 h 6"/>
                <a:gd name="T16" fmla="*/ 42 w 45"/>
                <a:gd name="T17" fmla="*/ 4 h 6"/>
                <a:gd name="T18" fmla="*/ 40 w 45"/>
                <a:gd name="T19" fmla="*/ 5 h 6"/>
                <a:gd name="T20" fmla="*/ 39 w 45"/>
                <a:gd name="T21" fmla="*/ 5 h 6"/>
                <a:gd name="T22" fmla="*/ 36 w 45"/>
                <a:gd name="T23" fmla="*/ 5 h 6"/>
                <a:gd name="T24" fmla="*/ 35 w 45"/>
                <a:gd name="T25" fmla="*/ 5 h 6"/>
                <a:gd name="T26" fmla="*/ 29 w 45"/>
                <a:gd name="T27" fmla="*/ 5 h 6"/>
                <a:gd name="T28" fmla="*/ 27 w 45"/>
                <a:gd name="T29" fmla="*/ 5 h 6"/>
                <a:gd name="T30" fmla="*/ 26 w 45"/>
                <a:gd name="T31" fmla="*/ 4 h 6"/>
                <a:gd name="T32" fmla="*/ 24 w 45"/>
                <a:gd name="T33" fmla="*/ 4 h 6"/>
                <a:gd name="T34" fmla="*/ 24 w 45"/>
                <a:gd name="T35" fmla="*/ 4 h 6"/>
                <a:gd name="T36" fmla="*/ 23 w 45"/>
                <a:gd name="T37" fmla="*/ 4 h 6"/>
                <a:gd name="T38" fmla="*/ 23 w 45"/>
                <a:gd name="T39" fmla="*/ 4 h 6"/>
                <a:gd name="T40" fmla="*/ 21 w 45"/>
                <a:gd name="T41" fmla="*/ 4 h 6"/>
                <a:gd name="T42" fmla="*/ 21 w 45"/>
                <a:gd name="T43" fmla="*/ 5 h 6"/>
                <a:gd name="T44" fmla="*/ 20 w 45"/>
                <a:gd name="T45" fmla="*/ 5 h 6"/>
                <a:gd name="T46" fmla="*/ 19 w 45"/>
                <a:gd name="T47" fmla="*/ 5 h 6"/>
                <a:gd name="T48" fmla="*/ 16 w 45"/>
                <a:gd name="T49" fmla="*/ 6 h 6"/>
                <a:gd name="T50" fmla="*/ 15 w 45"/>
                <a:gd name="T51" fmla="*/ 5 h 6"/>
                <a:gd name="T52" fmla="*/ 13 w 45"/>
                <a:gd name="T53" fmla="*/ 4 h 6"/>
                <a:gd name="T54" fmla="*/ 13 w 45"/>
                <a:gd name="T55" fmla="*/ 4 h 6"/>
                <a:gd name="T56" fmla="*/ 10 w 45"/>
                <a:gd name="T57" fmla="*/ 4 h 6"/>
                <a:gd name="T58" fmla="*/ 10 w 45"/>
                <a:gd name="T59" fmla="*/ 4 h 6"/>
                <a:gd name="T60" fmla="*/ 10 w 45"/>
                <a:gd name="T61" fmla="*/ 5 h 6"/>
                <a:gd name="T62" fmla="*/ 9 w 45"/>
                <a:gd name="T63" fmla="*/ 4 h 6"/>
                <a:gd name="T64" fmla="*/ 6 w 45"/>
                <a:gd name="T65" fmla="*/ 5 h 6"/>
                <a:gd name="T66" fmla="*/ 6 w 45"/>
                <a:gd name="T67" fmla="*/ 5 h 6"/>
                <a:gd name="T68" fmla="*/ 5 w 45"/>
                <a:gd name="T69" fmla="*/ 6 h 6"/>
                <a:gd name="T70" fmla="*/ 5 w 45"/>
                <a:gd name="T71" fmla="*/ 5 h 6"/>
                <a:gd name="T72" fmla="*/ 3 w 45"/>
                <a:gd name="T73" fmla="*/ 6 h 6"/>
                <a:gd name="T74" fmla="*/ 1 w 45"/>
                <a:gd name="T75" fmla="*/ 5 h 6"/>
                <a:gd name="T76" fmla="*/ 1 w 45"/>
                <a:gd name="T77" fmla="*/ 5 h 6"/>
                <a:gd name="T78" fmla="*/ 0 w 45"/>
                <a:gd name="T79" fmla="*/ 5 h 6"/>
                <a:gd name="T80" fmla="*/ 4 w 45"/>
                <a:gd name="T81" fmla="*/ 4 h 6"/>
                <a:gd name="T82" fmla="*/ 7 w 45"/>
                <a:gd name="T83" fmla="*/ 3 h 6"/>
                <a:gd name="T84" fmla="*/ 8 w 45"/>
                <a:gd name="T85" fmla="*/ 3 h 6"/>
                <a:gd name="T86" fmla="*/ 9 w 45"/>
                <a:gd name="T87" fmla="*/ 3 h 6"/>
                <a:gd name="T88" fmla="*/ 10 w 45"/>
                <a:gd name="T89" fmla="*/ 3 h 6"/>
                <a:gd name="T90" fmla="*/ 14 w 45"/>
                <a:gd name="T91" fmla="*/ 2 h 6"/>
                <a:gd name="T92" fmla="*/ 20 w 45"/>
                <a:gd name="T93" fmla="*/ 2 h 6"/>
                <a:gd name="T94" fmla="*/ 25 w 45"/>
                <a:gd name="T95" fmla="*/ 2 h 6"/>
                <a:gd name="T96" fmla="*/ 29 w 45"/>
                <a:gd name="T97" fmla="*/ 1 h 6"/>
                <a:gd name="T98" fmla="*/ 29 w 45"/>
                <a:gd name="T99" fmla="*/ 1 h 6"/>
                <a:gd name="T100" fmla="*/ 35 w 45"/>
                <a:gd name="T101" fmla="*/ 0 h 6"/>
                <a:gd name="T102" fmla="*/ 38 w 45"/>
                <a:gd name="T103" fmla="*/ 0 h 6"/>
                <a:gd name="T104" fmla="*/ 38 w 45"/>
                <a:gd name="T105" fmla="*/ 0 h 6"/>
                <a:gd name="T106" fmla="*/ 38 w 45"/>
                <a:gd name="T107" fmla="*/ 0 h 6"/>
                <a:gd name="T108" fmla="*/ 39 w 45"/>
                <a:gd name="T109" fmla="*/ 0 h 6"/>
                <a:gd name="T110" fmla="*/ 39 w 45"/>
                <a:gd name="T111" fmla="*/ 1 h 6"/>
                <a:gd name="T112" fmla="*/ 41 w 45"/>
                <a:gd name="T113" fmla="*/ 1 h 6"/>
                <a:gd name="T114" fmla="*/ 40 w 45"/>
                <a:gd name="T11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5" h="6">
                  <a:moveTo>
                    <a:pt x="40" y="1"/>
                  </a:moveTo>
                  <a:lnTo>
                    <a:pt x="41" y="1"/>
                  </a:lnTo>
                  <a:lnTo>
                    <a:pt x="41" y="2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5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2" y="4"/>
                  </a:lnTo>
                  <a:lnTo>
                    <a:pt x="40" y="5"/>
                  </a:lnTo>
                  <a:lnTo>
                    <a:pt x="39" y="5"/>
                  </a:lnTo>
                  <a:lnTo>
                    <a:pt x="36" y="5"/>
                  </a:lnTo>
                  <a:lnTo>
                    <a:pt x="35" y="5"/>
                  </a:lnTo>
                  <a:lnTo>
                    <a:pt x="29" y="5"/>
                  </a:lnTo>
                  <a:lnTo>
                    <a:pt x="27" y="5"/>
                  </a:lnTo>
                  <a:lnTo>
                    <a:pt x="26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1" y="4"/>
                  </a:lnTo>
                  <a:lnTo>
                    <a:pt x="21" y="5"/>
                  </a:lnTo>
                  <a:lnTo>
                    <a:pt x="20" y="5"/>
                  </a:lnTo>
                  <a:lnTo>
                    <a:pt x="19" y="5"/>
                  </a:lnTo>
                  <a:lnTo>
                    <a:pt x="16" y="6"/>
                  </a:lnTo>
                  <a:lnTo>
                    <a:pt x="15" y="5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5"/>
                  </a:lnTo>
                  <a:lnTo>
                    <a:pt x="9" y="4"/>
                  </a:lnTo>
                  <a:lnTo>
                    <a:pt x="6" y="5"/>
                  </a:lnTo>
                  <a:lnTo>
                    <a:pt x="6" y="5"/>
                  </a:lnTo>
                  <a:lnTo>
                    <a:pt x="5" y="6"/>
                  </a:lnTo>
                  <a:lnTo>
                    <a:pt x="5" y="5"/>
                  </a:lnTo>
                  <a:lnTo>
                    <a:pt x="3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4" y="4"/>
                  </a:lnTo>
                  <a:lnTo>
                    <a:pt x="7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10" y="3"/>
                  </a:lnTo>
                  <a:lnTo>
                    <a:pt x="14" y="2"/>
                  </a:lnTo>
                  <a:lnTo>
                    <a:pt x="20" y="2"/>
                  </a:lnTo>
                  <a:lnTo>
                    <a:pt x="25" y="2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9" y="0"/>
                  </a:lnTo>
                  <a:lnTo>
                    <a:pt x="39" y="1"/>
                  </a:lnTo>
                  <a:lnTo>
                    <a:pt x="41" y="1"/>
                  </a:lnTo>
                  <a:lnTo>
                    <a:pt x="40" y="1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49" name="Freeform 1149"/>
            <p:cNvSpPr>
              <a:spLocks/>
            </p:cNvSpPr>
            <p:nvPr/>
          </p:nvSpPr>
          <p:spPr bwMode="auto">
            <a:xfrm>
              <a:off x="1745" y="770"/>
              <a:ext cx="14" cy="7"/>
            </a:xfrm>
            <a:custGeom>
              <a:avLst/>
              <a:gdLst>
                <a:gd name="T0" fmla="*/ 8 w 14"/>
                <a:gd name="T1" fmla="*/ 0 h 7"/>
                <a:gd name="T2" fmla="*/ 8 w 14"/>
                <a:gd name="T3" fmla="*/ 0 h 7"/>
                <a:gd name="T4" fmla="*/ 9 w 14"/>
                <a:gd name="T5" fmla="*/ 1 h 7"/>
                <a:gd name="T6" fmla="*/ 11 w 14"/>
                <a:gd name="T7" fmla="*/ 1 h 7"/>
                <a:gd name="T8" fmla="*/ 14 w 14"/>
                <a:gd name="T9" fmla="*/ 1 h 7"/>
                <a:gd name="T10" fmla="*/ 14 w 14"/>
                <a:gd name="T11" fmla="*/ 1 h 7"/>
                <a:gd name="T12" fmla="*/ 14 w 14"/>
                <a:gd name="T13" fmla="*/ 1 h 7"/>
                <a:gd name="T14" fmla="*/ 14 w 14"/>
                <a:gd name="T15" fmla="*/ 2 h 7"/>
                <a:gd name="T16" fmla="*/ 12 w 14"/>
                <a:gd name="T17" fmla="*/ 3 h 7"/>
                <a:gd name="T18" fmla="*/ 11 w 14"/>
                <a:gd name="T19" fmla="*/ 4 h 7"/>
                <a:gd name="T20" fmla="*/ 9 w 14"/>
                <a:gd name="T21" fmla="*/ 6 h 7"/>
                <a:gd name="T22" fmla="*/ 7 w 14"/>
                <a:gd name="T23" fmla="*/ 7 h 7"/>
                <a:gd name="T24" fmla="*/ 6 w 14"/>
                <a:gd name="T25" fmla="*/ 6 h 7"/>
                <a:gd name="T26" fmla="*/ 4 w 14"/>
                <a:gd name="T27" fmla="*/ 4 h 7"/>
                <a:gd name="T28" fmla="*/ 4 w 14"/>
                <a:gd name="T29" fmla="*/ 4 h 7"/>
                <a:gd name="T30" fmla="*/ 6 w 14"/>
                <a:gd name="T31" fmla="*/ 3 h 7"/>
                <a:gd name="T32" fmla="*/ 4 w 14"/>
                <a:gd name="T33" fmla="*/ 3 h 7"/>
                <a:gd name="T34" fmla="*/ 0 w 14"/>
                <a:gd name="T35" fmla="*/ 3 h 7"/>
                <a:gd name="T36" fmla="*/ 2 w 14"/>
                <a:gd name="T37" fmla="*/ 2 h 7"/>
                <a:gd name="T38" fmla="*/ 3 w 14"/>
                <a:gd name="T39" fmla="*/ 1 h 7"/>
                <a:gd name="T40" fmla="*/ 6 w 14"/>
                <a:gd name="T41" fmla="*/ 1 h 7"/>
                <a:gd name="T42" fmla="*/ 8 w 14"/>
                <a:gd name="T4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" h="7">
                  <a:moveTo>
                    <a:pt x="8" y="0"/>
                  </a:moveTo>
                  <a:lnTo>
                    <a:pt x="8" y="0"/>
                  </a:lnTo>
                  <a:lnTo>
                    <a:pt x="9" y="1"/>
                  </a:lnTo>
                  <a:lnTo>
                    <a:pt x="11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2"/>
                  </a:lnTo>
                  <a:lnTo>
                    <a:pt x="12" y="3"/>
                  </a:lnTo>
                  <a:lnTo>
                    <a:pt x="11" y="4"/>
                  </a:lnTo>
                  <a:lnTo>
                    <a:pt x="9" y="6"/>
                  </a:lnTo>
                  <a:lnTo>
                    <a:pt x="7" y="7"/>
                  </a:lnTo>
                  <a:lnTo>
                    <a:pt x="6" y="6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3"/>
                  </a:lnTo>
                  <a:lnTo>
                    <a:pt x="4" y="3"/>
                  </a:lnTo>
                  <a:lnTo>
                    <a:pt x="0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6" y="1"/>
                  </a:lnTo>
                  <a:lnTo>
                    <a:pt x="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50" name="Freeform 1150"/>
            <p:cNvSpPr>
              <a:spLocks/>
            </p:cNvSpPr>
            <p:nvPr/>
          </p:nvSpPr>
          <p:spPr bwMode="auto">
            <a:xfrm>
              <a:off x="1745" y="770"/>
              <a:ext cx="14" cy="7"/>
            </a:xfrm>
            <a:custGeom>
              <a:avLst/>
              <a:gdLst>
                <a:gd name="T0" fmla="*/ 8 w 14"/>
                <a:gd name="T1" fmla="*/ 0 h 7"/>
                <a:gd name="T2" fmla="*/ 8 w 14"/>
                <a:gd name="T3" fmla="*/ 0 h 7"/>
                <a:gd name="T4" fmla="*/ 9 w 14"/>
                <a:gd name="T5" fmla="*/ 1 h 7"/>
                <a:gd name="T6" fmla="*/ 11 w 14"/>
                <a:gd name="T7" fmla="*/ 1 h 7"/>
                <a:gd name="T8" fmla="*/ 14 w 14"/>
                <a:gd name="T9" fmla="*/ 1 h 7"/>
                <a:gd name="T10" fmla="*/ 14 w 14"/>
                <a:gd name="T11" fmla="*/ 1 h 7"/>
                <a:gd name="T12" fmla="*/ 14 w 14"/>
                <a:gd name="T13" fmla="*/ 1 h 7"/>
                <a:gd name="T14" fmla="*/ 14 w 14"/>
                <a:gd name="T15" fmla="*/ 2 h 7"/>
                <a:gd name="T16" fmla="*/ 12 w 14"/>
                <a:gd name="T17" fmla="*/ 3 h 7"/>
                <a:gd name="T18" fmla="*/ 11 w 14"/>
                <a:gd name="T19" fmla="*/ 4 h 7"/>
                <a:gd name="T20" fmla="*/ 9 w 14"/>
                <a:gd name="T21" fmla="*/ 6 h 7"/>
                <a:gd name="T22" fmla="*/ 7 w 14"/>
                <a:gd name="T23" fmla="*/ 7 h 7"/>
                <a:gd name="T24" fmla="*/ 6 w 14"/>
                <a:gd name="T25" fmla="*/ 6 h 7"/>
                <a:gd name="T26" fmla="*/ 4 w 14"/>
                <a:gd name="T27" fmla="*/ 4 h 7"/>
                <a:gd name="T28" fmla="*/ 4 w 14"/>
                <a:gd name="T29" fmla="*/ 4 h 7"/>
                <a:gd name="T30" fmla="*/ 6 w 14"/>
                <a:gd name="T31" fmla="*/ 3 h 7"/>
                <a:gd name="T32" fmla="*/ 4 w 14"/>
                <a:gd name="T33" fmla="*/ 3 h 7"/>
                <a:gd name="T34" fmla="*/ 0 w 14"/>
                <a:gd name="T35" fmla="*/ 3 h 7"/>
                <a:gd name="T36" fmla="*/ 2 w 14"/>
                <a:gd name="T37" fmla="*/ 2 h 7"/>
                <a:gd name="T38" fmla="*/ 3 w 14"/>
                <a:gd name="T39" fmla="*/ 1 h 7"/>
                <a:gd name="T40" fmla="*/ 6 w 14"/>
                <a:gd name="T41" fmla="*/ 1 h 7"/>
                <a:gd name="T42" fmla="*/ 8 w 14"/>
                <a:gd name="T4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" h="7">
                  <a:moveTo>
                    <a:pt x="8" y="0"/>
                  </a:moveTo>
                  <a:lnTo>
                    <a:pt x="8" y="0"/>
                  </a:lnTo>
                  <a:lnTo>
                    <a:pt x="9" y="1"/>
                  </a:lnTo>
                  <a:lnTo>
                    <a:pt x="11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2"/>
                  </a:lnTo>
                  <a:lnTo>
                    <a:pt x="12" y="3"/>
                  </a:lnTo>
                  <a:lnTo>
                    <a:pt x="11" y="4"/>
                  </a:lnTo>
                  <a:lnTo>
                    <a:pt x="9" y="6"/>
                  </a:lnTo>
                  <a:lnTo>
                    <a:pt x="7" y="7"/>
                  </a:lnTo>
                  <a:lnTo>
                    <a:pt x="6" y="6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3"/>
                  </a:lnTo>
                  <a:lnTo>
                    <a:pt x="4" y="3"/>
                  </a:lnTo>
                  <a:lnTo>
                    <a:pt x="0" y="3"/>
                  </a:lnTo>
                  <a:lnTo>
                    <a:pt x="2" y="2"/>
                  </a:lnTo>
                  <a:lnTo>
                    <a:pt x="3" y="1"/>
                  </a:lnTo>
                  <a:lnTo>
                    <a:pt x="6" y="1"/>
                  </a:lnTo>
                  <a:lnTo>
                    <a:pt x="8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51" name="Freeform 1151"/>
            <p:cNvSpPr>
              <a:spLocks/>
            </p:cNvSpPr>
            <p:nvPr/>
          </p:nvSpPr>
          <p:spPr bwMode="auto">
            <a:xfrm>
              <a:off x="1779" y="756"/>
              <a:ext cx="103" cy="41"/>
            </a:xfrm>
            <a:custGeom>
              <a:avLst/>
              <a:gdLst>
                <a:gd name="T0" fmla="*/ 36 w 103"/>
                <a:gd name="T1" fmla="*/ 8 h 41"/>
                <a:gd name="T2" fmla="*/ 36 w 103"/>
                <a:gd name="T3" fmla="*/ 7 h 41"/>
                <a:gd name="T4" fmla="*/ 26 w 103"/>
                <a:gd name="T5" fmla="*/ 6 h 41"/>
                <a:gd name="T6" fmla="*/ 30 w 103"/>
                <a:gd name="T7" fmla="*/ 4 h 41"/>
                <a:gd name="T8" fmla="*/ 36 w 103"/>
                <a:gd name="T9" fmla="*/ 4 h 41"/>
                <a:gd name="T10" fmla="*/ 43 w 103"/>
                <a:gd name="T11" fmla="*/ 4 h 41"/>
                <a:gd name="T12" fmla="*/ 48 w 103"/>
                <a:gd name="T13" fmla="*/ 3 h 41"/>
                <a:gd name="T14" fmla="*/ 49 w 103"/>
                <a:gd name="T15" fmla="*/ 2 h 41"/>
                <a:gd name="T16" fmla="*/ 38 w 103"/>
                <a:gd name="T17" fmla="*/ 1 h 41"/>
                <a:gd name="T18" fmla="*/ 43 w 103"/>
                <a:gd name="T19" fmla="*/ 0 h 41"/>
                <a:gd name="T20" fmla="*/ 61 w 103"/>
                <a:gd name="T21" fmla="*/ 1 h 41"/>
                <a:gd name="T22" fmla="*/ 64 w 103"/>
                <a:gd name="T23" fmla="*/ 4 h 41"/>
                <a:gd name="T24" fmla="*/ 64 w 103"/>
                <a:gd name="T25" fmla="*/ 7 h 41"/>
                <a:gd name="T26" fmla="*/ 66 w 103"/>
                <a:gd name="T27" fmla="*/ 8 h 41"/>
                <a:gd name="T28" fmla="*/ 76 w 103"/>
                <a:gd name="T29" fmla="*/ 10 h 41"/>
                <a:gd name="T30" fmla="*/ 78 w 103"/>
                <a:gd name="T31" fmla="*/ 12 h 41"/>
                <a:gd name="T32" fmla="*/ 84 w 103"/>
                <a:gd name="T33" fmla="*/ 14 h 41"/>
                <a:gd name="T34" fmla="*/ 90 w 103"/>
                <a:gd name="T35" fmla="*/ 11 h 41"/>
                <a:gd name="T36" fmla="*/ 86 w 103"/>
                <a:gd name="T37" fmla="*/ 14 h 41"/>
                <a:gd name="T38" fmla="*/ 89 w 103"/>
                <a:gd name="T39" fmla="*/ 16 h 41"/>
                <a:gd name="T40" fmla="*/ 81 w 103"/>
                <a:gd name="T41" fmla="*/ 20 h 41"/>
                <a:gd name="T42" fmla="*/ 93 w 103"/>
                <a:gd name="T43" fmla="*/ 20 h 41"/>
                <a:gd name="T44" fmla="*/ 91 w 103"/>
                <a:gd name="T45" fmla="*/ 23 h 41"/>
                <a:gd name="T46" fmla="*/ 99 w 103"/>
                <a:gd name="T47" fmla="*/ 22 h 41"/>
                <a:gd name="T48" fmla="*/ 81 w 103"/>
                <a:gd name="T49" fmla="*/ 27 h 41"/>
                <a:gd name="T50" fmla="*/ 74 w 103"/>
                <a:gd name="T51" fmla="*/ 31 h 41"/>
                <a:gd name="T52" fmla="*/ 65 w 103"/>
                <a:gd name="T53" fmla="*/ 30 h 41"/>
                <a:gd name="T54" fmla="*/ 61 w 103"/>
                <a:gd name="T55" fmla="*/ 31 h 41"/>
                <a:gd name="T56" fmla="*/ 58 w 103"/>
                <a:gd name="T57" fmla="*/ 35 h 41"/>
                <a:gd name="T58" fmla="*/ 51 w 103"/>
                <a:gd name="T59" fmla="*/ 34 h 41"/>
                <a:gd name="T60" fmla="*/ 44 w 103"/>
                <a:gd name="T61" fmla="*/ 37 h 41"/>
                <a:gd name="T62" fmla="*/ 37 w 103"/>
                <a:gd name="T63" fmla="*/ 35 h 41"/>
                <a:gd name="T64" fmla="*/ 37 w 103"/>
                <a:gd name="T65" fmla="*/ 40 h 41"/>
                <a:gd name="T66" fmla="*/ 31 w 103"/>
                <a:gd name="T67" fmla="*/ 41 h 41"/>
                <a:gd name="T68" fmla="*/ 13 w 103"/>
                <a:gd name="T69" fmla="*/ 38 h 41"/>
                <a:gd name="T70" fmla="*/ 10 w 103"/>
                <a:gd name="T71" fmla="*/ 37 h 41"/>
                <a:gd name="T72" fmla="*/ 15 w 103"/>
                <a:gd name="T73" fmla="*/ 34 h 41"/>
                <a:gd name="T74" fmla="*/ 9 w 103"/>
                <a:gd name="T75" fmla="*/ 32 h 41"/>
                <a:gd name="T76" fmla="*/ 9 w 103"/>
                <a:gd name="T77" fmla="*/ 30 h 41"/>
                <a:gd name="T78" fmla="*/ 40 w 103"/>
                <a:gd name="T79" fmla="*/ 26 h 41"/>
                <a:gd name="T80" fmla="*/ 31 w 103"/>
                <a:gd name="T81" fmla="*/ 26 h 41"/>
                <a:gd name="T82" fmla="*/ 41 w 103"/>
                <a:gd name="T83" fmla="*/ 24 h 41"/>
                <a:gd name="T84" fmla="*/ 28 w 103"/>
                <a:gd name="T85" fmla="*/ 23 h 41"/>
                <a:gd name="T86" fmla="*/ 23 w 103"/>
                <a:gd name="T87" fmla="*/ 24 h 41"/>
                <a:gd name="T88" fmla="*/ 15 w 103"/>
                <a:gd name="T89" fmla="*/ 24 h 41"/>
                <a:gd name="T90" fmla="*/ 12 w 103"/>
                <a:gd name="T91" fmla="*/ 24 h 41"/>
                <a:gd name="T92" fmla="*/ 5 w 103"/>
                <a:gd name="T93" fmla="*/ 23 h 41"/>
                <a:gd name="T94" fmla="*/ 2 w 103"/>
                <a:gd name="T95" fmla="*/ 22 h 41"/>
                <a:gd name="T96" fmla="*/ 20 w 103"/>
                <a:gd name="T97" fmla="*/ 20 h 41"/>
                <a:gd name="T98" fmla="*/ 2 w 103"/>
                <a:gd name="T99" fmla="*/ 17 h 41"/>
                <a:gd name="T100" fmla="*/ 3 w 103"/>
                <a:gd name="T101" fmla="*/ 15 h 41"/>
                <a:gd name="T102" fmla="*/ 10 w 103"/>
                <a:gd name="T103" fmla="*/ 14 h 41"/>
                <a:gd name="T104" fmla="*/ 22 w 103"/>
                <a:gd name="T105" fmla="*/ 15 h 41"/>
                <a:gd name="T106" fmla="*/ 29 w 103"/>
                <a:gd name="T107" fmla="*/ 14 h 41"/>
                <a:gd name="T108" fmla="*/ 13 w 103"/>
                <a:gd name="T109" fmla="*/ 14 h 41"/>
                <a:gd name="T110" fmla="*/ 16 w 103"/>
                <a:gd name="T111" fmla="*/ 13 h 41"/>
                <a:gd name="T112" fmla="*/ 8 w 103"/>
                <a:gd name="T113" fmla="*/ 12 h 41"/>
                <a:gd name="T114" fmla="*/ 15 w 103"/>
                <a:gd name="T115" fmla="*/ 1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3" h="41">
                  <a:moveTo>
                    <a:pt x="20" y="8"/>
                  </a:moveTo>
                  <a:lnTo>
                    <a:pt x="23" y="8"/>
                  </a:lnTo>
                  <a:lnTo>
                    <a:pt x="26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6" y="10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0" y="8"/>
                  </a:lnTo>
                  <a:lnTo>
                    <a:pt x="30" y="7"/>
                  </a:lnTo>
                  <a:lnTo>
                    <a:pt x="35" y="7"/>
                  </a:lnTo>
                  <a:lnTo>
                    <a:pt x="39" y="7"/>
                  </a:lnTo>
                  <a:lnTo>
                    <a:pt x="37" y="7"/>
                  </a:lnTo>
                  <a:lnTo>
                    <a:pt x="36" y="7"/>
                  </a:lnTo>
                  <a:lnTo>
                    <a:pt x="36" y="6"/>
                  </a:lnTo>
                  <a:lnTo>
                    <a:pt x="33" y="7"/>
                  </a:lnTo>
                  <a:lnTo>
                    <a:pt x="29" y="7"/>
                  </a:lnTo>
                  <a:lnTo>
                    <a:pt x="28" y="6"/>
                  </a:lnTo>
                  <a:lnTo>
                    <a:pt x="29" y="6"/>
                  </a:lnTo>
                  <a:lnTo>
                    <a:pt x="31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5"/>
                  </a:lnTo>
                  <a:lnTo>
                    <a:pt x="29" y="5"/>
                  </a:lnTo>
                  <a:lnTo>
                    <a:pt x="27" y="5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0" y="4"/>
                  </a:lnTo>
                  <a:lnTo>
                    <a:pt x="33" y="4"/>
                  </a:lnTo>
                  <a:lnTo>
                    <a:pt x="33" y="3"/>
                  </a:lnTo>
                  <a:lnTo>
                    <a:pt x="34" y="4"/>
                  </a:lnTo>
                  <a:lnTo>
                    <a:pt x="37" y="4"/>
                  </a:lnTo>
                  <a:lnTo>
                    <a:pt x="36" y="4"/>
                  </a:lnTo>
                  <a:lnTo>
                    <a:pt x="37" y="4"/>
                  </a:lnTo>
                  <a:lnTo>
                    <a:pt x="36" y="4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1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0" y="3"/>
                  </a:lnTo>
                  <a:lnTo>
                    <a:pt x="39" y="3"/>
                  </a:lnTo>
                  <a:lnTo>
                    <a:pt x="43" y="3"/>
                  </a:lnTo>
                  <a:lnTo>
                    <a:pt x="44" y="3"/>
                  </a:lnTo>
                  <a:lnTo>
                    <a:pt x="48" y="3"/>
                  </a:lnTo>
                  <a:lnTo>
                    <a:pt x="53" y="3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5" y="2"/>
                  </a:lnTo>
                  <a:lnTo>
                    <a:pt x="53" y="2"/>
                  </a:lnTo>
                  <a:lnTo>
                    <a:pt x="51" y="2"/>
                  </a:lnTo>
                  <a:lnTo>
                    <a:pt x="49" y="2"/>
                  </a:lnTo>
                  <a:lnTo>
                    <a:pt x="48" y="2"/>
                  </a:lnTo>
                  <a:lnTo>
                    <a:pt x="44" y="2"/>
                  </a:lnTo>
                  <a:lnTo>
                    <a:pt x="43" y="2"/>
                  </a:lnTo>
                  <a:lnTo>
                    <a:pt x="41" y="2"/>
                  </a:lnTo>
                  <a:lnTo>
                    <a:pt x="38" y="2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9" y="1"/>
                  </a:lnTo>
                  <a:lnTo>
                    <a:pt x="39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8" y="0"/>
                  </a:lnTo>
                  <a:lnTo>
                    <a:pt x="41" y="0"/>
                  </a:lnTo>
                  <a:lnTo>
                    <a:pt x="43" y="0"/>
                  </a:lnTo>
                  <a:lnTo>
                    <a:pt x="48" y="1"/>
                  </a:lnTo>
                  <a:lnTo>
                    <a:pt x="49" y="1"/>
                  </a:lnTo>
                  <a:lnTo>
                    <a:pt x="48" y="0"/>
                  </a:lnTo>
                  <a:lnTo>
                    <a:pt x="51" y="0"/>
                  </a:lnTo>
                  <a:lnTo>
                    <a:pt x="55" y="1"/>
                  </a:lnTo>
                  <a:lnTo>
                    <a:pt x="60" y="1"/>
                  </a:lnTo>
                  <a:lnTo>
                    <a:pt x="61" y="1"/>
                  </a:lnTo>
                  <a:lnTo>
                    <a:pt x="61" y="1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4" y="3"/>
                  </a:lnTo>
                  <a:lnTo>
                    <a:pt x="63" y="3"/>
                  </a:lnTo>
                  <a:lnTo>
                    <a:pt x="63" y="3"/>
                  </a:lnTo>
                  <a:lnTo>
                    <a:pt x="64" y="4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4" y="7"/>
                  </a:lnTo>
                  <a:lnTo>
                    <a:pt x="65" y="7"/>
                  </a:lnTo>
                  <a:lnTo>
                    <a:pt x="66" y="7"/>
                  </a:lnTo>
                  <a:lnTo>
                    <a:pt x="67" y="8"/>
                  </a:lnTo>
                  <a:lnTo>
                    <a:pt x="65" y="10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6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70" y="10"/>
                  </a:lnTo>
                  <a:lnTo>
                    <a:pt x="73" y="10"/>
                  </a:lnTo>
                  <a:lnTo>
                    <a:pt x="74" y="10"/>
                  </a:lnTo>
                  <a:lnTo>
                    <a:pt x="75" y="10"/>
                  </a:lnTo>
                  <a:lnTo>
                    <a:pt x="76" y="10"/>
                  </a:lnTo>
                  <a:lnTo>
                    <a:pt x="78" y="10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80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6" y="13"/>
                  </a:lnTo>
                  <a:lnTo>
                    <a:pt x="79" y="14"/>
                  </a:lnTo>
                  <a:lnTo>
                    <a:pt x="80" y="14"/>
                  </a:lnTo>
                  <a:lnTo>
                    <a:pt x="81" y="14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4" y="13"/>
                  </a:lnTo>
                  <a:lnTo>
                    <a:pt x="81" y="12"/>
                  </a:lnTo>
                  <a:lnTo>
                    <a:pt x="83" y="11"/>
                  </a:lnTo>
                  <a:lnTo>
                    <a:pt x="85" y="11"/>
                  </a:lnTo>
                  <a:lnTo>
                    <a:pt x="90" y="11"/>
                  </a:lnTo>
                  <a:lnTo>
                    <a:pt x="93" y="11"/>
                  </a:lnTo>
                  <a:lnTo>
                    <a:pt x="91" y="12"/>
                  </a:lnTo>
                  <a:lnTo>
                    <a:pt x="91" y="13"/>
                  </a:lnTo>
                  <a:lnTo>
                    <a:pt x="90" y="13"/>
                  </a:lnTo>
                  <a:lnTo>
                    <a:pt x="89" y="13"/>
                  </a:lnTo>
                  <a:lnTo>
                    <a:pt x="88" y="14"/>
                  </a:lnTo>
                  <a:lnTo>
                    <a:pt x="86" y="14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86" y="15"/>
                  </a:lnTo>
                  <a:lnTo>
                    <a:pt x="88" y="14"/>
                  </a:lnTo>
                  <a:lnTo>
                    <a:pt x="91" y="15"/>
                  </a:lnTo>
                  <a:lnTo>
                    <a:pt x="91" y="16"/>
                  </a:lnTo>
                  <a:lnTo>
                    <a:pt x="89" y="16"/>
                  </a:lnTo>
                  <a:lnTo>
                    <a:pt x="89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88" y="17"/>
                  </a:lnTo>
                  <a:lnTo>
                    <a:pt x="86" y="20"/>
                  </a:lnTo>
                  <a:lnTo>
                    <a:pt x="84" y="20"/>
                  </a:lnTo>
                  <a:lnTo>
                    <a:pt x="81" y="20"/>
                  </a:lnTo>
                  <a:lnTo>
                    <a:pt x="80" y="21"/>
                  </a:lnTo>
                  <a:lnTo>
                    <a:pt x="81" y="21"/>
                  </a:lnTo>
                  <a:lnTo>
                    <a:pt x="85" y="20"/>
                  </a:lnTo>
                  <a:lnTo>
                    <a:pt x="87" y="20"/>
                  </a:lnTo>
                  <a:lnTo>
                    <a:pt x="89" y="20"/>
                  </a:lnTo>
                  <a:lnTo>
                    <a:pt x="90" y="20"/>
                  </a:lnTo>
                  <a:lnTo>
                    <a:pt x="93" y="20"/>
                  </a:lnTo>
                  <a:lnTo>
                    <a:pt x="93" y="21"/>
                  </a:lnTo>
                  <a:lnTo>
                    <a:pt x="94" y="21"/>
                  </a:lnTo>
                  <a:lnTo>
                    <a:pt x="94" y="21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1" y="23"/>
                  </a:lnTo>
                  <a:lnTo>
                    <a:pt x="91" y="23"/>
                  </a:lnTo>
                  <a:lnTo>
                    <a:pt x="94" y="22"/>
                  </a:lnTo>
                  <a:lnTo>
                    <a:pt x="95" y="22"/>
                  </a:lnTo>
                  <a:lnTo>
                    <a:pt x="96" y="22"/>
                  </a:lnTo>
                  <a:lnTo>
                    <a:pt x="97" y="21"/>
                  </a:lnTo>
                  <a:lnTo>
                    <a:pt x="97" y="21"/>
                  </a:lnTo>
                  <a:lnTo>
                    <a:pt x="99" y="21"/>
                  </a:lnTo>
                  <a:lnTo>
                    <a:pt x="99" y="22"/>
                  </a:lnTo>
                  <a:lnTo>
                    <a:pt x="101" y="23"/>
                  </a:lnTo>
                  <a:lnTo>
                    <a:pt x="101" y="23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1" y="25"/>
                  </a:lnTo>
                  <a:lnTo>
                    <a:pt x="93" y="26"/>
                  </a:lnTo>
                  <a:lnTo>
                    <a:pt x="81" y="27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7" y="30"/>
                  </a:lnTo>
                  <a:lnTo>
                    <a:pt x="78" y="28"/>
                  </a:lnTo>
                  <a:lnTo>
                    <a:pt x="77" y="27"/>
                  </a:lnTo>
                  <a:lnTo>
                    <a:pt x="76" y="28"/>
                  </a:lnTo>
                  <a:lnTo>
                    <a:pt x="74" y="31"/>
                  </a:lnTo>
                  <a:lnTo>
                    <a:pt x="70" y="32"/>
                  </a:lnTo>
                  <a:lnTo>
                    <a:pt x="66" y="33"/>
                  </a:lnTo>
                  <a:lnTo>
                    <a:pt x="65" y="33"/>
                  </a:lnTo>
                  <a:lnTo>
                    <a:pt x="63" y="32"/>
                  </a:lnTo>
                  <a:lnTo>
                    <a:pt x="64" y="31"/>
                  </a:lnTo>
                  <a:lnTo>
                    <a:pt x="65" y="30"/>
                  </a:lnTo>
                  <a:lnTo>
                    <a:pt x="65" y="30"/>
                  </a:lnTo>
                  <a:lnTo>
                    <a:pt x="66" y="28"/>
                  </a:lnTo>
                  <a:lnTo>
                    <a:pt x="67" y="27"/>
                  </a:lnTo>
                  <a:lnTo>
                    <a:pt x="68" y="27"/>
                  </a:lnTo>
                  <a:lnTo>
                    <a:pt x="67" y="27"/>
                  </a:lnTo>
                  <a:lnTo>
                    <a:pt x="65" y="28"/>
                  </a:lnTo>
                  <a:lnTo>
                    <a:pt x="63" y="30"/>
                  </a:lnTo>
                  <a:lnTo>
                    <a:pt x="61" y="31"/>
                  </a:lnTo>
                  <a:lnTo>
                    <a:pt x="60" y="31"/>
                  </a:lnTo>
                  <a:lnTo>
                    <a:pt x="59" y="32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58" y="35"/>
                  </a:lnTo>
                  <a:lnTo>
                    <a:pt x="58" y="36"/>
                  </a:lnTo>
                  <a:lnTo>
                    <a:pt x="55" y="36"/>
                  </a:lnTo>
                  <a:lnTo>
                    <a:pt x="55" y="35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1" y="34"/>
                  </a:lnTo>
                  <a:lnTo>
                    <a:pt x="51" y="35"/>
                  </a:lnTo>
                  <a:lnTo>
                    <a:pt x="53" y="36"/>
                  </a:lnTo>
                  <a:lnTo>
                    <a:pt x="48" y="40"/>
                  </a:lnTo>
                  <a:lnTo>
                    <a:pt x="47" y="40"/>
                  </a:lnTo>
                  <a:lnTo>
                    <a:pt x="46" y="40"/>
                  </a:lnTo>
                  <a:lnTo>
                    <a:pt x="45" y="40"/>
                  </a:lnTo>
                  <a:lnTo>
                    <a:pt x="44" y="37"/>
                  </a:lnTo>
                  <a:lnTo>
                    <a:pt x="44" y="37"/>
                  </a:lnTo>
                  <a:lnTo>
                    <a:pt x="40" y="36"/>
                  </a:lnTo>
                  <a:lnTo>
                    <a:pt x="40" y="35"/>
                  </a:lnTo>
                  <a:lnTo>
                    <a:pt x="40" y="34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7" y="35"/>
                  </a:lnTo>
                  <a:lnTo>
                    <a:pt x="38" y="36"/>
                  </a:lnTo>
                  <a:lnTo>
                    <a:pt x="38" y="37"/>
                  </a:lnTo>
                  <a:lnTo>
                    <a:pt x="39" y="37"/>
                  </a:lnTo>
                  <a:lnTo>
                    <a:pt x="40" y="40"/>
                  </a:lnTo>
                  <a:lnTo>
                    <a:pt x="39" y="41"/>
                  </a:lnTo>
                  <a:lnTo>
                    <a:pt x="39" y="40"/>
                  </a:lnTo>
                  <a:lnTo>
                    <a:pt x="37" y="40"/>
                  </a:lnTo>
                  <a:lnTo>
                    <a:pt x="37" y="38"/>
                  </a:lnTo>
                  <a:lnTo>
                    <a:pt x="35" y="38"/>
                  </a:lnTo>
                  <a:lnTo>
                    <a:pt x="29" y="38"/>
                  </a:lnTo>
                  <a:lnTo>
                    <a:pt x="30" y="38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1" y="41"/>
                  </a:lnTo>
                  <a:lnTo>
                    <a:pt x="25" y="41"/>
                  </a:lnTo>
                  <a:lnTo>
                    <a:pt x="22" y="40"/>
                  </a:lnTo>
                  <a:lnTo>
                    <a:pt x="18" y="40"/>
                  </a:lnTo>
                  <a:lnTo>
                    <a:pt x="17" y="40"/>
                  </a:lnTo>
                  <a:lnTo>
                    <a:pt x="14" y="40"/>
                  </a:lnTo>
                  <a:lnTo>
                    <a:pt x="14" y="38"/>
                  </a:lnTo>
                  <a:lnTo>
                    <a:pt x="13" y="38"/>
                  </a:lnTo>
                  <a:lnTo>
                    <a:pt x="15" y="38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4" y="38"/>
                  </a:lnTo>
                  <a:lnTo>
                    <a:pt x="13" y="38"/>
                  </a:lnTo>
                  <a:lnTo>
                    <a:pt x="12" y="38"/>
                  </a:lnTo>
                  <a:lnTo>
                    <a:pt x="10" y="37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10" y="35"/>
                  </a:lnTo>
                  <a:lnTo>
                    <a:pt x="22" y="35"/>
                  </a:lnTo>
                  <a:lnTo>
                    <a:pt x="23" y="35"/>
                  </a:lnTo>
                  <a:lnTo>
                    <a:pt x="16" y="34"/>
                  </a:lnTo>
                  <a:lnTo>
                    <a:pt x="15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3"/>
                  </a:lnTo>
                  <a:lnTo>
                    <a:pt x="10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2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3" y="31"/>
                  </a:lnTo>
                  <a:lnTo>
                    <a:pt x="9" y="31"/>
                  </a:lnTo>
                  <a:lnTo>
                    <a:pt x="9" y="30"/>
                  </a:lnTo>
                  <a:lnTo>
                    <a:pt x="8" y="30"/>
                  </a:lnTo>
                  <a:lnTo>
                    <a:pt x="9" y="28"/>
                  </a:lnTo>
                  <a:lnTo>
                    <a:pt x="12" y="28"/>
                  </a:lnTo>
                  <a:lnTo>
                    <a:pt x="15" y="27"/>
                  </a:lnTo>
                  <a:lnTo>
                    <a:pt x="20" y="26"/>
                  </a:lnTo>
                  <a:lnTo>
                    <a:pt x="34" y="26"/>
                  </a:lnTo>
                  <a:lnTo>
                    <a:pt x="40" y="26"/>
                  </a:lnTo>
                  <a:lnTo>
                    <a:pt x="47" y="25"/>
                  </a:lnTo>
                  <a:lnTo>
                    <a:pt x="48" y="25"/>
                  </a:lnTo>
                  <a:lnTo>
                    <a:pt x="50" y="25"/>
                  </a:lnTo>
                  <a:lnTo>
                    <a:pt x="47" y="25"/>
                  </a:lnTo>
                  <a:lnTo>
                    <a:pt x="39" y="25"/>
                  </a:lnTo>
                  <a:lnTo>
                    <a:pt x="37" y="25"/>
                  </a:lnTo>
                  <a:lnTo>
                    <a:pt x="31" y="26"/>
                  </a:lnTo>
                  <a:lnTo>
                    <a:pt x="29" y="25"/>
                  </a:lnTo>
                  <a:lnTo>
                    <a:pt x="28" y="25"/>
                  </a:lnTo>
                  <a:lnTo>
                    <a:pt x="29" y="25"/>
                  </a:lnTo>
                  <a:lnTo>
                    <a:pt x="30" y="25"/>
                  </a:lnTo>
                  <a:lnTo>
                    <a:pt x="31" y="24"/>
                  </a:lnTo>
                  <a:lnTo>
                    <a:pt x="39" y="24"/>
                  </a:lnTo>
                  <a:lnTo>
                    <a:pt x="41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34" y="24"/>
                  </a:lnTo>
                  <a:lnTo>
                    <a:pt x="31" y="24"/>
                  </a:lnTo>
                  <a:lnTo>
                    <a:pt x="33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7" y="24"/>
                  </a:lnTo>
                  <a:lnTo>
                    <a:pt x="24" y="24"/>
                  </a:lnTo>
                  <a:lnTo>
                    <a:pt x="23" y="24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5" y="23"/>
                  </a:lnTo>
                  <a:lnTo>
                    <a:pt x="23" y="24"/>
                  </a:lnTo>
                  <a:lnTo>
                    <a:pt x="20" y="24"/>
                  </a:lnTo>
                  <a:lnTo>
                    <a:pt x="19" y="25"/>
                  </a:lnTo>
                  <a:lnTo>
                    <a:pt x="17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4" y="25"/>
                  </a:lnTo>
                  <a:lnTo>
                    <a:pt x="15" y="24"/>
                  </a:lnTo>
                  <a:lnTo>
                    <a:pt x="16" y="24"/>
                  </a:lnTo>
                  <a:lnTo>
                    <a:pt x="18" y="23"/>
                  </a:lnTo>
                  <a:lnTo>
                    <a:pt x="17" y="23"/>
                  </a:lnTo>
                  <a:lnTo>
                    <a:pt x="14" y="23"/>
                  </a:lnTo>
                  <a:lnTo>
                    <a:pt x="13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9" y="24"/>
                  </a:lnTo>
                  <a:lnTo>
                    <a:pt x="7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6" y="24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2" y="22"/>
                  </a:lnTo>
                  <a:lnTo>
                    <a:pt x="4" y="22"/>
                  </a:lnTo>
                  <a:lnTo>
                    <a:pt x="6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14" y="22"/>
                  </a:lnTo>
                  <a:lnTo>
                    <a:pt x="18" y="21"/>
                  </a:lnTo>
                  <a:lnTo>
                    <a:pt x="20" y="20"/>
                  </a:lnTo>
                  <a:lnTo>
                    <a:pt x="15" y="21"/>
                  </a:lnTo>
                  <a:lnTo>
                    <a:pt x="13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4" y="20"/>
                  </a:lnTo>
                  <a:lnTo>
                    <a:pt x="3" y="18"/>
                  </a:lnTo>
                  <a:lnTo>
                    <a:pt x="2" y="17"/>
                  </a:lnTo>
                  <a:lnTo>
                    <a:pt x="3" y="17"/>
                  </a:lnTo>
                  <a:lnTo>
                    <a:pt x="0" y="17"/>
                  </a:lnTo>
                  <a:lnTo>
                    <a:pt x="5" y="17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7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6" y="14"/>
                  </a:lnTo>
                  <a:lnTo>
                    <a:pt x="10" y="14"/>
                  </a:lnTo>
                  <a:lnTo>
                    <a:pt x="12" y="14"/>
                  </a:lnTo>
                  <a:lnTo>
                    <a:pt x="12" y="15"/>
                  </a:lnTo>
                  <a:lnTo>
                    <a:pt x="15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9" y="15"/>
                  </a:lnTo>
                  <a:lnTo>
                    <a:pt x="22" y="15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2" y="15"/>
                  </a:lnTo>
                  <a:lnTo>
                    <a:pt x="22" y="14"/>
                  </a:lnTo>
                  <a:lnTo>
                    <a:pt x="24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6" y="14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5" y="13"/>
                  </a:lnTo>
                  <a:lnTo>
                    <a:pt x="22" y="14"/>
                  </a:lnTo>
                  <a:lnTo>
                    <a:pt x="16" y="14"/>
                  </a:lnTo>
                  <a:lnTo>
                    <a:pt x="13" y="14"/>
                  </a:lnTo>
                  <a:lnTo>
                    <a:pt x="15" y="13"/>
                  </a:lnTo>
                  <a:lnTo>
                    <a:pt x="13" y="14"/>
                  </a:lnTo>
                  <a:lnTo>
                    <a:pt x="15" y="13"/>
                  </a:lnTo>
                  <a:lnTo>
                    <a:pt x="18" y="13"/>
                  </a:lnTo>
                  <a:lnTo>
                    <a:pt x="20" y="13"/>
                  </a:lnTo>
                  <a:lnTo>
                    <a:pt x="17" y="13"/>
                  </a:lnTo>
                  <a:lnTo>
                    <a:pt x="16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0" y="13"/>
                  </a:lnTo>
                  <a:lnTo>
                    <a:pt x="12" y="13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1"/>
                  </a:lnTo>
                  <a:lnTo>
                    <a:pt x="9" y="11"/>
                  </a:lnTo>
                  <a:lnTo>
                    <a:pt x="12" y="11"/>
                  </a:lnTo>
                  <a:lnTo>
                    <a:pt x="13" y="11"/>
                  </a:lnTo>
                  <a:lnTo>
                    <a:pt x="15" y="11"/>
                  </a:lnTo>
                  <a:lnTo>
                    <a:pt x="13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2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52" name="Freeform 1152"/>
            <p:cNvSpPr>
              <a:spLocks/>
            </p:cNvSpPr>
            <p:nvPr/>
          </p:nvSpPr>
          <p:spPr bwMode="auto">
            <a:xfrm>
              <a:off x="1779" y="756"/>
              <a:ext cx="103" cy="41"/>
            </a:xfrm>
            <a:custGeom>
              <a:avLst/>
              <a:gdLst>
                <a:gd name="T0" fmla="*/ 36 w 103"/>
                <a:gd name="T1" fmla="*/ 8 h 41"/>
                <a:gd name="T2" fmla="*/ 36 w 103"/>
                <a:gd name="T3" fmla="*/ 7 h 41"/>
                <a:gd name="T4" fmla="*/ 26 w 103"/>
                <a:gd name="T5" fmla="*/ 6 h 41"/>
                <a:gd name="T6" fmla="*/ 30 w 103"/>
                <a:gd name="T7" fmla="*/ 4 h 41"/>
                <a:gd name="T8" fmla="*/ 36 w 103"/>
                <a:gd name="T9" fmla="*/ 4 h 41"/>
                <a:gd name="T10" fmla="*/ 43 w 103"/>
                <a:gd name="T11" fmla="*/ 4 h 41"/>
                <a:gd name="T12" fmla="*/ 48 w 103"/>
                <a:gd name="T13" fmla="*/ 3 h 41"/>
                <a:gd name="T14" fmla="*/ 49 w 103"/>
                <a:gd name="T15" fmla="*/ 2 h 41"/>
                <a:gd name="T16" fmla="*/ 38 w 103"/>
                <a:gd name="T17" fmla="*/ 1 h 41"/>
                <a:gd name="T18" fmla="*/ 43 w 103"/>
                <a:gd name="T19" fmla="*/ 0 h 41"/>
                <a:gd name="T20" fmla="*/ 61 w 103"/>
                <a:gd name="T21" fmla="*/ 1 h 41"/>
                <a:gd name="T22" fmla="*/ 64 w 103"/>
                <a:gd name="T23" fmla="*/ 4 h 41"/>
                <a:gd name="T24" fmla="*/ 64 w 103"/>
                <a:gd name="T25" fmla="*/ 7 h 41"/>
                <a:gd name="T26" fmla="*/ 66 w 103"/>
                <a:gd name="T27" fmla="*/ 8 h 41"/>
                <a:gd name="T28" fmla="*/ 76 w 103"/>
                <a:gd name="T29" fmla="*/ 10 h 41"/>
                <a:gd name="T30" fmla="*/ 78 w 103"/>
                <a:gd name="T31" fmla="*/ 12 h 41"/>
                <a:gd name="T32" fmla="*/ 84 w 103"/>
                <a:gd name="T33" fmla="*/ 14 h 41"/>
                <a:gd name="T34" fmla="*/ 90 w 103"/>
                <a:gd name="T35" fmla="*/ 11 h 41"/>
                <a:gd name="T36" fmla="*/ 86 w 103"/>
                <a:gd name="T37" fmla="*/ 14 h 41"/>
                <a:gd name="T38" fmla="*/ 89 w 103"/>
                <a:gd name="T39" fmla="*/ 16 h 41"/>
                <a:gd name="T40" fmla="*/ 81 w 103"/>
                <a:gd name="T41" fmla="*/ 20 h 41"/>
                <a:gd name="T42" fmla="*/ 93 w 103"/>
                <a:gd name="T43" fmla="*/ 20 h 41"/>
                <a:gd name="T44" fmla="*/ 91 w 103"/>
                <a:gd name="T45" fmla="*/ 23 h 41"/>
                <a:gd name="T46" fmla="*/ 99 w 103"/>
                <a:gd name="T47" fmla="*/ 22 h 41"/>
                <a:gd name="T48" fmla="*/ 81 w 103"/>
                <a:gd name="T49" fmla="*/ 27 h 41"/>
                <a:gd name="T50" fmla="*/ 74 w 103"/>
                <a:gd name="T51" fmla="*/ 31 h 41"/>
                <a:gd name="T52" fmla="*/ 65 w 103"/>
                <a:gd name="T53" fmla="*/ 30 h 41"/>
                <a:gd name="T54" fmla="*/ 61 w 103"/>
                <a:gd name="T55" fmla="*/ 31 h 41"/>
                <a:gd name="T56" fmla="*/ 58 w 103"/>
                <a:gd name="T57" fmla="*/ 35 h 41"/>
                <a:gd name="T58" fmla="*/ 51 w 103"/>
                <a:gd name="T59" fmla="*/ 34 h 41"/>
                <a:gd name="T60" fmla="*/ 44 w 103"/>
                <a:gd name="T61" fmla="*/ 37 h 41"/>
                <a:gd name="T62" fmla="*/ 37 w 103"/>
                <a:gd name="T63" fmla="*/ 35 h 41"/>
                <a:gd name="T64" fmla="*/ 37 w 103"/>
                <a:gd name="T65" fmla="*/ 40 h 41"/>
                <a:gd name="T66" fmla="*/ 31 w 103"/>
                <a:gd name="T67" fmla="*/ 41 h 41"/>
                <a:gd name="T68" fmla="*/ 13 w 103"/>
                <a:gd name="T69" fmla="*/ 38 h 41"/>
                <a:gd name="T70" fmla="*/ 10 w 103"/>
                <a:gd name="T71" fmla="*/ 37 h 41"/>
                <a:gd name="T72" fmla="*/ 15 w 103"/>
                <a:gd name="T73" fmla="*/ 34 h 41"/>
                <a:gd name="T74" fmla="*/ 9 w 103"/>
                <a:gd name="T75" fmla="*/ 32 h 41"/>
                <a:gd name="T76" fmla="*/ 9 w 103"/>
                <a:gd name="T77" fmla="*/ 30 h 41"/>
                <a:gd name="T78" fmla="*/ 40 w 103"/>
                <a:gd name="T79" fmla="*/ 26 h 41"/>
                <a:gd name="T80" fmla="*/ 31 w 103"/>
                <a:gd name="T81" fmla="*/ 26 h 41"/>
                <a:gd name="T82" fmla="*/ 41 w 103"/>
                <a:gd name="T83" fmla="*/ 24 h 41"/>
                <a:gd name="T84" fmla="*/ 28 w 103"/>
                <a:gd name="T85" fmla="*/ 23 h 41"/>
                <a:gd name="T86" fmla="*/ 23 w 103"/>
                <a:gd name="T87" fmla="*/ 24 h 41"/>
                <a:gd name="T88" fmla="*/ 15 w 103"/>
                <a:gd name="T89" fmla="*/ 24 h 41"/>
                <a:gd name="T90" fmla="*/ 12 w 103"/>
                <a:gd name="T91" fmla="*/ 24 h 41"/>
                <a:gd name="T92" fmla="*/ 5 w 103"/>
                <a:gd name="T93" fmla="*/ 23 h 41"/>
                <a:gd name="T94" fmla="*/ 2 w 103"/>
                <a:gd name="T95" fmla="*/ 22 h 41"/>
                <a:gd name="T96" fmla="*/ 20 w 103"/>
                <a:gd name="T97" fmla="*/ 20 h 41"/>
                <a:gd name="T98" fmla="*/ 2 w 103"/>
                <a:gd name="T99" fmla="*/ 17 h 41"/>
                <a:gd name="T100" fmla="*/ 3 w 103"/>
                <a:gd name="T101" fmla="*/ 15 h 41"/>
                <a:gd name="T102" fmla="*/ 10 w 103"/>
                <a:gd name="T103" fmla="*/ 14 h 41"/>
                <a:gd name="T104" fmla="*/ 22 w 103"/>
                <a:gd name="T105" fmla="*/ 15 h 41"/>
                <a:gd name="T106" fmla="*/ 29 w 103"/>
                <a:gd name="T107" fmla="*/ 14 h 41"/>
                <a:gd name="T108" fmla="*/ 13 w 103"/>
                <a:gd name="T109" fmla="*/ 14 h 41"/>
                <a:gd name="T110" fmla="*/ 16 w 103"/>
                <a:gd name="T111" fmla="*/ 13 h 41"/>
                <a:gd name="T112" fmla="*/ 8 w 103"/>
                <a:gd name="T113" fmla="*/ 12 h 41"/>
                <a:gd name="T114" fmla="*/ 15 w 103"/>
                <a:gd name="T115" fmla="*/ 1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3" h="41">
                  <a:moveTo>
                    <a:pt x="20" y="8"/>
                  </a:moveTo>
                  <a:lnTo>
                    <a:pt x="23" y="8"/>
                  </a:lnTo>
                  <a:lnTo>
                    <a:pt x="26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6" y="10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0" y="8"/>
                  </a:lnTo>
                  <a:lnTo>
                    <a:pt x="30" y="7"/>
                  </a:lnTo>
                  <a:lnTo>
                    <a:pt x="35" y="7"/>
                  </a:lnTo>
                  <a:lnTo>
                    <a:pt x="39" y="7"/>
                  </a:lnTo>
                  <a:lnTo>
                    <a:pt x="37" y="7"/>
                  </a:lnTo>
                  <a:lnTo>
                    <a:pt x="36" y="7"/>
                  </a:lnTo>
                  <a:lnTo>
                    <a:pt x="36" y="6"/>
                  </a:lnTo>
                  <a:lnTo>
                    <a:pt x="33" y="7"/>
                  </a:lnTo>
                  <a:lnTo>
                    <a:pt x="29" y="7"/>
                  </a:lnTo>
                  <a:lnTo>
                    <a:pt x="28" y="6"/>
                  </a:lnTo>
                  <a:lnTo>
                    <a:pt x="29" y="6"/>
                  </a:lnTo>
                  <a:lnTo>
                    <a:pt x="31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5"/>
                  </a:lnTo>
                  <a:lnTo>
                    <a:pt x="29" y="5"/>
                  </a:lnTo>
                  <a:lnTo>
                    <a:pt x="27" y="5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0" y="4"/>
                  </a:lnTo>
                  <a:lnTo>
                    <a:pt x="33" y="4"/>
                  </a:lnTo>
                  <a:lnTo>
                    <a:pt x="33" y="3"/>
                  </a:lnTo>
                  <a:lnTo>
                    <a:pt x="34" y="4"/>
                  </a:lnTo>
                  <a:lnTo>
                    <a:pt x="37" y="4"/>
                  </a:lnTo>
                  <a:lnTo>
                    <a:pt x="36" y="4"/>
                  </a:lnTo>
                  <a:lnTo>
                    <a:pt x="37" y="4"/>
                  </a:lnTo>
                  <a:lnTo>
                    <a:pt x="36" y="4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1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0" y="3"/>
                  </a:lnTo>
                  <a:lnTo>
                    <a:pt x="39" y="3"/>
                  </a:lnTo>
                  <a:lnTo>
                    <a:pt x="43" y="3"/>
                  </a:lnTo>
                  <a:lnTo>
                    <a:pt x="44" y="3"/>
                  </a:lnTo>
                  <a:lnTo>
                    <a:pt x="48" y="3"/>
                  </a:lnTo>
                  <a:lnTo>
                    <a:pt x="53" y="3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5" y="2"/>
                  </a:lnTo>
                  <a:lnTo>
                    <a:pt x="53" y="2"/>
                  </a:lnTo>
                  <a:lnTo>
                    <a:pt x="51" y="2"/>
                  </a:lnTo>
                  <a:lnTo>
                    <a:pt x="49" y="2"/>
                  </a:lnTo>
                  <a:lnTo>
                    <a:pt x="48" y="2"/>
                  </a:lnTo>
                  <a:lnTo>
                    <a:pt x="44" y="2"/>
                  </a:lnTo>
                  <a:lnTo>
                    <a:pt x="43" y="2"/>
                  </a:lnTo>
                  <a:lnTo>
                    <a:pt x="41" y="2"/>
                  </a:lnTo>
                  <a:lnTo>
                    <a:pt x="38" y="2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9" y="1"/>
                  </a:lnTo>
                  <a:lnTo>
                    <a:pt x="39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8" y="0"/>
                  </a:lnTo>
                  <a:lnTo>
                    <a:pt x="41" y="0"/>
                  </a:lnTo>
                  <a:lnTo>
                    <a:pt x="43" y="0"/>
                  </a:lnTo>
                  <a:lnTo>
                    <a:pt x="48" y="1"/>
                  </a:lnTo>
                  <a:lnTo>
                    <a:pt x="49" y="1"/>
                  </a:lnTo>
                  <a:lnTo>
                    <a:pt x="48" y="0"/>
                  </a:lnTo>
                  <a:lnTo>
                    <a:pt x="51" y="0"/>
                  </a:lnTo>
                  <a:lnTo>
                    <a:pt x="55" y="1"/>
                  </a:lnTo>
                  <a:lnTo>
                    <a:pt x="60" y="1"/>
                  </a:lnTo>
                  <a:lnTo>
                    <a:pt x="61" y="1"/>
                  </a:lnTo>
                  <a:lnTo>
                    <a:pt x="61" y="1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4" y="3"/>
                  </a:lnTo>
                  <a:lnTo>
                    <a:pt x="63" y="3"/>
                  </a:lnTo>
                  <a:lnTo>
                    <a:pt x="63" y="3"/>
                  </a:lnTo>
                  <a:lnTo>
                    <a:pt x="64" y="4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4" y="7"/>
                  </a:lnTo>
                  <a:lnTo>
                    <a:pt x="65" y="7"/>
                  </a:lnTo>
                  <a:lnTo>
                    <a:pt x="66" y="7"/>
                  </a:lnTo>
                  <a:lnTo>
                    <a:pt x="67" y="8"/>
                  </a:lnTo>
                  <a:lnTo>
                    <a:pt x="65" y="10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6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70" y="10"/>
                  </a:lnTo>
                  <a:lnTo>
                    <a:pt x="73" y="10"/>
                  </a:lnTo>
                  <a:lnTo>
                    <a:pt x="74" y="10"/>
                  </a:lnTo>
                  <a:lnTo>
                    <a:pt x="75" y="10"/>
                  </a:lnTo>
                  <a:lnTo>
                    <a:pt x="76" y="10"/>
                  </a:lnTo>
                  <a:lnTo>
                    <a:pt x="78" y="10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80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6" y="13"/>
                  </a:lnTo>
                  <a:lnTo>
                    <a:pt x="79" y="14"/>
                  </a:lnTo>
                  <a:lnTo>
                    <a:pt x="80" y="14"/>
                  </a:lnTo>
                  <a:lnTo>
                    <a:pt x="81" y="14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4" y="13"/>
                  </a:lnTo>
                  <a:lnTo>
                    <a:pt x="81" y="12"/>
                  </a:lnTo>
                  <a:lnTo>
                    <a:pt x="83" y="11"/>
                  </a:lnTo>
                  <a:lnTo>
                    <a:pt x="85" y="11"/>
                  </a:lnTo>
                  <a:lnTo>
                    <a:pt x="90" y="11"/>
                  </a:lnTo>
                  <a:lnTo>
                    <a:pt x="93" y="11"/>
                  </a:lnTo>
                  <a:lnTo>
                    <a:pt x="91" y="12"/>
                  </a:lnTo>
                  <a:lnTo>
                    <a:pt x="91" y="13"/>
                  </a:lnTo>
                  <a:lnTo>
                    <a:pt x="90" y="13"/>
                  </a:lnTo>
                  <a:lnTo>
                    <a:pt x="89" y="13"/>
                  </a:lnTo>
                  <a:lnTo>
                    <a:pt x="88" y="14"/>
                  </a:lnTo>
                  <a:lnTo>
                    <a:pt x="86" y="14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86" y="15"/>
                  </a:lnTo>
                  <a:lnTo>
                    <a:pt x="88" y="14"/>
                  </a:lnTo>
                  <a:lnTo>
                    <a:pt x="91" y="15"/>
                  </a:lnTo>
                  <a:lnTo>
                    <a:pt x="91" y="16"/>
                  </a:lnTo>
                  <a:lnTo>
                    <a:pt x="89" y="16"/>
                  </a:lnTo>
                  <a:lnTo>
                    <a:pt x="89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88" y="17"/>
                  </a:lnTo>
                  <a:lnTo>
                    <a:pt x="86" y="20"/>
                  </a:lnTo>
                  <a:lnTo>
                    <a:pt x="84" y="20"/>
                  </a:lnTo>
                  <a:lnTo>
                    <a:pt x="81" y="20"/>
                  </a:lnTo>
                  <a:lnTo>
                    <a:pt x="80" y="21"/>
                  </a:lnTo>
                  <a:lnTo>
                    <a:pt x="81" y="21"/>
                  </a:lnTo>
                  <a:lnTo>
                    <a:pt x="85" y="20"/>
                  </a:lnTo>
                  <a:lnTo>
                    <a:pt x="87" y="20"/>
                  </a:lnTo>
                  <a:lnTo>
                    <a:pt x="89" y="20"/>
                  </a:lnTo>
                  <a:lnTo>
                    <a:pt x="90" y="20"/>
                  </a:lnTo>
                  <a:lnTo>
                    <a:pt x="93" y="20"/>
                  </a:lnTo>
                  <a:lnTo>
                    <a:pt x="93" y="21"/>
                  </a:lnTo>
                  <a:lnTo>
                    <a:pt x="94" y="21"/>
                  </a:lnTo>
                  <a:lnTo>
                    <a:pt x="94" y="21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1" y="23"/>
                  </a:lnTo>
                  <a:lnTo>
                    <a:pt x="91" y="23"/>
                  </a:lnTo>
                  <a:lnTo>
                    <a:pt x="94" y="22"/>
                  </a:lnTo>
                  <a:lnTo>
                    <a:pt x="95" y="22"/>
                  </a:lnTo>
                  <a:lnTo>
                    <a:pt x="96" y="22"/>
                  </a:lnTo>
                  <a:lnTo>
                    <a:pt x="97" y="21"/>
                  </a:lnTo>
                  <a:lnTo>
                    <a:pt x="97" y="21"/>
                  </a:lnTo>
                  <a:lnTo>
                    <a:pt x="99" y="21"/>
                  </a:lnTo>
                  <a:lnTo>
                    <a:pt x="99" y="22"/>
                  </a:lnTo>
                  <a:lnTo>
                    <a:pt x="101" y="23"/>
                  </a:lnTo>
                  <a:lnTo>
                    <a:pt x="101" y="23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1" y="25"/>
                  </a:lnTo>
                  <a:lnTo>
                    <a:pt x="93" y="26"/>
                  </a:lnTo>
                  <a:lnTo>
                    <a:pt x="81" y="27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7" y="30"/>
                  </a:lnTo>
                  <a:lnTo>
                    <a:pt x="78" y="28"/>
                  </a:lnTo>
                  <a:lnTo>
                    <a:pt x="77" y="27"/>
                  </a:lnTo>
                  <a:lnTo>
                    <a:pt x="76" y="28"/>
                  </a:lnTo>
                  <a:lnTo>
                    <a:pt x="74" y="31"/>
                  </a:lnTo>
                  <a:lnTo>
                    <a:pt x="70" y="32"/>
                  </a:lnTo>
                  <a:lnTo>
                    <a:pt x="66" y="33"/>
                  </a:lnTo>
                  <a:lnTo>
                    <a:pt x="65" y="33"/>
                  </a:lnTo>
                  <a:lnTo>
                    <a:pt x="63" y="32"/>
                  </a:lnTo>
                  <a:lnTo>
                    <a:pt x="64" y="31"/>
                  </a:lnTo>
                  <a:lnTo>
                    <a:pt x="65" y="30"/>
                  </a:lnTo>
                  <a:lnTo>
                    <a:pt x="65" y="30"/>
                  </a:lnTo>
                  <a:lnTo>
                    <a:pt x="66" y="28"/>
                  </a:lnTo>
                  <a:lnTo>
                    <a:pt x="67" y="27"/>
                  </a:lnTo>
                  <a:lnTo>
                    <a:pt x="68" y="27"/>
                  </a:lnTo>
                  <a:lnTo>
                    <a:pt x="67" y="27"/>
                  </a:lnTo>
                  <a:lnTo>
                    <a:pt x="65" y="28"/>
                  </a:lnTo>
                  <a:lnTo>
                    <a:pt x="63" y="30"/>
                  </a:lnTo>
                  <a:lnTo>
                    <a:pt x="61" y="31"/>
                  </a:lnTo>
                  <a:lnTo>
                    <a:pt x="60" y="31"/>
                  </a:lnTo>
                  <a:lnTo>
                    <a:pt x="59" y="32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58" y="35"/>
                  </a:lnTo>
                  <a:lnTo>
                    <a:pt x="58" y="36"/>
                  </a:lnTo>
                  <a:lnTo>
                    <a:pt x="55" y="36"/>
                  </a:lnTo>
                  <a:lnTo>
                    <a:pt x="55" y="35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1" y="34"/>
                  </a:lnTo>
                  <a:lnTo>
                    <a:pt x="51" y="35"/>
                  </a:lnTo>
                  <a:lnTo>
                    <a:pt x="53" y="36"/>
                  </a:lnTo>
                  <a:lnTo>
                    <a:pt x="48" y="40"/>
                  </a:lnTo>
                  <a:lnTo>
                    <a:pt x="47" y="40"/>
                  </a:lnTo>
                  <a:lnTo>
                    <a:pt x="46" y="40"/>
                  </a:lnTo>
                  <a:lnTo>
                    <a:pt x="45" y="40"/>
                  </a:lnTo>
                  <a:lnTo>
                    <a:pt x="44" y="37"/>
                  </a:lnTo>
                  <a:lnTo>
                    <a:pt x="44" y="37"/>
                  </a:lnTo>
                  <a:lnTo>
                    <a:pt x="40" y="36"/>
                  </a:lnTo>
                  <a:lnTo>
                    <a:pt x="40" y="35"/>
                  </a:lnTo>
                  <a:lnTo>
                    <a:pt x="40" y="34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7" y="35"/>
                  </a:lnTo>
                  <a:lnTo>
                    <a:pt x="38" y="36"/>
                  </a:lnTo>
                  <a:lnTo>
                    <a:pt x="38" y="37"/>
                  </a:lnTo>
                  <a:lnTo>
                    <a:pt x="39" y="37"/>
                  </a:lnTo>
                  <a:lnTo>
                    <a:pt x="40" y="40"/>
                  </a:lnTo>
                  <a:lnTo>
                    <a:pt x="39" y="41"/>
                  </a:lnTo>
                  <a:lnTo>
                    <a:pt x="39" y="40"/>
                  </a:lnTo>
                  <a:lnTo>
                    <a:pt x="37" y="40"/>
                  </a:lnTo>
                  <a:lnTo>
                    <a:pt x="37" y="38"/>
                  </a:lnTo>
                  <a:lnTo>
                    <a:pt x="35" y="38"/>
                  </a:lnTo>
                  <a:lnTo>
                    <a:pt x="29" y="38"/>
                  </a:lnTo>
                  <a:lnTo>
                    <a:pt x="30" y="38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1" y="41"/>
                  </a:lnTo>
                  <a:lnTo>
                    <a:pt x="25" y="41"/>
                  </a:lnTo>
                  <a:lnTo>
                    <a:pt x="22" y="40"/>
                  </a:lnTo>
                  <a:lnTo>
                    <a:pt x="18" y="40"/>
                  </a:lnTo>
                  <a:lnTo>
                    <a:pt x="17" y="40"/>
                  </a:lnTo>
                  <a:lnTo>
                    <a:pt x="14" y="40"/>
                  </a:lnTo>
                  <a:lnTo>
                    <a:pt x="14" y="38"/>
                  </a:lnTo>
                  <a:lnTo>
                    <a:pt x="13" y="38"/>
                  </a:lnTo>
                  <a:lnTo>
                    <a:pt x="15" y="38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4" y="38"/>
                  </a:lnTo>
                  <a:lnTo>
                    <a:pt x="13" y="38"/>
                  </a:lnTo>
                  <a:lnTo>
                    <a:pt x="12" y="38"/>
                  </a:lnTo>
                  <a:lnTo>
                    <a:pt x="10" y="37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10" y="35"/>
                  </a:lnTo>
                  <a:lnTo>
                    <a:pt x="22" y="35"/>
                  </a:lnTo>
                  <a:lnTo>
                    <a:pt x="23" y="35"/>
                  </a:lnTo>
                  <a:lnTo>
                    <a:pt x="16" y="34"/>
                  </a:lnTo>
                  <a:lnTo>
                    <a:pt x="15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3"/>
                  </a:lnTo>
                  <a:lnTo>
                    <a:pt x="10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2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3" y="31"/>
                  </a:lnTo>
                  <a:lnTo>
                    <a:pt x="9" y="31"/>
                  </a:lnTo>
                  <a:lnTo>
                    <a:pt x="9" y="30"/>
                  </a:lnTo>
                  <a:lnTo>
                    <a:pt x="8" y="30"/>
                  </a:lnTo>
                  <a:lnTo>
                    <a:pt x="9" y="28"/>
                  </a:lnTo>
                  <a:lnTo>
                    <a:pt x="12" y="28"/>
                  </a:lnTo>
                  <a:lnTo>
                    <a:pt x="15" y="27"/>
                  </a:lnTo>
                  <a:lnTo>
                    <a:pt x="20" y="26"/>
                  </a:lnTo>
                  <a:lnTo>
                    <a:pt x="34" y="26"/>
                  </a:lnTo>
                  <a:lnTo>
                    <a:pt x="40" y="26"/>
                  </a:lnTo>
                  <a:lnTo>
                    <a:pt x="47" y="25"/>
                  </a:lnTo>
                  <a:lnTo>
                    <a:pt x="48" y="25"/>
                  </a:lnTo>
                  <a:lnTo>
                    <a:pt x="50" y="25"/>
                  </a:lnTo>
                  <a:lnTo>
                    <a:pt x="47" y="25"/>
                  </a:lnTo>
                  <a:lnTo>
                    <a:pt x="39" y="25"/>
                  </a:lnTo>
                  <a:lnTo>
                    <a:pt x="37" y="25"/>
                  </a:lnTo>
                  <a:lnTo>
                    <a:pt x="31" y="26"/>
                  </a:lnTo>
                  <a:lnTo>
                    <a:pt x="29" y="25"/>
                  </a:lnTo>
                  <a:lnTo>
                    <a:pt x="28" y="25"/>
                  </a:lnTo>
                  <a:lnTo>
                    <a:pt x="29" y="25"/>
                  </a:lnTo>
                  <a:lnTo>
                    <a:pt x="30" y="25"/>
                  </a:lnTo>
                  <a:lnTo>
                    <a:pt x="31" y="24"/>
                  </a:lnTo>
                  <a:lnTo>
                    <a:pt x="39" y="24"/>
                  </a:lnTo>
                  <a:lnTo>
                    <a:pt x="41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34" y="24"/>
                  </a:lnTo>
                  <a:lnTo>
                    <a:pt x="31" y="24"/>
                  </a:lnTo>
                  <a:lnTo>
                    <a:pt x="33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7" y="24"/>
                  </a:lnTo>
                  <a:lnTo>
                    <a:pt x="24" y="24"/>
                  </a:lnTo>
                  <a:lnTo>
                    <a:pt x="23" y="24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5" y="23"/>
                  </a:lnTo>
                  <a:lnTo>
                    <a:pt x="23" y="24"/>
                  </a:lnTo>
                  <a:lnTo>
                    <a:pt x="20" y="24"/>
                  </a:lnTo>
                  <a:lnTo>
                    <a:pt x="19" y="25"/>
                  </a:lnTo>
                  <a:lnTo>
                    <a:pt x="17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4" y="25"/>
                  </a:lnTo>
                  <a:lnTo>
                    <a:pt x="15" y="24"/>
                  </a:lnTo>
                  <a:lnTo>
                    <a:pt x="16" y="24"/>
                  </a:lnTo>
                  <a:lnTo>
                    <a:pt x="18" y="23"/>
                  </a:lnTo>
                  <a:lnTo>
                    <a:pt x="17" y="23"/>
                  </a:lnTo>
                  <a:lnTo>
                    <a:pt x="14" y="23"/>
                  </a:lnTo>
                  <a:lnTo>
                    <a:pt x="13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9" y="24"/>
                  </a:lnTo>
                  <a:lnTo>
                    <a:pt x="7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6" y="24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2" y="22"/>
                  </a:lnTo>
                  <a:lnTo>
                    <a:pt x="4" y="22"/>
                  </a:lnTo>
                  <a:lnTo>
                    <a:pt x="6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14" y="22"/>
                  </a:lnTo>
                  <a:lnTo>
                    <a:pt x="18" y="21"/>
                  </a:lnTo>
                  <a:lnTo>
                    <a:pt x="20" y="20"/>
                  </a:lnTo>
                  <a:lnTo>
                    <a:pt x="15" y="21"/>
                  </a:lnTo>
                  <a:lnTo>
                    <a:pt x="13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4" y="20"/>
                  </a:lnTo>
                  <a:lnTo>
                    <a:pt x="3" y="18"/>
                  </a:lnTo>
                  <a:lnTo>
                    <a:pt x="2" y="17"/>
                  </a:lnTo>
                  <a:lnTo>
                    <a:pt x="3" y="17"/>
                  </a:lnTo>
                  <a:lnTo>
                    <a:pt x="0" y="17"/>
                  </a:lnTo>
                  <a:lnTo>
                    <a:pt x="5" y="17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7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6" y="14"/>
                  </a:lnTo>
                  <a:lnTo>
                    <a:pt x="10" y="14"/>
                  </a:lnTo>
                  <a:lnTo>
                    <a:pt x="12" y="14"/>
                  </a:lnTo>
                  <a:lnTo>
                    <a:pt x="12" y="15"/>
                  </a:lnTo>
                  <a:lnTo>
                    <a:pt x="15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9" y="15"/>
                  </a:lnTo>
                  <a:lnTo>
                    <a:pt x="22" y="15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2" y="15"/>
                  </a:lnTo>
                  <a:lnTo>
                    <a:pt x="22" y="14"/>
                  </a:lnTo>
                  <a:lnTo>
                    <a:pt x="24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6" y="14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5" y="13"/>
                  </a:lnTo>
                  <a:lnTo>
                    <a:pt x="22" y="14"/>
                  </a:lnTo>
                  <a:lnTo>
                    <a:pt x="16" y="14"/>
                  </a:lnTo>
                  <a:lnTo>
                    <a:pt x="13" y="14"/>
                  </a:lnTo>
                  <a:lnTo>
                    <a:pt x="15" y="13"/>
                  </a:lnTo>
                  <a:lnTo>
                    <a:pt x="13" y="14"/>
                  </a:lnTo>
                  <a:lnTo>
                    <a:pt x="15" y="13"/>
                  </a:lnTo>
                  <a:lnTo>
                    <a:pt x="18" y="13"/>
                  </a:lnTo>
                  <a:lnTo>
                    <a:pt x="20" y="13"/>
                  </a:lnTo>
                  <a:lnTo>
                    <a:pt x="17" y="13"/>
                  </a:lnTo>
                  <a:lnTo>
                    <a:pt x="16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0" y="13"/>
                  </a:lnTo>
                  <a:lnTo>
                    <a:pt x="12" y="13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8" y="11"/>
                  </a:lnTo>
                  <a:lnTo>
                    <a:pt x="9" y="11"/>
                  </a:lnTo>
                  <a:lnTo>
                    <a:pt x="12" y="11"/>
                  </a:lnTo>
                  <a:lnTo>
                    <a:pt x="13" y="11"/>
                  </a:lnTo>
                  <a:lnTo>
                    <a:pt x="15" y="11"/>
                  </a:lnTo>
                  <a:lnTo>
                    <a:pt x="13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20" y="8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53" name="Freeform 1153"/>
            <p:cNvSpPr>
              <a:spLocks/>
            </p:cNvSpPr>
            <p:nvPr/>
          </p:nvSpPr>
          <p:spPr bwMode="auto">
            <a:xfrm>
              <a:off x="1742" y="800"/>
              <a:ext cx="31" cy="6"/>
            </a:xfrm>
            <a:custGeom>
              <a:avLst/>
              <a:gdLst>
                <a:gd name="T0" fmla="*/ 13 w 31"/>
                <a:gd name="T1" fmla="*/ 1 h 6"/>
                <a:gd name="T2" fmla="*/ 14 w 31"/>
                <a:gd name="T3" fmla="*/ 1 h 6"/>
                <a:gd name="T4" fmla="*/ 15 w 31"/>
                <a:gd name="T5" fmla="*/ 1 h 6"/>
                <a:gd name="T6" fmla="*/ 19 w 31"/>
                <a:gd name="T7" fmla="*/ 1 h 6"/>
                <a:gd name="T8" fmla="*/ 19 w 31"/>
                <a:gd name="T9" fmla="*/ 1 h 6"/>
                <a:gd name="T10" fmla="*/ 21 w 31"/>
                <a:gd name="T11" fmla="*/ 1 h 6"/>
                <a:gd name="T12" fmla="*/ 22 w 31"/>
                <a:gd name="T13" fmla="*/ 1 h 6"/>
                <a:gd name="T14" fmla="*/ 24 w 31"/>
                <a:gd name="T15" fmla="*/ 1 h 6"/>
                <a:gd name="T16" fmla="*/ 26 w 31"/>
                <a:gd name="T17" fmla="*/ 1 h 6"/>
                <a:gd name="T18" fmla="*/ 27 w 31"/>
                <a:gd name="T19" fmla="*/ 1 h 6"/>
                <a:gd name="T20" fmla="*/ 29 w 31"/>
                <a:gd name="T21" fmla="*/ 1 h 6"/>
                <a:gd name="T22" fmla="*/ 31 w 31"/>
                <a:gd name="T23" fmla="*/ 2 h 6"/>
                <a:gd name="T24" fmla="*/ 31 w 31"/>
                <a:gd name="T25" fmla="*/ 2 h 6"/>
                <a:gd name="T26" fmla="*/ 30 w 31"/>
                <a:gd name="T27" fmla="*/ 2 h 6"/>
                <a:gd name="T28" fmla="*/ 27 w 31"/>
                <a:gd name="T29" fmla="*/ 3 h 6"/>
                <a:gd name="T30" fmla="*/ 26 w 31"/>
                <a:gd name="T31" fmla="*/ 3 h 6"/>
                <a:gd name="T32" fmla="*/ 26 w 31"/>
                <a:gd name="T33" fmla="*/ 3 h 6"/>
                <a:gd name="T34" fmla="*/ 26 w 31"/>
                <a:gd name="T35" fmla="*/ 4 h 6"/>
                <a:gd name="T36" fmla="*/ 25 w 31"/>
                <a:gd name="T37" fmla="*/ 4 h 6"/>
                <a:gd name="T38" fmla="*/ 25 w 31"/>
                <a:gd name="T39" fmla="*/ 4 h 6"/>
                <a:gd name="T40" fmla="*/ 24 w 31"/>
                <a:gd name="T41" fmla="*/ 6 h 6"/>
                <a:gd name="T42" fmla="*/ 20 w 31"/>
                <a:gd name="T43" fmla="*/ 6 h 6"/>
                <a:gd name="T44" fmla="*/ 16 w 31"/>
                <a:gd name="T45" fmla="*/ 6 h 6"/>
                <a:gd name="T46" fmla="*/ 15 w 31"/>
                <a:gd name="T47" fmla="*/ 4 h 6"/>
                <a:gd name="T48" fmla="*/ 12 w 31"/>
                <a:gd name="T49" fmla="*/ 6 h 6"/>
                <a:gd name="T50" fmla="*/ 12 w 31"/>
                <a:gd name="T51" fmla="*/ 4 h 6"/>
                <a:gd name="T52" fmla="*/ 9 w 31"/>
                <a:gd name="T53" fmla="*/ 6 h 6"/>
                <a:gd name="T54" fmla="*/ 9 w 31"/>
                <a:gd name="T55" fmla="*/ 6 h 6"/>
                <a:gd name="T56" fmla="*/ 7 w 31"/>
                <a:gd name="T57" fmla="*/ 4 h 6"/>
                <a:gd name="T58" fmla="*/ 3 w 31"/>
                <a:gd name="T59" fmla="*/ 4 h 6"/>
                <a:gd name="T60" fmla="*/ 2 w 31"/>
                <a:gd name="T61" fmla="*/ 4 h 6"/>
                <a:gd name="T62" fmla="*/ 1 w 31"/>
                <a:gd name="T63" fmla="*/ 4 h 6"/>
                <a:gd name="T64" fmla="*/ 0 w 31"/>
                <a:gd name="T65" fmla="*/ 3 h 6"/>
                <a:gd name="T66" fmla="*/ 0 w 31"/>
                <a:gd name="T67" fmla="*/ 3 h 6"/>
                <a:gd name="T68" fmla="*/ 0 w 31"/>
                <a:gd name="T69" fmla="*/ 2 h 6"/>
                <a:gd name="T70" fmla="*/ 0 w 31"/>
                <a:gd name="T71" fmla="*/ 2 h 6"/>
                <a:gd name="T72" fmla="*/ 1 w 31"/>
                <a:gd name="T73" fmla="*/ 2 h 6"/>
                <a:gd name="T74" fmla="*/ 3 w 31"/>
                <a:gd name="T75" fmla="*/ 1 h 6"/>
                <a:gd name="T76" fmla="*/ 7 w 31"/>
                <a:gd name="T77" fmla="*/ 1 h 6"/>
                <a:gd name="T78" fmla="*/ 9 w 31"/>
                <a:gd name="T79" fmla="*/ 0 h 6"/>
                <a:gd name="T80" fmla="*/ 10 w 31"/>
                <a:gd name="T81" fmla="*/ 0 h 6"/>
                <a:gd name="T82" fmla="*/ 10 w 31"/>
                <a:gd name="T83" fmla="*/ 1 h 6"/>
                <a:gd name="T84" fmla="*/ 11 w 31"/>
                <a:gd name="T85" fmla="*/ 1 h 6"/>
                <a:gd name="T86" fmla="*/ 12 w 31"/>
                <a:gd name="T87" fmla="*/ 1 h 6"/>
                <a:gd name="T88" fmla="*/ 13 w 31"/>
                <a:gd name="T8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1" h="6">
                  <a:moveTo>
                    <a:pt x="13" y="1"/>
                  </a:moveTo>
                  <a:lnTo>
                    <a:pt x="14" y="1"/>
                  </a:lnTo>
                  <a:lnTo>
                    <a:pt x="15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21" y="1"/>
                  </a:lnTo>
                  <a:lnTo>
                    <a:pt x="22" y="1"/>
                  </a:lnTo>
                  <a:lnTo>
                    <a:pt x="24" y="1"/>
                  </a:lnTo>
                  <a:lnTo>
                    <a:pt x="26" y="1"/>
                  </a:lnTo>
                  <a:lnTo>
                    <a:pt x="27" y="1"/>
                  </a:lnTo>
                  <a:lnTo>
                    <a:pt x="29" y="1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0" y="2"/>
                  </a:lnTo>
                  <a:lnTo>
                    <a:pt x="27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6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4" y="6"/>
                  </a:lnTo>
                  <a:lnTo>
                    <a:pt x="20" y="6"/>
                  </a:lnTo>
                  <a:lnTo>
                    <a:pt x="16" y="6"/>
                  </a:lnTo>
                  <a:lnTo>
                    <a:pt x="15" y="4"/>
                  </a:lnTo>
                  <a:lnTo>
                    <a:pt x="12" y="6"/>
                  </a:lnTo>
                  <a:lnTo>
                    <a:pt x="12" y="4"/>
                  </a:lnTo>
                  <a:lnTo>
                    <a:pt x="9" y="6"/>
                  </a:lnTo>
                  <a:lnTo>
                    <a:pt x="9" y="6"/>
                  </a:lnTo>
                  <a:lnTo>
                    <a:pt x="7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3" y="1"/>
                  </a:lnTo>
                  <a:lnTo>
                    <a:pt x="7" y="1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54" name="Freeform 1154"/>
            <p:cNvSpPr>
              <a:spLocks/>
            </p:cNvSpPr>
            <p:nvPr/>
          </p:nvSpPr>
          <p:spPr bwMode="auto">
            <a:xfrm>
              <a:off x="1742" y="800"/>
              <a:ext cx="31" cy="6"/>
            </a:xfrm>
            <a:custGeom>
              <a:avLst/>
              <a:gdLst>
                <a:gd name="T0" fmla="*/ 13 w 31"/>
                <a:gd name="T1" fmla="*/ 1 h 6"/>
                <a:gd name="T2" fmla="*/ 14 w 31"/>
                <a:gd name="T3" fmla="*/ 1 h 6"/>
                <a:gd name="T4" fmla="*/ 15 w 31"/>
                <a:gd name="T5" fmla="*/ 1 h 6"/>
                <a:gd name="T6" fmla="*/ 19 w 31"/>
                <a:gd name="T7" fmla="*/ 1 h 6"/>
                <a:gd name="T8" fmla="*/ 19 w 31"/>
                <a:gd name="T9" fmla="*/ 1 h 6"/>
                <a:gd name="T10" fmla="*/ 21 w 31"/>
                <a:gd name="T11" fmla="*/ 1 h 6"/>
                <a:gd name="T12" fmla="*/ 22 w 31"/>
                <a:gd name="T13" fmla="*/ 1 h 6"/>
                <a:gd name="T14" fmla="*/ 24 w 31"/>
                <a:gd name="T15" fmla="*/ 1 h 6"/>
                <a:gd name="T16" fmla="*/ 26 w 31"/>
                <a:gd name="T17" fmla="*/ 1 h 6"/>
                <a:gd name="T18" fmla="*/ 27 w 31"/>
                <a:gd name="T19" fmla="*/ 1 h 6"/>
                <a:gd name="T20" fmla="*/ 29 w 31"/>
                <a:gd name="T21" fmla="*/ 1 h 6"/>
                <a:gd name="T22" fmla="*/ 31 w 31"/>
                <a:gd name="T23" fmla="*/ 2 h 6"/>
                <a:gd name="T24" fmla="*/ 31 w 31"/>
                <a:gd name="T25" fmla="*/ 2 h 6"/>
                <a:gd name="T26" fmla="*/ 30 w 31"/>
                <a:gd name="T27" fmla="*/ 2 h 6"/>
                <a:gd name="T28" fmla="*/ 27 w 31"/>
                <a:gd name="T29" fmla="*/ 3 h 6"/>
                <a:gd name="T30" fmla="*/ 26 w 31"/>
                <a:gd name="T31" fmla="*/ 3 h 6"/>
                <a:gd name="T32" fmla="*/ 26 w 31"/>
                <a:gd name="T33" fmla="*/ 3 h 6"/>
                <a:gd name="T34" fmla="*/ 26 w 31"/>
                <a:gd name="T35" fmla="*/ 4 h 6"/>
                <a:gd name="T36" fmla="*/ 25 w 31"/>
                <a:gd name="T37" fmla="*/ 4 h 6"/>
                <a:gd name="T38" fmla="*/ 25 w 31"/>
                <a:gd name="T39" fmla="*/ 4 h 6"/>
                <a:gd name="T40" fmla="*/ 24 w 31"/>
                <a:gd name="T41" fmla="*/ 6 h 6"/>
                <a:gd name="T42" fmla="*/ 20 w 31"/>
                <a:gd name="T43" fmla="*/ 6 h 6"/>
                <a:gd name="T44" fmla="*/ 16 w 31"/>
                <a:gd name="T45" fmla="*/ 6 h 6"/>
                <a:gd name="T46" fmla="*/ 15 w 31"/>
                <a:gd name="T47" fmla="*/ 4 h 6"/>
                <a:gd name="T48" fmla="*/ 12 w 31"/>
                <a:gd name="T49" fmla="*/ 6 h 6"/>
                <a:gd name="T50" fmla="*/ 12 w 31"/>
                <a:gd name="T51" fmla="*/ 4 h 6"/>
                <a:gd name="T52" fmla="*/ 9 w 31"/>
                <a:gd name="T53" fmla="*/ 6 h 6"/>
                <a:gd name="T54" fmla="*/ 9 w 31"/>
                <a:gd name="T55" fmla="*/ 6 h 6"/>
                <a:gd name="T56" fmla="*/ 7 w 31"/>
                <a:gd name="T57" fmla="*/ 4 h 6"/>
                <a:gd name="T58" fmla="*/ 3 w 31"/>
                <a:gd name="T59" fmla="*/ 4 h 6"/>
                <a:gd name="T60" fmla="*/ 2 w 31"/>
                <a:gd name="T61" fmla="*/ 4 h 6"/>
                <a:gd name="T62" fmla="*/ 1 w 31"/>
                <a:gd name="T63" fmla="*/ 4 h 6"/>
                <a:gd name="T64" fmla="*/ 0 w 31"/>
                <a:gd name="T65" fmla="*/ 3 h 6"/>
                <a:gd name="T66" fmla="*/ 0 w 31"/>
                <a:gd name="T67" fmla="*/ 3 h 6"/>
                <a:gd name="T68" fmla="*/ 0 w 31"/>
                <a:gd name="T69" fmla="*/ 2 h 6"/>
                <a:gd name="T70" fmla="*/ 0 w 31"/>
                <a:gd name="T71" fmla="*/ 2 h 6"/>
                <a:gd name="T72" fmla="*/ 1 w 31"/>
                <a:gd name="T73" fmla="*/ 2 h 6"/>
                <a:gd name="T74" fmla="*/ 3 w 31"/>
                <a:gd name="T75" fmla="*/ 1 h 6"/>
                <a:gd name="T76" fmla="*/ 7 w 31"/>
                <a:gd name="T77" fmla="*/ 1 h 6"/>
                <a:gd name="T78" fmla="*/ 9 w 31"/>
                <a:gd name="T79" fmla="*/ 0 h 6"/>
                <a:gd name="T80" fmla="*/ 10 w 31"/>
                <a:gd name="T81" fmla="*/ 0 h 6"/>
                <a:gd name="T82" fmla="*/ 10 w 31"/>
                <a:gd name="T83" fmla="*/ 1 h 6"/>
                <a:gd name="T84" fmla="*/ 11 w 31"/>
                <a:gd name="T85" fmla="*/ 1 h 6"/>
                <a:gd name="T86" fmla="*/ 12 w 31"/>
                <a:gd name="T87" fmla="*/ 1 h 6"/>
                <a:gd name="T88" fmla="*/ 13 w 31"/>
                <a:gd name="T8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1" h="6">
                  <a:moveTo>
                    <a:pt x="13" y="1"/>
                  </a:moveTo>
                  <a:lnTo>
                    <a:pt x="14" y="1"/>
                  </a:lnTo>
                  <a:lnTo>
                    <a:pt x="15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21" y="1"/>
                  </a:lnTo>
                  <a:lnTo>
                    <a:pt x="22" y="1"/>
                  </a:lnTo>
                  <a:lnTo>
                    <a:pt x="24" y="1"/>
                  </a:lnTo>
                  <a:lnTo>
                    <a:pt x="26" y="1"/>
                  </a:lnTo>
                  <a:lnTo>
                    <a:pt x="27" y="1"/>
                  </a:lnTo>
                  <a:lnTo>
                    <a:pt x="29" y="1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0" y="2"/>
                  </a:lnTo>
                  <a:lnTo>
                    <a:pt x="27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6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4" y="6"/>
                  </a:lnTo>
                  <a:lnTo>
                    <a:pt x="20" y="6"/>
                  </a:lnTo>
                  <a:lnTo>
                    <a:pt x="16" y="6"/>
                  </a:lnTo>
                  <a:lnTo>
                    <a:pt x="15" y="4"/>
                  </a:lnTo>
                  <a:lnTo>
                    <a:pt x="12" y="6"/>
                  </a:lnTo>
                  <a:lnTo>
                    <a:pt x="12" y="4"/>
                  </a:lnTo>
                  <a:lnTo>
                    <a:pt x="9" y="6"/>
                  </a:lnTo>
                  <a:lnTo>
                    <a:pt x="9" y="6"/>
                  </a:lnTo>
                  <a:lnTo>
                    <a:pt x="7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3" y="1"/>
                  </a:lnTo>
                  <a:lnTo>
                    <a:pt x="7" y="1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3" y="1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55" name="Freeform 1155"/>
            <p:cNvSpPr>
              <a:spLocks/>
            </p:cNvSpPr>
            <p:nvPr/>
          </p:nvSpPr>
          <p:spPr bwMode="auto">
            <a:xfrm>
              <a:off x="1720" y="810"/>
              <a:ext cx="164" cy="37"/>
            </a:xfrm>
            <a:custGeom>
              <a:avLst/>
              <a:gdLst>
                <a:gd name="T0" fmla="*/ 8 w 164"/>
                <a:gd name="T1" fmla="*/ 1 h 37"/>
                <a:gd name="T2" fmla="*/ 5 w 164"/>
                <a:gd name="T3" fmla="*/ 2 h 37"/>
                <a:gd name="T4" fmla="*/ 1 w 164"/>
                <a:gd name="T5" fmla="*/ 3 h 37"/>
                <a:gd name="T6" fmla="*/ 5 w 164"/>
                <a:gd name="T7" fmla="*/ 6 h 37"/>
                <a:gd name="T8" fmla="*/ 12 w 164"/>
                <a:gd name="T9" fmla="*/ 12 h 37"/>
                <a:gd name="T10" fmla="*/ 24 w 164"/>
                <a:gd name="T11" fmla="*/ 11 h 37"/>
                <a:gd name="T12" fmla="*/ 31 w 164"/>
                <a:gd name="T13" fmla="*/ 10 h 37"/>
                <a:gd name="T14" fmla="*/ 31 w 164"/>
                <a:gd name="T15" fmla="*/ 16 h 37"/>
                <a:gd name="T16" fmla="*/ 33 w 164"/>
                <a:gd name="T17" fmla="*/ 20 h 37"/>
                <a:gd name="T18" fmla="*/ 22 w 164"/>
                <a:gd name="T19" fmla="*/ 27 h 37"/>
                <a:gd name="T20" fmla="*/ 22 w 164"/>
                <a:gd name="T21" fmla="*/ 32 h 37"/>
                <a:gd name="T22" fmla="*/ 28 w 164"/>
                <a:gd name="T23" fmla="*/ 32 h 37"/>
                <a:gd name="T24" fmla="*/ 34 w 164"/>
                <a:gd name="T25" fmla="*/ 34 h 37"/>
                <a:gd name="T26" fmla="*/ 43 w 164"/>
                <a:gd name="T27" fmla="*/ 36 h 37"/>
                <a:gd name="T28" fmla="*/ 49 w 164"/>
                <a:gd name="T29" fmla="*/ 32 h 37"/>
                <a:gd name="T30" fmla="*/ 56 w 164"/>
                <a:gd name="T31" fmla="*/ 31 h 37"/>
                <a:gd name="T32" fmla="*/ 56 w 164"/>
                <a:gd name="T33" fmla="*/ 37 h 37"/>
                <a:gd name="T34" fmla="*/ 67 w 164"/>
                <a:gd name="T35" fmla="*/ 36 h 37"/>
                <a:gd name="T36" fmla="*/ 75 w 164"/>
                <a:gd name="T37" fmla="*/ 36 h 37"/>
                <a:gd name="T38" fmla="*/ 82 w 164"/>
                <a:gd name="T39" fmla="*/ 36 h 37"/>
                <a:gd name="T40" fmla="*/ 92 w 164"/>
                <a:gd name="T41" fmla="*/ 36 h 37"/>
                <a:gd name="T42" fmla="*/ 95 w 164"/>
                <a:gd name="T43" fmla="*/ 36 h 37"/>
                <a:gd name="T44" fmla="*/ 114 w 164"/>
                <a:gd name="T45" fmla="*/ 30 h 37"/>
                <a:gd name="T46" fmla="*/ 118 w 164"/>
                <a:gd name="T47" fmla="*/ 36 h 37"/>
                <a:gd name="T48" fmla="*/ 130 w 164"/>
                <a:gd name="T49" fmla="*/ 36 h 37"/>
                <a:gd name="T50" fmla="*/ 148 w 164"/>
                <a:gd name="T51" fmla="*/ 32 h 37"/>
                <a:gd name="T52" fmla="*/ 154 w 164"/>
                <a:gd name="T53" fmla="*/ 27 h 37"/>
                <a:gd name="T54" fmla="*/ 163 w 164"/>
                <a:gd name="T55" fmla="*/ 22 h 37"/>
                <a:gd name="T56" fmla="*/ 159 w 164"/>
                <a:gd name="T57" fmla="*/ 20 h 37"/>
                <a:gd name="T58" fmla="*/ 152 w 164"/>
                <a:gd name="T59" fmla="*/ 18 h 37"/>
                <a:gd name="T60" fmla="*/ 127 w 164"/>
                <a:gd name="T61" fmla="*/ 18 h 37"/>
                <a:gd name="T62" fmla="*/ 113 w 164"/>
                <a:gd name="T63" fmla="*/ 19 h 37"/>
                <a:gd name="T64" fmla="*/ 105 w 164"/>
                <a:gd name="T65" fmla="*/ 20 h 37"/>
                <a:gd name="T66" fmla="*/ 99 w 164"/>
                <a:gd name="T67" fmla="*/ 21 h 37"/>
                <a:gd name="T68" fmla="*/ 98 w 164"/>
                <a:gd name="T69" fmla="*/ 23 h 37"/>
                <a:gd name="T70" fmla="*/ 88 w 164"/>
                <a:gd name="T71" fmla="*/ 22 h 37"/>
                <a:gd name="T72" fmla="*/ 76 w 164"/>
                <a:gd name="T73" fmla="*/ 22 h 37"/>
                <a:gd name="T74" fmla="*/ 69 w 164"/>
                <a:gd name="T75" fmla="*/ 22 h 37"/>
                <a:gd name="T76" fmla="*/ 66 w 164"/>
                <a:gd name="T77" fmla="*/ 20 h 37"/>
                <a:gd name="T78" fmla="*/ 59 w 164"/>
                <a:gd name="T79" fmla="*/ 21 h 37"/>
                <a:gd name="T80" fmla="*/ 57 w 164"/>
                <a:gd name="T81" fmla="*/ 20 h 37"/>
                <a:gd name="T82" fmla="*/ 58 w 164"/>
                <a:gd name="T83" fmla="*/ 18 h 37"/>
                <a:gd name="T84" fmla="*/ 55 w 164"/>
                <a:gd name="T85" fmla="*/ 16 h 37"/>
                <a:gd name="T86" fmla="*/ 48 w 164"/>
                <a:gd name="T87" fmla="*/ 17 h 37"/>
                <a:gd name="T88" fmla="*/ 56 w 164"/>
                <a:gd name="T89" fmla="*/ 14 h 37"/>
                <a:gd name="T90" fmla="*/ 51 w 164"/>
                <a:gd name="T91" fmla="*/ 13 h 37"/>
                <a:gd name="T92" fmla="*/ 48 w 164"/>
                <a:gd name="T93" fmla="*/ 11 h 37"/>
                <a:gd name="T94" fmla="*/ 56 w 164"/>
                <a:gd name="T95" fmla="*/ 13 h 37"/>
                <a:gd name="T96" fmla="*/ 73 w 164"/>
                <a:gd name="T97" fmla="*/ 11 h 37"/>
                <a:gd name="T98" fmla="*/ 59 w 164"/>
                <a:gd name="T99" fmla="*/ 10 h 37"/>
                <a:gd name="T100" fmla="*/ 57 w 164"/>
                <a:gd name="T101" fmla="*/ 8 h 37"/>
                <a:gd name="T102" fmla="*/ 63 w 164"/>
                <a:gd name="T103" fmla="*/ 8 h 37"/>
                <a:gd name="T104" fmla="*/ 54 w 164"/>
                <a:gd name="T105" fmla="*/ 4 h 37"/>
                <a:gd name="T106" fmla="*/ 41 w 164"/>
                <a:gd name="T107" fmla="*/ 7 h 37"/>
                <a:gd name="T108" fmla="*/ 33 w 164"/>
                <a:gd name="T109" fmla="*/ 7 h 37"/>
                <a:gd name="T110" fmla="*/ 36 w 164"/>
                <a:gd name="T111" fmla="*/ 1 h 37"/>
                <a:gd name="T112" fmla="*/ 25 w 164"/>
                <a:gd name="T1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4" h="37">
                  <a:moveTo>
                    <a:pt x="25" y="0"/>
                  </a:moveTo>
                  <a:lnTo>
                    <a:pt x="23" y="0"/>
                  </a:lnTo>
                  <a:lnTo>
                    <a:pt x="19" y="0"/>
                  </a:lnTo>
                  <a:lnTo>
                    <a:pt x="16" y="0"/>
                  </a:lnTo>
                  <a:lnTo>
                    <a:pt x="8" y="0"/>
                  </a:lnTo>
                  <a:lnTo>
                    <a:pt x="8" y="1"/>
                  </a:lnTo>
                  <a:lnTo>
                    <a:pt x="6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5" y="2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4"/>
                  </a:lnTo>
                  <a:lnTo>
                    <a:pt x="4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0" y="4"/>
                  </a:lnTo>
                  <a:lnTo>
                    <a:pt x="0" y="4"/>
                  </a:lnTo>
                  <a:lnTo>
                    <a:pt x="3" y="4"/>
                  </a:lnTo>
                  <a:lnTo>
                    <a:pt x="3" y="6"/>
                  </a:lnTo>
                  <a:lnTo>
                    <a:pt x="4" y="6"/>
                  </a:lnTo>
                  <a:lnTo>
                    <a:pt x="5" y="6"/>
                  </a:lnTo>
                  <a:lnTo>
                    <a:pt x="5" y="7"/>
                  </a:lnTo>
                  <a:lnTo>
                    <a:pt x="6" y="7"/>
                  </a:lnTo>
                  <a:lnTo>
                    <a:pt x="7" y="9"/>
                  </a:lnTo>
                  <a:lnTo>
                    <a:pt x="11" y="9"/>
                  </a:lnTo>
                  <a:lnTo>
                    <a:pt x="12" y="10"/>
                  </a:lnTo>
                  <a:lnTo>
                    <a:pt x="12" y="12"/>
                  </a:lnTo>
                  <a:lnTo>
                    <a:pt x="13" y="11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24" y="11"/>
                  </a:lnTo>
                  <a:lnTo>
                    <a:pt x="23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7" y="11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31" y="10"/>
                  </a:lnTo>
                  <a:lnTo>
                    <a:pt x="32" y="10"/>
                  </a:lnTo>
                  <a:lnTo>
                    <a:pt x="32" y="11"/>
                  </a:lnTo>
                  <a:lnTo>
                    <a:pt x="32" y="12"/>
                  </a:lnTo>
                  <a:lnTo>
                    <a:pt x="33" y="13"/>
                  </a:lnTo>
                  <a:lnTo>
                    <a:pt x="32" y="14"/>
                  </a:lnTo>
                  <a:lnTo>
                    <a:pt x="31" y="16"/>
                  </a:lnTo>
                  <a:lnTo>
                    <a:pt x="32" y="16"/>
                  </a:lnTo>
                  <a:lnTo>
                    <a:pt x="33" y="17"/>
                  </a:lnTo>
                  <a:lnTo>
                    <a:pt x="34" y="18"/>
                  </a:lnTo>
                  <a:lnTo>
                    <a:pt x="33" y="19"/>
                  </a:lnTo>
                  <a:lnTo>
                    <a:pt x="32" y="20"/>
                  </a:lnTo>
                  <a:lnTo>
                    <a:pt x="33" y="20"/>
                  </a:lnTo>
                  <a:lnTo>
                    <a:pt x="29" y="21"/>
                  </a:lnTo>
                  <a:lnTo>
                    <a:pt x="24" y="23"/>
                  </a:lnTo>
                  <a:lnTo>
                    <a:pt x="25" y="23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2" y="27"/>
                  </a:lnTo>
                  <a:lnTo>
                    <a:pt x="26" y="27"/>
                  </a:lnTo>
                  <a:lnTo>
                    <a:pt x="24" y="28"/>
                  </a:lnTo>
                  <a:lnTo>
                    <a:pt x="22" y="29"/>
                  </a:lnTo>
                  <a:lnTo>
                    <a:pt x="21" y="31"/>
                  </a:lnTo>
                  <a:lnTo>
                    <a:pt x="19" y="31"/>
                  </a:lnTo>
                  <a:lnTo>
                    <a:pt x="22" y="32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3" y="34"/>
                  </a:lnTo>
                  <a:lnTo>
                    <a:pt x="27" y="33"/>
                  </a:lnTo>
                  <a:lnTo>
                    <a:pt x="28" y="32"/>
                  </a:lnTo>
                  <a:lnTo>
                    <a:pt x="29" y="32"/>
                  </a:lnTo>
                  <a:lnTo>
                    <a:pt x="34" y="31"/>
                  </a:lnTo>
                  <a:lnTo>
                    <a:pt x="31" y="32"/>
                  </a:lnTo>
                  <a:lnTo>
                    <a:pt x="33" y="34"/>
                  </a:lnTo>
                  <a:lnTo>
                    <a:pt x="34" y="32"/>
                  </a:lnTo>
                  <a:lnTo>
                    <a:pt x="34" y="34"/>
                  </a:lnTo>
                  <a:lnTo>
                    <a:pt x="36" y="34"/>
                  </a:lnTo>
                  <a:lnTo>
                    <a:pt x="35" y="34"/>
                  </a:lnTo>
                  <a:lnTo>
                    <a:pt x="37" y="36"/>
                  </a:lnTo>
                  <a:lnTo>
                    <a:pt x="38" y="34"/>
                  </a:lnTo>
                  <a:lnTo>
                    <a:pt x="38" y="36"/>
                  </a:lnTo>
                  <a:lnTo>
                    <a:pt x="43" y="36"/>
                  </a:lnTo>
                  <a:lnTo>
                    <a:pt x="48" y="34"/>
                  </a:lnTo>
                  <a:lnTo>
                    <a:pt x="48" y="33"/>
                  </a:lnTo>
                  <a:lnTo>
                    <a:pt x="47" y="33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9" y="32"/>
                  </a:lnTo>
                  <a:lnTo>
                    <a:pt x="51" y="32"/>
                  </a:lnTo>
                  <a:lnTo>
                    <a:pt x="52" y="31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5" y="32"/>
                  </a:lnTo>
                  <a:lnTo>
                    <a:pt x="56" y="31"/>
                  </a:lnTo>
                  <a:lnTo>
                    <a:pt x="57" y="31"/>
                  </a:lnTo>
                  <a:lnTo>
                    <a:pt x="58" y="32"/>
                  </a:lnTo>
                  <a:lnTo>
                    <a:pt x="57" y="32"/>
                  </a:lnTo>
                  <a:lnTo>
                    <a:pt x="56" y="34"/>
                  </a:lnTo>
                  <a:lnTo>
                    <a:pt x="54" y="36"/>
                  </a:lnTo>
                  <a:lnTo>
                    <a:pt x="56" y="37"/>
                  </a:lnTo>
                  <a:lnTo>
                    <a:pt x="58" y="36"/>
                  </a:lnTo>
                  <a:lnTo>
                    <a:pt x="61" y="37"/>
                  </a:lnTo>
                  <a:lnTo>
                    <a:pt x="62" y="36"/>
                  </a:lnTo>
                  <a:lnTo>
                    <a:pt x="62" y="37"/>
                  </a:lnTo>
                  <a:lnTo>
                    <a:pt x="66" y="37"/>
                  </a:lnTo>
                  <a:lnTo>
                    <a:pt x="67" y="36"/>
                  </a:lnTo>
                  <a:lnTo>
                    <a:pt x="69" y="36"/>
                  </a:lnTo>
                  <a:lnTo>
                    <a:pt x="68" y="37"/>
                  </a:lnTo>
                  <a:lnTo>
                    <a:pt x="69" y="37"/>
                  </a:lnTo>
                  <a:lnTo>
                    <a:pt x="74" y="37"/>
                  </a:lnTo>
                  <a:lnTo>
                    <a:pt x="75" y="36"/>
                  </a:lnTo>
                  <a:lnTo>
                    <a:pt x="75" y="36"/>
                  </a:lnTo>
                  <a:lnTo>
                    <a:pt x="75" y="34"/>
                  </a:lnTo>
                  <a:lnTo>
                    <a:pt x="75" y="36"/>
                  </a:lnTo>
                  <a:lnTo>
                    <a:pt x="77" y="37"/>
                  </a:lnTo>
                  <a:lnTo>
                    <a:pt x="79" y="36"/>
                  </a:lnTo>
                  <a:lnTo>
                    <a:pt x="81" y="34"/>
                  </a:lnTo>
                  <a:lnTo>
                    <a:pt x="82" y="36"/>
                  </a:lnTo>
                  <a:lnTo>
                    <a:pt x="82" y="37"/>
                  </a:lnTo>
                  <a:lnTo>
                    <a:pt x="86" y="37"/>
                  </a:lnTo>
                  <a:lnTo>
                    <a:pt x="88" y="36"/>
                  </a:lnTo>
                  <a:lnTo>
                    <a:pt x="89" y="33"/>
                  </a:lnTo>
                  <a:lnTo>
                    <a:pt x="90" y="36"/>
                  </a:lnTo>
                  <a:lnTo>
                    <a:pt x="92" y="36"/>
                  </a:lnTo>
                  <a:lnTo>
                    <a:pt x="93" y="36"/>
                  </a:lnTo>
                  <a:lnTo>
                    <a:pt x="95" y="34"/>
                  </a:lnTo>
                  <a:lnTo>
                    <a:pt x="95" y="33"/>
                  </a:lnTo>
                  <a:lnTo>
                    <a:pt x="96" y="33"/>
                  </a:lnTo>
                  <a:lnTo>
                    <a:pt x="95" y="34"/>
                  </a:lnTo>
                  <a:lnTo>
                    <a:pt x="95" y="36"/>
                  </a:lnTo>
                  <a:lnTo>
                    <a:pt x="99" y="36"/>
                  </a:lnTo>
                  <a:lnTo>
                    <a:pt x="110" y="34"/>
                  </a:lnTo>
                  <a:lnTo>
                    <a:pt x="116" y="32"/>
                  </a:lnTo>
                  <a:lnTo>
                    <a:pt x="114" y="31"/>
                  </a:lnTo>
                  <a:lnTo>
                    <a:pt x="114" y="30"/>
                  </a:lnTo>
                  <a:lnTo>
                    <a:pt x="114" y="30"/>
                  </a:lnTo>
                  <a:lnTo>
                    <a:pt x="116" y="30"/>
                  </a:lnTo>
                  <a:lnTo>
                    <a:pt x="116" y="31"/>
                  </a:lnTo>
                  <a:lnTo>
                    <a:pt x="118" y="31"/>
                  </a:lnTo>
                  <a:lnTo>
                    <a:pt x="118" y="32"/>
                  </a:lnTo>
                  <a:lnTo>
                    <a:pt x="116" y="34"/>
                  </a:lnTo>
                  <a:lnTo>
                    <a:pt x="118" y="36"/>
                  </a:lnTo>
                  <a:lnTo>
                    <a:pt x="120" y="36"/>
                  </a:lnTo>
                  <a:lnTo>
                    <a:pt x="122" y="34"/>
                  </a:lnTo>
                  <a:lnTo>
                    <a:pt x="123" y="36"/>
                  </a:lnTo>
                  <a:lnTo>
                    <a:pt x="125" y="37"/>
                  </a:lnTo>
                  <a:lnTo>
                    <a:pt x="127" y="37"/>
                  </a:lnTo>
                  <a:lnTo>
                    <a:pt x="130" y="36"/>
                  </a:lnTo>
                  <a:lnTo>
                    <a:pt x="136" y="34"/>
                  </a:lnTo>
                  <a:lnTo>
                    <a:pt x="143" y="34"/>
                  </a:lnTo>
                  <a:lnTo>
                    <a:pt x="145" y="34"/>
                  </a:lnTo>
                  <a:lnTo>
                    <a:pt x="147" y="34"/>
                  </a:lnTo>
                  <a:lnTo>
                    <a:pt x="149" y="32"/>
                  </a:lnTo>
                  <a:lnTo>
                    <a:pt x="148" y="32"/>
                  </a:lnTo>
                  <a:lnTo>
                    <a:pt x="149" y="31"/>
                  </a:lnTo>
                  <a:lnTo>
                    <a:pt x="149" y="31"/>
                  </a:lnTo>
                  <a:lnTo>
                    <a:pt x="147" y="30"/>
                  </a:lnTo>
                  <a:lnTo>
                    <a:pt x="149" y="28"/>
                  </a:lnTo>
                  <a:lnTo>
                    <a:pt x="152" y="28"/>
                  </a:lnTo>
                  <a:lnTo>
                    <a:pt x="154" y="27"/>
                  </a:lnTo>
                  <a:lnTo>
                    <a:pt x="156" y="27"/>
                  </a:lnTo>
                  <a:lnTo>
                    <a:pt x="158" y="26"/>
                  </a:lnTo>
                  <a:lnTo>
                    <a:pt x="162" y="24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3" y="22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58" y="21"/>
                  </a:lnTo>
                  <a:lnTo>
                    <a:pt x="156" y="21"/>
                  </a:lnTo>
                  <a:lnTo>
                    <a:pt x="159" y="21"/>
                  </a:lnTo>
                  <a:lnTo>
                    <a:pt x="159" y="20"/>
                  </a:lnTo>
                  <a:lnTo>
                    <a:pt x="159" y="20"/>
                  </a:lnTo>
                  <a:lnTo>
                    <a:pt x="156" y="19"/>
                  </a:lnTo>
                  <a:lnTo>
                    <a:pt x="154" y="19"/>
                  </a:lnTo>
                  <a:lnTo>
                    <a:pt x="150" y="19"/>
                  </a:lnTo>
                  <a:lnTo>
                    <a:pt x="152" y="18"/>
                  </a:lnTo>
                  <a:lnTo>
                    <a:pt x="152" y="18"/>
                  </a:lnTo>
                  <a:lnTo>
                    <a:pt x="150" y="18"/>
                  </a:lnTo>
                  <a:lnTo>
                    <a:pt x="140" y="17"/>
                  </a:lnTo>
                  <a:lnTo>
                    <a:pt x="136" y="17"/>
                  </a:lnTo>
                  <a:lnTo>
                    <a:pt x="130" y="18"/>
                  </a:lnTo>
                  <a:lnTo>
                    <a:pt x="128" y="18"/>
                  </a:lnTo>
                  <a:lnTo>
                    <a:pt x="127" y="18"/>
                  </a:lnTo>
                  <a:lnTo>
                    <a:pt x="126" y="18"/>
                  </a:lnTo>
                  <a:lnTo>
                    <a:pt x="125" y="17"/>
                  </a:lnTo>
                  <a:lnTo>
                    <a:pt x="123" y="17"/>
                  </a:lnTo>
                  <a:lnTo>
                    <a:pt x="120" y="18"/>
                  </a:lnTo>
                  <a:lnTo>
                    <a:pt x="114" y="19"/>
                  </a:lnTo>
                  <a:lnTo>
                    <a:pt x="113" y="19"/>
                  </a:lnTo>
                  <a:lnTo>
                    <a:pt x="113" y="20"/>
                  </a:lnTo>
                  <a:lnTo>
                    <a:pt x="113" y="20"/>
                  </a:lnTo>
                  <a:lnTo>
                    <a:pt x="109" y="19"/>
                  </a:lnTo>
                  <a:lnTo>
                    <a:pt x="107" y="20"/>
                  </a:lnTo>
                  <a:lnTo>
                    <a:pt x="105" y="20"/>
                  </a:lnTo>
                  <a:lnTo>
                    <a:pt x="105" y="20"/>
                  </a:lnTo>
                  <a:lnTo>
                    <a:pt x="105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2" y="21"/>
                  </a:lnTo>
                  <a:lnTo>
                    <a:pt x="102" y="20"/>
                  </a:lnTo>
                  <a:lnTo>
                    <a:pt x="99" y="21"/>
                  </a:lnTo>
                  <a:lnTo>
                    <a:pt x="97" y="21"/>
                  </a:lnTo>
                  <a:lnTo>
                    <a:pt x="94" y="21"/>
                  </a:lnTo>
                  <a:lnTo>
                    <a:pt x="94" y="22"/>
                  </a:lnTo>
                  <a:lnTo>
                    <a:pt x="95" y="22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6" y="23"/>
                  </a:lnTo>
                  <a:lnTo>
                    <a:pt x="92" y="23"/>
                  </a:lnTo>
                  <a:lnTo>
                    <a:pt x="85" y="24"/>
                  </a:lnTo>
                  <a:lnTo>
                    <a:pt x="85" y="23"/>
                  </a:lnTo>
                  <a:lnTo>
                    <a:pt x="88" y="23"/>
                  </a:lnTo>
                  <a:lnTo>
                    <a:pt x="88" y="22"/>
                  </a:lnTo>
                  <a:lnTo>
                    <a:pt x="84" y="22"/>
                  </a:lnTo>
                  <a:lnTo>
                    <a:pt x="84" y="21"/>
                  </a:lnTo>
                  <a:lnTo>
                    <a:pt x="81" y="20"/>
                  </a:lnTo>
                  <a:lnTo>
                    <a:pt x="78" y="21"/>
                  </a:lnTo>
                  <a:lnTo>
                    <a:pt x="77" y="22"/>
                  </a:lnTo>
                  <a:lnTo>
                    <a:pt x="76" y="22"/>
                  </a:lnTo>
                  <a:lnTo>
                    <a:pt x="77" y="21"/>
                  </a:lnTo>
                  <a:lnTo>
                    <a:pt x="76" y="21"/>
                  </a:lnTo>
                  <a:lnTo>
                    <a:pt x="74" y="21"/>
                  </a:lnTo>
                  <a:lnTo>
                    <a:pt x="73" y="22"/>
                  </a:lnTo>
                  <a:lnTo>
                    <a:pt x="72" y="22"/>
                  </a:lnTo>
                  <a:lnTo>
                    <a:pt x="69" y="22"/>
                  </a:lnTo>
                  <a:lnTo>
                    <a:pt x="72" y="22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1" y="20"/>
                  </a:lnTo>
                  <a:lnTo>
                    <a:pt x="68" y="20"/>
                  </a:lnTo>
                  <a:lnTo>
                    <a:pt x="66" y="20"/>
                  </a:lnTo>
                  <a:lnTo>
                    <a:pt x="65" y="21"/>
                  </a:lnTo>
                  <a:lnTo>
                    <a:pt x="64" y="22"/>
                  </a:lnTo>
                  <a:lnTo>
                    <a:pt x="62" y="23"/>
                  </a:lnTo>
                  <a:lnTo>
                    <a:pt x="62" y="22"/>
                  </a:lnTo>
                  <a:lnTo>
                    <a:pt x="63" y="21"/>
                  </a:lnTo>
                  <a:lnTo>
                    <a:pt x="59" y="21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8" y="21"/>
                  </a:lnTo>
                  <a:lnTo>
                    <a:pt x="56" y="21"/>
                  </a:lnTo>
                  <a:lnTo>
                    <a:pt x="57" y="20"/>
                  </a:lnTo>
                  <a:lnTo>
                    <a:pt x="61" y="20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1" y="18"/>
                  </a:lnTo>
                  <a:lnTo>
                    <a:pt x="58" y="18"/>
                  </a:lnTo>
                  <a:lnTo>
                    <a:pt x="61" y="17"/>
                  </a:lnTo>
                  <a:lnTo>
                    <a:pt x="59" y="16"/>
                  </a:lnTo>
                  <a:lnTo>
                    <a:pt x="58" y="16"/>
                  </a:lnTo>
                  <a:lnTo>
                    <a:pt x="57" y="17"/>
                  </a:lnTo>
                  <a:lnTo>
                    <a:pt x="56" y="17"/>
                  </a:lnTo>
                  <a:lnTo>
                    <a:pt x="55" y="16"/>
                  </a:lnTo>
                  <a:lnTo>
                    <a:pt x="53" y="17"/>
                  </a:lnTo>
                  <a:lnTo>
                    <a:pt x="54" y="16"/>
                  </a:lnTo>
                  <a:lnTo>
                    <a:pt x="52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48" y="17"/>
                  </a:lnTo>
                  <a:lnTo>
                    <a:pt x="43" y="18"/>
                  </a:lnTo>
                  <a:lnTo>
                    <a:pt x="45" y="17"/>
                  </a:lnTo>
                  <a:lnTo>
                    <a:pt x="47" y="17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56" y="14"/>
                  </a:lnTo>
                  <a:lnTo>
                    <a:pt x="54" y="14"/>
                  </a:lnTo>
                  <a:lnTo>
                    <a:pt x="52" y="14"/>
                  </a:lnTo>
                  <a:lnTo>
                    <a:pt x="51" y="14"/>
                  </a:lnTo>
                  <a:lnTo>
                    <a:pt x="52" y="14"/>
                  </a:lnTo>
                  <a:lnTo>
                    <a:pt x="52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48" y="13"/>
                  </a:lnTo>
                  <a:lnTo>
                    <a:pt x="45" y="13"/>
                  </a:lnTo>
                  <a:lnTo>
                    <a:pt x="48" y="12"/>
                  </a:lnTo>
                  <a:lnTo>
                    <a:pt x="47" y="12"/>
                  </a:lnTo>
                  <a:lnTo>
                    <a:pt x="48" y="11"/>
                  </a:lnTo>
                  <a:lnTo>
                    <a:pt x="49" y="12"/>
                  </a:lnTo>
                  <a:lnTo>
                    <a:pt x="53" y="13"/>
                  </a:lnTo>
                  <a:lnTo>
                    <a:pt x="54" y="12"/>
                  </a:lnTo>
                  <a:lnTo>
                    <a:pt x="56" y="13"/>
                  </a:lnTo>
                  <a:lnTo>
                    <a:pt x="57" y="13"/>
                  </a:lnTo>
                  <a:lnTo>
                    <a:pt x="56" y="13"/>
                  </a:lnTo>
                  <a:lnTo>
                    <a:pt x="58" y="13"/>
                  </a:lnTo>
                  <a:lnTo>
                    <a:pt x="64" y="13"/>
                  </a:lnTo>
                  <a:lnTo>
                    <a:pt x="66" y="13"/>
                  </a:lnTo>
                  <a:lnTo>
                    <a:pt x="71" y="12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69" y="11"/>
                  </a:lnTo>
                  <a:lnTo>
                    <a:pt x="66" y="11"/>
                  </a:lnTo>
                  <a:lnTo>
                    <a:pt x="62" y="10"/>
                  </a:lnTo>
                  <a:lnTo>
                    <a:pt x="61" y="10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6" y="9"/>
                  </a:lnTo>
                  <a:lnTo>
                    <a:pt x="52" y="9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9" y="9"/>
                  </a:lnTo>
                  <a:lnTo>
                    <a:pt x="61" y="9"/>
                  </a:lnTo>
                  <a:lnTo>
                    <a:pt x="63" y="9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7"/>
                  </a:lnTo>
                  <a:lnTo>
                    <a:pt x="58" y="6"/>
                  </a:lnTo>
                  <a:lnTo>
                    <a:pt x="57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4" y="4"/>
                  </a:lnTo>
                  <a:lnTo>
                    <a:pt x="54" y="6"/>
                  </a:lnTo>
                  <a:lnTo>
                    <a:pt x="49" y="6"/>
                  </a:lnTo>
                  <a:lnTo>
                    <a:pt x="47" y="7"/>
                  </a:lnTo>
                  <a:lnTo>
                    <a:pt x="44" y="7"/>
                  </a:lnTo>
                  <a:lnTo>
                    <a:pt x="43" y="7"/>
                  </a:lnTo>
                  <a:lnTo>
                    <a:pt x="41" y="7"/>
                  </a:lnTo>
                  <a:lnTo>
                    <a:pt x="37" y="7"/>
                  </a:lnTo>
                  <a:lnTo>
                    <a:pt x="32" y="8"/>
                  </a:lnTo>
                  <a:lnTo>
                    <a:pt x="28" y="9"/>
                  </a:lnTo>
                  <a:lnTo>
                    <a:pt x="29" y="9"/>
                  </a:lnTo>
                  <a:lnTo>
                    <a:pt x="29" y="8"/>
                  </a:lnTo>
                  <a:lnTo>
                    <a:pt x="33" y="7"/>
                  </a:lnTo>
                  <a:lnTo>
                    <a:pt x="34" y="6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7" y="3"/>
                  </a:lnTo>
                  <a:lnTo>
                    <a:pt x="36" y="3"/>
                  </a:lnTo>
                  <a:lnTo>
                    <a:pt x="36" y="1"/>
                  </a:lnTo>
                  <a:lnTo>
                    <a:pt x="34" y="2"/>
                  </a:lnTo>
                  <a:lnTo>
                    <a:pt x="33" y="1"/>
                  </a:lnTo>
                  <a:lnTo>
                    <a:pt x="32" y="2"/>
                  </a:lnTo>
                  <a:lnTo>
                    <a:pt x="28" y="2"/>
                  </a:lnTo>
                  <a:lnTo>
                    <a:pt x="28" y="1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56" name="Freeform 1156"/>
            <p:cNvSpPr>
              <a:spLocks/>
            </p:cNvSpPr>
            <p:nvPr/>
          </p:nvSpPr>
          <p:spPr bwMode="auto">
            <a:xfrm>
              <a:off x="1720" y="810"/>
              <a:ext cx="164" cy="37"/>
            </a:xfrm>
            <a:custGeom>
              <a:avLst/>
              <a:gdLst>
                <a:gd name="T0" fmla="*/ 8 w 164"/>
                <a:gd name="T1" fmla="*/ 1 h 37"/>
                <a:gd name="T2" fmla="*/ 5 w 164"/>
                <a:gd name="T3" fmla="*/ 2 h 37"/>
                <a:gd name="T4" fmla="*/ 1 w 164"/>
                <a:gd name="T5" fmla="*/ 3 h 37"/>
                <a:gd name="T6" fmla="*/ 5 w 164"/>
                <a:gd name="T7" fmla="*/ 6 h 37"/>
                <a:gd name="T8" fmla="*/ 12 w 164"/>
                <a:gd name="T9" fmla="*/ 12 h 37"/>
                <a:gd name="T10" fmla="*/ 24 w 164"/>
                <a:gd name="T11" fmla="*/ 11 h 37"/>
                <a:gd name="T12" fmla="*/ 31 w 164"/>
                <a:gd name="T13" fmla="*/ 10 h 37"/>
                <a:gd name="T14" fmla="*/ 31 w 164"/>
                <a:gd name="T15" fmla="*/ 16 h 37"/>
                <a:gd name="T16" fmla="*/ 33 w 164"/>
                <a:gd name="T17" fmla="*/ 20 h 37"/>
                <a:gd name="T18" fmla="*/ 22 w 164"/>
                <a:gd name="T19" fmla="*/ 27 h 37"/>
                <a:gd name="T20" fmla="*/ 22 w 164"/>
                <a:gd name="T21" fmla="*/ 32 h 37"/>
                <a:gd name="T22" fmla="*/ 28 w 164"/>
                <a:gd name="T23" fmla="*/ 32 h 37"/>
                <a:gd name="T24" fmla="*/ 34 w 164"/>
                <a:gd name="T25" fmla="*/ 34 h 37"/>
                <a:gd name="T26" fmla="*/ 43 w 164"/>
                <a:gd name="T27" fmla="*/ 36 h 37"/>
                <a:gd name="T28" fmla="*/ 49 w 164"/>
                <a:gd name="T29" fmla="*/ 32 h 37"/>
                <a:gd name="T30" fmla="*/ 56 w 164"/>
                <a:gd name="T31" fmla="*/ 31 h 37"/>
                <a:gd name="T32" fmla="*/ 56 w 164"/>
                <a:gd name="T33" fmla="*/ 37 h 37"/>
                <a:gd name="T34" fmla="*/ 67 w 164"/>
                <a:gd name="T35" fmla="*/ 36 h 37"/>
                <a:gd name="T36" fmla="*/ 75 w 164"/>
                <a:gd name="T37" fmla="*/ 36 h 37"/>
                <a:gd name="T38" fmla="*/ 82 w 164"/>
                <a:gd name="T39" fmla="*/ 36 h 37"/>
                <a:gd name="T40" fmla="*/ 92 w 164"/>
                <a:gd name="T41" fmla="*/ 36 h 37"/>
                <a:gd name="T42" fmla="*/ 95 w 164"/>
                <a:gd name="T43" fmla="*/ 36 h 37"/>
                <a:gd name="T44" fmla="*/ 114 w 164"/>
                <a:gd name="T45" fmla="*/ 30 h 37"/>
                <a:gd name="T46" fmla="*/ 118 w 164"/>
                <a:gd name="T47" fmla="*/ 36 h 37"/>
                <a:gd name="T48" fmla="*/ 130 w 164"/>
                <a:gd name="T49" fmla="*/ 36 h 37"/>
                <a:gd name="T50" fmla="*/ 148 w 164"/>
                <a:gd name="T51" fmla="*/ 32 h 37"/>
                <a:gd name="T52" fmla="*/ 154 w 164"/>
                <a:gd name="T53" fmla="*/ 27 h 37"/>
                <a:gd name="T54" fmla="*/ 163 w 164"/>
                <a:gd name="T55" fmla="*/ 22 h 37"/>
                <a:gd name="T56" fmla="*/ 159 w 164"/>
                <a:gd name="T57" fmla="*/ 20 h 37"/>
                <a:gd name="T58" fmla="*/ 152 w 164"/>
                <a:gd name="T59" fmla="*/ 18 h 37"/>
                <a:gd name="T60" fmla="*/ 127 w 164"/>
                <a:gd name="T61" fmla="*/ 18 h 37"/>
                <a:gd name="T62" fmla="*/ 113 w 164"/>
                <a:gd name="T63" fmla="*/ 19 h 37"/>
                <a:gd name="T64" fmla="*/ 105 w 164"/>
                <a:gd name="T65" fmla="*/ 20 h 37"/>
                <a:gd name="T66" fmla="*/ 99 w 164"/>
                <a:gd name="T67" fmla="*/ 21 h 37"/>
                <a:gd name="T68" fmla="*/ 98 w 164"/>
                <a:gd name="T69" fmla="*/ 23 h 37"/>
                <a:gd name="T70" fmla="*/ 88 w 164"/>
                <a:gd name="T71" fmla="*/ 22 h 37"/>
                <a:gd name="T72" fmla="*/ 76 w 164"/>
                <a:gd name="T73" fmla="*/ 22 h 37"/>
                <a:gd name="T74" fmla="*/ 69 w 164"/>
                <a:gd name="T75" fmla="*/ 22 h 37"/>
                <a:gd name="T76" fmla="*/ 66 w 164"/>
                <a:gd name="T77" fmla="*/ 20 h 37"/>
                <a:gd name="T78" fmla="*/ 59 w 164"/>
                <a:gd name="T79" fmla="*/ 21 h 37"/>
                <a:gd name="T80" fmla="*/ 57 w 164"/>
                <a:gd name="T81" fmla="*/ 20 h 37"/>
                <a:gd name="T82" fmla="*/ 58 w 164"/>
                <a:gd name="T83" fmla="*/ 18 h 37"/>
                <a:gd name="T84" fmla="*/ 55 w 164"/>
                <a:gd name="T85" fmla="*/ 16 h 37"/>
                <a:gd name="T86" fmla="*/ 48 w 164"/>
                <a:gd name="T87" fmla="*/ 17 h 37"/>
                <a:gd name="T88" fmla="*/ 56 w 164"/>
                <a:gd name="T89" fmla="*/ 14 h 37"/>
                <a:gd name="T90" fmla="*/ 51 w 164"/>
                <a:gd name="T91" fmla="*/ 13 h 37"/>
                <a:gd name="T92" fmla="*/ 48 w 164"/>
                <a:gd name="T93" fmla="*/ 11 h 37"/>
                <a:gd name="T94" fmla="*/ 56 w 164"/>
                <a:gd name="T95" fmla="*/ 13 h 37"/>
                <a:gd name="T96" fmla="*/ 73 w 164"/>
                <a:gd name="T97" fmla="*/ 11 h 37"/>
                <a:gd name="T98" fmla="*/ 59 w 164"/>
                <a:gd name="T99" fmla="*/ 10 h 37"/>
                <a:gd name="T100" fmla="*/ 57 w 164"/>
                <a:gd name="T101" fmla="*/ 8 h 37"/>
                <a:gd name="T102" fmla="*/ 63 w 164"/>
                <a:gd name="T103" fmla="*/ 8 h 37"/>
                <a:gd name="T104" fmla="*/ 54 w 164"/>
                <a:gd name="T105" fmla="*/ 4 h 37"/>
                <a:gd name="T106" fmla="*/ 41 w 164"/>
                <a:gd name="T107" fmla="*/ 7 h 37"/>
                <a:gd name="T108" fmla="*/ 33 w 164"/>
                <a:gd name="T109" fmla="*/ 7 h 37"/>
                <a:gd name="T110" fmla="*/ 36 w 164"/>
                <a:gd name="T111" fmla="*/ 1 h 37"/>
                <a:gd name="T112" fmla="*/ 25 w 164"/>
                <a:gd name="T113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4" h="37">
                  <a:moveTo>
                    <a:pt x="25" y="0"/>
                  </a:moveTo>
                  <a:lnTo>
                    <a:pt x="23" y="0"/>
                  </a:lnTo>
                  <a:lnTo>
                    <a:pt x="19" y="0"/>
                  </a:lnTo>
                  <a:lnTo>
                    <a:pt x="16" y="0"/>
                  </a:lnTo>
                  <a:lnTo>
                    <a:pt x="8" y="0"/>
                  </a:lnTo>
                  <a:lnTo>
                    <a:pt x="8" y="1"/>
                  </a:lnTo>
                  <a:lnTo>
                    <a:pt x="6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5" y="2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4"/>
                  </a:lnTo>
                  <a:lnTo>
                    <a:pt x="4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0" y="4"/>
                  </a:lnTo>
                  <a:lnTo>
                    <a:pt x="0" y="4"/>
                  </a:lnTo>
                  <a:lnTo>
                    <a:pt x="3" y="4"/>
                  </a:lnTo>
                  <a:lnTo>
                    <a:pt x="3" y="6"/>
                  </a:lnTo>
                  <a:lnTo>
                    <a:pt x="4" y="6"/>
                  </a:lnTo>
                  <a:lnTo>
                    <a:pt x="5" y="6"/>
                  </a:lnTo>
                  <a:lnTo>
                    <a:pt x="5" y="7"/>
                  </a:lnTo>
                  <a:lnTo>
                    <a:pt x="6" y="7"/>
                  </a:lnTo>
                  <a:lnTo>
                    <a:pt x="7" y="9"/>
                  </a:lnTo>
                  <a:lnTo>
                    <a:pt x="11" y="9"/>
                  </a:lnTo>
                  <a:lnTo>
                    <a:pt x="12" y="10"/>
                  </a:lnTo>
                  <a:lnTo>
                    <a:pt x="12" y="12"/>
                  </a:lnTo>
                  <a:lnTo>
                    <a:pt x="13" y="11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24" y="11"/>
                  </a:lnTo>
                  <a:lnTo>
                    <a:pt x="23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7" y="11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31" y="10"/>
                  </a:lnTo>
                  <a:lnTo>
                    <a:pt x="32" y="10"/>
                  </a:lnTo>
                  <a:lnTo>
                    <a:pt x="32" y="11"/>
                  </a:lnTo>
                  <a:lnTo>
                    <a:pt x="32" y="12"/>
                  </a:lnTo>
                  <a:lnTo>
                    <a:pt x="33" y="13"/>
                  </a:lnTo>
                  <a:lnTo>
                    <a:pt x="32" y="14"/>
                  </a:lnTo>
                  <a:lnTo>
                    <a:pt x="31" y="16"/>
                  </a:lnTo>
                  <a:lnTo>
                    <a:pt x="32" y="16"/>
                  </a:lnTo>
                  <a:lnTo>
                    <a:pt x="33" y="17"/>
                  </a:lnTo>
                  <a:lnTo>
                    <a:pt x="34" y="18"/>
                  </a:lnTo>
                  <a:lnTo>
                    <a:pt x="33" y="19"/>
                  </a:lnTo>
                  <a:lnTo>
                    <a:pt x="32" y="20"/>
                  </a:lnTo>
                  <a:lnTo>
                    <a:pt x="33" y="20"/>
                  </a:lnTo>
                  <a:lnTo>
                    <a:pt x="29" y="21"/>
                  </a:lnTo>
                  <a:lnTo>
                    <a:pt x="24" y="23"/>
                  </a:lnTo>
                  <a:lnTo>
                    <a:pt x="25" y="23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2" y="27"/>
                  </a:lnTo>
                  <a:lnTo>
                    <a:pt x="26" y="27"/>
                  </a:lnTo>
                  <a:lnTo>
                    <a:pt x="24" y="28"/>
                  </a:lnTo>
                  <a:lnTo>
                    <a:pt x="22" y="29"/>
                  </a:lnTo>
                  <a:lnTo>
                    <a:pt x="21" y="31"/>
                  </a:lnTo>
                  <a:lnTo>
                    <a:pt x="19" y="31"/>
                  </a:lnTo>
                  <a:lnTo>
                    <a:pt x="22" y="32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3" y="34"/>
                  </a:lnTo>
                  <a:lnTo>
                    <a:pt x="27" y="33"/>
                  </a:lnTo>
                  <a:lnTo>
                    <a:pt x="28" y="32"/>
                  </a:lnTo>
                  <a:lnTo>
                    <a:pt x="29" y="32"/>
                  </a:lnTo>
                  <a:lnTo>
                    <a:pt x="34" y="31"/>
                  </a:lnTo>
                  <a:lnTo>
                    <a:pt x="31" y="32"/>
                  </a:lnTo>
                  <a:lnTo>
                    <a:pt x="33" y="34"/>
                  </a:lnTo>
                  <a:lnTo>
                    <a:pt x="34" y="32"/>
                  </a:lnTo>
                  <a:lnTo>
                    <a:pt x="34" y="34"/>
                  </a:lnTo>
                  <a:lnTo>
                    <a:pt x="36" y="34"/>
                  </a:lnTo>
                  <a:lnTo>
                    <a:pt x="35" y="34"/>
                  </a:lnTo>
                  <a:lnTo>
                    <a:pt x="37" y="36"/>
                  </a:lnTo>
                  <a:lnTo>
                    <a:pt x="38" y="34"/>
                  </a:lnTo>
                  <a:lnTo>
                    <a:pt x="38" y="36"/>
                  </a:lnTo>
                  <a:lnTo>
                    <a:pt x="43" y="36"/>
                  </a:lnTo>
                  <a:lnTo>
                    <a:pt x="48" y="34"/>
                  </a:lnTo>
                  <a:lnTo>
                    <a:pt x="48" y="33"/>
                  </a:lnTo>
                  <a:lnTo>
                    <a:pt x="47" y="33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9" y="32"/>
                  </a:lnTo>
                  <a:lnTo>
                    <a:pt x="51" y="32"/>
                  </a:lnTo>
                  <a:lnTo>
                    <a:pt x="52" y="31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5" y="32"/>
                  </a:lnTo>
                  <a:lnTo>
                    <a:pt x="56" y="31"/>
                  </a:lnTo>
                  <a:lnTo>
                    <a:pt x="57" y="31"/>
                  </a:lnTo>
                  <a:lnTo>
                    <a:pt x="58" y="32"/>
                  </a:lnTo>
                  <a:lnTo>
                    <a:pt x="57" y="32"/>
                  </a:lnTo>
                  <a:lnTo>
                    <a:pt x="56" y="34"/>
                  </a:lnTo>
                  <a:lnTo>
                    <a:pt x="54" y="36"/>
                  </a:lnTo>
                  <a:lnTo>
                    <a:pt x="56" y="37"/>
                  </a:lnTo>
                  <a:lnTo>
                    <a:pt x="58" y="36"/>
                  </a:lnTo>
                  <a:lnTo>
                    <a:pt x="61" y="37"/>
                  </a:lnTo>
                  <a:lnTo>
                    <a:pt x="62" y="36"/>
                  </a:lnTo>
                  <a:lnTo>
                    <a:pt x="62" y="37"/>
                  </a:lnTo>
                  <a:lnTo>
                    <a:pt x="66" y="37"/>
                  </a:lnTo>
                  <a:lnTo>
                    <a:pt x="67" y="36"/>
                  </a:lnTo>
                  <a:lnTo>
                    <a:pt x="69" y="36"/>
                  </a:lnTo>
                  <a:lnTo>
                    <a:pt x="68" y="37"/>
                  </a:lnTo>
                  <a:lnTo>
                    <a:pt x="69" y="37"/>
                  </a:lnTo>
                  <a:lnTo>
                    <a:pt x="74" y="37"/>
                  </a:lnTo>
                  <a:lnTo>
                    <a:pt x="75" y="36"/>
                  </a:lnTo>
                  <a:lnTo>
                    <a:pt x="75" y="36"/>
                  </a:lnTo>
                  <a:lnTo>
                    <a:pt x="75" y="34"/>
                  </a:lnTo>
                  <a:lnTo>
                    <a:pt x="75" y="36"/>
                  </a:lnTo>
                  <a:lnTo>
                    <a:pt x="77" y="37"/>
                  </a:lnTo>
                  <a:lnTo>
                    <a:pt x="79" y="36"/>
                  </a:lnTo>
                  <a:lnTo>
                    <a:pt x="81" y="34"/>
                  </a:lnTo>
                  <a:lnTo>
                    <a:pt x="82" y="36"/>
                  </a:lnTo>
                  <a:lnTo>
                    <a:pt x="82" y="37"/>
                  </a:lnTo>
                  <a:lnTo>
                    <a:pt x="86" y="37"/>
                  </a:lnTo>
                  <a:lnTo>
                    <a:pt x="88" y="36"/>
                  </a:lnTo>
                  <a:lnTo>
                    <a:pt x="89" y="33"/>
                  </a:lnTo>
                  <a:lnTo>
                    <a:pt x="90" y="36"/>
                  </a:lnTo>
                  <a:lnTo>
                    <a:pt x="92" y="36"/>
                  </a:lnTo>
                  <a:lnTo>
                    <a:pt x="93" y="36"/>
                  </a:lnTo>
                  <a:lnTo>
                    <a:pt x="95" y="34"/>
                  </a:lnTo>
                  <a:lnTo>
                    <a:pt x="95" y="33"/>
                  </a:lnTo>
                  <a:lnTo>
                    <a:pt x="96" y="33"/>
                  </a:lnTo>
                  <a:lnTo>
                    <a:pt x="95" y="34"/>
                  </a:lnTo>
                  <a:lnTo>
                    <a:pt x="95" y="36"/>
                  </a:lnTo>
                  <a:lnTo>
                    <a:pt x="99" y="36"/>
                  </a:lnTo>
                  <a:lnTo>
                    <a:pt x="110" y="34"/>
                  </a:lnTo>
                  <a:lnTo>
                    <a:pt x="116" y="32"/>
                  </a:lnTo>
                  <a:lnTo>
                    <a:pt x="114" y="31"/>
                  </a:lnTo>
                  <a:lnTo>
                    <a:pt x="114" y="30"/>
                  </a:lnTo>
                  <a:lnTo>
                    <a:pt x="114" y="30"/>
                  </a:lnTo>
                  <a:lnTo>
                    <a:pt x="116" y="30"/>
                  </a:lnTo>
                  <a:lnTo>
                    <a:pt x="116" y="31"/>
                  </a:lnTo>
                  <a:lnTo>
                    <a:pt x="118" y="31"/>
                  </a:lnTo>
                  <a:lnTo>
                    <a:pt x="118" y="32"/>
                  </a:lnTo>
                  <a:lnTo>
                    <a:pt x="116" y="34"/>
                  </a:lnTo>
                  <a:lnTo>
                    <a:pt x="118" y="36"/>
                  </a:lnTo>
                  <a:lnTo>
                    <a:pt x="120" y="36"/>
                  </a:lnTo>
                  <a:lnTo>
                    <a:pt x="122" y="34"/>
                  </a:lnTo>
                  <a:lnTo>
                    <a:pt x="123" y="36"/>
                  </a:lnTo>
                  <a:lnTo>
                    <a:pt x="125" y="37"/>
                  </a:lnTo>
                  <a:lnTo>
                    <a:pt x="127" y="37"/>
                  </a:lnTo>
                  <a:lnTo>
                    <a:pt x="130" y="36"/>
                  </a:lnTo>
                  <a:lnTo>
                    <a:pt x="136" y="34"/>
                  </a:lnTo>
                  <a:lnTo>
                    <a:pt x="143" y="34"/>
                  </a:lnTo>
                  <a:lnTo>
                    <a:pt x="145" y="34"/>
                  </a:lnTo>
                  <a:lnTo>
                    <a:pt x="147" y="34"/>
                  </a:lnTo>
                  <a:lnTo>
                    <a:pt x="149" y="32"/>
                  </a:lnTo>
                  <a:lnTo>
                    <a:pt x="148" y="32"/>
                  </a:lnTo>
                  <a:lnTo>
                    <a:pt x="149" y="31"/>
                  </a:lnTo>
                  <a:lnTo>
                    <a:pt x="149" y="31"/>
                  </a:lnTo>
                  <a:lnTo>
                    <a:pt x="147" y="30"/>
                  </a:lnTo>
                  <a:lnTo>
                    <a:pt x="149" y="28"/>
                  </a:lnTo>
                  <a:lnTo>
                    <a:pt x="152" y="28"/>
                  </a:lnTo>
                  <a:lnTo>
                    <a:pt x="154" y="27"/>
                  </a:lnTo>
                  <a:lnTo>
                    <a:pt x="156" y="27"/>
                  </a:lnTo>
                  <a:lnTo>
                    <a:pt x="158" y="26"/>
                  </a:lnTo>
                  <a:lnTo>
                    <a:pt x="162" y="24"/>
                  </a:lnTo>
                  <a:lnTo>
                    <a:pt x="164" y="22"/>
                  </a:lnTo>
                  <a:lnTo>
                    <a:pt x="164" y="22"/>
                  </a:lnTo>
                  <a:lnTo>
                    <a:pt x="163" y="22"/>
                  </a:lnTo>
                  <a:lnTo>
                    <a:pt x="162" y="21"/>
                  </a:lnTo>
                  <a:lnTo>
                    <a:pt x="163" y="21"/>
                  </a:lnTo>
                  <a:lnTo>
                    <a:pt x="158" y="21"/>
                  </a:lnTo>
                  <a:lnTo>
                    <a:pt x="156" y="21"/>
                  </a:lnTo>
                  <a:lnTo>
                    <a:pt x="159" y="21"/>
                  </a:lnTo>
                  <a:lnTo>
                    <a:pt x="159" y="20"/>
                  </a:lnTo>
                  <a:lnTo>
                    <a:pt x="159" y="20"/>
                  </a:lnTo>
                  <a:lnTo>
                    <a:pt x="156" y="19"/>
                  </a:lnTo>
                  <a:lnTo>
                    <a:pt x="154" y="19"/>
                  </a:lnTo>
                  <a:lnTo>
                    <a:pt x="150" y="19"/>
                  </a:lnTo>
                  <a:lnTo>
                    <a:pt x="152" y="18"/>
                  </a:lnTo>
                  <a:lnTo>
                    <a:pt x="152" y="18"/>
                  </a:lnTo>
                  <a:lnTo>
                    <a:pt x="150" y="18"/>
                  </a:lnTo>
                  <a:lnTo>
                    <a:pt x="140" y="17"/>
                  </a:lnTo>
                  <a:lnTo>
                    <a:pt x="136" y="17"/>
                  </a:lnTo>
                  <a:lnTo>
                    <a:pt x="130" y="18"/>
                  </a:lnTo>
                  <a:lnTo>
                    <a:pt x="128" y="18"/>
                  </a:lnTo>
                  <a:lnTo>
                    <a:pt x="127" y="18"/>
                  </a:lnTo>
                  <a:lnTo>
                    <a:pt x="126" y="18"/>
                  </a:lnTo>
                  <a:lnTo>
                    <a:pt x="125" y="17"/>
                  </a:lnTo>
                  <a:lnTo>
                    <a:pt x="123" y="17"/>
                  </a:lnTo>
                  <a:lnTo>
                    <a:pt x="120" y="18"/>
                  </a:lnTo>
                  <a:lnTo>
                    <a:pt x="114" y="19"/>
                  </a:lnTo>
                  <a:lnTo>
                    <a:pt x="113" y="19"/>
                  </a:lnTo>
                  <a:lnTo>
                    <a:pt x="113" y="20"/>
                  </a:lnTo>
                  <a:lnTo>
                    <a:pt x="113" y="20"/>
                  </a:lnTo>
                  <a:lnTo>
                    <a:pt x="109" y="19"/>
                  </a:lnTo>
                  <a:lnTo>
                    <a:pt x="107" y="20"/>
                  </a:lnTo>
                  <a:lnTo>
                    <a:pt x="105" y="20"/>
                  </a:lnTo>
                  <a:lnTo>
                    <a:pt x="105" y="20"/>
                  </a:lnTo>
                  <a:lnTo>
                    <a:pt x="105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2" y="21"/>
                  </a:lnTo>
                  <a:lnTo>
                    <a:pt x="102" y="20"/>
                  </a:lnTo>
                  <a:lnTo>
                    <a:pt x="99" y="21"/>
                  </a:lnTo>
                  <a:lnTo>
                    <a:pt x="97" y="21"/>
                  </a:lnTo>
                  <a:lnTo>
                    <a:pt x="94" y="21"/>
                  </a:lnTo>
                  <a:lnTo>
                    <a:pt x="94" y="22"/>
                  </a:lnTo>
                  <a:lnTo>
                    <a:pt x="95" y="22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6" y="23"/>
                  </a:lnTo>
                  <a:lnTo>
                    <a:pt x="92" y="23"/>
                  </a:lnTo>
                  <a:lnTo>
                    <a:pt x="85" y="24"/>
                  </a:lnTo>
                  <a:lnTo>
                    <a:pt x="85" y="23"/>
                  </a:lnTo>
                  <a:lnTo>
                    <a:pt x="88" y="23"/>
                  </a:lnTo>
                  <a:lnTo>
                    <a:pt x="88" y="22"/>
                  </a:lnTo>
                  <a:lnTo>
                    <a:pt x="84" y="22"/>
                  </a:lnTo>
                  <a:lnTo>
                    <a:pt x="84" y="21"/>
                  </a:lnTo>
                  <a:lnTo>
                    <a:pt x="81" y="20"/>
                  </a:lnTo>
                  <a:lnTo>
                    <a:pt x="78" y="21"/>
                  </a:lnTo>
                  <a:lnTo>
                    <a:pt x="77" y="22"/>
                  </a:lnTo>
                  <a:lnTo>
                    <a:pt x="76" y="22"/>
                  </a:lnTo>
                  <a:lnTo>
                    <a:pt x="77" y="21"/>
                  </a:lnTo>
                  <a:lnTo>
                    <a:pt x="76" y="21"/>
                  </a:lnTo>
                  <a:lnTo>
                    <a:pt x="74" y="21"/>
                  </a:lnTo>
                  <a:lnTo>
                    <a:pt x="73" y="22"/>
                  </a:lnTo>
                  <a:lnTo>
                    <a:pt x="72" y="22"/>
                  </a:lnTo>
                  <a:lnTo>
                    <a:pt x="69" y="22"/>
                  </a:lnTo>
                  <a:lnTo>
                    <a:pt x="72" y="22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1" y="20"/>
                  </a:lnTo>
                  <a:lnTo>
                    <a:pt x="68" y="20"/>
                  </a:lnTo>
                  <a:lnTo>
                    <a:pt x="66" y="20"/>
                  </a:lnTo>
                  <a:lnTo>
                    <a:pt x="65" y="21"/>
                  </a:lnTo>
                  <a:lnTo>
                    <a:pt x="64" y="22"/>
                  </a:lnTo>
                  <a:lnTo>
                    <a:pt x="62" y="23"/>
                  </a:lnTo>
                  <a:lnTo>
                    <a:pt x="62" y="22"/>
                  </a:lnTo>
                  <a:lnTo>
                    <a:pt x="63" y="21"/>
                  </a:lnTo>
                  <a:lnTo>
                    <a:pt x="59" y="21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8" y="21"/>
                  </a:lnTo>
                  <a:lnTo>
                    <a:pt x="56" y="21"/>
                  </a:lnTo>
                  <a:lnTo>
                    <a:pt x="57" y="20"/>
                  </a:lnTo>
                  <a:lnTo>
                    <a:pt x="61" y="20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1" y="18"/>
                  </a:lnTo>
                  <a:lnTo>
                    <a:pt x="58" y="18"/>
                  </a:lnTo>
                  <a:lnTo>
                    <a:pt x="61" y="17"/>
                  </a:lnTo>
                  <a:lnTo>
                    <a:pt x="59" y="16"/>
                  </a:lnTo>
                  <a:lnTo>
                    <a:pt x="58" y="16"/>
                  </a:lnTo>
                  <a:lnTo>
                    <a:pt x="57" y="17"/>
                  </a:lnTo>
                  <a:lnTo>
                    <a:pt x="56" y="17"/>
                  </a:lnTo>
                  <a:lnTo>
                    <a:pt x="55" y="16"/>
                  </a:lnTo>
                  <a:lnTo>
                    <a:pt x="53" y="17"/>
                  </a:lnTo>
                  <a:lnTo>
                    <a:pt x="54" y="16"/>
                  </a:lnTo>
                  <a:lnTo>
                    <a:pt x="52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48" y="17"/>
                  </a:lnTo>
                  <a:lnTo>
                    <a:pt x="43" y="18"/>
                  </a:lnTo>
                  <a:lnTo>
                    <a:pt x="45" y="17"/>
                  </a:lnTo>
                  <a:lnTo>
                    <a:pt x="47" y="17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56" y="14"/>
                  </a:lnTo>
                  <a:lnTo>
                    <a:pt x="54" y="14"/>
                  </a:lnTo>
                  <a:lnTo>
                    <a:pt x="52" y="14"/>
                  </a:lnTo>
                  <a:lnTo>
                    <a:pt x="51" y="14"/>
                  </a:lnTo>
                  <a:lnTo>
                    <a:pt x="52" y="14"/>
                  </a:lnTo>
                  <a:lnTo>
                    <a:pt x="52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48" y="13"/>
                  </a:lnTo>
                  <a:lnTo>
                    <a:pt x="45" y="13"/>
                  </a:lnTo>
                  <a:lnTo>
                    <a:pt x="48" y="12"/>
                  </a:lnTo>
                  <a:lnTo>
                    <a:pt x="47" y="12"/>
                  </a:lnTo>
                  <a:lnTo>
                    <a:pt x="48" y="11"/>
                  </a:lnTo>
                  <a:lnTo>
                    <a:pt x="49" y="12"/>
                  </a:lnTo>
                  <a:lnTo>
                    <a:pt x="53" y="13"/>
                  </a:lnTo>
                  <a:lnTo>
                    <a:pt x="54" y="12"/>
                  </a:lnTo>
                  <a:lnTo>
                    <a:pt x="56" y="13"/>
                  </a:lnTo>
                  <a:lnTo>
                    <a:pt x="57" y="13"/>
                  </a:lnTo>
                  <a:lnTo>
                    <a:pt x="56" y="13"/>
                  </a:lnTo>
                  <a:lnTo>
                    <a:pt x="58" y="13"/>
                  </a:lnTo>
                  <a:lnTo>
                    <a:pt x="64" y="13"/>
                  </a:lnTo>
                  <a:lnTo>
                    <a:pt x="66" y="13"/>
                  </a:lnTo>
                  <a:lnTo>
                    <a:pt x="71" y="12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69" y="11"/>
                  </a:lnTo>
                  <a:lnTo>
                    <a:pt x="66" y="11"/>
                  </a:lnTo>
                  <a:lnTo>
                    <a:pt x="62" y="10"/>
                  </a:lnTo>
                  <a:lnTo>
                    <a:pt x="61" y="10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6" y="9"/>
                  </a:lnTo>
                  <a:lnTo>
                    <a:pt x="52" y="9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9" y="9"/>
                  </a:lnTo>
                  <a:lnTo>
                    <a:pt x="61" y="9"/>
                  </a:lnTo>
                  <a:lnTo>
                    <a:pt x="63" y="9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7"/>
                  </a:lnTo>
                  <a:lnTo>
                    <a:pt x="58" y="6"/>
                  </a:lnTo>
                  <a:lnTo>
                    <a:pt x="57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4" y="4"/>
                  </a:lnTo>
                  <a:lnTo>
                    <a:pt x="54" y="6"/>
                  </a:lnTo>
                  <a:lnTo>
                    <a:pt x="49" y="6"/>
                  </a:lnTo>
                  <a:lnTo>
                    <a:pt x="47" y="7"/>
                  </a:lnTo>
                  <a:lnTo>
                    <a:pt x="44" y="7"/>
                  </a:lnTo>
                  <a:lnTo>
                    <a:pt x="43" y="7"/>
                  </a:lnTo>
                  <a:lnTo>
                    <a:pt x="41" y="7"/>
                  </a:lnTo>
                  <a:lnTo>
                    <a:pt x="37" y="7"/>
                  </a:lnTo>
                  <a:lnTo>
                    <a:pt x="32" y="8"/>
                  </a:lnTo>
                  <a:lnTo>
                    <a:pt x="28" y="9"/>
                  </a:lnTo>
                  <a:lnTo>
                    <a:pt x="29" y="9"/>
                  </a:lnTo>
                  <a:lnTo>
                    <a:pt x="29" y="8"/>
                  </a:lnTo>
                  <a:lnTo>
                    <a:pt x="33" y="7"/>
                  </a:lnTo>
                  <a:lnTo>
                    <a:pt x="34" y="6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7" y="3"/>
                  </a:lnTo>
                  <a:lnTo>
                    <a:pt x="36" y="3"/>
                  </a:lnTo>
                  <a:lnTo>
                    <a:pt x="36" y="1"/>
                  </a:lnTo>
                  <a:lnTo>
                    <a:pt x="34" y="2"/>
                  </a:lnTo>
                  <a:lnTo>
                    <a:pt x="33" y="1"/>
                  </a:lnTo>
                  <a:lnTo>
                    <a:pt x="32" y="2"/>
                  </a:lnTo>
                  <a:lnTo>
                    <a:pt x="28" y="2"/>
                  </a:lnTo>
                  <a:lnTo>
                    <a:pt x="28" y="1"/>
                  </a:lnTo>
                  <a:lnTo>
                    <a:pt x="25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57" name="Freeform 1157"/>
            <p:cNvSpPr>
              <a:spLocks/>
            </p:cNvSpPr>
            <p:nvPr/>
          </p:nvSpPr>
          <p:spPr bwMode="auto">
            <a:xfrm>
              <a:off x="1887" y="823"/>
              <a:ext cx="10" cy="5"/>
            </a:xfrm>
            <a:custGeom>
              <a:avLst/>
              <a:gdLst>
                <a:gd name="T0" fmla="*/ 10 w 10"/>
                <a:gd name="T1" fmla="*/ 1 h 5"/>
                <a:gd name="T2" fmla="*/ 10 w 10"/>
                <a:gd name="T3" fmla="*/ 1 h 5"/>
                <a:gd name="T4" fmla="*/ 9 w 10"/>
                <a:gd name="T5" fmla="*/ 1 h 5"/>
                <a:gd name="T6" fmla="*/ 7 w 10"/>
                <a:gd name="T7" fmla="*/ 3 h 5"/>
                <a:gd name="T8" fmla="*/ 8 w 10"/>
                <a:gd name="T9" fmla="*/ 4 h 5"/>
                <a:gd name="T10" fmla="*/ 9 w 10"/>
                <a:gd name="T11" fmla="*/ 4 h 5"/>
                <a:gd name="T12" fmla="*/ 4 w 10"/>
                <a:gd name="T13" fmla="*/ 4 h 5"/>
                <a:gd name="T14" fmla="*/ 3 w 10"/>
                <a:gd name="T15" fmla="*/ 5 h 5"/>
                <a:gd name="T16" fmla="*/ 2 w 10"/>
                <a:gd name="T17" fmla="*/ 5 h 5"/>
                <a:gd name="T18" fmla="*/ 0 w 10"/>
                <a:gd name="T19" fmla="*/ 5 h 5"/>
                <a:gd name="T20" fmla="*/ 2 w 10"/>
                <a:gd name="T21" fmla="*/ 4 h 5"/>
                <a:gd name="T22" fmla="*/ 2 w 10"/>
                <a:gd name="T23" fmla="*/ 3 h 5"/>
                <a:gd name="T24" fmla="*/ 6 w 10"/>
                <a:gd name="T25" fmla="*/ 1 h 5"/>
                <a:gd name="T26" fmla="*/ 6 w 10"/>
                <a:gd name="T27" fmla="*/ 1 h 5"/>
                <a:gd name="T28" fmla="*/ 7 w 10"/>
                <a:gd name="T29" fmla="*/ 0 h 5"/>
                <a:gd name="T30" fmla="*/ 8 w 10"/>
                <a:gd name="T31" fmla="*/ 0 h 5"/>
                <a:gd name="T32" fmla="*/ 9 w 10"/>
                <a:gd name="T33" fmla="*/ 0 h 5"/>
                <a:gd name="T34" fmla="*/ 10 w 10"/>
                <a:gd name="T35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" h="5">
                  <a:moveTo>
                    <a:pt x="10" y="1"/>
                  </a:moveTo>
                  <a:lnTo>
                    <a:pt x="10" y="1"/>
                  </a:lnTo>
                  <a:lnTo>
                    <a:pt x="9" y="1"/>
                  </a:lnTo>
                  <a:lnTo>
                    <a:pt x="7" y="3"/>
                  </a:lnTo>
                  <a:lnTo>
                    <a:pt x="8" y="4"/>
                  </a:lnTo>
                  <a:lnTo>
                    <a:pt x="9" y="4"/>
                  </a:lnTo>
                  <a:lnTo>
                    <a:pt x="4" y="4"/>
                  </a:lnTo>
                  <a:lnTo>
                    <a:pt x="3" y="5"/>
                  </a:lnTo>
                  <a:lnTo>
                    <a:pt x="2" y="5"/>
                  </a:lnTo>
                  <a:lnTo>
                    <a:pt x="0" y="5"/>
                  </a:lnTo>
                  <a:lnTo>
                    <a:pt x="2" y="4"/>
                  </a:lnTo>
                  <a:lnTo>
                    <a:pt x="2" y="3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0"/>
                  </a:lnTo>
                  <a:lnTo>
                    <a:pt x="8" y="0"/>
                  </a:lnTo>
                  <a:lnTo>
                    <a:pt x="9" y="0"/>
                  </a:lnTo>
                  <a:lnTo>
                    <a:pt x="1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58" name="Freeform 1158"/>
            <p:cNvSpPr>
              <a:spLocks/>
            </p:cNvSpPr>
            <p:nvPr/>
          </p:nvSpPr>
          <p:spPr bwMode="auto">
            <a:xfrm>
              <a:off x="1887" y="823"/>
              <a:ext cx="10" cy="5"/>
            </a:xfrm>
            <a:custGeom>
              <a:avLst/>
              <a:gdLst>
                <a:gd name="T0" fmla="*/ 10 w 10"/>
                <a:gd name="T1" fmla="*/ 1 h 5"/>
                <a:gd name="T2" fmla="*/ 10 w 10"/>
                <a:gd name="T3" fmla="*/ 1 h 5"/>
                <a:gd name="T4" fmla="*/ 9 w 10"/>
                <a:gd name="T5" fmla="*/ 1 h 5"/>
                <a:gd name="T6" fmla="*/ 7 w 10"/>
                <a:gd name="T7" fmla="*/ 3 h 5"/>
                <a:gd name="T8" fmla="*/ 8 w 10"/>
                <a:gd name="T9" fmla="*/ 4 h 5"/>
                <a:gd name="T10" fmla="*/ 9 w 10"/>
                <a:gd name="T11" fmla="*/ 4 h 5"/>
                <a:gd name="T12" fmla="*/ 4 w 10"/>
                <a:gd name="T13" fmla="*/ 4 h 5"/>
                <a:gd name="T14" fmla="*/ 3 w 10"/>
                <a:gd name="T15" fmla="*/ 5 h 5"/>
                <a:gd name="T16" fmla="*/ 2 w 10"/>
                <a:gd name="T17" fmla="*/ 5 h 5"/>
                <a:gd name="T18" fmla="*/ 0 w 10"/>
                <a:gd name="T19" fmla="*/ 5 h 5"/>
                <a:gd name="T20" fmla="*/ 2 w 10"/>
                <a:gd name="T21" fmla="*/ 4 h 5"/>
                <a:gd name="T22" fmla="*/ 2 w 10"/>
                <a:gd name="T23" fmla="*/ 3 h 5"/>
                <a:gd name="T24" fmla="*/ 6 w 10"/>
                <a:gd name="T25" fmla="*/ 1 h 5"/>
                <a:gd name="T26" fmla="*/ 6 w 10"/>
                <a:gd name="T27" fmla="*/ 1 h 5"/>
                <a:gd name="T28" fmla="*/ 7 w 10"/>
                <a:gd name="T29" fmla="*/ 0 h 5"/>
                <a:gd name="T30" fmla="*/ 8 w 10"/>
                <a:gd name="T31" fmla="*/ 0 h 5"/>
                <a:gd name="T32" fmla="*/ 9 w 10"/>
                <a:gd name="T33" fmla="*/ 0 h 5"/>
                <a:gd name="T34" fmla="*/ 10 w 10"/>
                <a:gd name="T35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" h="5">
                  <a:moveTo>
                    <a:pt x="10" y="1"/>
                  </a:moveTo>
                  <a:lnTo>
                    <a:pt x="10" y="1"/>
                  </a:lnTo>
                  <a:lnTo>
                    <a:pt x="9" y="1"/>
                  </a:lnTo>
                  <a:lnTo>
                    <a:pt x="7" y="3"/>
                  </a:lnTo>
                  <a:lnTo>
                    <a:pt x="8" y="4"/>
                  </a:lnTo>
                  <a:lnTo>
                    <a:pt x="9" y="4"/>
                  </a:lnTo>
                  <a:lnTo>
                    <a:pt x="4" y="4"/>
                  </a:lnTo>
                  <a:lnTo>
                    <a:pt x="3" y="5"/>
                  </a:lnTo>
                  <a:lnTo>
                    <a:pt x="2" y="5"/>
                  </a:lnTo>
                  <a:lnTo>
                    <a:pt x="0" y="5"/>
                  </a:lnTo>
                  <a:lnTo>
                    <a:pt x="2" y="4"/>
                  </a:lnTo>
                  <a:lnTo>
                    <a:pt x="2" y="3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0"/>
                  </a:lnTo>
                  <a:lnTo>
                    <a:pt x="8" y="0"/>
                  </a:lnTo>
                  <a:lnTo>
                    <a:pt x="9" y="0"/>
                  </a:lnTo>
                  <a:lnTo>
                    <a:pt x="10" y="1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59" name="Freeform 1159"/>
            <p:cNvSpPr>
              <a:spLocks/>
            </p:cNvSpPr>
            <p:nvPr/>
          </p:nvSpPr>
          <p:spPr bwMode="auto">
            <a:xfrm>
              <a:off x="1869" y="838"/>
              <a:ext cx="11" cy="3"/>
            </a:xfrm>
            <a:custGeom>
              <a:avLst/>
              <a:gdLst>
                <a:gd name="T0" fmla="*/ 8 w 11"/>
                <a:gd name="T1" fmla="*/ 3 h 3"/>
                <a:gd name="T2" fmla="*/ 9 w 11"/>
                <a:gd name="T3" fmla="*/ 2 h 3"/>
                <a:gd name="T4" fmla="*/ 11 w 11"/>
                <a:gd name="T5" fmla="*/ 2 h 3"/>
                <a:gd name="T6" fmla="*/ 10 w 11"/>
                <a:gd name="T7" fmla="*/ 1 h 3"/>
                <a:gd name="T8" fmla="*/ 10 w 11"/>
                <a:gd name="T9" fmla="*/ 1 h 3"/>
                <a:gd name="T10" fmla="*/ 10 w 11"/>
                <a:gd name="T11" fmla="*/ 0 h 3"/>
                <a:gd name="T12" fmla="*/ 6 w 11"/>
                <a:gd name="T13" fmla="*/ 0 h 3"/>
                <a:gd name="T14" fmla="*/ 4 w 11"/>
                <a:gd name="T15" fmla="*/ 1 h 3"/>
                <a:gd name="T16" fmla="*/ 4 w 11"/>
                <a:gd name="T17" fmla="*/ 1 h 3"/>
                <a:gd name="T18" fmla="*/ 3 w 11"/>
                <a:gd name="T19" fmla="*/ 1 h 3"/>
                <a:gd name="T20" fmla="*/ 0 w 11"/>
                <a:gd name="T21" fmla="*/ 1 h 3"/>
                <a:gd name="T22" fmla="*/ 1 w 11"/>
                <a:gd name="T23" fmla="*/ 3 h 3"/>
                <a:gd name="T24" fmla="*/ 3 w 11"/>
                <a:gd name="T25" fmla="*/ 3 h 3"/>
                <a:gd name="T26" fmla="*/ 5 w 11"/>
                <a:gd name="T27" fmla="*/ 3 h 3"/>
                <a:gd name="T28" fmla="*/ 8 w 11"/>
                <a:gd name="T2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3">
                  <a:moveTo>
                    <a:pt x="8" y="3"/>
                  </a:moveTo>
                  <a:lnTo>
                    <a:pt x="9" y="2"/>
                  </a:lnTo>
                  <a:lnTo>
                    <a:pt x="11" y="2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3" y="1"/>
                  </a:lnTo>
                  <a:lnTo>
                    <a:pt x="0" y="1"/>
                  </a:lnTo>
                  <a:lnTo>
                    <a:pt x="1" y="3"/>
                  </a:lnTo>
                  <a:lnTo>
                    <a:pt x="3" y="3"/>
                  </a:lnTo>
                  <a:lnTo>
                    <a:pt x="5" y="3"/>
                  </a:lnTo>
                  <a:lnTo>
                    <a:pt x="8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60" name="Freeform 1160"/>
            <p:cNvSpPr>
              <a:spLocks/>
            </p:cNvSpPr>
            <p:nvPr/>
          </p:nvSpPr>
          <p:spPr bwMode="auto">
            <a:xfrm>
              <a:off x="1869" y="838"/>
              <a:ext cx="11" cy="3"/>
            </a:xfrm>
            <a:custGeom>
              <a:avLst/>
              <a:gdLst>
                <a:gd name="T0" fmla="*/ 8 w 11"/>
                <a:gd name="T1" fmla="*/ 3 h 3"/>
                <a:gd name="T2" fmla="*/ 9 w 11"/>
                <a:gd name="T3" fmla="*/ 2 h 3"/>
                <a:gd name="T4" fmla="*/ 11 w 11"/>
                <a:gd name="T5" fmla="*/ 2 h 3"/>
                <a:gd name="T6" fmla="*/ 10 w 11"/>
                <a:gd name="T7" fmla="*/ 1 h 3"/>
                <a:gd name="T8" fmla="*/ 10 w 11"/>
                <a:gd name="T9" fmla="*/ 1 h 3"/>
                <a:gd name="T10" fmla="*/ 10 w 11"/>
                <a:gd name="T11" fmla="*/ 0 h 3"/>
                <a:gd name="T12" fmla="*/ 6 w 11"/>
                <a:gd name="T13" fmla="*/ 0 h 3"/>
                <a:gd name="T14" fmla="*/ 4 w 11"/>
                <a:gd name="T15" fmla="*/ 1 h 3"/>
                <a:gd name="T16" fmla="*/ 4 w 11"/>
                <a:gd name="T17" fmla="*/ 1 h 3"/>
                <a:gd name="T18" fmla="*/ 3 w 11"/>
                <a:gd name="T19" fmla="*/ 1 h 3"/>
                <a:gd name="T20" fmla="*/ 0 w 11"/>
                <a:gd name="T21" fmla="*/ 1 h 3"/>
                <a:gd name="T22" fmla="*/ 1 w 11"/>
                <a:gd name="T23" fmla="*/ 3 h 3"/>
                <a:gd name="T24" fmla="*/ 3 w 11"/>
                <a:gd name="T25" fmla="*/ 3 h 3"/>
                <a:gd name="T26" fmla="*/ 5 w 11"/>
                <a:gd name="T27" fmla="*/ 3 h 3"/>
                <a:gd name="T28" fmla="*/ 8 w 11"/>
                <a:gd name="T2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3">
                  <a:moveTo>
                    <a:pt x="8" y="3"/>
                  </a:moveTo>
                  <a:lnTo>
                    <a:pt x="9" y="2"/>
                  </a:lnTo>
                  <a:lnTo>
                    <a:pt x="11" y="2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3" y="1"/>
                  </a:lnTo>
                  <a:lnTo>
                    <a:pt x="0" y="1"/>
                  </a:lnTo>
                  <a:lnTo>
                    <a:pt x="1" y="3"/>
                  </a:lnTo>
                  <a:lnTo>
                    <a:pt x="3" y="3"/>
                  </a:lnTo>
                  <a:lnTo>
                    <a:pt x="5" y="3"/>
                  </a:lnTo>
                  <a:lnTo>
                    <a:pt x="8" y="3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61" name="Freeform 1161"/>
            <p:cNvSpPr>
              <a:spLocks/>
            </p:cNvSpPr>
            <p:nvPr/>
          </p:nvSpPr>
          <p:spPr bwMode="auto">
            <a:xfrm>
              <a:off x="1698" y="829"/>
              <a:ext cx="34" cy="15"/>
            </a:xfrm>
            <a:custGeom>
              <a:avLst/>
              <a:gdLst>
                <a:gd name="T0" fmla="*/ 26 w 34"/>
                <a:gd name="T1" fmla="*/ 0 h 15"/>
                <a:gd name="T2" fmla="*/ 28 w 34"/>
                <a:gd name="T3" fmla="*/ 1 h 15"/>
                <a:gd name="T4" fmla="*/ 30 w 34"/>
                <a:gd name="T5" fmla="*/ 2 h 15"/>
                <a:gd name="T6" fmla="*/ 31 w 34"/>
                <a:gd name="T7" fmla="*/ 3 h 15"/>
                <a:gd name="T8" fmla="*/ 29 w 34"/>
                <a:gd name="T9" fmla="*/ 4 h 15"/>
                <a:gd name="T10" fmla="*/ 34 w 34"/>
                <a:gd name="T11" fmla="*/ 4 h 15"/>
                <a:gd name="T12" fmla="*/ 34 w 34"/>
                <a:gd name="T13" fmla="*/ 5 h 15"/>
                <a:gd name="T14" fmla="*/ 33 w 34"/>
                <a:gd name="T15" fmla="*/ 7 h 15"/>
                <a:gd name="T16" fmla="*/ 30 w 34"/>
                <a:gd name="T17" fmla="*/ 9 h 15"/>
                <a:gd name="T18" fmla="*/ 27 w 34"/>
                <a:gd name="T19" fmla="*/ 13 h 15"/>
                <a:gd name="T20" fmla="*/ 24 w 34"/>
                <a:gd name="T21" fmla="*/ 14 h 15"/>
                <a:gd name="T22" fmla="*/ 18 w 34"/>
                <a:gd name="T23" fmla="*/ 15 h 15"/>
                <a:gd name="T24" fmla="*/ 13 w 34"/>
                <a:gd name="T25" fmla="*/ 14 h 15"/>
                <a:gd name="T26" fmla="*/ 12 w 34"/>
                <a:gd name="T27" fmla="*/ 13 h 15"/>
                <a:gd name="T28" fmla="*/ 10 w 34"/>
                <a:gd name="T29" fmla="*/ 13 h 15"/>
                <a:gd name="T30" fmla="*/ 8 w 34"/>
                <a:gd name="T31" fmla="*/ 12 h 15"/>
                <a:gd name="T32" fmla="*/ 8 w 34"/>
                <a:gd name="T33" fmla="*/ 12 h 15"/>
                <a:gd name="T34" fmla="*/ 6 w 34"/>
                <a:gd name="T35" fmla="*/ 12 h 15"/>
                <a:gd name="T36" fmla="*/ 7 w 34"/>
                <a:gd name="T37" fmla="*/ 11 h 15"/>
                <a:gd name="T38" fmla="*/ 5 w 34"/>
                <a:gd name="T39" fmla="*/ 12 h 15"/>
                <a:gd name="T40" fmla="*/ 4 w 34"/>
                <a:gd name="T41" fmla="*/ 10 h 15"/>
                <a:gd name="T42" fmla="*/ 6 w 34"/>
                <a:gd name="T43" fmla="*/ 9 h 15"/>
                <a:gd name="T44" fmla="*/ 5 w 34"/>
                <a:gd name="T45" fmla="*/ 9 h 15"/>
                <a:gd name="T46" fmla="*/ 2 w 34"/>
                <a:gd name="T47" fmla="*/ 10 h 15"/>
                <a:gd name="T48" fmla="*/ 0 w 34"/>
                <a:gd name="T49" fmla="*/ 9 h 15"/>
                <a:gd name="T50" fmla="*/ 2 w 34"/>
                <a:gd name="T51" fmla="*/ 7 h 15"/>
                <a:gd name="T52" fmla="*/ 4 w 34"/>
                <a:gd name="T53" fmla="*/ 7 h 15"/>
                <a:gd name="T54" fmla="*/ 5 w 34"/>
                <a:gd name="T55" fmla="*/ 5 h 15"/>
                <a:gd name="T56" fmla="*/ 8 w 34"/>
                <a:gd name="T57" fmla="*/ 5 h 15"/>
                <a:gd name="T58" fmla="*/ 12 w 34"/>
                <a:gd name="T59" fmla="*/ 4 h 15"/>
                <a:gd name="T60" fmla="*/ 10 w 34"/>
                <a:gd name="T61" fmla="*/ 4 h 15"/>
                <a:gd name="T62" fmla="*/ 12 w 34"/>
                <a:gd name="T63" fmla="*/ 4 h 15"/>
                <a:gd name="T64" fmla="*/ 14 w 34"/>
                <a:gd name="T65" fmla="*/ 3 h 15"/>
                <a:gd name="T66" fmla="*/ 10 w 34"/>
                <a:gd name="T67" fmla="*/ 3 h 15"/>
                <a:gd name="T68" fmla="*/ 12 w 34"/>
                <a:gd name="T69" fmla="*/ 3 h 15"/>
                <a:gd name="T70" fmla="*/ 15 w 34"/>
                <a:gd name="T71" fmla="*/ 2 h 15"/>
                <a:gd name="T72" fmla="*/ 22 w 34"/>
                <a:gd name="T73" fmla="*/ 0 h 15"/>
                <a:gd name="T74" fmla="*/ 26 w 34"/>
                <a:gd name="T7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" h="15">
                  <a:moveTo>
                    <a:pt x="26" y="0"/>
                  </a:moveTo>
                  <a:lnTo>
                    <a:pt x="26" y="0"/>
                  </a:lnTo>
                  <a:lnTo>
                    <a:pt x="25" y="1"/>
                  </a:lnTo>
                  <a:lnTo>
                    <a:pt x="28" y="1"/>
                  </a:lnTo>
                  <a:lnTo>
                    <a:pt x="29" y="2"/>
                  </a:lnTo>
                  <a:lnTo>
                    <a:pt x="30" y="2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29" y="4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4" y="7"/>
                  </a:lnTo>
                  <a:lnTo>
                    <a:pt x="33" y="7"/>
                  </a:lnTo>
                  <a:lnTo>
                    <a:pt x="33" y="8"/>
                  </a:lnTo>
                  <a:lnTo>
                    <a:pt x="30" y="9"/>
                  </a:lnTo>
                  <a:lnTo>
                    <a:pt x="29" y="12"/>
                  </a:lnTo>
                  <a:lnTo>
                    <a:pt x="27" y="13"/>
                  </a:lnTo>
                  <a:lnTo>
                    <a:pt x="26" y="14"/>
                  </a:lnTo>
                  <a:lnTo>
                    <a:pt x="24" y="14"/>
                  </a:lnTo>
                  <a:lnTo>
                    <a:pt x="20" y="14"/>
                  </a:lnTo>
                  <a:lnTo>
                    <a:pt x="18" y="15"/>
                  </a:lnTo>
                  <a:lnTo>
                    <a:pt x="16" y="14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7" y="13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6" y="11"/>
                  </a:lnTo>
                  <a:lnTo>
                    <a:pt x="5" y="12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6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3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0" y="9"/>
                  </a:lnTo>
                  <a:lnTo>
                    <a:pt x="2" y="8"/>
                  </a:lnTo>
                  <a:lnTo>
                    <a:pt x="2" y="7"/>
                  </a:lnTo>
                  <a:lnTo>
                    <a:pt x="3" y="7"/>
                  </a:lnTo>
                  <a:lnTo>
                    <a:pt x="4" y="7"/>
                  </a:lnTo>
                  <a:lnTo>
                    <a:pt x="5" y="7"/>
                  </a:lnTo>
                  <a:lnTo>
                    <a:pt x="5" y="5"/>
                  </a:lnTo>
                  <a:lnTo>
                    <a:pt x="6" y="5"/>
                  </a:lnTo>
                  <a:lnTo>
                    <a:pt x="8" y="5"/>
                  </a:lnTo>
                  <a:lnTo>
                    <a:pt x="12" y="5"/>
                  </a:lnTo>
                  <a:lnTo>
                    <a:pt x="12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2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2" y="3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62" name="Freeform 1162"/>
            <p:cNvSpPr>
              <a:spLocks/>
            </p:cNvSpPr>
            <p:nvPr/>
          </p:nvSpPr>
          <p:spPr bwMode="auto">
            <a:xfrm>
              <a:off x="1698" y="829"/>
              <a:ext cx="34" cy="15"/>
            </a:xfrm>
            <a:custGeom>
              <a:avLst/>
              <a:gdLst>
                <a:gd name="T0" fmla="*/ 26 w 34"/>
                <a:gd name="T1" fmla="*/ 0 h 15"/>
                <a:gd name="T2" fmla="*/ 28 w 34"/>
                <a:gd name="T3" fmla="*/ 1 h 15"/>
                <a:gd name="T4" fmla="*/ 30 w 34"/>
                <a:gd name="T5" fmla="*/ 2 h 15"/>
                <a:gd name="T6" fmla="*/ 31 w 34"/>
                <a:gd name="T7" fmla="*/ 3 h 15"/>
                <a:gd name="T8" fmla="*/ 29 w 34"/>
                <a:gd name="T9" fmla="*/ 4 h 15"/>
                <a:gd name="T10" fmla="*/ 34 w 34"/>
                <a:gd name="T11" fmla="*/ 4 h 15"/>
                <a:gd name="T12" fmla="*/ 34 w 34"/>
                <a:gd name="T13" fmla="*/ 5 h 15"/>
                <a:gd name="T14" fmla="*/ 33 w 34"/>
                <a:gd name="T15" fmla="*/ 7 h 15"/>
                <a:gd name="T16" fmla="*/ 30 w 34"/>
                <a:gd name="T17" fmla="*/ 9 h 15"/>
                <a:gd name="T18" fmla="*/ 27 w 34"/>
                <a:gd name="T19" fmla="*/ 13 h 15"/>
                <a:gd name="T20" fmla="*/ 24 w 34"/>
                <a:gd name="T21" fmla="*/ 14 h 15"/>
                <a:gd name="T22" fmla="*/ 18 w 34"/>
                <a:gd name="T23" fmla="*/ 15 h 15"/>
                <a:gd name="T24" fmla="*/ 13 w 34"/>
                <a:gd name="T25" fmla="*/ 14 h 15"/>
                <a:gd name="T26" fmla="*/ 12 w 34"/>
                <a:gd name="T27" fmla="*/ 13 h 15"/>
                <a:gd name="T28" fmla="*/ 10 w 34"/>
                <a:gd name="T29" fmla="*/ 13 h 15"/>
                <a:gd name="T30" fmla="*/ 8 w 34"/>
                <a:gd name="T31" fmla="*/ 12 h 15"/>
                <a:gd name="T32" fmla="*/ 8 w 34"/>
                <a:gd name="T33" fmla="*/ 12 h 15"/>
                <a:gd name="T34" fmla="*/ 6 w 34"/>
                <a:gd name="T35" fmla="*/ 12 h 15"/>
                <a:gd name="T36" fmla="*/ 7 w 34"/>
                <a:gd name="T37" fmla="*/ 11 h 15"/>
                <a:gd name="T38" fmla="*/ 5 w 34"/>
                <a:gd name="T39" fmla="*/ 12 h 15"/>
                <a:gd name="T40" fmla="*/ 4 w 34"/>
                <a:gd name="T41" fmla="*/ 10 h 15"/>
                <a:gd name="T42" fmla="*/ 6 w 34"/>
                <a:gd name="T43" fmla="*/ 9 h 15"/>
                <a:gd name="T44" fmla="*/ 5 w 34"/>
                <a:gd name="T45" fmla="*/ 9 h 15"/>
                <a:gd name="T46" fmla="*/ 2 w 34"/>
                <a:gd name="T47" fmla="*/ 10 h 15"/>
                <a:gd name="T48" fmla="*/ 0 w 34"/>
                <a:gd name="T49" fmla="*/ 9 h 15"/>
                <a:gd name="T50" fmla="*/ 2 w 34"/>
                <a:gd name="T51" fmla="*/ 7 h 15"/>
                <a:gd name="T52" fmla="*/ 4 w 34"/>
                <a:gd name="T53" fmla="*/ 7 h 15"/>
                <a:gd name="T54" fmla="*/ 5 w 34"/>
                <a:gd name="T55" fmla="*/ 5 h 15"/>
                <a:gd name="T56" fmla="*/ 8 w 34"/>
                <a:gd name="T57" fmla="*/ 5 h 15"/>
                <a:gd name="T58" fmla="*/ 12 w 34"/>
                <a:gd name="T59" fmla="*/ 4 h 15"/>
                <a:gd name="T60" fmla="*/ 10 w 34"/>
                <a:gd name="T61" fmla="*/ 4 h 15"/>
                <a:gd name="T62" fmla="*/ 12 w 34"/>
                <a:gd name="T63" fmla="*/ 4 h 15"/>
                <a:gd name="T64" fmla="*/ 14 w 34"/>
                <a:gd name="T65" fmla="*/ 3 h 15"/>
                <a:gd name="T66" fmla="*/ 10 w 34"/>
                <a:gd name="T67" fmla="*/ 3 h 15"/>
                <a:gd name="T68" fmla="*/ 12 w 34"/>
                <a:gd name="T69" fmla="*/ 3 h 15"/>
                <a:gd name="T70" fmla="*/ 15 w 34"/>
                <a:gd name="T71" fmla="*/ 2 h 15"/>
                <a:gd name="T72" fmla="*/ 22 w 34"/>
                <a:gd name="T73" fmla="*/ 0 h 15"/>
                <a:gd name="T74" fmla="*/ 26 w 34"/>
                <a:gd name="T75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" h="15">
                  <a:moveTo>
                    <a:pt x="26" y="0"/>
                  </a:moveTo>
                  <a:lnTo>
                    <a:pt x="26" y="0"/>
                  </a:lnTo>
                  <a:lnTo>
                    <a:pt x="25" y="1"/>
                  </a:lnTo>
                  <a:lnTo>
                    <a:pt x="28" y="1"/>
                  </a:lnTo>
                  <a:lnTo>
                    <a:pt x="29" y="2"/>
                  </a:lnTo>
                  <a:lnTo>
                    <a:pt x="30" y="2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29" y="4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4" y="7"/>
                  </a:lnTo>
                  <a:lnTo>
                    <a:pt x="33" y="7"/>
                  </a:lnTo>
                  <a:lnTo>
                    <a:pt x="33" y="8"/>
                  </a:lnTo>
                  <a:lnTo>
                    <a:pt x="30" y="9"/>
                  </a:lnTo>
                  <a:lnTo>
                    <a:pt x="29" y="12"/>
                  </a:lnTo>
                  <a:lnTo>
                    <a:pt x="27" y="13"/>
                  </a:lnTo>
                  <a:lnTo>
                    <a:pt x="26" y="14"/>
                  </a:lnTo>
                  <a:lnTo>
                    <a:pt x="24" y="14"/>
                  </a:lnTo>
                  <a:lnTo>
                    <a:pt x="20" y="14"/>
                  </a:lnTo>
                  <a:lnTo>
                    <a:pt x="18" y="15"/>
                  </a:lnTo>
                  <a:lnTo>
                    <a:pt x="16" y="14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7" y="13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6" y="11"/>
                  </a:lnTo>
                  <a:lnTo>
                    <a:pt x="5" y="12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6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3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0" y="9"/>
                  </a:lnTo>
                  <a:lnTo>
                    <a:pt x="2" y="8"/>
                  </a:lnTo>
                  <a:lnTo>
                    <a:pt x="2" y="7"/>
                  </a:lnTo>
                  <a:lnTo>
                    <a:pt x="3" y="7"/>
                  </a:lnTo>
                  <a:lnTo>
                    <a:pt x="4" y="7"/>
                  </a:lnTo>
                  <a:lnTo>
                    <a:pt x="5" y="7"/>
                  </a:lnTo>
                  <a:lnTo>
                    <a:pt x="5" y="5"/>
                  </a:lnTo>
                  <a:lnTo>
                    <a:pt x="6" y="5"/>
                  </a:lnTo>
                  <a:lnTo>
                    <a:pt x="8" y="5"/>
                  </a:lnTo>
                  <a:lnTo>
                    <a:pt x="12" y="5"/>
                  </a:lnTo>
                  <a:lnTo>
                    <a:pt x="12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2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2" y="3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22" y="0"/>
                  </a:lnTo>
                  <a:lnTo>
                    <a:pt x="24" y="0"/>
                  </a:lnTo>
                  <a:lnTo>
                    <a:pt x="26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63" name="Freeform 1163"/>
            <p:cNvSpPr>
              <a:spLocks/>
            </p:cNvSpPr>
            <p:nvPr/>
          </p:nvSpPr>
          <p:spPr bwMode="auto">
            <a:xfrm>
              <a:off x="1662" y="975"/>
              <a:ext cx="87" cy="45"/>
            </a:xfrm>
            <a:custGeom>
              <a:avLst/>
              <a:gdLst>
                <a:gd name="T0" fmla="*/ 44 w 87"/>
                <a:gd name="T1" fmla="*/ 0 h 45"/>
                <a:gd name="T2" fmla="*/ 46 w 87"/>
                <a:gd name="T3" fmla="*/ 4 h 45"/>
                <a:gd name="T4" fmla="*/ 45 w 87"/>
                <a:gd name="T5" fmla="*/ 8 h 45"/>
                <a:gd name="T6" fmla="*/ 49 w 87"/>
                <a:gd name="T7" fmla="*/ 9 h 45"/>
                <a:gd name="T8" fmla="*/ 54 w 87"/>
                <a:gd name="T9" fmla="*/ 9 h 45"/>
                <a:gd name="T10" fmla="*/ 56 w 87"/>
                <a:gd name="T11" fmla="*/ 13 h 45"/>
                <a:gd name="T12" fmla="*/ 62 w 87"/>
                <a:gd name="T13" fmla="*/ 15 h 45"/>
                <a:gd name="T14" fmla="*/ 66 w 87"/>
                <a:gd name="T15" fmla="*/ 18 h 45"/>
                <a:gd name="T16" fmla="*/ 73 w 87"/>
                <a:gd name="T17" fmla="*/ 20 h 45"/>
                <a:gd name="T18" fmla="*/ 75 w 87"/>
                <a:gd name="T19" fmla="*/ 23 h 45"/>
                <a:gd name="T20" fmla="*/ 72 w 87"/>
                <a:gd name="T21" fmla="*/ 29 h 45"/>
                <a:gd name="T22" fmla="*/ 77 w 87"/>
                <a:gd name="T23" fmla="*/ 30 h 45"/>
                <a:gd name="T24" fmla="*/ 83 w 87"/>
                <a:gd name="T25" fmla="*/ 29 h 45"/>
                <a:gd name="T26" fmla="*/ 84 w 87"/>
                <a:gd name="T27" fmla="*/ 33 h 45"/>
                <a:gd name="T28" fmla="*/ 87 w 87"/>
                <a:gd name="T29" fmla="*/ 35 h 45"/>
                <a:gd name="T30" fmla="*/ 77 w 87"/>
                <a:gd name="T31" fmla="*/ 38 h 45"/>
                <a:gd name="T32" fmla="*/ 70 w 87"/>
                <a:gd name="T33" fmla="*/ 38 h 45"/>
                <a:gd name="T34" fmla="*/ 67 w 87"/>
                <a:gd name="T35" fmla="*/ 38 h 45"/>
                <a:gd name="T36" fmla="*/ 64 w 87"/>
                <a:gd name="T37" fmla="*/ 36 h 45"/>
                <a:gd name="T38" fmla="*/ 59 w 87"/>
                <a:gd name="T39" fmla="*/ 36 h 45"/>
                <a:gd name="T40" fmla="*/ 62 w 87"/>
                <a:gd name="T41" fmla="*/ 33 h 45"/>
                <a:gd name="T42" fmla="*/ 55 w 87"/>
                <a:gd name="T43" fmla="*/ 31 h 45"/>
                <a:gd name="T44" fmla="*/ 56 w 87"/>
                <a:gd name="T45" fmla="*/ 29 h 45"/>
                <a:gd name="T46" fmla="*/ 53 w 87"/>
                <a:gd name="T47" fmla="*/ 28 h 45"/>
                <a:gd name="T48" fmla="*/ 46 w 87"/>
                <a:gd name="T49" fmla="*/ 33 h 45"/>
                <a:gd name="T50" fmla="*/ 43 w 87"/>
                <a:gd name="T51" fmla="*/ 35 h 45"/>
                <a:gd name="T52" fmla="*/ 39 w 87"/>
                <a:gd name="T53" fmla="*/ 37 h 45"/>
                <a:gd name="T54" fmla="*/ 33 w 87"/>
                <a:gd name="T55" fmla="*/ 39 h 45"/>
                <a:gd name="T56" fmla="*/ 30 w 87"/>
                <a:gd name="T57" fmla="*/ 40 h 45"/>
                <a:gd name="T58" fmla="*/ 19 w 87"/>
                <a:gd name="T59" fmla="*/ 45 h 45"/>
                <a:gd name="T60" fmla="*/ 15 w 87"/>
                <a:gd name="T61" fmla="*/ 43 h 45"/>
                <a:gd name="T62" fmla="*/ 19 w 87"/>
                <a:gd name="T63" fmla="*/ 36 h 45"/>
                <a:gd name="T64" fmla="*/ 19 w 87"/>
                <a:gd name="T65" fmla="*/ 34 h 45"/>
                <a:gd name="T66" fmla="*/ 13 w 87"/>
                <a:gd name="T67" fmla="*/ 36 h 45"/>
                <a:gd name="T68" fmla="*/ 8 w 87"/>
                <a:gd name="T69" fmla="*/ 36 h 45"/>
                <a:gd name="T70" fmla="*/ 0 w 87"/>
                <a:gd name="T71" fmla="*/ 37 h 45"/>
                <a:gd name="T72" fmla="*/ 8 w 87"/>
                <a:gd name="T73" fmla="*/ 31 h 45"/>
                <a:gd name="T74" fmla="*/ 18 w 87"/>
                <a:gd name="T75" fmla="*/ 27 h 45"/>
                <a:gd name="T76" fmla="*/ 20 w 87"/>
                <a:gd name="T77" fmla="*/ 21 h 45"/>
                <a:gd name="T78" fmla="*/ 26 w 87"/>
                <a:gd name="T79" fmla="*/ 16 h 45"/>
                <a:gd name="T80" fmla="*/ 32 w 87"/>
                <a:gd name="T81" fmla="*/ 9 h 45"/>
                <a:gd name="T82" fmla="*/ 36 w 87"/>
                <a:gd name="T83" fmla="*/ 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7" h="45">
                  <a:moveTo>
                    <a:pt x="41" y="3"/>
                  </a:moveTo>
                  <a:lnTo>
                    <a:pt x="43" y="0"/>
                  </a:lnTo>
                  <a:lnTo>
                    <a:pt x="44" y="0"/>
                  </a:lnTo>
                  <a:lnTo>
                    <a:pt x="44" y="1"/>
                  </a:lnTo>
                  <a:lnTo>
                    <a:pt x="46" y="1"/>
                  </a:lnTo>
                  <a:lnTo>
                    <a:pt x="46" y="4"/>
                  </a:lnTo>
                  <a:lnTo>
                    <a:pt x="48" y="5"/>
                  </a:lnTo>
                  <a:lnTo>
                    <a:pt x="45" y="6"/>
                  </a:lnTo>
                  <a:lnTo>
                    <a:pt x="45" y="8"/>
                  </a:lnTo>
                  <a:lnTo>
                    <a:pt x="44" y="10"/>
                  </a:lnTo>
                  <a:lnTo>
                    <a:pt x="45" y="10"/>
                  </a:lnTo>
                  <a:lnTo>
                    <a:pt x="49" y="9"/>
                  </a:lnTo>
                  <a:lnTo>
                    <a:pt x="51" y="7"/>
                  </a:lnTo>
                  <a:lnTo>
                    <a:pt x="52" y="8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4" y="11"/>
                  </a:lnTo>
                  <a:lnTo>
                    <a:pt x="56" y="13"/>
                  </a:lnTo>
                  <a:lnTo>
                    <a:pt x="62" y="13"/>
                  </a:lnTo>
                  <a:lnTo>
                    <a:pt x="62" y="14"/>
                  </a:lnTo>
                  <a:lnTo>
                    <a:pt x="62" y="15"/>
                  </a:lnTo>
                  <a:lnTo>
                    <a:pt x="63" y="16"/>
                  </a:lnTo>
                  <a:lnTo>
                    <a:pt x="65" y="17"/>
                  </a:lnTo>
                  <a:lnTo>
                    <a:pt x="66" y="18"/>
                  </a:lnTo>
                  <a:lnTo>
                    <a:pt x="69" y="19"/>
                  </a:lnTo>
                  <a:lnTo>
                    <a:pt x="71" y="19"/>
                  </a:lnTo>
                  <a:lnTo>
                    <a:pt x="73" y="20"/>
                  </a:lnTo>
                  <a:lnTo>
                    <a:pt x="74" y="20"/>
                  </a:lnTo>
                  <a:lnTo>
                    <a:pt x="74" y="21"/>
                  </a:lnTo>
                  <a:lnTo>
                    <a:pt x="75" y="23"/>
                  </a:lnTo>
                  <a:lnTo>
                    <a:pt x="73" y="27"/>
                  </a:lnTo>
                  <a:lnTo>
                    <a:pt x="74" y="28"/>
                  </a:lnTo>
                  <a:lnTo>
                    <a:pt x="72" y="29"/>
                  </a:lnTo>
                  <a:lnTo>
                    <a:pt x="73" y="30"/>
                  </a:lnTo>
                  <a:lnTo>
                    <a:pt x="75" y="29"/>
                  </a:lnTo>
                  <a:lnTo>
                    <a:pt x="77" y="30"/>
                  </a:lnTo>
                  <a:lnTo>
                    <a:pt x="77" y="30"/>
                  </a:lnTo>
                  <a:lnTo>
                    <a:pt x="82" y="28"/>
                  </a:lnTo>
                  <a:lnTo>
                    <a:pt x="83" y="29"/>
                  </a:lnTo>
                  <a:lnTo>
                    <a:pt x="83" y="30"/>
                  </a:lnTo>
                  <a:lnTo>
                    <a:pt x="84" y="31"/>
                  </a:lnTo>
                  <a:lnTo>
                    <a:pt x="84" y="33"/>
                  </a:lnTo>
                  <a:lnTo>
                    <a:pt x="83" y="33"/>
                  </a:lnTo>
                  <a:lnTo>
                    <a:pt x="87" y="34"/>
                  </a:lnTo>
                  <a:lnTo>
                    <a:pt x="87" y="35"/>
                  </a:lnTo>
                  <a:lnTo>
                    <a:pt x="85" y="35"/>
                  </a:lnTo>
                  <a:lnTo>
                    <a:pt x="80" y="37"/>
                  </a:lnTo>
                  <a:lnTo>
                    <a:pt x="77" y="38"/>
                  </a:lnTo>
                  <a:lnTo>
                    <a:pt x="75" y="39"/>
                  </a:lnTo>
                  <a:lnTo>
                    <a:pt x="73" y="39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70" y="37"/>
                  </a:lnTo>
                  <a:lnTo>
                    <a:pt x="67" y="38"/>
                  </a:lnTo>
                  <a:lnTo>
                    <a:pt x="67" y="37"/>
                  </a:lnTo>
                  <a:lnTo>
                    <a:pt x="65" y="36"/>
                  </a:lnTo>
                  <a:lnTo>
                    <a:pt x="64" y="36"/>
                  </a:lnTo>
                  <a:lnTo>
                    <a:pt x="63" y="36"/>
                  </a:lnTo>
                  <a:lnTo>
                    <a:pt x="62" y="36"/>
                  </a:lnTo>
                  <a:lnTo>
                    <a:pt x="59" y="36"/>
                  </a:lnTo>
                  <a:lnTo>
                    <a:pt x="60" y="35"/>
                  </a:lnTo>
                  <a:lnTo>
                    <a:pt x="61" y="34"/>
                  </a:lnTo>
                  <a:lnTo>
                    <a:pt x="62" y="33"/>
                  </a:lnTo>
                  <a:lnTo>
                    <a:pt x="61" y="31"/>
                  </a:lnTo>
                  <a:lnTo>
                    <a:pt x="56" y="30"/>
                  </a:lnTo>
                  <a:lnTo>
                    <a:pt x="55" y="31"/>
                  </a:lnTo>
                  <a:lnTo>
                    <a:pt x="55" y="31"/>
                  </a:lnTo>
                  <a:lnTo>
                    <a:pt x="54" y="31"/>
                  </a:lnTo>
                  <a:lnTo>
                    <a:pt x="56" y="29"/>
                  </a:lnTo>
                  <a:lnTo>
                    <a:pt x="58" y="28"/>
                  </a:lnTo>
                  <a:lnTo>
                    <a:pt x="58" y="28"/>
                  </a:lnTo>
                  <a:lnTo>
                    <a:pt x="53" y="28"/>
                  </a:lnTo>
                  <a:lnTo>
                    <a:pt x="49" y="29"/>
                  </a:lnTo>
                  <a:lnTo>
                    <a:pt x="49" y="30"/>
                  </a:lnTo>
                  <a:lnTo>
                    <a:pt x="46" y="33"/>
                  </a:lnTo>
                  <a:lnTo>
                    <a:pt x="46" y="34"/>
                  </a:lnTo>
                  <a:lnTo>
                    <a:pt x="45" y="35"/>
                  </a:lnTo>
                  <a:lnTo>
                    <a:pt x="43" y="35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39" y="37"/>
                  </a:lnTo>
                  <a:lnTo>
                    <a:pt x="38" y="38"/>
                  </a:lnTo>
                  <a:lnTo>
                    <a:pt x="35" y="37"/>
                  </a:lnTo>
                  <a:lnTo>
                    <a:pt x="33" y="39"/>
                  </a:lnTo>
                  <a:lnTo>
                    <a:pt x="31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29" y="41"/>
                  </a:lnTo>
                  <a:lnTo>
                    <a:pt x="26" y="43"/>
                  </a:lnTo>
                  <a:lnTo>
                    <a:pt x="19" y="45"/>
                  </a:lnTo>
                  <a:lnTo>
                    <a:pt x="18" y="44"/>
                  </a:lnTo>
                  <a:lnTo>
                    <a:pt x="15" y="45"/>
                  </a:lnTo>
                  <a:lnTo>
                    <a:pt x="15" y="43"/>
                  </a:lnTo>
                  <a:lnTo>
                    <a:pt x="17" y="39"/>
                  </a:lnTo>
                  <a:lnTo>
                    <a:pt x="19" y="37"/>
                  </a:lnTo>
                  <a:lnTo>
                    <a:pt x="19" y="36"/>
                  </a:lnTo>
                  <a:lnTo>
                    <a:pt x="20" y="34"/>
                  </a:lnTo>
                  <a:lnTo>
                    <a:pt x="21" y="33"/>
                  </a:lnTo>
                  <a:lnTo>
                    <a:pt x="19" y="34"/>
                  </a:lnTo>
                  <a:lnTo>
                    <a:pt x="18" y="36"/>
                  </a:lnTo>
                  <a:lnTo>
                    <a:pt x="15" y="36"/>
                  </a:lnTo>
                  <a:lnTo>
                    <a:pt x="13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8" y="36"/>
                  </a:lnTo>
                  <a:lnTo>
                    <a:pt x="4" y="37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0" y="36"/>
                  </a:lnTo>
                  <a:lnTo>
                    <a:pt x="4" y="33"/>
                  </a:lnTo>
                  <a:lnTo>
                    <a:pt x="8" y="31"/>
                  </a:lnTo>
                  <a:lnTo>
                    <a:pt x="11" y="31"/>
                  </a:lnTo>
                  <a:lnTo>
                    <a:pt x="17" y="28"/>
                  </a:lnTo>
                  <a:lnTo>
                    <a:pt x="18" y="27"/>
                  </a:lnTo>
                  <a:lnTo>
                    <a:pt x="18" y="26"/>
                  </a:lnTo>
                  <a:lnTo>
                    <a:pt x="19" y="23"/>
                  </a:lnTo>
                  <a:lnTo>
                    <a:pt x="20" y="21"/>
                  </a:lnTo>
                  <a:lnTo>
                    <a:pt x="21" y="20"/>
                  </a:lnTo>
                  <a:lnTo>
                    <a:pt x="24" y="18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8" y="14"/>
                  </a:lnTo>
                  <a:lnTo>
                    <a:pt x="32" y="9"/>
                  </a:lnTo>
                  <a:lnTo>
                    <a:pt x="32" y="8"/>
                  </a:lnTo>
                  <a:lnTo>
                    <a:pt x="34" y="7"/>
                  </a:lnTo>
                  <a:lnTo>
                    <a:pt x="36" y="4"/>
                  </a:lnTo>
                  <a:lnTo>
                    <a:pt x="39" y="3"/>
                  </a:lnTo>
                  <a:lnTo>
                    <a:pt x="41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64" name="Freeform 1164"/>
            <p:cNvSpPr>
              <a:spLocks/>
            </p:cNvSpPr>
            <p:nvPr/>
          </p:nvSpPr>
          <p:spPr bwMode="auto">
            <a:xfrm>
              <a:off x="1662" y="975"/>
              <a:ext cx="87" cy="45"/>
            </a:xfrm>
            <a:custGeom>
              <a:avLst/>
              <a:gdLst>
                <a:gd name="T0" fmla="*/ 44 w 87"/>
                <a:gd name="T1" fmla="*/ 0 h 45"/>
                <a:gd name="T2" fmla="*/ 46 w 87"/>
                <a:gd name="T3" fmla="*/ 4 h 45"/>
                <a:gd name="T4" fmla="*/ 45 w 87"/>
                <a:gd name="T5" fmla="*/ 8 h 45"/>
                <a:gd name="T6" fmla="*/ 49 w 87"/>
                <a:gd name="T7" fmla="*/ 9 h 45"/>
                <a:gd name="T8" fmla="*/ 54 w 87"/>
                <a:gd name="T9" fmla="*/ 9 h 45"/>
                <a:gd name="T10" fmla="*/ 56 w 87"/>
                <a:gd name="T11" fmla="*/ 13 h 45"/>
                <a:gd name="T12" fmla="*/ 62 w 87"/>
                <a:gd name="T13" fmla="*/ 15 h 45"/>
                <a:gd name="T14" fmla="*/ 66 w 87"/>
                <a:gd name="T15" fmla="*/ 18 h 45"/>
                <a:gd name="T16" fmla="*/ 73 w 87"/>
                <a:gd name="T17" fmla="*/ 20 h 45"/>
                <a:gd name="T18" fmla="*/ 75 w 87"/>
                <a:gd name="T19" fmla="*/ 23 h 45"/>
                <a:gd name="T20" fmla="*/ 72 w 87"/>
                <a:gd name="T21" fmla="*/ 29 h 45"/>
                <a:gd name="T22" fmla="*/ 77 w 87"/>
                <a:gd name="T23" fmla="*/ 30 h 45"/>
                <a:gd name="T24" fmla="*/ 83 w 87"/>
                <a:gd name="T25" fmla="*/ 29 h 45"/>
                <a:gd name="T26" fmla="*/ 84 w 87"/>
                <a:gd name="T27" fmla="*/ 33 h 45"/>
                <a:gd name="T28" fmla="*/ 87 w 87"/>
                <a:gd name="T29" fmla="*/ 35 h 45"/>
                <a:gd name="T30" fmla="*/ 77 w 87"/>
                <a:gd name="T31" fmla="*/ 38 h 45"/>
                <a:gd name="T32" fmla="*/ 70 w 87"/>
                <a:gd name="T33" fmla="*/ 38 h 45"/>
                <a:gd name="T34" fmla="*/ 67 w 87"/>
                <a:gd name="T35" fmla="*/ 38 h 45"/>
                <a:gd name="T36" fmla="*/ 64 w 87"/>
                <a:gd name="T37" fmla="*/ 36 h 45"/>
                <a:gd name="T38" fmla="*/ 59 w 87"/>
                <a:gd name="T39" fmla="*/ 36 h 45"/>
                <a:gd name="T40" fmla="*/ 62 w 87"/>
                <a:gd name="T41" fmla="*/ 33 h 45"/>
                <a:gd name="T42" fmla="*/ 55 w 87"/>
                <a:gd name="T43" fmla="*/ 31 h 45"/>
                <a:gd name="T44" fmla="*/ 56 w 87"/>
                <a:gd name="T45" fmla="*/ 29 h 45"/>
                <a:gd name="T46" fmla="*/ 53 w 87"/>
                <a:gd name="T47" fmla="*/ 28 h 45"/>
                <a:gd name="T48" fmla="*/ 46 w 87"/>
                <a:gd name="T49" fmla="*/ 33 h 45"/>
                <a:gd name="T50" fmla="*/ 43 w 87"/>
                <a:gd name="T51" fmla="*/ 35 h 45"/>
                <a:gd name="T52" fmla="*/ 39 w 87"/>
                <a:gd name="T53" fmla="*/ 37 h 45"/>
                <a:gd name="T54" fmla="*/ 33 w 87"/>
                <a:gd name="T55" fmla="*/ 39 h 45"/>
                <a:gd name="T56" fmla="*/ 30 w 87"/>
                <a:gd name="T57" fmla="*/ 40 h 45"/>
                <a:gd name="T58" fmla="*/ 19 w 87"/>
                <a:gd name="T59" fmla="*/ 45 h 45"/>
                <a:gd name="T60" fmla="*/ 15 w 87"/>
                <a:gd name="T61" fmla="*/ 43 h 45"/>
                <a:gd name="T62" fmla="*/ 19 w 87"/>
                <a:gd name="T63" fmla="*/ 36 h 45"/>
                <a:gd name="T64" fmla="*/ 19 w 87"/>
                <a:gd name="T65" fmla="*/ 34 h 45"/>
                <a:gd name="T66" fmla="*/ 13 w 87"/>
                <a:gd name="T67" fmla="*/ 36 h 45"/>
                <a:gd name="T68" fmla="*/ 8 w 87"/>
                <a:gd name="T69" fmla="*/ 36 h 45"/>
                <a:gd name="T70" fmla="*/ 0 w 87"/>
                <a:gd name="T71" fmla="*/ 37 h 45"/>
                <a:gd name="T72" fmla="*/ 8 w 87"/>
                <a:gd name="T73" fmla="*/ 31 h 45"/>
                <a:gd name="T74" fmla="*/ 18 w 87"/>
                <a:gd name="T75" fmla="*/ 27 h 45"/>
                <a:gd name="T76" fmla="*/ 20 w 87"/>
                <a:gd name="T77" fmla="*/ 21 h 45"/>
                <a:gd name="T78" fmla="*/ 26 w 87"/>
                <a:gd name="T79" fmla="*/ 16 h 45"/>
                <a:gd name="T80" fmla="*/ 32 w 87"/>
                <a:gd name="T81" fmla="*/ 9 h 45"/>
                <a:gd name="T82" fmla="*/ 36 w 87"/>
                <a:gd name="T83" fmla="*/ 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7" h="45">
                  <a:moveTo>
                    <a:pt x="41" y="3"/>
                  </a:moveTo>
                  <a:lnTo>
                    <a:pt x="43" y="0"/>
                  </a:lnTo>
                  <a:lnTo>
                    <a:pt x="44" y="0"/>
                  </a:lnTo>
                  <a:lnTo>
                    <a:pt x="44" y="1"/>
                  </a:lnTo>
                  <a:lnTo>
                    <a:pt x="46" y="1"/>
                  </a:lnTo>
                  <a:lnTo>
                    <a:pt x="46" y="4"/>
                  </a:lnTo>
                  <a:lnTo>
                    <a:pt x="48" y="5"/>
                  </a:lnTo>
                  <a:lnTo>
                    <a:pt x="45" y="6"/>
                  </a:lnTo>
                  <a:lnTo>
                    <a:pt x="45" y="8"/>
                  </a:lnTo>
                  <a:lnTo>
                    <a:pt x="44" y="10"/>
                  </a:lnTo>
                  <a:lnTo>
                    <a:pt x="45" y="10"/>
                  </a:lnTo>
                  <a:lnTo>
                    <a:pt x="49" y="9"/>
                  </a:lnTo>
                  <a:lnTo>
                    <a:pt x="51" y="7"/>
                  </a:lnTo>
                  <a:lnTo>
                    <a:pt x="52" y="8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4" y="11"/>
                  </a:lnTo>
                  <a:lnTo>
                    <a:pt x="56" y="13"/>
                  </a:lnTo>
                  <a:lnTo>
                    <a:pt x="62" y="13"/>
                  </a:lnTo>
                  <a:lnTo>
                    <a:pt x="62" y="14"/>
                  </a:lnTo>
                  <a:lnTo>
                    <a:pt x="62" y="15"/>
                  </a:lnTo>
                  <a:lnTo>
                    <a:pt x="63" y="16"/>
                  </a:lnTo>
                  <a:lnTo>
                    <a:pt x="65" y="17"/>
                  </a:lnTo>
                  <a:lnTo>
                    <a:pt x="66" y="18"/>
                  </a:lnTo>
                  <a:lnTo>
                    <a:pt x="69" y="19"/>
                  </a:lnTo>
                  <a:lnTo>
                    <a:pt x="71" y="19"/>
                  </a:lnTo>
                  <a:lnTo>
                    <a:pt x="73" y="20"/>
                  </a:lnTo>
                  <a:lnTo>
                    <a:pt x="74" y="20"/>
                  </a:lnTo>
                  <a:lnTo>
                    <a:pt x="74" y="21"/>
                  </a:lnTo>
                  <a:lnTo>
                    <a:pt x="75" y="23"/>
                  </a:lnTo>
                  <a:lnTo>
                    <a:pt x="73" y="27"/>
                  </a:lnTo>
                  <a:lnTo>
                    <a:pt x="74" y="28"/>
                  </a:lnTo>
                  <a:lnTo>
                    <a:pt x="72" y="29"/>
                  </a:lnTo>
                  <a:lnTo>
                    <a:pt x="73" y="30"/>
                  </a:lnTo>
                  <a:lnTo>
                    <a:pt x="75" y="29"/>
                  </a:lnTo>
                  <a:lnTo>
                    <a:pt x="77" y="30"/>
                  </a:lnTo>
                  <a:lnTo>
                    <a:pt x="77" y="30"/>
                  </a:lnTo>
                  <a:lnTo>
                    <a:pt x="82" y="28"/>
                  </a:lnTo>
                  <a:lnTo>
                    <a:pt x="83" y="29"/>
                  </a:lnTo>
                  <a:lnTo>
                    <a:pt x="83" y="30"/>
                  </a:lnTo>
                  <a:lnTo>
                    <a:pt x="84" y="31"/>
                  </a:lnTo>
                  <a:lnTo>
                    <a:pt x="84" y="33"/>
                  </a:lnTo>
                  <a:lnTo>
                    <a:pt x="83" y="33"/>
                  </a:lnTo>
                  <a:lnTo>
                    <a:pt x="87" y="34"/>
                  </a:lnTo>
                  <a:lnTo>
                    <a:pt x="87" y="35"/>
                  </a:lnTo>
                  <a:lnTo>
                    <a:pt x="85" y="35"/>
                  </a:lnTo>
                  <a:lnTo>
                    <a:pt x="80" y="37"/>
                  </a:lnTo>
                  <a:lnTo>
                    <a:pt x="77" y="38"/>
                  </a:lnTo>
                  <a:lnTo>
                    <a:pt x="75" y="39"/>
                  </a:lnTo>
                  <a:lnTo>
                    <a:pt x="73" y="39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70" y="37"/>
                  </a:lnTo>
                  <a:lnTo>
                    <a:pt x="67" y="38"/>
                  </a:lnTo>
                  <a:lnTo>
                    <a:pt x="67" y="37"/>
                  </a:lnTo>
                  <a:lnTo>
                    <a:pt x="65" y="36"/>
                  </a:lnTo>
                  <a:lnTo>
                    <a:pt x="64" y="36"/>
                  </a:lnTo>
                  <a:lnTo>
                    <a:pt x="63" y="36"/>
                  </a:lnTo>
                  <a:lnTo>
                    <a:pt x="62" y="36"/>
                  </a:lnTo>
                  <a:lnTo>
                    <a:pt x="59" y="36"/>
                  </a:lnTo>
                  <a:lnTo>
                    <a:pt x="60" y="35"/>
                  </a:lnTo>
                  <a:lnTo>
                    <a:pt x="61" y="34"/>
                  </a:lnTo>
                  <a:lnTo>
                    <a:pt x="62" y="33"/>
                  </a:lnTo>
                  <a:lnTo>
                    <a:pt x="61" y="31"/>
                  </a:lnTo>
                  <a:lnTo>
                    <a:pt x="56" y="30"/>
                  </a:lnTo>
                  <a:lnTo>
                    <a:pt x="55" y="31"/>
                  </a:lnTo>
                  <a:lnTo>
                    <a:pt x="55" y="31"/>
                  </a:lnTo>
                  <a:lnTo>
                    <a:pt x="54" y="31"/>
                  </a:lnTo>
                  <a:lnTo>
                    <a:pt x="56" y="29"/>
                  </a:lnTo>
                  <a:lnTo>
                    <a:pt x="58" y="28"/>
                  </a:lnTo>
                  <a:lnTo>
                    <a:pt x="58" y="28"/>
                  </a:lnTo>
                  <a:lnTo>
                    <a:pt x="53" y="28"/>
                  </a:lnTo>
                  <a:lnTo>
                    <a:pt x="49" y="29"/>
                  </a:lnTo>
                  <a:lnTo>
                    <a:pt x="49" y="30"/>
                  </a:lnTo>
                  <a:lnTo>
                    <a:pt x="46" y="33"/>
                  </a:lnTo>
                  <a:lnTo>
                    <a:pt x="46" y="34"/>
                  </a:lnTo>
                  <a:lnTo>
                    <a:pt x="45" y="35"/>
                  </a:lnTo>
                  <a:lnTo>
                    <a:pt x="43" y="35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39" y="37"/>
                  </a:lnTo>
                  <a:lnTo>
                    <a:pt x="38" y="38"/>
                  </a:lnTo>
                  <a:lnTo>
                    <a:pt x="35" y="37"/>
                  </a:lnTo>
                  <a:lnTo>
                    <a:pt x="33" y="39"/>
                  </a:lnTo>
                  <a:lnTo>
                    <a:pt x="31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29" y="41"/>
                  </a:lnTo>
                  <a:lnTo>
                    <a:pt x="26" y="43"/>
                  </a:lnTo>
                  <a:lnTo>
                    <a:pt x="19" y="45"/>
                  </a:lnTo>
                  <a:lnTo>
                    <a:pt x="18" y="44"/>
                  </a:lnTo>
                  <a:lnTo>
                    <a:pt x="15" y="45"/>
                  </a:lnTo>
                  <a:lnTo>
                    <a:pt x="15" y="43"/>
                  </a:lnTo>
                  <a:lnTo>
                    <a:pt x="17" y="39"/>
                  </a:lnTo>
                  <a:lnTo>
                    <a:pt x="19" y="37"/>
                  </a:lnTo>
                  <a:lnTo>
                    <a:pt x="19" y="36"/>
                  </a:lnTo>
                  <a:lnTo>
                    <a:pt x="20" y="34"/>
                  </a:lnTo>
                  <a:lnTo>
                    <a:pt x="21" y="33"/>
                  </a:lnTo>
                  <a:lnTo>
                    <a:pt x="19" y="34"/>
                  </a:lnTo>
                  <a:lnTo>
                    <a:pt x="18" y="36"/>
                  </a:lnTo>
                  <a:lnTo>
                    <a:pt x="15" y="36"/>
                  </a:lnTo>
                  <a:lnTo>
                    <a:pt x="13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8" y="36"/>
                  </a:lnTo>
                  <a:lnTo>
                    <a:pt x="4" y="37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0" y="36"/>
                  </a:lnTo>
                  <a:lnTo>
                    <a:pt x="4" y="33"/>
                  </a:lnTo>
                  <a:lnTo>
                    <a:pt x="8" y="31"/>
                  </a:lnTo>
                  <a:lnTo>
                    <a:pt x="11" y="31"/>
                  </a:lnTo>
                  <a:lnTo>
                    <a:pt x="17" y="28"/>
                  </a:lnTo>
                  <a:lnTo>
                    <a:pt x="18" y="27"/>
                  </a:lnTo>
                  <a:lnTo>
                    <a:pt x="18" y="26"/>
                  </a:lnTo>
                  <a:lnTo>
                    <a:pt x="19" y="23"/>
                  </a:lnTo>
                  <a:lnTo>
                    <a:pt x="20" y="21"/>
                  </a:lnTo>
                  <a:lnTo>
                    <a:pt x="21" y="20"/>
                  </a:lnTo>
                  <a:lnTo>
                    <a:pt x="24" y="18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8" y="14"/>
                  </a:lnTo>
                  <a:lnTo>
                    <a:pt x="32" y="9"/>
                  </a:lnTo>
                  <a:lnTo>
                    <a:pt x="32" y="8"/>
                  </a:lnTo>
                  <a:lnTo>
                    <a:pt x="34" y="7"/>
                  </a:lnTo>
                  <a:lnTo>
                    <a:pt x="36" y="4"/>
                  </a:lnTo>
                  <a:lnTo>
                    <a:pt x="39" y="3"/>
                  </a:lnTo>
                  <a:lnTo>
                    <a:pt x="41" y="3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65" name="Freeform 1165"/>
            <p:cNvSpPr>
              <a:spLocks/>
            </p:cNvSpPr>
            <p:nvPr/>
          </p:nvSpPr>
          <p:spPr bwMode="auto">
            <a:xfrm>
              <a:off x="1722" y="972"/>
              <a:ext cx="9" cy="8"/>
            </a:xfrm>
            <a:custGeom>
              <a:avLst/>
              <a:gdLst>
                <a:gd name="T0" fmla="*/ 5 w 9"/>
                <a:gd name="T1" fmla="*/ 2 h 8"/>
                <a:gd name="T2" fmla="*/ 6 w 9"/>
                <a:gd name="T3" fmla="*/ 3 h 8"/>
                <a:gd name="T4" fmla="*/ 6 w 9"/>
                <a:gd name="T5" fmla="*/ 3 h 8"/>
                <a:gd name="T6" fmla="*/ 6 w 9"/>
                <a:gd name="T7" fmla="*/ 4 h 8"/>
                <a:gd name="T8" fmla="*/ 6 w 9"/>
                <a:gd name="T9" fmla="*/ 6 h 8"/>
                <a:gd name="T10" fmla="*/ 6 w 9"/>
                <a:gd name="T11" fmla="*/ 7 h 8"/>
                <a:gd name="T12" fmla="*/ 9 w 9"/>
                <a:gd name="T13" fmla="*/ 7 h 8"/>
                <a:gd name="T14" fmla="*/ 9 w 9"/>
                <a:gd name="T15" fmla="*/ 8 h 8"/>
                <a:gd name="T16" fmla="*/ 4 w 9"/>
                <a:gd name="T17" fmla="*/ 8 h 8"/>
                <a:gd name="T18" fmla="*/ 3 w 9"/>
                <a:gd name="T19" fmla="*/ 7 h 8"/>
                <a:gd name="T20" fmla="*/ 1 w 9"/>
                <a:gd name="T21" fmla="*/ 6 h 8"/>
                <a:gd name="T22" fmla="*/ 2 w 9"/>
                <a:gd name="T23" fmla="*/ 4 h 8"/>
                <a:gd name="T24" fmla="*/ 1 w 9"/>
                <a:gd name="T25" fmla="*/ 2 h 8"/>
                <a:gd name="T26" fmla="*/ 0 w 9"/>
                <a:gd name="T27" fmla="*/ 1 h 8"/>
                <a:gd name="T28" fmla="*/ 0 w 9"/>
                <a:gd name="T29" fmla="*/ 0 h 8"/>
                <a:gd name="T30" fmla="*/ 2 w 9"/>
                <a:gd name="T31" fmla="*/ 0 h 8"/>
                <a:gd name="T32" fmla="*/ 4 w 9"/>
                <a:gd name="T33" fmla="*/ 1 h 8"/>
                <a:gd name="T34" fmla="*/ 5 w 9"/>
                <a:gd name="T35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" h="8">
                  <a:moveTo>
                    <a:pt x="5" y="2"/>
                  </a:moveTo>
                  <a:lnTo>
                    <a:pt x="6" y="3"/>
                  </a:lnTo>
                  <a:lnTo>
                    <a:pt x="6" y="3"/>
                  </a:lnTo>
                  <a:lnTo>
                    <a:pt x="6" y="4"/>
                  </a:lnTo>
                  <a:lnTo>
                    <a:pt x="6" y="6"/>
                  </a:lnTo>
                  <a:lnTo>
                    <a:pt x="6" y="7"/>
                  </a:lnTo>
                  <a:lnTo>
                    <a:pt x="9" y="7"/>
                  </a:lnTo>
                  <a:lnTo>
                    <a:pt x="9" y="8"/>
                  </a:lnTo>
                  <a:lnTo>
                    <a:pt x="4" y="8"/>
                  </a:lnTo>
                  <a:lnTo>
                    <a:pt x="3" y="7"/>
                  </a:lnTo>
                  <a:lnTo>
                    <a:pt x="1" y="6"/>
                  </a:lnTo>
                  <a:lnTo>
                    <a:pt x="2" y="4"/>
                  </a:lnTo>
                  <a:lnTo>
                    <a:pt x="1" y="2"/>
                  </a:lnTo>
                  <a:lnTo>
                    <a:pt x="0" y="1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1"/>
                  </a:lnTo>
                  <a:lnTo>
                    <a:pt x="5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66" name="Freeform 1166"/>
            <p:cNvSpPr>
              <a:spLocks/>
            </p:cNvSpPr>
            <p:nvPr/>
          </p:nvSpPr>
          <p:spPr bwMode="auto">
            <a:xfrm>
              <a:off x="1722" y="972"/>
              <a:ext cx="9" cy="8"/>
            </a:xfrm>
            <a:custGeom>
              <a:avLst/>
              <a:gdLst>
                <a:gd name="T0" fmla="*/ 5 w 9"/>
                <a:gd name="T1" fmla="*/ 2 h 8"/>
                <a:gd name="T2" fmla="*/ 6 w 9"/>
                <a:gd name="T3" fmla="*/ 3 h 8"/>
                <a:gd name="T4" fmla="*/ 6 w 9"/>
                <a:gd name="T5" fmla="*/ 3 h 8"/>
                <a:gd name="T6" fmla="*/ 6 w 9"/>
                <a:gd name="T7" fmla="*/ 4 h 8"/>
                <a:gd name="T8" fmla="*/ 6 w 9"/>
                <a:gd name="T9" fmla="*/ 6 h 8"/>
                <a:gd name="T10" fmla="*/ 6 w 9"/>
                <a:gd name="T11" fmla="*/ 7 h 8"/>
                <a:gd name="T12" fmla="*/ 9 w 9"/>
                <a:gd name="T13" fmla="*/ 7 h 8"/>
                <a:gd name="T14" fmla="*/ 9 w 9"/>
                <a:gd name="T15" fmla="*/ 8 h 8"/>
                <a:gd name="T16" fmla="*/ 4 w 9"/>
                <a:gd name="T17" fmla="*/ 8 h 8"/>
                <a:gd name="T18" fmla="*/ 3 w 9"/>
                <a:gd name="T19" fmla="*/ 7 h 8"/>
                <a:gd name="T20" fmla="*/ 1 w 9"/>
                <a:gd name="T21" fmla="*/ 6 h 8"/>
                <a:gd name="T22" fmla="*/ 2 w 9"/>
                <a:gd name="T23" fmla="*/ 4 h 8"/>
                <a:gd name="T24" fmla="*/ 1 w 9"/>
                <a:gd name="T25" fmla="*/ 2 h 8"/>
                <a:gd name="T26" fmla="*/ 0 w 9"/>
                <a:gd name="T27" fmla="*/ 1 h 8"/>
                <a:gd name="T28" fmla="*/ 0 w 9"/>
                <a:gd name="T29" fmla="*/ 0 h 8"/>
                <a:gd name="T30" fmla="*/ 2 w 9"/>
                <a:gd name="T31" fmla="*/ 0 h 8"/>
                <a:gd name="T32" fmla="*/ 4 w 9"/>
                <a:gd name="T33" fmla="*/ 1 h 8"/>
                <a:gd name="T34" fmla="*/ 5 w 9"/>
                <a:gd name="T35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" h="8">
                  <a:moveTo>
                    <a:pt x="5" y="2"/>
                  </a:moveTo>
                  <a:lnTo>
                    <a:pt x="6" y="3"/>
                  </a:lnTo>
                  <a:lnTo>
                    <a:pt x="6" y="3"/>
                  </a:lnTo>
                  <a:lnTo>
                    <a:pt x="6" y="4"/>
                  </a:lnTo>
                  <a:lnTo>
                    <a:pt x="6" y="6"/>
                  </a:lnTo>
                  <a:lnTo>
                    <a:pt x="6" y="7"/>
                  </a:lnTo>
                  <a:lnTo>
                    <a:pt x="9" y="7"/>
                  </a:lnTo>
                  <a:lnTo>
                    <a:pt x="9" y="8"/>
                  </a:lnTo>
                  <a:lnTo>
                    <a:pt x="4" y="8"/>
                  </a:lnTo>
                  <a:lnTo>
                    <a:pt x="3" y="7"/>
                  </a:lnTo>
                  <a:lnTo>
                    <a:pt x="1" y="6"/>
                  </a:lnTo>
                  <a:lnTo>
                    <a:pt x="2" y="4"/>
                  </a:lnTo>
                  <a:lnTo>
                    <a:pt x="1" y="2"/>
                  </a:lnTo>
                  <a:lnTo>
                    <a:pt x="0" y="1"/>
                  </a:lnTo>
                  <a:lnTo>
                    <a:pt x="0" y="0"/>
                  </a:lnTo>
                  <a:lnTo>
                    <a:pt x="2" y="0"/>
                  </a:lnTo>
                  <a:lnTo>
                    <a:pt x="4" y="1"/>
                  </a:lnTo>
                  <a:lnTo>
                    <a:pt x="5" y="2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67" name="Freeform 1167"/>
            <p:cNvSpPr>
              <a:spLocks/>
            </p:cNvSpPr>
            <p:nvPr/>
          </p:nvSpPr>
          <p:spPr bwMode="auto">
            <a:xfrm>
              <a:off x="1823" y="938"/>
              <a:ext cx="31" cy="17"/>
            </a:xfrm>
            <a:custGeom>
              <a:avLst/>
              <a:gdLst>
                <a:gd name="T0" fmla="*/ 19 w 31"/>
                <a:gd name="T1" fmla="*/ 0 h 17"/>
                <a:gd name="T2" fmla="*/ 20 w 31"/>
                <a:gd name="T3" fmla="*/ 0 h 17"/>
                <a:gd name="T4" fmla="*/ 20 w 31"/>
                <a:gd name="T5" fmla="*/ 0 h 17"/>
                <a:gd name="T6" fmla="*/ 21 w 31"/>
                <a:gd name="T7" fmla="*/ 1 h 17"/>
                <a:gd name="T8" fmla="*/ 23 w 31"/>
                <a:gd name="T9" fmla="*/ 0 h 17"/>
                <a:gd name="T10" fmla="*/ 25 w 31"/>
                <a:gd name="T11" fmla="*/ 0 h 17"/>
                <a:gd name="T12" fmla="*/ 26 w 31"/>
                <a:gd name="T13" fmla="*/ 2 h 17"/>
                <a:gd name="T14" fmla="*/ 27 w 31"/>
                <a:gd name="T15" fmla="*/ 2 h 17"/>
                <a:gd name="T16" fmla="*/ 30 w 31"/>
                <a:gd name="T17" fmla="*/ 2 h 17"/>
                <a:gd name="T18" fmla="*/ 31 w 31"/>
                <a:gd name="T19" fmla="*/ 3 h 17"/>
                <a:gd name="T20" fmla="*/ 30 w 31"/>
                <a:gd name="T21" fmla="*/ 5 h 17"/>
                <a:gd name="T22" fmla="*/ 27 w 31"/>
                <a:gd name="T23" fmla="*/ 7 h 17"/>
                <a:gd name="T24" fmla="*/ 27 w 31"/>
                <a:gd name="T25" fmla="*/ 10 h 17"/>
                <a:gd name="T26" fmla="*/ 24 w 31"/>
                <a:gd name="T27" fmla="*/ 12 h 17"/>
                <a:gd name="T28" fmla="*/ 20 w 31"/>
                <a:gd name="T29" fmla="*/ 14 h 17"/>
                <a:gd name="T30" fmla="*/ 16 w 31"/>
                <a:gd name="T31" fmla="*/ 16 h 17"/>
                <a:gd name="T32" fmla="*/ 4 w 31"/>
                <a:gd name="T33" fmla="*/ 17 h 17"/>
                <a:gd name="T34" fmla="*/ 3 w 31"/>
                <a:gd name="T35" fmla="*/ 16 h 17"/>
                <a:gd name="T36" fmla="*/ 1 w 31"/>
                <a:gd name="T37" fmla="*/ 16 h 17"/>
                <a:gd name="T38" fmla="*/ 0 w 31"/>
                <a:gd name="T39" fmla="*/ 14 h 17"/>
                <a:gd name="T40" fmla="*/ 0 w 31"/>
                <a:gd name="T41" fmla="*/ 12 h 17"/>
                <a:gd name="T42" fmla="*/ 1 w 31"/>
                <a:gd name="T43" fmla="*/ 10 h 17"/>
                <a:gd name="T44" fmla="*/ 3 w 31"/>
                <a:gd name="T45" fmla="*/ 7 h 17"/>
                <a:gd name="T46" fmla="*/ 5 w 31"/>
                <a:gd name="T47" fmla="*/ 6 h 17"/>
                <a:gd name="T48" fmla="*/ 7 w 31"/>
                <a:gd name="T49" fmla="*/ 4 h 17"/>
                <a:gd name="T50" fmla="*/ 10 w 31"/>
                <a:gd name="T51" fmla="*/ 3 h 17"/>
                <a:gd name="T52" fmla="*/ 13 w 31"/>
                <a:gd name="T53" fmla="*/ 1 h 17"/>
                <a:gd name="T54" fmla="*/ 16 w 31"/>
                <a:gd name="T55" fmla="*/ 1 h 17"/>
                <a:gd name="T56" fmla="*/ 19 w 31"/>
                <a:gd name="T5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1" h="17">
                  <a:moveTo>
                    <a:pt x="19" y="0"/>
                  </a:moveTo>
                  <a:lnTo>
                    <a:pt x="20" y="0"/>
                  </a:lnTo>
                  <a:lnTo>
                    <a:pt x="20" y="0"/>
                  </a:lnTo>
                  <a:lnTo>
                    <a:pt x="21" y="1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30" y="2"/>
                  </a:lnTo>
                  <a:lnTo>
                    <a:pt x="31" y="3"/>
                  </a:lnTo>
                  <a:lnTo>
                    <a:pt x="30" y="5"/>
                  </a:lnTo>
                  <a:lnTo>
                    <a:pt x="27" y="7"/>
                  </a:lnTo>
                  <a:lnTo>
                    <a:pt x="27" y="10"/>
                  </a:lnTo>
                  <a:lnTo>
                    <a:pt x="24" y="12"/>
                  </a:lnTo>
                  <a:lnTo>
                    <a:pt x="20" y="14"/>
                  </a:lnTo>
                  <a:lnTo>
                    <a:pt x="16" y="16"/>
                  </a:lnTo>
                  <a:lnTo>
                    <a:pt x="4" y="17"/>
                  </a:lnTo>
                  <a:lnTo>
                    <a:pt x="3" y="16"/>
                  </a:lnTo>
                  <a:lnTo>
                    <a:pt x="1" y="16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1" y="10"/>
                  </a:lnTo>
                  <a:lnTo>
                    <a:pt x="3" y="7"/>
                  </a:lnTo>
                  <a:lnTo>
                    <a:pt x="5" y="6"/>
                  </a:lnTo>
                  <a:lnTo>
                    <a:pt x="7" y="4"/>
                  </a:lnTo>
                  <a:lnTo>
                    <a:pt x="10" y="3"/>
                  </a:lnTo>
                  <a:lnTo>
                    <a:pt x="13" y="1"/>
                  </a:lnTo>
                  <a:lnTo>
                    <a:pt x="16" y="1"/>
                  </a:lnTo>
                  <a:lnTo>
                    <a:pt x="1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68" name="Freeform 1168"/>
            <p:cNvSpPr>
              <a:spLocks/>
            </p:cNvSpPr>
            <p:nvPr/>
          </p:nvSpPr>
          <p:spPr bwMode="auto">
            <a:xfrm>
              <a:off x="1823" y="938"/>
              <a:ext cx="31" cy="17"/>
            </a:xfrm>
            <a:custGeom>
              <a:avLst/>
              <a:gdLst>
                <a:gd name="T0" fmla="*/ 19 w 31"/>
                <a:gd name="T1" fmla="*/ 0 h 17"/>
                <a:gd name="T2" fmla="*/ 20 w 31"/>
                <a:gd name="T3" fmla="*/ 0 h 17"/>
                <a:gd name="T4" fmla="*/ 20 w 31"/>
                <a:gd name="T5" fmla="*/ 0 h 17"/>
                <a:gd name="T6" fmla="*/ 21 w 31"/>
                <a:gd name="T7" fmla="*/ 1 h 17"/>
                <a:gd name="T8" fmla="*/ 23 w 31"/>
                <a:gd name="T9" fmla="*/ 0 h 17"/>
                <a:gd name="T10" fmla="*/ 25 w 31"/>
                <a:gd name="T11" fmla="*/ 0 h 17"/>
                <a:gd name="T12" fmla="*/ 26 w 31"/>
                <a:gd name="T13" fmla="*/ 2 h 17"/>
                <a:gd name="T14" fmla="*/ 27 w 31"/>
                <a:gd name="T15" fmla="*/ 2 h 17"/>
                <a:gd name="T16" fmla="*/ 30 w 31"/>
                <a:gd name="T17" fmla="*/ 2 h 17"/>
                <a:gd name="T18" fmla="*/ 31 w 31"/>
                <a:gd name="T19" fmla="*/ 3 h 17"/>
                <a:gd name="T20" fmla="*/ 30 w 31"/>
                <a:gd name="T21" fmla="*/ 5 h 17"/>
                <a:gd name="T22" fmla="*/ 27 w 31"/>
                <a:gd name="T23" fmla="*/ 7 h 17"/>
                <a:gd name="T24" fmla="*/ 27 w 31"/>
                <a:gd name="T25" fmla="*/ 10 h 17"/>
                <a:gd name="T26" fmla="*/ 24 w 31"/>
                <a:gd name="T27" fmla="*/ 12 h 17"/>
                <a:gd name="T28" fmla="*/ 20 w 31"/>
                <a:gd name="T29" fmla="*/ 14 h 17"/>
                <a:gd name="T30" fmla="*/ 16 w 31"/>
                <a:gd name="T31" fmla="*/ 16 h 17"/>
                <a:gd name="T32" fmla="*/ 4 w 31"/>
                <a:gd name="T33" fmla="*/ 17 h 17"/>
                <a:gd name="T34" fmla="*/ 3 w 31"/>
                <a:gd name="T35" fmla="*/ 16 h 17"/>
                <a:gd name="T36" fmla="*/ 1 w 31"/>
                <a:gd name="T37" fmla="*/ 16 h 17"/>
                <a:gd name="T38" fmla="*/ 0 w 31"/>
                <a:gd name="T39" fmla="*/ 14 h 17"/>
                <a:gd name="T40" fmla="*/ 0 w 31"/>
                <a:gd name="T41" fmla="*/ 12 h 17"/>
                <a:gd name="T42" fmla="*/ 1 w 31"/>
                <a:gd name="T43" fmla="*/ 10 h 17"/>
                <a:gd name="T44" fmla="*/ 3 w 31"/>
                <a:gd name="T45" fmla="*/ 7 h 17"/>
                <a:gd name="T46" fmla="*/ 5 w 31"/>
                <a:gd name="T47" fmla="*/ 6 h 17"/>
                <a:gd name="T48" fmla="*/ 7 w 31"/>
                <a:gd name="T49" fmla="*/ 4 h 17"/>
                <a:gd name="T50" fmla="*/ 10 w 31"/>
                <a:gd name="T51" fmla="*/ 3 h 17"/>
                <a:gd name="T52" fmla="*/ 13 w 31"/>
                <a:gd name="T53" fmla="*/ 1 h 17"/>
                <a:gd name="T54" fmla="*/ 16 w 31"/>
                <a:gd name="T55" fmla="*/ 1 h 17"/>
                <a:gd name="T56" fmla="*/ 19 w 31"/>
                <a:gd name="T5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1" h="17">
                  <a:moveTo>
                    <a:pt x="19" y="0"/>
                  </a:moveTo>
                  <a:lnTo>
                    <a:pt x="20" y="0"/>
                  </a:lnTo>
                  <a:lnTo>
                    <a:pt x="20" y="0"/>
                  </a:lnTo>
                  <a:lnTo>
                    <a:pt x="21" y="1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30" y="2"/>
                  </a:lnTo>
                  <a:lnTo>
                    <a:pt x="31" y="3"/>
                  </a:lnTo>
                  <a:lnTo>
                    <a:pt x="30" y="5"/>
                  </a:lnTo>
                  <a:lnTo>
                    <a:pt x="27" y="7"/>
                  </a:lnTo>
                  <a:lnTo>
                    <a:pt x="27" y="10"/>
                  </a:lnTo>
                  <a:lnTo>
                    <a:pt x="24" y="12"/>
                  </a:lnTo>
                  <a:lnTo>
                    <a:pt x="20" y="14"/>
                  </a:lnTo>
                  <a:lnTo>
                    <a:pt x="16" y="16"/>
                  </a:lnTo>
                  <a:lnTo>
                    <a:pt x="4" y="17"/>
                  </a:lnTo>
                  <a:lnTo>
                    <a:pt x="3" y="16"/>
                  </a:lnTo>
                  <a:lnTo>
                    <a:pt x="1" y="16"/>
                  </a:lnTo>
                  <a:lnTo>
                    <a:pt x="0" y="14"/>
                  </a:lnTo>
                  <a:lnTo>
                    <a:pt x="0" y="12"/>
                  </a:lnTo>
                  <a:lnTo>
                    <a:pt x="1" y="10"/>
                  </a:lnTo>
                  <a:lnTo>
                    <a:pt x="3" y="7"/>
                  </a:lnTo>
                  <a:lnTo>
                    <a:pt x="5" y="6"/>
                  </a:lnTo>
                  <a:lnTo>
                    <a:pt x="7" y="4"/>
                  </a:lnTo>
                  <a:lnTo>
                    <a:pt x="10" y="3"/>
                  </a:lnTo>
                  <a:lnTo>
                    <a:pt x="13" y="1"/>
                  </a:lnTo>
                  <a:lnTo>
                    <a:pt x="16" y="1"/>
                  </a:lnTo>
                  <a:lnTo>
                    <a:pt x="19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69" name="Freeform 1169"/>
            <p:cNvSpPr>
              <a:spLocks/>
            </p:cNvSpPr>
            <p:nvPr/>
          </p:nvSpPr>
          <p:spPr bwMode="auto">
            <a:xfrm>
              <a:off x="1856" y="940"/>
              <a:ext cx="13" cy="7"/>
            </a:xfrm>
            <a:custGeom>
              <a:avLst/>
              <a:gdLst>
                <a:gd name="T0" fmla="*/ 1 w 13"/>
                <a:gd name="T1" fmla="*/ 3 h 7"/>
                <a:gd name="T2" fmla="*/ 2 w 13"/>
                <a:gd name="T3" fmla="*/ 2 h 7"/>
                <a:gd name="T4" fmla="*/ 4 w 13"/>
                <a:gd name="T5" fmla="*/ 2 h 7"/>
                <a:gd name="T6" fmla="*/ 8 w 13"/>
                <a:gd name="T7" fmla="*/ 0 h 7"/>
                <a:gd name="T8" fmla="*/ 8 w 13"/>
                <a:gd name="T9" fmla="*/ 2 h 7"/>
                <a:gd name="T10" fmla="*/ 11 w 13"/>
                <a:gd name="T11" fmla="*/ 3 h 7"/>
                <a:gd name="T12" fmla="*/ 13 w 13"/>
                <a:gd name="T13" fmla="*/ 3 h 7"/>
                <a:gd name="T14" fmla="*/ 13 w 13"/>
                <a:gd name="T15" fmla="*/ 5 h 7"/>
                <a:gd name="T16" fmla="*/ 11 w 13"/>
                <a:gd name="T17" fmla="*/ 7 h 7"/>
                <a:gd name="T18" fmla="*/ 7 w 13"/>
                <a:gd name="T19" fmla="*/ 7 h 7"/>
                <a:gd name="T20" fmla="*/ 2 w 13"/>
                <a:gd name="T21" fmla="*/ 7 h 7"/>
                <a:gd name="T22" fmla="*/ 0 w 13"/>
                <a:gd name="T23" fmla="*/ 4 h 7"/>
                <a:gd name="T24" fmla="*/ 1 w 13"/>
                <a:gd name="T2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" h="7">
                  <a:moveTo>
                    <a:pt x="1" y="3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8" y="0"/>
                  </a:lnTo>
                  <a:lnTo>
                    <a:pt x="8" y="2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3" y="5"/>
                  </a:lnTo>
                  <a:lnTo>
                    <a:pt x="11" y="7"/>
                  </a:lnTo>
                  <a:lnTo>
                    <a:pt x="7" y="7"/>
                  </a:lnTo>
                  <a:lnTo>
                    <a:pt x="2" y="7"/>
                  </a:lnTo>
                  <a:lnTo>
                    <a:pt x="0" y="4"/>
                  </a:lnTo>
                  <a:lnTo>
                    <a:pt x="1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70" name="Freeform 1170"/>
            <p:cNvSpPr>
              <a:spLocks/>
            </p:cNvSpPr>
            <p:nvPr/>
          </p:nvSpPr>
          <p:spPr bwMode="auto">
            <a:xfrm>
              <a:off x="1856" y="940"/>
              <a:ext cx="13" cy="7"/>
            </a:xfrm>
            <a:custGeom>
              <a:avLst/>
              <a:gdLst>
                <a:gd name="T0" fmla="*/ 1 w 13"/>
                <a:gd name="T1" fmla="*/ 3 h 7"/>
                <a:gd name="T2" fmla="*/ 2 w 13"/>
                <a:gd name="T3" fmla="*/ 2 h 7"/>
                <a:gd name="T4" fmla="*/ 4 w 13"/>
                <a:gd name="T5" fmla="*/ 2 h 7"/>
                <a:gd name="T6" fmla="*/ 8 w 13"/>
                <a:gd name="T7" fmla="*/ 0 h 7"/>
                <a:gd name="T8" fmla="*/ 8 w 13"/>
                <a:gd name="T9" fmla="*/ 2 h 7"/>
                <a:gd name="T10" fmla="*/ 11 w 13"/>
                <a:gd name="T11" fmla="*/ 3 h 7"/>
                <a:gd name="T12" fmla="*/ 13 w 13"/>
                <a:gd name="T13" fmla="*/ 3 h 7"/>
                <a:gd name="T14" fmla="*/ 13 w 13"/>
                <a:gd name="T15" fmla="*/ 5 h 7"/>
                <a:gd name="T16" fmla="*/ 11 w 13"/>
                <a:gd name="T17" fmla="*/ 7 h 7"/>
                <a:gd name="T18" fmla="*/ 7 w 13"/>
                <a:gd name="T19" fmla="*/ 7 h 7"/>
                <a:gd name="T20" fmla="*/ 2 w 13"/>
                <a:gd name="T21" fmla="*/ 7 h 7"/>
                <a:gd name="T22" fmla="*/ 0 w 13"/>
                <a:gd name="T23" fmla="*/ 4 h 7"/>
                <a:gd name="T24" fmla="*/ 1 w 13"/>
                <a:gd name="T2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3" h="7">
                  <a:moveTo>
                    <a:pt x="1" y="3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8" y="0"/>
                  </a:lnTo>
                  <a:lnTo>
                    <a:pt x="8" y="2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3" y="5"/>
                  </a:lnTo>
                  <a:lnTo>
                    <a:pt x="11" y="7"/>
                  </a:lnTo>
                  <a:lnTo>
                    <a:pt x="7" y="7"/>
                  </a:lnTo>
                  <a:lnTo>
                    <a:pt x="2" y="7"/>
                  </a:lnTo>
                  <a:lnTo>
                    <a:pt x="0" y="4"/>
                  </a:lnTo>
                  <a:lnTo>
                    <a:pt x="1" y="3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71" name="Freeform 1171"/>
            <p:cNvSpPr>
              <a:spLocks/>
            </p:cNvSpPr>
            <p:nvPr/>
          </p:nvSpPr>
          <p:spPr bwMode="auto">
            <a:xfrm>
              <a:off x="1812" y="922"/>
              <a:ext cx="17" cy="7"/>
            </a:xfrm>
            <a:custGeom>
              <a:avLst/>
              <a:gdLst>
                <a:gd name="T0" fmla="*/ 13 w 17"/>
                <a:gd name="T1" fmla="*/ 2 h 7"/>
                <a:gd name="T2" fmla="*/ 11 w 17"/>
                <a:gd name="T3" fmla="*/ 3 h 7"/>
                <a:gd name="T4" fmla="*/ 7 w 17"/>
                <a:gd name="T5" fmla="*/ 6 h 7"/>
                <a:gd name="T6" fmla="*/ 5 w 17"/>
                <a:gd name="T7" fmla="*/ 7 h 7"/>
                <a:gd name="T8" fmla="*/ 0 w 17"/>
                <a:gd name="T9" fmla="*/ 7 h 7"/>
                <a:gd name="T10" fmla="*/ 1 w 17"/>
                <a:gd name="T11" fmla="*/ 6 h 7"/>
                <a:gd name="T12" fmla="*/ 4 w 17"/>
                <a:gd name="T13" fmla="*/ 5 h 7"/>
                <a:gd name="T14" fmla="*/ 7 w 17"/>
                <a:gd name="T15" fmla="*/ 3 h 7"/>
                <a:gd name="T16" fmla="*/ 11 w 17"/>
                <a:gd name="T17" fmla="*/ 1 h 7"/>
                <a:gd name="T18" fmla="*/ 13 w 17"/>
                <a:gd name="T19" fmla="*/ 0 h 7"/>
                <a:gd name="T20" fmla="*/ 14 w 17"/>
                <a:gd name="T21" fmla="*/ 0 h 7"/>
                <a:gd name="T22" fmla="*/ 16 w 17"/>
                <a:gd name="T23" fmla="*/ 0 h 7"/>
                <a:gd name="T24" fmla="*/ 17 w 17"/>
                <a:gd name="T25" fmla="*/ 0 h 7"/>
                <a:gd name="T26" fmla="*/ 16 w 17"/>
                <a:gd name="T27" fmla="*/ 1 h 7"/>
                <a:gd name="T28" fmla="*/ 15 w 17"/>
                <a:gd name="T29" fmla="*/ 2 h 7"/>
                <a:gd name="T30" fmla="*/ 14 w 17"/>
                <a:gd name="T31" fmla="*/ 2 h 7"/>
                <a:gd name="T32" fmla="*/ 13 w 17"/>
                <a:gd name="T3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" h="7">
                  <a:moveTo>
                    <a:pt x="13" y="2"/>
                  </a:moveTo>
                  <a:lnTo>
                    <a:pt x="11" y="3"/>
                  </a:lnTo>
                  <a:lnTo>
                    <a:pt x="7" y="6"/>
                  </a:lnTo>
                  <a:lnTo>
                    <a:pt x="5" y="7"/>
                  </a:lnTo>
                  <a:lnTo>
                    <a:pt x="0" y="7"/>
                  </a:lnTo>
                  <a:lnTo>
                    <a:pt x="1" y="6"/>
                  </a:lnTo>
                  <a:lnTo>
                    <a:pt x="4" y="5"/>
                  </a:lnTo>
                  <a:lnTo>
                    <a:pt x="7" y="3"/>
                  </a:lnTo>
                  <a:lnTo>
                    <a:pt x="11" y="1"/>
                  </a:lnTo>
                  <a:lnTo>
                    <a:pt x="13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6" y="1"/>
                  </a:lnTo>
                  <a:lnTo>
                    <a:pt x="15" y="2"/>
                  </a:lnTo>
                  <a:lnTo>
                    <a:pt x="14" y="2"/>
                  </a:lnTo>
                  <a:lnTo>
                    <a:pt x="13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72" name="Freeform 1172"/>
            <p:cNvSpPr>
              <a:spLocks/>
            </p:cNvSpPr>
            <p:nvPr/>
          </p:nvSpPr>
          <p:spPr bwMode="auto">
            <a:xfrm>
              <a:off x="1812" y="922"/>
              <a:ext cx="17" cy="7"/>
            </a:xfrm>
            <a:custGeom>
              <a:avLst/>
              <a:gdLst>
                <a:gd name="T0" fmla="*/ 13 w 17"/>
                <a:gd name="T1" fmla="*/ 2 h 7"/>
                <a:gd name="T2" fmla="*/ 11 w 17"/>
                <a:gd name="T3" fmla="*/ 3 h 7"/>
                <a:gd name="T4" fmla="*/ 7 w 17"/>
                <a:gd name="T5" fmla="*/ 6 h 7"/>
                <a:gd name="T6" fmla="*/ 5 w 17"/>
                <a:gd name="T7" fmla="*/ 7 h 7"/>
                <a:gd name="T8" fmla="*/ 0 w 17"/>
                <a:gd name="T9" fmla="*/ 7 h 7"/>
                <a:gd name="T10" fmla="*/ 1 w 17"/>
                <a:gd name="T11" fmla="*/ 6 h 7"/>
                <a:gd name="T12" fmla="*/ 4 w 17"/>
                <a:gd name="T13" fmla="*/ 5 h 7"/>
                <a:gd name="T14" fmla="*/ 7 w 17"/>
                <a:gd name="T15" fmla="*/ 3 h 7"/>
                <a:gd name="T16" fmla="*/ 11 w 17"/>
                <a:gd name="T17" fmla="*/ 1 h 7"/>
                <a:gd name="T18" fmla="*/ 13 w 17"/>
                <a:gd name="T19" fmla="*/ 0 h 7"/>
                <a:gd name="T20" fmla="*/ 14 w 17"/>
                <a:gd name="T21" fmla="*/ 0 h 7"/>
                <a:gd name="T22" fmla="*/ 16 w 17"/>
                <a:gd name="T23" fmla="*/ 0 h 7"/>
                <a:gd name="T24" fmla="*/ 17 w 17"/>
                <a:gd name="T25" fmla="*/ 0 h 7"/>
                <a:gd name="T26" fmla="*/ 16 w 17"/>
                <a:gd name="T27" fmla="*/ 1 h 7"/>
                <a:gd name="T28" fmla="*/ 15 w 17"/>
                <a:gd name="T29" fmla="*/ 2 h 7"/>
                <a:gd name="T30" fmla="*/ 14 w 17"/>
                <a:gd name="T31" fmla="*/ 2 h 7"/>
                <a:gd name="T32" fmla="*/ 13 w 17"/>
                <a:gd name="T3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7" h="7">
                  <a:moveTo>
                    <a:pt x="13" y="2"/>
                  </a:moveTo>
                  <a:lnTo>
                    <a:pt x="11" y="3"/>
                  </a:lnTo>
                  <a:lnTo>
                    <a:pt x="7" y="6"/>
                  </a:lnTo>
                  <a:lnTo>
                    <a:pt x="5" y="7"/>
                  </a:lnTo>
                  <a:lnTo>
                    <a:pt x="0" y="7"/>
                  </a:lnTo>
                  <a:lnTo>
                    <a:pt x="1" y="6"/>
                  </a:lnTo>
                  <a:lnTo>
                    <a:pt x="4" y="5"/>
                  </a:lnTo>
                  <a:lnTo>
                    <a:pt x="7" y="3"/>
                  </a:lnTo>
                  <a:lnTo>
                    <a:pt x="11" y="1"/>
                  </a:lnTo>
                  <a:lnTo>
                    <a:pt x="13" y="0"/>
                  </a:lnTo>
                  <a:lnTo>
                    <a:pt x="14" y="0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6" y="1"/>
                  </a:lnTo>
                  <a:lnTo>
                    <a:pt x="15" y="2"/>
                  </a:lnTo>
                  <a:lnTo>
                    <a:pt x="14" y="2"/>
                  </a:lnTo>
                  <a:lnTo>
                    <a:pt x="13" y="2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73" name="Freeform 1173"/>
            <p:cNvSpPr>
              <a:spLocks/>
            </p:cNvSpPr>
            <p:nvPr/>
          </p:nvSpPr>
          <p:spPr bwMode="auto">
            <a:xfrm>
              <a:off x="1808" y="915"/>
              <a:ext cx="12" cy="5"/>
            </a:xfrm>
            <a:custGeom>
              <a:avLst/>
              <a:gdLst>
                <a:gd name="T0" fmla="*/ 4 w 12"/>
                <a:gd name="T1" fmla="*/ 0 h 5"/>
                <a:gd name="T2" fmla="*/ 5 w 12"/>
                <a:gd name="T3" fmla="*/ 0 h 5"/>
                <a:gd name="T4" fmla="*/ 6 w 12"/>
                <a:gd name="T5" fmla="*/ 2 h 5"/>
                <a:gd name="T6" fmla="*/ 7 w 12"/>
                <a:gd name="T7" fmla="*/ 2 h 5"/>
                <a:gd name="T8" fmla="*/ 9 w 12"/>
                <a:gd name="T9" fmla="*/ 0 h 5"/>
                <a:gd name="T10" fmla="*/ 10 w 12"/>
                <a:gd name="T11" fmla="*/ 0 h 5"/>
                <a:gd name="T12" fmla="*/ 11 w 12"/>
                <a:gd name="T13" fmla="*/ 0 h 5"/>
                <a:gd name="T14" fmla="*/ 12 w 12"/>
                <a:gd name="T15" fmla="*/ 2 h 5"/>
                <a:gd name="T16" fmla="*/ 11 w 12"/>
                <a:gd name="T17" fmla="*/ 3 h 5"/>
                <a:gd name="T18" fmla="*/ 6 w 12"/>
                <a:gd name="T19" fmla="*/ 4 h 5"/>
                <a:gd name="T20" fmla="*/ 5 w 12"/>
                <a:gd name="T21" fmla="*/ 3 h 5"/>
                <a:gd name="T22" fmla="*/ 2 w 12"/>
                <a:gd name="T23" fmla="*/ 5 h 5"/>
                <a:gd name="T24" fmla="*/ 0 w 12"/>
                <a:gd name="T25" fmla="*/ 3 h 5"/>
                <a:gd name="T26" fmla="*/ 0 w 12"/>
                <a:gd name="T27" fmla="*/ 0 h 5"/>
                <a:gd name="T28" fmla="*/ 4 w 12"/>
                <a:gd name="T2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5">
                  <a:moveTo>
                    <a:pt x="4" y="0"/>
                  </a:moveTo>
                  <a:lnTo>
                    <a:pt x="5" y="0"/>
                  </a:lnTo>
                  <a:lnTo>
                    <a:pt x="6" y="2"/>
                  </a:lnTo>
                  <a:lnTo>
                    <a:pt x="7" y="2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2" y="2"/>
                  </a:lnTo>
                  <a:lnTo>
                    <a:pt x="11" y="3"/>
                  </a:lnTo>
                  <a:lnTo>
                    <a:pt x="6" y="4"/>
                  </a:lnTo>
                  <a:lnTo>
                    <a:pt x="5" y="3"/>
                  </a:lnTo>
                  <a:lnTo>
                    <a:pt x="2" y="5"/>
                  </a:lnTo>
                  <a:lnTo>
                    <a:pt x="0" y="3"/>
                  </a:lnTo>
                  <a:lnTo>
                    <a:pt x="0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74" name="Freeform 1174"/>
            <p:cNvSpPr>
              <a:spLocks/>
            </p:cNvSpPr>
            <p:nvPr/>
          </p:nvSpPr>
          <p:spPr bwMode="auto">
            <a:xfrm>
              <a:off x="1808" y="915"/>
              <a:ext cx="12" cy="5"/>
            </a:xfrm>
            <a:custGeom>
              <a:avLst/>
              <a:gdLst>
                <a:gd name="T0" fmla="*/ 4 w 12"/>
                <a:gd name="T1" fmla="*/ 0 h 5"/>
                <a:gd name="T2" fmla="*/ 5 w 12"/>
                <a:gd name="T3" fmla="*/ 0 h 5"/>
                <a:gd name="T4" fmla="*/ 6 w 12"/>
                <a:gd name="T5" fmla="*/ 2 h 5"/>
                <a:gd name="T6" fmla="*/ 7 w 12"/>
                <a:gd name="T7" fmla="*/ 2 h 5"/>
                <a:gd name="T8" fmla="*/ 9 w 12"/>
                <a:gd name="T9" fmla="*/ 0 h 5"/>
                <a:gd name="T10" fmla="*/ 10 w 12"/>
                <a:gd name="T11" fmla="*/ 0 h 5"/>
                <a:gd name="T12" fmla="*/ 11 w 12"/>
                <a:gd name="T13" fmla="*/ 0 h 5"/>
                <a:gd name="T14" fmla="*/ 12 w 12"/>
                <a:gd name="T15" fmla="*/ 2 h 5"/>
                <a:gd name="T16" fmla="*/ 11 w 12"/>
                <a:gd name="T17" fmla="*/ 3 h 5"/>
                <a:gd name="T18" fmla="*/ 6 w 12"/>
                <a:gd name="T19" fmla="*/ 4 h 5"/>
                <a:gd name="T20" fmla="*/ 5 w 12"/>
                <a:gd name="T21" fmla="*/ 3 h 5"/>
                <a:gd name="T22" fmla="*/ 2 w 12"/>
                <a:gd name="T23" fmla="*/ 5 h 5"/>
                <a:gd name="T24" fmla="*/ 0 w 12"/>
                <a:gd name="T25" fmla="*/ 3 h 5"/>
                <a:gd name="T26" fmla="*/ 0 w 12"/>
                <a:gd name="T27" fmla="*/ 0 h 5"/>
                <a:gd name="T28" fmla="*/ 4 w 12"/>
                <a:gd name="T2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" h="5">
                  <a:moveTo>
                    <a:pt x="4" y="0"/>
                  </a:moveTo>
                  <a:lnTo>
                    <a:pt x="5" y="0"/>
                  </a:lnTo>
                  <a:lnTo>
                    <a:pt x="6" y="2"/>
                  </a:lnTo>
                  <a:lnTo>
                    <a:pt x="7" y="2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2" y="2"/>
                  </a:lnTo>
                  <a:lnTo>
                    <a:pt x="11" y="3"/>
                  </a:lnTo>
                  <a:lnTo>
                    <a:pt x="6" y="4"/>
                  </a:lnTo>
                  <a:lnTo>
                    <a:pt x="5" y="3"/>
                  </a:lnTo>
                  <a:lnTo>
                    <a:pt x="2" y="5"/>
                  </a:lnTo>
                  <a:lnTo>
                    <a:pt x="0" y="3"/>
                  </a:lnTo>
                  <a:lnTo>
                    <a:pt x="0" y="0"/>
                  </a:lnTo>
                  <a:lnTo>
                    <a:pt x="4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75" name="Freeform 1175"/>
            <p:cNvSpPr>
              <a:spLocks/>
            </p:cNvSpPr>
            <p:nvPr/>
          </p:nvSpPr>
          <p:spPr bwMode="auto">
            <a:xfrm>
              <a:off x="1766" y="1014"/>
              <a:ext cx="11" cy="7"/>
            </a:xfrm>
            <a:custGeom>
              <a:avLst/>
              <a:gdLst>
                <a:gd name="T0" fmla="*/ 1 w 11"/>
                <a:gd name="T1" fmla="*/ 1 h 7"/>
                <a:gd name="T2" fmla="*/ 0 w 11"/>
                <a:gd name="T3" fmla="*/ 1 h 7"/>
                <a:gd name="T4" fmla="*/ 1 w 11"/>
                <a:gd name="T5" fmla="*/ 1 h 7"/>
                <a:gd name="T6" fmla="*/ 5 w 11"/>
                <a:gd name="T7" fmla="*/ 0 h 7"/>
                <a:gd name="T8" fmla="*/ 8 w 11"/>
                <a:gd name="T9" fmla="*/ 0 h 7"/>
                <a:gd name="T10" fmla="*/ 8 w 11"/>
                <a:gd name="T11" fmla="*/ 1 h 7"/>
                <a:gd name="T12" fmla="*/ 10 w 11"/>
                <a:gd name="T13" fmla="*/ 1 h 7"/>
                <a:gd name="T14" fmla="*/ 11 w 11"/>
                <a:gd name="T15" fmla="*/ 2 h 7"/>
                <a:gd name="T16" fmla="*/ 10 w 11"/>
                <a:gd name="T17" fmla="*/ 5 h 7"/>
                <a:gd name="T18" fmla="*/ 6 w 11"/>
                <a:gd name="T19" fmla="*/ 7 h 7"/>
                <a:gd name="T20" fmla="*/ 1 w 11"/>
                <a:gd name="T2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7">
                  <a:moveTo>
                    <a:pt x="1" y="1"/>
                  </a:moveTo>
                  <a:lnTo>
                    <a:pt x="0" y="1"/>
                  </a:lnTo>
                  <a:lnTo>
                    <a:pt x="1" y="1"/>
                  </a:lnTo>
                  <a:lnTo>
                    <a:pt x="5" y="0"/>
                  </a:lnTo>
                  <a:lnTo>
                    <a:pt x="8" y="0"/>
                  </a:lnTo>
                  <a:lnTo>
                    <a:pt x="8" y="1"/>
                  </a:lnTo>
                  <a:lnTo>
                    <a:pt x="10" y="1"/>
                  </a:lnTo>
                  <a:lnTo>
                    <a:pt x="11" y="2"/>
                  </a:lnTo>
                  <a:lnTo>
                    <a:pt x="10" y="5"/>
                  </a:lnTo>
                  <a:lnTo>
                    <a:pt x="6" y="7"/>
                  </a:lnTo>
                  <a:lnTo>
                    <a:pt x="1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76" name="Freeform 1176"/>
            <p:cNvSpPr>
              <a:spLocks/>
            </p:cNvSpPr>
            <p:nvPr/>
          </p:nvSpPr>
          <p:spPr bwMode="auto">
            <a:xfrm>
              <a:off x="1766" y="1014"/>
              <a:ext cx="11" cy="7"/>
            </a:xfrm>
            <a:custGeom>
              <a:avLst/>
              <a:gdLst>
                <a:gd name="T0" fmla="*/ 1 w 11"/>
                <a:gd name="T1" fmla="*/ 1 h 7"/>
                <a:gd name="T2" fmla="*/ 0 w 11"/>
                <a:gd name="T3" fmla="*/ 1 h 7"/>
                <a:gd name="T4" fmla="*/ 1 w 11"/>
                <a:gd name="T5" fmla="*/ 1 h 7"/>
                <a:gd name="T6" fmla="*/ 5 w 11"/>
                <a:gd name="T7" fmla="*/ 0 h 7"/>
                <a:gd name="T8" fmla="*/ 8 w 11"/>
                <a:gd name="T9" fmla="*/ 0 h 7"/>
                <a:gd name="T10" fmla="*/ 8 w 11"/>
                <a:gd name="T11" fmla="*/ 1 h 7"/>
                <a:gd name="T12" fmla="*/ 10 w 11"/>
                <a:gd name="T13" fmla="*/ 1 h 7"/>
                <a:gd name="T14" fmla="*/ 11 w 11"/>
                <a:gd name="T15" fmla="*/ 2 h 7"/>
                <a:gd name="T16" fmla="*/ 10 w 11"/>
                <a:gd name="T17" fmla="*/ 5 h 7"/>
                <a:gd name="T18" fmla="*/ 6 w 11"/>
                <a:gd name="T19" fmla="*/ 7 h 7"/>
                <a:gd name="T20" fmla="*/ 1 w 11"/>
                <a:gd name="T21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7">
                  <a:moveTo>
                    <a:pt x="1" y="1"/>
                  </a:moveTo>
                  <a:lnTo>
                    <a:pt x="0" y="1"/>
                  </a:lnTo>
                  <a:lnTo>
                    <a:pt x="1" y="1"/>
                  </a:lnTo>
                  <a:lnTo>
                    <a:pt x="5" y="0"/>
                  </a:lnTo>
                  <a:lnTo>
                    <a:pt x="8" y="0"/>
                  </a:lnTo>
                  <a:lnTo>
                    <a:pt x="8" y="1"/>
                  </a:lnTo>
                  <a:lnTo>
                    <a:pt x="10" y="1"/>
                  </a:lnTo>
                  <a:lnTo>
                    <a:pt x="11" y="2"/>
                  </a:lnTo>
                  <a:lnTo>
                    <a:pt x="10" y="5"/>
                  </a:lnTo>
                  <a:lnTo>
                    <a:pt x="6" y="7"/>
                  </a:lnTo>
                  <a:lnTo>
                    <a:pt x="1" y="1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77" name="Freeform 1177"/>
            <p:cNvSpPr>
              <a:spLocks/>
            </p:cNvSpPr>
            <p:nvPr/>
          </p:nvSpPr>
          <p:spPr bwMode="auto">
            <a:xfrm>
              <a:off x="1783" y="1011"/>
              <a:ext cx="6" cy="4"/>
            </a:xfrm>
            <a:custGeom>
              <a:avLst/>
              <a:gdLst>
                <a:gd name="T0" fmla="*/ 0 w 6"/>
                <a:gd name="T1" fmla="*/ 0 h 4"/>
                <a:gd name="T2" fmla="*/ 1 w 6"/>
                <a:gd name="T3" fmla="*/ 1 h 4"/>
                <a:gd name="T4" fmla="*/ 4 w 6"/>
                <a:gd name="T5" fmla="*/ 1 h 4"/>
                <a:gd name="T6" fmla="*/ 6 w 6"/>
                <a:gd name="T7" fmla="*/ 2 h 4"/>
                <a:gd name="T8" fmla="*/ 6 w 6"/>
                <a:gd name="T9" fmla="*/ 2 h 4"/>
                <a:gd name="T10" fmla="*/ 6 w 6"/>
                <a:gd name="T11" fmla="*/ 4 h 4"/>
                <a:gd name="T12" fmla="*/ 3 w 6"/>
                <a:gd name="T13" fmla="*/ 4 h 4"/>
                <a:gd name="T14" fmla="*/ 2 w 6"/>
                <a:gd name="T15" fmla="*/ 3 h 4"/>
                <a:gd name="T16" fmla="*/ 0 w 6"/>
                <a:gd name="T17" fmla="*/ 2 h 4"/>
                <a:gd name="T18" fmla="*/ 0 w 6"/>
                <a:gd name="T1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lnTo>
                    <a:pt x="1" y="1"/>
                  </a:lnTo>
                  <a:lnTo>
                    <a:pt x="4" y="1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3" y="4"/>
                  </a:lnTo>
                  <a:lnTo>
                    <a:pt x="2" y="3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78" name="Freeform 1178"/>
            <p:cNvSpPr>
              <a:spLocks/>
            </p:cNvSpPr>
            <p:nvPr/>
          </p:nvSpPr>
          <p:spPr bwMode="auto">
            <a:xfrm>
              <a:off x="1783" y="1011"/>
              <a:ext cx="6" cy="4"/>
            </a:xfrm>
            <a:custGeom>
              <a:avLst/>
              <a:gdLst>
                <a:gd name="T0" fmla="*/ 0 w 6"/>
                <a:gd name="T1" fmla="*/ 0 h 4"/>
                <a:gd name="T2" fmla="*/ 1 w 6"/>
                <a:gd name="T3" fmla="*/ 1 h 4"/>
                <a:gd name="T4" fmla="*/ 4 w 6"/>
                <a:gd name="T5" fmla="*/ 1 h 4"/>
                <a:gd name="T6" fmla="*/ 6 w 6"/>
                <a:gd name="T7" fmla="*/ 2 h 4"/>
                <a:gd name="T8" fmla="*/ 6 w 6"/>
                <a:gd name="T9" fmla="*/ 2 h 4"/>
                <a:gd name="T10" fmla="*/ 6 w 6"/>
                <a:gd name="T11" fmla="*/ 4 h 4"/>
                <a:gd name="T12" fmla="*/ 3 w 6"/>
                <a:gd name="T13" fmla="*/ 4 h 4"/>
                <a:gd name="T14" fmla="*/ 2 w 6"/>
                <a:gd name="T15" fmla="*/ 3 h 4"/>
                <a:gd name="T16" fmla="*/ 0 w 6"/>
                <a:gd name="T17" fmla="*/ 2 h 4"/>
                <a:gd name="T18" fmla="*/ 0 w 6"/>
                <a:gd name="T1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4">
                  <a:moveTo>
                    <a:pt x="0" y="0"/>
                  </a:moveTo>
                  <a:lnTo>
                    <a:pt x="1" y="1"/>
                  </a:lnTo>
                  <a:lnTo>
                    <a:pt x="4" y="1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4"/>
                  </a:lnTo>
                  <a:lnTo>
                    <a:pt x="3" y="4"/>
                  </a:lnTo>
                  <a:lnTo>
                    <a:pt x="2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79" name="Freeform 1179"/>
            <p:cNvSpPr>
              <a:spLocks/>
            </p:cNvSpPr>
            <p:nvPr/>
          </p:nvSpPr>
          <p:spPr bwMode="auto">
            <a:xfrm>
              <a:off x="1793" y="737"/>
              <a:ext cx="360" cy="86"/>
            </a:xfrm>
            <a:custGeom>
              <a:avLst/>
              <a:gdLst>
                <a:gd name="T0" fmla="*/ 328 w 360"/>
                <a:gd name="T1" fmla="*/ 2 h 86"/>
                <a:gd name="T2" fmla="*/ 286 w 360"/>
                <a:gd name="T3" fmla="*/ 4 h 86"/>
                <a:gd name="T4" fmla="*/ 262 w 360"/>
                <a:gd name="T5" fmla="*/ 1 h 86"/>
                <a:gd name="T6" fmla="*/ 204 w 360"/>
                <a:gd name="T7" fmla="*/ 1 h 86"/>
                <a:gd name="T8" fmla="*/ 194 w 360"/>
                <a:gd name="T9" fmla="*/ 2 h 86"/>
                <a:gd name="T10" fmla="*/ 172 w 360"/>
                <a:gd name="T11" fmla="*/ 3 h 86"/>
                <a:gd name="T12" fmla="*/ 146 w 360"/>
                <a:gd name="T13" fmla="*/ 6 h 86"/>
                <a:gd name="T14" fmla="*/ 138 w 360"/>
                <a:gd name="T15" fmla="*/ 8 h 86"/>
                <a:gd name="T16" fmla="*/ 106 w 360"/>
                <a:gd name="T17" fmla="*/ 10 h 86"/>
                <a:gd name="T18" fmla="*/ 102 w 360"/>
                <a:gd name="T19" fmla="*/ 11 h 86"/>
                <a:gd name="T20" fmla="*/ 65 w 360"/>
                <a:gd name="T21" fmla="*/ 13 h 86"/>
                <a:gd name="T22" fmla="*/ 74 w 360"/>
                <a:gd name="T23" fmla="*/ 15 h 86"/>
                <a:gd name="T24" fmla="*/ 71 w 360"/>
                <a:gd name="T25" fmla="*/ 20 h 86"/>
                <a:gd name="T26" fmla="*/ 106 w 360"/>
                <a:gd name="T27" fmla="*/ 22 h 86"/>
                <a:gd name="T28" fmla="*/ 92 w 360"/>
                <a:gd name="T29" fmla="*/ 26 h 86"/>
                <a:gd name="T30" fmla="*/ 106 w 360"/>
                <a:gd name="T31" fmla="*/ 23 h 86"/>
                <a:gd name="T32" fmla="*/ 105 w 360"/>
                <a:gd name="T33" fmla="*/ 27 h 86"/>
                <a:gd name="T34" fmla="*/ 120 w 360"/>
                <a:gd name="T35" fmla="*/ 26 h 86"/>
                <a:gd name="T36" fmla="*/ 134 w 360"/>
                <a:gd name="T37" fmla="*/ 26 h 86"/>
                <a:gd name="T38" fmla="*/ 162 w 360"/>
                <a:gd name="T39" fmla="*/ 23 h 86"/>
                <a:gd name="T40" fmla="*/ 173 w 360"/>
                <a:gd name="T41" fmla="*/ 21 h 86"/>
                <a:gd name="T42" fmla="*/ 194 w 360"/>
                <a:gd name="T43" fmla="*/ 24 h 86"/>
                <a:gd name="T44" fmla="*/ 173 w 360"/>
                <a:gd name="T45" fmla="*/ 27 h 86"/>
                <a:gd name="T46" fmla="*/ 124 w 360"/>
                <a:gd name="T47" fmla="*/ 34 h 86"/>
                <a:gd name="T48" fmla="*/ 133 w 360"/>
                <a:gd name="T49" fmla="*/ 41 h 86"/>
                <a:gd name="T50" fmla="*/ 90 w 360"/>
                <a:gd name="T51" fmla="*/ 31 h 86"/>
                <a:gd name="T52" fmla="*/ 89 w 360"/>
                <a:gd name="T53" fmla="*/ 37 h 86"/>
                <a:gd name="T54" fmla="*/ 97 w 360"/>
                <a:gd name="T55" fmla="*/ 46 h 86"/>
                <a:gd name="T56" fmla="*/ 113 w 360"/>
                <a:gd name="T57" fmla="*/ 49 h 86"/>
                <a:gd name="T58" fmla="*/ 107 w 360"/>
                <a:gd name="T59" fmla="*/ 52 h 86"/>
                <a:gd name="T60" fmla="*/ 55 w 360"/>
                <a:gd name="T61" fmla="*/ 53 h 86"/>
                <a:gd name="T62" fmla="*/ 57 w 360"/>
                <a:gd name="T63" fmla="*/ 57 h 86"/>
                <a:gd name="T64" fmla="*/ 76 w 360"/>
                <a:gd name="T65" fmla="*/ 55 h 86"/>
                <a:gd name="T66" fmla="*/ 81 w 360"/>
                <a:gd name="T67" fmla="*/ 59 h 86"/>
                <a:gd name="T68" fmla="*/ 70 w 360"/>
                <a:gd name="T69" fmla="*/ 62 h 86"/>
                <a:gd name="T70" fmla="*/ 64 w 360"/>
                <a:gd name="T71" fmla="*/ 66 h 86"/>
                <a:gd name="T72" fmla="*/ 86 w 360"/>
                <a:gd name="T73" fmla="*/ 64 h 86"/>
                <a:gd name="T74" fmla="*/ 54 w 360"/>
                <a:gd name="T75" fmla="*/ 69 h 86"/>
                <a:gd name="T76" fmla="*/ 32 w 360"/>
                <a:gd name="T77" fmla="*/ 66 h 86"/>
                <a:gd name="T78" fmla="*/ 37 w 360"/>
                <a:gd name="T79" fmla="*/ 72 h 86"/>
                <a:gd name="T80" fmla="*/ 6 w 360"/>
                <a:gd name="T81" fmla="*/ 76 h 86"/>
                <a:gd name="T82" fmla="*/ 16 w 360"/>
                <a:gd name="T83" fmla="*/ 83 h 86"/>
                <a:gd name="T84" fmla="*/ 29 w 360"/>
                <a:gd name="T85" fmla="*/ 83 h 86"/>
                <a:gd name="T86" fmla="*/ 67 w 360"/>
                <a:gd name="T87" fmla="*/ 79 h 86"/>
                <a:gd name="T88" fmla="*/ 85 w 360"/>
                <a:gd name="T89" fmla="*/ 86 h 86"/>
                <a:gd name="T90" fmla="*/ 113 w 360"/>
                <a:gd name="T91" fmla="*/ 74 h 86"/>
                <a:gd name="T92" fmla="*/ 97 w 360"/>
                <a:gd name="T93" fmla="*/ 71 h 86"/>
                <a:gd name="T94" fmla="*/ 136 w 360"/>
                <a:gd name="T95" fmla="*/ 64 h 86"/>
                <a:gd name="T96" fmla="*/ 154 w 360"/>
                <a:gd name="T97" fmla="*/ 59 h 86"/>
                <a:gd name="T98" fmla="*/ 183 w 360"/>
                <a:gd name="T99" fmla="*/ 52 h 86"/>
                <a:gd name="T100" fmla="*/ 156 w 360"/>
                <a:gd name="T101" fmla="*/ 46 h 86"/>
                <a:gd name="T102" fmla="*/ 191 w 360"/>
                <a:gd name="T103" fmla="*/ 46 h 86"/>
                <a:gd name="T104" fmla="*/ 170 w 360"/>
                <a:gd name="T105" fmla="*/ 43 h 86"/>
                <a:gd name="T106" fmla="*/ 202 w 360"/>
                <a:gd name="T107" fmla="*/ 41 h 86"/>
                <a:gd name="T108" fmla="*/ 225 w 360"/>
                <a:gd name="T109" fmla="*/ 39 h 86"/>
                <a:gd name="T110" fmla="*/ 246 w 360"/>
                <a:gd name="T111" fmla="*/ 33 h 86"/>
                <a:gd name="T112" fmla="*/ 277 w 360"/>
                <a:gd name="T113" fmla="*/ 25 h 86"/>
                <a:gd name="T114" fmla="*/ 266 w 360"/>
                <a:gd name="T115" fmla="*/ 21 h 86"/>
                <a:gd name="T116" fmla="*/ 274 w 360"/>
                <a:gd name="T117" fmla="*/ 16 h 86"/>
                <a:gd name="T118" fmla="*/ 317 w 360"/>
                <a:gd name="T119" fmla="*/ 14 h 86"/>
                <a:gd name="T120" fmla="*/ 350 w 360"/>
                <a:gd name="T121" fmla="*/ 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60" h="86">
                  <a:moveTo>
                    <a:pt x="349" y="5"/>
                  </a:moveTo>
                  <a:lnTo>
                    <a:pt x="347" y="5"/>
                  </a:lnTo>
                  <a:lnTo>
                    <a:pt x="345" y="6"/>
                  </a:lnTo>
                  <a:lnTo>
                    <a:pt x="345" y="6"/>
                  </a:lnTo>
                  <a:lnTo>
                    <a:pt x="339" y="6"/>
                  </a:lnTo>
                  <a:lnTo>
                    <a:pt x="340" y="6"/>
                  </a:lnTo>
                  <a:lnTo>
                    <a:pt x="341" y="6"/>
                  </a:lnTo>
                  <a:lnTo>
                    <a:pt x="343" y="5"/>
                  </a:lnTo>
                  <a:lnTo>
                    <a:pt x="344" y="5"/>
                  </a:lnTo>
                  <a:lnTo>
                    <a:pt x="339" y="4"/>
                  </a:lnTo>
                  <a:lnTo>
                    <a:pt x="339" y="4"/>
                  </a:lnTo>
                  <a:lnTo>
                    <a:pt x="339" y="4"/>
                  </a:lnTo>
                  <a:lnTo>
                    <a:pt x="337" y="3"/>
                  </a:lnTo>
                  <a:lnTo>
                    <a:pt x="339" y="3"/>
                  </a:lnTo>
                  <a:lnTo>
                    <a:pt x="340" y="3"/>
                  </a:lnTo>
                  <a:lnTo>
                    <a:pt x="339" y="2"/>
                  </a:lnTo>
                  <a:lnTo>
                    <a:pt x="336" y="2"/>
                  </a:lnTo>
                  <a:lnTo>
                    <a:pt x="332" y="3"/>
                  </a:lnTo>
                  <a:lnTo>
                    <a:pt x="328" y="2"/>
                  </a:lnTo>
                  <a:lnTo>
                    <a:pt x="328" y="2"/>
                  </a:lnTo>
                  <a:lnTo>
                    <a:pt x="328" y="2"/>
                  </a:lnTo>
                  <a:lnTo>
                    <a:pt x="328" y="2"/>
                  </a:lnTo>
                  <a:lnTo>
                    <a:pt x="328" y="1"/>
                  </a:lnTo>
                  <a:lnTo>
                    <a:pt x="326" y="2"/>
                  </a:lnTo>
                  <a:lnTo>
                    <a:pt x="325" y="2"/>
                  </a:lnTo>
                  <a:lnTo>
                    <a:pt x="326" y="2"/>
                  </a:lnTo>
                  <a:lnTo>
                    <a:pt x="322" y="2"/>
                  </a:lnTo>
                  <a:lnTo>
                    <a:pt x="323" y="3"/>
                  </a:lnTo>
                  <a:lnTo>
                    <a:pt x="322" y="3"/>
                  </a:lnTo>
                  <a:lnTo>
                    <a:pt x="320" y="3"/>
                  </a:lnTo>
                  <a:lnTo>
                    <a:pt x="319" y="2"/>
                  </a:lnTo>
                  <a:lnTo>
                    <a:pt x="319" y="2"/>
                  </a:lnTo>
                  <a:lnTo>
                    <a:pt x="318" y="2"/>
                  </a:lnTo>
                  <a:lnTo>
                    <a:pt x="313" y="3"/>
                  </a:lnTo>
                  <a:lnTo>
                    <a:pt x="306" y="3"/>
                  </a:lnTo>
                  <a:lnTo>
                    <a:pt x="300" y="4"/>
                  </a:lnTo>
                  <a:lnTo>
                    <a:pt x="297" y="4"/>
                  </a:lnTo>
                  <a:lnTo>
                    <a:pt x="286" y="4"/>
                  </a:lnTo>
                  <a:lnTo>
                    <a:pt x="289" y="4"/>
                  </a:lnTo>
                  <a:lnTo>
                    <a:pt x="306" y="2"/>
                  </a:lnTo>
                  <a:lnTo>
                    <a:pt x="309" y="2"/>
                  </a:lnTo>
                  <a:lnTo>
                    <a:pt x="312" y="1"/>
                  </a:lnTo>
                  <a:lnTo>
                    <a:pt x="305" y="1"/>
                  </a:lnTo>
                  <a:lnTo>
                    <a:pt x="303" y="1"/>
                  </a:lnTo>
                  <a:lnTo>
                    <a:pt x="299" y="1"/>
                  </a:lnTo>
                  <a:lnTo>
                    <a:pt x="295" y="1"/>
                  </a:lnTo>
                  <a:lnTo>
                    <a:pt x="292" y="1"/>
                  </a:lnTo>
                  <a:lnTo>
                    <a:pt x="286" y="1"/>
                  </a:lnTo>
                  <a:lnTo>
                    <a:pt x="285" y="1"/>
                  </a:lnTo>
                  <a:lnTo>
                    <a:pt x="285" y="0"/>
                  </a:lnTo>
                  <a:lnTo>
                    <a:pt x="283" y="0"/>
                  </a:lnTo>
                  <a:lnTo>
                    <a:pt x="279" y="1"/>
                  </a:lnTo>
                  <a:lnTo>
                    <a:pt x="278" y="0"/>
                  </a:lnTo>
                  <a:lnTo>
                    <a:pt x="277" y="0"/>
                  </a:lnTo>
                  <a:lnTo>
                    <a:pt x="272" y="0"/>
                  </a:lnTo>
                  <a:lnTo>
                    <a:pt x="263" y="0"/>
                  </a:lnTo>
                  <a:lnTo>
                    <a:pt x="262" y="1"/>
                  </a:lnTo>
                  <a:lnTo>
                    <a:pt x="258" y="0"/>
                  </a:lnTo>
                  <a:lnTo>
                    <a:pt x="260" y="0"/>
                  </a:lnTo>
                  <a:lnTo>
                    <a:pt x="256" y="0"/>
                  </a:lnTo>
                  <a:lnTo>
                    <a:pt x="253" y="0"/>
                  </a:lnTo>
                  <a:lnTo>
                    <a:pt x="248" y="0"/>
                  </a:lnTo>
                  <a:lnTo>
                    <a:pt x="243" y="1"/>
                  </a:lnTo>
                  <a:lnTo>
                    <a:pt x="241" y="1"/>
                  </a:lnTo>
                  <a:lnTo>
                    <a:pt x="241" y="2"/>
                  </a:lnTo>
                  <a:lnTo>
                    <a:pt x="242" y="3"/>
                  </a:lnTo>
                  <a:lnTo>
                    <a:pt x="243" y="3"/>
                  </a:lnTo>
                  <a:lnTo>
                    <a:pt x="239" y="3"/>
                  </a:lnTo>
                  <a:lnTo>
                    <a:pt x="236" y="2"/>
                  </a:lnTo>
                  <a:lnTo>
                    <a:pt x="235" y="1"/>
                  </a:lnTo>
                  <a:lnTo>
                    <a:pt x="233" y="1"/>
                  </a:lnTo>
                  <a:lnTo>
                    <a:pt x="229" y="0"/>
                  </a:lnTo>
                  <a:lnTo>
                    <a:pt x="224" y="0"/>
                  </a:lnTo>
                  <a:lnTo>
                    <a:pt x="218" y="0"/>
                  </a:lnTo>
                  <a:lnTo>
                    <a:pt x="211" y="1"/>
                  </a:lnTo>
                  <a:lnTo>
                    <a:pt x="204" y="1"/>
                  </a:lnTo>
                  <a:lnTo>
                    <a:pt x="203" y="1"/>
                  </a:lnTo>
                  <a:lnTo>
                    <a:pt x="206" y="2"/>
                  </a:lnTo>
                  <a:lnTo>
                    <a:pt x="211" y="3"/>
                  </a:lnTo>
                  <a:lnTo>
                    <a:pt x="213" y="3"/>
                  </a:lnTo>
                  <a:lnTo>
                    <a:pt x="213" y="3"/>
                  </a:lnTo>
                  <a:lnTo>
                    <a:pt x="213" y="4"/>
                  </a:lnTo>
                  <a:lnTo>
                    <a:pt x="219" y="5"/>
                  </a:lnTo>
                  <a:lnTo>
                    <a:pt x="211" y="6"/>
                  </a:lnTo>
                  <a:lnTo>
                    <a:pt x="212" y="6"/>
                  </a:lnTo>
                  <a:lnTo>
                    <a:pt x="214" y="5"/>
                  </a:lnTo>
                  <a:lnTo>
                    <a:pt x="213" y="5"/>
                  </a:lnTo>
                  <a:lnTo>
                    <a:pt x="208" y="4"/>
                  </a:lnTo>
                  <a:lnTo>
                    <a:pt x="208" y="3"/>
                  </a:lnTo>
                  <a:lnTo>
                    <a:pt x="206" y="2"/>
                  </a:lnTo>
                  <a:lnTo>
                    <a:pt x="205" y="2"/>
                  </a:lnTo>
                  <a:lnTo>
                    <a:pt x="198" y="1"/>
                  </a:lnTo>
                  <a:lnTo>
                    <a:pt x="196" y="2"/>
                  </a:lnTo>
                  <a:lnTo>
                    <a:pt x="196" y="2"/>
                  </a:lnTo>
                  <a:lnTo>
                    <a:pt x="194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2" y="1"/>
                  </a:lnTo>
                  <a:lnTo>
                    <a:pt x="189" y="1"/>
                  </a:lnTo>
                  <a:lnTo>
                    <a:pt x="187" y="2"/>
                  </a:lnTo>
                  <a:lnTo>
                    <a:pt x="186" y="2"/>
                  </a:lnTo>
                  <a:lnTo>
                    <a:pt x="186" y="1"/>
                  </a:lnTo>
                  <a:lnTo>
                    <a:pt x="185" y="1"/>
                  </a:lnTo>
                  <a:lnTo>
                    <a:pt x="178" y="1"/>
                  </a:lnTo>
                  <a:lnTo>
                    <a:pt x="174" y="2"/>
                  </a:lnTo>
                  <a:lnTo>
                    <a:pt x="176" y="2"/>
                  </a:lnTo>
                  <a:lnTo>
                    <a:pt x="177" y="2"/>
                  </a:lnTo>
                  <a:lnTo>
                    <a:pt x="177" y="2"/>
                  </a:lnTo>
                  <a:lnTo>
                    <a:pt x="176" y="3"/>
                  </a:lnTo>
                  <a:lnTo>
                    <a:pt x="177" y="3"/>
                  </a:lnTo>
                  <a:lnTo>
                    <a:pt x="182" y="4"/>
                  </a:lnTo>
                  <a:lnTo>
                    <a:pt x="175" y="4"/>
                  </a:lnTo>
                  <a:lnTo>
                    <a:pt x="175" y="4"/>
                  </a:lnTo>
                  <a:lnTo>
                    <a:pt x="172" y="3"/>
                  </a:lnTo>
                  <a:lnTo>
                    <a:pt x="164" y="3"/>
                  </a:lnTo>
                  <a:lnTo>
                    <a:pt x="162" y="3"/>
                  </a:lnTo>
                  <a:lnTo>
                    <a:pt x="164" y="3"/>
                  </a:lnTo>
                  <a:lnTo>
                    <a:pt x="164" y="4"/>
                  </a:lnTo>
                  <a:lnTo>
                    <a:pt x="166" y="4"/>
                  </a:lnTo>
                  <a:lnTo>
                    <a:pt x="167" y="5"/>
                  </a:lnTo>
                  <a:lnTo>
                    <a:pt x="167" y="5"/>
                  </a:lnTo>
                  <a:lnTo>
                    <a:pt x="168" y="6"/>
                  </a:lnTo>
                  <a:lnTo>
                    <a:pt x="166" y="6"/>
                  </a:lnTo>
                  <a:lnTo>
                    <a:pt x="161" y="5"/>
                  </a:lnTo>
                  <a:lnTo>
                    <a:pt x="154" y="4"/>
                  </a:lnTo>
                  <a:lnTo>
                    <a:pt x="152" y="4"/>
                  </a:lnTo>
                  <a:lnTo>
                    <a:pt x="151" y="5"/>
                  </a:lnTo>
                  <a:lnTo>
                    <a:pt x="151" y="5"/>
                  </a:lnTo>
                  <a:lnTo>
                    <a:pt x="153" y="5"/>
                  </a:lnTo>
                  <a:lnTo>
                    <a:pt x="156" y="6"/>
                  </a:lnTo>
                  <a:lnTo>
                    <a:pt x="157" y="6"/>
                  </a:lnTo>
                  <a:lnTo>
                    <a:pt x="148" y="6"/>
                  </a:lnTo>
                  <a:lnTo>
                    <a:pt x="146" y="6"/>
                  </a:lnTo>
                  <a:lnTo>
                    <a:pt x="145" y="8"/>
                  </a:lnTo>
                  <a:lnTo>
                    <a:pt x="146" y="8"/>
                  </a:lnTo>
                  <a:lnTo>
                    <a:pt x="154" y="10"/>
                  </a:lnTo>
                  <a:lnTo>
                    <a:pt x="160" y="10"/>
                  </a:lnTo>
                  <a:lnTo>
                    <a:pt x="162" y="10"/>
                  </a:lnTo>
                  <a:lnTo>
                    <a:pt x="160" y="11"/>
                  </a:lnTo>
                  <a:lnTo>
                    <a:pt x="162" y="12"/>
                  </a:lnTo>
                  <a:lnTo>
                    <a:pt x="155" y="11"/>
                  </a:lnTo>
                  <a:lnTo>
                    <a:pt x="151" y="10"/>
                  </a:lnTo>
                  <a:lnTo>
                    <a:pt x="145" y="9"/>
                  </a:lnTo>
                  <a:lnTo>
                    <a:pt x="141" y="9"/>
                  </a:lnTo>
                  <a:lnTo>
                    <a:pt x="141" y="9"/>
                  </a:lnTo>
                  <a:lnTo>
                    <a:pt x="142" y="10"/>
                  </a:lnTo>
                  <a:lnTo>
                    <a:pt x="145" y="11"/>
                  </a:lnTo>
                  <a:lnTo>
                    <a:pt x="138" y="11"/>
                  </a:lnTo>
                  <a:lnTo>
                    <a:pt x="140" y="10"/>
                  </a:lnTo>
                  <a:lnTo>
                    <a:pt x="140" y="9"/>
                  </a:lnTo>
                  <a:lnTo>
                    <a:pt x="138" y="9"/>
                  </a:lnTo>
                  <a:lnTo>
                    <a:pt x="138" y="8"/>
                  </a:lnTo>
                  <a:lnTo>
                    <a:pt x="135" y="8"/>
                  </a:lnTo>
                  <a:lnTo>
                    <a:pt x="133" y="8"/>
                  </a:lnTo>
                  <a:lnTo>
                    <a:pt x="131" y="8"/>
                  </a:lnTo>
                  <a:lnTo>
                    <a:pt x="127" y="8"/>
                  </a:lnTo>
                  <a:lnTo>
                    <a:pt x="128" y="6"/>
                  </a:lnTo>
                  <a:lnTo>
                    <a:pt x="130" y="6"/>
                  </a:lnTo>
                  <a:lnTo>
                    <a:pt x="124" y="6"/>
                  </a:lnTo>
                  <a:lnTo>
                    <a:pt x="118" y="6"/>
                  </a:lnTo>
                  <a:lnTo>
                    <a:pt x="116" y="6"/>
                  </a:lnTo>
                  <a:lnTo>
                    <a:pt x="118" y="8"/>
                  </a:lnTo>
                  <a:lnTo>
                    <a:pt x="118" y="8"/>
                  </a:lnTo>
                  <a:lnTo>
                    <a:pt x="118" y="8"/>
                  </a:lnTo>
                  <a:lnTo>
                    <a:pt x="120" y="8"/>
                  </a:lnTo>
                  <a:lnTo>
                    <a:pt x="118" y="9"/>
                  </a:lnTo>
                  <a:lnTo>
                    <a:pt x="118" y="9"/>
                  </a:lnTo>
                  <a:lnTo>
                    <a:pt x="112" y="9"/>
                  </a:lnTo>
                  <a:lnTo>
                    <a:pt x="107" y="9"/>
                  </a:lnTo>
                  <a:lnTo>
                    <a:pt x="106" y="9"/>
                  </a:lnTo>
                  <a:lnTo>
                    <a:pt x="106" y="10"/>
                  </a:lnTo>
                  <a:lnTo>
                    <a:pt x="108" y="10"/>
                  </a:lnTo>
                  <a:lnTo>
                    <a:pt x="111" y="10"/>
                  </a:lnTo>
                  <a:lnTo>
                    <a:pt x="118" y="11"/>
                  </a:lnTo>
                  <a:lnTo>
                    <a:pt x="124" y="11"/>
                  </a:lnTo>
                  <a:lnTo>
                    <a:pt x="122" y="11"/>
                  </a:lnTo>
                  <a:lnTo>
                    <a:pt x="122" y="12"/>
                  </a:lnTo>
                  <a:lnTo>
                    <a:pt x="120" y="11"/>
                  </a:lnTo>
                  <a:lnTo>
                    <a:pt x="116" y="11"/>
                  </a:lnTo>
                  <a:lnTo>
                    <a:pt x="115" y="12"/>
                  </a:lnTo>
                  <a:lnTo>
                    <a:pt x="116" y="12"/>
                  </a:lnTo>
                  <a:lnTo>
                    <a:pt x="113" y="11"/>
                  </a:lnTo>
                  <a:lnTo>
                    <a:pt x="110" y="11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3" y="12"/>
                  </a:lnTo>
                  <a:lnTo>
                    <a:pt x="104" y="12"/>
                  </a:lnTo>
                  <a:lnTo>
                    <a:pt x="103" y="12"/>
                  </a:lnTo>
                  <a:lnTo>
                    <a:pt x="102" y="12"/>
                  </a:lnTo>
                  <a:lnTo>
                    <a:pt x="102" y="11"/>
                  </a:lnTo>
                  <a:lnTo>
                    <a:pt x="102" y="11"/>
                  </a:lnTo>
                  <a:lnTo>
                    <a:pt x="98" y="11"/>
                  </a:lnTo>
                  <a:lnTo>
                    <a:pt x="97" y="11"/>
                  </a:lnTo>
                  <a:lnTo>
                    <a:pt x="96" y="10"/>
                  </a:lnTo>
                  <a:lnTo>
                    <a:pt x="93" y="10"/>
                  </a:lnTo>
                  <a:lnTo>
                    <a:pt x="92" y="11"/>
                  </a:lnTo>
                  <a:lnTo>
                    <a:pt x="89" y="11"/>
                  </a:lnTo>
                  <a:lnTo>
                    <a:pt x="86" y="11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3" y="12"/>
                  </a:lnTo>
                  <a:lnTo>
                    <a:pt x="83" y="13"/>
                  </a:lnTo>
                  <a:lnTo>
                    <a:pt x="81" y="12"/>
                  </a:lnTo>
                  <a:lnTo>
                    <a:pt x="79" y="13"/>
                  </a:lnTo>
                  <a:lnTo>
                    <a:pt x="76" y="13"/>
                  </a:lnTo>
                  <a:lnTo>
                    <a:pt x="76" y="12"/>
                  </a:lnTo>
                  <a:lnTo>
                    <a:pt x="75" y="12"/>
                  </a:lnTo>
                  <a:lnTo>
                    <a:pt x="71" y="12"/>
                  </a:lnTo>
                  <a:lnTo>
                    <a:pt x="65" y="13"/>
                  </a:lnTo>
                  <a:lnTo>
                    <a:pt x="64" y="13"/>
                  </a:lnTo>
                  <a:lnTo>
                    <a:pt x="63" y="14"/>
                  </a:lnTo>
                  <a:lnTo>
                    <a:pt x="61" y="14"/>
                  </a:lnTo>
                  <a:lnTo>
                    <a:pt x="57" y="14"/>
                  </a:lnTo>
                  <a:lnTo>
                    <a:pt x="56" y="15"/>
                  </a:lnTo>
                  <a:lnTo>
                    <a:pt x="53" y="15"/>
                  </a:lnTo>
                  <a:lnTo>
                    <a:pt x="57" y="16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7" y="15"/>
                  </a:lnTo>
                  <a:lnTo>
                    <a:pt x="70" y="15"/>
                  </a:lnTo>
                  <a:lnTo>
                    <a:pt x="71" y="15"/>
                  </a:lnTo>
                  <a:lnTo>
                    <a:pt x="72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4" y="15"/>
                  </a:lnTo>
                  <a:lnTo>
                    <a:pt x="79" y="15"/>
                  </a:lnTo>
                  <a:lnTo>
                    <a:pt x="72" y="16"/>
                  </a:lnTo>
                  <a:lnTo>
                    <a:pt x="63" y="18"/>
                  </a:lnTo>
                  <a:lnTo>
                    <a:pt x="66" y="19"/>
                  </a:lnTo>
                  <a:lnTo>
                    <a:pt x="66" y="19"/>
                  </a:lnTo>
                  <a:lnTo>
                    <a:pt x="81" y="18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6" y="16"/>
                  </a:lnTo>
                  <a:lnTo>
                    <a:pt x="97" y="16"/>
                  </a:lnTo>
                  <a:lnTo>
                    <a:pt x="104" y="16"/>
                  </a:lnTo>
                  <a:lnTo>
                    <a:pt x="105" y="16"/>
                  </a:lnTo>
                  <a:lnTo>
                    <a:pt x="102" y="18"/>
                  </a:lnTo>
                  <a:lnTo>
                    <a:pt x="91" y="16"/>
                  </a:lnTo>
                  <a:lnTo>
                    <a:pt x="90" y="16"/>
                  </a:lnTo>
                  <a:lnTo>
                    <a:pt x="85" y="18"/>
                  </a:lnTo>
                  <a:lnTo>
                    <a:pt x="74" y="19"/>
                  </a:lnTo>
                  <a:lnTo>
                    <a:pt x="71" y="19"/>
                  </a:lnTo>
                  <a:lnTo>
                    <a:pt x="71" y="20"/>
                  </a:lnTo>
                  <a:lnTo>
                    <a:pt x="74" y="20"/>
                  </a:lnTo>
                  <a:lnTo>
                    <a:pt x="80" y="20"/>
                  </a:lnTo>
                  <a:lnTo>
                    <a:pt x="76" y="20"/>
                  </a:lnTo>
                  <a:lnTo>
                    <a:pt x="67" y="21"/>
                  </a:lnTo>
                  <a:lnTo>
                    <a:pt x="66" y="21"/>
                  </a:lnTo>
                  <a:lnTo>
                    <a:pt x="66" y="22"/>
                  </a:lnTo>
                  <a:lnTo>
                    <a:pt x="65" y="22"/>
                  </a:lnTo>
                  <a:lnTo>
                    <a:pt x="66" y="22"/>
                  </a:lnTo>
                  <a:lnTo>
                    <a:pt x="69" y="23"/>
                  </a:lnTo>
                  <a:lnTo>
                    <a:pt x="72" y="23"/>
                  </a:lnTo>
                  <a:lnTo>
                    <a:pt x="76" y="22"/>
                  </a:lnTo>
                  <a:lnTo>
                    <a:pt x="92" y="22"/>
                  </a:lnTo>
                  <a:lnTo>
                    <a:pt x="100" y="22"/>
                  </a:lnTo>
                  <a:lnTo>
                    <a:pt x="107" y="21"/>
                  </a:lnTo>
                  <a:lnTo>
                    <a:pt x="122" y="20"/>
                  </a:lnTo>
                  <a:lnTo>
                    <a:pt x="121" y="20"/>
                  </a:lnTo>
                  <a:lnTo>
                    <a:pt x="118" y="20"/>
                  </a:lnTo>
                  <a:lnTo>
                    <a:pt x="114" y="21"/>
                  </a:lnTo>
                  <a:lnTo>
                    <a:pt x="106" y="22"/>
                  </a:lnTo>
                  <a:lnTo>
                    <a:pt x="106" y="22"/>
                  </a:lnTo>
                  <a:lnTo>
                    <a:pt x="97" y="23"/>
                  </a:lnTo>
                  <a:lnTo>
                    <a:pt x="90" y="23"/>
                  </a:lnTo>
                  <a:lnTo>
                    <a:pt x="84" y="23"/>
                  </a:lnTo>
                  <a:lnTo>
                    <a:pt x="79" y="23"/>
                  </a:lnTo>
                  <a:lnTo>
                    <a:pt x="77" y="23"/>
                  </a:lnTo>
                  <a:lnTo>
                    <a:pt x="71" y="23"/>
                  </a:lnTo>
                  <a:lnTo>
                    <a:pt x="70" y="24"/>
                  </a:lnTo>
                  <a:lnTo>
                    <a:pt x="69" y="24"/>
                  </a:lnTo>
                  <a:lnTo>
                    <a:pt x="71" y="25"/>
                  </a:lnTo>
                  <a:lnTo>
                    <a:pt x="73" y="25"/>
                  </a:lnTo>
                  <a:lnTo>
                    <a:pt x="75" y="25"/>
                  </a:lnTo>
                  <a:lnTo>
                    <a:pt x="77" y="26"/>
                  </a:lnTo>
                  <a:lnTo>
                    <a:pt x="82" y="26"/>
                  </a:lnTo>
                  <a:lnTo>
                    <a:pt x="84" y="27"/>
                  </a:lnTo>
                  <a:lnTo>
                    <a:pt x="86" y="27"/>
                  </a:lnTo>
                  <a:lnTo>
                    <a:pt x="90" y="27"/>
                  </a:lnTo>
                  <a:lnTo>
                    <a:pt x="90" y="26"/>
                  </a:lnTo>
                  <a:lnTo>
                    <a:pt x="92" y="26"/>
                  </a:lnTo>
                  <a:lnTo>
                    <a:pt x="93" y="26"/>
                  </a:lnTo>
                  <a:lnTo>
                    <a:pt x="95" y="25"/>
                  </a:lnTo>
                  <a:lnTo>
                    <a:pt x="97" y="24"/>
                  </a:lnTo>
                  <a:lnTo>
                    <a:pt x="100" y="24"/>
                  </a:lnTo>
                  <a:lnTo>
                    <a:pt x="103" y="23"/>
                  </a:lnTo>
                  <a:lnTo>
                    <a:pt x="104" y="23"/>
                  </a:lnTo>
                  <a:lnTo>
                    <a:pt x="108" y="22"/>
                  </a:lnTo>
                  <a:lnTo>
                    <a:pt x="113" y="22"/>
                  </a:lnTo>
                  <a:lnTo>
                    <a:pt x="122" y="22"/>
                  </a:lnTo>
                  <a:lnTo>
                    <a:pt x="125" y="22"/>
                  </a:lnTo>
                  <a:lnTo>
                    <a:pt x="143" y="21"/>
                  </a:lnTo>
                  <a:lnTo>
                    <a:pt x="137" y="22"/>
                  </a:lnTo>
                  <a:lnTo>
                    <a:pt x="131" y="22"/>
                  </a:lnTo>
                  <a:lnTo>
                    <a:pt x="126" y="22"/>
                  </a:lnTo>
                  <a:lnTo>
                    <a:pt x="124" y="22"/>
                  </a:lnTo>
                  <a:lnTo>
                    <a:pt x="121" y="23"/>
                  </a:lnTo>
                  <a:lnTo>
                    <a:pt x="115" y="23"/>
                  </a:lnTo>
                  <a:lnTo>
                    <a:pt x="108" y="23"/>
                  </a:lnTo>
                  <a:lnTo>
                    <a:pt x="106" y="23"/>
                  </a:lnTo>
                  <a:lnTo>
                    <a:pt x="106" y="23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1" y="25"/>
                  </a:lnTo>
                  <a:lnTo>
                    <a:pt x="98" y="25"/>
                  </a:lnTo>
                  <a:lnTo>
                    <a:pt x="97" y="25"/>
                  </a:lnTo>
                  <a:lnTo>
                    <a:pt x="96" y="26"/>
                  </a:lnTo>
                  <a:lnTo>
                    <a:pt x="94" y="26"/>
                  </a:lnTo>
                  <a:lnTo>
                    <a:pt x="94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6" y="29"/>
                  </a:lnTo>
                  <a:lnTo>
                    <a:pt x="100" y="29"/>
                  </a:lnTo>
                  <a:lnTo>
                    <a:pt x="101" y="29"/>
                  </a:lnTo>
                  <a:lnTo>
                    <a:pt x="103" y="29"/>
                  </a:lnTo>
                  <a:lnTo>
                    <a:pt x="104" y="27"/>
                  </a:lnTo>
                  <a:lnTo>
                    <a:pt x="105" y="27"/>
                  </a:lnTo>
                  <a:lnTo>
                    <a:pt x="105" y="27"/>
                  </a:lnTo>
                  <a:lnTo>
                    <a:pt x="102" y="29"/>
                  </a:lnTo>
                  <a:lnTo>
                    <a:pt x="103" y="29"/>
                  </a:lnTo>
                  <a:lnTo>
                    <a:pt x="105" y="29"/>
                  </a:lnTo>
                  <a:lnTo>
                    <a:pt x="106" y="29"/>
                  </a:lnTo>
                  <a:lnTo>
                    <a:pt x="112" y="29"/>
                  </a:lnTo>
                  <a:lnTo>
                    <a:pt x="113" y="29"/>
                  </a:lnTo>
                  <a:lnTo>
                    <a:pt x="113" y="29"/>
                  </a:lnTo>
                  <a:lnTo>
                    <a:pt x="115" y="27"/>
                  </a:lnTo>
                  <a:lnTo>
                    <a:pt x="116" y="27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6" y="26"/>
                  </a:lnTo>
                  <a:lnTo>
                    <a:pt x="120" y="26"/>
                  </a:lnTo>
                  <a:lnTo>
                    <a:pt x="122" y="25"/>
                  </a:lnTo>
                  <a:lnTo>
                    <a:pt x="123" y="25"/>
                  </a:lnTo>
                  <a:lnTo>
                    <a:pt x="122" y="26"/>
                  </a:lnTo>
                  <a:lnTo>
                    <a:pt x="121" y="26"/>
                  </a:lnTo>
                  <a:lnTo>
                    <a:pt x="120" y="26"/>
                  </a:lnTo>
                  <a:lnTo>
                    <a:pt x="118" y="26"/>
                  </a:lnTo>
                  <a:lnTo>
                    <a:pt x="118" y="27"/>
                  </a:lnTo>
                  <a:lnTo>
                    <a:pt x="118" y="27"/>
                  </a:lnTo>
                  <a:lnTo>
                    <a:pt x="123" y="27"/>
                  </a:lnTo>
                  <a:lnTo>
                    <a:pt x="123" y="27"/>
                  </a:lnTo>
                  <a:lnTo>
                    <a:pt x="124" y="26"/>
                  </a:lnTo>
                  <a:lnTo>
                    <a:pt x="127" y="26"/>
                  </a:lnTo>
                  <a:lnTo>
                    <a:pt x="132" y="25"/>
                  </a:lnTo>
                  <a:lnTo>
                    <a:pt x="135" y="25"/>
                  </a:lnTo>
                  <a:lnTo>
                    <a:pt x="135" y="24"/>
                  </a:lnTo>
                  <a:lnTo>
                    <a:pt x="134" y="24"/>
                  </a:lnTo>
                  <a:lnTo>
                    <a:pt x="136" y="24"/>
                  </a:lnTo>
                  <a:lnTo>
                    <a:pt x="138" y="24"/>
                  </a:lnTo>
                  <a:lnTo>
                    <a:pt x="137" y="24"/>
                  </a:lnTo>
                  <a:lnTo>
                    <a:pt x="137" y="24"/>
                  </a:lnTo>
                  <a:lnTo>
                    <a:pt x="136" y="25"/>
                  </a:lnTo>
                  <a:lnTo>
                    <a:pt x="136" y="25"/>
                  </a:lnTo>
                  <a:lnTo>
                    <a:pt x="140" y="25"/>
                  </a:lnTo>
                  <a:lnTo>
                    <a:pt x="134" y="26"/>
                  </a:lnTo>
                  <a:lnTo>
                    <a:pt x="132" y="26"/>
                  </a:lnTo>
                  <a:lnTo>
                    <a:pt x="131" y="26"/>
                  </a:lnTo>
                  <a:lnTo>
                    <a:pt x="126" y="26"/>
                  </a:lnTo>
                  <a:lnTo>
                    <a:pt x="123" y="27"/>
                  </a:lnTo>
                  <a:lnTo>
                    <a:pt x="122" y="27"/>
                  </a:lnTo>
                  <a:lnTo>
                    <a:pt x="121" y="27"/>
                  </a:lnTo>
                  <a:lnTo>
                    <a:pt x="121" y="29"/>
                  </a:lnTo>
                  <a:lnTo>
                    <a:pt x="121" y="29"/>
                  </a:lnTo>
                  <a:lnTo>
                    <a:pt x="123" y="29"/>
                  </a:lnTo>
                  <a:lnTo>
                    <a:pt x="135" y="29"/>
                  </a:lnTo>
                  <a:lnTo>
                    <a:pt x="147" y="26"/>
                  </a:lnTo>
                  <a:lnTo>
                    <a:pt x="160" y="25"/>
                  </a:lnTo>
                  <a:lnTo>
                    <a:pt x="161" y="24"/>
                  </a:lnTo>
                  <a:lnTo>
                    <a:pt x="161" y="24"/>
                  </a:lnTo>
                  <a:lnTo>
                    <a:pt x="164" y="23"/>
                  </a:lnTo>
                  <a:lnTo>
                    <a:pt x="164" y="23"/>
                  </a:lnTo>
                  <a:lnTo>
                    <a:pt x="163" y="23"/>
                  </a:lnTo>
                  <a:lnTo>
                    <a:pt x="163" y="23"/>
                  </a:lnTo>
                  <a:lnTo>
                    <a:pt x="162" y="23"/>
                  </a:lnTo>
                  <a:lnTo>
                    <a:pt x="164" y="22"/>
                  </a:lnTo>
                  <a:lnTo>
                    <a:pt x="165" y="22"/>
                  </a:lnTo>
                  <a:lnTo>
                    <a:pt x="163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4" y="21"/>
                  </a:lnTo>
                  <a:lnTo>
                    <a:pt x="167" y="22"/>
                  </a:lnTo>
                  <a:lnTo>
                    <a:pt x="170" y="22"/>
                  </a:lnTo>
                  <a:lnTo>
                    <a:pt x="170" y="21"/>
                  </a:lnTo>
                  <a:lnTo>
                    <a:pt x="170" y="21"/>
                  </a:lnTo>
                  <a:lnTo>
                    <a:pt x="172" y="21"/>
                  </a:lnTo>
                  <a:lnTo>
                    <a:pt x="176" y="20"/>
                  </a:lnTo>
                  <a:lnTo>
                    <a:pt x="191" y="18"/>
                  </a:lnTo>
                  <a:lnTo>
                    <a:pt x="191" y="18"/>
                  </a:lnTo>
                  <a:lnTo>
                    <a:pt x="188" y="18"/>
                  </a:lnTo>
                  <a:lnTo>
                    <a:pt x="178" y="20"/>
                  </a:lnTo>
                  <a:lnTo>
                    <a:pt x="177" y="20"/>
                  </a:lnTo>
                  <a:lnTo>
                    <a:pt x="175" y="21"/>
                  </a:lnTo>
                  <a:lnTo>
                    <a:pt x="173" y="21"/>
                  </a:lnTo>
                  <a:lnTo>
                    <a:pt x="172" y="21"/>
                  </a:lnTo>
                  <a:lnTo>
                    <a:pt x="172" y="22"/>
                  </a:lnTo>
                  <a:lnTo>
                    <a:pt x="166" y="23"/>
                  </a:lnTo>
                  <a:lnTo>
                    <a:pt x="165" y="24"/>
                  </a:lnTo>
                  <a:lnTo>
                    <a:pt x="166" y="24"/>
                  </a:lnTo>
                  <a:lnTo>
                    <a:pt x="181" y="24"/>
                  </a:lnTo>
                  <a:lnTo>
                    <a:pt x="189" y="24"/>
                  </a:lnTo>
                  <a:lnTo>
                    <a:pt x="205" y="23"/>
                  </a:lnTo>
                  <a:lnTo>
                    <a:pt x="205" y="23"/>
                  </a:lnTo>
                  <a:lnTo>
                    <a:pt x="203" y="23"/>
                  </a:lnTo>
                  <a:lnTo>
                    <a:pt x="198" y="23"/>
                  </a:lnTo>
                  <a:lnTo>
                    <a:pt x="198" y="24"/>
                  </a:lnTo>
                  <a:lnTo>
                    <a:pt x="198" y="24"/>
                  </a:lnTo>
                  <a:lnTo>
                    <a:pt x="198" y="24"/>
                  </a:lnTo>
                  <a:lnTo>
                    <a:pt x="196" y="24"/>
                  </a:lnTo>
                  <a:lnTo>
                    <a:pt x="194" y="24"/>
                  </a:lnTo>
                  <a:lnTo>
                    <a:pt x="193" y="24"/>
                  </a:lnTo>
                  <a:lnTo>
                    <a:pt x="194" y="24"/>
                  </a:lnTo>
                  <a:lnTo>
                    <a:pt x="194" y="24"/>
                  </a:lnTo>
                  <a:lnTo>
                    <a:pt x="193" y="25"/>
                  </a:lnTo>
                  <a:lnTo>
                    <a:pt x="192" y="25"/>
                  </a:lnTo>
                  <a:lnTo>
                    <a:pt x="191" y="24"/>
                  </a:lnTo>
                  <a:lnTo>
                    <a:pt x="186" y="24"/>
                  </a:lnTo>
                  <a:lnTo>
                    <a:pt x="183" y="24"/>
                  </a:lnTo>
                  <a:lnTo>
                    <a:pt x="182" y="24"/>
                  </a:lnTo>
                  <a:lnTo>
                    <a:pt x="182" y="25"/>
                  </a:lnTo>
                  <a:lnTo>
                    <a:pt x="181" y="25"/>
                  </a:lnTo>
                  <a:lnTo>
                    <a:pt x="181" y="25"/>
                  </a:lnTo>
                  <a:lnTo>
                    <a:pt x="177" y="25"/>
                  </a:lnTo>
                  <a:lnTo>
                    <a:pt x="167" y="25"/>
                  </a:lnTo>
                  <a:lnTo>
                    <a:pt x="162" y="26"/>
                  </a:lnTo>
                  <a:lnTo>
                    <a:pt x="157" y="26"/>
                  </a:lnTo>
                  <a:lnTo>
                    <a:pt x="155" y="26"/>
                  </a:lnTo>
                  <a:lnTo>
                    <a:pt x="152" y="27"/>
                  </a:lnTo>
                  <a:lnTo>
                    <a:pt x="154" y="27"/>
                  </a:lnTo>
                  <a:lnTo>
                    <a:pt x="164" y="27"/>
                  </a:lnTo>
                  <a:lnTo>
                    <a:pt x="166" y="27"/>
                  </a:lnTo>
                  <a:lnTo>
                    <a:pt x="173" y="27"/>
                  </a:lnTo>
                  <a:lnTo>
                    <a:pt x="173" y="27"/>
                  </a:lnTo>
                  <a:lnTo>
                    <a:pt x="172" y="27"/>
                  </a:lnTo>
                  <a:lnTo>
                    <a:pt x="161" y="27"/>
                  </a:lnTo>
                  <a:lnTo>
                    <a:pt x="154" y="29"/>
                  </a:lnTo>
                  <a:lnTo>
                    <a:pt x="150" y="29"/>
                  </a:lnTo>
                  <a:lnTo>
                    <a:pt x="147" y="29"/>
                  </a:lnTo>
                  <a:lnTo>
                    <a:pt x="151" y="29"/>
                  </a:lnTo>
                  <a:lnTo>
                    <a:pt x="151" y="30"/>
                  </a:lnTo>
                  <a:lnTo>
                    <a:pt x="150" y="30"/>
                  </a:lnTo>
                  <a:lnTo>
                    <a:pt x="147" y="30"/>
                  </a:lnTo>
                  <a:lnTo>
                    <a:pt x="146" y="30"/>
                  </a:lnTo>
                  <a:lnTo>
                    <a:pt x="141" y="30"/>
                  </a:lnTo>
                  <a:lnTo>
                    <a:pt x="135" y="30"/>
                  </a:lnTo>
                  <a:lnTo>
                    <a:pt x="131" y="30"/>
                  </a:lnTo>
                  <a:lnTo>
                    <a:pt x="125" y="31"/>
                  </a:lnTo>
                  <a:lnTo>
                    <a:pt x="120" y="31"/>
                  </a:lnTo>
                  <a:lnTo>
                    <a:pt x="118" y="31"/>
                  </a:lnTo>
                  <a:lnTo>
                    <a:pt x="124" y="33"/>
                  </a:lnTo>
                  <a:lnTo>
                    <a:pt x="124" y="34"/>
                  </a:lnTo>
                  <a:lnTo>
                    <a:pt x="124" y="34"/>
                  </a:lnTo>
                  <a:lnTo>
                    <a:pt x="132" y="35"/>
                  </a:lnTo>
                  <a:lnTo>
                    <a:pt x="131" y="35"/>
                  </a:lnTo>
                  <a:lnTo>
                    <a:pt x="128" y="36"/>
                  </a:lnTo>
                  <a:lnTo>
                    <a:pt x="128" y="36"/>
                  </a:lnTo>
                  <a:lnTo>
                    <a:pt x="127" y="37"/>
                  </a:lnTo>
                  <a:lnTo>
                    <a:pt x="127" y="37"/>
                  </a:lnTo>
                  <a:lnTo>
                    <a:pt x="128" y="37"/>
                  </a:lnTo>
                  <a:lnTo>
                    <a:pt x="127" y="39"/>
                  </a:lnTo>
                  <a:lnTo>
                    <a:pt x="128" y="39"/>
                  </a:lnTo>
                  <a:lnTo>
                    <a:pt x="132" y="39"/>
                  </a:lnTo>
                  <a:lnTo>
                    <a:pt x="134" y="40"/>
                  </a:lnTo>
                  <a:lnTo>
                    <a:pt x="142" y="39"/>
                  </a:lnTo>
                  <a:lnTo>
                    <a:pt x="143" y="39"/>
                  </a:lnTo>
                  <a:lnTo>
                    <a:pt x="143" y="39"/>
                  </a:lnTo>
                  <a:lnTo>
                    <a:pt x="143" y="40"/>
                  </a:lnTo>
                  <a:lnTo>
                    <a:pt x="141" y="40"/>
                  </a:lnTo>
                  <a:lnTo>
                    <a:pt x="134" y="40"/>
                  </a:lnTo>
                  <a:lnTo>
                    <a:pt x="133" y="41"/>
                  </a:lnTo>
                  <a:lnTo>
                    <a:pt x="133" y="41"/>
                  </a:lnTo>
                  <a:lnTo>
                    <a:pt x="133" y="41"/>
                  </a:lnTo>
                  <a:lnTo>
                    <a:pt x="133" y="41"/>
                  </a:lnTo>
                  <a:lnTo>
                    <a:pt x="127" y="40"/>
                  </a:lnTo>
                  <a:lnTo>
                    <a:pt x="125" y="40"/>
                  </a:lnTo>
                  <a:lnTo>
                    <a:pt x="123" y="40"/>
                  </a:lnTo>
                  <a:lnTo>
                    <a:pt x="124" y="39"/>
                  </a:lnTo>
                  <a:lnTo>
                    <a:pt x="123" y="39"/>
                  </a:lnTo>
                  <a:lnTo>
                    <a:pt x="123" y="39"/>
                  </a:lnTo>
                  <a:lnTo>
                    <a:pt x="123" y="37"/>
                  </a:lnTo>
                  <a:lnTo>
                    <a:pt x="123" y="37"/>
                  </a:lnTo>
                  <a:lnTo>
                    <a:pt x="123" y="37"/>
                  </a:lnTo>
                  <a:lnTo>
                    <a:pt x="112" y="32"/>
                  </a:lnTo>
                  <a:lnTo>
                    <a:pt x="111" y="32"/>
                  </a:lnTo>
                  <a:lnTo>
                    <a:pt x="107" y="31"/>
                  </a:lnTo>
                  <a:lnTo>
                    <a:pt x="104" y="31"/>
                  </a:lnTo>
                  <a:lnTo>
                    <a:pt x="101" y="32"/>
                  </a:lnTo>
                  <a:lnTo>
                    <a:pt x="95" y="31"/>
                  </a:lnTo>
                  <a:lnTo>
                    <a:pt x="90" y="31"/>
                  </a:lnTo>
                  <a:lnTo>
                    <a:pt x="89" y="31"/>
                  </a:lnTo>
                  <a:lnTo>
                    <a:pt x="87" y="31"/>
                  </a:lnTo>
                  <a:lnTo>
                    <a:pt x="85" y="32"/>
                  </a:lnTo>
                  <a:lnTo>
                    <a:pt x="84" y="33"/>
                  </a:lnTo>
                  <a:lnTo>
                    <a:pt x="83" y="33"/>
                  </a:lnTo>
                  <a:lnTo>
                    <a:pt x="83" y="34"/>
                  </a:lnTo>
                  <a:lnTo>
                    <a:pt x="92" y="35"/>
                  </a:lnTo>
                  <a:lnTo>
                    <a:pt x="93" y="35"/>
                  </a:lnTo>
                  <a:lnTo>
                    <a:pt x="93" y="35"/>
                  </a:lnTo>
                  <a:lnTo>
                    <a:pt x="93" y="35"/>
                  </a:lnTo>
                  <a:lnTo>
                    <a:pt x="86" y="35"/>
                  </a:lnTo>
                  <a:lnTo>
                    <a:pt x="85" y="35"/>
                  </a:lnTo>
                  <a:lnTo>
                    <a:pt x="84" y="34"/>
                  </a:lnTo>
                  <a:lnTo>
                    <a:pt x="83" y="35"/>
                  </a:lnTo>
                  <a:lnTo>
                    <a:pt x="81" y="36"/>
                  </a:lnTo>
                  <a:lnTo>
                    <a:pt x="81" y="36"/>
                  </a:lnTo>
                  <a:lnTo>
                    <a:pt x="82" y="37"/>
                  </a:lnTo>
                  <a:lnTo>
                    <a:pt x="85" y="37"/>
                  </a:lnTo>
                  <a:lnTo>
                    <a:pt x="89" y="37"/>
                  </a:lnTo>
                  <a:lnTo>
                    <a:pt x="92" y="39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1"/>
                  </a:lnTo>
                  <a:lnTo>
                    <a:pt x="94" y="42"/>
                  </a:lnTo>
                  <a:lnTo>
                    <a:pt x="94" y="42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3" y="45"/>
                  </a:lnTo>
                  <a:lnTo>
                    <a:pt x="96" y="45"/>
                  </a:lnTo>
                  <a:lnTo>
                    <a:pt x="97" y="44"/>
                  </a:lnTo>
                  <a:lnTo>
                    <a:pt x="96" y="45"/>
                  </a:lnTo>
                  <a:lnTo>
                    <a:pt x="95" y="45"/>
                  </a:lnTo>
                  <a:lnTo>
                    <a:pt x="96" y="46"/>
                  </a:lnTo>
                  <a:lnTo>
                    <a:pt x="97" y="46"/>
                  </a:lnTo>
                  <a:lnTo>
                    <a:pt x="97" y="46"/>
                  </a:lnTo>
                  <a:lnTo>
                    <a:pt x="98" y="47"/>
                  </a:lnTo>
                  <a:lnTo>
                    <a:pt x="101" y="47"/>
                  </a:lnTo>
                  <a:lnTo>
                    <a:pt x="98" y="47"/>
                  </a:lnTo>
                  <a:lnTo>
                    <a:pt x="95" y="47"/>
                  </a:lnTo>
                  <a:lnTo>
                    <a:pt x="94" y="47"/>
                  </a:lnTo>
                  <a:lnTo>
                    <a:pt x="93" y="46"/>
                  </a:lnTo>
                  <a:lnTo>
                    <a:pt x="91" y="46"/>
                  </a:lnTo>
                  <a:lnTo>
                    <a:pt x="90" y="46"/>
                  </a:lnTo>
                  <a:lnTo>
                    <a:pt x="89" y="46"/>
                  </a:lnTo>
                  <a:lnTo>
                    <a:pt x="86" y="46"/>
                  </a:lnTo>
                  <a:lnTo>
                    <a:pt x="86" y="47"/>
                  </a:lnTo>
                  <a:lnTo>
                    <a:pt x="87" y="47"/>
                  </a:lnTo>
                  <a:lnTo>
                    <a:pt x="91" y="49"/>
                  </a:lnTo>
                  <a:lnTo>
                    <a:pt x="101" y="49"/>
                  </a:lnTo>
                  <a:lnTo>
                    <a:pt x="104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2" y="49"/>
                  </a:lnTo>
                  <a:lnTo>
                    <a:pt x="113" y="49"/>
                  </a:lnTo>
                  <a:lnTo>
                    <a:pt x="116" y="47"/>
                  </a:lnTo>
                  <a:lnTo>
                    <a:pt x="118" y="47"/>
                  </a:lnTo>
                  <a:lnTo>
                    <a:pt x="118" y="47"/>
                  </a:lnTo>
                  <a:lnTo>
                    <a:pt x="116" y="49"/>
                  </a:lnTo>
                  <a:lnTo>
                    <a:pt x="114" y="50"/>
                  </a:lnTo>
                  <a:lnTo>
                    <a:pt x="115" y="50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2" y="51"/>
                  </a:lnTo>
                  <a:lnTo>
                    <a:pt x="111" y="51"/>
                  </a:lnTo>
                  <a:lnTo>
                    <a:pt x="110" y="50"/>
                  </a:lnTo>
                  <a:lnTo>
                    <a:pt x="107" y="50"/>
                  </a:lnTo>
                  <a:lnTo>
                    <a:pt x="100" y="50"/>
                  </a:lnTo>
                  <a:lnTo>
                    <a:pt x="98" y="51"/>
                  </a:lnTo>
                  <a:lnTo>
                    <a:pt x="98" y="51"/>
                  </a:lnTo>
                  <a:lnTo>
                    <a:pt x="100" y="51"/>
                  </a:lnTo>
                  <a:lnTo>
                    <a:pt x="102" y="51"/>
                  </a:lnTo>
                  <a:lnTo>
                    <a:pt x="102" y="52"/>
                  </a:lnTo>
                  <a:lnTo>
                    <a:pt x="107" y="52"/>
                  </a:lnTo>
                  <a:lnTo>
                    <a:pt x="106" y="52"/>
                  </a:lnTo>
                  <a:lnTo>
                    <a:pt x="104" y="52"/>
                  </a:lnTo>
                  <a:lnTo>
                    <a:pt x="105" y="53"/>
                  </a:lnTo>
                  <a:lnTo>
                    <a:pt x="104" y="54"/>
                  </a:lnTo>
                  <a:lnTo>
                    <a:pt x="101" y="53"/>
                  </a:lnTo>
                  <a:lnTo>
                    <a:pt x="101" y="53"/>
                  </a:lnTo>
                  <a:lnTo>
                    <a:pt x="100" y="52"/>
                  </a:lnTo>
                  <a:lnTo>
                    <a:pt x="97" y="52"/>
                  </a:lnTo>
                  <a:lnTo>
                    <a:pt x="92" y="50"/>
                  </a:lnTo>
                  <a:lnTo>
                    <a:pt x="85" y="50"/>
                  </a:lnTo>
                  <a:lnTo>
                    <a:pt x="81" y="49"/>
                  </a:lnTo>
                  <a:lnTo>
                    <a:pt x="79" y="49"/>
                  </a:lnTo>
                  <a:lnTo>
                    <a:pt x="77" y="49"/>
                  </a:lnTo>
                  <a:lnTo>
                    <a:pt x="76" y="50"/>
                  </a:lnTo>
                  <a:lnTo>
                    <a:pt x="63" y="51"/>
                  </a:lnTo>
                  <a:lnTo>
                    <a:pt x="62" y="51"/>
                  </a:lnTo>
                  <a:lnTo>
                    <a:pt x="60" y="51"/>
                  </a:lnTo>
                  <a:lnTo>
                    <a:pt x="57" y="52"/>
                  </a:lnTo>
                  <a:lnTo>
                    <a:pt x="55" y="53"/>
                  </a:lnTo>
                  <a:lnTo>
                    <a:pt x="57" y="53"/>
                  </a:lnTo>
                  <a:lnTo>
                    <a:pt x="56" y="53"/>
                  </a:lnTo>
                  <a:lnTo>
                    <a:pt x="53" y="54"/>
                  </a:lnTo>
                  <a:lnTo>
                    <a:pt x="51" y="54"/>
                  </a:lnTo>
                  <a:lnTo>
                    <a:pt x="47" y="55"/>
                  </a:lnTo>
                  <a:lnTo>
                    <a:pt x="49" y="56"/>
                  </a:lnTo>
                  <a:lnTo>
                    <a:pt x="47" y="56"/>
                  </a:lnTo>
                  <a:lnTo>
                    <a:pt x="47" y="57"/>
                  </a:lnTo>
                  <a:lnTo>
                    <a:pt x="46" y="57"/>
                  </a:lnTo>
                  <a:lnTo>
                    <a:pt x="46" y="59"/>
                  </a:lnTo>
                  <a:lnTo>
                    <a:pt x="49" y="57"/>
                  </a:lnTo>
                  <a:lnTo>
                    <a:pt x="51" y="59"/>
                  </a:lnTo>
                  <a:lnTo>
                    <a:pt x="47" y="59"/>
                  </a:lnTo>
                  <a:lnTo>
                    <a:pt x="46" y="59"/>
                  </a:lnTo>
                  <a:lnTo>
                    <a:pt x="45" y="59"/>
                  </a:lnTo>
                  <a:lnTo>
                    <a:pt x="45" y="60"/>
                  </a:lnTo>
                  <a:lnTo>
                    <a:pt x="50" y="60"/>
                  </a:lnTo>
                  <a:lnTo>
                    <a:pt x="55" y="59"/>
                  </a:lnTo>
                  <a:lnTo>
                    <a:pt x="57" y="57"/>
                  </a:lnTo>
                  <a:lnTo>
                    <a:pt x="59" y="59"/>
                  </a:lnTo>
                  <a:lnTo>
                    <a:pt x="60" y="57"/>
                  </a:lnTo>
                  <a:lnTo>
                    <a:pt x="61" y="57"/>
                  </a:lnTo>
                  <a:lnTo>
                    <a:pt x="62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3" y="57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7" y="60"/>
                  </a:lnTo>
                  <a:lnTo>
                    <a:pt x="57" y="60"/>
                  </a:lnTo>
                  <a:lnTo>
                    <a:pt x="59" y="60"/>
                  </a:lnTo>
                  <a:lnTo>
                    <a:pt x="64" y="60"/>
                  </a:lnTo>
                  <a:lnTo>
                    <a:pt x="65" y="60"/>
                  </a:lnTo>
                  <a:lnTo>
                    <a:pt x="67" y="60"/>
                  </a:lnTo>
                  <a:lnTo>
                    <a:pt x="71" y="57"/>
                  </a:lnTo>
                  <a:lnTo>
                    <a:pt x="72" y="57"/>
                  </a:lnTo>
                  <a:lnTo>
                    <a:pt x="74" y="56"/>
                  </a:lnTo>
                  <a:lnTo>
                    <a:pt x="76" y="55"/>
                  </a:lnTo>
                  <a:lnTo>
                    <a:pt x="77" y="54"/>
                  </a:lnTo>
                  <a:lnTo>
                    <a:pt x="79" y="54"/>
                  </a:lnTo>
                  <a:lnTo>
                    <a:pt x="81" y="53"/>
                  </a:lnTo>
                  <a:lnTo>
                    <a:pt x="77" y="54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7" y="56"/>
                  </a:lnTo>
                  <a:lnTo>
                    <a:pt x="79" y="56"/>
                  </a:lnTo>
                  <a:lnTo>
                    <a:pt x="77" y="56"/>
                  </a:lnTo>
                  <a:lnTo>
                    <a:pt x="75" y="57"/>
                  </a:lnTo>
                  <a:lnTo>
                    <a:pt x="74" y="57"/>
                  </a:lnTo>
                  <a:lnTo>
                    <a:pt x="73" y="59"/>
                  </a:lnTo>
                  <a:lnTo>
                    <a:pt x="73" y="59"/>
                  </a:lnTo>
                  <a:lnTo>
                    <a:pt x="76" y="59"/>
                  </a:lnTo>
                  <a:lnTo>
                    <a:pt x="79" y="59"/>
                  </a:lnTo>
                  <a:lnTo>
                    <a:pt x="80" y="59"/>
                  </a:lnTo>
                  <a:lnTo>
                    <a:pt x="80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0" y="60"/>
                  </a:lnTo>
                  <a:lnTo>
                    <a:pt x="75" y="59"/>
                  </a:lnTo>
                  <a:lnTo>
                    <a:pt x="71" y="59"/>
                  </a:lnTo>
                  <a:lnTo>
                    <a:pt x="69" y="60"/>
                  </a:lnTo>
                  <a:lnTo>
                    <a:pt x="69" y="60"/>
                  </a:lnTo>
                  <a:lnTo>
                    <a:pt x="67" y="60"/>
                  </a:lnTo>
                  <a:lnTo>
                    <a:pt x="70" y="61"/>
                  </a:lnTo>
                  <a:lnTo>
                    <a:pt x="67" y="61"/>
                  </a:lnTo>
                  <a:lnTo>
                    <a:pt x="65" y="61"/>
                  </a:lnTo>
                  <a:lnTo>
                    <a:pt x="64" y="61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1" y="63"/>
                  </a:lnTo>
                  <a:lnTo>
                    <a:pt x="63" y="62"/>
                  </a:lnTo>
                  <a:lnTo>
                    <a:pt x="67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69" y="62"/>
                  </a:lnTo>
                  <a:lnTo>
                    <a:pt x="66" y="63"/>
                  </a:lnTo>
                  <a:lnTo>
                    <a:pt x="66" y="63"/>
                  </a:lnTo>
                  <a:lnTo>
                    <a:pt x="66" y="62"/>
                  </a:lnTo>
                  <a:lnTo>
                    <a:pt x="63" y="63"/>
                  </a:lnTo>
                  <a:lnTo>
                    <a:pt x="62" y="63"/>
                  </a:lnTo>
                  <a:lnTo>
                    <a:pt x="62" y="63"/>
                  </a:lnTo>
                  <a:lnTo>
                    <a:pt x="61" y="63"/>
                  </a:lnTo>
                  <a:lnTo>
                    <a:pt x="65" y="63"/>
                  </a:lnTo>
                  <a:lnTo>
                    <a:pt x="63" y="64"/>
                  </a:lnTo>
                  <a:lnTo>
                    <a:pt x="62" y="64"/>
                  </a:lnTo>
                  <a:lnTo>
                    <a:pt x="62" y="64"/>
                  </a:lnTo>
                  <a:lnTo>
                    <a:pt x="61" y="65"/>
                  </a:lnTo>
                  <a:lnTo>
                    <a:pt x="64" y="66"/>
                  </a:lnTo>
                  <a:lnTo>
                    <a:pt x="67" y="65"/>
                  </a:lnTo>
                  <a:lnTo>
                    <a:pt x="67" y="64"/>
                  </a:lnTo>
                  <a:lnTo>
                    <a:pt x="69" y="64"/>
                  </a:lnTo>
                  <a:lnTo>
                    <a:pt x="69" y="65"/>
                  </a:lnTo>
                  <a:lnTo>
                    <a:pt x="64" y="66"/>
                  </a:lnTo>
                  <a:lnTo>
                    <a:pt x="64" y="67"/>
                  </a:lnTo>
                  <a:lnTo>
                    <a:pt x="67" y="67"/>
                  </a:lnTo>
                  <a:lnTo>
                    <a:pt x="70" y="66"/>
                  </a:lnTo>
                  <a:lnTo>
                    <a:pt x="74" y="67"/>
                  </a:lnTo>
                  <a:lnTo>
                    <a:pt x="77" y="66"/>
                  </a:lnTo>
                  <a:lnTo>
                    <a:pt x="81" y="66"/>
                  </a:lnTo>
                  <a:lnTo>
                    <a:pt x="83" y="64"/>
                  </a:lnTo>
                  <a:lnTo>
                    <a:pt x="86" y="64"/>
                  </a:lnTo>
                  <a:lnTo>
                    <a:pt x="87" y="63"/>
                  </a:lnTo>
                  <a:lnTo>
                    <a:pt x="91" y="62"/>
                  </a:lnTo>
                  <a:lnTo>
                    <a:pt x="92" y="61"/>
                  </a:lnTo>
                  <a:lnTo>
                    <a:pt x="93" y="61"/>
                  </a:lnTo>
                  <a:lnTo>
                    <a:pt x="94" y="60"/>
                  </a:lnTo>
                  <a:lnTo>
                    <a:pt x="96" y="61"/>
                  </a:lnTo>
                  <a:lnTo>
                    <a:pt x="93" y="61"/>
                  </a:lnTo>
                  <a:lnTo>
                    <a:pt x="93" y="62"/>
                  </a:lnTo>
                  <a:lnTo>
                    <a:pt x="91" y="63"/>
                  </a:lnTo>
                  <a:lnTo>
                    <a:pt x="86" y="64"/>
                  </a:lnTo>
                  <a:lnTo>
                    <a:pt x="86" y="64"/>
                  </a:lnTo>
                  <a:lnTo>
                    <a:pt x="84" y="65"/>
                  </a:lnTo>
                  <a:lnTo>
                    <a:pt x="80" y="66"/>
                  </a:lnTo>
                  <a:lnTo>
                    <a:pt x="79" y="67"/>
                  </a:lnTo>
                  <a:lnTo>
                    <a:pt x="75" y="67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76" y="69"/>
                  </a:lnTo>
                  <a:lnTo>
                    <a:pt x="76" y="69"/>
                  </a:lnTo>
                  <a:lnTo>
                    <a:pt x="74" y="69"/>
                  </a:lnTo>
                  <a:lnTo>
                    <a:pt x="72" y="69"/>
                  </a:lnTo>
                  <a:lnTo>
                    <a:pt x="71" y="69"/>
                  </a:lnTo>
                  <a:lnTo>
                    <a:pt x="65" y="69"/>
                  </a:lnTo>
                  <a:lnTo>
                    <a:pt x="66" y="70"/>
                  </a:lnTo>
                  <a:lnTo>
                    <a:pt x="66" y="70"/>
                  </a:lnTo>
                  <a:lnTo>
                    <a:pt x="65" y="70"/>
                  </a:lnTo>
                  <a:lnTo>
                    <a:pt x="64" y="70"/>
                  </a:lnTo>
                  <a:lnTo>
                    <a:pt x="61" y="69"/>
                  </a:lnTo>
                  <a:lnTo>
                    <a:pt x="56" y="69"/>
                  </a:lnTo>
                  <a:lnTo>
                    <a:pt x="54" y="69"/>
                  </a:lnTo>
                  <a:lnTo>
                    <a:pt x="53" y="69"/>
                  </a:lnTo>
                  <a:lnTo>
                    <a:pt x="54" y="67"/>
                  </a:lnTo>
                  <a:lnTo>
                    <a:pt x="53" y="67"/>
                  </a:lnTo>
                  <a:lnTo>
                    <a:pt x="54" y="66"/>
                  </a:lnTo>
                  <a:lnTo>
                    <a:pt x="53" y="65"/>
                  </a:lnTo>
                  <a:lnTo>
                    <a:pt x="53" y="65"/>
                  </a:lnTo>
                  <a:lnTo>
                    <a:pt x="53" y="64"/>
                  </a:lnTo>
                  <a:lnTo>
                    <a:pt x="53" y="64"/>
                  </a:lnTo>
                  <a:lnTo>
                    <a:pt x="51" y="63"/>
                  </a:lnTo>
                  <a:lnTo>
                    <a:pt x="42" y="62"/>
                  </a:lnTo>
                  <a:lnTo>
                    <a:pt x="35" y="63"/>
                  </a:lnTo>
                  <a:lnTo>
                    <a:pt x="34" y="63"/>
                  </a:lnTo>
                  <a:lnTo>
                    <a:pt x="32" y="63"/>
                  </a:lnTo>
                  <a:lnTo>
                    <a:pt x="31" y="63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29" y="65"/>
                  </a:lnTo>
                  <a:lnTo>
                    <a:pt x="32" y="66"/>
                  </a:lnTo>
                  <a:lnTo>
                    <a:pt x="31" y="66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1" y="69"/>
                  </a:lnTo>
                  <a:lnTo>
                    <a:pt x="31" y="70"/>
                  </a:lnTo>
                  <a:lnTo>
                    <a:pt x="31" y="70"/>
                  </a:lnTo>
                  <a:lnTo>
                    <a:pt x="34" y="70"/>
                  </a:lnTo>
                  <a:lnTo>
                    <a:pt x="36" y="70"/>
                  </a:lnTo>
                  <a:lnTo>
                    <a:pt x="39" y="70"/>
                  </a:lnTo>
                  <a:lnTo>
                    <a:pt x="39" y="70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4" y="71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5" y="72"/>
                  </a:lnTo>
                  <a:lnTo>
                    <a:pt x="37" y="72"/>
                  </a:lnTo>
                  <a:lnTo>
                    <a:pt x="36" y="72"/>
                  </a:lnTo>
                  <a:lnTo>
                    <a:pt x="36" y="73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1" y="72"/>
                  </a:lnTo>
                  <a:lnTo>
                    <a:pt x="30" y="73"/>
                  </a:lnTo>
                  <a:lnTo>
                    <a:pt x="30" y="73"/>
                  </a:lnTo>
                  <a:lnTo>
                    <a:pt x="27" y="73"/>
                  </a:lnTo>
                  <a:lnTo>
                    <a:pt x="27" y="73"/>
                  </a:lnTo>
                  <a:lnTo>
                    <a:pt x="27" y="73"/>
                  </a:lnTo>
                  <a:lnTo>
                    <a:pt x="25" y="73"/>
                  </a:lnTo>
                  <a:lnTo>
                    <a:pt x="24" y="73"/>
                  </a:lnTo>
                  <a:lnTo>
                    <a:pt x="22" y="73"/>
                  </a:lnTo>
                  <a:lnTo>
                    <a:pt x="21" y="73"/>
                  </a:lnTo>
                  <a:lnTo>
                    <a:pt x="20" y="74"/>
                  </a:lnTo>
                  <a:lnTo>
                    <a:pt x="17" y="74"/>
                  </a:lnTo>
                  <a:lnTo>
                    <a:pt x="15" y="74"/>
                  </a:lnTo>
                  <a:lnTo>
                    <a:pt x="14" y="75"/>
                  </a:lnTo>
                  <a:lnTo>
                    <a:pt x="6" y="76"/>
                  </a:lnTo>
                  <a:lnTo>
                    <a:pt x="4" y="77"/>
                  </a:lnTo>
                  <a:lnTo>
                    <a:pt x="3" y="79"/>
                  </a:lnTo>
                  <a:lnTo>
                    <a:pt x="2" y="79"/>
                  </a:lnTo>
                  <a:lnTo>
                    <a:pt x="1" y="80"/>
                  </a:lnTo>
                  <a:lnTo>
                    <a:pt x="0" y="80"/>
                  </a:lnTo>
                  <a:lnTo>
                    <a:pt x="2" y="82"/>
                  </a:lnTo>
                  <a:lnTo>
                    <a:pt x="3" y="82"/>
                  </a:lnTo>
                  <a:lnTo>
                    <a:pt x="6" y="81"/>
                  </a:lnTo>
                  <a:lnTo>
                    <a:pt x="8" y="80"/>
                  </a:lnTo>
                  <a:lnTo>
                    <a:pt x="8" y="82"/>
                  </a:lnTo>
                  <a:lnTo>
                    <a:pt x="10" y="81"/>
                  </a:lnTo>
                  <a:lnTo>
                    <a:pt x="11" y="77"/>
                  </a:lnTo>
                  <a:lnTo>
                    <a:pt x="13" y="77"/>
                  </a:lnTo>
                  <a:lnTo>
                    <a:pt x="13" y="79"/>
                  </a:lnTo>
                  <a:lnTo>
                    <a:pt x="11" y="80"/>
                  </a:lnTo>
                  <a:lnTo>
                    <a:pt x="10" y="82"/>
                  </a:lnTo>
                  <a:lnTo>
                    <a:pt x="13" y="82"/>
                  </a:lnTo>
                  <a:lnTo>
                    <a:pt x="13" y="83"/>
                  </a:lnTo>
                  <a:lnTo>
                    <a:pt x="16" y="83"/>
                  </a:lnTo>
                  <a:lnTo>
                    <a:pt x="19" y="82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22" y="82"/>
                  </a:lnTo>
                  <a:lnTo>
                    <a:pt x="22" y="83"/>
                  </a:lnTo>
                  <a:lnTo>
                    <a:pt x="24" y="83"/>
                  </a:lnTo>
                  <a:lnTo>
                    <a:pt x="26" y="82"/>
                  </a:lnTo>
                  <a:lnTo>
                    <a:pt x="30" y="81"/>
                  </a:lnTo>
                  <a:lnTo>
                    <a:pt x="31" y="80"/>
                  </a:lnTo>
                  <a:lnTo>
                    <a:pt x="31" y="81"/>
                  </a:lnTo>
                  <a:lnTo>
                    <a:pt x="31" y="82"/>
                  </a:lnTo>
                  <a:lnTo>
                    <a:pt x="29" y="83"/>
                  </a:lnTo>
                  <a:lnTo>
                    <a:pt x="27" y="83"/>
                  </a:lnTo>
                  <a:lnTo>
                    <a:pt x="33" y="83"/>
                  </a:lnTo>
                  <a:lnTo>
                    <a:pt x="30" y="81"/>
                  </a:lnTo>
                  <a:lnTo>
                    <a:pt x="31" y="80"/>
                  </a:lnTo>
                  <a:lnTo>
                    <a:pt x="31" y="81"/>
                  </a:lnTo>
                  <a:lnTo>
                    <a:pt x="31" y="82"/>
                  </a:lnTo>
                  <a:lnTo>
                    <a:pt x="29" y="83"/>
                  </a:lnTo>
                  <a:lnTo>
                    <a:pt x="27" y="83"/>
                  </a:lnTo>
                  <a:lnTo>
                    <a:pt x="33" y="83"/>
                  </a:lnTo>
                  <a:lnTo>
                    <a:pt x="35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9" y="84"/>
                  </a:lnTo>
                  <a:lnTo>
                    <a:pt x="45" y="82"/>
                  </a:lnTo>
                  <a:lnTo>
                    <a:pt x="46" y="81"/>
                  </a:lnTo>
                  <a:lnTo>
                    <a:pt x="47" y="82"/>
                  </a:lnTo>
                  <a:lnTo>
                    <a:pt x="50" y="82"/>
                  </a:lnTo>
                  <a:lnTo>
                    <a:pt x="54" y="81"/>
                  </a:lnTo>
                  <a:lnTo>
                    <a:pt x="56" y="80"/>
                  </a:lnTo>
                  <a:lnTo>
                    <a:pt x="59" y="82"/>
                  </a:lnTo>
                  <a:lnTo>
                    <a:pt x="62" y="82"/>
                  </a:lnTo>
                  <a:lnTo>
                    <a:pt x="64" y="82"/>
                  </a:lnTo>
                  <a:lnTo>
                    <a:pt x="66" y="81"/>
                  </a:lnTo>
                  <a:lnTo>
                    <a:pt x="66" y="79"/>
                  </a:lnTo>
                  <a:lnTo>
                    <a:pt x="66" y="77"/>
                  </a:lnTo>
                  <a:lnTo>
                    <a:pt x="67" y="79"/>
                  </a:lnTo>
                  <a:lnTo>
                    <a:pt x="67" y="82"/>
                  </a:lnTo>
                  <a:lnTo>
                    <a:pt x="69" y="83"/>
                  </a:lnTo>
                  <a:lnTo>
                    <a:pt x="75" y="82"/>
                  </a:lnTo>
                  <a:lnTo>
                    <a:pt x="77" y="81"/>
                  </a:lnTo>
                  <a:lnTo>
                    <a:pt x="77" y="80"/>
                  </a:lnTo>
                  <a:lnTo>
                    <a:pt x="75" y="79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79" y="81"/>
                  </a:lnTo>
                  <a:lnTo>
                    <a:pt x="80" y="82"/>
                  </a:lnTo>
                  <a:lnTo>
                    <a:pt x="83" y="82"/>
                  </a:lnTo>
                  <a:lnTo>
                    <a:pt x="86" y="81"/>
                  </a:lnTo>
                  <a:lnTo>
                    <a:pt x="89" y="82"/>
                  </a:lnTo>
                  <a:lnTo>
                    <a:pt x="90" y="82"/>
                  </a:lnTo>
                  <a:lnTo>
                    <a:pt x="89" y="83"/>
                  </a:lnTo>
                  <a:lnTo>
                    <a:pt x="86" y="84"/>
                  </a:lnTo>
                  <a:lnTo>
                    <a:pt x="84" y="85"/>
                  </a:lnTo>
                  <a:lnTo>
                    <a:pt x="85" y="86"/>
                  </a:lnTo>
                  <a:lnTo>
                    <a:pt x="95" y="84"/>
                  </a:lnTo>
                  <a:lnTo>
                    <a:pt x="101" y="84"/>
                  </a:lnTo>
                  <a:lnTo>
                    <a:pt x="105" y="83"/>
                  </a:lnTo>
                  <a:lnTo>
                    <a:pt x="112" y="81"/>
                  </a:lnTo>
                  <a:lnTo>
                    <a:pt x="111" y="82"/>
                  </a:lnTo>
                  <a:lnTo>
                    <a:pt x="116" y="81"/>
                  </a:lnTo>
                  <a:lnTo>
                    <a:pt x="117" y="81"/>
                  </a:lnTo>
                  <a:lnTo>
                    <a:pt x="122" y="80"/>
                  </a:lnTo>
                  <a:lnTo>
                    <a:pt x="123" y="79"/>
                  </a:lnTo>
                  <a:lnTo>
                    <a:pt x="125" y="77"/>
                  </a:lnTo>
                  <a:lnTo>
                    <a:pt x="126" y="75"/>
                  </a:lnTo>
                  <a:lnTo>
                    <a:pt x="125" y="75"/>
                  </a:lnTo>
                  <a:lnTo>
                    <a:pt x="122" y="75"/>
                  </a:lnTo>
                  <a:lnTo>
                    <a:pt x="118" y="76"/>
                  </a:lnTo>
                  <a:lnTo>
                    <a:pt x="116" y="76"/>
                  </a:lnTo>
                  <a:lnTo>
                    <a:pt x="114" y="76"/>
                  </a:lnTo>
                  <a:lnTo>
                    <a:pt x="115" y="75"/>
                  </a:lnTo>
                  <a:lnTo>
                    <a:pt x="112" y="75"/>
                  </a:lnTo>
                  <a:lnTo>
                    <a:pt x="113" y="74"/>
                  </a:lnTo>
                  <a:lnTo>
                    <a:pt x="114" y="74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8" y="73"/>
                  </a:lnTo>
                  <a:lnTo>
                    <a:pt x="117" y="72"/>
                  </a:lnTo>
                  <a:lnTo>
                    <a:pt x="115" y="72"/>
                  </a:lnTo>
                  <a:lnTo>
                    <a:pt x="112" y="72"/>
                  </a:lnTo>
                  <a:lnTo>
                    <a:pt x="105" y="73"/>
                  </a:lnTo>
                  <a:lnTo>
                    <a:pt x="104" y="73"/>
                  </a:lnTo>
                  <a:lnTo>
                    <a:pt x="107" y="72"/>
                  </a:lnTo>
                  <a:lnTo>
                    <a:pt x="107" y="72"/>
                  </a:lnTo>
                  <a:lnTo>
                    <a:pt x="100" y="71"/>
                  </a:lnTo>
                  <a:lnTo>
                    <a:pt x="95" y="72"/>
                  </a:lnTo>
                  <a:lnTo>
                    <a:pt x="89" y="73"/>
                  </a:lnTo>
                  <a:lnTo>
                    <a:pt x="89" y="73"/>
                  </a:lnTo>
                  <a:lnTo>
                    <a:pt x="90" y="72"/>
                  </a:lnTo>
                  <a:lnTo>
                    <a:pt x="89" y="71"/>
                  </a:lnTo>
                  <a:lnTo>
                    <a:pt x="92" y="71"/>
                  </a:lnTo>
                  <a:lnTo>
                    <a:pt x="97" y="71"/>
                  </a:lnTo>
                  <a:lnTo>
                    <a:pt x="98" y="70"/>
                  </a:lnTo>
                  <a:lnTo>
                    <a:pt x="95" y="70"/>
                  </a:lnTo>
                  <a:lnTo>
                    <a:pt x="95" y="69"/>
                  </a:lnTo>
                  <a:lnTo>
                    <a:pt x="96" y="69"/>
                  </a:lnTo>
                  <a:lnTo>
                    <a:pt x="100" y="70"/>
                  </a:lnTo>
                  <a:lnTo>
                    <a:pt x="105" y="71"/>
                  </a:lnTo>
                  <a:lnTo>
                    <a:pt x="121" y="71"/>
                  </a:lnTo>
                  <a:lnTo>
                    <a:pt x="123" y="70"/>
                  </a:lnTo>
                  <a:lnTo>
                    <a:pt x="124" y="70"/>
                  </a:lnTo>
                  <a:lnTo>
                    <a:pt x="123" y="71"/>
                  </a:lnTo>
                  <a:lnTo>
                    <a:pt x="123" y="71"/>
                  </a:lnTo>
                  <a:lnTo>
                    <a:pt x="130" y="70"/>
                  </a:lnTo>
                  <a:lnTo>
                    <a:pt x="134" y="69"/>
                  </a:lnTo>
                  <a:lnTo>
                    <a:pt x="135" y="67"/>
                  </a:lnTo>
                  <a:lnTo>
                    <a:pt x="135" y="67"/>
                  </a:lnTo>
                  <a:lnTo>
                    <a:pt x="138" y="66"/>
                  </a:lnTo>
                  <a:lnTo>
                    <a:pt x="140" y="66"/>
                  </a:lnTo>
                  <a:lnTo>
                    <a:pt x="136" y="65"/>
                  </a:lnTo>
                  <a:lnTo>
                    <a:pt x="136" y="64"/>
                  </a:lnTo>
                  <a:lnTo>
                    <a:pt x="137" y="64"/>
                  </a:lnTo>
                  <a:lnTo>
                    <a:pt x="137" y="63"/>
                  </a:lnTo>
                  <a:lnTo>
                    <a:pt x="136" y="63"/>
                  </a:lnTo>
                  <a:lnTo>
                    <a:pt x="136" y="63"/>
                  </a:lnTo>
                  <a:lnTo>
                    <a:pt x="137" y="62"/>
                  </a:lnTo>
                  <a:lnTo>
                    <a:pt x="137" y="62"/>
                  </a:lnTo>
                  <a:lnTo>
                    <a:pt x="137" y="62"/>
                  </a:lnTo>
                  <a:lnTo>
                    <a:pt x="140" y="62"/>
                  </a:lnTo>
                  <a:lnTo>
                    <a:pt x="148" y="62"/>
                  </a:lnTo>
                  <a:lnTo>
                    <a:pt x="150" y="62"/>
                  </a:lnTo>
                  <a:lnTo>
                    <a:pt x="153" y="62"/>
                  </a:lnTo>
                  <a:lnTo>
                    <a:pt x="158" y="61"/>
                  </a:lnTo>
                  <a:lnTo>
                    <a:pt x="161" y="61"/>
                  </a:lnTo>
                  <a:lnTo>
                    <a:pt x="161" y="62"/>
                  </a:lnTo>
                  <a:lnTo>
                    <a:pt x="165" y="61"/>
                  </a:lnTo>
                  <a:lnTo>
                    <a:pt x="165" y="60"/>
                  </a:lnTo>
                  <a:lnTo>
                    <a:pt x="167" y="60"/>
                  </a:lnTo>
                  <a:lnTo>
                    <a:pt x="157" y="59"/>
                  </a:lnTo>
                  <a:lnTo>
                    <a:pt x="154" y="59"/>
                  </a:lnTo>
                  <a:lnTo>
                    <a:pt x="157" y="57"/>
                  </a:lnTo>
                  <a:lnTo>
                    <a:pt x="162" y="57"/>
                  </a:lnTo>
                  <a:lnTo>
                    <a:pt x="167" y="59"/>
                  </a:lnTo>
                  <a:lnTo>
                    <a:pt x="171" y="57"/>
                  </a:lnTo>
                  <a:lnTo>
                    <a:pt x="175" y="56"/>
                  </a:lnTo>
                  <a:lnTo>
                    <a:pt x="175" y="56"/>
                  </a:lnTo>
                  <a:lnTo>
                    <a:pt x="175" y="55"/>
                  </a:lnTo>
                  <a:lnTo>
                    <a:pt x="173" y="55"/>
                  </a:lnTo>
                  <a:lnTo>
                    <a:pt x="168" y="55"/>
                  </a:lnTo>
                  <a:lnTo>
                    <a:pt x="166" y="54"/>
                  </a:lnTo>
                  <a:lnTo>
                    <a:pt x="164" y="54"/>
                  </a:lnTo>
                  <a:lnTo>
                    <a:pt x="166" y="54"/>
                  </a:lnTo>
                  <a:lnTo>
                    <a:pt x="168" y="54"/>
                  </a:lnTo>
                  <a:lnTo>
                    <a:pt x="176" y="54"/>
                  </a:lnTo>
                  <a:lnTo>
                    <a:pt x="178" y="54"/>
                  </a:lnTo>
                  <a:lnTo>
                    <a:pt x="179" y="53"/>
                  </a:lnTo>
                  <a:lnTo>
                    <a:pt x="183" y="53"/>
                  </a:lnTo>
                  <a:lnTo>
                    <a:pt x="183" y="52"/>
                  </a:lnTo>
                  <a:lnTo>
                    <a:pt x="183" y="52"/>
                  </a:lnTo>
                  <a:lnTo>
                    <a:pt x="184" y="52"/>
                  </a:lnTo>
                  <a:lnTo>
                    <a:pt x="185" y="51"/>
                  </a:lnTo>
                  <a:lnTo>
                    <a:pt x="185" y="50"/>
                  </a:lnTo>
                  <a:lnTo>
                    <a:pt x="183" y="50"/>
                  </a:lnTo>
                  <a:lnTo>
                    <a:pt x="178" y="49"/>
                  </a:lnTo>
                  <a:lnTo>
                    <a:pt x="171" y="49"/>
                  </a:lnTo>
                  <a:lnTo>
                    <a:pt x="172" y="49"/>
                  </a:lnTo>
                  <a:lnTo>
                    <a:pt x="174" y="49"/>
                  </a:lnTo>
                  <a:lnTo>
                    <a:pt x="176" y="49"/>
                  </a:lnTo>
                  <a:lnTo>
                    <a:pt x="176" y="47"/>
                  </a:lnTo>
                  <a:lnTo>
                    <a:pt x="175" y="47"/>
                  </a:lnTo>
                  <a:lnTo>
                    <a:pt x="162" y="47"/>
                  </a:lnTo>
                  <a:lnTo>
                    <a:pt x="160" y="47"/>
                  </a:lnTo>
                  <a:lnTo>
                    <a:pt x="157" y="49"/>
                  </a:lnTo>
                  <a:lnTo>
                    <a:pt x="155" y="49"/>
                  </a:lnTo>
                  <a:lnTo>
                    <a:pt x="157" y="47"/>
                  </a:lnTo>
                  <a:lnTo>
                    <a:pt x="158" y="47"/>
                  </a:lnTo>
                  <a:lnTo>
                    <a:pt x="157" y="47"/>
                  </a:lnTo>
                  <a:lnTo>
                    <a:pt x="156" y="46"/>
                  </a:lnTo>
                  <a:lnTo>
                    <a:pt x="161" y="47"/>
                  </a:lnTo>
                  <a:lnTo>
                    <a:pt x="170" y="46"/>
                  </a:lnTo>
                  <a:lnTo>
                    <a:pt x="174" y="46"/>
                  </a:lnTo>
                  <a:lnTo>
                    <a:pt x="175" y="46"/>
                  </a:lnTo>
                  <a:lnTo>
                    <a:pt x="171" y="46"/>
                  </a:lnTo>
                  <a:lnTo>
                    <a:pt x="160" y="45"/>
                  </a:lnTo>
                  <a:lnTo>
                    <a:pt x="158" y="45"/>
                  </a:lnTo>
                  <a:lnTo>
                    <a:pt x="161" y="45"/>
                  </a:lnTo>
                  <a:lnTo>
                    <a:pt x="170" y="45"/>
                  </a:lnTo>
                  <a:lnTo>
                    <a:pt x="172" y="45"/>
                  </a:lnTo>
                  <a:lnTo>
                    <a:pt x="175" y="45"/>
                  </a:lnTo>
                  <a:lnTo>
                    <a:pt x="177" y="45"/>
                  </a:lnTo>
                  <a:lnTo>
                    <a:pt x="178" y="45"/>
                  </a:lnTo>
                  <a:lnTo>
                    <a:pt x="177" y="46"/>
                  </a:lnTo>
                  <a:lnTo>
                    <a:pt x="178" y="46"/>
                  </a:lnTo>
                  <a:lnTo>
                    <a:pt x="179" y="47"/>
                  </a:lnTo>
                  <a:lnTo>
                    <a:pt x="188" y="47"/>
                  </a:lnTo>
                  <a:lnTo>
                    <a:pt x="191" y="47"/>
                  </a:lnTo>
                  <a:lnTo>
                    <a:pt x="191" y="46"/>
                  </a:lnTo>
                  <a:lnTo>
                    <a:pt x="192" y="46"/>
                  </a:lnTo>
                  <a:lnTo>
                    <a:pt x="189" y="45"/>
                  </a:lnTo>
                  <a:lnTo>
                    <a:pt x="193" y="44"/>
                  </a:lnTo>
                  <a:lnTo>
                    <a:pt x="192" y="44"/>
                  </a:lnTo>
                  <a:lnTo>
                    <a:pt x="179" y="44"/>
                  </a:lnTo>
                  <a:lnTo>
                    <a:pt x="178" y="44"/>
                  </a:lnTo>
                  <a:lnTo>
                    <a:pt x="167" y="44"/>
                  </a:lnTo>
                  <a:lnTo>
                    <a:pt x="162" y="45"/>
                  </a:lnTo>
                  <a:lnTo>
                    <a:pt x="164" y="44"/>
                  </a:lnTo>
                  <a:lnTo>
                    <a:pt x="165" y="44"/>
                  </a:lnTo>
                  <a:lnTo>
                    <a:pt x="161" y="44"/>
                  </a:lnTo>
                  <a:lnTo>
                    <a:pt x="160" y="43"/>
                  </a:lnTo>
                  <a:lnTo>
                    <a:pt x="163" y="43"/>
                  </a:lnTo>
                  <a:lnTo>
                    <a:pt x="167" y="43"/>
                  </a:lnTo>
                  <a:lnTo>
                    <a:pt x="167" y="42"/>
                  </a:lnTo>
                  <a:lnTo>
                    <a:pt x="167" y="42"/>
                  </a:lnTo>
                  <a:lnTo>
                    <a:pt x="168" y="42"/>
                  </a:lnTo>
                  <a:lnTo>
                    <a:pt x="168" y="42"/>
                  </a:lnTo>
                  <a:lnTo>
                    <a:pt x="170" y="43"/>
                  </a:lnTo>
                  <a:lnTo>
                    <a:pt x="171" y="43"/>
                  </a:lnTo>
                  <a:lnTo>
                    <a:pt x="179" y="43"/>
                  </a:lnTo>
                  <a:lnTo>
                    <a:pt x="181" y="43"/>
                  </a:lnTo>
                  <a:lnTo>
                    <a:pt x="178" y="42"/>
                  </a:lnTo>
                  <a:lnTo>
                    <a:pt x="178" y="42"/>
                  </a:lnTo>
                  <a:lnTo>
                    <a:pt x="170" y="42"/>
                  </a:lnTo>
                  <a:lnTo>
                    <a:pt x="170" y="41"/>
                  </a:lnTo>
                  <a:lnTo>
                    <a:pt x="171" y="41"/>
                  </a:lnTo>
                  <a:lnTo>
                    <a:pt x="177" y="41"/>
                  </a:lnTo>
                  <a:lnTo>
                    <a:pt x="183" y="42"/>
                  </a:lnTo>
                  <a:lnTo>
                    <a:pt x="188" y="43"/>
                  </a:lnTo>
                  <a:lnTo>
                    <a:pt x="191" y="42"/>
                  </a:lnTo>
                  <a:lnTo>
                    <a:pt x="191" y="42"/>
                  </a:lnTo>
                  <a:lnTo>
                    <a:pt x="192" y="42"/>
                  </a:lnTo>
                  <a:lnTo>
                    <a:pt x="197" y="42"/>
                  </a:lnTo>
                  <a:lnTo>
                    <a:pt x="199" y="41"/>
                  </a:lnTo>
                  <a:lnTo>
                    <a:pt x="199" y="41"/>
                  </a:lnTo>
                  <a:lnTo>
                    <a:pt x="201" y="41"/>
                  </a:lnTo>
                  <a:lnTo>
                    <a:pt x="202" y="41"/>
                  </a:lnTo>
                  <a:lnTo>
                    <a:pt x="203" y="41"/>
                  </a:lnTo>
                  <a:lnTo>
                    <a:pt x="205" y="41"/>
                  </a:lnTo>
                  <a:lnTo>
                    <a:pt x="207" y="40"/>
                  </a:lnTo>
                  <a:lnTo>
                    <a:pt x="207" y="40"/>
                  </a:lnTo>
                  <a:lnTo>
                    <a:pt x="207" y="39"/>
                  </a:lnTo>
                  <a:lnTo>
                    <a:pt x="207" y="39"/>
                  </a:lnTo>
                  <a:lnTo>
                    <a:pt x="197" y="37"/>
                  </a:lnTo>
                  <a:lnTo>
                    <a:pt x="198" y="37"/>
                  </a:lnTo>
                  <a:lnTo>
                    <a:pt x="202" y="36"/>
                  </a:lnTo>
                  <a:lnTo>
                    <a:pt x="205" y="37"/>
                  </a:lnTo>
                  <a:lnTo>
                    <a:pt x="211" y="37"/>
                  </a:lnTo>
                  <a:lnTo>
                    <a:pt x="209" y="39"/>
                  </a:lnTo>
                  <a:lnTo>
                    <a:pt x="209" y="39"/>
                  </a:lnTo>
                  <a:lnTo>
                    <a:pt x="212" y="39"/>
                  </a:lnTo>
                  <a:lnTo>
                    <a:pt x="214" y="39"/>
                  </a:lnTo>
                  <a:lnTo>
                    <a:pt x="214" y="40"/>
                  </a:lnTo>
                  <a:lnTo>
                    <a:pt x="218" y="39"/>
                  </a:lnTo>
                  <a:lnTo>
                    <a:pt x="223" y="39"/>
                  </a:lnTo>
                  <a:lnTo>
                    <a:pt x="225" y="39"/>
                  </a:lnTo>
                  <a:lnTo>
                    <a:pt x="227" y="39"/>
                  </a:lnTo>
                  <a:lnTo>
                    <a:pt x="233" y="36"/>
                  </a:lnTo>
                  <a:lnTo>
                    <a:pt x="232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2" y="35"/>
                  </a:lnTo>
                  <a:lnTo>
                    <a:pt x="236" y="35"/>
                  </a:lnTo>
                  <a:lnTo>
                    <a:pt x="236" y="35"/>
                  </a:lnTo>
                  <a:lnTo>
                    <a:pt x="239" y="34"/>
                  </a:lnTo>
                  <a:lnTo>
                    <a:pt x="241" y="34"/>
                  </a:lnTo>
                  <a:lnTo>
                    <a:pt x="237" y="33"/>
                  </a:lnTo>
                  <a:lnTo>
                    <a:pt x="226" y="34"/>
                  </a:lnTo>
                  <a:lnTo>
                    <a:pt x="222" y="34"/>
                  </a:lnTo>
                  <a:lnTo>
                    <a:pt x="224" y="34"/>
                  </a:lnTo>
                  <a:lnTo>
                    <a:pt x="226" y="33"/>
                  </a:lnTo>
                  <a:lnTo>
                    <a:pt x="227" y="34"/>
                  </a:lnTo>
                  <a:lnTo>
                    <a:pt x="232" y="33"/>
                  </a:lnTo>
                  <a:lnTo>
                    <a:pt x="239" y="33"/>
                  </a:lnTo>
                  <a:lnTo>
                    <a:pt x="246" y="33"/>
                  </a:lnTo>
                  <a:lnTo>
                    <a:pt x="247" y="32"/>
                  </a:lnTo>
                  <a:lnTo>
                    <a:pt x="246" y="32"/>
                  </a:lnTo>
                  <a:lnTo>
                    <a:pt x="244" y="31"/>
                  </a:lnTo>
                  <a:lnTo>
                    <a:pt x="244" y="31"/>
                  </a:lnTo>
                  <a:lnTo>
                    <a:pt x="245" y="30"/>
                  </a:lnTo>
                  <a:lnTo>
                    <a:pt x="246" y="30"/>
                  </a:lnTo>
                  <a:lnTo>
                    <a:pt x="246" y="30"/>
                  </a:lnTo>
                  <a:lnTo>
                    <a:pt x="246" y="31"/>
                  </a:lnTo>
                  <a:lnTo>
                    <a:pt x="246" y="31"/>
                  </a:lnTo>
                  <a:lnTo>
                    <a:pt x="251" y="31"/>
                  </a:lnTo>
                  <a:lnTo>
                    <a:pt x="255" y="31"/>
                  </a:lnTo>
                  <a:lnTo>
                    <a:pt x="257" y="30"/>
                  </a:lnTo>
                  <a:lnTo>
                    <a:pt x="258" y="29"/>
                  </a:lnTo>
                  <a:lnTo>
                    <a:pt x="262" y="27"/>
                  </a:lnTo>
                  <a:lnTo>
                    <a:pt x="268" y="26"/>
                  </a:lnTo>
                  <a:lnTo>
                    <a:pt x="269" y="26"/>
                  </a:lnTo>
                  <a:lnTo>
                    <a:pt x="272" y="25"/>
                  </a:lnTo>
                  <a:lnTo>
                    <a:pt x="275" y="25"/>
                  </a:lnTo>
                  <a:lnTo>
                    <a:pt x="277" y="25"/>
                  </a:lnTo>
                  <a:lnTo>
                    <a:pt x="283" y="24"/>
                  </a:lnTo>
                  <a:lnTo>
                    <a:pt x="282" y="24"/>
                  </a:lnTo>
                  <a:lnTo>
                    <a:pt x="283" y="24"/>
                  </a:lnTo>
                  <a:lnTo>
                    <a:pt x="288" y="23"/>
                  </a:lnTo>
                  <a:lnTo>
                    <a:pt x="290" y="23"/>
                  </a:lnTo>
                  <a:lnTo>
                    <a:pt x="294" y="22"/>
                  </a:lnTo>
                  <a:lnTo>
                    <a:pt x="295" y="22"/>
                  </a:lnTo>
                  <a:lnTo>
                    <a:pt x="300" y="20"/>
                  </a:lnTo>
                  <a:lnTo>
                    <a:pt x="304" y="20"/>
                  </a:lnTo>
                  <a:lnTo>
                    <a:pt x="314" y="19"/>
                  </a:lnTo>
                  <a:lnTo>
                    <a:pt x="317" y="18"/>
                  </a:lnTo>
                  <a:lnTo>
                    <a:pt x="319" y="16"/>
                  </a:lnTo>
                  <a:lnTo>
                    <a:pt x="318" y="16"/>
                  </a:lnTo>
                  <a:lnTo>
                    <a:pt x="314" y="16"/>
                  </a:lnTo>
                  <a:lnTo>
                    <a:pt x="307" y="18"/>
                  </a:lnTo>
                  <a:lnTo>
                    <a:pt x="295" y="19"/>
                  </a:lnTo>
                  <a:lnTo>
                    <a:pt x="286" y="19"/>
                  </a:lnTo>
                  <a:lnTo>
                    <a:pt x="269" y="21"/>
                  </a:lnTo>
                  <a:lnTo>
                    <a:pt x="266" y="21"/>
                  </a:lnTo>
                  <a:lnTo>
                    <a:pt x="257" y="22"/>
                  </a:lnTo>
                  <a:lnTo>
                    <a:pt x="257" y="22"/>
                  </a:lnTo>
                  <a:lnTo>
                    <a:pt x="259" y="21"/>
                  </a:lnTo>
                  <a:lnTo>
                    <a:pt x="253" y="22"/>
                  </a:lnTo>
                  <a:lnTo>
                    <a:pt x="252" y="21"/>
                  </a:lnTo>
                  <a:lnTo>
                    <a:pt x="259" y="21"/>
                  </a:lnTo>
                  <a:lnTo>
                    <a:pt x="262" y="21"/>
                  </a:lnTo>
                  <a:lnTo>
                    <a:pt x="263" y="20"/>
                  </a:lnTo>
                  <a:lnTo>
                    <a:pt x="264" y="20"/>
                  </a:lnTo>
                  <a:lnTo>
                    <a:pt x="264" y="20"/>
                  </a:lnTo>
                  <a:lnTo>
                    <a:pt x="266" y="20"/>
                  </a:lnTo>
                  <a:lnTo>
                    <a:pt x="269" y="20"/>
                  </a:lnTo>
                  <a:lnTo>
                    <a:pt x="294" y="16"/>
                  </a:lnTo>
                  <a:lnTo>
                    <a:pt x="294" y="16"/>
                  </a:lnTo>
                  <a:lnTo>
                    <a:pt x="289" y="16"/>
                  </a:lnTo>
                  <a:lnTo>
                    <a:pt x="284" y="16"/>
                  </a:lnTo>
                  <a:lnTo>
                    <a:pt x="278" y="16"/>
                  </a:lnTo>
                  <a:lnTo>
                    <a:pt x="274" y="18"/>
                  </a:lnTo>
                  <a:lnTo>
                    <a:pt x="274" y="16"/>
                  </a:lnTo>
                  <a:lnTo>
                    <a:pt x="274" y="16"/>
                  </a:lnTo>
                  <a:lnTo>
                    <a:pt x="277" y="16"/>
                  </a:lnTo>
                  <a:lnTo>
                    <a:pt x="278" y="16"/>
                  </a:lnTo>
                  <a:lnTo>
                    <a:pt x="275" y="15"/>
                  </a:lnTo>
                  <a:lnTo>
                    <a:pt x="274" y="14"/>
                  </a:lnTo>
                  <a:lnTo>
                    <a:pt x="278" y="15"/>
                  </a:lnTo>
                  <a:lnTo>
                    <a:pt x="280" y="16"/>
                  </a:lnTo>
                  <a:lnTo>
                    <a:pt x="285" y="16"/>
                  </a:lnTo>
                  <a:lnTo>
                    <a:pt x="284" y="15"/>
                  </a:lnTo>
                  <a:lnTo>
                    <a:pt x="293" y="15"/>
                  </a:lnTo>
                  <a:lnTo>
                    <a:pt x="299" y="15"/>
                  </a:lnTo>
                  <a:lnTo>
                    <a:pt x="300" y="15"/>
                  </a:lnTo>
                  <a:lnTo>
                    <a:pt x="305" y="15"/>
                  </a:lnTo>
                  <a:lnTo>
                    <a:pt x="307" y="15"/>
                  </a:lnTo>
                  <a:lnTo>
                    <a:pt x="312" y="15"/>
                  </a:lnTo>
                  <a:lnTo>
                    <a:pt x="306" y="15"/>
                  </a:lnTo>
                  <a:lnTo>
                    <a:pt x="308" y="15"/>
                  </a:lnTo>
                  <a:lnTo>
                    <a:pt x="316" y="14"/>
                  </a:lnTo>
                  <a:lnTo>
                    <a:pt x="317" y="14"/>
                  </a:lnTo>
                  <a:lnTo>
                    <a:pt x="319" y="14"/>
                  </a:lnTo>
                  <a:lnTo>
                    <a:pt x="323" y="14"/>
                  </a:lnTo>
                  <a:lnTo>
                    <a:pt x="323" y="14"/>
                  </a:lnTo>
                  <a:lnTo>
                    <a:pt x="323" y="14"/>
                  </a:lnTo>
                  <a:lnTo>
                    <a:pt x="325" y="14"/>
                  </a:lnTo>
                  <a:lnTo>
                    <a:pt x="326" y="14"/>
                  </a:lnTo>
                  <a:lnTo>
                    <a:pt x="329" y="13"/>
                  </a:lnTo>
                  <a:lnTo>
                    <a:pt x="337" y="13"/>
                  </a:lnTo>
                  <a:lnTo>
                    <a:pt x="340" y="12"/>
                  </a:lnTo>
                  <a:lnTo>
                    <a:pt x="343" y="12"/>
                  </a:lnTo>
                  <a:lnTo>
                    <a:pt x="347" y="11"/>
                  </a:lnTo>
                  <a:lnTo>
                    <a:pt x="350" y="10"/>
                  </a:lnTo>
                  <a:lnTo>
                    <a:pt x="356" y="10"/>
                  </a:lnTo>
                  <a:lnTo>
                    <a:pt x="357" y="9"/>
                  </a:lnTo>
                  <a:lnTo>
                    <a:pt x="359" y="8"/>
                  </a:lnTo>
                  <a:lnTo>
                    <a:pt x="360" y="8"/>
                  </a:lnTo>
                  <a:lnTo>
                    <a:pt x="358" y="6"/>
                  </a:lnTo>
                  <a:lnTo>
                    <a:pt x="357" y="6"/>
                  </a:lnTo>
                  <a:lnTo>
                    <a:pt x="350" y="6"/>
                  </a:lnTo>
                  <a:lnTo>
                    <a:pt x="349" y="6"/>
                  </a:lnTo>
                  <a:lnTo>
                    <a:pt x="349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80" name="Freeform 1180"/>
            <p:cNvSpPr>
              <a:spLocks/>
            </p:cNvSpPr>
            <p:nvPr/>
          </p:nvSpPr>
          <p:spPr bwMode="auto">
            <a:xfrm>
              <a:off x="1793" y="737"/>
              <a:ext cx="360" cy="86"/>
            </a:xfrm>
            <a:custGeom>
              <a:avLst/>
              <a:gdLst>
                <a:gd name="T0" fmla="*/ 328 w 360"/>
                <a:gd name="T1" fmla="*/ 2 h 86"/>
                <a:gd name="T2" fmla="*/ 286 w 360"/>
                <a:gd name="T3" fmla="*/ 4 h 86"/>
                <a:gd name="T4" fmla="*/ 262 w 360"/>
                <a:gd name="T5" fmla="*/ 1 h 86"/>
                <a:gd name="T6" fmla="*/ 204 w 360"/>
                <a:gd name="T7" fmla="*/ 1 h 86"/>
                <a:gd name="T8" fmla="*/ 194 w 360"/>
                <a:gd name="T9" fmla="*/ 2 h 86"/>
                <a:gd name="T10" fmla="*/ 172 w 360"/>
                <a:gd name="T11" fmla="*/ 3 h 86"/>
                <a:gd name="T12" fmla="*/ 146 w 360"/>
                <a:gd name="T13" fmla="*/ 6 h 86"/>
                <a:gd name="T14" fmla="*/ 138 w 360"/>
                <a:gd name="T15" fmla="*/ 8 h 86"/>
                <a:gd name="T16" fmla="*/ 106 w 360"/>
                <a:gd name="T17" fmla="*/ 10 h 86"/>
                <a:gd name="T18" fmla="*/ 102 w 360"/>
                <a:gd name="T19" fmla="*/ 11 h 86"/>
                <a:gd name="T20" fmla="*/ 65 w 360"/>
                <a:gd name="T21" fmla="*/ 13 h 86"/>
                <a:gd name="T22" fmla="*/ 74 w 360"/>
                <a:gd name="T23" fmla="*/ 15 h 86"/>
                <a:gd name="T24" fmla="*/ 71 w 360"/>
                <a:gd name="T25" fmla="*/ 20 h 86"/>
                <a:gd name="T26" fmla="*/ 106 w 360"/>
                <a:gd name="T27" fmla="*/ 22 h 86"/>
                <a:gd name="T28" fmla="*/ 92 w 360"/>
                <a:gd name="T29" fmla="*/ 26 h 86"/>
                <a:gd name="T30" fmla="*/ 106 w 360"/>
                <a:gd name="T31" fmla="*/ 23 h 86"/>
                <a:gd name="T32" fmla="*/ 105 w 360"/>
                <a:gd name="T33" fmla="*/ 27 h 86"/>
                <a:gd name="T34" fmla="*/ 120 w 360"/>
                <a:gd name="T35" fmla="*/ 26 h 86"/>
                <a:gd name="T36" fmla="*/ 134 w 360"/>
                <a:gd name="T37" fmla="*/ 26 h 86"/>
                <a:gd name="T38" fmla="*/ 162 w 360"/>
                <a:gd name="T39" fmla="*/ 23 h 86"/>
                <a:gd name="T40" fmla="*/ 173 w 360"/>
                <a:gd name="T41" fmla="*/ 21 h 86"/>
                <a:gd name="T42" fmla="*/ 194 w 360"/>
                <a:gd name="T43" fmla="*/ 24 h 86"/>
                <a:gd name="T44" fmla="*/ 173 w 360"/>
                <a:gd name="T45" fmla="*/ 27 h 86"/>
                <a:gd name="T46" fmla="*/ 124 w 360"/>
                <a:gd name="T47" fmla="*/ 34 h 86"/>
                <a:gd name="T48" fmla="*/ 133 w 360"/>
                <a:gd name="T49" fmla="*/ 41 h 86"/>
                <a:gd name="T50" fmla="*/ 90 w 360"/>
                <a:gd name="T51" fmla="*/ 31 h 86"/>
                <a:gd name="T52" fmla="*/ 89 w 360"/>
                <a:gd name="T53" fmla="*/ 37 h 86"/>
                <a:gd name="T54" fmla="*/ 97 w 360"/>
                <a:gd name="T55" fmla="*/ 46 h 86"/>
                <a:gd name="T56" fmla="*/ 113 w 360"/>
                <a:gd name="T57" fmla="*/ 49 h 86"/>
                <a:gd name="T58" fmla="*/ 107 w 360"/>
                <a:gd name="T59" fmla="*/ 52 h 86"/>
                <a:gd name="T60" fmla="*/ 55 w 360"/>
                <a:gd name="T61" fmla="*/ 53 h 86"/>
                <a:gd name="T62" fmla="*/ 57 w 360"/>
                <a:gd name="T63" fmla="*/ 57 h 86"/>
                <a:gd name="T64" fmla="*/ 76 w 360"/>
                <a:gd name="T65" fmla="*/ 55 h 86"/>
                <a:gd name="T66" fmla="*/ 81 w 360"/>
                <a:gd name="T67" fmla="*/ 59 h 86"/>
                <a:gd name="T68" fmla="*/ 70 w 360"/>
                <a:gd name="T69" fmla="*/ 62 h 86"/>
                <a:gd name="T70" fmla="*/ 64 w 360"/>
                <a:gd name="T71" fmla="*/ 66 h 86"/>
                <a:gd name="T72" fmla="*/ 86 w 360"/>
                <a:gd name="T73" fmla="*/ 64 h 86"/>
                <a:gd name="T74" fmla="*/ 54 w 360"/>
                <a:gd name="T75" fmla="*/ 69 h 86"/>
                <a:gd name="T76" fmla="*/ 32 w 360"/>
                <a:gd name="T77" fmla="*/ 66 h 86"/>
                <a:gd name="T78" fmla="*/ 37 w 360"/>
                <a:gd name="T79" fmla="*/ 72 h 86"/>
                <a:gd name="T80" fmla="*/ 6 w 360"/>
                <a:gd name="T81" fmla="*/ 76 h 86"/>
                <a:gd name="T82" fmla="*/ 16 w 360"/>
                <a:gd name="T83" fmla="*/ 83 h 86"/>
                <a:gd name="T84" fmla="*/ 29 w 360"/>
                <a:gd name="T85" fmla="*/ 83 h 86"/>
                <a:gd name="T86" fmla="*/ 67 w 360"/>
                <a:gd name="T87" fmla="*/ 79 h 86"/>
                <a:gd name="T88" fmla="*/ 85 w 360"/>
                <a:gd name="T89" fmla="*/ 86 h 86"/>
                <a:gd name="T90" fmla="*/ 113 w 360"/>
                <a:gd name="T91" fmla="*/ 74 h 86"/>
                <a:gd name="T92" fmla="*/ 97 w 360"/>
                <a:gd name="T93" fmla="*/ 71 h 86"/>
                <a:gd name="T94" fmla="*/ 136 w 360"/>
                <a:gd name="T95" fmla="*/ 64 h 86"/>
                <a:gd name="T96" fmla="*/ 154 w 360"/>
                <a:gd name="T97" fmla="*/ 59 h 86"/>
                <a:gd name="T98" fmla="*/ 183 w 360"/>
                <a:gd name="T99" fmla="*/ 52 h 86"/>
                <a:gd name="T100" fmla="*/ 156 w 360"/>
                <a:gd name="T101" fmla="*/ 46 h 86"/>
                <a:gd name="T102" fmla="*/ 191 w 360"/>
                <a:gd name="T103" fmla="*/ 46 h 86"/>
                <a:gd name="T104" fmla="*/ 170 w 360"/>
                <a:gd name="T105" fmla="*/ 43 h 86"/>
                <a:gd name="T106" fmla="*/ 202 w 360"/>
                <a:gd name="T107" fmla="*/ 41 h 86"/>
                <a:gd name="T108" fmla="*/ 225 w 360"/>
                <a:gd name="T109" fmla="*/ 39 h 86"/>
                <a:gd name="T110" fmla="*/ 246 w 360"/>
                <a:gd name="T111" fmla="*/ 33 h 86"/>
                <a:gd name="T112" fmla="*/ 277 w 360"/>
                <a:gd name="T113" fmla="*/ 25 h 86"/>
                <a:gd name="T114" fmla="*/ 266 w 360"/>
                <a:gd name="T115" fmla="*/ 21 h 86"/>
                <a:gd name="T116" fmla="*/ 274 w 360"/>
                <a:gd name="T117" fmla="*/ 16 h 86"/>
                <a:gd name="T118" fmla="*/ 317 w 360"/>
                <a:gd name="T119" fmla="*/ 14 h 86"/>
                <a:gd name="T120" fmla="*/ 350 w 360"/>
                <a:gd name="T121" fmla="*/ 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60" h="86">
                  <a:moveTo>
                    <a:pt x="349" y="5"/>
                  </a:moveTo>
                  <a:lnTo>
                    <a:pt x="347" y="5"/>
                  </a:lnTo>
                  <a:lnTo>
                    <a:pt x="345" y="6"/>
                  </a:lnTo>
                  <a:lnTo>
                    <a:pt x="345" y="6"/>
                  </a:lnTo>
                  <a:lnTo>
                    <a:pt x="339" y="6"/>
                  </a:lnTo>
                  <a:lnTo>
                    <a:pt x="340" y="6"/>
                  </a:lnTo>
                  <a:lnTo>
                    <a:pt x="341" y="6"/>
                  </a:lnTo>
                  <a:lnTo>
                    <a:pt x="343" y="5"/>
                  </a:lnTo>
                  <a:lnTo>
                    <a:pt x="344" y="5"/>
                  </a:lnTo>
                  <a:lnTo>
                    <a:pt x="339" y="4"/>
                  </a:lnTo>
                  <a:lnTo>
                    <a:pt x="339" y="4"/>
                  </a:lnTo>
                  <a:lnTo>
                    <a:pt x="339" y="4"/>
                  </a:lnTo>
                  <a:lnTo>
                    <a:pt x="337" y="3"/>
                  </a:lnTo>
                  <a:lnTo>
                    <a:pt x="339" y="3"/>
                  </a:lnTo>
                  <a:lnTo>
                    <a:pt x="340" y="3"/>
                  </a:lnTo>
                  <a:lnTo>
                    <a:pt x="339" y="2"/>
                  </a:lnTo>
                  <a:lnTo>
                    <a:pt x="336" y="2"/>
                  </a:lnTo>
                  <a:lnTo>
                    <a:pt x="332" y="3"/>
                  </a:lnTo>
                  <a:lnTo>
                    <a:pt x="328" y="2"/>
                  </a:lnTo>
                  <a:lnTo>
                    <a:pt x="328" y="2"/>
                  </a:lnTo>
                  <a:lnTo>
                    <a:pt x="328" y="2"/>
                  </a:lnTo>
                  <a:lnTo>
                    <a:pt x="328" y="2"/>
                  </a:lnTo>
                  <a:lnTo>
                    <a:pt x="328" y="1"/>
                  </a:lnTo>
                  <a:lnTo>
                    <a:pt x="326" y="2"/>
                  </a:lnTo>
                  <a:lnTo>
                    <a:pt x="325" y="2"/>
                  </a:lnTo>
                  <a:lnTo>
                    <a:pt x="326" y="2"/>
                  </a:lnTo>
                  <a:lnTo>
                    <a:pt x="322" y="2"/>
                  </a:lnTo>
                  <a:lnTo>
                    <a:pt x="323" y="3"/>
                  </a:lnTo>
                  <a:lnTo>
                    <a:pt x="322" y="3"/>
                  </a:lnTo>
                  <a:lnTo>
                    <a:pt x="320" y="3"/>
                  </a:lnTo>
                  <a:lnTo>
                    <a:pt x="319" y="2"/>
                  </a:lnTo>
                  <a:lnTo>
                    <a:pt x="319" y="2"/>
                  </a:lnTo>
                  <a:lnTo>
                    <a:pt x="318" y="2"/>
                  </a:lnTo>
                  <a:lnTo>
                    <a:pt x="313" y="3"/>
                  </a:lnTo>
                  <a:lnTo>
                    <a:pt x="306" y="3"/>
                  </a:lnTo>
                  <a:lnTo>
                    <a:pt x="300" y="4"/>
                  </a:lnTo>
                  <a:lnTo>
                    <a:pt x="297" y="4"/>
                  </a:lnTo>
                  <a:lnTo>
                    <a:pt x="286" y="4"/>
                  </a:lnTo>
                  <a:lnTo>
                    <a:pt x="289" y="4"/>
                  </a:lnTo>
                  <a:lnTo>
                    <a:pt x="306" y="2"/>
                  </a:lnTo>
                  <a:lnTo>
                    <a:pt x="309" y="2"/>
                  </a:lnTo>
                  <a:lnTo>
                    <a:pt x="312" y="1"/>
                  </a:lnTo>
                  <a:lnTo>
                    <a:pt x="305" y="1"/>
                  </a:lnTo>
                  <a:lnTo>
                    <a:pt x="303" y="1"/>
                  </a:lnTo>
                  <a:lnTo>
                    <a:pt x="299" y="1"/>
                  </a:lnTo>
                  <a:lnTo>
                    <a:pt x="295" y="1"/>
                  </a:lnTo>
                  <a:lnTo>
                    <a:pt x="292" y="1"/>
                  </a:lnTo>
                  <a:lnTo>
                    <a:pt x="286" y="1"/>
                  </a:lnTo>
                  <a:lnTo>
                    <a:pt x="285" y="1"/>
                  </a:lnTo>
                  <a:lnTo>
                    <a:pt x="285" y="0"/>
                  </a:lnTo>
                  <a:lnTo>
                    <a:pt x="283" y="0"/>
                  </a:lnTo>
                  <a:lnTo>
                    <a:pt x="279" y="1"/>
                  </a:lnTo>
                  <a:lnTo>
                    <a:pt x="278" y="0"/>
                  </a:lnTo>
                  <a:lnTo>
                    <a:pt x="277" y="0"/>
                  </a:lnTo>
                  <a:lnTo>
                    <a:pt x="272" y="0"/>
                  </a:lnTo>
                  <a:lnTo>
                    <a:pt x="263" y="0"/>
                  </a:lnTo>
                  <a:lnTo>
                    <a:pt x="262" y="1"/>
                  </a:lnTo>
                  <a:lnTo>
                    <a:pt x="258" y="0"/>
                  </a:lnTo>
                  <a:lnTo>
                    <a:pt x="260" y="0"/>
                  </a:lnTo>
                  <a:lnTo>
                    <a:pt x="256" y="0"/>
                  </a:lnTo>
                  <a:lnTo>
                    <a:pt x="253" y="0"/>
                  </a:lnTo>
                  <a:lnTo>
                    <a:pt x="248" y="0"/>
                  </a:lnTo>
                  <a:lnTo>
                    <a:pt x="243" y="1"/>
                  </a:lnTo>
                  <a:lnTo>
                    <a:pt x="241" y="1"/>
                  </a:lnTo>
                  <a:lnTo>
                    <a:pt x="241" y="2"/>
                  </a:lnTo>
                  <a:lnTo>
                    <a:pt x="242" y="3"/>
                  </a:lnTo>
                  <a:lnTo>
                    <a:pt x="243" y="3"/>
                  </a:lnTo>
                  <a:lnTo>
                    <a:pt x="239" y="3"/>
                  </a:lnTo>
                  <a:lnTo>
                    <a:pt x="236" y="2"/>
                  </a:lnTo>
                  <a:lnTo>
                    <a:pt x="235" y="1"/>
                  </a:lnTo>
                  <a:lnTo>
                    <a:pt x="233" y="1"/>
                  </a:lnTo>
                  <a:lnTo>
                    <a:pt x="229" y="0"/>
                  </a:lnTo>
                  <a:lnTo>
                    <a:pt x="224" y="0"/>
                  </a:lnTo>
                  <a:lnTo>
                    <a:pt x="218" y="0"/>
                  </a:lnTo>
                  <a:lnTo>
                    <a:pt x="211" y="1"/>
                  </a:lnTo>
                  <a:lnTo>
                    <a:pt x="204" y="1"/>
                  </a:lnTo>
                  <a:lnTo>
                    <a:pt x="203" y="1"/>
                  </a:lnTo>
                  <a:lnTo>
                    <a:pt x="206" y="2"/>
                  </a:lnTo>
                  <a:lnTo>
                    <a:pt x="211" y="3"/>
                  </a:lnTo>
                  <a:lnTo>
                    <a:pt x="213" y="3"/>
                  </a:lnTo>
                  <a:lnTo>
                    <a:pt x="213" y="3"/>
                  </a:lnTo>
                  <a:lnTo>
                    <a:pt x="213" y="4"/>
                  </a:lnTo>
                  <a:lnTo>
                    <a:pt x="219" y="5"/>
                  </a:lnTo>
                  <a:lnTo>
                    <a:pt x="211" y="6"/>
                  </a:lnTo>
                  <a:lnTo>
                    <a:pt x="212" y="6"/>
                  </a:lnTo>
                  <a:lnTo>
                    <a:pt x="214" y="5"/>
                  </a:lnTo>
                  <a:lnTo>
                    <a:pt x="213" y="5"/>
                  </a:lnTo>
                  <a:lnTo>
                    <a:pt x="208" y="4"/>
                  </a:lnTo>
                  <a:lnTo>
                    <a:pt x="208" y="3"/>
                  </a:lnTo>
                  <a:lnTo>
                    <a:pt x="206" y="2"/>
                  </a:lnTo>
                  <a:lnTo>
                    <a:pt x="205" y="2"/>
                  </a:lnTo>
                  <a:lnTo>
                    <a:pt x="198" y="1"/>
                  </a:lnTo>
                  <a:lnTo>
                    <a:pt x="196" y="2"/>
                  </a:lnTo>
                  <a:lnTo>
                    <a:pt x="196" y="2"/>
                  </a:lnTo>
                  <a:lnTo>
                    <a:pt x="194" y="2"/>
                  </a:lnTo>
                  <a:lnTo>
                    <a:pt x="194" y="2"/>
                  </a:lnTo>
                  <a:lnTo>
                    <a:pt x="192" y="2"/>
                  </a:lnTo>
                  <a:lnTo>
                    <a:pt x="192" y="1"/>
                  </a:lnTo>
                  <a:lnTo>
                    <a:pt x="189" y="1"/>
                  </a:lnTo>
                  <a:lnTo>
                    <a:pt x="187" y="2"/>
                  </a:lnTo>
                  <a:lnTo>
                    <a:pt x="186" y="2"/>
                  </a:lnTo>
                  <a:lnTo>
                    <a:pt x="186" y="1"/>
                  </a:lnTo>
                  <a:lnTo>
                    <a:pt x="185" y="1"/>
                  </a:lnTo>
                  <a:lnTo>
                    <a:pt x="178" y="1"/>
                  </a:lnTo>
                  <a:lnTo>
                    <a:pt x="174" y="2"/>
                  </a:lnTo>
                  <a:lnTo>
                    <a:pt x="176" y="2"/>
                  </a:lnTo>
                  <a:lnTo>
                    <a:pt x="177" y="2"/>
                  </a:lnTo>
                  <a:lnTo>
                    <a:pt x="177" y="2"/>
                  </a:lnTo>
                  <a:lnTo>
                    <a:pt x="176" y="3"/>
                  </a:lnTo>
                  <a:lnTo>
                    <a:pt x="177" y="3"/>
                  </a:lnTo>
                  <a:lnTo>
                    <a:pt x="182" y="4"/>
                  </a:lnTo>
                  <a:lnTo>
                    <a:pt x="175" y="4"/>
                  </a:lnTo>
                  <a:lnTo>
                    <a:pt x="175" y="4"/>
                  </a:lnTo>
                  <a:lnTo>
                    <a:pt x="172" y="3"/>
                  </a:lnTo>
                  <a:lnTo>
                    <a:pt x="164" y="3"/>
                  </a:lnTo>
                  <a:lnTo>
                    <a:pt x="162" y="3"/>
                  </a:lnTo>
                  <a:lnTo>
                    <a:pt x="164" y="3"/>
                  </a:lnTo>
                  <a:lnTo>
                    <a:pt x="164" y="4"/>
                  </a:lnTo>
                  <a:lnTo>
                    <a:pt x="166" y="4"/>
                  </a:lnTo>
                  <a:lnTo>
                    <a:pt x="167" y="5"/>
                  </a:lnTo>
                  <a:lnTo>
                    <a:pt x="167" y="5"/>
                  </a:lnTo>
                  <a:lnTo>
                    <a:pt x="168" y="6"/>
                  </a:lnTo>
                  <a:lnTo>
                    <a:pt x="166" y="6"/>
                  </a:lnTo>
                  <a:lnTo>
                    <a:pt x="161" y="5"/>
                  </a:lnTo>
                  <a:lnTo>
                    <a:pt x="154" y="4"/>
                  </a:lnTo>
                  <a:lnTo>
                    <a:pt x="152" y="4"/>
                  </a:lnTo>
                  <a:lnTo>
                    <a:pt x="151" y="5"/>
                  </a:lnTo>
                  <a:lnTo>
                    <a:pt x="151" y="5"/>
                  </a:lnTo>
                  <a:lnTo>
                    <a:pt x="153" y="5"/>
                  </a:lnTo>
                  <a:lnTo>
                    <a:pt x="156" y="6"/>
                  </a:lnTo>
                  <a:lnTo>
                    <a:pt x="157" y="6"/>
                  </a:lnTo>
                  <a:lnTo>
                    <a:pt x="148" y="6"/>
                  </a:lnTo>
                  <a:lnTo>
                    <a:pt x="146" y="6"/>
                  </a:lnTo>
                  <a:lnTo>
                    <a:pt x="145" y="8"/>
                  </a:lnTo>
                  <a:lnTo>
                    <a:pt x="146" y="8"/>
                  </a:lnTo>
                  <a:lnTo>
                    <a:pt x="154" y="10"/>
                  </a:lnTo>
                  <a:lnTo>
                    <a:pt x="160" y="10"/>
                  </a:lnTo>
                  <a:lnTo>
                    <a:pt x="162" y="10"/>
                  </a:lnTo>
                  <a:lnTo>
                    <a:pt x="160" y="11"/>
                  </a:lnTo>
                  <a:lnTo>
                    <a:pt x="162" y="12"/>
                  </a:lnTo>
                  <a:lnTo>
                    <a:pt x="155" y="11"/>
                  </a:lnTo>
                  <a:lnTo>
                    <a:pt x="151" y="10"/>
                  </a:lnTo>
                  <a:lnTo>
                    <a:pt x="145" y="9"/>
                  </a:lnTo>
                  <a:lnTo>
                    <a:pt x="141" y="9"/>
                  </a:lnTo>
                  <a:lnTo>
                    <a:pt x="141" y="9"/>
                  </a:lnTo>
                  <a:lnTo>
                    <a:pt x="142" y="10"/>
                  </a:lnTo>
                  <a:lnTo>
                    <a:pt x="145" y="11"/>
                  </a:lnTo>
                  <a:lnTo>
                    <a:pt x="138" y="11"/>
                  </a:lnTo>
                  <a:lnTo>
                    <a:pt x="140" y="10"/>
                  </a:lnTo>
                  <a:lnTo>
                    <a:pt x="140" y="9"/>
                  </a:lnTo>
                  <a:lnTo>
                    <a:pt x="138" y="9"/>
                  </a:lnTo>
                  <a:lnTo>
                    <a:pt x="138" y="8"/>
                  </a:lnTo>
                  <a:lnTo>
                    <a:pt x="135" y="8"/>
                  </a:lnTo>
                  <a:lnTo>
                    <a:pt x="133" y="8"/>
                  </a:lnTo>
                  <a:lnTo>
                    <a:pt x="131" y="8"/>
                  </a:lnTo>
                  <a:lnTo>
                    <a:pt x="127" y="8"/>
                  </a:lnTo>
                  <a:lnTo>
                    <a:pt x="128" y="6"/>
                  </a:lnTo>
                  <a:lnTo>
                    <a:pt x="130" y="6"/>
                  </a:lnTo>
                  <a:lnTo>
                    <a:pt x="124" y="6"/>
                  </a:lnTo>
                  <a:lnTo>
                    <a:pt x="118" y="6"/>
                  </a:lnTo>
                  <a:lnTo>
                    <a:pt x="116" y="6"/>
                  </a:lnTo>
                  <a:lnTo>
                    <a:pt x="118" y="8"/>
                  </a:lnTo>
                  <a:lnTo>
                    <a:pt x="118" y="8"/>
                  </a:lnTo>
                  <a:lnTo>
                    <a:pt x="118" y="8"/>
                  </a:lnTo>
                  <a:lnTo>
                    <a:pt x="120" y="8"/>
                  </a:lnTo>
                  <a:lnTo>
                    <a:pt x="118" y="9"/>
                  </a:lnTo>
                  <a:lnTo>
                    <a:pt x="118" y="9"/>
                  </a:lnTo>
                  <a:lnTo>
                    <a:pt x="112" y="9"/>
                  </a:lnTo>
                  <a:lnTo>
                    <a:pt x="107" y="9"/>
                  </a:lnTo>
                  <a:lnTo>
                    <a:pt x="106" y="9"/>
                  </a:lnTo>
                  <a:lnTo>
                    <a:pt x="106" y="10"/>
                  </a:lnTo>
                  <a:lnTo>
                    <a:pt x="108" y="10"/>
                  </a:lnTo>
                  <a:lnTo>
                    <a:pt x="111" y="10"/>
                  </a:lnTo>
                  <a:lnTo>
                    <a:pt x="118" y="11"/>
                  </a:lnTo>
                  <a:lnTo>
                    <a:pt x="124" y="11"/>
                  </a:lnTo>
                  <a:lnTo>
                    <a:pt x="122" y="11"/>
                  </a:lnTo>
                  <a:lnTo>
                    <a:pt x="122" y="12"/>
                  </a:lnTo>
                  <a:lnTo>
                    <a:pt x="120" y="11"/>
                  </a:lnTo>
                  <a:lnTo>
                    <a:pt x="116" y="11"/>
                  </a:lnTo>
                  <a:lnTo>
                    <a:pt x="115" y="12"/>
                  </a:lnTo>
                  <a:lnTo>
                    <a:pt x="116" y="12"/>
                  </a:lnTo>
                  <a:lnTo>
                    <a:pt x="113" y="11"/>
                  </a:lnTo>
                  <a:lnTo>
                    <a:pt x="110" y="11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3" y="12"/>
                  </a:lnTo>
                  <a:lnTo>
                    <a:pt x="104" y="12"/>
                  </a:lnTo>
                  <a:lnTo>
                    <a:pt x="103" y="12"/>
                  </a:lnTo>
                  <a:lnTo>
                    <a:pt x="102" y="12"/>
                  </a:lnTo>
                  <a:lnTo>
                    <a:pt x="102" y="11"/>
                  </a:lnTo>
                  <a:lnTo>
                    <a:pt x="102" y="11"/>
                  </a:lnTo>
                  <a:lnTo>
                    <a:pt x="98" y="11"/>
                  </a:lnTo>
                  <a:lnTo>
                    <a:pt x="97" y="11"/>
                  </a:lnTo>
                  <a:lnTo>
                    <a:pt x="96" y="10"/>
                  </a:lnTo>
                  <a:lnTo>
                    <a:pt x="93" y="10"/>
                  </a:lnTo>
                  <a:lnTo>
                    <a:pt x="92" y="11"/>
                  </a:lnTo>
                  <a:lnTo>
                    <a:pt x="89" y="11"/>
                  </a:lnTo>
                  <a:lnTo>
                    <a:pt x="86" y="11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3" y="12"/>
                  </a:lnTo>
                  <a:lnTo>
                    <a:pt x="83" y="13"/>
                  </a:lnTo>
                  <a:lnTo>
                    <a:pt x="81" y="12"/>
                  </a:lnTo>
                  <a:lnTo>
                    <a:pt x="79" y="13"/>
                  </a:lnTo>
                  <a:lnTo>
                    <a:pt x="76" y="13"/>
                  </a:lnTo>
                  <a:lnTo>
                    <a:pt x="76" y="12"/>
                  </a:lnTo>
                  <a:lnTo>
                    <a:pt x="75" y="12"/>
                  </a:lnTo>
                  <a:lnTo>
                    <a:pt x="71" y="12"/>
                  </a:lnTo>
                  <a:lnTo>
                    <a:pt x="65" y="13"/>
                  </a:lnTo>
                  <a:lnTo>
                    <a:pt x="64" y="13"/>
                  </a:lnTo>
                  <a:lnTo>
                    <a:pt x="63" y="14"/>
                  </a:lnTo>
                  <a:lnTo>
                    <a:pt x="61" y="14"/>
                  </a:lnTo>
                  <a:lnTo>
                    <a:pt x="57" y="14"/>
                  </a:lnTo>
                  <a:lnTo>
                    <a:pt x="56" y="15"/>
                  </a:lnTo>
                  <a:lnTo>
                    <a:pt x="53" y="15"/>
                  </a:lnTo>
                  <a:lnTo>
                    <a:pt x="57" y="16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7" y="15"/>
                  </a:lnTo>
                  <a:lnTo>
                    <a:pt x="70" y="15"/>
                  </a:lnTo>
                  <a:lnTo>
                    <a:pt x="71" y="15"/>
                  </a:lnTo>
                  <a:lnTo>
                    <a:pt x="72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4" y="15"/>
                  </a:lnTo>
                  <a:lnTo>
                    <a:pt x="79" y="15"/>
                  </a:lnTo>
                  <a:lnTo>
                    <a:pt x="72" y="16"/>
                  </a:lnTo>
                  <a:lnTo>
                    <a:pt x="63" y="18"/>
                  </a:lnTo>
                  <a:lnTo>
                    <a:pt x="66" y="19"/>
                  </a:lnTo>
                  <a:lnTo>
                    <a:pt x="66" y="19"/>
                  </a:lnTo>
                  <a:lnTo>
                    <a:pt x="81" y="18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6" y="16"/>
                  </a:lnTo>
                  <a:lnTo>
                    <a:pt x="97" y="16"/>
                  </a:lnTo>
                  <a:lnTo>
                    <a:pt x="104" y="16"/>
                  </a:lnTo>
                  <a:lnTo>
                    <a:pt x="105" y="16"/>
                  </a:lnTo>
                  <a:lnTo>
                    <a:pt x="102" y="18"/>
                  </a:lnTo>
                  <a:lnTo>
                    <a:pt x="91" y="16"/>
                  </a:lnTo>
                  <a:lnTo>
                    <a:pt x="90" y="16"/>
                  </a:lnTo>
                  <a:lnTo>
                    <a:pt x="85" y="18"/>
                  </a:lnTo>
                  <a:lnTo>
                    <a:pt x="74" y="19"/>
                  </a:lnTo>
                  <a:lnTo>
                    <a:pt x="71" y="19"/>
                  </a:lnTo>
                  <a:lnTo>
                    <a:pt x="71" y="20"/>
                  </a:lnTo>
                  <a:lnTo>
                    <a:pt x="74" y="20"/>
                  </a:lnTo>
                  <a:lnTo>
                    <a:pt x="80" y="20"/>
                  </a:lnTo>
                  <a:lnTo>
                    <a:pt x="76" y="20"/>
                  </a:lnTo>
                  <a:lnTo>
                    <a:pt x="67" y="21"/>
                  </a:lnTo>
                  <a:lnTo>
                    <a:pt x="66" y="21"/>
                  </a:lnTo>
                  <a:lnTo>
                    <a:pt x="66" y="22"/>
                  </a:lnTo>
                  <a:lnTo>
                    <a:pt x="65" y="22"/>
                  </a:lnTo>
                  <a:lnTo>
                    <a:pt x="66" y="22"/>
                  </a:lnTo>
                  <a:lnTo>
                    <a:pt x="69" y="23"/>
                  </a:lnTo>
                  <a:lnTo>
                    <a:pt x="72" y="23"/>
                  </a:lnTo>
                  <a:lnTo>
                    <a:pt x="76" y="22"/>
                  </a:lnTo>
                  <a:lnTo>
                    <a:pt x="92" y="22"/>
                  </a:lnTo>
                  <a:lnTo>
                    <a:pt x="100" y="22"/>
                  </a:lnTo>
                  <a:lnTo>
                    <a:pt x="107" y="21"/>
                  </a:lnTo>
                  <a:lnTo>
                    <a:pt x="122" y="20"/>
                  </a:lnTo>
                  <a:lnTo>
                    <a:pt x="121" y="20"/>
                  </a:lnTo>
                  <a:lnTo>
                    <a:pt x="118" y="20"/>
                  </a:lnTo>
                  <a:lnTo>
                    <a:pt x="114" y="21"/>
                  </a:lnTo>
                  <a:lnTo>
                    <a:pt x="106" y="22"/>
                  </a:lnTo>
                  <a:lnTo>
                    <a:pt x="106" y="22"/>
                  </a:lnTo>
                  <a:lnTo>
                    <a:pt x="97" y="23"/>
                  </a:lnTo>
                  <a:lnTo>
                    <a:pt x="90" y="23"/>
                  </a:lnTo>
                  <a:lnTo>
                    <a:pt x="84" y="23"/>
                  </a:lnTo>
                  <a:lnTo>
                    <a:pt x="79" y="23"/>
                  </a:lnTo>
                  <a:lnTo>
                    <a:pt x="77" y="23"/>
                  </a:lnTo>
                  <a:lnTo>
                    <a:pt x="71" y="23"/>
                  </a:lnTo>
                  <a:lnTo>
                    <a:pt x="70" y="24"/>
                  </a:lnTo>
                  <a:lnTo>
                    <a:pt x="69" y="24"/>
                  </a:lnTo>
                  <a:lnTo>
                    <a:pt x="71" y="25"/>
                  </a:lnTo>
                  <a:lnTo>
                    <a:pt x="73" y="25"/>
                  </a:lnTo>
                  <a:lnTo>
                    <a:pt x="75" y="25"/>
                  </a:lnTo>
                  <a:lnTo>
                    <a:pt x="77" y="26"/>
                  </a:lnTo>
                  <a:lnTo>
                    <a:pt x="82" y="26"/>
                  </a:lnTo>
                  <a:lnTo>
                    <a:pt x="84" y="27"/>
                  </a:lnTo>
                  <a:lnTo>
                    <a:pt x="86" y="27"/>
                  </a:lnTo>
                  <a:lnTo>
                    <a:pt x="90" y="27"/>
                  </a:lnTo>
                  <a:lnTo>
                    <a:pt x="90" y="26"/>
                  </a:lnTo>
                  <a:lnTo>
                    <a:pt x="92" y="26"/>
                  </a:lnTo>
                  <a:lnTo>
                    <a:pt x="93" y="26"/>
                  </a:lnTo>
                  <a:lnTo>
                    <a:pt x="95" y="25"/>
                  </a:lnTo>
                  <a:lnTo>
                    <a:pt x="97" y="24"/>
                  </a:lnTo>
                  <a:lnTo>
                    <a:pt x="100" y="24"/>
                  </a:lnTo>
                  <a:lnTo>
                    <a:pt x="103" y="23"/>
                  </a:lnTo>
                  <a:lnTo>
                    <a:pt x="104" y="23"/>
                  </a:lnTo>
                  <a:lnTo>
                    <a:pt x="108" y="22"/>
                  </a:lnTo>
                  <a:lnTo>
                    <a:pt x="113" y="22"/>
                  </a:lnTo>
                  <a:lnTo>
                    <a:pt x="122" y="22"/>
                  </a:lnTo>
                  <a:lnTo>
                    <a:pt x="125" y="22"/>
                  </a:lnTo>
                  <a:lnTo>
                    <a:pt x="143" y="21"/>
                  </a:lnTo>
                  <a:lnTo>
                    <a:pt x="137" y="22"/>
                  </a:lnTo>
                  <a:lnTo>
                    <a:pt x="131" y="22"/>
                  </a:lnTo>
                  <a:lnTo>
                    <a:pt x="126" y="22"/>
                  </a:lnTo>
                  <a:lnTo>
                    <a:pt x="124" y="22"/>
                  </a:lnTo>
                  <a:lnTo>
                    <a:pt x="121" y="23"/>
                  </a:lnTo>
                  <a:lnTo>
                    <a:pt x="115" y="23"/>
                  </a:lnTo>
                  <a:lnTo>
                    <a:pt x="108" y="23"/>
                  </a:lnTo>
                  <a:lnTo>
                    <a:pt x="106" y="23"/>
                  </a:lnTo>
                  <a:lnTo>
                    <a:pt x="106" y="23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1" y="25"/>
                  </a:lnTo>
                  <a:lnTo>
                    <a:pt x="98" y="25"/>
                  </a:lnTo>
                  <a:lnTo>
                    <a:pt x="97" y="25"/>
                  </a:lnTo>
                  <a:lnTo>
                    <a:pt x="96" y="26"/>
                  </a:lnTo>
                  <a:lnTo>
                    <a:pt x="94" y="26"/>
                  </a:lnTo>
                  <a:lnTo>
                    <a:pt x="94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6" y="29"/>
                  </a:lnTo>
                  <a:lnTo>
                    <a:pt x="100" y="29"/>
                  </a:lnTo>
                  <a:lnTo>
                    <a:pt x="101" y="29"/>
                  </a:lnTo>
                  <a:lnTo>
                    <a:pt x="103" y="29"/>
                  </a:lnTo>
                  <a:lnTo>
                    <a:pt x="104" y="27"/>
                  </a:lnTo>
                  <a:lnTo>
                    <a:pt x="105" y="27"/>
                  </a:lnTo>
                  <a:lnTo>
                    <a:pt x="105" y="27"/>
                  </a:lnTo>
                  <a:lnTo>
                    <a:pt x="102" y="29"/>
                  </a:lnTo>
                  <a:lnTo>
                    <a:pt x="103" y="29"/>
                  </a:lnTo>
                  <a:lnTo>
                    <a:pt x="105" y="29"/>
                  </a:lnTo>
                  <a:lnTo>
                    <a:pt x="106" y="29"/>
                  </a:lnTo>
                  <a:lnTo>
                    <a:pt x="112" y="29"/>
                  </a:lnTo>
                  <a:lnTo>
                    <a:pt x="113" y="29"/>
                  </a:lnTo>
                  <a:lnTo>
                    <a:pt x="113" y="29"/>
                  </a:lnTo>
                  <a:lnTo>
                    <a:pt x="115" y="27"/>
                  </a:lnTo>
                  <a:lnTo>
                    <a:pt x="116" y="27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6" y="26"/>
                  </a:lnTo>
                  <a:lnTo>
                    <a:pt x="120" y="26"/>
                  </a:lnTo>
                  <a:lnTo>
                    <a:pt x="122" y="25"/>
                  </a:lnTo>
                  <a:lnTo>
                    <a:pt x="123" y="25"/>
                  </a:lnTo>
                  <a:lnTo>
                    <a:pt x="122" y="26"/>
                  </a:lnTo>
                  <a:lnTo>
                    <a:pt x="121" y="26"/>
                  </a:lnTo>
                  <a:lnTo>
                    <a:pt x="120" y="26"/>
                  </a:lnTo>
                  <a:lnTo>
                    <a:pt x="118" y="26"/>
                  </a:lnTo>
                  <a:lnTo>
                    <a:pt x="118" y="27"/>
                  </a:lnTo>
                  <a:lnTo>
                    <a:pt x="118" y="27"/>
                  </a:lnTo>
                  <a:lnTo>
                    <a:pt x="123" y="27"/>
                  </a:lnTo>
                  <a:lnTo>
                    <a:pt x="123" y="27"/>
                  </a:lnTo>
                  <a:lnTo>
                    <a:pt x="124" y="26"/>
                  </a:lnTo>
                  <a:lnTo>
                    <a:pt x="127" y="26"/>
                  </a:lnTo>
                  <a:lnTo>
                    <a:pt x="132" y="25"/>
                  </a:lnTo>
                  <a:lnTo>
                    <a:pt x="135" y="25"/>
                  </a:lnTo>
                  <a:lnTo>
                    <a:pt x="135" y="24"/>
                  </a:lnTo>
                  <a:lnTo>
                    <a:pt x="134" y="24"/>
                  </a:lnTo>
                  <a:lnTo>
                    <a:pt x="136" y="24"/>
                  </a:lnTo>
                  <a:lnTo>
                    <a:pt x="138" y="24"/>
                  </a:lnTo>
                  <a:lnTo>
                    <a:pt x="137" y="24"/>
                  </a:lnTo>
                  <a:lnTo>
                    <a:pt x="137" y="24"/>
                  </a:lnTo>
                  <a:lnTo>
                    <a:pt x="136" y="25"/>
                  </a:lnTo>
                  <a:lnTo>
                    <a:pt x="136" y="25"/>
                  </a:lnTo>
                  <a:lnTo>
                    <a:pt x="140" y="25"/>
                  </a:lnTo>
                  <a:lnTo>
                    <a:pt x="134" y="26"/>
                  </a:lnTo>
                  <a:lnTo>
                    <a:pt x="132" y="26"/>
                  </a:lnTo>
                  <a:lnTo>
                    <a:pt x="131" y="26"/>
                  </a:lnTo>
                  <a:lnTo>
                    <a:pt x="126" y="26"/>
                  </a:lnTo>
                  <a:lnTo>
                    <a:pt x="123" y="27"/>
                  </a:lnTo>
                  <a:lnTo>
                    <a:pt x="122" y="27"/>
                  </a:lnTo>
                  <a:lnTo>
                    <a:pt x="121" y="27"/>
                  </a:lnTo>
                  <a:lnTo>
                    <a:pt x="121" y="29"/>
                  </a:lnTo>
                  <a:lnTo>
                    <a:pt x="121" y="29"/>
                  </a:lnTo>
                  <a:lnTo>
                    <a:pt x="123" y="29"/>
                  </a:lnTo>
                  <a:lnTo>
                    <a:pt x="135" y="29"/>
                  </a:lnTo>
                  <a:lnTo>
                    <a:pt x="147" y="26"/>
                  </a:lnTo>
                  <a:lnTo>
                    <a:pt x="160" y="25"/>
                  </a:lnTo>
                  <a:lnTo>
                    <a:pt x="161" y="24"/>
                  </a:lnTo>
                  <a:lnTo>
                    <a:pt x="161" y="24"/>
                  </a:lnTo>
                  <a:lnTo>
                    <a:pt x="164" y="23"/>
                  </a:lnTo>
                  <a:lnTo>
                    <a:pt x="164" y="23"/>
                  </a:lnTo>
                  <a:lnTo>
                    <a:pt x="163" y="23"/>
                  </a:lnTo>
                  <a:lnTo>
                    <a:pt x="163" y="23"/>
                  </a:lnTo>
                  <a:lnTo>
                    <a:pt x="162" y="23"/>
                  </a:lnTo>
                  <a:lnTo>
                    <a:pt x="164" y="22"/>
                  </a:lnTo>
                  <a:lnTo>
                    <a:pt x="165" y="22"/>
                  </a:lnTo>
                  <a:lnTo>
                    <a:pt x="163" y="21"/>
                  </a:lnTo>
                  <a:lnTo>
                    <a:pt x="163" y="21"/>
                  </a:lnTo>
                  <a:lnTo>
                    <a:pt x="164" y="21"/>
                  </a:lnTo>
                  <a:lnTo>
                    <a:pt x="164" y="21"/>
                  </a:lnTo>
                  <a:lnTo>
                    <a:pt x="167" y="22"/>
                  </a:lnTo>
                  <a:lnTo>
                    <a:pt x="170" y="22"/>
                  </a:lnTo>
                  <a:lnTo>
                    <a:pt x="170" y="21"/>
                  </a:lnTo>
                  <a:lnTo>
                    <a:pt x="170" y="21"/>
                  </a:lnTo>
                  <a:lnTo>
                    <a:pt x="172" y="21"/>
                  </a:lnTo>
                  <a:lnTo>
                    <a:pt x="176" y="20"/>
                  </a:lnTo>
                  <a:lnTo>
                    <a:pt x="191" y="18"/>
                  </a:lnTo>
                  <a:lnTo>
                    <a:pt x="191" y="18"/>
                  </a:lnTo>
                  <a:lnTo>
                    <a:pt x="188" y="18"/>
                  </a:lnTo>
                  <a:lnTo>
                    <a:pt x="178" y="20"/>
                  </a:lnTo>
                  <a:lnTo>
                    <a:pt x="177" y="20"/>
                  </a:lnTo>
                  <a:lnTo>
                    <a:pt x="175" y="21"/>
                  </a:lnTo>
                  <a:lnTo>
                    <a:pt x="173" y="21"/>
                  </a:lnTo>
                  <a:lnTo>
                    <a:pt x="172" y="21"/>
                  </a:lnTo>
                  <a:lnTo>
                    <a:pt x="172" y="22"/>
                  </a:lnTo>
                  <a:lnTo>
                    <a:pt x="166" y="23"/>
                  </a:lnTo>
                  <a:lnTo>
                    <a:pt x="165" y="24"/>
                  </a:lnTo>
                  <a:lnTo>
                    <a:pt x="166" y="24"/>
                  </a:lnTo>
                  <a:lnTo>
                    <a:pt x="181" y="24"/>
                  </a:lnTo>
                  <a:lnTo>
                    <a:pt x="189" y="24"/>
                  </a:lnTo>
                  <a:lnTo>
                    <a:pt x="205" y="23"/>
                  </a:lnTo>
                  <a:lnTo>
                    <a:pt x="205" y="23"/>
                  </a:lnTo>
                  <a:lnTo>
                    <a:pt x="203" y="23"/>
                  </a:lnTo>
                  <a:lnTo>
                    <a:pt x="198" y="23"/>
                  </a:lnTo>
                  <a:lnTo>
                    <a:pt x="198" y="24"/>
                  </a:lnTo>
                  <a:lnTo>
                    <a:pt x="198" y="24"/>
                  </a:lnTo>
                  <a:lnTo>
                    <a:pt x="198" y="24"/>
                  </a:lnTo>
                  <a:lnTo>
                    <a:pt x="196" y="24"/>
                  </a:lnTo>
                  <a:lnTo>
                    <a:pt x="194" y="24"/>
                  </a:lnTo>
                  <a:lnTo>
                    <a:pt x="193" y="24"/>
                  </a:lnTo>
                  <a:lnTo>
                    <a:pt x="194" y="24"/>
                  </a:lnTo>
                  <a:lnTo>
                    <a:pt x="194" y="24"/>
                  </a:lnTo>
                  <a:lnTo>
                    <a:pt x="193" y="25"/>
                  </a:lnTo>
                  <a:lnTo>
                    <a:pt x="192" y="25"/>
                  </a:lnTo>
                  <a:lnTo>
                    <a:pt x="191" y="24"/>
                  </a:lnTo>
                  <a:lnTo>
                    <a:pt x="186" y="24"/>
                  </a:lnTo>
                  <a:lnTo>
                    <a:pt x="183" y="24"/>
                  </a:lnTo>
                  <a:lnTo>
                    <a:pt x="182" y="24"/>
                  </a:lnTo>
                  <a:lnTo>
                    <a:pt x="182" y="25"/>
                  </a:lnTo>
                  <a:lnTo>
                    <a:pt x="181" y="25"/>
                  </a:lnTo>
                  <a:lnTo>
                    <a:pt x="181" y="25"/>
                  </a:lnTo>
                  <a:lnTo>
                    <a:pt x="177" y="25"/>
                  </a:lnTo>
                  <a:lnTo>
                    <a:pt x="167" y="25"/>
                  </a:lnTo>
                  <a:lnTo>
                    <a:pt x="162" y="26"/>
                  </a:lnTo>
                  <a:lnTo>
                    <a:pt x="157" y="26"/>
                  </a:lnTo>
                  <a:lnTo>
                    <a:pt x="155" y="26"/>
                  </a:lnTo>
                  <a:lnTo>
                    <a:pt x="152" y="27"/>
                  </a:lnTo>
                  <a:lnTo>
                    <a:pt x="154" y="27"/>
                  </a:lnTo>
                  <a:lnTo>
                    <a:pt x="164" y="27"/>
                  </a:lnTo>
                  <a:lnTo>
                    <a:pt x="166" y="27"/>
                  </a:lnTo>
                  <a:lnTo>
                    <a:pt x="173" y="27"/>
                  </a:lnTo>
                  <a:lnTo>
                    <a:pt x="173" y="27"/>
                  </a:lnTo>
                  <a:lnTo>
                    <a:pt x="172" y="27"/>
                  </a:lnTo>
                  <a:lnTo>
                    <a:pt x="161" y="27"/>
                  </a:lnTo>
                  <a:lnTo>
                    <a:pt x="154" y="29"/>
                  </a:lnTo>
                  <a:lnTo>
                    <a:pt x="150" y="29"/>
                  </a:lnTo>
                  <a:lnTo>
                    <a:pt x="147" y="29"/>
                  </a:lnTo>
                  <a:lnTo>
                    <a:pt x="151" y="29"/>
                  </a:lnTo>
                  <a:lnTo>
                    <a:pt x="151" y="30"/>
                  </a:lnTo>
                  <a:lnTo>
                    <a:pt x="150" y="30"/>
                  </a:lnTo>
                  <a:lnTo>
                    <a:pt x="147" y="30"/>
                  </a:lnTo>
                  <a:lnTo>
                    <a:pt x="146" y="30"/>
                  </a:lnTo>
                  <a:lnTo>
                    <a:pt x="141" y="30"/>
                  </a:lnTo>
                  <a:lnTo>
                    <a:pt x="135" y="30"/>
                  </a:lnTo>
                  <a:lnTo>
                    <a:pt x="131" y="30"/>
                  </a:lnTo>
                  <a:lnTo>
                    <a:pt x="125" y="31"/>
                  </a:lnTo>
                  <a:lnTo>
                    <a:pt x="120" y="31"/>
                  </a:lnTo>
                  <a:lnTo>
                    <a:pt x="118" y="31"/>
                  </a:lnTo>
                  <a:lnTo>
                    <a:pt x="124" y="33"/>
                  </a:lnTo>
                  <a:lnTo>
                    <a:pt x="124" y="34"/>
                  </a:lnTo>
                  <a:lnTo>
                    <a:pt x="124" y="34"/>
                  </a:lnTo>
                  <a:lnTo>
                    <a:pt x="132" y="35"/>
                  </a:lnTo>
                  <a:lnTo>
                    <a:pt x="131" y="35"/>
                  </a:lnTo>
                  <a:lnTo>
                    <a:pt x="128" y="36"/>
                  </a:lnTo>
                  <a:lnTo>
                    <a:pt x="128" y="36"/>
                  </a:lnTo>
                  <a:lnTo>
                    <a:pt x="127" y="37"/>
                  </a:lnTo>
                  <a:lnTo>
                    <a:pt x="127" y="37"/>
                  </a:lnTo>
                  <a:lnTo>
                    <a:pt x="128" y="37"/>
                  </a:lnTo>
                  <a:lnTo>
                    <a:pt x="127" y="39"/>
                  </a:lnTo>
                  <a:lnTo>
                    <a:pt x="128" y="39"/>
                  </a:lnTo>
                  <a:lnTo>
                    <a:pt x="132" y="39"/>
                  </a:lnTo>
                  <a:lnTo>
                    <a:pt x="134" y="40"/>
                  </a:lnTo>
                  <a:lnTo>
                    <a:pt x="142" y="39"/>
                  </a:lnTo>
                  <a:lnTo>
                    <a:pt x="143" y="39"/>
                  </a:lnTo>
                  <a:lnTo>
                    <a:pt x="143" y="39"/>
                  </a:lnTo>
                  <a:lnTo>
                    <a:pt x="143" y="40"/>
                  </a:lnTo>
                  <a:lnTo>
                    <a:pt x="141" y="40"/>
                  </a:lnTo>
                  <a:lnTo>
                    <a:pt x="134" y="40"/>
                  </a:lnTo>
                  <a:lnTo>
                    <a:pt x="133" y="41"/>
                  </a:lnTo>
                  <a:lnTo>
                    <a:pt x="133" y="41"/>
                  </a:lnTo>
                  <a:lnTo>
                    <a:pt x="133" y="41"/>
                  </a:lnTo>
                  <a:lnTo>
                    <a:pt x="133" y="41"/>
                  </a:lnTo>
                  <a:lnTo>
                    <a:pt x="127" y="40"/>
                  </a:lnTo>
                  <a:lnTo>
                    <a:pt x="125" y="40"/>
                  </a:lnTo>
                  <a:lnTo>
                    <a:pt x="123" y="40"/>
                  </a:lnTo>
                  <a:lnTo>
                    <a:pt x="124" y="39"/>
                  </a:lnTo>
                  <a:lnTo>
                    <a:pt x="123" y="39"/>
                  </a:lnTo>
                  <a:lnTo>
                    <a:pt x="123" y="39"/>
                  </a:lnTo>
                  <a:lnTo>
                    <a:pt x="123" y="37"/>
                  </a:lnTo>
                  <a:lnTo>
                    <a:pt x="123" y="37"/>
                  </a:lnTo>
                  <a:lnTo>
                    <a:pt x="123" y="37"/>
                  </a:lnTo>
                  <a:lnTo>
                    <a:pt x="112" y="32"/>
                  </a:lnTo>
                  <a:lnTo>
                    <a:pt x="111" y="32"/>
                  </a:lnTo>
                  <a:lnTo>
                    <a:pt x="107" y="31"/>
                  </a:lnTo>
                  <a:lnTo>
                    <a:pt x="104" y="31"/>
                  </a:lnTo>
                  <a:lnTo>
                    <a:pt x="101" y="32"/>
                  </a:lnTo>
                  <a:lnTo>
                    <a:pt x="95" y="31"/>
                  </a:lnTo>
                  <a:lnTo>
                    <a:pt x="90" y="31"/>
                  </a:lnTo>
                  <a:lnTo>
                    <a:pt x="89" y="31"/>
                  </a:lnTo>
                  <a:lnTo>
                    <a:pt x="87" y="31"/>
                  </a:lnTo>
                  <a:lnTo>
                    <a:pt x="85" y="32"/>
                  </a:lnTo>
                  <a:lnTo>
                    <a:pt x="84" y="33"/>
                  </a:lnTo>
                  <a:lnTo>
                    <a:pt x="83" y="33"/>
                  </a:lnTo>
                  <a:lnTo>
                    <a:pt x="83" y="34"/>
                  </a:lnTo>
                  <a:lnTo>
                    <a:pt x="92" y="35"/>
                  </a:lnTo>
                  <a:lnTo>
                    <a:pt x="93" y="35"/>
                  </a:lnTo>
                  <a:lnTo>
                    <a:pt x="93" y="35"/>
                  </a:lnTo>
                  <a:lnTo>
                    <a:pt x="93" y="35"/>
                  </a:lnTo>
                  <a:lnTo>
                    <a:pt x="86" y="35"/>
                  </a:lnTo>
                  <a:lnTo>
                    <a:pt x="85" y="35"/>
                  </a:lnTo>
                  <a:lnTo>
                    <a:pt x="84" y="34"/>
                  </a:lnTo>
                  <a:lnTo>
                    <a:pt x="83" y="35"/>
                  </a:lnTo>
                  <a:lnTo>
                    <a:pt x="81" y="36"/>
                  </a:lnTo>
                  <a:lnTo>
                    <a:pt x="81" y="36"/>
                  </a:lnTo>
                  <a:lnTo>
                    <a:pt x="82" y="37"/>
                  </a:lnTo>
                  <a:lnTo>
                    <a:pt x="85" y="37"/>
                  </a:lnTo>
                  <a:lnTo>
                    <a:pt x="89" y="37"/>
                  </a:lnTo>
                  <a:lnTo>
                    <a:pt x="92" y="39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1"/>
                  </a:lnTo>
                  <a:lnTo>
                    <a:pt x="94" y="42"/>
                  </a:lnTo>
                  <a:lnTo>
                    <a:pt x="94" y="42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3" y="45"/>
                  </a:lnTo>
                  <a:lnTo>
                    <a:pt x="96" y="45"/>
                  </a:lnTo>
                  <a:lnTo>
                    <a:pt x="97" y="44"/>
                  </a:lnTo>
                  <a:lnTo>
                    <a:pt x="96" y="45"/>
                  </a:lnTo>
                  <a:lnTo>
                    <a:pt x="95" y="45"/>
                  </a:lnTo>
                  <a:lnTo>
                    <a:pt x="96" y="46"/>
                  </a:lnTo>
                  <a:lnTo>
                    <a:pt x="97" y="46"/>
                  </a:lnTo>
                  <a:lnTo>
                    <a:pt x="97" y="46"/>
                  </a:lnTo>
                  <a:lnTo>
                    <a:pt x="98" y="47"/>
                  </a:lnTo>
                  <a:lnTo>
                    <a:pt x="101" y="47"/>
                  </a:lnTo>
                  <a:lnTo>
                    <a:pt x="98" y="47"/>
                  </a:lnTo>
                  <a:lnTo>
                    <a:pt x="95" y="47"/>
                  </a:lnTo>
                  <a:lnTo>
                    <a:pt x="94" y="47"/>
                  </a:lnTo>
                  <a:lnTo>
                    <a:pt x="93" y="46"/>
                  </a:lnTo>
                  <a:lnTo>
                    <a:pt x="91" y="46"/>
                  </a:lnTo>
                  <a:lnTo>
                    <a:pt x="90" y="46"/>
                  </a:lnTo>
                  <a:lnTo>
                    <a:pt x="89" y="46"/>
                  </a:lnTo>
                  <a:lnTo>
                    <a:pt x="86" y="46"/>
                  </a:lnTo>
                  <a:lnTo>
                    <a:pt x="86" y="47"/>
                  </a:lnTo>
                  <a:lnTo>
                    <a:pt x="87" y="47"/>
                  </a:lnTo>
                  <a:lnTo>
                    <a:pt x="91" y="49"/>
                  </a:lnTo>
                  <a:lnTo>
                    <a:pt x="101" y="49"/>
                  </a:lnTo>
                  <a:lnTo>
                    <a:pt x="104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2" y="49"/>
                  </a:lnTo>
                  <a:lnTo>
                    <a:pt x="113" y="49"/>
                  </a:lnTo>
                  <a:lnTo>
                    <a:pt x="116" y="47"/>
                  </a:lnTo>
                  <a:lnTo>
                    <a:pt x="118" y="47"/>
                  </a:lnTo>
                  <a:lnTo>
                    <a:pt x="118" y="47"/>
                  </a:lnTo>
                  <a:lnTo>
                    <a:pt x="116" y="49"/>
                  </a:lnTo>
                  <a:lnTo>
                    <a:pt x="114" y="50"/>
                  </a:lnTo>
                  <a:lnTo>
                    <a:pt x="115" y="50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2" y="51"/>
                  </a:lnTo>
                  <a:lnTo>
                    <a:pt x="111" y="51"/>
                  </a:lnTo>
                  <a:lnTo>
                    <a:pt x="110" y="50"/>
                  </a:lnTo>
                  <a:lnTo>
                    <a:pt x="107" y="50"/>
                  </a:lnTo>
                  <a:lnTo>
                    <a:pt x="100" y="50"/>
                  </a:lnTo>
                  <a:lnTo>
                    <a:pt x="98" y="51"/>
                  </a:lnTo>
                  <a:lnTo>
                    <a:pt x="98" y="51"/>
                  </a:lnTo>
                  <a:lnTo>
                    <a:pt x="100" y="51"/>
                  </a:lnTo>
                  <a:lnTo>
                    <a:pt x="102" y="51"/>
                  </a:lnTo>
                  <a:lnTo>
                    <a:pt x="102" y="52"/>
                  </a:lnTo>
                  <a:lnTo>
                    <a:pt x="107" y="52"/>
                  </a:lnTo>
                  <a:lnTo>
                    <a:pt x="106" y="52"/>
                  </a:lnTo>
                  <a:lnTo>
                    <a:pt x="104" y="52"/>
                  </a:lnTo>
                  <a:lnTo>
                    <a:pt x="105" y="53"/>
                  </a:lnTo>
                  <a:lnTo>
                    <a:pt x="104" y="54"/>
                  </a:lnTo>
                  <a:lnTo>
                    <a:pt x="101" y="53"/>
                  </a:lnTo>
                  <a:lnTo>
                    <a:pt x="101" y="53"/>
                  </a:lnTo>
                  <a:lnTo>
                    <a:pt x="100" y="52"/>
                  </a:lnTo>
                  <a:lnTo>
                    <a:pt x="97" y="52"/>
                  </a:lnTo>
                  <a:lnTo>
                    <a:pt x="92" y="50"/>
                  </a:lnTo>
                  <a:lnTo>
                    <a:pt x="85" y="50"/>
                  </a:lnTo>
                  <a:lnTo>
                    <a:pt x="81" y="49"/>
                  </a:lnTo>
                  <a:lnTo>
                    <a:pt x="79" y="49"/>
                  </a:lnTo>
                  <a:lnTo>
                    <a:pt x="77" y="49"/>
                  </a:lnTo>
                  <a:lnTo>
                    <a:pt x="76" y="50"/>
                  </a:lnTo>
                  <a:lnTo>
                    <a:pt x="63" y="51"/>
                  </a:lnTo>
                  <a:lnTo>
                    <a:pt x="62" y="51"/>
                  </a:lnTo>
                  <a:lnTo>
                    <a:pt x="60" y="51"/>
                  </a:lnTo>
                  <a:lnTo>
                    <a:pt x="57" y="52"/>
                  </a:lnTo>
                  <a:lnTo>
                    <a:pt x="55" y="53"/>
                  </a:lnTo>
                  <a:lnTo>
                    <a:pt x="57" y="53"/>
                  </a:lnTo>
                  <a:lnTo>
                    <a:pt x="56" y="53"/>
                  </a:lnTo>
                  <a:lnTo>
                    <a:pt x="53" y="54"/>
                  </a:lnTo>
                  <a:lnTo>
                    <a:pt x="51" y="54"/>
                  </a:lnTo>
                  <a:lnTo>
                    <a:pt x="47" y="55"/>
                  </a:lnTo>
                  <a:lnTo>
                    <a:pt x="49" y="56"/>
                  </a:lnTo>
                  <a:lnTo>
                    <a:pt x="47" y="56"/>
                  </a:lnTo>
                  <a:lnTo>
                    <a:pt x="47" y="57"/>
                  </a:lnTo>
                  <a:lnTo>
                    <a:pt x="46" y="57"/>
                  </a:lnTo>
                  <a:lnTo>
                    <a:pt x="46" y="59"/>
                  </a:lnTo>
                  <a:lnTo>
                    <a:pt x="49" y="57"/>
                  </a:lnTo>
                  <a:lnTo>
                    <a:pt x="51" y="59"/>
                  </a:lnTo>
                  <a:lnTo>
                    <a:pt x="47" y="59"/>
                  </a:lnTo>
                  <a:lnTo>
                    <a:pt x="46" y="59"/>
                  </a:lnTo>
                  <a:lnTo>
                    <a:pt x="45" y="59"/>
                  </a:lnTo>
                  <a:lnTo>
                    <a:pt x="45" y="60"/>
                  </a:lnTo>
                  <a:lnTo>
                    <a:pt x="50" y="60"/>
                  </a:lnTo>
                  <a:lnTo>
                    <a:pt x="55" y="59"/>
                  </a:lnTo>
                  <a:lnTo>
                    <a:pt x="57" y="57"/>
                  </a:lnTo>
                  <a:lnTo>
                    <a:pt x="59" y="59"/>
                  </a:lnTo>
                  <a:lnTo>
                    <a:pt x="60" y="57"/>
                  </a:lnTo>
                  <a:lnTo>
                    <a:pt x="61" y="57"/>
                  </a:lnTo>
                  <a:lnTo>
                    <a:pt x="62" y="56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3" y="57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7" y="60"/>
                  </a:lnTo>
                  <a:lnTo>
                    <a:pt x="57" y="60"/>
                  </a:lnTo>
                  <a:lnTo>
                    <a:pt x="59" y="60"/>
                  </a:lnTo>
                  <a:lnTo>
                    <a:pt x="64" y="60"/>
                  </a:lnTo>
                  <a:lnTo>
                    <a:pt x="65" y="60"/>
                  </a:lnTo>
                  <a:lnTo>
                    <a:pt x="67" y="60"/>
                  </a:lnTo>
                  <a:lnTo>
                    <a:pt x="71" y="57"/>
                  </a:lnTo>
                  <a:lnTo>
                    <a:pt x="72" y="57"/>
                  </a:lnTo>
                  <a:lnTo>
                    <a:pt x="74" y="56"/>
                  </a:lnTo>
                  <a:lnTo>
                    <a:pt x="76" y="55"/>
                  </a:lnTo>
                  <a:lnTo>
                    <a:pt x="77" y="54"/>
                  </a:lnTo>
                  <a:lnTo>
                    <a:pt x="79" y="54"/>
                  </a:lnTo>
                  <a:lnTo>
                    <a:pt x="81" y="53"/>
                  </a:lnTo>
                  <a:lnTo>
                    <a:pt x="77" y="54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7" y="56"/>
                  </a:lnTo>
                  <a:lnTo>
                    <a:pt x="79" y="56"/>
                  </a:lnTo>
                  <a:lnTo>
                    <a:pt x="77" y="56"/>
                  </a:lnTo>
                  <a:lnTo>
                    <a:pt x="75" y="57"/>
                  </a:lnTo>
                  <a:lnTo>
                    <a:pt x="74" y="57"/>
                  </a:lnTo>
                  <a:lnTo>
                    <a:pt x="73" y="59"/>
                  </a:lnTo>
                  <a:lnTo>
                    <a:pt x="73" y="59"/>
                  </a:lnTo>
                  <a:lnTo>
                    <a:pt x="76" y="59"/>
                  </a:lnTo>
                  <a:lnTo>
                    <a:pt x="79" y="59"/>
                  </a:lnTo>
                  <a:lnTo>
                    <a:pt x="80" y="59"/>
                  </a:lnTo>
                  <a:lnTo>
                    <a:pt x="80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0" y="60"/>
                  </a:lnTo>
                  <a:lnTo>
                    <a:pt x="75" y="59"/>
                  </a:lnTo>
                  <a:lnTo>
                    <a:pt x="71" y="59"/>
                  </a:lnTo>
                  <a:lnTo>
                    <a:pt x="69" y="60"/>
                  </a:lnTo>
                  <a:lnTo>
                    <a:pt x="69" y="60"/>
                  </a:lnTo>
                  <a:lnTo>
                    <a:pt x="67" y="60"/>
                  </a:lnTo>
                  <a:lnTo>
                    <a:pt x="70" y="61"/>
                  </a:lnTo>
                  <a:lnTo>
                    <a:pt x="67" y="61"/>
                  </a:lnTo>
                  <a:lnTo>
                    <a:pt x="65" y="61"/>
                  </a:lnTo>
                  <a:lnTo>
                    <a:pt x="64" y="61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1" y="63"/>
                  </a:lnTo>
                  <a:lnTo>
                    <a:pt x="63" y="62"/>
                  </a:lnTo>
                  <a:lnTo>
                    <a:pt x="67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69" y="62"/>
                  </a:lnTo>
                  <a:lnTo>
                    <a:pt x="66" y="63"/>
                  </a:lnTo>
                  <a:lnTo>
                    <a:pt x="66" y="63"/>
                  </a:lnTo>
                  <a:lnTo>
                    <a:pt x="66" y="62"/>
                  </a:lnTo>
                  <a:lnTo>
                    <a:pt x="63" y="63"/>
                  </a:lnTo>
                  <a:lnTo>
                    <a:pt x="62" y="63"/>
                  </a:lnTo>
                  <a:lnTo>
                    <a:pt x="62" y="63"/>
                  </a:lnTo>
                  <a:lnTo>
                    <a:pt x="61" y="63"/>
                  </a:lnTo>
                  <a:lnTo>
                    <a:pt x="65" y="63"/>
                  </a:lnTo>
                  <a:lnTo>
                    <a:pt x="63" y="64"/>
                  </a:lnTo>
                  <a:lnTo>
                    <a:pt x="62" y="64"/>
                  </a:lnTo>
                  <a:lnTo>
                    <a:pt x="62" y="64"/>
                  </a:lnTo>
                  <a:lnTo>
                    <a:pt x="61" y="65"/>
                  </a:lnTo>
                  <a:lnTo>
                    <a:pt x="64" y="66"/>
                  </a:lnTo>
                  <a:lnTo>
                    <a:pt x="67" y="65"/>
                  </a:lnTo>
                  <a:lnTo>
                    <a:pt x="67" y="64"/>
                  </a:lnTo>
                  <a:lnTo>
                    <a:pt x="69" y="64"/>
                  </a:lnTo>
                  <a:lnTo>
                    <a:pt x="69" y="65"/>
                  </a:lnTo>
                  <a:lnTo>
                    <a:pt x="64" y="66"/>
                  </a:lnTo>
                  <a:lnTo>
                    <a:pt x="64" y="67"/>
                  </a:lnTo>
                  <a:lnTo>
                    <a:pt x="67" y="67"/>
                  </a:lnTo>
                  <a:lnTo>
                    <a:pt x="70" y="66"/>
                  </a:lnTo>
                  <a:lnTo>
                    <a:pt x="74" y="67"/>
                  </a:lnTo>
                  <a:lnTo>
                    <a:pt x="77" y="66"/>
                  </a:lnTo>
                  <a:lnTo>
                    <a:pt x="81" y="66"/>
                  </a:lnTo>
                  <a:lnTo>
                    <a:pt x="83" y="64"/>
                  </a:lnTo>
                  <a:lnTo>
                    <a:pt x="86" y="64"/>
                  </a:lnTo>
                  <a:lnTo>
                    <a:pt x="87" y="63"/>
                  </a:lnTo>
                  <a:lnTo>
                    <a:pt x="91" y="62"/>
                  </a:lnTo>
                  <a:lnTo>
                    <a:pt x="92" y="61"/>
                  </a:lnTo>
                  <a:lnTo>
                    <a:pt x="93" y="61"/>
                  </a:lnTo>
                  <a:lnTo>
                    <a:pt x="94" y="60"/>
                  </a:lnTo>
                  <a:lnTo>
                    <a:pt x="96" y="61"/>
                  </a:lnTo>
                  <a:lnTo>
                    <a:pt x="93" y="61"/>
                  </a:lnTo>
                  <a:lnTo>
                    <a:pt x="93" y="62"/>
                  </a:lnTo>
                  <a:lnTo>
                    <a:pt x="91" y="63"/>
                  </a:lnTo>
                  <a:lnTo>
                    <a:pt x="86" y="64"/>
                  </a:lnTo>
                  <a:lnTo>
                    <a:pt x="86" y="64"/>
                  </a:lnTo>
                  <a:lnTo>
                    <a:pt x="84" y="65"/>
                  </a:lnTo>
                  <a:lnTo>
                    <a:pt x="80" y="66"/>
                  </a:lnTo>
                  <a:lnTo>
                    <a:pt x="79" y="67"/>
                  </a:lnTo>
                  <a:lnTo>
                    <a:pt x="75" y="67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76" y="69"/>
                  </a:lnTo>
                  <a:lnTo>
                    <a:pt x="76" y="69"/>
                  </a:lnTo>
                  <a:lnTo>
                    <a:pt x="74" y="69"/>
                  </a:lnTo>
                  <a:lnTo>
                    <a:pt x="72" y="69"/>
                  </a:lnTo>
                  <a:lnTo>
                    <a:pt x="71" y="69"/>
                  </a:lnTo>
                  <a:lnTo>
                    <a:pt x="65" y="69"/>
                  </a:lnTo>
                  <a:lnTo>
                    <a:pt x="66" y="70"/>
                  </a:lnTo>
                  <a:lnTo>
                    <a:pt x="66" y="70"/>
                  </a:lnTo>
                  <a:lnTo>
                    <a:pt x="65" y="70"/>
                  </a:lnTo>
                  <a:lnTo>
                    <a:pt x="64" y="70"/>
                  </a:lnTo>
                  <a:lnTo>
                    <a:pt x="61" y="69"/>
                  </a:lnTo>
                  <a:lnTo>
                    <a:pt x="56" y="69"/>
                  </a:lnTo>
                  <a:lnTo>
                    <a:pt x="54" y="69"/>
                  </a:lnTo>
                  <a:lnTo>
                    <a:pt x="53" y="69"/>
                  </a:lnTo>
                  <a:lnTo>
                    <a:pt x="54" y="67"/>
                  </a:lnTo>
                  <a:lnTo>
                    <a:pt x="53" y="67"/>
                  </a:lnTo>
                  <a:lnTo>
                    <a:pt x="54" y="66"/>
                  </a:lnTo>
                  <a:lnTo>
                    <a:pt x="53" y="65"/>
                  </a:lnTo>
                  <a:lnTo>
                    <a:pt x="53" y="65"/>
                  </a:lnTo>
                  <a:lnTo>
                    <a:pt x="53" y="64"/>
                  </a:lnTo>
                  <a:lnTo>
                    <a:pt x="53" y="64"/>
                  </a:lnTo>
                  <a:lnTo>
                    <a:pt x="51" y="63"/>
                  </a:lnTo>
                  <a:lnTo>
                    <a:pt x="42" y="62"/>
                  </a:lnTo>
                  <a:lnTo>
                    <a:pt x="35" y="63"/>
                  </a:lnTo>
                  <a:lnTo>
                    <a:pt x="34" y="63"/>
                  </a:lnTo>
                  <a:lnTo>
                    <a:pt x="32" y="63"/>
                  </a:lnTo>
                  <a:lnTo>
                    <a:pt x="31" y="63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29" y="65"/>
                  </a:lnTo>
                  <a:lnTo>
                    <a:pt x="32" y="66"/>
                  </a:lnTo>
                  <a:lnTo>
                    <a:pt x="31" y="66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1" y="69"/>
                  </a:lnTo>
                  <a:lnTo>
                    <a:pt x="31" y="70"/>
                  </a:lnTo>
                  <a:lnTo>
                    <a:pt x="31" y="70"/>
                  </a:lnTo>
                  <a:lnTo>
                    <a:pt x="34" y="70"/>
                  </a:lnTo>
                  <a:lnTo>
                    <a:pt x="36" y="70"/>
                  </a:lnTo>
                  <a:lnTo>
                    <a:pt x="39" y="70"/>
                  </a:lnTo>
                  <a:lnTo>
                    <a:pt x="39" y="70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4" y="71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5" y="72"/>
                  </a:lnTo>
                  <a:lnTo>
                    <a:pt x="37" y="72"/>
                  </a:lnTo>
                  <a:lnTo>
                    <a:pt x="36" y="72"/>
                  </a:lnTo>
                  <a:lnTo>
                    <a:pt x="36" y="73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1" y="72"/>
                  </a:lnTo>
                  <a:lnTo>
                    <a:pt x="30" y="73"/>
                  </a:lnTo>
                  <a:lnTo>
                    <a:pt x="30" y="73"/>
                  </a:lnTo>
                  <a:lnTo>
                    <a:pt x="27" y="73"/>
                  </a:lnTo>
                  <a:lnTo>
                    <a:pt x="27" y="73"/>
                  </a:lnTo>
                  <a:lnTo>
                    <a:pt x="27" y="73"/>
                  </a:lnTo>
                  <a:lnTo>
                    <a:pt x="25" y="73"/>
                  </a:lnTo>
                  <a:lnTo>
                    <a:pt x="24" y="73"/>
                  </a:lnTo>
                  <a:lnTo>
                    <a:pt x="22" y="73"/>
                  </a:lnTo>
                  <a:lnTo>
                    <a:pt x="21" y="73"/>
                  </a:lnTo>
                  <a:lnTo>
                    <a:pt x="20" y="74"/>
                  </a:lnTo>
                  <a:lnTo>
                    <a:pt x="17" y="74"/>
                  </a:lnTo>
                  <a:lnTo>
                    <a:pt x="15" y="74"/>
                  </a:lnTo>
                  <a:lnTo>
                    <a:pt x="14" y="75"/>
                  </a:lnTo>
                  <a:lnTo>
                    <a:pt x="6" y="76"/>
                  </a:lnTo>
                  <a:lnTo>
                    <a:pt x="4" y="77"/>
                  </a:lnTo>
                  <a:lnTo>
                    <a:pt x="3" y="79"/>
                  </a:lnTo>
                  <a:lnTo>
                    <a:pt x="2" y="79"/>
                  </a:lnTo>
                  <a:lnTo>
                    <a:pt x="1" y="80"/>
                  </a:lnTo>
                  <a:lnTo>
                    <a:pt x="0" y="80"/>
                  </a:lnTo>
                  <a:lnTo>
                    <a:pt x="2" y="82"/>
                  </a:lnTo>
                  <a:lnTo>
                    <a:pt x="3" y="82"/>
                  </a:lnTo>
                  <a:lnTo>
                    <a:pt x="6" y="81"/>
                  </a:lnTo>
                  <a:lnTo>
                    <a:pt x="8" y="80"/>
                  </a:lnTo>
                  <a:lnTo>
                    <a:pt x="8" y="82"/>
                  </a:lnTo>
                  <a:lnTo>
                    <a:pt x="10" y="81"/>
                  </a:lnTo>
                  <a:lnTo>
                    <a:pt x="11" y="77"/>
                  </a:lnTo>
                  <a:lnTo>
                    <a:pt x="13" y="77"/>
                  </a:lnTo>
                  <a:lnTo>
                    <a:pt x="13" y="79"/>
                  </a:lnTo>
                  <a:lnTo>
                    <a:pt x="11" y="80"/>
                  </a:lnTo>
                  <a:lnTo>
                    <a:pt x="10" y="82"/>
                  </a:lnTo>
                  <a:lnTo>
                    <a:pt x="13" y="82"/>
                  </a:lnTo>
                  <a:lnTo>
                    <a:pt x="13" y="83"/>
                  </a:lnTo>
                  <a:lnTo>
                    <a:pt x="16" y="83"/>
                  </a:lnTo>
                  <a:lnTo>
                    <a:pt x="19" y="82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22" y="82"/>
                  </a:lnTo>
                  <a:lnTo>
                    <a:pt x="22" y="83"/>
                  </a:lnTo>
                  <a:lnTo>
                    <a:pt x="24" y="83"/>
                  </a:lnTo>
                  <a:lnTo>
                    <a:pt x="26" y="82"/>
                  </a:lnTo>
                  <a:lnTo>
                    <a:pt x="30" y="81"/>
                  </a:lnTo>
                  <a:lnTo>
                    <a:pt x="31" y="80"/>
                  </a:lnTo>
                  <a:lnTo>
                    <a:pt x="31" y="81"/>
                  </a:lnTo>
                  <a:lnTo>
                    <a:pt x="31" y="82"/>
                  </a:lnTo>
                  <a:lnTo>
                    <a:pt x="29" y="83"/>
                  </a:lnTo>
                  <a:lnTo>
                    <a:pt x="27" y="83"/>
                  </a:lnTo>
                  <a:lnTo>
                    <a:pt x="33" y="83"/>
                  </a:lnTo>
                  <a:lnTo>
                    <a:pt x="30" y="81"/>
                  </a:lnTo>
                  <a:lnTo>
                    <a:pt x="31" y="80"/>
                  </a:lnTo>
                  <a:lnTo>
                    <a:pt x="31" y="81"/>
                  </a:lnTo>
                  <a:lnTo>
                    <a:pt x="31" y="82"/>
                  </a:lnTo>
                  <a:lnTo>
                    <a:pt x="29" y="83"/>
                  </a:lnTo>
                  <a:lnTo>
                    <a:pt x="27" y="83"/>
                  </a:lnTo>
                  <a:lnTo>
                    <a:pt x="33" y="83"/>
                  </a:lnTo>
                  <a:lnTo>
                    <a:pt x="35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9" y="84"/>
                  </a:lnTo>
                  <a:lnTo>
                    <a:pt x="45" y="82"/>
                  </a:lnTo>
                  <a:lnTo>
                    <a:pt x="46" y="81"/>
                  </a:lnTo>
                  <a:lnTo>
                    <a:pt x="47" y="82"/>
                  </a:lnTo>
                  <a:lnTo>
                    <a:pt x="50" y="82"/>
                  </a:lnTo>
                  <a:lnTo>
                    <a:pt x="54" y="81"/>
                  </a:lnTo>
                  <a:lnTo>
                    <a:pt x="56" y="80"/>
                  </a:lnTo>
                  <a:lnTo>
                    <a:pt x="59" y="82"/>
                  </a:lnTo>
                  <a:lnTo>
                    <a:pt x="62" y="82"/>
                  </a:lnTo>
                  <a:lnTo>
                    <a:pt x="64" y="82"/>
                  </a:lnTo>
                  <a:lnTo>
                    <a:pt x="66" y="81"/>
                  </a:lnTo>
                  <a:lnTo>
                    <a:pt x="66" y="79"/>
                  </a:lnTo>
                  <a:lnTo>
                    <a:pt x="66" y="77"/>
                  </a:lnTo>
                  <a:lnTo>
                    <a:pt x="67" y="79"/>
                  </a:lnTo>
                  <a:lnTo>
                    <a:pt x="67" y="82"/>
                  </a:lnTo>
                  <a:lnTo>
                    <a:pt x="69" y="83"/>
                  </a:lnTo>
                  <a:lnTo>
                    <a:pt x="75" y="82"/>
                  </a:lnTo>
                  <a:lnTo>
                    <a:pt x="77" y="81"/>
                  </a:lnTo>
                  <a:lnTo>
                    <a:pt x="77" y="80"/>
                  </a:lnTo>
                  <a:lnTo>
                    <a:pt x="75" y="79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79" y="81"/>
                  </a:lnTo>
                  <a:lnTo>
                    <a:pt x="80" y="82"/>
                  </a:lnTo>
                  <a:lnTo>
                    <a:pt x="83" y="82"/>
                  </a:lnTo>
                  <a:lnTo>
                    <a:pt x="86" y="81"/>
                  </a:lnTo>
                  <a:lnTo>
                    <a:pt x="89" y="82"/>
                  </a:lnTo>
                  <a:lnTo>
                    <a:pt x="90" y="82"/>
                  </a:lnTo>
                  <a:lnTo>
                    <a:pt x="89" y="83"/>
                  </a:lnTo>
                  <a:lnTo>
                    <a:pt x="86" y="84"/>
                  </a:lnTo>
                  <a:lnTo>
                    <a:pt x="84" y="85"/>
                  </a:lnTo>
                  <a:lnTo>
                    <a:pt x="85" y="86"/>
                  </a:lnTo>
                  <a:lnTo>
                    <a:pt x="95" y="84"/>
                  </a:lnTo>
                  <a:lnTo>
                    <a:pt x="101" y="84"/>
                  </a:lnTo>
                  <a:lnTo>
                    <a:pt x="105" y="83"/>
                  </a:lnTo>
                  <a:lnTo>
                    <a:pt x="112" y="81"/>
                  </a:lnTo>
                  <a:lnTo>
                    <a:pt x="111" y="82"/>
                  </a:lnTo>
                  <a:lnTo>
                    <a:pt x="116" y="81"/>
                  </a:lnTo>
                  <a:lnTo>
                    <a:pt x="117" y="81"/>
                  </a:lnTo>
                  <a:lnTo>
                    <a:pt x="122" y="80"/>
                  </a:lnTo>
                  <a:lnTo>
                    <a:pt x="123" y="79"/>
                  </a:lnTo>
                  <a:lnTo>
                    <a:pt x="125" y="77"/>
                  </a:lnTo>
                  <a:lnTo>
                    <a:pt x="126" y="75"/>
                  </a:lnTo>
                  <a:lnTo>
                    <a:pt x="125" y="75"/>
                  </a:lnTo>
                  <a:lnTo>
                    <a:pt x="122" y="75"/>
                  </a:lnTo>
                  <a:lnTo>
                    <a:pt x="118" y="76"/>
                  </a:lnTo>
                  <a:lnTo>
                    <a:pt x="116" y="76"/>
                  </a:lnTo>
                  <a:lnTo>
                    <a:pt x="114" y="76"/>
                  </a:lnTo>
                  <a:lnTo>
                    <a:pt x="115" y="75"/>
                  </a:lnTo>
                  <a:lnTo>
                    <a:pt x="112" y="75"/>
                  </a:lnTo>
                  <a:lnTo>
                    <a:pt x="113" y="74"/>
                  </a:lnTo>
                  <a:lnTo>
                    <a:pt x="114" y="74"/>
                  </a:lnTo>
                  <a:lnTo>
                    <a:pt x="117" y="74"/>
                  </a:lnTo>
                  <a:lnTo>
                    <a:pt x="118" y="73"/>
                  </a:lnTo>
                  <a:lnTo>
                    <a:pt x="118" y="73"/>
                  </a:lnTo>
                  <a:lnTo>
                    <a:pt x="117" y="72"/>
                  </a:lnTo>
                  <a:lnTo>
                    <a:pt x="115" y="72"/>
                  </a:lnTo>
                  <a:lnTo>
                    <a:pt x="112" y="72"/>
                  </a:lnTo>
                  <a:lnTo>
                    <a:pt x="105" y="73"/>
                  </a:lnTo>
                  <a:lnTo>
                    <a:pt x="104" y="73"/>
                  </a:lnTo>
                  <a:lnTo>
                    <a:pt x="107" y="72"/>
                  </a:lnTo>
                  <a:lnTo>
                    <a:pt x="107" y="72"/>
                  </a:lnTo>
                  <a:lnTo>
                    <a:pt x="100" y="71"/>
                  </a:lnTo>
                  <a:lnTo>
                    <a:pt x="95" y="72"/>
                  </a:lnTo>
                  <a:lnTo>
                    <a:pt x="89" y="73"/>
                  </a:lnTo>
                  <a:lnTo>
                    <a:pt x="89" y="73"/>
                  </a:lnTo>
                  <a:lnTo>
                    <a:pt x="90" y="72"/>
                  </a:lnTo>
                  <a:lnTo>
                    <a:pt x="89" y="71"/>
                  </a:lnTo>
                  <a:lnTo>
                    <a:pt x="92" y="71"/>
                  </a:lnTo>
                  <a:lnTo>
                    <a:pt x="97" y="71"/>
                  </a:lnTo>
                  <a:lnTo>
                    <a:pt x="98" y="70"/>
                  </a:lnTo>
                  <a:lnTo>
                    <a:pt x="95" y="70"/>
                  </a:lnTo>
                  <a:lnTo>
                    <a:pt x="95" y="69"/>
                  </a:lnTo>
                  <a:lnTo>
                    <a:pt x="96" y="69"/>
                  </a:lnTo>
                  <a:lnTo>
                    <a:pt x="100" y="70"/>
                  </a:lnTo>
                  <a:lnTo>
                    <a:pt x="105" y="71"/>
                  </a:lnTo>
                  <a:lnTo>
                    <a:pt x="121" y="71"/>
                  </a:lnTo>
                  <a:lnTo>
                    <a:pt x="123" y="70"/>
                  </a:lnTo>
                  <a:lnTo>
                    <a:pt x="124" y="70"/>
                  </a:lnTo>
                  <a:lnTo>
                    <a:pt x="123" y="71"/>
                  </a:lnTo>
                  <a:lnTo>
                    <a:pt x="123" y="71"/>
                  </a:lnTo>
                  <a:lnTo>
                    <a:pt x="130" y="70"/>
                  </a:lnTo>
                  <a:lnTo>
                    <a:pt x="134" y="69"/>
                  </a:lnTo>
                  <a:lnTo>
                    <a:pt x="135" y="67"/>
                  </a:lnTo>
                  <a:lnTo>
                    <a:pt x="135" y="67"/>
                  </a:lnTo>
                  <a:lnTo>
                    <a:pt x="138" y="66"/>
                  </a:lnTo>
                  <a:lnTo>
                    <a:pt x="140" y="66"/>
                  </a:lnTo>
                  <a:lnTo>
                    <a:pt x="136" y="65"/>
                  </a:lnTo>
                  <a:lnTo>
                    <a:pt x="136" y="64"/>
                  </a:lnTo>
                  <a:lnTo>
                    <a:pt x="137" y="64"/>
                  </a:lnTo>
                  <a:lnTo>
                    <a:pt x="137" y="63"/>
                  </a:lnTo>
                  <a:lnTo>
                    <a:pt x="136" y="63"/>
                  </a:lnTo>
                  <a:lnTo>
                    <a:pt x="136" y="63"/>
                  </a:lnTo>
                  <a:lnTo>
                    <a:pt x="137" y="62"/>
                  </a:lnTo>
                  <a:lnTo>
                    <a:pt x="137" y="62"/>
                  </a:lnTo>
                  <a:lnTo>
                    <a:pt x="137" y="62"/>
                  </a:lnTo>
                  <a:lnTo>
                    <a:pt x="140" y="62"/>
                  </a:lnTo>
                  <a:lnTo>
                    <a:pt x="148" y="62"/>
                  </a:lnTo>
                  <a:lnTo>
                    <a:pt x="150" y="62"/>
                  </a:lnTo>
                  <a:lnTo>
                    <a:pt x="153" y="62"/>
                  </a:lnTo>
                  <a:lnTo>
                    <a:pt x="158" y="61"/>
                  </a:lnTo>
                  <a:lnTo>
                    <a:pt x="161" y="61"/>
                  </a:lnTo>
                  <a:lnTo>
                    <a:pt x="161" y="62"/>
                  </a:lnTo>
                  <a:lnTo>
                    <a:pt x="165" y="61"/>
                  </a:lnTo>
                  <a:lnTo>
                    <a:pt x="165" y="60"/>
                  </a:lnTo>
                  <a:lnTo>
                    <a:pt x="167" y="60"/>
                  </a:lnTo>
                  <a:lnTo>
                    <a:pt x="157" y="59"/>
                  </a:lnTo>
                  <a:lnTo>
                    <a:pt x="154" y="59"/>
                  </a:lnTo>
                  <a:lnTo>
                    <a:pt x="157" y="57"/>
                  </a:lnTo>
                  <a:lnTo>
                    <a:pt x="162" y="57"/>
                  </a:lnTo>
                  <a:lnTo>
                    <a:pt x="167" y="59"/>
                  </a:lnTo>
                  <a:lnTo>
                    <a:pt x="171" y="57"/>
                  </a:lnTo>
                  <a:lnTo>
                    <a:pt x="175" y="56"/>
                  </a:lnTo>
                  <a:lnTo>
                    <a:pt x="175" y="56"/>
                  </a:lnTo>
                  <a:lnTo>
                    <a:pt x="175" y="55"/>
                  </a:lnTo>
                  <a:lnTo>
                    <a:pt x="173" y="55"/>
                  </a:lnTo>
                  <a:lnTo>
                    <a:pt x="168" y="55"/>
                  </a:lnTo>
                  <a:lnTo>
                    <a:pt x="166" y="54"/>
                  </a:lnTo>
                  <a:lnTo>
                    <a:pt x="164" y="54"/>
                  </a:lnTo>
                  <a:lnTo>
                    <a:pt x="166" y="54"/>
                  </a:lnTo>
                  <a:lnTo>
                    <a:pt x="168" y="54"/>
                  </a:lnTo>
                  <a:lnTo>
                    <a:pt x="176" y="54"/>
                  </a:lnTo>
                  <a:lnTo>
                    <a:pt x="178" y="54"/>
                  </a:lnTo>
                  <a:lnTo>
                    <a:pt x="179" y="53"/>
                  </a:lnTo>
                  <a:lnTo>
                    <a:pt x="183" y="53"/>
                  </a:lnTo>
                  <a:lnTo>
                    <a:pt x="183" y="52"/>
                  </a:lnTo>
                  <a:lnTo>
                    <a:pt x="183" y="52"/>
                  </a:lnTo>
                  <a:lnTo>
                    <a:pt x="184" y="52"/>
                  </a:lnTo>
                  <a:lnTo>
                    <a:pt x="185" y="51"/>
                  </a:lnTo>
                  <a:lnTo>
                    <a:pt x="185" y="50"/>
                  </a:lnTo>
                  <a:lnTo>
                    <a:pt x="183" y="50"/>
                  </a:lnTo>
                  <a:lnTo>
                    <a:pt x="178" y="49"/>
                  </a:lnTo>
                  <a:lnTo>
                    <a:pt x="171" y="49"/>
                  </a:lnTo>
                  <a:lnTo>
                    <a:pt x="172" y="49"/>
                  </a:lnTo>
                  <a:lnTo>
                    <a:pt x="174" y="49"/>
                  </a:lnTo>
                  <a:lnTo>
                    <a:pt x="176" y="49"/>
                  </a:lnTo>
                  <a:lnTo>
                    <a:pt x="176" y="47"/>
                  </a:lnTo>
                  <a:lnTo>
                    <a:pt x="175" y="47"/>
                  </a:lnTo>
                  <a:lnTo>
                    <a:pt x="162" y="47"/>
                  </a:lnTo>
                  <a:lnTo>
                    <a:pt x="160" y="47"/>
                  </a:lnTo>
                  <a:lnTo>
                    <a:pt x="157" y="49"/>
                  </a:lnTo>
                  <a:lnTo>
                    <a:pt x="155" y="49"/>
                  </a:lnTo>
                  <a:lnTo>
                    <a:pt x="157" y="47"/>
                  </a:lnTo>
                  <a:lnTo>
                    <a:pt x="158" y="47"/>
                  </a:lnTo>
                  <a:lnTo>
                    <a:pt x="157" y="47"/>
                  </a:lnTo>
                  <a:lnTo>
                    <a:pt x="156" y="46"/>
                  </a:lnTo>
                  <a:lnTo>
                    <a:pt x="161" y="47"/>
                  </a:lnTo>
                  <a:lnTo>
                    <a:pt x="170" y="46"/>
                  </a:lnTo>
                  <a:lnTo>
                    <a:pt x="174" y="46"/>
                  </a:lnTo>
                  <a:lnTo>
                    <a:pt x="175" y="46"/>
                  </a:lnTo>
                  <a:lnTo>
                    <a:pt x="171" y="46"/>
                  </a:lnTo>
                  <a:lnTo>
                    <a:pt x="160" y="45"/>
                  </a:lnTo>
                  <a:lnTo>
                    <a:pt x="158" y="45"/>
                  </a:lnTo>
                  <a:lnTo>
                    <a:pt x="161" y="45"/>
                  </a:lnTo>
                  <a:lnTo>
                    <a:pt x="170" y="45"/>
                  </a:lnTo>
                  <a:lnTo>
                    <a:pt x="172" y="45"/>
                  </a:lnTo>
                  <a:lnTo>
                    <a:pt x="175" y="45"/>
                  </a:lnTo>
                  <a:lnTo>
                    <a:pt x="177" y="45"/>
                  </a:lnTo>
                  <a:lnTo>
                    <a:pt x="178" y="45"/>
                  </a:lnTo>
                  <a:lnTo>
                    <a:pt x="177" y="46"/>
                  </a:lnTo>
                  <a:lnTo>
                    <a:pt x="178" y="46"/>
                  </a:lnTo>
                  <a:lnTo>
                    <a:pt x="179" y="47"/>
                  </a:lnTo>
                  <a:lnTo>
                    <a:pt x="188" y="47"/>
                  </a:lnTo>
                  <a:lnTo>
                    <a:pt x="191" y="47"/>
                  </a:lnTo>
                  <a:lnTo>
                    <a:pt x="191" y="46"/>
                  </a:lnTo>
                  <a:lnTo>
                    <a:pt x="192" y="46"/>
                  </a:lnTo>
                  <a:lnTo>
                    <a:pt x="189" y="45"/>
                  </a:lnTo>
                  <a:lnTo>
                    <a:pt x="193" y="44"/>
                  </a:lnTo>
                  <a:lnTo>
                    <a:pt x="192" y="44"/>
                  </a:lnTo>
                  <a:lnTo>
                    <a:pt x="179" y="44"/>
                  </a:lnTo>
                  <a:lnTo>
                    <a:pt x="178" y="44"/>
                  </a:lnTo>
                  <a:lnTo>
                    <a:pt x="167" y="44"/>
                  </a:lnTo>
                  <a:lnTo>
                    <a:pt x="162" y="45"/>
                  </a:lnTo>
                  <a:lnTo>
                    <a:pt x="164" y="44"/>
                  </a:lnTo>
                  <a:lnTo>
                    <a:pt x="165" y="44"/>
                  </a:lnTo>
                  <a:lnTo>
                    <a:pt x="161" y="44"/>
                  </a:lnTo>
                  <a:lnTo>
                    <a:pt x="160" y="43"/>
                  </a:lnTo>
                  <a:lnTo>
                    <a:pt x="163" y="43"/>
                  </a:lnTo>
                  <a:lnTo>
                    <a:pt x="167" y="43"/>
                  </a:lnTo>
                  <a:lnTo>
                    <a:pt x="167" y="42"/>
                  </a:lnTo>
                  <a:lnTo>
                    <a:pt x="167" y="42"/>
                  </a:lnTo>
                  <a:lnTo>
                    <a:pt x="168" y="42"/>
                  </a:lnTo>
                  <a:lnTo>
                    <a:pt x="168" y="42"/>
                  </a:lnTo>
                  <a:lnTo>
                    <a:pt x="170" y="43"/>
                  </a:lnTo>
                  <a:lnTo>
                    <a:pt x="171" y="43"/>
                  </a:lnTo>
                  <a:lnTo>
                    <a:pt x="179" y="43"/>
                  </a:lnTo>
                  <a:lnTo>
                    <a:pt x="181" y="43"/>
                  </a:lnTo>
                  <a:lnTo>
                    <a:pt x="178" y="42"/>
                  </a:lnTo>
                  <a:lnTo>
                    <a:pt x="178" y="42"/>
                  </a:lnTo>
                  <a:lnTo>
                    <a:pt x="170" y="42"/>
                  </a:lnTo>
                  <a:lnTo>
                    <a:pt x="170" y="41"/>
                  </a:lnTo>
                  <a:lnTo>
                    <a:pt x="171" y="41"/>
                  </a:lnTo>
                  <a:lnTo>
                    <a:pt x="177" y="41"/>
                  </a:lnTo>
                  <a:lnTo>
                    <a:pt x="183" y="42"/>
                  </a:lnTo>
                  <a:lnTo>
                    <a:pt x="188" y="43"/>
                  </a:lnTo>
                  <a:lnTo>
                    <a:pt x="191" y="42"/>
                  </a:lnTo>
                  <a:lnTo>
                    <a:pt x="191" y="42"/>
                  </a:lnTo>
                  <a:lnTo>
                    <a:pt x="192" y="42"/>
                  </a:lnTo>
                  <a:lnTo>
                    <a:pt x="197" y="42"/>
                  </a:lnTo>
                  <a:lnTo>
                    <a:pt x="199" y="41"/>
                  </a:lnTo>
                  <a:lnTo>
                    <a:pt x="199" y="41"/>
                  </a:lnTo>
                  <a:lnTo>
                    <a:pt x="201" y="41"/>
                  </a:lnTo>
                  <a:lnTo>
                    <a:pt x="202" y="41"/>
                  </a:lnTo>
                  <a:lnTo>
                    <a:pt x="203" y="41"/>
                  </a:lnTo>
                  <a:lnTo>
                    <a:pt x="205" y="41"/>
                  </a:lnTo>
                  <a:lnTo>
                    <a:pt x="207" y="40"/>
                  </a:lnTo>
                  <a:lnTo>
                    <a:pt x="207" y="40"/>
                  </a:lnTo>
                  <a:lnTo>
                    <a:pt x="207" y="39"/>
                  </a:lnTo>
                  <a:lnTo>
                    <a:pt x="207" y="39"/>
                  </a:lnTo>
                  <a:lnTo>
                    <a:pt x="197" y="37"/>
                  </a:lnTo>
                  <a:lnTo>
                    <a:pt x="198" y="37"/>
                  </a:lnTo>
                  <a:lnTo>
                    <a:pt x="202" y="36"/>
                  </a:lnTo>
                  <a:lnTo>
                    <a:pt x="205" y="37"/>
                  </a:lnTo>
                  <a:lnTo>
                    <a:pt x="211" y="37"/>
                  </a:lnTo>
                  <a:lnTo>
                    <a:pt x="209" y="39"/>
                  </a:lnTo>
                  <a:lnTo>
                    <a:pt x="209" y="39"/>
                  </a:lnTo>
                  <a:lnTo>
                    <a:pt x="212" y="39"/>
                  </a:lnTo>
                  <a:lnTo>
                    <a:pt x="214" y="39"/>
                  </a:lnTo>
                  <a:lnTo>
                    <a:pt x="214" y="40"/>
                  </a:lnTo>
                  <a:lnTo>
                    <a:pt x="218" y="39"/>
                  </a:lnTo>
                  <a:lnTo>
                    <a:pt x="223" y="39"/>
                  </a:lnTo>
                  <a:lnTo>
                    <a:pt x="225" y="39"/>
                  </a:lnTo>
                  <a:lnTo>
                    <a:pt x="227" y="39"/>
                  </a:lnTo>
                  <a:lnTo>
                    <a:pt x="233" y="36"/>
                  </a:lnTo>
                  <a:lnTo>
                    <a:pt x="232" y="36"/>
                  </a:lnTo>
                  <a:lnTo>
                    <a:pt x="228" y="36"/>
                  </a:lnTo>
                  <a:lnTo>
                    <a:pt x="229" y="36"/>
                  </a:lnTo>
                  <a:lnTo>
                    <a:pt x="232" y="35"/>
                  </a:lnTo>
                  <a:lnTo>
                    <a:pt x="236" y="35"/>
                  </a:lnTo>
                  <a:lnTo>
                    <a:pt x="236" y="35"/>
                  </a:lnTo>
                  <a:lnTo>
                    <a:pt x="239" y="34"/>
                  </a:lnTo>
                  <a:lnTo>
                    <a:pt x="241" y="34"/>
                  </a:lnTo>
                  <a:lnTo>
                    <a:pt x="237" y="33"/>
                  </a:lnTo>
                  <a:lnTo>
                    <a:pt x="226" y="34"/>
                  </a:lnTo>
                  <a:lnTo>
                    <a:pt x="222" y="34"/>
                  </a:lnTo>
                  <a:lnTo>
                    <a:pt x="224" y="34"/>
                  </a:lnTo>
                  <a:lnTo>
                    <a:pt x="226" y="33"/>
                  </a:lnTo>
                  <a:lnTo>
                    <a:pt x="227" y="34"/>
                  </a:lnTo>
                  <a:lnTo>
                    <a:pt x="232" y="33"/>
                  </a:lnTo>
                  <a:lnTo>
                    <a:pt x="239" y="33"/>
                  </a:lnTo>
                  <a:lnTo>
                    <a:pt x="246" y="33"/>
                  </a:lnTo>
                  <a:lnTo>
                    <a:pt x="247" y="32"/>
                  </a:lnTo>
                  <a:lnTo>
                    <a:pt x="246" y="32"/>
                  </a:lnTo>
                  <a:lnTo>
                    <a:pt x="244" y="31"/>
                  </a:lnTo>
                  <a:lnTo>
                    <a:pt x="244" y="31"/>
                  </a:lnTo>
                  <a:lnTo>
                    <a:pt x="245" y="30"/>
                  </a:lnTo>
                  <a:lnTo>
                    <a:pt x="246" y="30"/>
                  </a:lnTo>
                  <a:lnTo>
                    <a:pt x="246" y="30"/>
                  </a:lnTo>
                  <a:lnTo>
                    <a:pt x="246" y="31"/>
                  </a:lnTo>
                  <a:lnTo>
                    <a:pt x="246" y="31"/>
                  </a:lnTo>
                  <a:lnTo>
                    <a:pt x="251" y="31"/>
                  </a:lnTo>
                  <a:lnTo>
                    <a:pt x="255" y="31"/>
                  </a:lnTo>
                  <a:lnTo>
                    <a:pt x="257" y="30"/>
                  </a:lnTo>
                  <a:lnTo>
                    <a:pt x="258" y="29"/>
                  </a:lnTo>
                  <a:lnTo>
                    <a:pt x="262" y="27"/>
                  </a:lnTo>
                  <a:lnTo>
                    <a:pt x="268" y="26"/>
                  </a:lnTo>
                  <a:lnTo>
                    <a:pt x="269" y="26"/>
                  </a:lnTo>
                  <a:lnTo>
                    <a:pt x="272" y="25"/>
                  </a:lnTo>
                  <a:lnTo>
                    <a:pt x="275" y="25"/>
                  </a:lnTo>
                  <a:lnTo>
                    <a:pt x="277" y="25"/>
                  </a:lnTo>
                  <a:lnTo>
                    <a:pt x="283" y="24"/>
                  </a:lnTo>
                  <a:lnTo>
                    <a:pt x="282" y="24"/>
                  </a:lnTo>
                  <a:lnTo>
                    <a:pt x="283" y="24"/>
                  </a:lnTo>
                  <a:lnTo>
                    <a:pt x="288" y="23"/>
                  </a:lnTo>
                  <a:lnTo>
                    <a:pt x="290" y="23"/>
                  </a:lnTo>
                  <a:lnTo>
                    <a:pt x="294" y="22"/>
                  </a:lnTo>
                  <a:lnTo>
                    <a:pt x="295" y="22"/>
                  </a:lnTo>
                  <a:lnTo>
                    <a:pt x="300" y="20"/>
                  </a:lnTo>
                  <a:lnTo>
                    <a:pt x="304" y="20"/>
                  </a:lnTo>
                  <a:lnTo>
                    <a:pt x="314" y="19"/>
                  </a:lnTo>
                  <a:lnTo>
                    <a:pt x="317" y="18"/>
                  </a:lnTo>
                  <a:lnTo>
                    <a:pt x="319" y="16"/>
                  </a:lnTo>
                  <a:lnTo>
                    <a:pt x="318" y="16"/>
                  </a:lnTo>
                  <a:lnTo>
                    <a:pt x="314" y="16"/>
                  </a:lnTo>
                  <a:lnTo>
                    <a:pt x="307" y="18"/>
                  </a:lnTo>
                  <a:lnTo>
                    <a:pt x="295" y="19"/>
                  </a:lnTo>
                  <a:lnTo>
                    <a:pt x="286" y="19"/>
                  </a:lnTo>
                  <a:lnTo>
                    <a:pt x="269" y="21"/>
                  </a:lnTo>
                  <a:lnTo>
                    <a:pt x="266" y="21"/>
                  </a:lnTo>
                  <a:lnTo>
                    <a:pt x="257" y="22"/>
                  </a:lnTo>
                  <a:lnTo>
                    <a:pt x="257" y="22"/>
                  </a:lnTo>
                  <a:lnTo>
                    <a:pt x="259" y="21"/>
                  </a:lnTo>
                  <a:lnTo>
                    <a:pt x="253" y="22"/>
                  </a:lnTo>
                  <a:lnTo>
                    <a:pt x="252" y="21"/>
                  </a:lnTo>
                  <a:lnTo>
                    <a:pt x="259" y="21"/>
                  </a:lnTo>
                  <a:lnTo>
                    <a:pt x="262" y="21"/>
                  </a:lnTo>
                  <a:lnTo>
                    <a:pt x="263" y="20"/>
                  </a:lnTo>
                  <a:lnTo>
                    <a:pt x="264" y="20"/>
                  </a:lnTo>
                  <a:lnTo>
                    <a:pt x="264" y="20"/>
                  </a:lnTo>
                  <a:lnTo>
                    <a:pt x="266" y="20"/>
                  </a:lnTo>
                  <a:lnTo>
                    <a:pt x="269" y="20"/>
                  </a:lnTo>
                  <a:lnTo>
                    <a:pt x="294" y="16"/>
                  </a:lnTo>
                  <a:lnTo>
                    <a:pt x="294" y="16"/>
                  </a:lnTo>
                  <a:lnTo>
                    <a:pt x="289" y="16"/>
                  </a:lnTo>
                  <a:lnTo>
                    <a:pt x="284" y="16"/>
                  </a:lnTo>
                  <a:lnTo>
                    <a:pt x="278" y="16"/>
                  </a:lnTo>
                  <a:lnTo>
                    <a:pt x="274" y="18"/>
                  </a:lnTo>
                  <a:lnTo>
                    <a:pt x="274" y="16"/>
                  </a:lnTo>
                  <a:lnTo>
                    <a:pt x="274" y="16"/>
                  </a:lnTo>
                  <a:lnTo>
                    <a:pt x="277" y="16"/>
                  </a:lnTo>
                  <a:lnTo>
                    <a:pt x="278" y="16"/>
                  </a:lnTo>
                  <a:lnTo>
                    <a:pt x="275" y="15"/>
                  </a:lnTo>
                  <a:lnTo>
                    <a:pt x="274" y="14"/>
                  </a:lnTo>
                  <a:lnTo>
                    <a:pt x="278" y="15"/>
                  </a:lnTo>
                  <a:lnTo>
                    <a:pt x="280" y="16"/>
                  </a:lnTo>
                  <a:lnTo>
                    <a:pt x="285" y="16"/>
                  </a:lnTo>
                  <a:lnTo>
                    <a:pt x="284" y="15"/>
                  </a:lnTo>
                  <a:lnTo>
                    <a:pt x="293" y="15"/>
                  </a:lnTo>
                  <a:lnTo>
                    <a:pt x="299" y="15"/>
                  </a:lnTo>
                  <a:lnTo>
                    <a:pt x="300" y="15"/>
                  </a:lnTo>
                  <a:lnTo>
                    <a:pt x="305" y="15"/>
                  </a:lnTo>
                  <a:lnTo>
                    <a:pt x="307" y="15"/>
                  </a:lnTo>
                  <a:lnTo>
                    <a:pt x="312" y="15"/>
                  </a:lnTo>
                  <a:lnTo>
                    <a:pt x="306" y="15"/>
                  </a:lnTo>
                  <a:lnTo>
                    <a:pt x="308" y="15"/>
                  </a:lnTo>
                  <a:lnTo>
                    <a:pt x="316" y="14"/>
                  </a:lnTo>
                  <a:lnTo>
                    <a:pt x="317" y="14"/>
                  </a:lnTo>
                  <a:lnTo>
                    <a:pt x="319" y="14"/>
                  </a:lnTo>
                  <a:lnTo>
                    <a:pt x="323" y="14"/>
                  </a:lnTo>
                  <a:lnTo>
                    <a:pt x="323" y="14"/>
                  </a:lnTo>
                  <a:lnTo>
                    <a:pt x="323" y="14"/>
                  </a:lnTo>
                  <a:lnTo>
                    <a:pt x="325" y="14"/>
                  </a:lnTo>
                  <a:lnTo>
                    <a:pt x="326" y="14"/>
                  </a:lnTo>
                  <a:lnTo>
                    <a:pt x="329" y="13"/>
                  </a:lnTo>
                  <a:lnTo>
                    <a:pt x="337" y="13"/>
                  </a:lnTo>
                  <a:lnTo>
                    <a:pt x="340" y="12"/>
                  </a:lnTo>
                  <a:lnTo>
                    <a:pt x="343" y="12"/>
                  </a:lnTo>
                  <a:lnTo>
                    <a:pt x="347" y="11"/>
                  </a:lnTo>
                  <a:lnTo>
                    <a:pt x="350" y="10"/>
                  </a:lnTo>
                  <a:lnTo>
                    <a:pt x="356" y="10"/>
                  </a:lnTo>
                  <a:lnTo>
                    <a:pt x="357" y="9"/>
                  </a:lnTo>
                  <a:lnTo>
                    <a:pt x="359" y="8"/>
                  </a:lnTo>
                  <a:lnTo>
                    <a:pt x="360" y="8"/>
                  </a:lnTo>
                  <a:lnTo>
                    <a:pt x="358" y="6"/>
                  </a:lnTo>
                  <a:lnTo>
                    <a:pt x="357" y="6"/>
                  </a:lnTo>
                  <a:lnTo>
                    <a:pt x="350" y="6"/>
                  </a:lnTo>
                  <a:lnTo>
                    <a:pt x="349" y="6"/>
                  </a:lnTo>
                  <a:lnTo>
                    <a:pt x="349" y="5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81" name="Freeform 1181"/>
            <p:cNvSpPr>
              <a:spLocks/>
            </p:cNvSpPr>
            <p:nvPr/>
          </p:nvSpPr>
          <p:spPr bwMode="auto">
            <a:xfrm>
              <a:off x="1845" y="857"/>
              <a:ext cx="48" cy="15"/>
            </a:xfrm>
            <a:custGeom>
              <a:avLst/>
              <a:gdLst>
                <a:gd name="T0" fmla="*/ 25 w 48"/>
                <a:gd name="T1" fmla="*/ 2 h 15"/>
                <a:gd name="T2" fmla="*/ 29 w 48"/>
                <a:gd name="T3" fmla="*/ 1 h 15"/>
                <a:gd name="T4" fmla="*/ 33 w 48"/>
                <a:gd name="T5" fmla="*/ 2 h 15"/>
                <a:gd name="T6" fmla="*/ 42 w 48"/>
                <a:gd name="T7" fmla="*/ 4 h 15"/>
                <a:gd name="T8" fmla="*/ 42 w 48"/>
                <a:gd name="T9" fmla="*/ 4 h 15"/>
                <a:gd name="T10" fmla="*/ 42 w 48"/>
                <a:gd name="T11" fmla="*/ 5 h 15"/>
                <a:gd name="T12" fmla="*/ 43 w 48"/>
                <a:gd name="T13" fmla="*/ 6 h 15"/>
                <a:gd name="T14" fmla="*/ 44 w 48"/>
                <a:gd name="T15" fmla="*/ 6 h 15"/>
                <a:gd name="T16" fmla="*/ 46 w 48"/>
                <a:gd name="T17" fmla="*/ 8 h 15"/>
                <a:gd name="T18" fmla="*/ 48 w 48"/>
                <a:gd name="T19" fmla="*/ 10 h 15"/>
                <a:gd name="T20" fmla="*/ 46 w 48"/>
                <a:gd name="T21" fmla="*/ 11 h 15"/>
                <a:gd name="T22" fmla="*/ 46 w 48"/>
                <a:gd name="T23" fmla="*/ 12 h 15"/>
                <a:gd name="T24" fmla="*/ 48 w 48"/>
                <a:gd name="T25" fmla="*/ 12 h 15"/>
                <a:gd name="T26" fmla="*/ 45 w 48"/>
                <a:gd name="T27" fmla="*/ 13 h 15"/>
                <a:gd name="T28" fmla="*/ 42 w 48"/>
                <a:gd name="T29" fmla="*/ 13 h 15"/>
                <a:gd name="T30" fmla="*/ 37 w 48"/>
                <a:gd name="T31" fmla="*/ 13 h 15"/>
                <a:gd name="T32" fmla="*/ 32 w 48"/>
                <a:gd name="T33" fmla="*/ 12 h 15"/>
                <a:gd name="T34" fmla="*/ 24 w 48"/>
                <a:gd name="T35" fmla="*/ 12 h 15"/>
                <a:gd name="T36" fmla="*/ 14 w 48"/>
                <a:gd name="T37" fmla="*/ 14 h 15"/>
                <a:gd name="T38" fmla="*/ 10 w 48"/>
                <a:gd name="T39" fmla="*/ 15 h 15"/>
                <a:gd name="T40" fmla="*/ 7 w 48"/>
                <a:gd name="T41" fmla="*/ 14 h 15"/>
                <a:gd name="T42" fmla="*/ 3 w 48"/>
                <a:gd name="T43" fmla="*/ 13 h 15"/>
                <a:gd name="T44" fmla="*/ 3 w 48"/>
                <a:gd name="T45" fmla="*/ 11 h 15"/>
                <a:gd name="T46" fmla="*/ 5 w 48"/>
                <a:gd name="T47" fmla="*/ 7 h 15"/>
                <a:gd name="T48" fmla="*/ 1 w 48"/>
                <a:gd name="T49" fmla="*/ 7 h 15"/>
                <a:gd name="T50" fmla="*/ 0 w 48"/>
                <a:gd name="T51" fmla="*/ 5 h 15"/>
                <a:gd name="T52" fmla="*/ 1 w 48"/>
                <a:gd name="T53" fmla="*/ 4 h 15"/>
                <a:gd name="T54" fmla="*/ 2 w 48"/>
                <a:gd name="T55" fmla="*/ 3 h 15"/>
                <a:gd name="T56" fmla="*/ 4 w 48"/>
                <a:gd name="T57" fmla="*/ 2 h 15"/>
                <a:gd name="T58" fmla="*/ 7 w 48"/>
                <a:gd name="T59" fmla="*/ 1 h 15"/>
                <a:gd name="T60" fmla="*/ 10 w 48"/>
                <a:gd name="T61" fmla="*/ 0 h 15"/>
                <a:gd name="T62" fmla="*/ 12 w 48"/>
                <a:gd name="T63" fmla="*/ 1 h 15"/>
                <a:gd name="T64" fmla="*/ 13 w 48"/>
                <a:gd name="T65" fmla="*/ 1 h 15"/>
                <a:gd name="T66" fmla="*/ 18 w 48"/>
                <a:gd name="T67" fmla="*/ 2 h 15"/>
                <a:gd name="T68" fmla="*/ 23 w 48"/>
                <a:gd name="T69" fmla="*/ 2 h 15"/>
                <a:gd name="T70" fmla="*/ 25 w 48"/>
                <a:gd name="T71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8" h="15">
                  <a:moveTo>
                    <a:pt x="25" y="2"/>
                  </a:moveTo>
                  <a:lnTo>
                    <a:pt x="29" y="1"/>
                  </a:lnTo>
                  <a:lnTo>
                    <a:pt x="33" y="2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5"/>
                  </a:lnTo>
                  <a:lnTo>
                    <a:pt x="43" y="6"/>
                  </a:lnTo>
                  <a:lnTo>
                    <a:pt x="44" y="6"/>
                  </a:lnTo>
                  <a:lnTo>
                    <a:pt x="46" y="8"/>
                  </a:lnTo>
                  <a:lnTo>
                    <a:pt x="48" y="10"/>
                  </a:lnTo>
                  <a:lnTo>
                    <a:pt x="46" y="11"/>
                  </a:lnTo>
                  <a:lnTo>
                    <a:pt x="46" y="12"/>
                  </a:lnTo>
                  <a:lnTo>
                    <a:pt x="48" y="12"/>
                  </a:lnTo>
                  <a:lnTo>
                    <a:pt x="45" y="13"/>
                  </a:lnTo>
                  <a:lnTo>
                    <a:pt x="42" y="13"/>
                  </a:lnTo>
                  <a:lnTo>
                    <a:pt x="37" y="13"/>
                  </a:lnTo>
                  <a:lnTo>
                    <a:pt x="32" y="12"/>
                  </a:lnTo>
                  <a:lnTo>
                    <a:pt x="24" y="12"/>
                  </a:lnTo>
                  <a:lnTo>
                    <a:pt x="14" y="14"/>
                  </a:lnTo>
                  <a:lnTo>
                    <a:pt x="10" y="15"/>
                  </a:lnTo>
                  <a:lnTo>
                    <a:pt x="7" y="14"/>
                  </a:lnTo>
                  <a:lnTo>
                    <a:pt x="3" y="13"/>
                  </a:lnTo>
                  <a:lnTo>
                    <a:pt x="3" y="11"/>
                  </a:lnTo>
                  <a:lnTo>
                    <a:pt x="5" y="7"/>
                  </a:lnTo>
                  <a:lnTo>
                    <a:pt x="1" y="7"/>
                  </a:lnTo>
                  <a:lnTo>
                    <a:pt x="0" y="5"/>
                  </a:lnTo>
                  <a:lnTo>
                    <a:pt x="1" y="4"/>
                  </a:lnTo>
                  <a:lnTo>
                    <a:pt x="2" y="3"/>
                  </a:lnTo>
                  <a:lnTo>
                    <a:pt x="4" y="2"/>
                  </a:lnTo>
                  <a:lnTo>
                    <a:pt x="7" y="1"/>
                  </a:lnTo>
                  <a:lnTo>
                    <a:pt x="10" y="0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8" y="2"/>
                  </a:lnTo>
                  <a:lnTo>
                    <a:pt x="23" y="2"/>
                  </a:lnTo>
                  <a:lnTo>
                    <a:pt x="25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82" name="Freeform 1182"/>
            <p:cNvSpPr>
              <a:spLocks/>
            </p:cNvSpPr>
            <p:nvPr/>
          </p:nvSpPr>
          <p:spPr bwMode="auto">
            <a:xfrm>
              <a:off x="1845" y="857"/>
              <a:ext cx="48" cy="15"/>
            </a:xfrm>
            <a:custGeom>
              <a:avLst/>
              <a:gdLst>
                <a:gd name="T0" fmla="*/ 25 w 48"/>
                <a:gd name="T1" fmla="*/ 2 h 15"/>
                <a:gd name="T2" fmla="*/ 29 w 48"/>
                <a:gd name="T3" fmla="*/ 1 h 15"/>
                <a:gd name="T4" fmla="*/ 33 w 48"/>
                <a:gd name="T5" fmla="*/ 2 h 15"/>
                <a:gd name="T6" fmla="*/ 42 w 48"/>
                <a:gd name="T7" fmla="*/ 4 h 15"/>
                <a:gd name="T8" fmla="*/ 42 w 48"/>
                <a:gd name="T9" fmla="*/ 4 h 15"/>
                <a:gd name="T10" fmla="*/ 42 w 48"/>
                <a:gd name="T11" fmla="*/ 5 h 15"/>
                <a:gd name="T12" fmla="*/ 43 w 48"/>
                <a:gd name="T13" fmla="*/ 6 h 15"/>
                <a:gd name="T14" fmla="*/ 44 w 48"/>
                <a:gd name="T15" fmla="*/ 6 h 15"/>
                <a:gd name="T16" fmla="*/ 46 w 48"/>
                <a:gd name="T17" fmla="*/ 8 h 15"/>
                <a:gd name="T18" fmla="*/ 48 w 48"/>
                <a:gd name="T19" fmla="*/ 10 h 15"/>
                <a:gd name="T20" fmla="*/ 46 w 48"/>
                <a:gd name="T21" fmla="*/ 11 h 15"/>
                <a:gd name="T22" fmla="*/ 46 w 48"/>
                <a:gd name="T23" fmla="*/ 12 h 15"/>
                <a:gd name="T24" fmla="*/ 48 w 48"/>
                <a:gd name="T25" fmla="*/ 12 h 15"/>
                <a:gd name="T26" fmla="*/ 45 w 48"/>
                <a:gd name="T27" fmla="*/ 13 h 15"/>
                <a:gd name="T28" fmla="*/ 42 w 48"/>
                <a:gd name="T29" fmla="*/ 13 h 15"/>
                <a:gd name="T30" fmla="*/ 37 w 48"/>
                <a:gd name="T31" fmla="*/ 13 h 15"/>
                <a:gd name="T32" fmla="*/ 32 w 48"/>
                <a:gd name="T33" fmla="*/ 12 h 15"/>
                <a:gd name="T34" fmla="*/ 24 w 48"/>
                <a:gd name="T35" fmla="*/ 12 h 15"/>
                <a:gd name="T36" fmla="*/ 14 w 48"/>
                <a:gd name="T37" fmla="*/ 14 h 15"/>
                <a:gd name="T38" fmla="*/ 10 w 48"/>
                <a:gd name="T39" fmla="*/ 15 h 15"/>
                <a:gd name="T40" fmla="*/ 7 w 48"/>
                <a:gd name="T41" fmla="*/ 14 h 15"/>
                <a:gd name="T42" fmla="*/ 3 w 48"/>
                <a:gd name="T43" fmla="*/ 13 h 15"/>
                <a:gd name="T44" fmla="*/ 3 w 48"/>
                <a:gd name="T45" fmla="*/ 11 h 15"/>
                <a:gd name="T46" fmla="*/ 5 w 48"/>
                <a:gd name="T47" fmla="*/ 7 h 15"/>
                <a:gd name="T48" fmla="*/ 1 w 48"/>
                <a:gd name="T49" fmla="*/ 7 h 15"/>
                <a:gd name="T50" fmla="*/ 0 w 48"/>
                <a:gd name="T51" fmla="*/ 5 h 15"/>
                <a:gd name="T52" fmla="*/ 1 w 48"/>
                <a:gd name="T53" fmla="*/ 4 h 15"/>
                <a:gd name="T54" fmla="*/ 2 w 48"/>
                <a:gd name="T55" fmla="*/ 3 h 15"/>
                <a:gd name="T56" fmla="*/ 4 w 48"/>
                <a:gd name="T57" fmla="*/ 2 h 15"/>
                <a:gd name="T58" fmla="*/ 7 w 48"/>
                <a:gd name="T59" fmla="*/ 1 h 15"/>
                <a:gd name="T60" fmla="*/ 10 w 48"/>
                <a:gd name="T61" fmla="*/ 0 h 15"/>
                <a:gd name="T62" fmla="*/ 12 w 48"/>
                <a:gd name="T63" fmla="*/ 1 h 15"/>
                <a:gd name="T64" fmla="*/ 13 w 48"/>
                <a:gd name="T65" fmla="*/ 1 h 15"/>
                <a:gd name="T66" fmla="*/ 18 w 48"/>
                <a:gd name="T67" fmla="*/ 2 h 15"/>
                <a:gd name="T68" fmla="*/ 23 w 48"/>
                <a:gd name="T69" fmla="*/ 2 h 15"/>
                <a:gd name="T70" fmla="*/ 25 w 48"/>
                <a:gd name="T71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8" h="15">
                  <a:moveTo>
                    <a:pt x="25" y="2"/>
                  </a:moveTo>
                  <a:lnTo>
                    <a:pt x="29" y="1"/>
                  </a:lnTo>
                  <a:lnTo>
                    <a:pt x="33" y="2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5"/>
                  </a:lnTo>
                  <a:lnTo>
                    <a:pt x="43" y="6"/>
                  </a:lnTo>
                  <a:lnTo>
                    <a:pt x="44" y="6"/>
                  </a:lnTo>
                  <a:lnTo>
                    <a:pt x="46" y="8"/>
                  </a:lnTo>
                  <a:lnTo>
                    <a:pt x="48" y="10"/>
                  </a:lnTo>
                  <a:lnTo>
                    <a:pt x="46" y="11"/>
                  </a:lnTo>
                  <a:lnTo>
                    <a:pt x="46" y="12"/>
                  </a:lnTo>
                  <a:lnTo>
                    <a:pt x="48" y="12"/>
                  </a:lnTo>
                  <a:lnTo>
                    <a:pt x="45" y="13"/>
                  </a:lnTo>
                  <a:lnTo>
                    <a:pt x="42" y="13"/>
                  </a:lnTo>
                  <a:lnTo>
                    <a:pt x="37" y="13"/>
                  </a:lnTo>
                  <a:lnTo>
                    <a:pt x="32" y="12"/>
                  </a:lnTo>
                  <a:lnTo>
                    <a:pt x="24" y="12"/>
                  </a:lnTo>
                  <a:lnTo>
                    <a:pt x="14" y="14"/>
                  </a:lnTo>
                  <a:lnTo>
                    <a:pt x="10" y="15"/>
                  </a:lnTo>
                  <a:lnTo>
                    <a:pt x="7" y="14"/>
                  </a:lnTo>
                  <a:lnTo>
                    <a:pt x="3" y="13"/>
                  </a:lnTo>
                  <a:lnTo>
                    <a:pt x="3" y="11"/>
                  </a:lnTo>
                  <a:lnTo>
                    <a:pt x="5" y="7"/>
                  </a:lnTo>
                  <a:lnTo>
                    <a:pt x="1" y="7"/>
                  </a:lnTo>
                  <a:lnTo>
                    <a:pt x="0" y="5"/>
                  </a:lnTo>
                  <a:lnTo>
                    <a:pt x="1" y="4"/>
                  </a:lnTo>
                  <a:lnTo>
                    <a:pt x="2" y="3"/>
                  </a:lnTo>
                  <a:lnTo>
                    <a:pt x="4" y="2"/>
                  </a:lnTo>
                  <a:lnTo>
                    <a:pt x="7" y="1"/>
                  </a:lnTo>
                  <a:lnTo>
                    <a:pt x="10" y="0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8" y="2"/>
                  </a:lnTo>
                  <a:lnTo>
                    <a:pt x="23" y="2"/>
                  </a:lnTo>
                  <a:lnTo>
                    <a:pt x="25" y="2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83" name="Freeform 1183"/>
            <p:cNvSpPr>
              <a:spLocks/>
            </p:cNvSpPr>
            <p:nvPr/>
          </p:nvSpPr>
          <p:spPr bwMode="auto">
            <a:xfrm>
              <a:off x="1687" y="1023"/>
              <a:ext cx="30" cy="15"/>
            </a:xfrm>
            <a:custGeom>
              <a:avLst/>
              <a:gdLst>
                <a:gd name="T0" fmla="*/ 25 w 30"/>
                <a:gd name="T1" fmla="*/ 0 h 15"/>
                <a:gd name="T2" fmla="*/ 17 w 30"/>
                <a:gd name="T3" fmla="*/ 2 h 15"/>
                <a:gd name="T4" fmla="*/ 14 w 30"/>
                <a:gd name="T5" fmla="*/ 3 h 15"/>
                <a:gd name="T6" fmla="*/ 10 w 30"/>
                <a:gd name="T7" fmla="*/ 6 h 15"/>
                <a:gd name="T8" fmla="*/ 7 w 30"/>
                <a:gd name="T9" fmla="*/ 8 h 15"/>
                <a:gd name="T10" fmla="*/ 1 w 30"/>
                <a:gd name="T11" fmla="*/ 11 h 15"/>
                <a:gd name="T12" fmla="*/ 0 w 30"/>
                <a:gd name="T13" fmla="*/ 13 h 15"/>
                <a:gd name="T14" fmla="*/ 1 w 30"/>
                <a:gd name="T15" fmla="*/ 15 h 15"/>
                <a:gd name="T16" fmla="*/ 6 w 30"/>
                <a:gd name="T17" fmla="*/ 12 h 15"/>
                <a:gd name="T18" fmla="*/ 8 w 30"/>
                <a:gd name="T19" fmla="*/ 12 h 15"/>
                <a:gd name="T20" fmla="*/ 11 w 30"/>
                <a:gd name="T21" fmla="*/ 11 h 15"/>
                <a:gd name="T22" fmla="*/ 15 w 30"/>
                <a:gd name="T23" fmla="*/ 10 h 15"/>
                <a:gd name="T24" fmla="*/ 16 w 30"/>
                <a:gd name="T25" fmla="*/ 9 h 15"/>
                <a:gd name="T26" fmla="*/ 18 w 30"/>
                <a:gd name="T27" fmla="*/ 7 h 15"/>
                <a:gd name="T28" fmla="*/ 20 w 30"/>
                <a:gd name="T29" fmla="*/ 7 h 15"/>
                <a:gd name="T30" fmla="*/ 27 w 30"/>
                <a:gd name="T31" fmla="*/ 5 h 15"/>
                <a:gd name="T32" fmla="*/ 29 w 30"/>
                <a:gd name="T33" fmla="*/ 2 h 15"/>
                <a:gd name="T34" fmla="*/ 30 w 30"/>
                <a:gd name="T35" fmla="*/ 1 h 15"/>
                <a:gd name="T36" fmla="*/ 30 w 30"/>
                <a:gd name="T37" fmla="*/ 1 h 15"/>
                <a:gd name="T38" fmla="*/ 28 w 30"/>
                <a:gd name="T39" fmla="*/ 0 h 15"/>
                <a:gd name="T40" fmla="*/ 25 w 30"/>
                <a:gd name="T4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" h="15">
                  <a:moveTo>
                    <a:pt x="25" y="0"/>
                  </a:moveTo>
                  <a:lnTo>
                    <a:pt x="17" y="2"/>
                  </a:lnTo>
                  <a:lnTo>
                    <a:pt x="14" y="3"/>
                  </a:lnTo>
                  <a:lnTo>
                    <a:pt x="10" y="6"/>
                  </a:lnTo>
                  <a:lnTo>
                    <a:pt x="7" y="8"/>
                  </a:lnTo>
                  <a:lnTo>
                    <a:pt x="1" y="11"/>
                  </a:lnTo>
                  <a:lnTo>
                    <a:pt x="0" y="13"/>
                  </a:lnTo>
                  <a:lnTo>
                    <a:pt x="1" y="15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1" y="11"/>
                  </a:lnTo>
                  <a:lnTo>
                    <a:pt x="15" y="10"/>
                  </a:lnTo>
                  <a:lnTo>
                    <a:pt x="16" y="9"/>
                  </a:lnTo>
                  <a:lnTo>
                    <a:pt x="18" y="7"/>
                  </a:lnTo>
                  <a:lnTo>
                    <a:pt x="20" y="7"/>
                  </a:lnTo>
                  <a:lnTo>
                    <a:pt x="27" y="5"/>
                  </a:lnTo>
                  <a:lnTo>
                    <a:pt x="29" y="2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28" y="0"/>
                  </a:lnTo>
                  <a:lnTo>
                    <a:pt x="2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84" name="Freeform 1184"/>
            <p:cNvSpPr>
              <a:spLocks/>
            </p:cNvSpPr>
            <p:nvPr/>
          </p:nvSpPr>
          <p:spPr bwMode="auto">
            <a:xfrm>
              <a:off x="1687" y="1023"/>
              <a:ext cx="30" cy="15"/>
            </a:xfrm>
            <a:custGeom>
              <a:avLst/>
              <a:gdLst>
                <a:gd name="T0" fmla="*/ 25 w 30"/>
                <a:gd name="T1" fmla="*/ 0 h 15"/>
                <a:gd name="T2" fmla="*/ 17 w 30"/>
                <a:gd name="T3" fmla="*/ 2 h 15"/>
                <a:gd name="T4" fmla="*/ 14 w 30"/>
                <a:gd name="T5" fmla="*/ 3 h 15"/>
                <a:gd name="T6" fmla="*/ 10 w 30"/>
                <a:gd name="T7" fmla="*/ 6 h 15"/>
                <a:gd name="T8" fmla="*/ 7 w 30"/>
                <a:gd name="T9" fmla="*/ 8 h 15"/>
                <a:gd name="T10" fmla="*/ 1 w 30"/>
                <a:gd name="T11" fmla="*/ 11 h 15"/>
                <a:gd name="T12" fmla="*/ 0 w 30"/>
                <a:gd name="T13" fmla="*/ 13 h 15"/>
                <a:gd name="T14" fmla="*/ 1 w 30"/>
                <a:gd name="T15" fmla="*/ 15 h 15"/>
                <a:gd name="T16" fmla="*/ 6 w 30"/>
                <a:gd name="T17" fmla="*/ 12 h 15"/>
                <a:gd name="T18" fmla="*/ 8 w 30"/>
                <a:gd name="T19" fmla="*/ 12 h 15"/>
                <a:gd name="T20" fmla="*/ 11 w 30"/>
                <a:gd name="T21" fmla="*/ 11 h 15"/>
                <a:gd name="T22" fmla="*/ 15 w 30"/>
                <a:gd name="T23" fmla="*/ 10 h 15"/>
                <a:gd name="T24" fmla="*/ 16 w 30"/>
                <a:gd name="T25" fmla="*/ 9 h 15"/>
                <a:gd name="T26" fmla="*/ 18 w 30"/>
                <a:gd name="T27" fmla="*/ 7 h 15"/>
                <a:gd name="T28" fmla="*/ 20 w 30"/>
                <a:gd name="T29" fmla="*/ 7 h 15"/>
                <a:gd name="T30" fmla="*/ 27 w 30"/>
                <a:gd name="T31" fmla="*/ 5 h 15"/>
                <a:gd name="T32" fmla="*/ 29 w 30"/>
                <a:gd name="T33" fmla="*/ 2 h 15"/>
                <a:gd name="T34" fmla="*/ 30 w 30"/>
                <a:gd name="T35" fmla="*/ 1 h 15"/>
                <a:gd name="T36" fmla="*/ 30 w 30"/>
                <a:gd name="T37" fmla="*/ 1 h 15"/>
                <a:gd name="T38" fmla="*/ 28 w 30"/>
                <a:gd name="T39" fmla="*/ 0 h 15"/>
                <a:gd name="T40" fmla="*/ 25 w 30"/>
                <a:gd name="T4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" h="15">
                  <a:moveTo>
                    <a:pt x="25" y="0"/>
                  </a:moveTo>
                  <a:lnTo>
                    <a:pt x="17" y="2"/>
                  </a:lnTo>
                  <a:lnTo>
                    <a:pt x="14" y="3"/>
                  </a:lnTo>
                  <a:lnTo>
                    <a:pt x="10" y="6"/>
                  </a:lnTo>
                  <a:lnTo>
                    <a:pt x="7" y="8"/>
                  </a:lnTo>
                  <a:lnTo>
                    <a:pt x="1" y="11"/>
                  </a:lnTo>
                  <a:lnTo>
                    <a:pt x="0" y="13"/>
                  </a:lnTo>
                  <a:lnTo>
                    <a:pt x="1" y="15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1" y="11"/>
                  </a:lnTo>
                  <a:lnTo>
                    <a:pt x="15" y="10"/>
                  </a:lnTo>
                  <a:lnTo>
                    <a:pt x="16" y="9"/>
                  </a:lnTo>
                  <a:lnTo>
                    <a:pt x="18" y="7"/>
                  </a:lnTo>
                  <a:lnTo>
                    <a:pt x="20" y="7"/>
                  </a:lnTo>
                  <a:lnTo>
                    <a:pt x="27" y="5"/>
                  </a:lnTo>
                  <a:lnTo>
                    <a:pt x="29" y="2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28" y="0"/>
                  </a:lnTo>
                  <a:lnTo>
                    <a:pt x="25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85" name="Freeform 1185"/>
            <p:cNvSpPr>
              <a:spLocks/>
            </p:cNvSpPr>
            <p:nvPr/>
          </p:nvSpPr>
          <p:spPr bwMode="auto">
            <a:xfrm>
              <a:off x="1727" y="1033"/>
              <a:ext cx="18" cy="12"/>
            </a:xfrm>
            <a:custGeom>
              <a:avLst/>
              <a:gdLst>
                <a:gd name="T0" fmla="*/ 10 w 18"/>
                <a:gd name="T1" fmla="*/ 0 h 12"/>
                <a:gd name="T2" fmla="*/ 10 w 18"/>
                <a:gd name="T3" fmla="*/ 0 h 12"/>
                <a:gd name="T4" fmla="*/ 9 w 18"/>
                <a:gd name="T5" fmla="*/ 0 h 12"/>
                <a:gd name="T6" fmla="*/ 8 w 18"/>
                <a:gd name="T7" fmla="*/ 1 h 12"/>
                <a:gd name="T8" fmla="*/ 7 w 18"/>
                <a:gd name="T9" fmla="*/ 1 h 12"/>
                <a:gd name="T10" fmla="*/ 6 w 18"/>
                <a:gd name="T11" fmla="*/ 2 h 12"/>
                <a:gd name="T12" fmla="*/ 4 w 18"/>
                <a:gd name="T13" fmla="*/ 5 h 12"/>
                <a:gd name="T14" fmla="*/ 1 w 18"/>
                <a:gd name="T15" fmla="*/ 7 h 12"/>
                <a:gd name="T16" fmla="*/ 0 w 18"/>
                <a:gd name="T17" fmla="*/ 9 h 12"/>
                <a:gd name="T18" fmla="*/ 2 w 18"/>
                <a:gd name="T19" fmla="*/ 10 h 12"/>
                <a:gd name="T20" fmla="*/ 2 w 18"/>
                <a:gd name="T21" fmla="*/ 11 h 12"/>
                <a:gd name="T22" fmla="*/ 2 w 18"/>
                <a:gd name="T23" fmla="*/ 12 h 12"/>
                <a:gd name="T24" fmla="*/ 5 w 18"/>
                <a:gd name="T25" fmla="*/ 12 h 12"/>
                <a:gd name="T26" fmla="*/ 7 w 18"/>
                <a:gd name="T27" fmla="*/ 11 h 12"/>
                <a:gd name="T28" fmla="*/ 8 w 18"/>
                <a:gd name="T29" fmla="*/ 10 h 12"/>
                <a:gd name="T30" fmla="*/ 11 w 18"/>
                <a:gd name="T31" fmla="*/ 7 h 12"/>
                <a:gd name="T32" fmla="*/ 15 w 18"/>
                <a:gd name="T33" fmla="*/ 5 h 12"/>
                <a:gd name="T34" fmla="*/ 17 w 18"/>
                <a:gd name="T35" fmla="*/ 2 h 12"/>
                <a:gd name="T36" fmla="*/ 18 w 18"/>
                <a:gd name="T37" fmla="*/ 1 h 12"/>
                <a:gd name="T38" fmla="*/ 16 w 18"/>
                <a:gd name="T39" fmla="*/ 0 h 12"/>
                <a:gd name="T40" fmla="*/ 10 w 18"/>
                <a:gd name="T4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" h="12">
                  <a:moveTo>
                    <a:pt x="10" y="0"/>
                  </a:moveTo>
                  <a:lnTo>
                    <a:pt x="10" y="0"/>
                  </a:lnTo>
                  <a:lnTo>
                    <a:pt x="9" y="0"/>
                  </a:lnTo>
                  <a:lnTo>
                    <a:pt x="8" y="1"/>
                  </a:lnTo>
                  <a:lnTo>
                    <a:pt x="7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1" y="7"/>
                  </a:lnTo>
                  <a:lnTo>
                    <a:pt x="0" y="9"/>
                  </a:lnTo>
                  <a:lnTo>
                    <a:pt x="2" y="10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5" y="12"/>
                  </a:lnTo>
                  <a:lnTo>
                    <a:pt x="7" y="11"/>
                  </a:lnTo>
                  <a:lnTo>
                    <a:pt x="8" y="10"/>
                  </a:lnTo>
                  <a:lnTo>
                    <a:pt x="11" y="7"/>
                  </a:lnTo>
                  <a:lnTo>
                    <a:pt x="15" y="5"/>
                  </a:lnTo>
                  <a:lnTo>
                    <a:pt x="17" y="2"/>
                  </a:lnTo>
                  <a:lnTo>
                    <a:pt x="18" y="1"/>
                  </a:lnTo>
                  <a:lnTo>
                    <a:pt x="16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86" name="Freeform 1186"/>
            <p:cNvSpPr>
              <a:spLocks/>
            </p:cNvSpPr>
            <p:nvPr/>
          </p:nvSpPr>
          <p:spPr bwMode="auto">
            <a:xfrm>
              <a:off x="1727" y="1033"/>
              <a:ext cx="18" cy="12"/>
            </a:xfrm>
            <a:custGeom>
              <a:avLst/>
              <a:gdLst>
                <a:gd name="T0" fmla="*/ 10 w 18"/>
                <a:gd name="T1" fmla="*/ 0 h 12"/>
                <a:gd name="T2" fmla="*/ 10 w 18"/>
                <a:gd name="T3" fmla="*/ 0 h 12"/>
                <a:gd name="T4" fmla="*/ 9 w 18"/>
                <a:gd name="T5" fmla="*/ 0 h 12"/>
                <a:gd name="T6" fmla="*/ 8 w 18"/>
                <a:gd name="T7" fmla="*/ 1 h 12"/>
                <a:gd name="T8" fmla="*/ 7 w 18"/>
                <a:gd name="T9" fmla="*/ 1 h 12"/>
                <a:gd name="T10" fmla="*/ 6 w 18"/>
                <a:gd name="T11" fmla="*/ 2 h 12"/>
                <a:gd name="T12" fmla="*/ 4 w 18"/>
                <a:gd name="T13" fmla="*/ 5 h 12"/>
                <a:gd name="T14" fmla="*/ 1 w 18"/>
                <a:gd name="T15" fmla="*/ 7 h 12"/>
                <a:gd name="T16" fmla="*/ 0 w 18"/>
                <a:gd name="T17" fmla="*/ 9 h 12"/>
                <a:gd name="T18" fmla="*/ 2 w 18"/>
                <a:gd name="T19" fmla="*/ 10 h 12"/>
                <a:gd name="T20" fmla="*/ 2 w 18"/>
                <a:gd name="T21" fmla="*/ 11 h 12"/>
                <a:gd name="T22" fmla="*/ 2 w 18"/>
                <a:gd name="T23" fmla="*/ 12 h 12"/>
                <a:gd name="T24" fmla="*/ 5 w 18"/>
                <a:gd name="T25" fmla="*/ 12 h 12"/>
                <a:gd name="T26" fmla="*/ 7 w 18"/>
                <a:gd name="T27" fmla="*/ 11 h 12"/>
                <a:gd name="T28" fmla="*/ 8 w 18"/>
                <a:gd name="T29" fmla="*/ 10 h 12"/>
                <a:gd name="T30" fmla="*/ 11 w 18"/>
                <a:gd name="T31" fmla="*/ 7 h 12"/>
                <a:gd name="T32" fmla="*/ 15 w 18"/>
                <a:gd name="T33" fmla="*/ 5 h 12"/>
                <a:gd name="T34" fmla="*/ 17 w 18"/>
                <a:gd name="T35" fmla="*/ 2 h 12"/>
                <a:gd name="T36" fmla="*/ 18 w 18"/>
                <a:gd name="T37" fmla="*/ 1 h 12"/>
                <a:gd name="T38" fmla="*/ 16 w 18"/>
                <a:gd name="T39" fmla="*/ 0 h 12"/>
                <a:gd name="T40" fmla="*/ 10 w 18"/>
                <a:gd name="T4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" h="12">
                  <a:moveTo>
                    <a:pt x="10" y="0"/>
                  </a:moveTo>
                  <a:lnTo>
                    <a:pt x="10" y="0"/>
                  </a:lnTo>
                  <a:lnTo>
                    <a:pt x="9" y="0"/>
                  </a:lnTo>
                  <a:lnTo>
                    <a:pt x="8" y="1"/>
                  </a:lnTo>
                  <a:lnTo>
                    <a:pt x="7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1" y="7"/>
                  </a:lnTo>
                  <a:lnTo>
                    <a:pt x="0" y="9"/>
                  </a:lnTo>
                  <a:lnTo>
                    <a:pt x="2" y="10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5" y="12"/>
                  </a:lnTo>
                  <a:lnTo>
                    <a:pt x="7" y="11"/>
                  </a:lnTo>
                  <a:lnTo>
                    <a:pt x="8" y="10"/>
                  </a:lnTo>
                  <a:lnTo>
                    <a:pt x="11" y="7"/>
                  </a:lnTo>
                  <a:lnTo>
                    <a:pt x="15" y="5"/>
                  </a:lnTo>
                  <a:lnTo>
                    <a:pt x="17" y="2"/>
                  </a:lnTo>
                  <a:lnTo>
                    <a:pt x="18" y="1"/>
                  </a:lnTo>
                  <a:lnTo>
                    <a:pt x="16" y="0"/>
                  </a:lnTo>
                  <a:lnTo>
                    <a:pt x="10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87" name="Freeform 1187"/>
            <p:cNvSpPr>
              <a:spLocks/>
            </p:cNvSpPr>
            <p:nvPr/>
          </p:nvSpPr>
          <p:spPr bwMode="auto">
            <a:xfrm>
              <a:off x="1867" y="1062"/>
              <a:ext cx="8" cy="4"/>
            </a:xfrm>
            <a:custGeom>
              <a:avLst/>
              <a:gdLst>
                <a:gd name="T0" fmla="*/ 2 w 8"/>
                <a:gd name="T1" fmla="*/ 1 h 4"/>
                <a:gd name="T2" fmla="*/ 2 w 8"/>
                <a:gd name="T3" fmla="*/ 1 h 4"/>
                <a:gd name="T4" fmla="*/ 0 w 8"/>
                <a:gd name="T5" fmla="*/ 4 h 4"/>
                <a:gd name="T6" fmla="*/ 0 w 8"/>
                <a:gd name="T7" fmla="*/ 4 h 4"/>
                <a:gd name="T8" fmla="*/ 3 w 8"/>
                <a:gd name="T9" fmla="*/ 3 h 4"/>
                <a:gd name="T10" fmla="*/ 5 w 8"/>
                <a:gd name="T11" fmla="*/ 3 h 4"/>
                <a:gd name="T12" fmla="*/ 8 w 8"/>
                <a:gd name="T13" fmla="*/ 2 h 4"/>
                <a:gd name="T14" fmla="*/ 8 w 8"/>
                <a:gd name="T15" fmla="*/ 0 h 4"/>
                <a:gd name="T16" fmla="*/ 6 w 8"/>
                <a:gd name="T17" fmla="*/ 0 h 4"/>
                <a:gd name="T18" fmla="*/ 3 w 8"/>
                <a:gd name="T19" fmla="*/ 0 h 4"/>
                <a:gd name="T20" fmla="*/ 2 w 8"/>
                <a:gd name="T2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4">
                  <a:moveTo>
                    <a:pt x="2" y="1"/>
                  </a:moveTo>
                  <a:lnTo>
                    <a:pt x="2" y="1"/>
                  </a:lnTo>
                  <a:lnTo>
                    <a:pt x="0" y="4"/>
                  </a:lnTo>
                  <a:lnTo>
                    <a:pt x="0" y="4"/>
                  </a:lnTo>
                  <a:lnTo>
                    <a:pt x="3" y="3"/>
                  </a:lnTo>
                  <a:lnTo>
                    <a:pt x="5" y="3"/>
                  </a:lnTo>
                  <a:lnTo>
                    <a:pt x="8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3" y="0"/>
                  </a:lnTo>
                  <a:lnTo>
                    <a:pt x="2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88" name="Freeform 1188"/>
            <p:cNvSpPr>
              <a:spLocks/>
            </p:cNvSpPr>
            <p:nvPr/>
          </p:nvSpPr>
          <p:spPr bwMode="auto">
            <a:xfrm>
              <a:off x="1867" y="1062"/>
              <a:ext cx="8" cy="4"/>
            </a:xfrm>
            <a:custGeom>
              <a:avLst/>
              <a:gdLst>
                <a:gd name="T0" fmla="*/ 2 w 8"/>
                <a:gd name="T1" fmla="*/ 1 h 4"/>
                <a:gd name="T2" fmla="*/ 2 w 8"/>
                <a:gd name="T3" fmla="*/ 1 h 4"/>
                <a:gd name="T4" fmla="*/ 0 w 8"/>
                <a:gd name="T5" fmla="*/ 4 h 4"/>
                <a:gd name="T6" fmla="*/ 0 w 8"/>
                <a:gd name="T7" fmla="*/ 4 h 4"/>
                <a:gd name="T8" fmla="*/ 3 w 8"/>
                <a:gd name="T9" fmla="*/ 3 h 4"/>
                <a:gd name="T10" fmla="*/ 5 w 8"/>
                <a:gd name="T11" fmla="*/ 3 h 4"/>
                <a:gd name="T12" fmla="*/ 8 w 8"/>
                <a:gd name="T13" fmla="*/ 2 h 4"/>
                <a:gd name="T14" fmla="*/ 8 w 8"/>
                <a:gd name="T15" fmla="*/ 0 h 4"/>
                <a:gd name="T16" fmla="*/ 6 w 8"/>
                <a:gd name="T17" fmla="*/ 0 h 4"/>
                <a:gd name="T18" fmla="*/ 3 w 8"/>
                <a:gd name="T19" fmla="*/ 0 h 4"/>
                <a:gd name="T20" fmla="*/ 2 w 8"/>
                <a:gd name="T21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" h="4">
                  <a:moveTo>
                    <a:pt x="2" y="1"/>
                  </a:moveTo>
                  <a:lnTo>
                    <a:pt x="2" y="1"/>
                  </a:lnTo>
                  <a:lnTo>
                    <a:pt x="0" y="4"/>
                  </a:lnTo>
                  <a:lnTo>
                    <a:pt x="0" y="4"/>
                  </a:lnTo>
                  <a:lnTo>
                    <a:pt x="3" y="3"/>
                  </a:lnTo>
                  <a:lnTo>
                    <a:pt x="5" y="3"/>
                  </a:lnTo>
                  <a:lnTo>
                    <a:pt x="8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3" y="0"/>
                  </a:lnTo>
                  <a:lnTo>
                    <a:pt x="2" y="1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89" name="Freeform 1189"/>
            <p:cNvSpPr>
              <a:spLocks/>
            </p:cNvSpPr>
            <p:nvPr/>
          </p:nvSpPr>
          <p:spPr bwMode="auto">
            <a:xfrm>
              <a:off x="1913" y="1043"/>
              <a:ext cx="10" cy="6"/>
            </a:xfrm>
            <a:custGeom>
              <a:avLst/>
              <a:gdLst>
                <a:gd name="T0" fmla="*/ 6 w 10"/>
                <a:gd name="T1" fmla="*/ 0 h 6"/>
                <a:gd name="T2" fmla="*/ 6 w 10"/>
                <a:gd name="T3" fmla="*/ 0 h 6"/>
                <a:gd name="T4" fmla="*/ 7 w 10"/>
                <a:gd name="T5" fmla="*/ 1 h 6"/>
                <a:gd name="T6" fmla="*/ 8 w 10"/>
                <a:gd name="T7" fmla="*/ 2 h 6"/>
                <a:gd name="T8" fmla="*/ 10 w 10"/>
                <a:gd name="T9" fmla="*/ 2 h 6"/>
                <a:gd name="T10" fmla="*/ 10 w 10"/>
                <a:gd name="T11" fmla="*/ 2 h 6"/>
                <a:gd name="T12" fmla="*/ 7 w 10"/>
                <a:gd name="T13" fmla="*/ 6 h 6"/>
                <a:gd name="T14" fmla="*/ 6 w 10"/>
                <a:gd name="T15" fmla="*/ 6 h 6"/>
                <a:gd name="T16" fmla="*/ 3 w 10"/>
                <a:gd name="T17" fmla="*/ 6 h 6"/>
                <a:gd name="T18" fmla="*/ 4 w 10"/>
                <a:gd name="T19" fmla="*/ 5 h 6"/>
                <a:gd name="T20" fmla="*/ 3 w 10"/>
                <a:gd name="T21" fmla="*/ 5 h 6"/>
                <a:gd name="T22" fmla="*/ 2 w 10"/>
                <a:gd name="T23" fmla="*/ 2 h 6"/>
                <a:gd name="T24" fmla="*/ 0 w 10"/>
                <a:gd name="T25" fmla="*/ 2 h 6"/>
                <a:gd name="T26" fmla="*/ 1 w 10"/>
                <a:gd name="T27" fmla="*/ 1 h 6"/>
                <a:gd name="T28" fmla="*/ 3 w 10"/>
                <a:gd name="T29" fmla="*/ 0 h 6"/>
                <a:gd name="T30" fmla="*/ 6 w 10"/>
                <a:gd name="T3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6">
                  <a:moveTo>
                    <a:pt x="6" y="0"/>
                  </a:moveTo>
                  <a:lnTo>
                    <a:pt x="6" y="0"/>
                  </a:lnTo>
                  <a:lnTo>
                    <a:pt x="7" y="1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7" y="6"/>
                  </a:lnTo>
                  <a:lnTo>
                    <a:pt x="6" y="6"/>
                  </a:lnTo>
                  <a:lnTo>
                    <a:pt x="3" y="6"/>
                  </a:lnTo>
                  <a:lnTo>
                    <a:pt x="4" y="5"/>
                  </a:lnTo>
                  <a:lnTo>
                    <a:pt x="3" y="5"/>
                  </a:lnTo>
                  <a:lnTo>
                    <a:pt x="2" y="2"/>
                  </a:lnTo>
                  <a:lnTo>
                    <a:pt x="0" y="2"/>
                  </a:lnTo>
                  <a:lnTo>
                    <a:pt x="1" y="1"/>
                  </a:lnTo>
                  <a:lnTo>
                    <a:pt x="3" y="0"/>
                  </a:lnTo>
                  <a:lnTo>
                    <a:pt x="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90" name="Freeform 1190"/>
            <p:cNvSpPr>
              <a:spLocks/>
            </p:cNvSpPr>
            <p:nvPr/>
          </p:nvSpPr>
          <p:spPr bwMode="auto">
            <a:xfrm>
              <a:off x="1913" y="1043"/>
              <a:ext cx="10" cy="6"/>
            </a:xfrm>
            <a:custGeom>
              <a:avLst/>
              <a:gdLst>
                <a:gd name="T0" fmla="*/ 6 w 10"/>
                <a:gd name="T1" fmla="*/ 0 h 6"/>
                <a:gd name="T2" fmla="*/ 6 w 10"/>
                <a:gd name="T3" fmla="*/ 0 h 6"/>
                <a:gd name="T4" fmla="*/ 7 w 10"/>
                <a:gd name="T5" fmla="*/ 1 h 6"/>
                <a:gd name="T6" fmla="*/ 8 w 10"/>
                <a:gd name="T7" fmla="*/ 2 h 6"/>
                <a:gd name="T8" fmla="*/ 10 w 10"/>
                <a:gd name="T9" fmla="*/ 2 h 6"/>
                <a:gd name="T10" fmla="*/ 10 w 10"/>
                <a:gd name="T11" fmla="*/ 2 h 6"/>
                <a:gd name="T12" fmla="*/ 7 w 10"/>
                <a:gd name="T13" fmla="*/ 6 h 6"/>
                <a:gd name="T14" fmla="*/ 6 w 10"/>
                <a:gd name="T15" fmla="*/ 6 h 6"/>
                <a:gd name="T16" fmla="*/ 3 w 10"/>
                <a:gd name="T17" fmla="*/ 6 h 6"/>
                <a:gd name="T18" fmla="*/ 4 w 10"/>
                <a:gd name="T19" fmla="*/ 5 h 6"/>
                <a:gd name="T20" fmla="*/ 3 w 10"/>
                <a:gd name="T21" fmla="*/ 5 h 6"/>
                <a:gd name="T22" fmla="*/ 2 w 10"/>
                <a:gd name="T23" fmla="*/ 2 h 6"/>
                <a:gd name="T24" fmla="*/ 0 w 10"/>
                <a:gd name="T25" fmla="*/ 2 h 6"/>
                <a:gd name="T26" fmla="*/ 1 w 10"/>
                <a:gd name="T27" fmla="*/ 1 h 6"/>
                <a:gd name="T28" fmla="*/ 3 w 10"/>
                <a:gd name="T29" fmla="*/ 0 h 6"/>
                <a:gd name="T30" fmla="*/ 6 w 10"/>
                <a:gd name="T3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6">
                  <a:moveTo>
                    <a:pt x="6" y="0"/>
                  </a:moveTo>
                  <a:lnTo>
                    <a:pt x="6" y="0"/>
                  </a:lnTo>
                  <a:lnTo>
                    <a:pt x="7" y="1"/>
                  </a:lnTo>
                  <a:lnTo>
                    <a:pt x="8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7" y="6"/>
                  </a:lnTo>
                  <a:lnTo>
                    <a:pt x="6" y="6"/>
                  </a:lnTo>
                  <a:lnTo>
                    <a:pt x="3" y="6"/>
                  </a:lnTo>
                  <a:lnTo>
                    <a:pt x="4" y="5"/>
                  </a:lnTo>
                  <a:lnTo>
                    <a:pt x="3" y="5"/>
                  </a:lnTo>
                  <a:lnTo>
                    <a:pt x="2" y="2"/>
                  </a:lnTo>
                  <a:lnTo>
                    <a:pt x="0" y="2"/>
                  </a:lnTo>
                  <a:lnTo>
                    <a:pt x="1" y="1"/>
                  </a:lnTo>
                  <a:lnTo>
                    <a:pt x="3" y="0"/>
                  </a:lnTo>
                  <a:lnTo>
                    <a:pt x="6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91" name="Freeform 1191"/>
            <p:cNvSpPr>
              <a:spLocks/>
            </p:cNvSpPr>
            <p:nvPr/>
          </p:nvSpPr>
          <p:spPr bwMode="auto">
            <a:xfrm>
              <a:off x="1718" y="856"/>
              <a:ext cx="287" cy="185"/>
            </a:xfrm>
            <a:custGeom>
              <a:avLst/>
              <a:gdLst>
                <a:gd name="T0" fmla="*/ 155 w 287"/>
                <a:gd name="T1" fmla="*/ 169 h 185"/>
                <a:gd name="T2" fmla="*/ 165 w 287"/>
                <a:gd name="T3" fmla="*/ 178 h 185"/>
                <a:gd name="T4" fmla="*/ 190 w 287"/>
                <a:gd name="T5" fmla="*/ 180 h 185"/>
                <a:gd name="T6" fmla="*/ 178 w 287"/>
                <a:gd name="T7" fmla="*/ 163 h 185"/>
                <a:gd name="T8" fmla="*/ 187 w 287"/>
                <a:gd name="T9" fmla="*/ 162 h 185"/>
                <a:gd name="T10" fmla="*/ 210 w 287"/>
                <a:gd name="T11" fmla="*/ 168 h 185"/>
                <a:gd name="T12" fmla="*/ 216 w 287"/>
                <a:gd name="T13" fmla="*/ 168 h 185"/>
                <a:gd name="T14" fmla="*/ 221 w 287"/>
                <a:gd name="T15" fmla="*/ 162 h 185"/>
                <a:gd name="T16" fmla="*/ 226 w 287"/>
                <a:gd name="T17" fmla="*/ 143 h 185"/>
                <a:gd name="T18" fmla="*/ 213 w 287"/>
                <a:gd name="T19" fmla="*/ 135 h 185"/>
                <a:gd name="T20" fmla="*/ 205 w 287"/>
                <a:gd name="T21" fmla="*/ 126 h 185"/>
                <a:gd name="T22" fmla="*/ 209 w 287"/>
                <a:gd name="T23" fmla="*/ 115 h 185"/>
                <a:gd name="T24" fmla="*/ 217 w 287"/>
                <a:gd name="T25" fmla="*/ 109 h 185"/>
                <a:gd name="T26" fmla="*/ 233 w 287"/>
                <a:gd name="T27" fmla="*/ 127 h 185"/>
                <a:gd name="T28" fmla="*/ 251 w 287"/>
                <a:gd name="T29" fmla="*/ 129 h 185"/>
                <a:gd name="T30" fmla="*/ 267 w 287"/>
                <a:gd name="T31" fmla="*/ 117 h 185"/>
                <a:gd name="T32" fmla="*/ 287 w 287"/>
                <a:gd name="T33" fmla="*/ 108 h 185"/>
                <a:gd name="T34" fmla="*/ 268 w 287"/>
                <a:gd name="T35" fmla="*/ 98 h 185"/>
                <a:gd name="T36" fmla="*/ 252 w 287"/>
                <a:gd name="T37" fmla="*/ 89 h 185"/>
                <a:gd name="T38" fmla="*/ 236 w 287"/>
                <a:gd name="T39" fmla="*/ 84 h 185"/>
                <a:gd name="T40" fmla="*/ 228 w 287"/>
                <a:gd name="T41" fmla="*/ 75 h 185"/>
                <a:gd name="T42" fmla="*/ 237 w 287"/>
                <a:gd name="T43" fmla="*/ 69 h 185"/>
                <a:gd name="T44" fmla="*/ 226 w 287"/>
                <a:gd name="T45" fmla="*/ 63 h 185"/>
                <a:gd name="T46" fmla="*/ 236 w 287"/>
                <a:gd name="T47" fmla="*/ 54 h 185"/>
                <a:gd name="T48" fmla="*/ 237 w 287"/>
                <a:gd name="T49" fmla="*/ 49 h 185"/>
                <a:gd name="T50" fmla="*/ 221 w 287"/>
                <a:gd name="T51" fmla="*/ 44 h 185"/>
                <a:gd name="T52" fmla="*/ 207 w 287"/>
                <a:gd name="T53" fmla="*/ 39 h 185"/>
                <a:gd name="T54" fmla="*/ 191 w 287"/>
                <a:gd name="T55" fmla="*/ 36 h 185"/>
                <a:gd name="T56" fmla="*/ 182 w 287"/>
                <a:gd name="T57" fmla="*/ 29 h 185"/>
                <a:gd name="T58" fmla="*/ 180 w 287"/>
                <a:gd name="T59" fmla="*/ 22 h 185"/>
                <a:gd name="T60" fmla="*/ 138 w 287"/>
                <a:gd name="T61" fmla="*/ 22 h 185"/>
                <a:gd name="T62" fmla="*/ 109 w 287"/>
                <a:gd name="T63" fmla="*/ 27 h 185"/>
                <a:gd name="T64" fmla="*/ 122 w 287"/>
                <a:gd name="T65" fmla="*/ 13 h 185"/>
                <a:gd name="T66" fmla="*/ 108 w 287"/>
                <a:gd name="T67" fmla="*/ 2 h 185"/>
                <a:gd name="T68" fmla="*/ 84 w 287"/>
                <a:gd name="T69" fmla="*/ 6 h 185"/>
                <a:gd name="T70" fmla="*/ 79 w 287"/>
                <a:gd name="T71" fmla="*/ 13 h 185"/>
                <a:gd name="T72" fmla="*/ 69 w 287"/>
                <a:gd name="T73" fmla="*/ 21 h 185"/>
                <a:gd name="T74" fmla="*/ 60 w 287"/>
                <a:gd name="T75" fmla="*/ 32 h 185"/>
                <a:gd name="T76" fmla="*/ 54 w 287"/>
                <a:gd name="T77" fmla="*/ 38 h 185"/>
                <a:gd name="T78" fmla="*/ 57 w 287"/>
                <a:gd name="T79" fmla="*/ 36 h 185"/>
                <a:gd name="T80" fmla="*/ 69 w 287"/>
                <a:gd name="T81" fmla="*/ 7 h 185"/>
                <a:gd name="T82" fmla="*/ 39 w 287"/>
                <a:gd name="T83" fmla="*/ 7 h 185"/>
                <a:gd name="T84" fmla="*/ 14 w 287"/>
                <a:gd name="T85" fmla="*/ 21 h 185"/>
                <a:gd name="T86" fmla="*/ 21 w 287"/>
                <a:gd name="T87" fmla="*/ 37 h 185"/>
                <a:gd name="T88" fmla="*/ 5 w 287"/>
                <a:gd name="T89" fmla="*/ 49 h 185"/>
                <a:gd name="T90" fmla="*/ 37 w 287"/>
                <a:gd name="T91" fmla="*/ 56 h 185"/>
                <a:gd name="T92" fmla="*/ 74 w 287"/>
                <a:gd name="T93" fmla="*/ 59 h 185"/>
                <a:gd name="T94" fmla="*/ 97 w 287"/>
                <a:gd name="T95" fmla="*/ 56 h 185"/>
                <a:gd name="T96" fmla="*/ 122 w 287"/>
                <a:gd name="T97" fmla="*/ 52 h 185"/>
                <a:gd name="T98" fmla="*/ 135 w 287"/>
                <a:gd name="T99" fmla="*/ 64 h 185"/>
                <a:gd name="T100" fmla="*/ 150 w 287"/>
                <a:gd name="T101" fmla="*/ 71 h 185"/>
                <a:gd name="T102" fmla="*/ 157 w 287"/>
                <a:gd name="T103" fmla="*/ 83 h 185"/>
                <a:gd name="T104" fmla="*/ 152 w 287"/>
                <a:gd name="T105" fmla="*/ 102 h 185"/>
                <a:gd name="T106" fmla="*/ 130 w 287"/>
                <a:gd name="T107" fmla="*/ 124 h 185"/>
                <a:gd name="T108" fmla="*/ 91 w 287"/>
                <a:gd name="T109" fmla="*/ 128 h 185"/>
                <a:gd name="T110" fmla="*/ 66 w 287"/>
                <a:gd name="T111" fmla="*/ 142 h 185"/>
                <a:gd name="T112" fmla="*/ 91 w 287"/>
                <a:gd name="T113" fmla="*/ 140 h 185"/>
                <a:gd name="T114" fmla="*/ 109 w 287"/>
                <a:gd name="T115" fmla="*/ 137 h 185"/>
                <a:gd name="T116" fmla="*/ 122 w 287"/>
                <a:gd name="T117" fmla="*/ 142 h 185"/>
                <a:gd name="T118" fmla="*/ 127 w 287"/>
                <a:gd name="T119" fmla="*/ 153 h 185"/>
                <a:gd name="T120" fmla="*/ 131 w 287"/>
                <a:gd name="T121" fmla="*/ 159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7" h="185">
                  <a:moveTo>
                    <a:pt x="135" y="166"/>
                  </a:moveTo>
                  <a:lnTo>
                    <a:pt x="138" y="167"/>
                  </a:lnTo>
                  <a:lnTo>
                    <a:pt x="141" y="168"/>
                  </a:lnTo>
                  <a:lnTo>
                    <a:pt x="141" y="168"/>
                  </a:lnTo>
                  <a:lnTo>
                    <a:pt x="142" y="168"/>
                  </a:lnTo>
                  <a:lnTo>
                    <a:pt x="145" y="170"/>
                  </a:lnTo>
                  <a:lnTo>
                    <a:pt x="148" y="169"/>
                  </a:lnTo>
                  <a:lnTo>
                    <a:pt x="150" y="167"/>
                  </a:lnTo>
                  <a:lnTo>
                    <a:pt x="150" y="168"/>
                  </a:lnTo>
                  <a:lnTo>
                    <a:pt x="149" y="169"/>
                  </a:lnTo>
                  <a:lnTo>
                    <a:pt x="151" y="170"/>
                  </a:lnTo>
                  <a:lnTo>
                    <a:pt x="152" y="169"/>
                  </a:lnTo>
                  <a:lnTo>
                    <a:pt x="155" y="169"/>
                  </a:lnTo>
                  <a:lnTo>
                    <a:pt x="156" y="169"/>
                  </a:lnTo>
                  <a:lnTo>
                    <a:pt x="155" y="170"/>
                  </a:lnTo>
                  <a:lnTo>
                    <a:pt x="155" y="172"/>
                  </a:lnTo>
                  <a:lnTo>
                    <a:pt x="156" y="172"/>
                  </a:lnTo>
                  <a:lnTo>
                    <a:pt x="157" y="173"/>
                  </a:lnTo>
                  <a:lnTo>
                    <a:pt x="156" y="174"/>
                  </a:lnTo>
                  <a:lnTo>
                    <a:pt x="157" y="176"/>
                  </a:lnTo>
                  <a:lnTo>
                    <a:pt x="159" y="176"/>
                  </a:lnTo>
                  <a:lnTo>
                    <a:pt x="161" y="175"/>
                  </a:lnTo>
                  <a:lnTo>
                    <a:pt x="160" y="176"/>
                  </a:lnTo>
                  <a:lnTo>
                    <a:pt x="162" y="177"/>
                  </a:lnTo>
                  <a:lnTo>
                    <a:pt x="162" y="178"/>
                  </a:lnTo>
                  <a:lnTo>
                    <a:pt x="165" y="178"/>
                  </a:lnTo>
                  <a:lnTo>
                    <a:pt x="167" y="178"/>
                  </a:lnTo>
                  <a:lnTo>
                    <a:pt x="168" y="179"/>
                  </a:lnTo>
                  <a:lnTo>
                    <a:pt x="173" y="179"/>
                  </a:lnTo>
                  <a:lnTo>
                    <a:pt x="173" y="180"/>
                  </a:lnTo>
                  <a:lnTo>
                    <a:pt x="175" y="182"/>
                  </a:lnTo>
                  <a:lnTo>
                    <a:pt x="176" y="182"/>
                  </a:lnTo>
                  <a:lnTo>
                    <a:pt x="179" y="182"/>
                  </a:lnTo>
                  <a:lnTo>
                    <a:pt x="182" y="180"/>
                  </a:lnTo>
                  <a:lnTo>
                    <a:pt x="187" y="185"/>
                  </a:lnTo>
                  <a:lnTo>
                    <a:pt x="191" y="184"/>
                  </a:lnTo>
                  <a:lnTo>
                    <a:pt x="191" y="183"/>
                  </a:lnTo>
                  <a:lnTo>
                    <a:pt x="190" y="182"/>
                  </a:lnTo>
                  <a:lnTo>
                    <a:pt x="190" y="180"/>
                  </a:lnTo>
                  <a:lnTo>
                    <a:pt x="192" y="180"/>
                  </a:lnTo>
                  <a:lnTo>
                    <a:pt x="193" y="178"/>
                  </a:lnTo>
                  <a:lnTo>
                    <a:pt x="193" y="177"/>
                  </a:lnTo>
                  <a:lnTo>
                    <a:pt x="190" y="174"/>
                  </a:lnTo>
                  <a:lnTo>
                    <a:pt x="188" y="173"/>
                  </a:lnTo>
                  <a:lnTo>
                    <a:pt x="187" y="172"/>
                  </a:lnTo>
                  <a:lnTo>
                    <a:pt x="186" y="170"/>
                  </a:lnTo>
                  <a:lnTo>
                    <a:pt x="182" y="168"/>
                  </a:lnTo>
                  <a:lnTo>
                    <a:pt x="182" y="167"/>
                  </a:lnTo>
                  <a:lnTo>
                    <a:pt x="180" y="166"/>
                  </a:lnTo>
                  <a:lnTo>
                    <a:pt x="180" y="165"/>
                  </a:lnTo>
                  <a:lnTo>
                    <a:pt x="178" y="165"/>
                  </a:lnTo>
                  <a:lnTo>
                    <a:pt x="178" y="163"/>
                  </a:lnTo>
                  <a:lnTo>
                    <a:pt x="177" y="163"/>
                  </a:lnTo>
                  <a:lnTo>
                    <a:pt x="177" y="163"/>
                  </a:lnTo>
                  <a:lnTo>
                    <a:pt x="176" y="163"/>
                  </a:lnTo>
                  <a:lnTo>
                    <a:pt x="173" y="158"/>
                  </a:lnTo>
                  <a:lnTo>
                    <a:pt x="171" y="157"/>
                  </a:lnTo>
                  <a:lnTo>
                    <a:pt x="170" y="154"/>
                  </a:lnTo>
                  <a:lnTo>
                    <a:pt x="173" y="154"/>
                  </a:lnTo>
                  <a:lnTo>
                    <a:pt x="177" y="155"/>
                  </a:lnTo>
                  <a:lnTo>
                    <a:pt x="179" y="158"/>
                  </a:lnTo>
                  <a:lnTo>
                    <a:pt x="182" y="158"/>
                  </a:lnTo>
                  <a:lnTo>
                    <a:pt x="182" y="157"/>
                  </a:lnTo>
                  <a:lnTo>
                    <a:pt x="185" y="157"/>
                  </a:lnTo>
                  <a:lnTo>
                    <a:pt x="187" y="162"/>
                  </a:lnTo>
                  <a:lnTo>
                    <a:pt x="189" y="163"/>
                  </a:lnTo>
                  <a:lnTo>
                    <a:pt x="191" y="163"/>
                  </a:lnTo>
                  <a:lnTo>
                    <a:pt x="191" y="166"/>
                  </a:lnTo>
                  <a:lnTo>
                    <a:pt x="199" y="166"/>
                  </a:lnTo>
                  <a:lnTo>
                    <a:pt x="200" y="168"/>
                  </a:lnTo>
                  <a:lnTo>
                    <a:pt x="202" y="166"/>
                  </a:lnTo>
                  <a:lnTo>
                    <a:pt x="203" y="167"/>
                  </a:lnTo>
                  <a:lnTo>
                    <a:pt x="205" y="168"/>
                  </a:lnTo>
                  <a:lnTo>
                    <a:pt x="207" y="166"/>
                  </a:lnTo>
                  <a:lnTo>
                    <a:pt x="208" y="167"/>
                  </a:lnTo>
                  <a:lnTo>
                    <a:pt x="208" y="168"/>
                  </a:lnTo>
                  <a:lnTo>
                    <a:pt x="208" y="169"/>
                  </a:lnTo>
                  <a:lnTo>
                    <a:pt x="210" y="168"/>
                  </a:lnTo>
                  <a:lnTo>
                    <a:pt x="210" y="169"/>
                  </a:lnTo>
                  <a:lnTo>
                    <a:pt x="208" y="170"/>
                  </a:lnTo>
                  <a:lnTo>
                    <a:pt x="208" y="172"/>
                  </a:lnTo>
                  <a:lnTo>
                    <a:pt x="210" y="173"/>
                  </a:lnTo>
                  <a:lnTo>
                    <a:pt x="210" y="174"/>
                  </a:lnTo>
                  <a:lnTo>
                    <a:pt x="212" y="173"/>
                  </a:lnTo>
                  <a:lnTo>
                    <a:pt x="212" y="173"/>
                  </a:lnTo>
                  <a:lnTo>
                    <a:pt x="212" y="172"/>
                  </a:lnTo>
                  <a:lnTo>
                    <a:pt x="211" y="169"/>
                  </a:lnTo>
                  <a:lnTo>
                    <a:pt x="211" y="168"/>
                  </a:lnTo>
                  <a:lnTo>
                    <a:pt x="213" y="167"/>
                  </a:lnTo>
                  <a:lnTo>
                    <a:pt x="215" y="167"/>
                  </a:lnTo>
                  <a:lnTo>
                    <a:pt x="216" y="168"/>
                  </a:lnTo>
                  <a:lnTo>
                    <a:pt x="218" y="168"/>
                  </a:lnTo>
                  <a:lnTo>
                    <a:pt x="219" y="167"/>
                  </a:lnTo>
                  <a:lnTo>
                    <a:pt x="219" y="167"/>
                  </a:lnTo>
                  <a:lnTo>
                    <a:pt x="219" y="166"/>
                  </a:lnTo>
                  <a:lnTo>
                    <a:pt x="219" y="166"/>
                  </a:lnTo>
                  <a:lnTo>
                    <a:pt x="218" y="166"/>
                  </a:lnTo>
                  <a:lnTo>
                    <a:pt x="216" y="166"/>
                  </a:lnTo>
                  <a:lnTo>
                    <a:pt x="216" y="164"/>
                  </a:lnTo>
                  <a:lnTo>
                    <a:pt x="215" y="162"/>
                  </a:lnTo>
                  <a:lnTo>
                    <a:pt x="216" y="160"/>
                  </a:lnTo>
                  <a:lnTo>
                    <a:pt x="217" y="158"/>
                  </a:lnTo>
                  <a:lnTo>
                    <a:pt x="219" y="159"/>
                  </a:lnTo>
                  <a:lnTo>
                    <a:pt x="221" y="162"/>
                  </a:lnTo>
                  <a:lnTo>
                    <a:pt x="221" y="160"/>
                  </a:lnTo>
                  <a:lnTo>
                    <a:pt x="221" y="159"/>
                  </a:lnTo>
                  <a:lnTo>
                    <a:pt x="222" y="158"/>
                  </a:lnTo>
                  <a:lnTo>
                    <a:pt x="225" y="156"/>
                  </a:lnTo>
                  <a:lnTo>
                    <a:pt x="226" y="155"/>
                  </a:lnTo>
                  <a:lnTo>
                    <a:pt x="225" y="153"/>
                  </a:lnTo>
                  <a:lnTo>
                    <a:pt x="226" y="149"/>
                  </a:lnTo>
                  <a:lnTo>
                    <a:pt x="223" y="149"/>
                  </a:lnTo>
                  <a:lnTo>
                    <a:pt x="220" y="148"/>
                  </a:lnTo>
                  <a:lnTo>
                    <a:pt x="219" y="147"/>
                  </a:lnTo>
                  <a:lnTo>
                    <a:pt x="220" y="145"/>
                  </a:lnTo>
                  <a:lnTo>
                    <a:pt x="223" y="145"/>
                  </a:lnTo>
                  <a:lnTo>
                    <a:pt x="226" y="143"/>
                  </a:lnTo>
                  <a:lnTo>
                    <a:pt x="226" y="140"/>
                  </a:lnTo>
                  <a:lnTo>
                    <a:pt x="222" y="140"/>
                  </a:lnTo>
                  <a:lnTo>
                    <a:pt x="223" y="139"/>
                  </a:lnTo>
                  <a:lnTo>
                    <a:pt x="223" y="139"/>
                  </a:lnTo>
                  <a:lnTo>
                    <a:pt x="222" y="138"/>
                  </a:lnTo>
                  <a:lnTo>
                    <a:pt x="218" y="140"/>
                  </a:lnTo>
                  <a:lnTo>
                    <a:pt x="220" y="137"/>
                  </a:lnTo>
                  <a:lnTo>
                    <a:pt x="220" y="136"/>
                  </a:lnTo>
                  <a:lnTo>
                    <a:pt x="217" y="136"/>
                  </a:lnTo>
                  <a:lnTo>
                    <a:pt x="212" y="138"/>
                  </a:lnTo>
                  <a:lnTo>
                    <a:pt x="211" y="137"/>
                  </a:lnTo>
                  <a:lnTo>
                    <a:pt x="216" y="135"/>
                  </a:lnTo>
                  <a:lnTo>
                    <a:pt x="213" y="135"/>
                  </a:lnTo>
                  <a:lnTo>
                    <a:pt x="211" y="135"/>
                  </a:lnTo>
                  <a:lnTo>
                    <a:pt x="209" y="135"/>
                  </a:lnTo>
                  <a:lnTo>
                    <a:pt x="207" y="137"/>
                  </a:lnTo>
                  <a:lnTo>
                    <a:pt x="207" y="135"/>
                  </a:lnTo>
                  <a:lnTo>
                    <a:pt x="207" y="133"/>
                  </a:lnTo>
                  <a:lnTo>
                    <a:pt x="207" y="133"/>
                  </a:lnTo>
                  <a:lnTo>
                    <a:pt x="207" y="130"/>
                  </a:lnTo>
                  <a:lnTo>
                    <a:pt x="203" y="130"/>
                  </a:lnTo>
                  <a:lnTo>
                    <a:pt x="205" y="129"/>
                  </a:lnTo>
                  <a:lnTo>
                    <a:pt x="206" y="129"/>
                  </a:lnTo>
                  <a:lnTo>
                    <a:pt x="205" y="128"/>
                  </a:lnTo>
                  <a:lnTo>
                    <a:pt x="207" y="127"/>
                  </a:lnTo>
                  <a:lnTo>
                    <a:pt x="205" y="126"/>
                  </a:lnTo>
                  <a:lnTo>
                    <a:pt x="206" y="125"/>
                  </a:lnTo>
                  <a:lnTo>
                    <a:pt x="207" y="124"/>
                  </a:lnTo>
                  <a:lnTo>
                    <a:pt x="203" y="124"/>
                  </a:lnTo>
                  <a:lnTo>
                    <a:pt x="199" y="125"/>
                  </a:lnTo>
                  <a:lnTo>
                    <a:pt x="199" y="124"/>
                  </a:lnTo>
                  <a:lnTo>
                    <a:pt x="201" y="122"/>
                  </a:lnTo>
                  <a:lnTo>
                    <a:pt x="201" y="120"/>
                  </a:lnTo>
                  <a:lnTo>
                    <a:pt x="203" y="119"/>
                  </a:lnTo>
                  <a:lnTo>
                    <a:pt x="205" y="120"/>
                  </a:lnTo>
                  <a:lnTo>
                    <a:pt x="209" y="119"/>
                  </a:lnTo>
                  <a:lnTo>
                    <a:pt x="211" y="119"/>
                  </a:lnTo>
                  <a:lnTo>
                    <a:pt x="211" y="117"/>
                  </a:lnTo>
                  <a:lnTo>
                    <a:pt x="209" y="115"/>
                  </a:lnTo>
                  <a:lnTo>
                    <a:pt x="205" y="115"/>
                  </a:lnTo>
                  <a:lnTo>
                    <a:pt x="203" y="114"/>
                  </a:lnTo>
                  <a:lnTo>
                    <a:pt x="203" y="112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9" y="111"/>
                  </a:lnTo>
                  <a:lnTo>
                    <a:pt x="212" y="114"/>
                  </a:lnTo>
                  <a:lnTo>
                    <a:pt x="213" y="114"/>
                  </a:lnTo>
                  <a:lnTo>
                    <a:pt x="213" y="112"/>
                  </a:lnTo>
                  <a:lnTo>
                    <a:pt x="215" y="112"/>
                  </a:lnTo>
                  <a:lnTo>
                    <a:pt x="212" y="109"/>
                  </a:lnTo>
                  <a:lnTo>
                    <a:pt x="215" y="108"/>
                  </a:lnTo>
                  <a:lnTo>
                    <a:pt x="217" y="109"/>
                  </a:lnTo>
                  <a:lnTo>
                    <a:pt x="219" y="109"/>
                  </a:lnTo>
                  <a:lnTo>
                    <a:pt x="219" y="112"/>
                  </a:lnTo>
                  <a:lnTo>
                    <a:pt x="217" y="113"/>
                  </a:lnTo>
                  <a:lnTo>
                    <a:pt x="220" y="114"/>
                  </a:lnTo>
                  <a:lnTo>
                    <a:pt x="225" y="116"/>
                  </a:lnTo>
                  <a:lnTo>
                    <a:pt x="227" y="116"/>
                  </a:lnTo>
                  <a:lnTo>
                    <a:pt x="227" y="119"/>
                  </a:lnTo>
                  <a:lnTo>
                    <a:pt x="230" y="119"/>
                  </a:lnTo>
                  <a:lnTo>
                    <a:pt x="233" y="118"/>
                  </a:lnTo>
                  <a:lnTo>
                    <a:pt x="231" y="120"/>
                  </a:lnTo>
                  <a:lnTo>
                    <a:pt x="231" y="123"/>
                  </a:lnTo>
                  <a:lnTo>
                    <a:pt x="231" y="124"/>
                  </a:lnTo>
                  <a:lnTo>
                    <a:pt x="233" y="127"/>
                  </a:lnTo>
                  <a:lnTo>
                    <a:pt x="238" y="126"/>
                  </a:lnTo>
                  <a:lnTo>
                    <a:pt x="238" y="127"/>
                  </a:lnTo>
                  <a:lnTo>
                    <a:pt x="235" y="129"/>
                  </a:lnTo>
                  <a:lnTo>
                    <a:pt x="236" y="132"/>
                  </a:lnTo>
                  <a:lnTo>
                    <a:pt x="240" y="130"/>
                  </a:lnTo>
                  <a:lnTo>
                    <a:pt x="241" y="133"/>
                  </a:lnTo>
                  <a:lnTo>
                    <a:pt x="243" y="132"/>
                  </a:lnTo>
                  <a:lnTo>
                    <a:pt x="243" y="134"/>
                  </a:lnTo>
                  <a:lnTo>
                    <a:pt x="245" y="135"/>
                  </a:lnTo>
                  <a:lnTo>
                    <a:pt x="246" y="136"/>
                  </a:lnTo>
                  <a:lnTo>
                    <a:pt x="249" y="133"/>
                  </a:lnTo>
                  <a:lnTo>
                    <a:pt x="250" y="132"/>
                  </a:lnTo>
                  <a:lnTo>
                    <a:pt x="251" y="129"/>
                  </a:lnTo>
                  <a:lnTo>
                    <a:pt x="253" y="129"/>
                  </a:lnTo>
                  <a:lnTo>
                    <a:pt x="253" y="127"/>
                  </a:lnTo>
                  <a:lnTo>
                    <a:pt x="253" y="124"/>
                  </a:lnTo>
                  <a:lnTo>
                    <a:pt x="254" y="122"/>
                  </a:lnTo>
                  <a:lnTo>
                    <a:pt x="259" y="125"/>
                  </a:lnTo>
                  <a:lnTo>
                    <a:pt x="262" y="125"/>
                  </a:lnTo>
                  <a:lnTo>
                    <a:pt x="262" y="124"/>
                  </a:lnTo>
                  <a:lnTo>
                    <a:pt x="264" y="122"/>
                  </a:lnTo>
                  <a:lnTo>
                    <a:pt x="267" y="122"/>
                  </a:lnTo>
                  <a:lnTo>
                    <a:pt x="269" y="118"/>
                  </a:lnTo>
                  <a:lnTo>
                    <a:pt x="273" y="118"/>
                  </a:lnTo>
                  <a:lnTo>
                    <a:pt x="272" y="116"/>
                  </a:lnTo>
                  <a:lnTo>
                    <a:pt x="267" y="117"/>
                  </a:lnTo>
                  <a:lnTo>
                    <a:pt x="269" y="115"/>
                  </a:lnTo>
                  <a:lnTo>
                    <a:pt x="271" y="116"/>
                  </a:lnTo>
                  <a:lnTo>
                    <a:pt x="272" y="114"/>
                  </a:lnTo>
                  <a:lnTo>
                    <a:pt x="269" y="114"/>
                  </a:lnTo>
                  <a:lnTo>
                    <a:pt x="272" y="113"/>
                  </a:lnTo>
                  <a:lnTo>
                    <a:pt x="277" y="114"/>
                  </a:lnTo>
                  <a:lnTo>
                    <a:pt x="279" y="114"/>
                  </a:lnTo>
                  <a:lnTo>
                    <a:pt x="281" y="114"/>
                  </a:lnTo>
                  <a:lnTo>
                    <a:pt x="280" y="112"/>
                  </a:lnTo>
                  <a:lnTo>
                    <a:pt x="280" y="112"/>
                  </a:lnTo>
                  <a:lnTo>
                    <a:pt x="282" y="111"/>
                  </a:lnTo>
                  <a:lnTo>
                    <a:pt x="284" y="109"/>
                  </a:lnTo>
                  <a:lnTo>
                    <a:pt x="287" y="108"/>
                  </a:lnTo>
                  <a:lnTo>
                    <a:pt x="286" y="107"/>
                  </a:lnTo>
                  <a:lnTo>
                    <a:pt x="283" y="104"/>
                  </a:lnTo>
                  <a:lnTo>
                    <a:pt x="281" y="104"/>
                  </a:lnTo>
                  <a:lnTo>
                    <a:pt x="280" y="103"/>
                  </a:lnTo>
                  <a:lnTo>
                    <a:pt x="277" y="103"/>
                  </a:lnTo>
                  <a:lnTo>
                    <a:pt x="274" y="103"/>
                  </a:lnTo>
                  <a:lnTo>
                    <a:pt x="271" y="103"/>
                  </a:lnTo>
                  <a:lnTo>
                    <a:pt x="266" y="104"/>
                  </a:lnTo>
                  <a:lnTo>
                    <a:pt x="269" y="101"/>
                  </a:lnTo>
                  <a:lnTo>
                    <a:pt x="271" y="99"/>
                  </a:lnTo>
                  <a:lnTo>
                    <a:pt x="272" y="98"/>
                  </a:lnTo>
                  <a:lnTo>
                    <a:pt x="269" y="98"/>
                  </a:lnTo>
                  <a:lnTo>
                    <a:pt x="268" y="98"/>
                  </a:lnTo>
                  <a:lnTo>
                    <a:pt x="260" y="99"/>
                  </a:lnTo>
                  <a:lnTo>
                    <a:pt x="258" y="99"/>
                  </a:lnTo>
                  <a:lnTo>
                    <a:pt x="260" y="98"/>
                  </a:lnTo>
                  <a:lnTo>
                    <a:pt x="258" y="98"/>
                  </a:lnTo>
                  <a:lnTo>
                    <a:pt x="259" y="97"/>
                  </a:lnTo>
                  <a:lnTo>
                    <a:pt x="262" y="97"/>
                  </a:lnTo>
                  <a:lnTo>
                    <a:pt x="262" y="96"/>
                  </a:lnTo>
                  <a:lnTo>
                    <a:pt x="261" y="92"/>
                  </a:lnTo>
                  <a:lnTo>
                    <a:pt x="260" y="91"/>
                  </a:lnTo>
                  <a:lnTo>
                    <a:pt x="259" y="91"/>
                  </a:lnTo>
                  <a:lnTo>
                    <a:pt x="258" y="89"/>
                  </a:lnTo>
                  <a:lnTo>
                    <a:pt x="252" y="91"/>
                  </a:lnTo>
                  <a:lnTo>
                    <a:pt x="252" y="89"/>
                  </a:lnTo>
                  <a:lnTo>
                    <a:pt x="253" y="88"/>
                  </a:lnTo>
                  <a:lnTo>
                    <a:pt x="254" y="87"/>
                  </a:lnTo>
                  <a:lnTo>
                    <a:pt x="256" y="86"/>
                  </a:lnTo>
                  <a:lnTo>
                    <a:pt x="251" y="87"/>
                  </a:lnTo>
                  <a:lnTo>
                    <a:pt x="247" y="87"/>
                  </a:lnTo>
                  <a:lnTo>
                    <a:pt x="242" y="88"/>
                  </a:lnTo>
                  <a:lnTo>
                    <a:pt x="242" y="87"/>
                  </a:lnTo>
                  <a:lnTo>
                    <a:pt x="240" y="87"/>
                  </a:lnTo>
                  <a:lnTo>
                    <a:pt x="241" y="86"/>
                  </a:lnTo>
                  <a:lnTo>
                    <a:pt x="243" y="85"/>
                  </a:lnTo>
                  <a:lnTo>
                    <a:pt x="242" y="84"/>
                  </a:lnTo>
                  <a:lnTo>
                    <a:pt x="238" y="84"/>
                  </a:lnTo>
                  <a:lnTo>
                    <a:pt x="236" y="84"/>
                  </a:lnTo>
                  <a:lnTo>
                    <a:pt x="235" y="84"/>
                  </a:lnTo>
                  <a:lnTo>
                    <a:pt x="237" y="82"/>
                  </a:lnTo>
                  <a:lnTo>
                    <a:pt x="238" y="81"/>
                  </a:lnTo>
                  <a:lnTo>
                    <a:pt x="237" y="81"/>
                  </a:lnTo>
                  <a:lnTo>
                    <a:pt x="231" y="79"/>
                  </a:lnTo>
                  <a:lnTo>
                    <a:pt x="223" y="78"/>
                  </a:lnTo>
                  <a:lnTo>
                    <a:pt x="221" y="78"/>
                  </a:lnTo>
                  <a:lnTo>
                    <a:pt x="221" y="77"/>
                  </a:lnTo>
                  <a:lnTo>
                    <a:pt x="225" y="77"/>
                  </a:lnTo>
                  <a:lnTo>
                    <a:pt x="226" y="76"/>
                  </a:lnTo>
                  <a:lnTo>
                    <a:pt x="229" y="76"/>
                  </a:lnTo>
                  <a:lnTo>
                    <a:pt x="228" y="75"/>
                  </a:lnTo>
                  <a:lnTo>
                    <a:pt x="228" y="75"/>
                  </a:lnTo>
                  <a:lnTo>
                    <a:pt x="226" y="73"/>
                  </a:lnTo>
                  <a:lnTo>
                    <a:pt x="227" y="72"/>
                  </a:lnTo>
                  <a:lnTo>
                    <a:pt x="230" y="72"/>
                  </a:lnTo>
                  <a:lnTo>
                    <a:pt x="231" y="72"/>
                  </a:lnTo>
                  <a:lnTo>
                    <a:pt x="229" y="71"/>
                  </a:lnTo>
                  <a:lnTo>
                    <a:pt x="227" y="69"/>
                  </a:lnTo>
                  <a:lnTo>
                    <a:pt x="223" y="69"/>
                  </a:lnTo>
                  <a:lnTo>
                    <a:pt x="223" y="68"/>
                  </a:lnTo>
                  <a:lnTo>
                    <a:pt x="227" y="68"/>
                  </a:lnTo>
                  <a:lnTo>
                    <a:pt x="228" y="68"/>
                  </a:lnTo>
                  <a:lnTo>
                    <a:pt x="230" y="68"/>
                  </a:lnTo>
                  <a:lnTo>
                    <a:pt x="230" y="67"/>
                  </a:lnTo>
                  <a:lnTo>
                    <a:pt x="237" y="69"/>
                  </a:lnTo>
                  <a:lnTo>
                    <a:pt x="240" y="69"/>
                  </a:lnTo>
                  <a:lnTo>
                    <a:pt x="243" y="68"/>
                  </a:lnTo>
                  <a:lnTo>
                    <a:pt x="247" y="69"/>
                  </a:lnTo>
                  <a:lnTo>
                    <a:pt x="248" y="68"/>
                  </a:lnTo>
                  <a:lnTo>
                    <a:pt x="249" y="67"/>
                  </a:lnTo>
                  <a:lnTo>
                    <a:pt x="247" y="66"/>
                  </a:lnTo>
                  <a:lnTo>
                    <a:pt x="243" y="65"/>
                  </a:lnTo>
                  <a:lnTo>
                    <a:pt x="239" y="64"/>
                  </a:lnTo>
                  <a:lnTo>
                    <a:pt x="235" y="65"/>
                  </a:lnTo>
                  <a:lnTo>
                    <a:pt x="232" y="64"/>
                  </a:lnTo>
                  <a:lnTo>
                    <a:pt x="230" y="65"/>
                  </a:lnTo>
                  <a:lnTo>
                    <a:pt x="228" y="63"/>
                  </a:lnTo>
                  <a:lnTo>
                    <a:pt x="226" y="63"/>
                  </a:lnTo>
                  <a:lnTo>
                    <a:pt x="223" y="63"/>
                  </a:lnTo>
                  <a:lnTo>
                    <a:pt x="227" y="62"/>
                  </a:lnTo>
                  <a:lnTo>
                    <a:pt x="231" y="62"/>
                  </a:lnTo>
                  <a:lnTo>
                    <a:pt x="235" y="61"/>
                  </a:lnTo>
                  <a:lnTo>
                    <a:pt x="237" y="59"/>
                  </a:lnTo>
                  <a:lnTo>
                    <a:pt x="240" y="59"/>
                  </a:lnTo>
                  <a:lnTo>
                    <a:pt x="243" y="61"/>
                  </a:lnTo>
                  <a:lnTo>
                    <a:pt x="247" y="58"/>
                  </a:lnTo>
                  <a:lnTo>
                    <a:pt x="247" y="57"/>
                  </a:lnTo>
                  <a:lnTo>
                    <a:pt x="241" y="53"/>
                  </a:lnTo>
                  <a:lnTo>
                    <a:pt x="238" y="52"/>
                  </a:lnTo>
                  <a:lnTo>
                    <a:pt x="236" y="53"/>
                  </a:lnTo>
                  <a:lnTo>
                    <a:pt x="236" y="54"/>
                  </a:lnTo>
                  <a:lnTo>
                    <a:pt x="231" y="56"/>
                  </a:lnTo>
                  <a:lnTo>
                    <a:pt x="229" y="57"/>
                  </a:lnTo>
                  <a:lnTo>
                    <a:pt x="226" y="57"/>
                  </a:lnTo>
                  <a:lnTo>
                    <a:pt x="230" y="54"/>
                  </a:lnTo>
                  <a:lnTo>
                    <a:pt x="231" y="53"/>
                  </a:lnTo>
                  <a:lnTo>
                    <a:pt x="223" y="54"/>
                  </a:lnTo>
                  <a:lnTo>
                    <a:pt x="220" y="54"/>
                  </a:lnTo>
                  <a:lnTo>
                    <a:pt x="220" y="54"/>
                  </a:lnTo>
                  <a:lnTo>
                    <a:pt x="223" y="53"/>
                  </a:lnTo>
                  <a:lnTo>
                    <a:pt x="231" y="52"/>
                  </a:lnTo>
                  <a:lnTo>
                    <a:pt x="233" y="49"/>
                  </a:lnTo>
                  <a:lnTo>
                    <a:pt x="235" y="51"/>
                  </a:lnTo>
                  <a:lnTo>
                    <a:pt x="237" y="49"/>
                  </a:lnTo>
                  <a:lnTo>
                    <a:pt x="238" y="47"/>
                  </a:lnTo>
                  <a:lnTo>
                    <a:pt x="231" y="46"/>
                  </a:lnTo>
                  <a:lnTo>
                    <a:pt x="229" y="45"/>
                  </a:lnTo>
                  <a:lnTo>
                    <a:pt x="227" y="45"/>
                  </a:lnTo>
                  <a:lnTo>
                    <a:pt x="222" y="45"/>
                  </a:lnTo>
                  <a:lnTo>
                    <a:pt x="219" y="47"/>
                  </a:lnTo>
                  <a:lnTo>
                    <a:pt x="217" y="47"/>
                  </a:lnTo>
                  <a:lnTo>
                    <a:pt x="215" y="48"/>
                  </a:lnTo>
                  <a:lnTo>
                    <a:pt x="215" y="48"/>
                  </a:lnTo>
                  <a:lnTo>
                    <a:pt x="217" y="46"/>
                  </a:lnTo>
                  <a:lnTo>
                    <a:pt x="220" y="45"/>
                  </a:lnTo>
                  <a:lnTo>
                    <a:pt x="223" y="44"/>
                  </a:lnTo>
                  <a:lnTo>
                    <a:pt x="221" y="44"/>
                  </a:lnTo>
                  <a:lnTo>
                    <a:pt x="218" y="45"/>
                  </a:lnTo>
                  <a:lnTo>
                    <a:pt x="216" y="45"/>
                  </a:lnTo>
                  <a:lnTo>
                    <a:pt x="210" y="46"/>
                  </a:lnTo>
                  <a:lnTo>
                    <a:pt x="211" y="45"/>
                  </a:lnTo>
                  <a:lnTo>
                    <a:pt x="213" y="44"/>
                  </a:lnTo>
                  <a:lnTo>
                    <a:pt x="217" y="43"/>
                  </a:lnTo>
                  <a:lnTo>
                    <a:pt x="217" y="41"/>
                  </a:lnTo>
                  <a:lnTo>
                    <a:pt x="215" y="41"/>
                  </a:lnTo>
                  <a:lnTo>
                    <a:pt x="211" y="42"/>
                  </a:lnTo>
                  <a:lnTo>
                    <a:pt x="207" y="42"/>
                  </a:lnTo>
                  <a:lnTo>
                    <a:pt x="207" y="41"/>
                  </a:lnTo>
                  <a:lnTo>
                    <a:pt x="200" y="41"/>
                  </a:lnTo>
                  <a:lnTo>
                    <a:pt x="207" y="39"/>
                  </a:lnTo>
                  <a:lnTo>
                    <a:pt x="210" y="39"/>
                  </a:lnTo>
                  <a:lnTo>
                    <a:pt x="212" y="38"/>
                  </a:lnTo>
                  <a:lnTo>
                    <a:pt x="215" y="37"/>
                  </a:lnTo>
                  <a:lnTo>
                    <a:pt x="215" y="36"/>
                  </a:lnTo>
                  <a:lnTo>
                    <a:pt x="212" y="34"/>
                  </a:lnTo>
                  <a:lnTo>
                    <a:pt x="206" y="32"/>
                  </a:lnTo>
                  <a:lnTo>
                    <a:pt x="202" y="31"/>
                  </a:lnTo>
                  <a:lnTo>
                    <a:pt x="202" y="31"/>
                  </a:lnTo>
                  <a:lnTo>
                    <a:pt x="200" y="32"/>
                  </a:lnTo>
                  <a:lnTo>
                    <a:pt x="197" y="33"/>
                  </a:lnTo>
                  <a:lnTo>
                    <a:pt x="195" y="33"/>
                  </a:lnTo>
                  <a:lnTo>
                    <a:pt x="191" y="33"/>
                  </a:lnTo>
                  <a:lnTo>
                    <a:pt x="191" y="36"/>
                  </a:lnTo>
                  <a:lnTo>
                    <a:pt x="190" y="36"/>
                  </a:lnTo>
                  <a:lnTo>
                    <a:pt x="190" y="36"/>
                  </a:lnTo>
                  <a:lnTo>
                    <a:pt x="188" y="36"/>
                  </a:lnTo>
                  <a:lnTo>
                    <a:pt x="188" y="35"/>
                  </a:lnTo>
                  <a:lnTo>
                    <a:pt x="187" y="35"/>
                  </a:lnTo>
                  <a:lnTo>
                    <a:pt x="189" y="33"/>
                  </a:lnTo>
                  <a:lnTo>
                    <a:pt x="187" y="33"/>
                  </a:lnTo>
                  <a:lnTo>
                    <a:pt x="182" y="34"/>
                  </a:lnTo>
                  <a:lnTo>
                    <a:pt x="187" y="32"/>
                  </a:lnTo>
                  <a:lnTo>
                    <a:pt x="191" y="29"/>
                  </a:lnTo>
                  <a:lnTo>
                    <a:pt x="191" y="29"/>
                  </a:lnTo>
                  <a:lnTo>
                    <a:pt x="186" y="29"/>
                  </a:lnTo>
                  <a:lnTo>
                    <a:pt x="182" y="29"/>
                  </a:lnTo>
                  <a:lnTo>
                    <a:pt x="178" y="32"/>
                  </a:lnTo>
                  <a:lnTo>
                    <a:pt x="176" y="32"/>
                  </a:lnTo>
                  <a:lnTo>
                    <a:pt x="178" y="31"/>
                  </a:lnTo>
                  <a:lnTo>
                    <a:pt x="173" y="31"/>
                  </a:lnTo>
                  <a:lnTo>
                    <a:pt x="178" y="29"/>
                  </a:lnTo>
                  <a:lnTo>
                    <a:pt x="182" y="28"/>
                  </a:lnTo>
                  <a:lnTo>
                    <a:pt x="185" y="27"/>
                  </a:lnTo>
                  <a:lnTo>
                    <a:pt x="186" y="25"/>
                  </a:lnTo>
                  <a:lnTo>
                    <a:pt x="181" y="25"/>
                  </a:lnTo>
                  <a:lnTo>
                    <a:pt x="178" y="25"/>
                  </a:lnTo>
                  <a:lnTo>
                    <a:pt x="177" y="25"/>
                  </a:lnTo>
                  <a:lnTo>
                    <a:pt x="180" y="23"/>
                  </a:lnTo>
                  <a:lnTo>
                    <a:pt x="180" y="22"/>
                  </a:lnTo>
                  <a:lnTo>
                    <a:pt x="180" y="19"/>
                  </a:lnTo>
                  <a:lnTo>
                    <a:pt x="178" y="19"/>
                  </a:lnTo>
                  <a:lnTo>
                    <a:pt x="179" y="18"/>
                  </a:lnTo>
                  <a:lnTo>
                    <a:pt x="176" y="17"/>
                  </a:lnTo>
                  <a:lnTo>
                    <a:pt x="171" y="17"/>
                  </a:lnTo>
                  <a:lnTo>
                    <a:pt x="161" y="15"/>
                  </a:lnTo>
                  <a:lnTo>
                    <a:pt x="156" y="15"/>
                  </a:lnTo>
                  <a:lnTo>
                    <a:pt x="149" y="16"/>
                  </a:lnTo>
                  <a:lnTo>
                    <a:pt x="142" y="18"/>
                  </a:lnTo>
                  <a:lnTo>
                    <a:pt x="141" y="19"/>
                  </a:lnTo>
                  <a:lnTo>
                    <a:pt x="144" y="21"/>
                  </a:lnTo>
                  <a:lnTo>
                    <a:pt x="141" y="22"/>
                  </a:lnTo>
                  <a:lnTo>
                    <a:pt x="138" y="22"/>
                  </a:lnTo>
                  <a:lnTo>
                    <a:pt x="135" y="23"/>
                  </a:lnTo>
                  <a:lnTo>
                    <a:pt x="132" y="21"/>
                  </a:lnTo>
                  <a:lnTo>
                    <a:pt x="129" y="22"/>
                  </a:lnTo>
                  <a:lnTo>
                    <a:pt x="127" y="22"/>
                  </a:lnTo>
                  <a:lnTo>
                    <a:pt x="128" y="19"/>
                  </a:lnTo>
                  <a:lnTo>
                    <a:pt x="128" y="18"/>
                  </a:lnTo>
                  <a:lnTo>
                    <a:pt x="125" y="21"/>
                  </a:lnTo>
                  <a:lnTo>
                    <a:pt x="124" y="22"/>
                  </a:lnTo>
                  <a:lnTo>
                    <a:pt x="121" y="23"/>
                  </a:lnTo>
                  <a:lnTo>
                    <a:pt x="120" y="23"/>
                  </a:lnTo>
                  <a:lnTo>
                    <a:pt x="118" y="24"/>
                  </a:lnTo>
                  <a:lnTo>
                    <a:pt x="114" y="26"/>
                  </a:lnTo>
                  <a:lnTo>
                    <a:pt x="109" y="27"/>
                  </a:lnTo>
                  <a:lnTo>
                    <a:pt x="110" y="26"/>
                  </a:lnTo>
                  <a:lnTo>
                    <a:pt x="110" y="25"/>
                  </a:lnTo>
                  <a:lnTo>
                    <a:pt x="111" y="25"/>
                  </a:lnTo>
                  <a:lnTo>
                    <a:pt x="115" y="25"/>
                  </a:lnTo>
                  <a:lnTo>
                    <a:pt x="115" y="25"/>
                  </a:lnTo>
                  <a:lnTo>
                    <a:pt x="114" y="24"/>
                  </a:lnTo>
                  <a:lnTo>
                    <a:pt x="112" y="24"/>
                  </a:lnTo>
                  <a:lnTo>
                    <a:pt x="116" y="22"/>
                  </a:lnTo>
                  <a:lnTo>
                    <a:pt x="118" y="21"/>
                  </a:lnTo>
                  <a:lnTo>
                    <a:pt x="122" y="17"/>
                  </a:lnTo>
                  <a:lnTo>
                    <a:pt x="126" y="15"/>
                  </a:lnTo>
                  <a:lnTo>
                    <a:pt x="124" y="14"/>
                  </a:lnTo>
                  <a:lnTo>
                    <a:pt x="122" y="13"/>
                  </a:lnTo>
                  <a:lnTo>
                    <a:pt x="122" y="12"/>
                  </a:lnTo>
                  <a:lnTo>
                    <a:pt x="126" y="12"/>
                  </a:lnTo>
                  <a:lnTo>
                    <a:pt x="127" y="11"/>
                  </a:lnTo>
                  <a:lnTo>
                    <a:pt x="126" y="9"/>
                  </a:lnTo>
                  <a:lnTo>
                    <a:pt x="124" y="8"/>
                  </a:lnTo>
                  <a:lnTo>
                    <a:pt x="119" y="8"/>
                  </a:lnTo>
                  <a:lnTo>
                    <a:pt x="124" y="7"/>
                  </a:lnTo>
                  <a:lnTo>
                    <a:pt x="126" y="3"/>
                  </a:lnTo>
                  <a:lnTo>
                    <a:pt x="125" y="2"/>
                  </a:lnTo>
                  <a:lnTo>
                    <a:pt x="125" y="1"/>
                  </a:lnTo>
                  <a:lnTo>
                    <a:pt x="114" y="2"/>
                  </a:lnTo>
                  <a:lnTo>
                    <a:pt x="110" y="1"/>
                  </a:lnTo>
                  <a:lnTo>
                    <a:pt x="108" y="2"/>
                  </a:lnTo>
                  <a:lnTo>
                    <a:pt x="105" y="2"/>
                  </a:lnTo>
                  <a:lnTo>
                    <a:pt x="100" y="3"/>
                  </a:lnTo>
                  <a:lnTo>
                    <a:pt x="95" y="4"/>
                  </a:lnTo>
                  <a:lnTo>
                    <a:pt x="97" y="6"/>
                  </a:lnTo>
                  <a:lnTo>
                    <a:pt x="95" y="7"/>
                  </a:lnTo>
                  <a:lnTo>
                    <a:pt x="95" y="6"/>
                  </a:lnTo>
                  <a:lnTo>
                    <a:pt x="95" y="5"/>
                  </a:lnTo>
                  <a:lnTo>
                    <a:pt x="91" y="5"/>
                  </a:lnTo>
                  <a:lnTo>
                    <a:pt x="88" y="5"/>
                  </a:lnTo>
                  <a:lnTo>
                    <a:pt x="86" y="6"/>
                  </a:lnTo>
                  <a:lnTo>
                    <a:pt x="87" y="8"/>
                  </a:lnTo>
                  <a:lnTo>
                    <a:pt x="85" y="7"/>
                  </a:lnTo>
                  <a:lnTo>
                    <a:pt x="84" y="6"/>
                  </a:lnTo>
                  <a:lnTo>
                    <a:pt x="80" y="6"/>
                  </a:lnTo>
                  <a:lnTo>
                    <a:pt x="78" y="8"/>
                  </a:lnTo>
                  <a:lnTo>
                    <a:pt x="80" y="9"/>
                  </a:lnTo>
                  <a:lnTo>
                    <a:pt x="90" y="11"/>
                  </a:lnTo>
                  <a:lnTo>
                    <a:pt x="89" y="12"/>
                  </a:lnTo>
                  <a:lnTo>
                    <a:pt x="86" y="12"/>
                  </a:lnTo>
                  <a:lnTo>
                    <a:pt x="76" y="9"/>
                  </a:lnTo>
                  <a:lnTo>
                    <a:pt x="75" y="11"/>
                  </a:lnTo>
                  <a:lnTo>
                    <a:pt x="74" y="11"/>
                  </a:lnTo>
                  <a:lnTo>
                    <a:pt x="71" y="11"/>
                  </a:lnTo>
                  <a:lnTo>
                    <a:pt x="74" y="12"/>
                  </a:lnTo>
                  <a:lnTo>
                    <a:pt x="76" y="12"/>
                  </a:lnTo>
                  <a:lnTo>
                    <a:pt x="79" y="13"/>
                  </a:lnTo>
                  <a:lnTo>
                    <a:pt x="81" y="14"/>
                  </a:lnTo>
                  <a:lnTo>
                    <a:pt x="85" y="15"/>
                  </a:lnTo>
                  <a:lnTo>
                    <a:pt x="83" y="15"/>
                  </a:lnTo>
                  <a:lnTo>
                    <a:pt x="76" y="13"/>
                  </a:lnTo>
                  <a:lnTo>
                    <a:pt x="71" y="13"/>
                  </a:lnTo>
                  <a:lnTo>
                    <a:pt x="69" y="13"/>
                  </a:lnTo>
                  <a:lnTo>
                    <a:pt x="67" y="13"/>
                  </a:lnTo>
                  <a:lnTo>
                    <a:pt x="66" y="15"/>
                  </a:lnTo>
                  <a:lnTo>
                    <a:pt x="65" y="17"/>
                  </a:lnTo>
                  <a:lnTo>
                    <a:pt x="64" y="18"/>
                  </a:lnTo>
                  <a:lnTo>
                    <a:pt x="64" y="19"/>
                  </a:lnTo>
                  <a:lnTo>
                    <a:pt x="67" y="21"/>
                  </a:lnTo>
                  <a:lnTo>
                    <a:pt x="69" y="21"/>
                  </a:lnTo>
                  <a:lnTo>
                    <a:pt x="70" y="21"/>
                  </a:lnTo>
                  <a:lnTo>
                    <a:pt x="71" y="21"/>
                  </a:lnTo>
                  <a:lnTo>
                    <a:pt x="69" y="22"/>
                  </a:lnTo>
                  <a:lnTo>
                    <a:pt x="66" y="23"/>
                  </a:lnTo>
                  <a:lnTo>
                    <a:pt x="63" y="23"/>
                  </a:lnTo>
                  <a:lnTo>
                    <a:pt x="60" y="24"/>
                  </a:lnTo>
                  <a:lnTo>
                    <a:pt x="59" y="25"/>
                  </a:lnTo>
                  <a:lnTo>
                    <a:pt x="54" y="26"/>
                  </a:lnTo>
                  <a:lnTo>
                    <a:pt x="54" y="27"/>
                  </a:lnTo>
                  <a:lnTo>
                    <a:pt x="56" y="28"/>
                  </a:lnTo>
                  <a:lnTo>
                    <a:pt x="55" y="29"/>
                  </a:lnTo>
                  <a:lnTo>
                    <a:pt x="57" y="31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3" y="33"/>
                  </a:lnTo>
                  <a:lnTo>
                    <a:pt x="60" y="35"/>
                  </a:lnTo>
                  <a:lnTo>
                    <a:pt x="60" y="35"/>
                  </a:lnTo>
                  <a:lnTo>
                    <a:pt x="59" y="36"/>
                  </a:lnTo>
                  <a:lnTo>
                    <a:pt x="58" y="37"/>
                  </a:lnTo>
                  <a:lnTo>
                    <a:pt x="57" y="38"/>
                  </a:lnTo>
                  <a:lnTo>
                    <a:pt x="55" y="41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3" y="39"/>
                  </a:lnTo>
                  <a:lnTo>
                    <a:pt x="55" y="38"/>
                  </a:lnTo>
                  <a:lnTo>
                    <a:pt x="54" y="38"/>
                  </a:lnTo>
                  <a:lnTo>
                    <a:pt x="53" y="38"/>
                  </a:lnTo>
                  <a:lnTo>
                    <a:pt x="49" y="38"/>
                  </a:lnTo>
                  <a:lnTo>
                    <a:pt x="46" y="38"/>
                  </a:lnTo>
                  <a:lnTo>
                    <a:pt x="43" y="39"/>
                  </a:lnTo>
                  <a:lnTo>
                    <a:pt x="37" y="41"/>
                  </a:lnTo>
                  <a:lnTo>
                    <a:pt x="34" y="41"/>
                  </a:lnTo>
                  <a:lnTo>
                    <a:pt x="40" y="39"/>
                  </a:lnTo>
                  <a:lnTo>
                    <a:pt x="44" y="38"/>
                  </a:lnTo>
                  <a:lnTo>
                    <a:pt x="49" y="37"/>
                  </a:lnTo>
                  <a:lnTo>
                    <a:pt x="50" y="37"/>
                  </a:lnTo>
                  <a:lnTo>
                    <a:pt x="54" y="36"/>
                  </a:lnTo>
                  <a:lnTo>
                    <a:pt x="56" y="37"/>
                  </a:lnTo>
                  <a:lnTo>
                    <a:pt x="57" y="36"/>
                  </a:lnTo>
                  <a:lnTo>
                    <a:pt x="57" y="35"/>
                  </a:lnTo>
                  <a:lnTo>
                    <a:pt x="57" y="34"/>
                  </a:lnTo>
                  <a:lnTo>
                    <a:pt x="54" y="34"/>
                  </a:lnTo>
                  <a:lnTo>
                    <a:pt x="48" y="27"/>
                  </a:lnTo>
                  <a:lnTo>
                    <a:pt x="48" y="25"/>
                  </a:lnTo>
                  <a:lnTo>
                    <a:pt x="50" y="23"/>
                  </a:lnTo>
                  <a:lnTo>
                    <a:pt x="54" y="21"/>
                  </a:lnTo>
                  <a:lnTo>
                    <a:pt x="54" y="18"/>
                  </a:lnTo>
                  <a:lnTo>
                    <a:pt x="54" y="17"/>
                  </a:lnTo>
                  <a:lnTo>
                    <a:pt x="56" y="14"/>
                  </a:lnTo>
                  <a:lnTo>
                    <a:pt x="63" y="11"/>
                  </a:lnTo>
                  <a:lnTo>
                    <a:pt x="66" y="8"/>
                  </a:lnTo>
                  <a:lnTo>
                    <a:pt x="69" y="7"/>
                  </a:lnTo>
                  <a:lnTo>
                    <a:pt x="73" y="6"/>
                  </a:lnTo>
                  <a:lnTo>
                    <a:pt x="77" y="4"/>
                  </a:lnTo>
                  <a:lnTo>
                    <a:pt x="84" y="2"/>
                  </a:lnTo>
                  <a:lnTo>
                    <a:pt x="87" y="1"/>
                  </a:lnTo>
                  <a:lnTo>
                    <a:pt x="87" y="1"/>
                  </a:lnTo>
                  <a:lnTo>
                    <a:pt x="86" y="1"/>
                  </a:lnTo>
                  <a:lnTo>
                    <a:pt x="85" y="0"/>
                  </a:lnTo>
                  <a:lnTo>
                    <a:pt x="73" y="0"/>
                  </a:lnTo>
                  <a:lnTo>
                    <a:pt x="69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5"/>
                  </a:lnTo>
                  <a:lnTo>
                    <a:pt x="39" y="7"/>
                  </a:lnTo>
                  <a:lnTo>
                    <a:pt x="36" y="8"/>
                  </a:lnTo>
                  <a:lnTo>
                    <a:pt x="34" y="8"/>
                  </a:lnTo>
                  <a:lnTo>
                    <a:pt x="33" y="9"/>
                  </a:lnTo>
                  <a:lnTo>
                    <a:pt x="30" y="11"/>
                  </a:lnTo>
                  <a:lnTo>
                    <a:pt x="30" y="12"/>
                  </a:lnTo>
                  <a:lnTo>
                    <a:pt x="27" y="13"/>
                  </a:lnTo>
                  <a:lnTo>
                    <a:pt x="25" y="15"/>
                  </a:lnTo>
                  <a:lnTo>
                    <a:pt x="27" y="15"/>
                  </a:lnTo>
                  <a:lnTo>
                    <a:pt x="23" y="15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6" y="19"/>
                  </a:lnTo>
                  <a:lnTo>
                    <a:pt x="14" y="21"/>
                  </a:lnTo>
                  <a:lnTo>
                    <a:pt x="11" y="24"/>
                  </a:lnTo>
                  <a:lnTo>
                    <a:pt x="15" y="24"/>
                  </a:lnTo>
                  <a:lnTo>
                    <a:pt x="13" y="24"/>
                  </a:lnTo>
                  <a:lnTo>
                    <a:pt x="9" y="25"/>
                  </a:lnTo>
                  <a:lnTo>
                    <a:pt x="7" y="26"/>
                  </a:lnTo>
                  <a:lnTo>
                    <a:pt x="7" y="28"/>
                  </a:lnTo>
                  <a:lnTo>
                    <a:pt x="7" y="29"/>
                  </a:lnTo>
                  <a:lnTo>
                    <a:pt x="4" y="31"/>
                  </a:lnTo>
                  <a:lnTo>
                    <a:pt x="0" y="35"/>
                  </a:lnTo>
                  <a:lnTo>
                    <a:pt x="0" y="36"/>
                  </a:lnTo>
                  <a:lnTo>
                    <a:pt x="2" y="36"/>
                  </a:lnTo>
                  <a:lnTo>
                    <a:pt x="10" y="37"/>
                  </a:lnTo>
                  <a:lnTo>
                    <a:pt x="21" y="37"/>
                  </a:lnTo>
                  <a:lnTo>
                    <a:pt x="23" y="38"/>
                  </a:lnTo>
                  <a:lnTo>
                    <a:pt x="25" y="41"/>
                  </a:lnTo>
                  <a:lnTo>
                    <a:pt x="28" y="41"/>
                  </a:lnTo>
                  <a:lnTo>
                    <a:pt x="20" y="43"/>
                  </a:lnTo>
                  <a:lnTo>
                    <a:pt x="15" y="43"/>
                  </a:lnTo>
                  <a:lnTo>
                    <a:pt x="10" y="41"/>
                  </a:lnTo>
                  <a:lnTo>
                    <a:pt x="6" y="41"/>
                  </a:lnTo>
                  <a:lnTo>
                    <a:pt x="3" y="41"/>
                  </a:lnTo>
                  <a:lnTo>
                    <a:pt x="4" y="41"/>
                  </a:lnTo>
                  <a:lnTo>
                    <a:pt x="0" y="43"/>
                  </a:lnTo>
                  <a:lnTo>
                    <a:pt x="2" y="44"/>
                  </a:lnTo>
                  <a:lnTo>
                    <a:pt x="3" y="46"/>
                  </a:lnTo>
                  <a:lnTo>
                    <a:pt x="5" y="49"/>
                  </a:lnTo>
                  <a:lnTo>
                    <a:pt x="10" y="51"/>
                  </a:lnTo>
                  <a:lnTo>
                    <a:pt x="8" y="52"/>
                  </a:lnTo>
                  <a:lnTo>
                    <a:pt x="11" y="52"/>
                  </a:lnTo>
                  <a:lnTo>
                    <a:pt x="13" y="52"/>
                  </a:lnTo>
                  <a:lnTo>
                    <a:pt x="15" y="52"/>
                  </a:lnTo>
                  <a:lnTo>
                    <a:pt x="20" y="52"/>
                  </a:lnTo>
                  <a:lnTo>
                    <a:pt x="25" y="52"/>
                  </a:lnTo>
                  <a:lnTo>
                    <a:pt x="28" y="49"/>
                  </a:lnTo>
                  <a:lnTo>
                    <a:pt x="26" y="52"/>
                  </a:lnTo>
                  <a:lnTo>
                    <a:pt x="27" y="54"/>
                  </a:lnTo>
                  <a:lnTo>
                    <a:pt x="29" y="56"/>
                  </a:lnTo>
                  <a:lnTo>
                    <a:pt x="35" y="56"/>
                  </a:lnTo>
                  <a:lnTo>
                    <a:pt x="37" y="56"/>
                  </a:lnTo>
                  <a:lnTo>
                    <a:pt x="35" y="55"/>
                  </a:lnTo>
                  <a:lnTo>
                    <a:pt x="38" y="55"/>
                  </a:lnTo>
                  <a:lnTo>
                    <a:pt x="44" y="56"/>
                  </a:lnTo>
                  <a:lnTo>
                    <a:pt x="54" y="57"/>
                  </a:lnTo>
                  <a:lnTo>
                    <a:pt x="56" y="57"/>
                  </a:lnTo>
                  <a:lnTo>
                    <a:pt x="57" y="57"/>
                  </a:lnTo>
                  <a:lnTo>
                    <a:pt x="63" y="56"/>
                  </a:lnTo>
                  <a:lnTo>
                    <a:pt x="68" y="58"/>
                  </a:lnTo>
                  <a:lnTo>
                    <a:pt x="71" y="58"/>
                  </a:lnTo>
                  <a:lnTo>
                    <a:pt x="71" y="58"/>
                  </a:lnTo>
                  <a:lnTo>
                    <a:pt x="74" y="58"/>
                  </a:lnTo>
                  <a:lnTo>
                    <a:pt x="73" y="58"/>
                  </a:lnTo>
                  <a:lnTo>
                    <a:pt x="74" y="59"/>
                  </a:lnTo>
                  <a:lnTo>
                    <a:pt x="77" y="57"/>
                  </a:lnTo>
                  <a:lnTo>
                    <a:pt x="79" y="57"/>
                  </a:lnTo>
                  <a:lnTo>
                    <a:pt x="83" y="57"/>
                  </a:lnTo>
                  <a:lnTo>
                    <a:pt x="84" y="59"/>
                  </a:lnTo>
                  <a:lnTo>
                    <a:pt x="86" y="59"/>
                  </a:lnTo>
                  <a:lnTo>
                    <a:pt x="85" y="58"/>
                  </a:lnTo>
                  <a:lnTo>
                    <a:pt x="83" y="56"/>
                  </a:lnTo>
                  <a:lnTo>
                    <a:pt x="79" y="55"/>
                  </a:lnTo>
                  <a:lnTo>
                    <a:pt x="80" y="54"/>
                  </a:lnTo>
                  <a:lnTo>
                    <a:pt x="90" y="56"/>
                  </a:lnTo>
                  <a:lnTo>
                    <a:pt x="92" y="56"/>
                  </a:lnTo>
                  <a:lnTo>
                    <a:pt x="96" y="56"/>
                  </a:lnTo>
                  <a:lnTo>
                    <a:pt x="97" y="56"/>
                  </a:lnTo>
                  <a:lnTo>
                    <a:pt x="99" y="56"/>
                  </a:lnTo>
                  <a:lnTo>
                    <a:pt x="99" y="58"/>
                  </a:lnTo>
                  <a:lnTo>
                    <a:pt x="106" y="58"/>
                  </a:lnTo>
                  <a:lnTo>
                    <a:pt x="110" y="57"/>
                  </a:lnTo>
                  <a:lnTo>
                    <a:pt x="112" y="56"/>
                  </a:lnTo>
                  <a:lnTo>
                    <a:pt x="114" y="54"/>
                  </a:lnTo>
                  <a:lnTo>
                    <a:pt x="112" y="51"/>
                  </a:lnTo>
                  <a:lnTo>
                    <a:pt x="109" y="51"/>
                  </a:lnTo>
                  <a:lnTo>
                    <a:pt x="108" y="51"/>
                  </a:lnTo>
                  <a:lnTo>
                    <a:pt x="111" y="49"/>
                  </a:lnTo>
                  <a:lnTo>
                    <a:pt x="116" y="51"/>
                  </a:lnTo>
                  <a:lnTo>
                    <a:pt x="121" y="53"/>
                  </a:lnTo>
                  <a:lnTo>
                    <a:pt x="122" y="52"/>
                  </a:lnTo>
                  <a:lnTo>
                    <a:pt x="125" y="53"/>
                  </a:lnTo>
                  <a:lnTo>
                    <a:pt x="128" y="53"/>
                  </a:lnTo>
                  <a:lnTo>
                    <a:pt x="124" y="58"/>
                  </a:lnTo>
                  <a:lnTo>
                    <a:pt x="125" y="59"/>
                  </a:lnTo>
                  <a:lnTo>
                    <a:pt x="128" y="58"/>
                  </a:lnTo>
                  <a:lnTo>
                    <a:pt x="129" y="58"/>
                  </a:lnTo>
                  <a:lnTo>
                    <a:pt x="132" y="58"/>
                  </a:lnTo>
                  <a:lnTo>
                    <a:pt x="132" y="59"/>
                  </a:lnTo>
                  <a:lnTo>
                    <a:pt x="131" y="61"/>
                  </a:lnTo>
                  <a:lnTo>
                    <a:pt x="128" y="62"/>
                  </a:lnTo>
                  <a:lnTo>
                    <a:pt x="130" y="62"/>
                  </a:lnTo>
                  <a:lnTo>
                    <a:pt x="132" y="63"/>
                  </a:lnTo>
                  <a:lnTo>
                    <a:pt x="135" y="64"/>
                  </a:lnTo>
                  <a:lnTo>
                    <a:pt x="140" y="67"/>
                  </a:lnTo>
                  <a:lnTo>
                    <a:pt x="139" y="69"/>
                  </a:lnTo>
                  <a:lnTo>
                    <a:pt x="134" y="72"/>
                  </a:lnTo>
                  <a:lnTo>
                    <a:pt x="130" y="71"/>
                  </a:lnTo>
                  <a:lnTo>
                    <a:pt x="127" y="71"/>
                  </a:lnTo>
                  <a:lnTo>
                    <a:pt x="127" y="73"/>
                  </a:lnTo>
                  <a:lnTo>
                    <a:pt x="124" y="76"/>
                  </a:lnTo>
                  <a:lnTo>
                    <a:pt x="128" y="76"/>
                  </a:lnTo>
                  <a:lnTo>
                    <a:pt x="136" y="74"/>
                  </a:lnTo>
                  <a:lnTo>
                    <a:pt x="139" y="72"/>
                  </a:lnTo>
                  <a:lnTo>
                    <a:pt x="141" y="73"/>
                  </a:lnTo>
                  <a:lnTo>
                    <a:pt x="146" y="72"/>
                  </a:lnTo>
                  <a:lnTo>
                    <a:pt x="150" y="71"/>
                  </a:lnTo>
                  <a:lnTo>
                    <a:pt x="155" y="72"/>
                  </a:lnTo>
                  <a:lnTo>
                    <a:pt x="147" y="72"/>
                  </a:lnTo>
                  <a:lnTo>
                    <a:pt x="148" y="73"/>
                  </a:lnTo>
                  <a:lnTo>
                    <a:pt x="146" y="74"/>
                  </a:lnTo>
                  <a:lnTo>
                    <a:pt x="148" y="77"/>
                  </a:lnTo>
                  <a:lnTo>
                    <a:pt x="150" y="78"/>
                  </a:lnTo>
                  <a:lnTo>
                    <a:pt x="152" y="78"/>
                  </a:lnTo>
                  <a:lnTo>
                    <a:pt x="151" y="76"/>
                  </a:lnTo>
                  <a:lnTo>
                    <a:pt x="152" y="76"/>
                  </a:lnTo>
                  <a:lnTo>
                    <a:pt x="156" y="76"/>
                  </a:lnTo>
                  <a:lnTo>
                    <a:pt x="154" y="81"/>
                  </a:lnTo>
                  <a:lnTo>
                    <a:pt x="154" y="82"/>
                  </a:lnTo>
                  <a:lnTo>
                    <a:pt x="157" y="83"/>
                  </a:lnTo>
                  <a:lnTo>
                    <a:pt x="159" y="82"/>
                  </a:lnTo>
                  <a:lnTo>
                    <a:pt x="161" y="85"/>
                  </a:lnTo>
                  <a:lnTo>
                    <a:pt x="160" y="87"/>
                  </a:lnTo>
                  <a:lnTo>
                    <a:pt x="160" y="89"/>
                  </a:lnTo>
                  <a:lnTo>
                    <a:pt x="161" y="89"/>
                  </a:lnTo>
                  <a:lnTo>
                    <a:pt x="160" y="93"/>
                  </a:lnTo>
                  <a:lnTo>
                    <a:pt x="161" y="94"/>
                  </a:lnTo>
                  <a:lnTo>
                    <a:pt x="160" y="96"/>
                  </a:lnTo>
                  <a:lnTo>
                    <a:pt x="159" y="97"/>
                  </a:lnTo>
                  <a:lnTo>
                    <a:pt x="161" y="98"/>
                  </a:lnTo>
                  <a:lnTo>
                    <a:pt x="159" y="99"/>
                  </a:lnTo>
                  <a:lnTo>
                    <a:pt x="156" y="101"/>
                  </a:lnTo>
                  <a:lnTo>
                    <a:pt x="152" y="102"/>
                  </a:lnTo>
                  <a:lnTo>
                    <a:pt x="150" y="103"/>
                  </a:lnTo>
                  <a:lnTo>
                    <a:pt x="148" y="107"/>
                  </a:lnTo>
                  <a:lnTo>
                    <a:pt x="147" y="107"/>
                  </a:lnTo>
                  <a:lnTo>
                    <a:pt x="144" y="107"/>
                  </a:lnTo>
                  <a:lnTo>
                    <a:pt x="139" y="109"/>
                  </a:lnTo>
                  <a:lnTo>
                    <a:pt x="135" y="111"/>
                  </a:lnTo>
                  <a:lnTo>
                    <a:pt x="130" y="114"/>
                  </a:lnTo>
                  <a:lnTo>
                    <a:pt x="125" y="116"/>
                  </a:lnTo>
                  <a:lnTo>
                    <a:pt x="125" y="117"/>
                  </a:lnTo>
                  <a:lnTo>
                    <a:pt x="126" y="119"/>
                  </a:lnTo>
                  <a:lnTo>
                    <a:pt x="129" y="122"/>
                  </a:lnTo>
                  <a:lnTo>
                    <a:pt x="128" y="124"/>
                  </a:lnTo>
                  <a:lnTo>
                    <a:pt x="130" y="124"/>
                  </a:lnTo>
                  <a:lnTo>
                    <a:pt x="128" y="127"/>
                  </a:lnTo>
                  <a:lnTo>
                    <a:pt x="125" y="126"/>
                  </a:lnTo>
                  <a:lnTo>
                    <a:pt x="125" y="126"/>
                  </a:lnTo>
                  <a:lnTo>
                    <a:pt x="121" y="125"/>
                  </a:lnTo>
                  <a:lnTo>
                    <a:pt x="120" y="126"/>
                  </a:lnTo>
                  <a:lnTo>
                    <a:pt x="118" y="127"/>
                  </a:lnTo>
                  <a:lnTo>
                    <a:pt x="115" y="128"/>
                  </a:lnTo>
                  <a:lnTo>
                    <a:pt x="109" y="128"/>
                  </a:lnTo>
                  <a:lnTo>
                    <a:pt x="107" y="129"/>
                  </a:lnTo>
                  <a:lnTo>
                    <a:pt x="105" y="130"/>
                  </a:lnTo>
                  <a:lnTo>
                    <a:pt x="101" y="128"/>
                  </a:lnTo>
                  <a:lnTo>
                    <a:pt x="95" y="129"/>
                  </a:lnTo>
                  <a:lnTo>
                    <a:pt x="91" y="128"/>
                  </a:lnTo>
                  <a:lnTo>
                    <a:pt x="88" y="128"/>
                  </a:lnTo>
                  <a:lnTo>
                    <a:pt x="86" y="127"/>
                  </a:lnTo>
                  <a:lnTo>
                    <a:pt x="85" y="127"/>
                  </a:lnTo>
                  <a:lnTo>
                    <a:pt x="83" y="127"/>
                  </a:lnTo>
                  <a:lnTo>
                    <a:pt x="83" y="128"/>
                  </a:lnTo>
                  <a:lnTo>
                    <a:pt x="80" y="128"/>
                  </a:lnTo>
                  <a:lnTo>
                    <a:pt x="79" y="132"/>
                  </a:lnTo>
                  <a:lnTo>
                    <a:pt x="77" y="132"/>
                  </a:lnTo>
                  <a:lnTo>
                    <a:pt x="71" y="134"/>
                  </a:lnTo>
                  <a:lnTo>
                    <a:pt x="68" y="135"/>
                  </a:lnTo>
                  <a:lnTo>
                    <a:pt x="66" y="137"/>
                  </a:lnTo>
                  <a:lnTo>
                    <a:pt x="66" y="139"/>
                  </a:lnTo>
                  <a:lnTo>
                    <a:pt x="66" y="142"/>
                  </a:lnTo>
                  <a:lnTo>
                    <a:pt x="68" y="144"/>
                  </a:lnTo>
                  <a:lnTo>
                    <a:pt x="70" y="144"/>
                  </a:lnTo>
                  <a:lnTo>
                    <a:pt x="71" y="145"/>
                  </a:lnTo>
                  <a:lnTo>
                    <a:pt x="74" y="145"/>
                  </a:lnTo>
                  <a:lnTo>
                    <a:pt x="77" y="146"/>
                  </a:lnTo>
                  <a:lnTo>
                    <a:pt x="78" y="147"/>
                  </a:lnTo>
                  <a:lnTo>
                    <a:pt x="79" y="146"/>
                  </a:lnTo>
                  <a:lnTo>
                    <a:pt x="85" y="145"/>
                  </a:lnTo>
                  <a:lnTo>
                    <a:pt x="85" y="144"/>
                  </a:lnTo>
                  <a:lnTo>
                    <a:pt x="89" y="144"/>
                  </a:lnTo>
                  <a:lnTo>
                    <a:pt x="90" y="144"/>
                  </a:lnTo>
                  <a:lnTo>
                    <a:pt x="91" y="143"/>
                  </a:lnTo>
                  <a:lnTo>
                    <a:pt x="91" y="140"/>
                  </a:lnTo>
                  <a:lnTo>
                    <a:pt x="95" y="140"/>
                  </a:lnTo>
                  <a:lnTo>
                    <a:pt x="98" y="140"/>
                  </a:lnTo>
                  <a:lnTo>
                    <a:pt x="98" y="142"/>
                  </a:lnTo>
                  <a:lnTo>
                    <a:pt x="98" y="143"/>
                  </a:lnTo>
                  <a:lnTo>
                    <a:pt x="104" y="143"/>
                  </a:lnTo>
                  <a:lnTo>
                    <a:pt x="106" y="144"/>
                  </a:lnTo>
                  <a:lnTo>
                    <a:pt x="106" y="142"/>
                  </a:lnTo>
                  <a:lnTo>
                    <a:pt x="108" y="142"/>
                  </a:lnTo>
                  <a:lnTo>
                    <a:pt x="108" y="142"/>
                  </a:lnTo>
                  <a:lnTo>
                    <a:pt x="108" y="139"/>
                  </a:lnTo>
                  <a:lnTo>
                    <a:pt x="105" y="139"/>
                  </a:lnTo>
                  <a:lnTo>
                    <a:pt x="106" y="137"/>
                  </a:lnTo>
                  <a:lnTo>
                    <a:pt x="109" y="137"/>
                  </a:lnTo>
                  <a:lnTo>
                    <a:pt x="110" y="136"/>
                  </a:lnTo>
                  <a:lnTo>
                    <a:pt x="109" y="137"/>
                  </a:lnTo>
                  <a:lnTo>
                    <a:pt x="109" y="138"/>
                  </a:lnTo>
                  <a:lnTo>
                    <a:pt x="111" y="138"/>
                  </a:lnTo>
                  <a:lnTo>
                    <a:pt x="111" y="139"/>
                  </a:lnTo>
                  <a:lnTo>
                    <a:pt x="112" y="139"/>
                  </a:lnTo>
                  <a:lnTo>
                    <a:pt x="114" y="139"/>
                  </a:lnTo>
                  <a:lnTo>
                    <a:pt x="116" y="139"/>
                  </a:lnTo>
                  <a:lnTo>
                    <a:pt x="117" y="139"/>
                  </a:lnTo>
                  <a:lnTo>
                    <a:pt x="118" y="140"/>
                  </a:lnTo>
                  <a:lnTo>
                    <a:pt x="120" y="139"/>
                  </a:lnTo>
                  <a:lnTo>
                    <a:pt x="121" y="140"/>
                  </a:lnTo>
                  <a:lnTo>
                    <a:pt x="122" y="142"/>
                  </a:lnTo>
                  <a:lnTo>
                    <a:pt x="121" y="142"/>
                  </a:lnTo>
                  <a:lnTo>
                    <a:pt x="120" y="144"/>
                  </a:lnTo>
                  <a:lnTo>
                    <a:pt x="120" y="145"/>
                  </a:lnTo>
                  <a:lnTo>
                    <a:pt x="122" y="145"/>
                  </a:lnTo>
                  <a:lnTo>
                    <a:pt x="124" y="147"/>
                  </a:lnTo>
                  <a:lnTo>
                    <a:pt x="124" y="148"/>
                  </a:lnTo>
                  <a:lnTo>
                    <a:pt x="122" y="149"/>
                  </a:lnTo>
                  <a:lnTo>
                    <a:pt x="122" y="149"/>
                  </a:lnTo>
                  <a:lnTo>
                    <a:pt x="122" y="150"/>
                  </a:lnTo>
                  <a:lnTo>
                    <a:pt x="125" y="150"/>
                  </a:lnTo>
                  <a:lnTo>
                    <a:pt x="125" y="150"/>
                  </a:lnTo>
                  <a:lnTo>
                    <a:pt x="126" y="153"/>
                  </a:lnTo>
                  <a:lnTo>
                    <a:pt x="127" y="153"/>
                  </a:lnTo>
                  <a:lnTo>
                    <a:pt x="129" y="153"/>
                  </a:lnTo>
                  <a:lnTo>
                    <a:pt x="129" y="153"/>
                  </a:lnTo>
                  <a:lnTo>
                    <a:pt x="129" y="154"/>
                  </a:lnTo>
                  <a:lnTo>
                    <a:pt x="129" y="155"/>
                  </a:lnTo>
                  <a:lnTo>
                    <a:pt x="131" y="155"/>
                  </a:lnTo>
                  <a:lnTo>
                    <a:pt x="131" y="154"/>
                  </a:lnTo>
                  <a:lnTo>
                    <a:pt x="135" y="153"/>
                  </a:lnTo>
                  <a:lnTo>
                    <a:pt x="136" y="155"/>
                  </a:lnTo>
                  <a:lnTo>
                    <a:pt x="137" y="155"/>
                  </a:lnTo>
                  <a:lnTo>
                    <a:pt x="137" y="156"/>
                  </a:lnTo>
                  <a:lnTo>
                    <a:pt x="139" y="156"/>
                  </a:lnTo>
                  <a:lnTo>
                    <a:pt x="135" y="158"/>
                  </a:lnTo>
                  <a:lnTo>
                    <a:pt x="131" y="159"/>
                  </a:lnTo>
                  <a:lnTo>
                    <a:pt x="129" y="157"/>
                  </a:lnTo>
                  <a:lnTo>
                    <a:pt x="130" y="159"/>
                  </a:lnTo>
                  <a:lnTo>
                    <a:pt x="131" y="164"/>
                  </a:lnTo>
                  <a:lnTo>
                    <a:pt x="134" y="164"/>
                  </a:lnTo>
                  <a:lnTo>
                    <a:pt x="135" y="166"/>
                  </a:lnTo>
                  <a:lnTo>
                    <a:pt x="135" y="1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92" name="Freeform 1192"/>
            <p:cNvSpPr>
              <a:spLocks/>
            </p:cNvSpPr>
            <p:nvPr/>
          </p:nvSpPr>
          <p:spPr bwMode="auto">
            <a:xfrm>
              <a:off x="1718" y="856"/>
              <a:ext cx="287" cy="185"/>
            </a:xfrm>
            <a:custGeom>
              <a:avLst/>
              <a:gdLst>
                <a:gd name="T0" fmla="*/ 155 w 287"/>
                <a:gd name="T1" fmla="*/ 169 h 185"/>
                <a:gd name="T2" fmla="*/ 165 w 287"/>
                <a:gd name="T3" fmla="*/ 178 h 185"/>
                <a:gd name="T4" fmla="*/ 190 w 287"/>
                <a:gd name="T5" fmla="*/ 180 h 185"/>
                <a:gd name="T6" fmla="*/ 178 w 287"/>
                <a:gd name="T7" fmla="*/ 163 h 185"/>
                <a:gd name="T8" fmla="*/ 187 w 287"/>
                <a:gd name="T9" fmla="*/ 162 h 185"/>
                <a:gd name="T10" fmla="*/ 210 w 287"/>
                <a:gd name="T11" fmla="*/ 168 h 185"/>
                <a:gd name="T12" fmla="*/ 216 w 287"/>
                <a:gd name="T13" fmla="*/ 168 h 185"/>
                <a:gd name="T14" fmla="*/ 221 w 287"/>
                <a:gd name="T15" fmla="*/ 162 h 185"/>
                <a:gd name="T16" fmla="*/ 226 w 287"/>
                <a:gd name="T17" fmla="*/ 143 h 185"/>
                <a:gd name="T18" fmla="*/ 213 w 287"/>
                <a:gd name="T19" fmla="*/ 135 h 185"/>
                <a:gd name="T20" fmla="*/ 205 w 287"/>
                <a:gd name="T21" fmla="*/ 126 h 185"/>
                <a:gd name="T22" fmla="*/ 209 w 287"/>
                <a:gd name="T23" fmla="*/ 115 h 185"/>
                <a:gd name="T24" fmla="*/ 217 w 287"/>
                <a:gd name="T25" fmla="*/ 109 h 185"/>
                <a:gd name="T26" fmla="*/ 233 w 287"/>
                <a:gd name="T27" fmla="*/ 127 h 185"/>
                <a:gd name="T28" fmla="*/ 251 w 287"/>
                <a:gd name="T29" fmla="*/ 129 h 185"/>
                <a:gd name="T30" fmla="*/ 267 w 287"/>
                <a:gd name="T31" fmla="*/ 117 h 185"/>
                <a:gd name="T32" fmla="*/ 287 w 287"/>
                <a:gd name="T33" fmla="*/ 108 h 185"/>
                <a:gd name="T34" fmla="*/ 268 w 287"/>
                <a:gd name="T35" fmla="*/ 98 h 185"/>
                <a:gd name="T36" fmla="*/ 252 w 287"/>
                <a:gd name="T37" fmla="*/ 89 h 185"/>
                <a:gd name="T38" fmla="*/ 236 w 287"/>
                <a:gd name="T39" fmla="*/ 84 h 185"/>
                <a:gd name="T40" fmla="*/ 228 w 287"/>
                <a:gd name="T41" fmla="*/ 75 h 185"/>
                <a:gd name="T42" fmla="*/ 237 w 287"/>
                <a:gd name="T43" fmla="*/ 69 h 185"/>
                <a:gd name="T44" fmla="*/ 226 w 287"/>
                <a:gd name="T45" fmla="*/ 63 h 185"/>
                <a:gd name="T46" fmla="*/ 236 w 287"/>
                <a:gd name="T47" fmla="*/ 54 h 185"/>
                <a:gd name="T48" fmla="*/ 237 w 287"/>
                <a:gd name="T49" fmla="*/ 49 h 185"/>
                <a:gd name="T50" fmla="*/ 221 w 287"/>
                <a:gd name="T51" fmla="*/ 44 h 185"/>
                <a:gd name="T52" fmla="*/ 207 w 287"/>
                <a:gd name="T53" fmla="*/ 39 h 185"/>
                <a:gd name="T54" fmla="*/ 191 w 287"/>
                <a:gd name="T55" fmla="*/ 36 h 185"/>
                <a:gd name="T56" fmla="*/ 182 w 287"/>
                <a:gd name="T57" fmla="*/ 29 h 185"/>
                <a:gd name="T58" fmla="*/ 180 w 287"/>
                <a:gd name="T59" fmla="*/ 22 h 185"/>
                <a:gd name="T60" fmla="*/ 138 w 287"/>
                <a:gd name="T61" fmla="*/ 22 h 185"/>
                <a:gd name="T62" fmla="*/ 109 w 287"/>
                <a:gd name="T63" fmla="*/ 27 h 185"/>
                <a:gd name="T64" fmla="*/ 122 w 287"/>
                <a:gd name="T65" fmla="*/ 13 h 185"/>
                <a:gd name="T66" fmla="*/ 108 w 287"/>
                <a:gd name="T67" fmla="*/ 2 h 185"/>
                <a:gd name="T68" fmla="*/ 84 w 287"/>
                <a:gd name="T69" fmla="*/ 6 h 185"/>
                <a:gd name="T70" fmla="*/ 79 w 287"/>
                <a:gd name="T71" fmla="*/ 13 h 185"/>
                <a:gd name="T72" fmla="*/ 69 w 287"/>
                <a:gd name="T73" fmla="*/ 21 h 185"/>
                <a:gd name="T74" fmla="*/ 60 w 287"/>
                <a:gd name="T75" fmla="*/ 32 h 185"/>
                <a:gd name="T76" fmla="*/ 54 w 287"/>
                <a:gd name="T77" fmla="*/ 38 h 185"/>
                <a:gd name="T78" fmla="*/ 57 w 287"/>
                <a:gd name="T79" fmla="*/ 36 h 185"/>
                <a:gd name="T80" fmla="*/ 69 w 287"/>
                <a:gd name="T81" fmla="*/ 7 h 185"/>
                <a:gd name="T82" fmla="*/ 39 w 287"/>
                <a:gd name="T83" fmla="*/ 7 h 185"/>
                <a:gd name="T84" fmla="*/ 14 w 287"/>
                <a:gd name="T85" fmla="*/ 21 h 185"/>
                <a:gd name="T86" fmla="*/ 21 w 287"/>
                <a:gd name="T87" fmla="*/ 37 h 185"/>
                <a:gd name="T88" fmla="*/ 5 w 287"/>
                <a:gd name="T89" fmla="*/ 49 h 185"/>
                <a:gd name="T90" fmla="*/ 37 w 287"/>
                <a:gd name="T91" fmla="*/ 56 h 185"/>
                <a:gd name="T92" fmla="*/ 74 w 287"/>
                <a:gd name="T93" fmla="*/ 59 h 185"/>
                <a:gd name="T94" fmla="*/ 97 w 287"/>
                <a:gd name="T95" fmla="*/ 56 h 185"/>
                <a:gd name="T96" fmla="*/ 122 w 287"/>
                <a:gd name="T97" fmla="*/ 52 h 185"/>
                <a:gd name="T98" fmla="*/ 135 w 287"/>
                <a:gd name="T99" fmla="*/ 64 h 185"/>
                <a:gd name="T100" fmla="*/ 150 w 287"/>
                <a:gd name="T101" fmla="*/ 71 h 185"/>
                <a:gd name="T102" fmla="*/ 157 w 287"/>
                <a:gd name="T103" fmla="*/ 83 h 185"/>
                <a:gd name="T104" fmla="*/ 152 w 287"/>
                <a:gd name="T105" fmla="*/ 102 h 185"/>
                <a:gd name="T106" fmla="*/ 130 w 287"/>
                <a:gd name="T107" fmla="*/ 124 h 185"/>
                <a:gd name="T108" fmla="*/ 91 w 287"/>
                <a:gd name="T109" fmla="*/ 128 h 185"/>
                <a:gd name="T110" fmla="*/ 66 w 287"/>
                <a:gd name="T111" fmla="*/ 142 h 185"/>
                <a:gd name="T112" fmla="*/ 91 w 287"/>
                <a:gd name="T113" fmla="*/ 140 h 185"/>
                <a:gd name="T114" fmla="*/ 109 w 287"/>
                <a:gd name="T115" fmla="*/ 137 h 185"/>
                <a:gd name="T116" fmla="*/ 122 w 287"/>
                <a:gd name="T117" fmla="*/ 142 h 185"/>
                <a:gd name="T118" fmla="*/ 127 w 287"/>
                <a:gd name="T119" fmla="*/ 153 h 185"/>
                <a:gd name="T120" fmla="*/ 131 w 287"/>
                <a:gd name="T121" fmla="*/ 159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7" h="185">
                  <a:moveTo>
                    <a:pt x="135" y="166"/>
                  </a:moveTo>
                  <a:lnTo>
                    <a:pt x="138" y="167"/>
                  </a:lnTo>
                  <a:lnTo>
                    <a:pt x="141" y="168"/>
                  </a:lnTo>
                  <a:lnTo>
                    <a:pt x="141" y="168"/>
                  </a:lnTo>
                  <a:lnTo>
                    <a:pt x="142" y="168"/>
                  </a:lnTo>
                  <a:lnTo>
                    <a:pt x="145" y="170"/>
                  </a:lnTo>
                  <a:lnTo>
                    <a:pt x="148" y="169"/>
                  </a:lnTo>
                  <a:lnTo>
                    <a:pt x="150" y="167"/>
                  </a:lnTo>
                  <a:lnTo>
                    <a:pt x="150" y="168"/>
                  </a:lnTo>
                  <a:lnTo>
                    <a:pt x="149" y="169"/>
                  </a:lnTo>
                  <a:lnTo>
                    <a:pt x="151" y="170"/>
                  </a:lnTo>
                  <a:lnTo>
                    <a:pt x="152" y="169"/>
                  </a:lnTo>
                  <a:lnTo>
                    <a:pt x="155" y="169"/>
                  </a:lnTo>
                  <a:lnTo>
                    <a:pt x="156" y="169"/>
                  </a:lnTo>
                  <a:lnTo>
                    <a:pt x="155" y="170"/>
                  </a:lnTo>
                  <a:lnTo>
                    <a:pt x="155" y="172"/>
                  </a:lnTo>
                  <a:lnTo>
                    <a:pt x="156" y="172"/>
                  </a:lnTo>
                  <a:lnTo>
                    <a:pt x="157" y="173"/>
                  </a:lnTo>
                  <a:lnTo>
                    <a:pt x="156" y="174"/>
                  </a:lnTo>
                  <a:lnTo>
                    <a:pt x="157" y="176"/>
                  </a:lnTo>
                  <a:lnTo>
                    <a:pt x="159" y="176"/>
                  </a:lnTo>
                  <a:lnTo>
                    <a:pt x="161" y="175"/>
                  </a:lnTo>
                  <a:lnTo>
                    <a:pt x="160" y="176"/>
                  </a:lnTo>
                  <a:lnTo>
                    <a:pt x="162" y="177"/>
                  </a:lnTo>
                  <a:lnTo>
                    <a:pt x="162" y="178"/>
                  </a:lnTo>
                  <a:lnTo>
                    <a:pt x="165" y="178"/>
                  </a:lnTo>
                  <a:lnTo>
                    <a:pt x="167" y="178"/>
                  </a:lnTo>
                  <a:lnTo>
                    <a:pt x="168" y="179"/>
                  </a:lnTo>
                  <a:lnTo>
                    <a:pt x="173" y="179"/>
                  </a:lnTo>
                  <a:lnTo>
                    <a:pt x="173" y="180"/>
                  </a:lnTo>
                  <a:lnTo>
                    <a:pt x="175" y="182"/>
                  </a:lnTo>
                  <a:lnTo>
                    <a:pt x="176" y="182"/>
                  </a:lnTo>
                  <a:lnTo>
                    <a:pt x="179" y="182"/>
                  </a:lnTo>
                  <a:lnTo>
                    <a:pt x="182" y="180"/>
                  </a:lnTo>
                  <a:lnTo>
                    <a:pt x="187" y="185"/>
                  </a:lnTo>
                  <a:lnTo>
                    <a:pt x="191" y="184"/>
                  </a:lnTo>
                  <a:lnTo>
                    <a:pt x="191" y="183"/>
                  </a:lnTo>
                  <a:lnTo>
                    <a:pt x="190" y="182"/>
                  </a:lnTo>
                  <a:lnTo>
                    <a:pt x="190" y="180"/>
                  </a:lnTo>
                  <a:lnTo>
                    <a:pt x="192" y="180"/>
                  </a:lnTo>
                  <a:lnTo>
                    <a:pt x="193" y="178"/>
                  </a:lnTo>
                  <a:lnTo>
                    <a:pt x="193" y="177"/>
                  </a:lnTo>
                  <a:lnTo>
                    <a:pt x="190" y="174"/>
                  </a:lnTo>
                  <a:lnTo>
                    <a:pt x="188" y="173"/>
                  </a:lnTo>
                  <a:lnTo>
                    <a:pt x="187" y="172"/>
                  </a:lnTo>
                  <a:lnTo>
                    <a:pt x="186" y="170"/>
                  </a:lnTo>
                  <a:lnTo>
                    <a:pt x="182" y="168"/>
                  </a:lnTo>
                  <a:lnTo>
                    <a:pt x="182" y="167"/>
                  </a:lnTo>
                  <a:lnTo>
                    <a:pt x="180" y="166"/>
                  </a:lnTo>
                  <a:lnTo>
                    <a:pt x="180" y="165"/>
                  </a:lnTo>
                  <a:lnTo>
                    <a:pt x="178" y="165"/>
                  </a:lnTo>
                  <a:lnTo>
                    <a:pt x="178" y="163"/>
                  </a:lnTo>
                  <a:lnTo>
                    <a:pt x="177" y="163"/>
                  </a:lnTo>
                  <a:lnTo>
                    <a:pt x="177" y="163"/>
                  </a:lnTo>
                  <a:lnTo>
                    <a:pt x="176" y="163"/>
                  </a:lnTo>
                  <a:lnTo>
                    <a:pt x="173" y="158"/>
                  </a:lnTo>
                  <a:lnTo>
                    <a:pt x="171" y="157"/>
                  </a:lnTo>
                  <a:lnTo>
                    <a:pt x="170" y="154"/>
                  </a:lnTo>
                  <a:lnTo>
                    <a:pt x="173" y="154"/>
                  </a:lnTo>
                  <a:lnTo>
                    <a:pt x="177" y="155"/>
                  </a:lnTo>
                  <a:lnTo>
                    <a:pt x="179" y="158"/>
                  </a:lnTo>
                  <a:lnTo>
                    <a:pt x="182" y="158"/>
                  </a:lnTo>
                  <a:lnTo>
                    <a:pt x="182" y="157"/>
                  </a:lnTo>
                  <a:lnTo>
                    <a:pt x="185" y="157"/>
                  </a:lnTo>
                  <a:lnTo>
                    <a:pt x="187" y="162"/>
                  </a:lnTo>
                  <a:lnTo>
                    <a:pt x="189" y="163"/>
                  </a:lnTo>
                  <a:lnTo>
                    <a:pt x="191" y="163"/>
                  </a:lnTo>
                  <a:lnTo>
                    <a:pt x="191" y="166"/>
                  </a:lnTo>
                  <a:lnTo>
                    <a:pt x="199" y="166"/>
                  </a:lnTo>
                  <a:lnTo>
                    <a:pt x="200" y="168"/>
                  </a:lnTo>
                  <a:lnTo>
                    <a:pt x="202" y="166"/>
                  </a:lnTo>
                  <a:lnTo>
                    <a:pt x="203" y="167"/>
                  </a:lnTo>
                  <a:lnTo>
                    <a:pt x="205" y="168"/>
                  </a:lnTo>
                  <a:lnTo>
                    <a:pt x="207" y="166"/>
                  </a:lnTo>
                  <a:lnTo>
                    <a:pt x="208" y="167"/>
                  </a:lnTo>
                  <a:lnTo>
                    <a:pt x="208" y="168"/>
                  </a:lnTo>
                  <a:lnTo>
                    <a:pt x="208" y="169"/>
                  </a:lnTo>
                  <a:lnTo>
                    <a:pt x="210" y="168"/>
                  </a:lnTo>
                  <a:lnTo>
                    <a:pt x="210" y="169"/>
                  </a:lnTo>
                  <a:lnTo>
                    <a:pt x="208" y="170"/>
                  </a:lnTo>
                  <a:lnTo>
                    <a:pt x="208" y="172"/>
                  </a:lnTo>
                  <a:lnTo>
                    <a:pt x="210" y="173"/>
                  </a:lnTo>
                  <a:lnTo>
                    <a:pt x="210" y="174"/>
                  </a:lnTo>
                  <a:lnTo>
                    <a:pt x="212" y="173"/>
                  </a:lnTo>
                  <a:lnTo>
                    <a:pt x="212" y="173"/>
                  </a:lnTo>
                  <a:lnTo>
                    <a:pt x="212" y="172"/>
                  </a:lnTo>
                  <a:lnTo>
                    <a:pt x="211" y="169"/>
                  </a:lnTo>
                  <a:lnTo>
                    <a:pt x="211" y="168"/>
                  </a:lnTo>
                  <a:lnTo>
                    <a:pt x="213" y="167"/>
                  </a:lnTo>
                  <a:lnTo>
                    <a:pt x="215" y="167"/>
                  </a:lnTo>
                  <a:lnTo>
                    <a:pt x="216" y="168"/>
                  </a:lnTo>
                  <a:lnTo>
                    <a:pt x="218" y="168"/>
                  </a:lnTo>
                  <a:lnTo>
                    <a:pt x="219" y="167"/>
                  </a:lnTo>
                  <a:lnTo>
                    <a:pt x="219" y="167"/>
                  </a:lnTo>
                  <a:lnTo>
                    <a:pt x="219" y="166"/>
                  </a:lnTo>
                  <a:lnTo>
                    <a:pt x="219" y="166"/>
                  </a:lnTo>
                  <a:lnTo>
                    <a:pt x="218" y="166"/>
                  </a:lnTo>
                  <a:lnTo>
                    <a:pt x="216" y="166"/>
                  </a:lnTo>
                  <a:lnTo>
                    <a:pt x="216" y="164"/>
                  </a:lnTo>
                  <a:lnTo>
                    <a:pt x="215" y="162"/>
                  </a:lnTo>
                  <a:lnTo>
                    <a:pt x="216" y="160"/>
                  </a:lnTo>
                  <a:lnTo>
                    <a:pt x="217" y="158"/>
                  </a:lnTo>
                  <a:lnTo>
                    <a:pt x="219" y="159"/>
                  </a:lnTo>
                  <a:lnTo>
                    <a:pt x="221" y="162"/>
                  </a:lnTo>
                  <a:lnTo>
                    <a:pt x="221" y="160"/>
                  </a:lnTo>
                  <a:lnTo>
                    <a:pt x="221" y="159"/>
                  </a:lnTo>
                  <a:lnTo>
                    <a:pt x="222" y="158"/>
                  </a:lnTo>
                  <a:lnTo>
                    <a:pt x="225" y="156"/>
                  </a:lnTo>
                  <a:lnTo>
                    <a:pt x="226" y="155"/>
                  </a:lnTo>
                  <a:lnTo>
                    <a:pt x="225" y="153"/>
                  </a:lnTo>
                  <a:lnTo>
                    <a:pt x="226" y="149"/>
                  </a:lnTo>
                  <a:lnTo>
                    <a:pt x="223" y="149"/>
                  </a:lnTo>
                  <a:lnTo>
                    <a:pt x="220" y="148"/>
                  </a:lnTo>
                  <a:lnTo>
                    <a:pt x="219" y="147"/>
                  </a:lnTo>
                  <a:lnTo>
                    <a:pt x="220" y="145"/>
                  </a:lnTo>
                  <a:lnTo>
                    <a:pt x="223" y="145"/>
                  </a:lnTo>
                  <a:lnTo>
                    <a:pt x="226" y="143"/>
                  </a:lnTo>
                  <a:lnTo>
                    <a:pt x="226" y="140"/>
                  </a:lnTo>
                  <a:lnTo>
                    <a:pt x="222" y="140"/>
                  </a:lnTo>
                  <a:lnTo>
                    <a:pt x="223" y="139"/>
                  </a:lnTo>
                  <a:lnTo>
                    <a:pt x="223" y="139"/>
                  </a:lnTo>
                  <a:lnTo>
                    <a:pt x="222" y="138"/>
                  </a:lnTo>
                  <a:lnTo>
                    <a:pt x="218" y="140"/>
                  </a:lnTo>
                  <a:lnTo>
                    <a:pt x="220" y="137"/>
                  </a:lnTo>
                  <a:lnTo>
                    <a:pt x="220" y="136"/>
                  </a:lnTo>
                  <a:lnTo>
                    <a:pt x="217" y="136"/>
                  </a:lnTo>
                  <a:lnTo>
                    <a:pt x="212" y="138"/>
                  </a:lnTo>
                  <a:lnTo>
                    <a:pt x="211" y="137"/>
                  </a:lnTo>
                  <a:lnTo>
                    <a:pt x="216" y="135"/>
                  </a:lnTo>
                  <a:lnTo>
                    <a:pt x="213" y="135"/>
                  </a:lnTo>
                  <a:lnTo>
                    <a:pt x="211" y="135"/>
                  </a:lnTo>
                  <a:lnTo>
                    <a:pt x="209" y="135"/>
                  </a:lnTo>
                  <a:lnTo>
                    <a:pt x="207" y="137"/>
                  </a:lnTo>
                  <a:lnTo>
                    <a:pt x="207" y="135"/>
                  </a:lnTo>
                  <a:lnTo>
                    <a:pt x="207" y="133"/>
                  </a:lnTo>
                  <a:lnTo>
                    <a:pt x="207" y="133"/>
                  </a:lnTo>
                  <a:lnTo>
                    <a:pt x="207" y="130"/>
                  </a:lnTo>
                  <a:lnTo>
                    <a:pt x="203" y="130"/>
                  </a:lnTo>
                  <a:lnTo>
                    <a:pt x="205" y="129"/>
                  </a:lnTo>
                  <a:lnTo>
                    <a:pt x="206" y="129"/>
                  </a:lnTo>
                  <a:lnTo>
                    <a:pt x="205" y="128"/>
                  </a:lnTo>
                  <a:lnTo>
                    <a:pt x="207" y="127"/>
                  </a:lnTo>
                  <a:lnTo>
                    <a:pt x="205" y="126"/>
                  </a:lnTo>
                  <a:lnTo>
                    <a:pt x="206" y="125"/>
                  </a:lnTo>
                  <a:lnTo>
                    <a:pt x="207" y="124"/>
                  </a:lnTo>
                  <a:lnTo>
                    <a:pt x="203" y="124"/>
                  </a:lnTo>
                  <a:lnTo>
                    <a:pt x="199" y="125"/>
                  </a:lnTo>
                  <a:lnTo>
                    <a:pt x="199" y="124"/>
                  </a:lnTo>
                  <a:lnTo>
                    <a:pt x="201" y="122"/>
                  </a:lnTo>
                  <a:lnTo>
                    <a:pt x="201" y="120"/>
                  </a:lnTo>
                  <a:lnTo>
                    <a:pt x="203" y="119"/>
                  </a:lnTo>
                  <a:lnTo>
                    <a:pt x="205" y="120"/>
                  </a:lnTo>
                  <a:lnTo>
                    <a:pt x="209" y="119"/>
                  </a:lnTo>
                  <a:lnTo>
                    <a:pt x="211" y="119"/>
                  </a:lnTo>
                  <a:lnTo>
                    <a:pt x="211" y="117"/>
                  </a:lnTo>
                  <a:lnTo>
                    <a:pt x="209" y="115"/>
                  </a:lnTo>
                  <a:lnTo>
                    <a:pt x="205" y="115"/>
                  </a:lnTo>
                  <a:lnTo>
                    <a:pt x="203" y="114"/>
                  </a:lnTo>
                  <a:lnTo>
                    <a:pt x="203" y="112"/>
                  </a:lnTo>
                  <a:lnTo>
                    <a:pt x="207" y="112"/>
                  </a:lnTo>
                  <a:lnTo>
                    <a:pt x="207" y="111"/>
                  </a:lnTo>
                  <a:lnTo>
                    <a:pt x="209" y="111"/>
                  </a:lnTo>
                  <a:lnTo>
                    <a:pt x="212" y="114"/>
                  </a:lnTo>
                  <a:lnTo>
                    <a:pt x="213" y="114"/>
                  </a:lnTo>
                  <a:lnTo>
                    <a:pt x="213" y="112"/>
                  </a:lnTo>
                  <a:lnTo>
                    <a:pt x="215" y="112"/>
                  </a:lnTo>
                  <a:lnTo>
                    <a:pt x="212" y="109"/>
                  </a:lnTo>
                  <a:lnTo>
                    <a:pt x="215" y="108"/>
                  </a:lnTo>
                  <a:lnTo>
                    <a:pt x="217" y="109"/>
                  </a:lnTo>
                  <a:lnTo>
                    <a:pt x="219" y="109"/>
                  </a:lnTo>
                  <a:lnTo>
                    <a:pt x="219" y="112"/>
                  </a:lnTo>
                  <a:lnTo>
                    <a:pt x="217" y="113"/>
                  </a:lnTo>
                  <a:lnTo>
                    <a:pt x="220" y="114"/>
                  </a:lnTo>
                  <a:lnTo>
                    <a:pt x="225" y="116"/>
                  </a:lnTo>
                  <a:lnTo>
                    <a:pt x="227" y="116"/>
                  </a:lnTo>
                  <a:lnTo>
                    <a:pt x="227" y="119"/>
                  </a:lnTo>
                  <a:lnTo>
                    <a:pt x="230" y="119"/>
                  </a:lnTo>
                  <a:lnTo>
                    <a:pt x="233" y="118"/>
                  </a:lnTo>
                  <a:lnTo>
                    <a:pt x="231" y="120"/>
                  </a:lnTo>
                  <a:lnTo>
                    <a:pt x="231" y="123"/>
                  </a:lnTo>
                  <a:lnTo>
                    <a:pt x="231" y="124"/>
                  </a:lnTo>
                  <a:lnTo>
                    <a:pt x="233" y="127"/>
                  </a:lnTo>
                  <a:lnTo>
                    <a:pt x="238" y="126"/>
                  </a:lnTo>
                  <a:lnTo>
                    <a:pt x="238" y="127"/>
                  </a:lnTo>
                  <a:lnTo>
                    <a:pt x="235" y="129"/>
                  </a:lnTo>
                  <a:lnTo>
                    <a:pt x="236" y="132"/>
                  </a:lnTo>
                  <a:lnTo>
                    <a:pt x="240" y="130"/>
                  </a:lnTo>
                  <a:lnTo>
                    <a:pt x="241" y="133"/>
                  </a:lnTo>
                  <a:lnTo>
                    <a:pt x="243" y="132"/>
                  </a:lnTo>
                  <a:lnTo>
                    <a:pt x="243" y="134"/>
                  </a:lnTo>
                  <a:lnTo>
                    <a:pt x="245" y="135"/>
                  </a:lnTo>
                  <a:lnTo>
                    <a:pt x="246" y="136"/>
                  </a:lnTo>
                  <a:lnTo>
                    <a:pt x="249" y="133"/>
                  </a:lnTo>
                  <a:lnTo>
                    <a:pt x="250" y="132"/>
                  </a:lnTo>
                  <a:lnTo>
                    <a:pt x="251" y="129"/>
                  </a:lnTo>
                  <a:lnTo>
                    <a:pt x="253" y="129"/>
                  </a:lnTo>
                  <a:lnTo>
                    <a:pt x="253" y="127"/>
                  </a:lnTo>
                  <a:lnTo>
                    <a:pt x="253" y="124"/>
                  </a:lnTo>
                  <a:lnTo>
                    <a:pt x="254" y="122"/>
                  </a:lnTo>
                  <a:lnTo>
                    <a:pt x="259" y="125"/>
                  </a:lnTo>
                  <a:lnTo>
                    <a:pt x="262" y="125"/>
                  </a:lnTo>
                  <a:lnTo>
                    <a:pt x="262" y="124"/>
                  </a:lnTo>
                  <a:lnTo>
                    <a:pt x="264" y="122"/>
                  </a:lnTo>
                  <a:lnTo>
                    <a:pt x="267" y="122"/>
                  </a:lnTo>
                  <a:lnTo>
                    <a:pt x="269" y="118"/>
                  </a:lnTo>
                  <a:lnTo>
                    <a:pt x="273" y="118"/>
                  </a:lnTo>
                  <a:lnTo>
                    <a:pt x="272" y="116"/>
                  </a:lnTo>
                  <a:lnTo>
                    <a:pt x="267" y="117"/>
                  </a:lnTo>
                  <a:lnTo>
                    <a:pt x="269" y="115"/>
                  </a:lnTo>
                  <a:lnTo>
                    <a:pt x="271" y="116"/>
                  </a:lnTo>
                  <a:lnTo>
                    <a:pt x="272" y="114"/>
                  </a:lnTo>
                  <a:lnTo>
                    <a:pt x="269" y="114"/>
                  </a:lnTo>
                  <a:lnTo>
                    <a:pt x="272" y="113"/>
                  </a:lnTo>
                  <a:lnTo>
                    <a:pt x="277" y="114"/>
                  </a:lnTo>
                  <a:lnTo>
                    <a:pt x="279" y="114"/>
                  </a:lnTo>
                  <a:lnTo>
                    <a:pt x="281" y="114"/>
                  </a:lnTo>
                  <a:lnTo>
                    <a:pt x="280" y="112"/>
                  </a:lnTo>
                  <a:lnTo>
                    <a:pt x="280" y="112"/>
                  </a:lnTo>
                  <a:lnTo>
                    <a:pt x="282" y="111"/>
                  </a:lnTo>
                  <a:lnTo>
                    <a:pt x="284" y="109"/>
                  </a:lnTo>
                  <a:lnTo>
                    <a:pt x="287" y="108"/>
                  </a:lnTo>
                  <a:lnTo>
                    <a:pt x="286" y="107"/>
                  </a:lnTo>
                  <a:lnTo>
                    <a:pt x="283" y="104"/>
                  </a:lnTo>
                  <a:lnTo>
                    <a:pt x="281" y="104"/>
                  </a:lnTo>
                  <a:lnTo>
                    <a:pt x="280" y="103"/>
                  </a:lnTo>
                  <a:lnTo>
                    <a:pt x="277" y="103"/>
                  </a:lnTo>
                  <a:lnTo>
                    <a:pt x="274" y="103"/>
                  </a:lnTo>
                  <a:lnTo>
                    <a:pt x="271" y="103"/>
                  </a:lnTo>
                  <a:lnTo>
                    <a:pt x="266" y="104"/>
                  </a:lnTo>
                  <a:lnTo>
                    <a:pt x="269" y="101"/>
                  </a:lnTo>
                  <a:lnTo>
                    <a:pt x="271" y="99"/>
                  </a:lnTo>
                  <a:lnTo>
                    <a:pt x="272" y="98"/>
                  </a:lnTo>
                  <a:lnTo>
                    <a:pt x="269" y="98"/>
                  </a:lnTo>
                  <a:lnTo>
                    <a:pt x="268" y="98"/>
                  </a:lnTo>
                  <a:lnTo>
                    <a:pt x="260" y="99"/>
                  </a:lnTo>
                  <a:lnTo>
                    <a:pt x="258" y="99"/>
                  </a:lnTo>
                  <a:lnTo>
                    <a:pt x="260" y="98"/>
                  </a:lnTo>
                  <a:lnTo>
                    <a:pt x="258" y="98"/>
                  </a:lnTo>
                  <a:lnTo>
                    <a:pt x="259" y="97"/>
                  </a:lnTo>
                  <a:lnTo>
                    <a:pt x="262" y="97"/>
                  </a:lnTo>
                  <a:lnTo>
                    <a:pt x="262" y="96"/>
                  </a:lnTo>
                  <a:lnTo>
                    <a:pt x="261" y="92"/>
                  </a:lnTo>
                  <a:lnTo>
                    <a:pt x="260" y="91"/>
                  </a:lnTo>
                  <a:lnTo>
                    <a:pt x="259" y="91"/>
                  </a:lnTo>
                  <a:lnTo>
                    <a:pt x="258" y="89"/>
                  </a:lnTo>
                  <a:lnTo>
                    <a:pt x="252" y="91"/>
                  </a:lnTo>
                  <a:lnTo>
                    <a:pt x="252" y="89"/>
                  </a:lnTo>
                  <a:lnTo>
                    <a:pt x="253" y="88"/>
                  </a:lnTo>
                  <a:lnTo>
                    <a:pt x="254" y="87"/>
                  </a:lnTo>
                  <a:lnTo>
                    <a:pt x="256" y="86"/>
                  </a:lnTo>
                  <a:lnTo>
                    <a:pt x="251" y="87"/>
                  </a:lnTo>
                  <a:lnTo>
                    <a:pt x="247" y="87"/>
                  </a:lnTo>
                  <a:lnTo>
                    <a:pt x="242" y="88"/>
                  </a:lnTo>
                  <a:lnTo>
                    <a:pt x="242" y="87"/>
                  </a:lnTo>
                  <a:lnTo>
                    <a:pt x="240" y="87"/>
                  </a:lnTo>
                  <a:lnTo>
                    <a:pt x="241" y="86"/>
                  </a:lnTo>
                  <a:lnTo>
                    <a:pt x="243" y="85"/>
                  </a:lnTo>
                  <a:lnTo>
                    <a:pt x="242" y="84"/>
                  </a:lnTo>
                  <a:lnTo>
                    <a:pt x="238" y="84"/>
                  </a:lnTo>
                  <a:lnTo>
                    <a:pt x="236" y="84"/>
                  </a:lnTo>
                  <a:lnTo>
                    <a:pt x="235" y="84"/>
                  </a:lnTo>
                  <a:lnTo>
                    <a:pt x="237" y="82"/>
                  </a:lnTo>
                  <a:lnTo>
                    <a:pt x="238" y="81"/>
                  </a:lnTo>
                  <a:lnTo>
                    <a:pt x="237" y="81"/>
                  </a:lnTo>
                  <a:lnTo>
                    <a:pt x="231" y="79"/>
                  </a:lnTo>
                  <a:lnTo>
                    <a:pt x="223" y="78"/>
                  </a:lnTo>
                  <a:lnTo>
                    <a:pt x="221" y="78"/>
                  </a:lnTo>
                  <a:lnTo>
                    <a:pt x="221" y="77"/>
                  </a:lnTo>
                  <a:lnTo>
                    <a:pt x="225" y="77"/>
                  </a:lnTo>
                  <a:lnTo>
                    <a:pt x="226" y="76"/>
                  </a:lnTo>
                  <a:lnTo>
                    <a:pt x="229" y="76"/>
                  </a:lnTo>
                  <a:lnTo>
                    <a:pt x="228" y="75"/>
                  </a:lnTo>
                  <a:lnTo>
                    <a:pt x="228" y="75"/>
                  </a:lnTo>
                  <a:lnTo>
                    <a:pt x="226" y="73"/>
                  </a:lnTo>
                  <a:lnTo>
                    <a:pt x="227" y="72"/>
                  </a:lnTo>
                  <a:lnTo>
                    <a:pt x="230" y="72"/>
                  </a:lnTo>
                  <a:lnTo>
                    <a:pt x="231" y="72"/>
                  </a:lnTo>
                  <a:lnTo>
                    <a:pt x="229" y="71"/>
                  </a:lnTo>
                  <a:lnTo>
                    <a:pt x="227" y="69"/>
                  </a:lnTo>
                  <a:lnTo>
                    <a:pt x="223" y="69"/>
                  </a:lnTo>
                  <a:lnTo>
                    <a:pt x="223" y="68"/>
                  </a:lnTo>
                  <a:lnTo>
                    <a:pt x="227" y="68"/>
                  </a:lnTo>
                  <a:lnTo>
                    <a:pt x="228" y="68"/>
                  </a:lnTo>
                  <a:lnTo>
                    <a:pt x="230" y="68"/>
                  </a:lnTo>
                  <a:lnTo>
                    <a:pt x="230" y="67"/>
                  </a:lnTo>
                  <a:lnTo>
                    <a:pt x="237" y="69"/>
                  </a:lnTo>
                  <a:lnTo>
                    <a:pt x="240" y="69"/>
                  </a:lnTo>
                  <a:lnTo>
                    <a:pt x="243" y="68"/>
                  </a:lnTo>
                  <a:lnTo>
                    <a:pt x="247" y="69"/>
                  </a:lnTo>
                  <a:lnTo>
                    <a:pt x="248" y="68"/>
                  </a:lnTo>
                  <a:lnTo>
                    <a:pt x="249" y="67"/>
                  </a:lnTo>
                  <a:lnTo>
                    <a:pt x="247" y="66"/>
                  </a:lnTo>
                  <a:lnTo>
                    <a:pt x="243" y="65"/>
                  </a:lnTo>
                  <a:lnTo>
                    <a:pt x="239" y="64"/>
                  </a:lnTo>
                  <a:lnTo>
                    <a:pt x="235" y="65"/>
                  </a:lnTo>
                  <a:lnTo>
                    <a:pt x="232" y="64"/>
                  </a:lnTo>
                  <a:lnTo>
                    <a:pt x="230" y="65"/>
                  </a:lnTo>
                  <a:lnTo>
                    <a:pt x="228" y="63"/>
                  </a:lnTo>
                  <a:lnTo>
                    <a:pt x="226" y="63"/>
                  </a:lnTo>
                  <a:lnTo>
                    <a:pt x="223" y="63"/>
                  </a:lnTo>
                  <a:lnTo>
                    <a:pt x="227" y="62"/>
                  </a:lnTo>
                  <a:lnTo>
                    <a:pt x="231" y="62"/>
                  </a:lnTo>
                  <a:lnTo>
                    <a:pt x="235" y="61"/>
                  </a:lnTo>
                  <a:lnTo>
                    <a:pt x="237" y="59"/>
                  </a:lnTo>
                  <a:lnTo>
                    <a:pt x="240" y="59"/>
                  </a:lnTo>
                  <a:lnTo>
                    <a:pt x="243" y="61"/>
                  </a:lnTo>
                  <a:lnTo>
                    <a:pt x="247" y="58"/>
                  </a:lnTo>
                  <a:lnTo>
                    <a:pt x="247" y="57"/>
                  </a:lnTo>
                  <a:lnTo>
                    <a:pt x="241" y="53"/>
                  </a:lnTo>
                  <a:lnTo>
                    <a:pt x="238" y="52"/>
                  </a:lnTo>
                  <a:lnTo>
                    <a:pt x="236" y="53"/>
                  </a:lnTo>
                  <a:lnTo>
                    <a:pt x="236" y="54"/>
                  </a:lnTo>
                  <a:lnTo>
                    <a:pt x="231" y="56"/>
                  </a:lnTo>
                  <a:lnTo>
                    <a:pt x="229" y="57"/>
                  </a:lnTo>
                  <a:lnTo>
                    <a:pt x="226" y="57"/>
                  </a:lnTo>
                  <a:lnTo>
                    <a:pt x="230" y="54"/>
                  </a:lnTo>
                  <a:lnTo>
                    <a:pt x="231" y="53"/>
                  </a:lnTo>
                  <a:lnTo>
                    <a:pt x="223" y="54"/>
                  </a:lnTo>
                  <a:lnTo>
                    <a:pt x="220" y="54"/>
                  </a:lnTo>
                  <a:lnTo>
                    <a:pt x="220" y="54"/>
                  </a:lnTo>
                  <a:lnTo>
                    <a:pt x="223" y="53"/>
                  </a:lnTo>
                  <a:lnTo>
                    <a:pt x="231" y="52"/>
                  </a:lnTo>
                  <a:lnTo>
                    <a:pt x="233" y="49"/>
                  </a:lnTo>
                  <a:lnTo>
                    <a:pt x="235" y="51"/>
                  </a:lnTo>
                  <a:lnTo>
                    <a:pt x="237" y="49"/>
                  </a:lnTo>
                  <a:lnTo>
                    <a:pt x="238" y="47"/>
                  </a:lnTo>
                  <a:lnTo>
                    <a:pt x="231" y="46"/>
                  </a:lnTo>
                  <a:lnTo>
                    <a:pt x="229" y="45"/>
                  </a:lnTo>
                  <a:lnTo>
                    <a:pt x="227" y="45"/>
                  </a:lnTo>
                  <a:lnTo>
                    <a:pt x="222" y="45"/>
                  </a:lnTo>
                  <a:lnTo>
                    <a:pt x="219" y="47"/>
                  </a:lnTo>
                  <a:lnTo>
                    <a:pt x="217" y="47"/>
                  </a:lnTo>
                  <a:lnTo>
                    <a:pt x="215" y="48"/>
                  </a:lnTo>
                  <a:lnTo>
                    <a:pt x="215" y="48"/>
                  </a:lnTo>
                  <a:lnTo>
                    <a:pt x="217" y="46"/>
                  </a:lnTo>
                  <a:lnTo>
                    <a:pt x="220" y="45"/>
                  </a:lnTo>
                  <a:lnTo>
                    <a:pt x="223" y="44"/>
                  </a:lnTo>
                  <a:lnTo>
                    <a:pt x="221" y="44"/>
                  </a:lnTo>
                  <a:lnTo>
                    <a:pt x="218" y="45"/>
                  </a:lnTo>
                  <a:lnTo>
                    <a:pt x="216" y="45"/>
                  </a:lnTo>
                  <a:lnTo>
                    <a:pt x="210" y="46"/>
                  </a:lnTo>
                  <a:lnTo>
                    <a:pt x="211" y="45"/>
                  </a:lnTo>
                  <a:lnTo>
                    <a:pt x="213" y="44"/>
                  </a:lnTo>
                  <a:lnTo>
                    <a:pt x="217" y="43"/>
                  </a:lnTo>
                  <a:lnTo>
                    <a:pt x="217" y="41"/>
                  </a:lnTo>
                  <a:lnTo>
                    <a:pt x="215" y="41"/>
                  </a:lnTo>
                  <a:lnTo>
                    <a:pt x="211" y="42"/>
                  </a:lnTo>
                  <a:lnTo>
                    <a:pt x="207" y="42"/>
                  </a:lnTo>
                  <a:lnTo>
                    <a:pt x="207" y="41"/>
                  </a:lnTo>
                  <a:lnTo>
                    <a:pt x="200" y="41"/>
                  </a:lnTo>
                  <a:lnTo>
                    <a:pt x="207" y="39"/>
                  </a:lnTo>
                  <a:lnTo>
                    <a:pt x="210" y="39"/>
                  </a:lnTo>
                  <a:lnTo>
                    <a:pt x="212" y="38"/>
                  </a:lnTo>
                  <a:lnTo>
                    <a:pt x="215" y="37"/>
                  </a:lnTo>
                  <a:lnTo>
                    <a:pt x="215" y="36"/>
                  </a:lnTo>
                  <a:lnTo>
                    <a:pt x="212" y="34"/>
                  </a:lnTo>
                  <a:lnTo>
                    <a:pt x="206" y="32"/>
                  </a:lnTo>
                  <a:lnTo>
                    <a:pt x="202" y="31"/>
                  </a:lnTo>
                  <a:lnTo>
                    <a:pt x="202" y="31"/>
                  </a:lnTo>
                  <a:lnTo>
                    <a:pt x="200" y="32"/>
                  </a:lnTo>
                  <a:lnTo>
                    <a:pt x="197" y="33"/>
                  </a:lnTo>
                  <a:lnTo>
                    <a:pt x="195" y="33"/>
                  </a:lnTo>
                  <a:lnTo>
                    <a:pt x="191" y="33"/>
                  </a:lnTo>
                  <a:lnTo>
                    <a:pt x="191" y="36"/>
                  </a:lnTo>
                  <a:lnTo>
                    <a:pt x="190" y="36"/>
                  </a:lnTo>
                  <a:lnTo>
                    <a:pt x="190" y="36"/>
                  </a:lnTo>
                  <a:lnTo>
                    <a:pt x="188" y="36"/>
                  </a:lnTo>
                  <a:lnTo>
                    <a:pt x="188" y="35"/>
                  </a:lnTo>
                  <a:lnTo>
                    <a:pt x="187" y="35"/>
                  </a:lnTo>
                  <a:lnTo>
                    <a:pt x="189" y="33"/>
                  </a:lnTo>
                  <a:lnTo>
                    <a:pt x="187" y="33"/>
                  </a:lnTo>
                  <a:lnTo>
                    <a:pt x="182" y="34"/>
                  </a:lnTo>
                  <a:lnTo>
                    <a:pt x="187" y="32"/>
                  </a:lnTo>
                  <a:lnTo>
                    <a:pt x="191" y="29"/>
                  </a:lnTo>
                  <a:lnTo>
                    <a:pt x="191" y="29"/>
                  </a:lnTo>
                  <a:lnTo>
                    <a:pt x="186" y="29"/>
                  </a:lnTo>
                  <a:lnTo>
                    <a:pt x="182" y="29"/>
                  </a:lnTo>
                  <a:lnTo>
                    <a:pt x="178" y="32"/>
                  </a:lnTo>
                  <a:lnTo>
                    <a:pt x="176" y="32"/>
                  </a:lnTo>
                  <a:lnTo>
                    <a:pt x="178" y="31"/>
                  </a:lnTo>
                  <a:lnTo>
                    <a:pt x="173" y="31"/>
                  </a:lnTo>
                  <a:lnTo>
                    <a:pt x="178" y="29"/>
                  </a:lnTo>
                  <a:lnTo>
                    <a:pt x="182" y="28"/>
                  </a:lnTo>
                  <a:lnTo>
                    <a:pt x="185" y="27"/>
                  </a:lnTo>
                  <a:lnTo>
                    <a:pt x="186" y="25"/>
                  </a:lnTo>
                  <a:lnTo>
                    <a:pt x="181" y="25"/>
                  </a:lnTo>
                  <a:lnTo>
                    <a:pt x="178" y="25"/>
                  </a:lnTo>
                  <a:lnTo>
                    <a:pt x="177" y="25"/>
                  </a:lnTo>
                  <a:lnTo>
                    <a:pt x="180" y="23"/>
                  </a:lnTo>
                  <a:lnTo>
                    <a:pt x="180" y="22"/>
                  </a:lnTo>
                  <a:lnTo>
                    <a:pt x="180" y="19"/>
                  </a:lnTo>
                  <a:lnTo>
                    <a:pt x="178" y="19"/>
                  </a:lnTo>
                  <a:lnTo>
                    <a:pt x="179" y="18"/>
                  </a:lnTo>
                  <a:lnTo>
                    <a:pt x="176" y="17"/>
                  </a:lnTo>
                  <a:lnTo>
                    <a:pt x="171" y="17"/>
                  </a:lnTo>
                  <a:lnTo>
                    <a:pt x="161" y="15"/>
                  </a:lnTo>
                  <a:lnTo>
                    <a:pt x="156" y="15"/>
                  </a:lnTo>
                  <a:lnTo>
                    <a:pt x="149" y="16"/>
                  </a:lnTo>
                  <a:lnTo>
                    <a:pt x="142" y="18"/>
                  </a:lnTo>
                  <a:lnTo>
                    <a:pt x="141" y="19"/>
                  </a:lnTo>
                  <a:lnTo>
                    <a:pt x="144" y="21"/>
                  </a:lnTo>
                  <a:lnTo>
                    <a:pt x="141" y="22"/>
                  </a:lnTo>
                  <a:lnTo>
                    <a:pt x="138" y="22"/>
                  </a:lnTo>
                  <a:lnTo>
                    <a:pt x="135" y="23"/>
                  </a:lnTo>
                  <a:lnTo>
                    <a:pt x="132" y="21"/>
                  </a:lnTo>
                  <a:lnTo>
                    <a:pt x="129" y="22"/>
                  </a:lnTo>
                  <a:lnTo>
                    <a:pt x="127" y="22"/>
                  </a:lnTo>
                  <a:lnTo>
                    <a:pt x="128" y="19"/>
                  </a:lnTo>
                  <a:lnTo>
                    <a:pt x="128" y="18"/>
                  </a:lnTo>
                  <a:lnTo>
                    <a:pt x="125" y="21"/>
                  </a:lnTo>
                  <a:lnTo>
                    <a:pt x="124" y="22"/>
                  </a:lnTo>
                  <a:lnTo>
                    <a:pt x="121" y="23"/>
                  </a:lnTo>
                  <a:lnTo>
                    <a:pt x="120" y="23"/>
                  </a:lnTo>
                  <a:lnTo>
                    <a:pt x="118" y="24"/>
                  </a:lnTo>
                  <a:lnTo>
                    <a:pt x="114" y="26"/>
                  </a:lnTo>
                  <a:lnTo>
                    <a:pt x="109" y="27"/>
                  </a:lnTo>
                  <a:lnTo>
                    <a:pt x="110" y="26"/>
                  </a:lnTo>
                  <a:lnTo>
                    <a:pt x="110" y="25"/>
                  </a:lnTo>
                  <a:lnTo>
                    <a:pt x="111" y="25"/>
                  </a:lnTo>
                  <a:lnTo>
                    <a:pt x="115" y="25"/>
                  </a:lnTo>
                  <a:lnTo>
                    <a:pt x="115" y="25"/>
                  </a:lnTo>
                  <a:lnTo>
                    <a:pt x="114" y="24"/>
                  </a:lnTo>
                  <a:lnTo>
                    <a:pt x="112" y="24"/>
                  </a:lnTo>
                  <a:lnTo>
                    <a:pt x="116" y="22"/>
                  </a:lnTo>
                  <a:lnTo>
                    <a:pt x="118" y="21"/>
                  </a:lnTo>
                  <a:lnTo>
                    <a:pt x="122" y="17"/>
                  </a:lnTo>
                  <a:lnTo>
                    <a:pt x="126" y="15"/>
                  </a:lnTo>
                  <a:lnTo>
                    <a:pt x="124" y="14"/>
                  </a:lnTo>
                  <a:lnTo>
                    <a:pt x="122" y="13"/>
                  </a:lnTo>
                  <a:lnTo>
                    <a:pt x="122" y="12"/>
                  </a:lnTo>
                  <a:lnTo>
                    <a:pt x="126" y="12"/>
                  </a:lnTo>
                  <a:lnTo>
                    <a:pt x="127" y="11"/>
                  </a:lnTo>
                  <a:lnTo>
                    <a:pt x="126" y="9"/>
                  </a:lnTo>
                  <a:lnTo>
                    <a:pt x="124" y="8"/>
                  </a:lnTo>
                  <a:lnTo>
                    <a:pt x="119" y="8"/>
                  </a:lnTo>
                  <a:lnTo>
                    <a:pt x="124" y="7"/>
                  </a:lnTo>
                  <a:lnTo>
                    <a:pt x="126" y="3"/>
                  </a:lnTo>
                  <a:lnTo>
                    <a:pt x="125" y="2"/>
                  </a:lnTo>
                  <a:lnTo>
                    <a:pt x="125" y="1"/>
                  </a:lnTo>
                  <a:lnTo>
                    <a:pt x="114" y="2"/>
                  </a:lnTo>
                  <a:lnTo>
                    <a:pt x="110" y="1"/>
                  </a:lnTo>
                  <a:lnTo>
                    <a:pt x="108" y="2"/>
                  </a:lnTo>
                  <a:lnTo>
                    <a:pt x="105" y="2"/>
                  </a:lnTo>
                  <a:lnTo>
                    <a:pt x="100" y="3"/>
                  </a:lnTo>
                  <a:lnTo>
                    <a:pt x="95" y="4"/>
                  </a:lnTo>
                  <a:lnTo>
                    <a:pt x="97" y="6"/>
                  </a:lnTo>
                  <a:lnTo>
                    <a:pt x="95" y="7"/>
                  </a:lnTo>
                  <a:lnTo>
                    <a:pt x="95" y="6"/>
                  </a:lnTo>
                  <a:lnTo>
                    <a:pt x="95" y="5"/>
                  </a:lnTo>
                  <a:lnTo>
                    <a:pt x="91" y="5"/>
                  </a:lnTo>
                  <a:lnTo>
                    <a:pt x="88" y="5"/>
                  </a:lnTo>
                  <a:lnTo>
                    <a:pt x="86" y="6"/>
                  </a:lnTo>
                  <a:lnTo>
                    <a:pt x="87" y="8"/>
                  </a:lnTo>
                  <a:lnTo>
                    <a:pt x="85" y="7"/>
                  </a:lnTo>
                  <a:lnTo>
                    <a:pt x="84" y="6"/>
                  </a:lnTo>
                  <a:lnTo>
                    <a:pt x="80" y="6"/>
                  </a:lnTo>
                  <a:lnTo>
                    <a:pt x="78" y="8"/>
                  </a:lnTo>
                  <a:lnTo>
                    <a:pt x="80" y="9"/>
                  </a:lnTo>
                  <a:lnTo>
                    <a:pt x="90" y="11"/>
                  </a:lnTo>
                  <a:lnTo>
                    <a:pt x="89" y="12"/>
                  </a:lnTo>
                  <a:lnTo>
                    <a:pt x="86" y="12"/>
                  </a:lnTo>
                  <a:lnTo>
                    <a:pt x="76" y="9"/>
                  </a:lnTo>
                  <a:lnTo>
                    <a:pt x="75" y="11"/>
                  </a:lnTo>
                  <a:lnTo>
                    <a:pt x="74" y="11"/>
                  </a:lnTo>
                  <a:lnTo>
                    <a:pt x="71" y="11"/>
                  </a:lnTo>
                  <a:lnTo>
                    <a:pt x="74" y="12"/>
                  </a:lnTo>
                  <a:lnTo>
                    <a:pt x="76" y="12"/>
                  </a:lnTo>
                  <a:lnTo>
                    <a:pt x="79" y="13"/>
                  </a:lnTo>
                  <a:lnTo>
                    <a:pt x="81" y="14"/>
                  </a:lnTo>
                  <a:lnTo>
                    <a:pt x="85" y="15"/>
                  </a:lnTo>
                  <a:lnTo>
                    <a:pt x="83" y="15"/>
                  </a:lnTo>
                  <a:lnTo>
                    <a:pt x="76" y="13"/>
                  </a:lnTo>
                  <a:lnTo>
                    <a:pt x="71" y="13"/>
                  </a:lnTo>
                  <a:lnTo>
                    <a:pt x="69" y="13"/>
                  </a:lnTo>
                  <a:lnTo>
                    <a:pt x="67" y="13"/>
                  </a:lnTo>
                  <a:lnTo>
                    <a:pt x="66" y="15"/>
                  </a:lnTo>
                  <a:lnTo>
                    <a:pt x="65" y="17"/>
                  </a:lnTo>
                  <a:lnTo>
                    <a:pt x="64" y="18"/>
                  </a:lnTo>
                  <a:lnTo>
                    <a:pt x="64" y="19"/>
                  </a:lnTo>
                  <a:lnTo>
                    <a:pt x="67" y="21"/>
                  </a:lnTo>
                  <a:lnTo>
                    <a:pt x="69" y="21"/>
                  </a:lnTo>
                  <a:lnTo>
                    <a:pt x="70" y="21"/>
                  </a:lnTo>
                  <a:lnTo>
                    <a:pt x="71" y="21"/>
                  </a:lnTo>
                  <a:lnTo>
                    <a:pt x="69" y="22"/>
                  </a:lnTo>
                  <a:lnTo>
                    <a:pt x="66" y="23"/>
                  </a:lnTo>
                  <a:lnTo>
                    <a:pt x="63" y="23"/>
                  </a:lnTo>
                  <a:lnTo>
                    <a:pt x="60" y="24"/>
                  </a:lnTo>
                  <a:lnTo>
                    <a:pt x="59" y="25"/>
                  </a:lnTo>
                  <a:lnTo>
                    <a:pt x="54" y="26"/>
                  </a:lnTo>
                  <a:lnTo>
                    <a:pt x="54" y="27"/>
                  </a:lnTo>
                  <a:lnTo>
                    <a:pt x="56" y="28"/>
                  </a:lnTo>
                  <a:lnTo>
                    <a:pt x="55" y="29"/>
                  </a:lnTo>
                  <a:lnTo>
                    <a:pt x="57" y="31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3" y="33"/>
                  </a:lnTo>
                  <a:lnTo>
                    <a:pt x="60" y="35"/>
                  </a:lnTo>
                  <a:lnTo>
                    <a:pt x="60" y="35"/>
                  </a:lnTo>
                  <a:lnTo>
                    <a:pt x="59" y="36"/>
                  </a:lnTo>
                  <a:lnTo>
                    <a:pt x="58" y="37"/>
                  </a:lnTo>
                  <a:lnTo>
                    <a:pt x="57" y="38"/>
                  </a:lnTo>
                  <a:lnTo>
                    <a:pt x="55" y="41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3" y="39"/>
                  </a:lnTo>
                  <a:lnTo>
                    <a:pt x="55" y="38"/>
                  </a:lnTo>
                  <a:lnTo>
                    <a:pt x="54" y="38"/>
                  </a:lnTo>
                  <a:lnTo>
                    <a:pt x="53" y="38"/>
                  </a:lnTo>
                  <a:lnTo>
                    <a:pt x="49" y="38"/>
                  </a:lnTo>
                  <a:lnTo>
                    <a:pt x="46" y="38"/>
                  </a:lnTo>
                  <a:lnTo>
                    <a:pt x="43" y="39"/>
                  </a:lnTo>
                  <a:lnTo>
                    <a:pt x="37" y="41"/>
                  </a:lnTo>
                  <a:lnTo>
                    <a:pt x="34" y="41"/>
                  </a:lnTo>
                  <a:lnTo>
                    <a:pt x="40" y="39"/>
                  </a:lnTo>
                  <a:lnTo>
                    <a:pt x="44" y="38"/>
                  </a:lnTo>
                  <a:lnTo>
                    <a:pt x="49" y="37"/>
                  </a:lnTo>
                  <a:lnTo>
                    <a:pt x="50" y="37"/>
                  </a:lnTo>
                  <a:lnTo>
                    <a:pt x="54" y="36"/>
                  </a:lnTo>
                  <a:lnTo>
                    <a:pt x="56" y="37"/>
                  </a:lnTo>
                  <a:lnTo>
                    <a:pt x="57" y="36"/>
                  </a:lnTo>
                  <a:lnTo>
                    <a:pt x="57" y="35"/>
                  </a:lnTo>
                  <a:lnTo>
                    <a:pt x="57" y="34"/>
                  </a:lnTo>
                  <a:lnTo>
                    <a:pt x="54" y="34"/>
                  </a:lnTo>
                  <a:lnTo>
                    <a:pt x="48" y="27"/>
                  </a:lnTo>
                  <a:lnTo>
                    <a:pt x="48" y="25"/>
                  </a:lnTo>
                  <a:lnTo>
                    <a:pt x="50" y="23"/>
                  </a:lnTo>
                  <a:lnTo>
                    <a:pt x="54" y="21"/>
                  </a:lnTo>
                  <a:lnTo>
                    <a:pt x="54" y="18"/>
                  </a:lnTo>
                  <a:lnTo>
                    <a:pt x="54" y="17"/>
                  </a:lnTo>
                  <a:lnTo>
                    <a:pt x="56" y="14"/>
                  </a:lnTo>
                  <a:lnTo>
                    <a:pt x="63" y="11"/>
                  </a:lnTo>
                  <a:lnTo>
                    <a:pt x="66" y="8"/>
                  </a:lnTo>
                  <a:lnTo>
                    <a:pt x="69" y="7"/>
                  </a:lnTo>
                  <a:lnTo>
                    <a:pt x="73" y="6"/>
                  </a:lnTo>
                  <a:lnTo>
                    <a:pt x="77" y="4"/>
                  </a:lnTo>
                  <a:lnTo>
                    <a:pt x="84" y="2"/>
                  </a:lnTo>
                  <a:lnTo>
                    <a:pt x="87" y="1"/>
                  </a:lnTo>
                  <a:lnTo>
                    <a:pt x="87" y="1"/>
                  </a:lnTo>
                  <a:lnTo>
                    <a:pt x="86" y="1"/>
                  </a:lnTo>
                  <a:lnTo>
                    <a:pt x="85" y="0"/>
                  </a:lnTo>
                  <a:lnTo>
                    <a:pt x="73" y="0"/>
                  </a:lnTo>
                  <a:lnTo>
                    <a:pt x="69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5"/>
                  </a:lnTo>
                  <a:lnTo>
                    <a:pt x="39" y="7"/>
                  </a:lnTo>
                  <a:lnTo>
                    <a:pt x="36" y="8"/>
                  </a:lnTo>
                  <a:lnTo>
                    <a:pt x="34" y="8"/>
                  </a:lnTo>
                  <a:lnTo>
                    <a:pt x="33" y="9"/>
                  </a:lnTo>
                  <a:lnTo>
                    <a:pt x="30" y="11"/>
                  </a:lnTo>
                  <a:lnTo>
                    <a:pt x="30" y="12"/>
                  </a:lnTo>
                  <a:lnTo>
                    <a:pt x="27" y="13"/>
                  </a:lnTo>
                  <a:lnTo>
                    <a:pt x="25" y="15"/>
                  </a:lnTo>
                  <a:lnTo>
                    <a:pt x="27" y="15"/>
                  </a:lnTo>
                  <a:lnTo>
                    <a:pt x="23" y="15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6" y="19"/>
                  </a:lnTo>
                  <a:lnTo>
                    <a:pt x="14" y="21"/>
                  </a:lnTo>
                  <a:lnTo>
                    <a:pt x="11" y="24"/>
                  </a:lnTo>
                  <a:lnTo>
                    <a:pt x="15" y="24"/>
                  </a:lnTo>
                  <a:lnTo>
                    <a:pt x="13" y="24"/>
                  </a:lnTo>
                  <a:lnTo>
                    <a:pt x="9" y="25"/>
                  </a:lnTo>
                  <a:lnTo>
                    <a:pt x="7" y="26"/>
                  </a:lnTo>
                  <a:lnTo>
                    <a:pt x="7" y="28"/>
                  </a:lnTo>
                  <a:lnTo>
                    <a:pt x="7" y="29"/>
                  </a:lnTo>
                  <a:lnTo>
                    <a:pt x="4" y="31"/>
                  </a:lnTo>
                  <a:lnTo>
                    <a:pt x="0" y="35"/>
                  </a:lnTo>
                  <a:lnTo>
                    <a:pt x="0" y="36"/>
                  </a:lnTo>
                  <a:lnTo>
                    <a:pt x="2" y="36"/>
                  </a:lnTo>
                  <a:lnTo>
                    <a:pt x="10" y="37"/>
                  </a:lnTo>
                  <a:lnTo>
                    <a:pt x="21" y="37"/>
                  </a:lnTo>
                  <a:lnTo>
                    <a:pt x="23" y="38"/>
                  </a:lnTo>
                  <a:lnTo>
                    <a:pt x="25" y="41"/>
                  </a:lnTo>
                  <a:lnTo>
                    <a:pt x="28" y="41"/>
                  </a:lnTo>
                  <a:lnTo>
                    <a:pt x="20" y="43"/>
                  </a:lnTo>
                  <a:lnTo>
                    <a:pt x="15" y="43"/>
                  </a:lnTo>
                  <a:lnTo>
                    <a:pt x="10" y="41"/>
                  </a:lnTo>
                  <a:lnTo>
                    <a:pt x="6" y="41"/>
                  </a:lnTo>
                  <a:lnTo>
                    <a:pt x="3" y="41"/>
                  </a:lnTo>
                  <a:lnTo>
                    <a:pt x="4" y="41"/>
                  </a:lnTo>
                  <a:lnTo>
                    <a:pt x="0" y="43"/>
                  </a:lnTo>
                  <a:lnTo>
                    <a:pt x="2" y="44"/>
                  </a:lnTo>
                  <a:lnTo>
                    <a:pt x="3" y="46"/>
                  </a:lnTo>
                  <a:lnTo>
                    <a:pt x="5" y="49"/>
                  </a:lnTo>
                  <a:lnTo>
                    <a:pt x="10" y="51"/>
                  </a:lnTo>
                  <a:lnTo>
                    <a:pt x="8" y="52"/>
                  </a:lnTo>
                  <a:lnTo>
                    <a:pt x="11" y="52"/>
                  </a:lnTo>
                  <a:lnTo>
                    <a:pt x="13" y="52"/>
                  </a:lnTo>
                  <a:lnTo>
                    <a:pt x="15" y="52"/>
                  </a:lnTo>
                  <a:lnTo>
                    <a:pt x="20" y="52"/>
                  </a:lnTo>
                  <a:lnTo>
                    <a:pt x="25" y="52"/>
                  </a:lnTo>
                  <a:lnTo>
                    <a:pt x="28" y="49"/>
                  </a:lnTo>
                  <a:lnTo>
                    <a:pt x="26" y="52"/>
                  </a:lnTo>
                  <a:lnTo>
                    <a:pt x="27" y="54"/>
                  </a:lnTo>
                  <a:lnTo>
                    <a:pt x="29" y="56"/>
                  </a:lnTo>
                  <a:lnTo>
                    <a:pt x="35" y="56"/>
                  </a:lnTo>
                  <a:lnTo>
                    <a:pt x="37" y="56"/>
                  </a:lnTo>
                  <a:lnTo>
                    <a:pt x="35" y="55"/>
                  </a:lnTo>
                  <a:lnTo>
                    <a:pt x="38" y="55"/>
                  </a:lnTo>
                  <a:lnTo>
                    <a:pt x="44" y="56"/>
                  </a:lnTo>
                  <a:lnTo>
                    <a:pt x="54" y="57"/>
                  </a:lnTo>
                  <a:lnTo>
                    <a:pt x="56" y="57"/>
                  </a:lnTo>
                  <a:lnTo>
                    <a:pt x="57" y="57"/>
                  </a:lnTo>
                  <a:lnTo>
                    <a:pt x="63" y="56"/>
                  </a:lnTo>
                  <a:lnTo>
                    <a:pt x="68" y="58"/>
                  </a:lnTo>
                  <a:lnTo>
                    <a:pt x="71" y="58"/>
                  </a:lnTo>
                  <a:lnTo>
                    <a:pt x="71" y="58"/>
                  </a:lnTo>
                  <a:lnTo>
                    <a:pt x="74" y="58"/>
                  </a:lnTo>
                  <a:lnTo>
                    <a:pt x="73" y="58"/>
                  </a:lnTo>
                  <a:lnTo>
                    <a:pt x="74" y="59"/>
                  </a:lnTo>
                  <a:lnTo>
                    <a:pt x="77" y="57"/>
                  </a:lnTo>
                  <a:lnTo>
                    <a:pt x="79" y="57"/>
                  </a:lnTo>
                  <a:lnTo>
                    <a:pt x="83" y="57"/>
                  </a:lnTo>
                  <a:lnTo>
                    <a:pt x="84" y="59"/>
                  </a:lnTo>
                  <a:lnTo>
                    <a:pt x="86" y="59"/>
                  </a:lnTo>
                  <a:lnTo>
                    <a:pt x="85" y="58"/>
                  </a:lnTo>
                  <a:lnTo>
                    <a:pt x="83" y="56"/>
                  </a:lnTo>
                  <a:lnTo>
                    <a:pt x="79" y="55"/>
                  </a:lnTo>
                  <a:lnTo>
                    <a:pt x="80" y="54"/>
                  </a:lnTo>
                  <a:lnTo>
                    <a:pt x="90" y="56"/>
                  </a:lnTo>
                  <a:lnTo>
                    <a:pt x="92" y="56"/>
                  </a:lnTo>
                  <a:lnTo>
                    <a:pt x="96" y="56"/>
                  </a:lnTo>
                  <a:lnTo>
                    <a:pt x="97" y="56"/>
                  </a:lnTo>
                  <a:lnTo>
                    <a:pt x="99" y="56"/>
                  </a:lnTo>
                  <a:lnTo>
                    <a:pt x="99" y="58"/>
                  </a:lnTo>
                  <a:lnTo>
                    <a:pt x="106" y="58"/>
                  </a:lnTo>
                  <a:lnTo>
                    <a:pt x="110" y="57"/>
                  </a:lnTo>
                  <a:lnTo>
                    <a:pt x="112" y="56"/>
                  </a:lnTo>
                  <a:lnTo>
                    <a:pt x="114" y="54"/>
                  </a:lnTo>
                  <a:lnTo>
                    <a:pt x="112" y="51"/>
                  </a:lnTo>
                  <a:lnTo>
                    <a:pt x="109" y="51"/>
                  </a:lnTo>
                  <a:lnTo>
                    <a:pt x="108" y="51"/>
                  </a:lnTo>
                  <a:lnTo>
                    <a:pt x="111" y="49"/>
                  </a:lnTo>
                  <a:lnTo>
                    <a:pt x="116" y="51"/>
                  </a:lnTo>
                  <a:lnTo>
                    <a:pt x="121" y="53"/>
                  </a:lnTo>
                  <a:lnTo>
                    <a:pt x="122" y="52"/>
                  </a:lnTo>
                  <a:lnTo>
                    <a:pt x="125" y="53"/>
                  </a:lnTo>
                  <a:lnTo>
                    <a:pt x="128" y="53"/>
                  </a:lnTo>
                  <a:lnTo>
                    <a:pt x="124" y="58"/>
                  </a:lnTo>
                  <a:lnTo>
                    <a:pt x="125" y="59"/>
                  </a:lnTo>
                  <a:lnTo>
                    <a:pt x="128" y="58"/>
                  </a:lnTo>
                  <a:lnTo>
                    <a:pt x="129" y="58"/>
                  </a:lnTo>
                  <a:lnTo>
                    <a:pt x="132" y="58"/>
                  </a:lnTo>
                  <a:lnTo>
                    <a:pt x="132" y="59"/>
                  </a:lnTo>
                  <a:lnTo>
                    <a:pt x="131" y="61"/>
                  </a:lnTo>
                  <a:lnTo>
                    <a:pt x="128" y="62"/>
                  </a:lnTo>
                  <a:lnTo>
                    <a:pt x="130" y="62"/>
                  </a:lnTo>
                  <a:lnTo>
                    <a:pt x="132" y="63"/>
                  </a:lnTo>
                  <a:lnTo>
                    <a:pt x="135" y="64"/>
                  </a:lnTo>
                  <a:lnTo>
                    <a:pt x="140" y="67"/>
                  </a:lnTo>
                  <a:lnTo>
                    <a:pt x="139" y="69"/>
                  </a:lnTo>
                  <a:lnTo>
                    <a:pt x="134" y="72"/>
                  </a:lnTo>
                  <a:lnTo>
                    <a:pt x="130" y="71"/>
                  </a:lnTo>
                  <a:lnTo>
                    <a:pt x="127" y="71"/>
                  </a:lnTo>
                  <a:lnTo>
                    <a:pt x="127" y="73"/>
                  </a:lnTo>
                  <a:lnTo>
                    <a:pt x="124" y="76"/>
                  </a:lnTo>
                  <a:lnTo>
                    <a:pt x="128" y="76"/>
                  </a:lnTo>
                  <a:lnTo>
                    <a:pt x="136" y="74"/>
                  </a:lnTo>
                  <a:lnTo>
                    <a:pt x="139" y="72"/>
                  </a:lnTo>
                  <a:lnTo>
                    <a:pt x="141" y="73"/>
                  </a:lnTo>
                  <a:lnTo>
                    <a:pt x="146" y="72"/>
                  </a:lnTo>
                  <a:lnTo>
                    <a:pt x="150" y="71"/>
                  </a:lnTo>
                  <a:lnTo>
                    <a:pt x="155" y="72"/>
                  </a:lnTo>
                  <a:lnTo>
                    <a:pt x="147" y="72"/>
                  </a:lnTo>
                  <a:lnTo>
                    <a:pt x="148" y="73"/>
                  </a:lnTo>
                  <a:lnTo>
                    <a:pt x="146" y="74"/>
                  </a:lnTo>
                  <a:lnTo>
                    <a:pt x="148" y="77"/>
                  </a:lnTo>
                  <a:lnTo>
                    <a:pt x="150" y="78"/>
                  </a:lnTo>
                  <a:lnTo>
                    <a:pt x="152" y="78"/>
                  </a:lnTo>
                  <a:lnTo>
                    <a:pt x="151" y="76"/>
                  </a:lnTo>
                  <a:lnTo>
                    <a:pt x="152" y="76"/>
                  </a:lnTo>
                  <a:lnTo>
                    <a:pt x="156" y="76"/>
                  </a:lnTo>
                  <a:lnTo>
                    <a:pt x="154" y="81"/>
                  </a:lnTo>
                  <a:lnTo>
                    <a:pt x="154" y="82"/>
                  </a:lnTo>
                  <a:lnTo>
                    <a:pt x="157" y="83"/>
                  </a:lnTo>
                  <a:lnTo>
                    <a:pt x="159" y="82"/>
                  </a:lnTo>
                  <a:lnTo>
                    <a:pt x="161" y="85"/>
                  </a:lnTo>
                  <a:lnTo>
                    <a:pt x="160" y="87"/>
                  </a:lnTo>
                  <a:lnTo>
                    <a:pt x="160" y="89"/>
                  </a:lnTo>
                  <a:lnTo>
                    <a:pt x="161" y="89"/>
                  </a:lnTo>
                  <a:lnTo>
                    <a:pt x="160" y="93"/>
                  </a:lnTo>
                  <a:lnTo>
                    <a:pt x="161" y="94"/>
                  </a:lnTo>
                  <a:lnTo>
                    <a:pt x="160" y="96"/>
                  </a:lnTo>
                  <a:lnTo>
                    <a:pt x="159" y="97"/>
                  </a:lnTo>
                  <a:lnTo>
                    <a:pt x="161" y="98"/>
                  </a:lnTo>
                  <a:lnTo>
                    <a:pt x="159" y="99"/>
                  </a:lnTo>
                  <a:lnTo>
                    <a:pt x="156" y="101"/>
                  </a:lnTo>
                  <a:lnTo>
                    <a:pt x="152" y="102"/>
                  </a:lnTo>
                  <a:lnTo>
                    <a:pt x="150" y="103"/>
                  </a:lnTo>
                  <a:lnTo>
                    <a:pt x="148" y="107"/>
                  </a:lnTo>
                  <a:lnTo>
                    <a:pt x="147" y="107"/>
                  </a:lnTo>
                  <a:lnTo>
                    <a:pt x="144" y="107"/>
                  </a:lnTo>
                  <a:lnTo>
                    <a:pt x="139" y="109"/>
                  </a:lnTo>
                  <a:lnTo>
                    <a:pt x="135" y="111"/>
                  </a:lnTo>
                  <a:lnTo>
                    <a:pt x="130" y="114"/>
                  </a:lnTo>
                  <a:lnTo>
                    <a:pt x="125" y="116"/>
                  </a:lnTo>
                  <a:lnTo>
                    <a:pt x="125" y="117"/>
                  </a:lnTo>
                  <a:lnTo>
                    <a:pt x="126" y="119"/>
                  </a:lnTo>
                  <a:lnTo>
                    <a:pt x="129" y="122"/>
                  </a:lnTo>
                  <a:lnTo>
                    <a:pt x="128" y="124"/>
                  </a:lnTo>
                  <a:lnTo>
                    <a:pt x="130" y="124"/>
                  </a:lnTo>
                  <a:lnTo>
                    <a:pt x="128" y="127"/>
                  </a:lnTo>
                  <a:lnTo>
                    <a:pt x="125" y="126"/>
                  </a:lnTo>
                  <a:lnTo>
                    <a:pt x="125" y="126"/>
                  </a:lnTo>
                  <a:lnTo>
                    <a:pt x="121" y="125"/>
                  </a:lnTo>
                  <a:lnTo>
                    <a:pt x="120" y="126"/>
                  </a:lnTo>
                  <a:lnTo>
                    <a:pt x="118" y="127"/>
                  </a:lnTo>
                  <a:lnTo>
                    <a:pt x="115" y="128"/>
                  </a:lnTo>
                  <a:lnTo>
                    <a:pt x="109" y="128"/>
                  </a:lnTo>
                  <a:lnTo>
                    <a:pt x="107" y="129"/>
                  </a:lnTo>
                  <a:lnTo>
                    <a:pt x="105" y="130"/>
                  </a:lnTo>
                  <a:lnTo>
                    <a:pt x="101" y="128"/>
                  </a:lnTo>
                  <a:lnTo>
                    <a:pt x="95" y="129"/>
                  </a:lnTo>
                  <a:lnTo>
                    <a:pt x="91" y="128"/>
                  </a:lnTo>
                  <a:lnTo>
                    <a:pt x="88" y="128"/>
                  </a:lnTo>
                  <a:lnTo>
                    <a:pt x="86" y="127"/>
                  </a:lnTo>
                  <a:lnTo>
                    <a:pt x="85" y="127"/>
                  </a:lnTo>
                  <a:lnTo>
                    <a:pt x="83" y="127"/>
                  </a:lnTo>
                  <a:lnTo>
                    <a:pt x="83" y="128"/>
                  </a:lnTo>
                  <a:lnTo>
                    <a:pt x="80" y="128"/>
                  </a:lnTo>
                  <a:lnTo>
                    <a:pt x="79" y="132"/>
                  </a:lnTo>
                  <a:lnTo>
                    <a:pt x="77" y="132"/>
                  </a:lnTo>
                  <a:lnTo>
                    <a:pt x="71" y="134"/>
                  </a:lnTo>
                  <a:lnTo>
                    <a:pt x="68" y="135"/>
                  </a:lnTo>
                  <a:lnTo>
                    <a:pt x="66" y="137"/>
                  </a:lnTo>
                  <a:lnTo>
                    <a:pt x="66" y="139"/>
                  </a:lnTo>
                  <a:lnTo>
                    <a:pt x="66" y="142"/>
                  </a:lnTo>
                  <a:lnTo>
                    <a:pt x="68" y="144"/>
                  </a:lnTo>
                  <a:lnTo>
                    <a:pt x="70" y="144"/>
                  </a:lnTo>
                  <a:lnTo>
                    <a:pt x="71" y="145"/>
                  </a:lnTo>
                  <a:lnTo>
                    <a:pt x="74" y="145"/>
                  </a:lnTo>
                  <a:lnTo>
                    <a:pt x="77" y="146"/>
                  </a:lnTo>
                  <a:lnTo>
                    <a:pt x="78" y="147"/>
                  </a:lnTo>
                  <a:lnTo>
                    <a:pt x="79" y="146"/>
                  </a:lnTo>
                  <a:lnTo>
                    <a:pt x="85" y="145"/>
                  </a:lnTo>
                  <a:lnTo>
                    <a:pt x="85" y="144"/>
                  </a:lnTo>
                  <a:lnTo>
                    <a:pt x="89" y="144"/>
                  </a:lnTo>
                  <a:lnTo>
                    <a:pt x="90" y="144"/>
                  </a:lnTo>
                  <a:lnTo>
                    <a:pt x="91" y="143"/>
                  </a:lnTo>
                  <a:lnTo>
                    <a:pt x="91" y="140"/>
                  </a:lnTo>
                  <a:lnTo>
                    <a:pt x="95" y="140"/>
                  </a:lnTo>
                  <a:lnTo>
                    <a:pt x="98" y="140"/>
                  </a:lnTo>
                  <a:lnTo>
                    <a:pt x="98" y="142"/>
                  </a:lnTo>
                  <a:lnTo>
                    <a:pt x="98" y="143"/>
                  </a:lnTo>
                  <a:lnTo>
                    <a:pt x="104" y="143"/>
                  </a:lnTo>
                  <a:lnTo>
                    <a:pt x="106" y="144"/>
                  </a:lnTo>
                  <a:lnTo>
                    <a:pt x="106" y="142"/>
                  </a:lnTo>
                  <a:lnTo>
                    <a:pt x="108" y="142"/>
                  </a:lnTo>
                  <a:lnTo>
                    <a:pt x="108" y="142"/>
                  </a:lnTo>
                  <a:lnTo>
                    <a:pt x="108" y="139"/>
                  </a:lnTo>
                  <a:lnTo>
                    <a:pt x="105" y="139"/>
                  </a:lnTo>
                  <a:lnTo>
                    <a:pt x="106" y="137"/>
                  </a:lnTo>
                  <a:lnTo>
                    <a:pt x="109" y="137"/>
                  </a:lnTo>
                  <a:lnTo>
                    <a:pt x="110" y="136"/>
                  </a:lnTo>
                  <a:lnTo>
                    <a:pt x="109" y="137"/>
                  </a:lnTo>
                  <a:lnTo>
                    <a:pt x="109" y="138"/>
                  </a:lnTo>
                  <a:lnTo>
                    <a:pt x="111" y="138"/>
                  </a:lnTo>
                  <a:lnTo>
                    <a:pt x="111" y="139"/>
                  </a:lnTo>
                  <a:lnTo>
                    <a:pt x="112" y="139"/>
                  </a:lnTo>
                  <a:lnTo>
                    <a:pt x="114" y="139"/>
                  </a:lnTo>
                  <a:lnTo>
                    <a:pt x="116" y="139"/>
                  </a:lnTo>
                  <a:lnTo>
                    <a:pt x="117" y="139"/>
                  </a:lnTo>
                  <a:lnTo>
                    <a:pt x="118" y="140"/>
                  </a:lnTo>
                  <a:lnTo>
                    <a:pt x="120" y="139"/>
                  </a:lnTo>
                  <a:lnTo>
                    <a:pt x="121" y="140"/>
                  </a:lnTo>
                  <a:lnTo>
                    <a:pt x="122" y="142"/>
                  </a:lnTo>
                  <a:lnTo>
                    <a:pt x="121" y="142"/>
                  </a:lnTo>
                  <a:lnTo>
                    <a:pt x="120" y="144"/>
                  </a:lnTo>
                  <a:lnTo>
                    <a:pt x="120" y="145"/>
                  </a:lnTo>
                  <a:lnTo>
                    <a:pt x="122" y="145"/>
                  </a:lnTo>
                  <a:lnTo>
                    <a:pt x="124" y="147"/>
                  </a:lnTo>
                  <a:lnTo>
                    <a:pt x="124" y="148"/>
                  </a:lnTo>
                  <a:lnTo>
                    <a:pt x="122" y="149"/>
                  </a:lnTo>
                  <a:lnTo>
                    <a:pt x="122" y="149"/>
                  </a:lnTo>
                  <a:lnTo>
                    <a:pt x="122" y="150"/>
                  </a:lnTo>
                  <a:lnTo>
                    <a:pt x="125" y="150"/>
                  </a:lnTo>
                  <a:lnTo>
                    <a:pt x="125" y="150"/>
                  </a:lnTo>
                  <a:lnTo>
                    <a:pt x="126" y="153"/>
                  </a:lnTo>
                  <a:lnTo>
                    <a:pt x="127" y="153"/>
                  </a:lnTo>
                  <a:lnTo>
                    <a:pt x="129" y="153"/>
                  </a:lnTo>
                  <a:lnTo>
                    <a:pt x="129" y="153"/>
                  </a:lnTo>
                  <a:lnTo>
                    <a:pt x="129" y="154"/>
                  </a:lnTo>
                  <a:lnTo>
                    <a:pt x="129" y="155"/>
                  </a:lnTo>
                  <a:lnTo>
                    <a:pt x="131" y="155"/>
                  </a:lnTo>
                  <a:lnTo>
                    <a:pt x="131" y="154"/>
                  </a:lnTo>
                  <a:lnTo>
                    <a:pt x="135" y="153"/>
                  </a:lnTo>
                  <a:lnTo>
                    <a:pt x="136" y="155"/>
                  </a:lnTo>
                  <a:lnTo>
                    <a:pt x="137" y="155"/>
                  </a:lnTo>
                  <a:lnTo>
                    <a:pt x="137" y="156"/>
                  </a:lnTo>
                  <a:lnTo>
                    <a:pt x="139" y="156"/>
                  </a:lnTo>
                  <a:lnTo>
                    <a:pt x="135" y="158"/>
                  </a:lnTo>
                  <a:lnTo>
                    <a:pt x="131" y="159"/>
                  </a:lnTo>
                  <a:lnTo>
                    <a:pt x="129" y="157"/>
                  </a:lnTo>
                  <a:lnTo>
                    <a:pt x="130" y="159"/>
                  </a:lnTo>
                  <a:lnTo>
                    <a:pt x="131" y="164"/>
                  </a:lnTo>
                  <a:lnTo>
                    <a:pt x="134" y="164"/>
                  </a:lnTo>
                  <a:lnTo>
                    <a:pt x="135" y="166"/>
                  </a:lnTo>
                  <a:lnTo>
                    <a:pt x="135" y="166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93" name="Freeform 1193"/>
            <p:cNvSpPr>
              <a:spLocks/>
            </p:cNvSpPr>
            <p:nvPr/>
          </p:nvSpPr>
          <p:spPr bwMode="auto">
            <a:xfrm>
              <a:off x="1667" y="814"/>
              <a:ext cx="14" cy="3"/>
            </a:xfrm>
            <a:custGeom>
              <a:avLst/>
              <a:gdLst>
                <a:gd name="T0" fmla="*/ 9 w 14"/>
                <a:gd name="T1" fmla="*/ 0 h 3"/>
                <a:gd name="T2" fmla="*/ 13 w 14"/>
                <a:gd name="T3" fmla="*/ 0 h 3"/>
                <a:gd name="T4" fmla="*/ 14 w 14"/>
                <a:gd name="T5" fmla="*/ 0 h 3"/>
                <a:gd name="T6" fmla="*/ 9 w 14"/>
                <a:gd name="T7" fmla="*/ 2 h 3"/>
                <a:gd name="T8" fmla="*/ 4 w 14"/>
                <a:gd name="T9" fmla="*/ 3 h 3"/>
                <a:gd name="T10" fmla="*/ 0 w 14"/>
                <a:gd name="T11" fmla="*/ 3 h 3"/>
                <a:gd name="T12" fmla="*/ 0 w 14"/>
                <a:gd name="T13" fmla="*/ 3 h 3"/>
                <a:gd name="T14" fmla="*/ 4 w 14"/>
                <a:gd name="T15" fmla="*/ 2 h 3"/>
                <a:gd name="T16" fmla="*/ 8 w 14"/>
                <a:gd name="T17" fmla="*/ 0 h 3"/>
                <a:gd name="T18" fmla="*/ 9 w 14"/>
                <a:gd name="T1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3">
                  <a:moveTo>
                    <a:pt x="9" y="0"/>
                  </a:moveTo>
                  <a:lnTo>
                    <a:pt x="13" y="0"/>
                  </a:lnTo>
                  <a:lnTo>
                    <a:pt x="14" y="0"/>
                  </a:lnTo>
                  <a:lnTo>
                    <a:pt x="9" y="2"/>
                  </a:lnTo>
                  <a:lnTo>
                    <a:pt x="4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4" y="2"/>
                  </a:lnTo>
                  <a:lnTo>
                    <a:pt x="8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94" name="Freeform 1194"/>
            <p:cNvSpPr>
              <a:spLocks/>
            </p:cNvSpPr>
            <p:nvPr/>
          </p:nvSpPr>
          <p:spPr bwMode="auto">
            <a:xfrm>
              <a:off x="1667" y="814"/>
              <a:ext cx="14" cy="3"/>
            </a:xfrm>
            <a:custGeom>
              <a:avLst/>
              <a:gdLst>
                <a:gd name="T0" fmla="*/ 9 w 14"/>
                <a:gd name="T1" fmla="*/ 0 h 3"/>
                <a:gd name="T2" fmla="*/ 13 w 14"/>
                <a:gd name="T3" fmla="*/ 0 h 3"/>
                <a:gd name="T4" fmla="*/ 14 w 14"/>
                <a:gd name="T5" fmla="*/ 0 h 3"/>
                <a:gd name="T6" fmla="*/ 9 w 14"/>
                <a:gd name="T7" fmla="*/ 2 h 3"/>
                <a:gd name="T8" fmla="*/ 4 w 14"/>
                <a:gd name="T9" fmla="*/ 3 h 3"/>
                <a:gd name="T10" fmla="*/ 0 w 14"/>
                <a:gd name="T11" fmla="*/ 3 h 3"/>
                <a:gd name="T12" fmla="*/ 0 w 14"/>
                <a:gd name="T13" fmla="*/ 3 h 3"/>
                <a:gd name="T14" fmla="*/ 4 w 14"/>
                <a:gd name="T15" fmla="*/ 2 h 3"/>
                <a:gd name="T16" fmla="*/ 8 w 14"/>
                <a:gd name="T17" fmla="*/ 0 h 3"/>
                <a:gd name="T18" fmla="*/ 9 w 14"/>
                <a:gd name="T1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3">
                  <a:moveTo>
                    <a:pt x="9" y="0"/>
                  </a:moveTo>
                  <a:lnTo>
                    <a:pt x="13" y="0"/>
                  </a:lnTo>
                  <a:lnTo>
                    <a:pt x="14" y="0"/>
                  </a:lnTo>
                  <a:lnTo>
                    <a:pt x="9" y="2"/>
                  </a:lnTo>
                  <a:lnTo>
                    <a:pt x="4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4" y="2"/>
                  </a:lnTo>
                  <a:lnTo>
                    <a:pt x="8" y="0"/>
                  </a:lnTo>
                  <a:lnTo>
                    <a:pt x="9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95" name="Freeform 1195"/>
            <p:cNvSpPr>
              <a:spLocks/>
            </p:cNvSpPr>
            <p:nvPr/>
          </p:nvSpPr>
          <p:spPr bwMode="auto">
            <a:xfrm>
              <a:off x="1712" y="938"/>
              <a:ext cx="9" cy="9"/>
            </a:xfrm>
            <a:custGeom>
              <a:avLst/>
              <a:gdLst>
                <a:gd name="T0" fmla="*/ 9 w 9"/>
                <a:gd name="T1" fmla="*/ 1 h 9"/>
                <a:gd name="T2" fmla="*/ 9 w 9"/>
                <a:gd name="T3" fmla="*/ 1 h 9"/>
                <a:gd name="T4" fmla="*/ 8 w 9"/>
                <a:gd name="T5" fmla="*/ 3 h 9"/>
                <a:gd name="T6" fmla="*/ 5 w 9"/>
                <a:gd name="T7" fmla="*/ 6 h 9"/>
                <a:gd name="T8" fmla="*/ 3 w 9"/>
                <a:gd name="T9" fmla="*/ 9 h 9"/>
                <a:gd name="T10" fmla="*/ 2 w 9"/>
                <a:gd name="T11" fmla="*/ 9 h 9"/>
                <a:gd name="T12" fmla="*/ 0 w 9"/>
                <a:gd name="T13" fmla="*/ 6 h 9"/>
                <a:gd name="T14" fmla="*/ 2 w 9"/>
                <a:gd name="T15" fmla="*/ 4 h 9"/>
                <a:gd name="T16" fmla="*/ 4 w 9"/>
                <a:gd name="T17" fmla="*/ 1 h 9"/>
                <a:gd name="T18" fmla="*/ 8 w 9"/>
                <a:gd name="T19" fmla="*/ 0 h 9"/>
                <a:gd name="T20" fmla="*/ 9 w 9"/>
                <a:gd name="T21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9" y="1"/>
                  </a:moveTo>
                  <a:lnTo>
                    <a:pt x="9" y="1"/>
                  </a:lnTo>
                  <a:lnTo>
                    <a:pt x="8" y="3"/>
                  </a:lnTo>
                  <a:lnTo>
                    <a:pt x="5" y="6"/>
                  </a:lnTo>
                  <a:lnTo>
                    <a:pt x="3" y="9"/>
                  </a:lnTo>
                  <a:lnTo>
                    <a:pt x="2" y="9"/>
                  </a:lnTo>
                  <a:lnTo>
                    <a:pt x="0" y="6"/>
                  </a:lnTo>
                  <a:lnTo>
                    <a:pt x="2" y="4"/>
                  </a:lnTo>
                  <a:lnTo>
                    <a:pt x="4" y="1"/>
                  </a:lnTo>
                  <a:lnTo>
                    <a:pt x="8" y="0"/>
                  </a:lnTo>
                  <a:lnTo>
                    <a:pt x="9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96" name="Freeform 1196"/>
            <p:cNvSpPr>
              <a:spLocks/>
            </p:cNvSpPr>
            <p:nvPr/>
          </p:nvSpPr>
          <p:spPr bwMode="auto">
            <a:xfrm>
              <a:off x="1712" y="938"/>
              <a:ext cx="9" cy="9"/>
            </a:xfrm>
            <a:custGeom>
              <a:avLst/>
              <a:gdLst>
                <a:gd name="T0" fmla="*/ 9 w 9"/>
                <a:gd name="T1" fmla="*/ 1 h 9"/>
                <a:gd name="T2" fmla="*/ 9 w 9"/>
                <a:gd name="T3" fmla="*/ 1 h 9"/>
                <a:gd name="T4" fmla="*/ 8 w 9"/>
                <a:gd name="T5" fmla="*/ 3 h 9"/>
                <a:gd name="T6" fmla="*/ 5 w 9"/>
                <a:gd name="T7" fmla="*/ 6 h 9"/>
                <a:gd name="T8" fmla="*/ 3 w 9"/>
                <a:gd name="T9" fmla="*/ 9 h 9"/>
                <a:gd name="T10" fmla="*/ 2 w 9"/>
                <a:gd name="T11" fmla="*/ 9 h 9"/>
                <a:gd name="T12" fmla="*/ 0 w 9"/>
                <a:gd name="T13" fmla="*/ 6 h 9"/>
                <a:gd name="T14" fmla="*/ 2 w 9"/>
                <a:gd name="T15" fmla="*/ 4 h 9"/>
                <a:gd name="T16" fmla="*/ 4 w 9"/>
                <a:gd name="T17" fmla="*/ 1 h 9"/>
                <a:gd name="T18" fmla="*/ 8 w 9"/>
                <a:gd name="T19" fmla="*/ 0 h 9"/>
                <a:gd name="T20" fmla="*/ 9 w 9"/>
                <a:gd name="T21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9">
                  <a:moveTo>
                    <a:pt x="9" y="1"/>
                  </a:moveTo>
                  <a:lnTo>
                    <a:pt x="9" y="1"/>
                  </a:lnTo>
                  <a:lnTo>
                    <a:pt x="8" y="3"/>
                  </a:lnTo>
                  <a:lnTo>
                    <a:pt x="5" y="6"/>
                  </a:lnTo>
                  <a:lnTo>
                    <a:pt x="3" y="9"/>
                  </a:lnTo>
                  <a:lnTo>
                    <a:pt x="2" y="9"/>
                  </a:lnTo>
                  <a:lnTo>
                    <a:pt x="0" y="6"/>
                  </a:lnTo>
                  <a:lnTo>
                    <a:pt x="2" y="4"/>
                  </a:lnTo>
                  <a:lnTo>
                    <a:pt x="4" y="1"/>
                  </a:lnTo>
                  <a:lnTo>
                    <a:pt x="8" y="0"/>
                  </a:lnTo>
                  <a:lnTo>
                    <a:pt x="9" y="1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97" name="Freeform 1197"/>
            <p:cNvSpPr>
              <a:spLocks/>
            </p:cNvSpPr>
            <p:nvPr/>
          </p:nvSpPr>
          <p:spPr bwMode="auto">
            <a:xfrm>
              <a:off x="1806" y="1026"/>
              <a:ext cx="10" cy="3"/>
            </a:xfrm>
            <a:custGeom>
              <a:avLst/>
              <a:gdLst>
                <a:gd name="T0" fmla="*/ 9 w 10"/>
                <a:gd name="T1" fmla="*/ 2 h 3"/>
                <a:gd name="T2" fmla="*/ 10 w 10"/>
                <a:gd name="T3" fmla="*/ 0 h 3"/>
                <a:gd name="T4" fmla="*/ 10 w 10"/>
                <a:gd name="T5" fmla="*/ 0 h 3"/>
                <a:gd name="T6" fmla="*/ 10 w 10"/>
                <a:gd name="T7" fmla="*/ 2 h 3"/>
                <a:gd name="T8" fmla="*/ 8 w 10"/>
                <a:gd name="T9" fmla="*/ 2 h 3"/>
                <a:gd name="T10" fmla="*/ 6 w 10"/>
                <a:gd name="T11" fmla="*/ 3 h 3"/>
                <a:gd name="T12" fmla="*/ 1 w 10"/>
                <a:gd name="T13" fmla="*/ 2 h 3"/>
                <a:gd name="T14" fmla="*/ 0 w 10"/>
                <a:gd name="T15" fmla="*/ 2 h 3"/>
                <a:gd name="T16" fmla="*/ 2 w 10"/>
                <a:gd name="T17" fmla="*/ 0 h 3"/>
                <a:gd name="T18" fmla="*/ 3 w 10"/>
                <a:gd name="T19" fmla="*/ 2 h 3"/>
                <a:gd name="T20" fmla="*/ 9 w 10"/>
                <a:gd name="T21" fmla="*/ 0 h 3"/>
                <a:gd name="T22" fmla="*/ 9 w 10"/>
                <a:gd name="T2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3">
                  <a:moveTo>
                    <a:pt x="9" y="2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8" y="2"/>
                  </a:lnTo>
                  <a:lnTo>
                    <a:pt x="6" y="3"/>
                  </a:lnTo>
                  <a:lnTo>
                    <a:pt x="1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3" y="2"/>
                  </a:lnTo>
                  <a:lnTo>
                    <a:pt x="9" y="0"/>
                  </a:lnTo>
                  <a:lnTo>
                    <a:pt x="9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98" name="Freeform 1198"/>
            <p:cNvSpPr>
              <a:spLocks/>
            </p:cNvSpPr>
            <p:nvPr/>
          </p:nvSpPr>
          <p:spPr bwMode="auto">
            <a:xfrm>
              <a:off x="1806" y="1026"/>
              <a:ext cx="10" cy="3"/>
            </a:xfrm>
            <a:custGeom>
              <a:avLst/>
              <a:gdLst>
                <a:gd name="T0" fmla="*/ 9 w 10"/>
                <a:gd name="T1" fmla="*/ 2 h 3"/>
                <a:gd name="T2" fmla="*/ 10 w 10"/>
                <a:gd name="T3" fmla="*/ 0 h 3"/>
                <a:gd name="T4" fmla="*/ 10 w 10"/>
                <a:gd name="T5" fmla="*/ 0 h 3"/>
                <a:gd name="T6" fmla="*/ 10 w 10"/>
                <a:gd name="T7" fmla="*/ 2 h 3"/>
                <a:gd name="T8" fmla="*/ 8 w 10"/>
                <a:gd name="T9" fmla="*/ 2 h 3"/>
                <a:gd name="T10" fmla="*/ 6 w 10"/>
                <a:gd name="T11" fmla="*/ 3 h 3"/>
                <a:gd name="T12" fmla="*/ 1 w 10"/>
                <a:gd name="T13" fmla="*/ 2 h 3"/>
                <a:gd name="T14" fmla="*/ 0 w 10"/>
                <a:gd name="T15" fmla="*/ 2 h 3"/>
                <a:gd name="T16" fmla="*/ 2 w 10"/>
                <a:gd name="T17" fmla="*/ 0 h 3"/>
                <a:gd name="T18" fmla="*/ 3 w 10"/>
                <a:gd name="T19" fmla="*/ 2 h 3"/>
                <a:gd name="T20" fmla="*/ 9 w 10"/>
                <a:gd name="T21" fmla="*/ 0 h 3"/>
                <a:gd name="T22" fmla="*/ 9 w 10"/>
                <a:gd name="T23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" h="3">
                  <a:moveTo>
                    <a:pt x="9" y="2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10" y="2"/>
                  </a:lnTo>
                  <a:lnTo>
                    <a:pt x="8" y="2"/>
                  </a:lnTo>
                  <a:lnTo>
                    <a:pt x="6" y="3"/>
                  </a:lnTo>
                  <a:lnTo>
                    <a:pt x="1" y="2"/>
                  </a:lnTo>
                  <a:lnTo>
                    <a:pt x="0" y="2"/>
                  </a:lnTo>
                  <a:lnTo>
                    <a:pt x="2" y="0"/>
                  </a:lnTo>
                  <a:lnTo>
                    <a:pt x="3" y="2"/>
                  </a:lnTo>
                  <a:lnTo>
                    <a:pt x="9" y="0"/>
                  </a:lnTo>
                  <a:lnTo>
                    <a:pt x="9" y="2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199" name="Freeform 1199"/>
            <p:cNvSpPr>
              <a:spLocks/>
            </p:cNvSpPr>
            <p:nvPr/>
          </p:nvSpPr>
          <p:spPr bwMode="auto">
            <a:xfrm>
              <a:off x="1825" y="1294"/>
              <a:ext cx="31" cy="20"/>
            </a:xfrm>
            <a:custGeom>
              <a:avLst/>
              <a:gdLst>
                <a:gd name="T0" fmla="*/ 25 w 31"/>
                <a:gd name="T1" fmla="*/ 14 h 20"/>
                <a:gd name="T2" fmla="*/ 28 w 31"/>
                <a:gd name="T3" fmla="*/ 13 h 20"/>
                <a:gd name="T4" fmla="*/ 31 w 31"/>
                <a:gd name="T5" fmla="*/ 12 h 20"/>
                <a:gd name="T6" fmla="*/ 31 w 31"/>
                <a:gd name="T7" fmla="*/ 11 h 20"/>
                <a:gd name="T8" fmla="*/ 24 w 31"/>
                <a:gd name="T9" fmla="*/ 11 h 20"/>
                <a:gd name="T10" fmla="*/ 18 w 31"/>
                <a:gd name="T11" fmla="*/ 12 h 20"/>
                <a:gd name="T12" fmla="*/ 15 w 31"/>
                <a:gd name="T13" fmla="*/ 11 h 20"/>
                <a:gd name="T14" fmla="*/ 11 w 31"/>
                <a:gd name="T15" fmla="*/ 10 h 20"/>
                <a:gd name="T16" fmla="*/ 9 w 31"/>
                <a:gd name="T17" fmla="*/ 10 h 20"/>
                <a:gd name="T18" fmla="*/ 8 w 31"/>
                <a:gd name="T19" fmla="*/ 10 h 20"/>
                <a:gd name="T20" fmla="*/ 5 w 31"/>
                <a:gd name="T21" fmla="*/ 10 h 20"/>
                <a:gd name="T22" fmla="*/ 5 w 31"/>
                <a:gd name="T23" fmla="*/ 7 h 20"/>
                <a:gd name="T24" fmla="*/ 4 w 31"/>
                <a:gd name="T25" fmla="*/ 5 h 20"/>
                <a:gd name="T26" fmla="*/ 7 w 31"/>
                <a:gd name="T27" fmla="*/ 3 h 20"/>
                <a:gd name="T28" fmla="*/ 8 w 31"/>
                <a:gd name="T29" fmla="*/ 0 h 20"/>
                <a:gd name="T30" fmla="*/ 7 w 31"/>
                <a:gd name="T31" fmla="*/ 1 h 20"/>
                <a:gd name="T32" fmla="*/ 1 w 31"/>
                <a:gd name="T33" fmla="*/ 5 h 20"/>
                <a:gd name="T34" fmla="*/ 0 w 31"/>
                <a:gd name="T35" fmla="*/ 8 h 20"/>
                <a:gd name="T36" fmla="*/ 3 w 31"/>
                <a:gd name="T37" fmla="*/ 9 h 20"/>
                <a:gd name="T38" fmla="*/ 2 w 31"/>
                <a:gd name="T39" fmla="*/ 10 h 20"/>
                <a:gd name="T40" fmla="*/ 3 w 31"/>
                <a:gd name="T41" fmla="*/ 12 h 20"/>
                <a:gd name="T42" fmla="*/ 7 w 31"/>
                <a:gd name="T43" fmla="*/ 12 h 20"/>
                <a:gd name="T44" fmla="*/ 7 w 31"/>
                <a:gd name="T45" fmla="*/ 14 h 20"/>
                <a:gd name="T46" fmla="*/ 9 w 31"/>
                <a:gd name="T47" fmla="*/ 15 h 20"/>
                <a:gd name="T48" fmla="*/ 12 w 31"/>
                <a:gd name="T49" fmla="*/ 17 h 20"/>
                <a:gd name="T50" fmla="*/ 14 w 31"/>
                <a:gd name="T51" fmla="*/ 17 h 20"/>
                <a:gd name="T52" fmla="*/ 14 w 31"/>
                <a:gd name="T53" fmla="*/ 15 h 20"/>
                <a:gd name="T54" fmla="*/ 15 w 31"/>
                <a:gd name="T55" fmla="*/ 14 h 20"/>
                <a:gd name="T56" fmla="*/ 18 w 31"/>
                <a:gd name="T57" fmla="*/ 15 h 20"/>
                <a:gd name="T58" fmla="*/ 17 w 31"/>
                <a:gd name="T59" fmla="*/ 18 h 20"/>
                <a:gd name="T60" fmla="*/ 18 w 31"/>
                <a:gd name="T61" fmla="*/ 19 h 20"/>
                <a:gd name="T62" fmla="*/ 20 w 31"/>
                <a:gd name="T63" fmla="*/ 20 h 20"/>
                <a:gd name="T64" fmla="*/ 23 w 31"/>
                <a:gd name="T65" fmla="*/ 19 h 20"/>
                <a:gd name="T66" fmla="*/ 23 w 31"/>
                <a:gd name="T67" fmla="*/ 19 h 20"/>
                <a:gd name="T68" fmla="*/ 24 w 31"/>
                <a:gd name="T69" fmla="*/ 15 h 20"/>
                <a:gd name="T70" fmla="*/ 25 w 31"/>
                <a:gd name="T71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" h="20">
                  <a:moveTo>
                    <a:pt x="25" y="14"/>
                  </a:moveTo>
                  <a:lnTo>
                    <a:pt x="28" y="13"/>
                  </a:lnTo>
                  <a:lnTo>
                    <a:pt x="31" y="12"/>
                  </a:lnTo>
                  <a:lnTo>
                    <a:pt x="31" y="11"/>
                  </a:lnTo>
                  <a:lnTo>
                    <a:pt x="24" y="11"/>
                  </a:lnTo>
                  <a:lnTo>
                    <a:pt x="18" y="12"/>
                  </a:lnTo>
                  <a:lnTo>
                    <a:pt x="15" y="11"/>
                  </a:lnTo>
                  <a:lnTo>
                    <a:pt x="11" y="10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5" y="10"/>
                  </a:lnTo>
                  <a:lnTo>
                    <a:pt x="5" y="7"/>
                  </a:lnTo>
                  <a:lnTo>
                    <a:pt x="4" y="5"/>
                  </a:lnTo>
                  <a:lnTo>
                    <a:pt x="7" y="3"/>
                  </a:lnTo>
                  <a:lnTo>
                    <a:pt x="8" y="0"/>
                  </a:lnTo>
                  <a:lnTo>
                    <a:pt x="7" y="1"/>
                  </a:lnTo>
                  <a:lnTo>
                    <a:pt x="1" y="5"/>
                  </a:lnTo>
                  <a:lnTo>
                    <a:pt x="0" y="8"/>
                  </a:lnTo>
                  <a:lnTo>
                    <a:pt x="3" y="9"/>
                  </a:lnTo>
                  <a:lnTo>
                    <a:pt x="2" y="10"/>
                  </a:lnTo>
                  <a:lnTo>
                    <a:pt x="3" y="12"/>
                  </a:lnTo>
                  <a:lnTo>
                    <a:pt x="7" y="12"/>
                  </a:lnTo>
                  <a:lnTo>
                    <a:pt x="7" y="14"/>
                  </a:lnTo>
                  <a:lnTo>
                    <a:pt x="9" y="15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4" y="15"/>
                  </a:lnTo>
                  <a:lnTo>
                    <a:pt x="15" y="14"/>
                  </a:lnTo>
                  <a:lnTo>
                    <a:pt x="18" y="15"/>
                  </a:lnTo>
                  <a:lnTo>
                    <a:pt x="17" y="18"/>
                  </a:lnTo>
                  <a:lnTo>
                    <a:pt x="18" y="19"/>
                  </a:lnTo>
                  <a:lnTo>
                    <a:pt x="20" y="20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4" y="15"/>
                  </a:lnTo>
                  <a:lnTo>
                    <a:pt x="25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200" name="Freeform 1200"/>
            <p:cNvSpPr>
              <a:spLocks/>
            </p:cNvSpPr>
            <p:nvPr/>
          </p:nvSpPr>
          <p:spPr bwMode="auto">
            <a:xfrm>
              <a:off x="1825" y="1294"/>
              <a:ext cx="31" cy="20"/>
            </a:xfrm>
            <a:custGeom>
              <a:avLst/>
              <a:gdLst>
                <a:gd name="T0" fmla="*/ 25 w 31"/>
                <a:gd name="T1" fmla="*/ 14 h 20"/>
                <a:gd name="T2" fmla="*/ 28 w 31"/>
                <a:gd name="T3" fmla="*/ 13 h 20"/>
                <a:gd name="T4" fmla="*/ 31 w 31"/>
                <a:gd name="T5" fmla="*/ 12 h 20"/>
                <a:gd name="T6" fmla="*/ 31 w 31"/>
                <a:gd name="T7" fmla="*/ 11 h 20"/>
                <a:gd name="T8" fmla="*/ 24 w 31"/>
                <a:gd name="T9" fmla="*/ 11 h 20"/>
                <a:gd name="T10" fmla="*/ 18 w 31"/>
                <a:gd name="T11" fmla="*/ 12 h 20"/>
                <a:gd name="T12" fmla="*/ 15 w 31"/>
                <a:gd name="T13" fmla="*/ 11 h 20"/>
                <a:gd name="T14" fmla="*/ 11 w 31"/>
                <a:gd name="T15" fmla="*/ 10 h 20"/>
                <a:gd name="T16" fmla="*/ 9 w 31"/>
                <a:gd name="T17" fmla="*/ 10 h 20"/>
                <a:gd name="T18" fmla="*/ 8 w 31"/>
                <a:gd name="T19" fmla="*/ 10 h 20"/>
                <a:gd name="T20" fmla="*/ 5 w 31"/>
                <a:gd name="T21" fmla="*/ 10 h 20"/>
                <a:gd name="T22" fmla="*/ 5 w 31"/>
                <a:gd name="T23" fmla="*/ 7 h 20"/>
                <a:gd name="T24" fmla="*/ 4 w 31"/>
                <a:gd name="T25" fmla="*/ 5 h 20"/>
                <a:gd name="T26" fmla="*/ 7 w 31"/>
                <a:gd name="T27" fmla="*/ 3 h 20"/>
                <a:gd name="T28" fmla="*/ 8 w 31"/>
                <a:gd name="T29" fmla="*/ 0 h 20"/>
                <a:gd name="T30" fmla="*/ 7 w 31"/>
                <a:gd name="T31" fmla="*/ 1 h 20"/>
                <a:gd name="T32" fmla="*/ 1 w 31"/>
                <a:gd name="T33" fmla="*/ 5 h 20"/>
                <a:gd name="T34" fmla="*/ 0 w 31"/>
                <a:gd name="T35" fmla="*/ 8 h 20"/>
                <a:gd name="T36" fmla="*/ 3 w 31"/>
                <a:gd name="T37" fmla="*/ 9 h 20"/>
                <a:gd name="T38" fmla="*/ 2 w 31"/>
                <a:gd name="T39" fmla="*/ 10 h 20"/>
                <a:gd name="T40" fmla="*/ 3 w 31"/>
                <a:gd name="T41" fmla="*/ 12 h 20"/>
                <a:gd name="T42" fmla="*/ 7 w 31"/>
                <a:gd name="T43" fmla="*/ 12 h 20"/>
                <a:gd name="T44" fmla="*/ 7 w 31"/>
                <a:gd name="T45" fmla="*/ 14 h 20"/>
                <a:gd name="T46" fmla="*/ 9 w 31"/>
                <a:gd name="T47" fmla="*/ 15 h 20"/>
                <a:gd name="T48" fmla="*/ 12 w 31"/>
                <a:gd name="T49" fmla="*/ 17 h 20"/>
                <a:gd name="T50" fmla="*/ 14 w 31"/>
                <a:gd name="T51" fmla="*/ 17 h 20"/>
                <a:gd name="T52" fmla="*/ 14 w 31"/>
                <a:gd name="T53" fmla="*/ 15 h 20"/>
                <a:gd name="T54" fmla="*/ 15 w 31"/>
                <a:gd name="T55" fmla="*/ 14 h 20"/>
                <a:gd name="T56" fmla="*/ 18 w 31"/>
                <a:gd name="T57" fmla="*/ 15 h 20"/>
                <a:gd name="T58" fmla="*/ 17 w 31"/>
                <a:gd name="T59" fmla="*/ 18 h 20"/>
                <a:gd name="T60" fmla="*/ 18 w 31"/>
                <a:gd name="T61" fmla="*/ 19 h 20"/>
                <a:gd name="T62" fmla="*/ 20 w 31"/>
                <a:gd name="T63" fmla="*/ 20 h 20"/>
                <a:gd name="T64" fmla="*/ 23 w 31"/>
                <a:gd name="T65" fmla="*/ 19 h 20"/>
                <a:gd name="T66" fmla="*/ 23 w 31"/>
                <a:gd name="T67" fmla="*/ 19 h 20"/>
                <a:gd name="T68" fmla="*/ 24 w 31"/>
                <a:gd name="T69" fmla="*/ 15 h 20"/>
                <a:gd name="T70" fmla="*/ 25 w 31"/>
                <a:gd name="T71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" h="20">
                  <a:moveTo>
                    <a:pt x="25" y="14"/>
                  </a:moveTo>
                  <a:lnTo>
                    <a:pt x="28" y="13"/>
                  </a:lnTo>
                  <a:lnTo>
                    <a:pt x="31" y="12"/>
                  </a:lnTo>
                  <a:lnTo>
                    <a:pt x="31" y="11"/>
                  </a:lnTo>
                  <a:lnTo>
                    <a:pt x="24" y="11"/>
                  </a:lnTo>
                  <a:lnTo>
                    <a:pt x="18" y="12"/>
                  </a:lnTo>
                  <a:lnTo>
                    <a:pt x="15" y="11"/>
                  </a:lnTo>
                  <a:lnTo>
                    <a:pt x="11" y="10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5" y="10"/>
                  </a:lnTo>
                  <a:lnTo>
                    <a:pt x="5" y="7"/>
                  </a:lnTo>
                  <a:lnTo>
                    <a:pt x="4" y="5"/>
                  </a:lnTo>
                  <a:lnTo>
                    <a:pt x="7" y="3"/>
                  </a:lnTo>
                  <a:lnTo>
                    <a:pt x="8" y="0"/>
                  </a:lnTo>
                  <a:lnTo>
                    <a:pt x="7" y="1"/>
                  </a:lnTo>
                  <a:lnTo>
                    <a:pt x="1" y="5"/>
                  </a:lnTo>
                  <a:lnTo>
                    <a:pt x="0" y="8"/>
                  </a:lnTo>
                  <a:lnTo>
                    <a:pt x="3" y="9"/>
                  </a:lnTo>
                  <a:lnTo>
                    <a:pt x="2" y="10"/>
                  </a:lnTo>
                  <a:lnTo>
                    <a:pt x="3" y="12"/>
                  </a:lnTo>
                  <a:lnTo>
                    <a:pt x="7" y="12"/>
                  </a:lnTo>
                  <a:lnTo>
                    <a:pt x="7" y="14"/>
                  </a:lnTo>
                  <a:lnTo>
                    <a:pt x="9" y="15"/>
                  </a:lnTo>
                  <a:lnTo>
                    <a:pt x="12" y="17"/>
                  </a:lnTo>
                  <a:lnTo>
                    <a:pt x="14" y="17"/>
                  </a:lnTo>
                  <a:lnTo>
                    <a:pt x="14" y="15"/>
                  </a:lnTo>
                  <a:lnTo>
                    <a:pt x="15" y="14"/>
                  </a:lnTo>
                  <a:lnTo>
                    <a:pt x="18" y="15"/>
                  </a:lnTo>
                  <a:lnTo>
                    <a:pt x="17" y="18"/>
                  </a:lnTo>
                  <a:lnTo>
                    <a:pt x="18" y="19"/>
                  </a:lnTo>
                  <a:lnTo>
                    <a:pt x="20" y="20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4" y="15"/>
                  </a:lnTo>
                  <a:lnTo>
                    <a:pt x="25" y="14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201" name="Freeform 1201"/>
            <p:cNvSpPr>
              <a:spLocks/>
            </p:cNvSpPr>
            <p:nvPr/>
          </p:nvSpPr>
          <p:spPr bwMode="auto">
            <a:xfrm>
              <a:off x="1981" y="1181"/>
              <a:ext cx="1" cy="0"/>
            </a:xfrm>
            <a:custGeom>
              <a:avLst/>
              <a:gdLst>
                <a:gd name="T0" fmla="*/ 1 w 1"/>
                <a:gd name="T1" fmla="*/ 0 w 1"/>
                <a:gd name="T2" fmla="*/ 1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202" name="Freeform 1202"/>
            <p:cNvSpPr>
              <a:spLocks/>
            </p:cNvSpPr>
            <p:nvPr/>
          </p:nvSpPr>
          <p:spPr bwMode="auto">
            <a:xfrm>
              <a:off x="1981" y="1181"/>
              <a:ext cx="1" cy="0"/>
            </a:xfrm>
            <a:custGeom>
              <a:avLst/>
              <a:gdLst>
                <a:gd name="T0" fmla="*/ 1 w 1"/>
                <a:gd name="T1" fmla="*/ 0 w 1"/>
                <a:gd name="T2" fmla="*/ 1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203" name="Freeform 1203"/>
            <p:cNvSpPr>
              <a:spLocks/>
            </p:cNvSpPr>
            <p:nvPr/>
          </p:nvSpPr>
          <p:spPr bwMode="auto">
            <a:xfrm>
              <a:off x="938" y="882"/>
              <a:ext cx="1044" cy="504"/>
            </a:xfrm>
            <a:custGeom>
              <a:avLst/>
              <a:gdLst>
                <a:gd name="T0" fmla="*/ 886 w 1044"/>
                <a:gd name="T1" fmla="*/ 355 h 504"/>
                <a:gd name="T2" fmla="*/ 841 w 1044"/>
                <a:gd name="T3" fmla="*/ 385 h 504"/>
                <a:gd name="T4" fmla="*/ 881 w 1044"/>
                <a:gd name="T5" fmla="*/ 424 h 504"/>
                <a:gd name="T6" fmla="*/ 887 w 1044"/>
                <a:gd name="T7" fmla="*/ 457 h 504"/>
                <a:gd name="T8" fmla="*/ 894 w 1044"/>
                <a:gd name="T9" fmla="*/ 443 h 504"/>
                <a:gd name="T10" fmla="*/ 819 w 1044"/>
                <a:gd name="T11" fmla="*/ 406 h 504"/>
                <a:gd name="T12" fmla="*/ 687 w 1044"/>
                <a:gd name="T13" fmla="*/ 470 h 504"/>
                <a:gd name="T14" fmla="*/ 591 w 1044"/>
                <a:gd name="T15" fmla="*/ 496 h 504"/>
                <a:gd name="T16" fmla="*/ 638 w 1044"/>
                <a:gd name="T17" fmla="*/ 454 h 504"/>
                <a:gd name="T18" fmla="*/ 606 w 1044"/>
                <a:gd name="T19" fmla="*/ 426 h 504"/>
                <a:gd name="T20" fmla="*/ 557 w 1044"/>
                <a:gd name="T21" fmla="*/ 388 h 504"/>
                <a:gd name="T22" fmla="*/ 476 w 1044"/>
                <a:gd name="T23" fmla="*/ 383 h 504"/>
                <a:gd name="T24" fmla="*/ 83 w 1044"/>
                <a:gd name="T25" fmla="*/ 375 h 504"/>
                <a:gd name="T26" fmla="*/ 70 w 1044"/>
                <a:gd name="T27" fmla="*/ 355 h 504"/>
                <a:gd name="T28" fmla="*/ 45 w 1044"/>
                <a:gd name="T29" fmla="*/ 336 h 504"/>
                <a:gd name="T30" fmla="*/ 49 w 1044"/>
                <a:gd name="T31" fmla="*/ 303 h 504"/>
                <a:gd name="T32" fmla="*/ 74 w 1044"/>
                <a:gd name="T33" fmla="*/ 258 h 504"/>
                <a:gd name="T34" fmla="*/ 48 w 1044"/>
                <a:gd name="T35" fmla="*/ 197 h 504"/>
                <a:gd name="T36" fmla="*/ 87 w 1044"/>
                <a:gd name="T37" fmla="*/ 104 h 504"/>
                <a:gd name="T38" fmla="*/ 219 w 1044"/>
                <a:gd name="T39" fmla="*/ 47 h 504"/>
                <a:gd name="T40" fmla="*/ 293 w 1044"/>
                <a:gd name="T41" fmla="*/ 29 h 504"/>
                <a:gd name="T42" fmla="*/ 272 w 1044"/>
                <a:gd name="T43" fmla="*/ 40 h 504"/>
                <a:gd name="T44" fmla="*/ 334 w 1044"/>
                <a:gd name="T45" fmla="*/ 35 h 504"/>
                <a:gd name="T46" fmla="*/ 369 w 1044"/>
                <a:gd name="T47" fmla="*/ 28 h 504"/>
                <a:gd name="T48" fmla="*/ 421 w 1044"/>
                <a:gd name="T49" fmla="*/ 42 h 504"/>
                <a:gd name="T50" fmla="*/ 442 w 1044"/>
                <a:gd name="T51" fmla="*/ 60 h 504"/>
                <a:gd name="T52" fmla="*/ 504 w 1044"/>
                <a:gd name="T53" fmla="*/ 62 h 504"/>
                <a:gd name="T54" fmla="*/ 524 w 1044"/>
                <a:gd name="T55" fmla="*/ 75 h 504"/>
                <a:gd name="T56" fmla="*/ 550 w 1044"/>
                <a:gd name="T57" fmla="*/ 53 h 504"/>
                <a:gd name="T58" fmla="*/ 560 w 1044"/>
                <a:gd name="T59" fmla="*/ 47 h 504"/>
                <a:gd name="T60" fmla="*/ 594 w 1044"/>
                <a:gd name="T61" fmla="*/ 65 h 504"/>
                <a:gd name="T62" fmla="*/ 644 w 1044"/>
                <a:gd name="T63" fmla="*/ 62 h 504"/>
                <a:gd name="T64" fmla="*/ 671 w 1044"/>
                <a:gd name="T65" fmla="*/ 59 h 504"/>
                <a:gd name="T66" fmla="*/ 706 w 1044"/>
                <a:gd name="T67" fmla="*/ 47 h 504"/>
                <a:gd name="T68" fmla="*/ 692 w 1044"/>
                <a:gd name="T69" fmla="*/ 32 h 504"/>
                <a:gd name="T70" fmla="*/ 731 w 1044"/>
                <a:gd name="T71" fmla="*/ 1 h 504"/>
                <a:gd name="T72" fmla="*/ 739 w 1044"/>
                <a:gd name="T73" fmla="*/ 27 h 504"/>
                <a:gd name="T74" fmla="*/ 744 w 1044"/>
                <a:gd name="T75" fmla="*/ 48 h 504"/>
                <a:gd name="T76" fmla="*/ 766 w 1044"/>
                <a:gd name="T77" fmla="*/ 71 h 504"/>
                <a:gd name="T78" fmla="*/ 811 w 1044"/>
                <a:gd name="T79" fmla="*/ 37 h 504"/>
                <a:gd name="T80" fmla="*/ 836 w 1044"/>
                <a:gd name="T81" fmla="*/ 53 h 504"/>
                <a:gd name="T82" fmla="*/ 794 w 1044"/>
                <a:gd name="T83" fmla="*/ 89 h 504"/>
                <a:gd name="T84" fmla="*/ 728 w 1044"/>
                <a:gd name="T85" fmla="*/ 97 h 504"/>
                <a:gd name="T86" fmla="*/ 695 w 1044"/>
                <a:gd name="T87" fmla="*/ 123 h 504"/>
                <a:gd name="T88" fmla="*/ 661 w 1044"/>
                <a:gd name="T89" fmla="*/ 128 h 504"/>
                <a:gd name="T90" fmla="*/ 634 w 1044"/>
                <a:gd name="T91" fmla="*/ 154 h 504"/>
                <a:gd name="T92" fmla="*/ 587 w 1044"/>
                <a:gd name="T93" fmla="*/ 210 h 504"/>
                <a:gd name="T94" fmla="*/ 647 w 1044"/>
                <a:gd name="T95" fmla="*/ 261 h 504"/>
                <a:gd name="T96" fmla="*/ 683 w 1044"/>
                <a:gd name="T97" fmla="*/ 322 h 504"/>
                <a:gd name="T98" fmla="*/ 727 w 1044"/>
                <a:gd name="T99" fmla="*/ 322 h 504"/>
                <a:gd name="T100" fmla="*/ 790 w 1044"/>
                <a:gd name="T101" fmla="*/ 249 h 504"/>
                <a:gd name="T102" fmla="*/ 808 w 1044"/>
                <a:gd name="T103" fmla="*/ 192 h 504"/>
                <a:gd name="T104" fmla="*/ 824 w 1044"/>
                <a:gd name="T105" fmla="*/ 151 h 504"/>
                <a:gd name="T106" fmla="*/ 892 w 1044"/>
                <a:gd name="T107" fmla="*/ 163 h 504"/>
                <a:gd name="T108" fmla="*/ 908 w 1044"/>
                <a:gd name="T109" fmla="*/ 190 h 504"/>
                <a:gd name="T110" fmla="*/ 904 w 1044"/>
                <a:gd name="T111" fmla="*/ 209 h 504"/>
                <a:gd name="T112" fmla="*/ 950 w 1044"/>
                <a:gd name="T113" fmla="*/ 205 h 504"/>
                <a:gd name="T114" fmla="*/ 983 w 1044"/>
                <a:gd name="T115" fmla="*/ 201 h 504"/>
                <a:gd name="T116" fmla="*/ 987 w 1044"/>
                <a:gd name="T117" fmla="*/ 220 h 504"/>
                <a:gd name="T118" fmla="*/ 989 w 1044"/>
                <a:gd name="T119" fmla="*/ 258 h 504"/>
                <a:gd name="T120" fmla="*/ 1028 w 1044"/>
                <a:gd name="T121" fmla="*/ 283 h 504"/>
                <a:gd name="T122" fmla="*/ 1016 w 1044"/>
                <a:gd name="T123" fmla="*/ 288 h 504"/>
                <a:gd name="T124" fmla="*/ 1037 w 1044"/>
                <a:gd name="T125" fmla="*/ 320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44" h="504">
                  <a:moveTo>
                    <a:pt x="1037" y="320"/>
                  </a:moveTo>
                  <a:lnTo>
                    <a:pt x="1039" y="321"/>
                  </a:lnTo>
                  <a:lnTo>
                    <a:pt x="1040" y="323"/>
                  </a:lnTo>
                  <a:lnTo>
                    <a:pt x="1037" y="325"/>
                  </a:lnTo>
                  <a:lnTo>
                    <a:pt x="1033" y="328"/>
                  </a:lnTo>
                  <a:lnTo>
                    <a:pt x="1028" y="330"/>
                  </a:lnTo>
                  <a:lnTo>
                    <a:pt x="1022" y="334"/>
                  </a:lnTo>
                  <a:lnTo>
                    <a:pt x="1020" y="334"/>
                  </a:lnTo>
                  <a:lnTo>
                    <a:pt x="1018" y="335"/>
                  </a:lnTo>
                  <a:lnTo>
                    <a:pt x="1015" y="335"/>
                  </a:lnTo>
                  <a:lnTo>
                    <a:pt x="1009" y="335"/>
                  </a:lnTo>
                  <a:lnTo>
                    <a:pt x="1005" y="336"/>
                  </a:lnTo>
                  <a:lnTo>
                    <a:pt x="997" y="338"/>
                  </a:lnTo>
                  <a:lnTo>
                    <a:pt x="993" y="340"/>
                  </a:lnTo>
                  <a:lnTo>
                    <a:pt x="989" y="342"/>
                  </a:lnTo>
                  <a:lnTo>
                    <a:pt x="988" y="342"/>
                  </a:lnTo>
                  <a:lnTo>
                    <a:pt x="983" y="346"/>
                  </a:lnTo>
                  <a:lnTo>
                    <a:pt x="978" y="351"/>
                  </a:lnTo>
                  <a:lnTo>
                    <a:pt x="975" y="352"/>
                  </a:lnTo>
                  <a:lnTo>
                    <a:pt x="970" y="355"/>
                  </a:lnTo>
                  <a:lnTo>
                    <a:pt x="968" y="356"/>
                  </a:lnTo>
                  <a:lnTo>
                    <a:pt x="967" y="356"/>
                  </a:lnTo>
                  <a:lnTo>
                    <a:pt x="966" y="355"/>
                  </a:lnTo>
                  <a:lnTo>
                    <a:pt x="968" y="353"/>
                  </a:lnTo>
                  <a:lnTo>
                    <a:pt x="966" y="353"/>
                  </a:lnTo>
                  <a:lnTo>
                    <a:pt x="963" y="355"/>
                  </a:lnTo>
                  <a:lnTo>
                    <a:pt x="952" y="356"/>
                  </a:lnTo>
                  <a:lnTo>
                    <a:pt x="946" y="359"/>
                  </a:lnTo>
                  <a:lnTo>
                    <a:pt x="944" y="359"/>
                  </a:lnTo>
                  <a:lnTo>
                    <a:pt x="944" y="358"/>
                  </a:lnTo>
                  <a:lnTo>
                    <a:pt x="942" y="356"/>
                  </a:lnTo>
                  <a:lnTo>
                    <a:pt x="938" y="355"/>
                  </a:lnTo>
                  <a:lnTo>
                    <a:pt x="927" y="355"/>
                  </a:lnTo>
                  <a:lnTo>
                    <a:pt x="922" y="356"/>
                  </a:lnTo>
                  <a:lnTo>
                    <a:pt x="915" y="355"/>
                  </a:lnTo>
                  <a:lnTo>
                    <a:pt x="912" y="355"/>
                  </a:lnTo>
                  <a:lnTo>
                    <a:pt x="907" y="355"/>
                  </a:lnTo>
                  <a:lnTo>
                    <a:pt x="899" y="356"/>
                  </a:lnTo>
                  <a:lnTo>
                    <a:pt x="897" y="355"/>
                  </a:lnTo>
                  <a:lnTo>
                    <a:pt x="894" y="355"/>
                  </a:lnTo>
                  <a:lnTo>
                    <a:pt x="889" y="356"/>
                  </a:lnTo>
                  <a:lnTo>
                    <a:pt x="886" y="355"/>
                  </a:lnTo>
                  <a:lnTo>
                    <a:pt x="884" y="356"/>
                  </a:lnTo>
                  <a:lnTo>
                    <a:pt x="880" y="356"/>
                  </a:lnTo>
                  <a:lnTo>
                    <a:pt x="879" y="358"/>
                  </a:lnTo>
                  <a:lnTo>
                    <a:pt x="878" y="359"/>
                  </a:lnTo>
                  <a:lnTo>
                    <a:pt x="876" y="359"/>
                  </a:lnTo>
                  <a:lnTo>
                    <a:pt x="875" y="359"/>
                  </a:lnTo>
                  <a:lnTo>
                    <a:pt x="872" y="360"/>
                  </a:lnTo>
                  <a:lnTo>
                    <a:pt x="870" y="361"/>
                  </a:lnTo>
                  <a:lnTo>
                    <a:pt x="867" y="364"/>
                  </a:lnTo>
                  <a:lnTo>
                    <a:pt x="865" y="368"/>
                  </a:lnTo>
                  <a:lnTo>
                    <a:pt x="861" y="372"/>
                  </a:lnTo>
                  <a:lnTo>
                    <a:pt x="860" y="372"/>
                  </a:lnTo>
                  <a:lnTo>
                    <a:pt x="850" y="373"/>
                  </a:lnTo>
                  <a:lnTo>
                    <a:pt x="847" y="375"/>
                  </a:lnTo>
                  <a:lnTo>
                    <a:pt x="845" y="375"/>
                  </a:lnTo>
                  <a:lnTo>
                    <a:pt x="845" y="376"/>
                  </a:lnTo>
                  <a:lnTo>
                    <a:pt x="838" y="380"/>
                  </a:lnTo>
                  <a:lnTo>
                    <a:pt x="836" y="381"/>
                  </a:lnTo>
                  <a:lnTo>
                    <a:pt x="825" y="391"/>
                  </a:lnTo>
                  <a:lnTo>
                    <a:pt x="821" y="392"/>
                  </a:lnTo>
                  <a:lnTo>
                    <a:pt x="818" y="393"/>
                  </a:lnTo>
                  <a:lnTo>
                    <a:pt x="817" y="396"/>
                  </a:lnTo>
                  <a:lnTo>
                    <a:pt x="808" y="405"/>
                  </a:lnTo>
                  <a:lnTo>
                    <a:pt x="807" y="405"/>
                  </a:lnTo>
                  <a:lnTo>
                    <a:pt x="800" y="410"/>
                  </a:lnTo>
                  <a:lnTo>
                    <a:pt x="791" y="416"/>
                  </a:lnTo>
                  <a:lnTo>
                    <a:pt x="790" y="416"/>
                  </a:lnTo>
                  <a:lnTo>
                    <a:pt x="795" y="415"/>
                  </a:lnTo>
                  <a:lnTo>
                    <a:pt x="798" y="414"/>
                  </a:lnTo>
                  <a:lnTo>
                    <a:pt x="798" y="413"/>
                  </a:lnTo>
                  <a:lnTo>
                    <a:pt x="800" y="413"/>
                  </a:lnTo>
                  <a:lnTo>
                    <a:pt x="805" y="409"/>
                  </a:lnTo>
                  <a:lnTo>
                    <a:pt x="808" y="406"/>
                  </a:lnTo>
                  <a:lnTo>
                    <a:pt x="813" y="404"/>
                  </a:lnTo>
                  <a:lnTo>
                    <a:pt x="815" y="402"/>
                  </a:lnTo>
                  <a:lnTo>
                    <a:pt x="820" y="396"/>
                  </a:lnTo>
                  <a:lnTo>
                    <a:pt x="824" y="394"/>
                  </a:lnTo>
                  <a:lnTo>
                    <a:pt x="831" y="390"/>
                  </a:lnTo>
                  <a:lnTo>
                    <a:pt x="833" y="389"/>
                  </a:lnTo>
                  <a:lnTo>
                    <a:pt x="836" y="389"/>
                  </a:lnTo>
                  <a:lnTo>
                    <a:pt x="838" y="386"/>
                  </a:lnTo>
                  <a:lnTo>
                    <a:pt x="841" y="385"/>
                  </a:lnTo>
                  <a:lnTo>
                    <a:pt x="845" y="384"/>
                  </a:lnTo>
                  <a:lnTo>
                    <a:pt x="855" y="380"/>
                  </a:lnTo>
                  <a:lnTo>
                    <a:pt x="870" y="375"/>
                  </a:lnTo>
                  <a:lnTo>
                    <a:pt x="878" y="373"/>
                  </a:lnTo>
                  <a:lnTo>
                    <a:pt x="881" y="374"/>
                  </a:lnTo>
                  <a:lnTo>
                    <a:pt x="885" y="373"/>
                  </a:lnTo>
                  <a:lnTo>
                    <a:pt x="891" y="374"/>
                  </a:lnTo>
                  <a:lnTo>
                    <a:pt x="898" y="376"/>
                  </a:lnTo>
                  <a:lnTo>
                    <a:pt x="900" y="379"/>
                  </a:lnTo>
                  <a:lnTo>
                    <a:pt x="901" y="382"/>
                  </a:lnTo>
                  <a:lnTo>
                    <a:pt x="899" y="381"/>
                  </a:lnTo>
                  <a:lnTo>
                    <a:pt x="899" y="381"/>
                  </a:lnTo>
                  <a:lnTo>
                    <a:pt x="900" y="383"/>
                  </a:lnTo>
                  <a:lnTo>
                    <a:pt x="898" y="386"/>
                  </a:lnTo>
                  <a:lnTo>
                    <a:pt x="895" y="389"/>
                  </a:lnTo>
                  <a:lnTo>
                    <a:pt x="887" y="393"/>
                  </a:lnTo>
                  <a:lnTo>
                    <a:pt x="882" y="394"/>
                  </a:lnTo>
                  <a:lnTo>
                    <a:pt x="878" y="394"/>
                  </a:lnTo>
                  <a:lnTo>
                    <a:pt x="875" y="393"/>
                  </a:lnTo>
                  <a:lnTo>
                    <a:pt x="869" y="393"/>
                  </a:lnTo>
                  <a:lnTo>
                    <a:pt x="865" y="395"/>
                  </a:lnTo>
                  <a:lnTo>
                    <a:pt x="864" y="395"/>
                  </a:lnTo>
                  <a:lnTo>
                    <a:pt x="867" y="395"/>
                  </a:lnTo>
                  <a:lnTo>
                    <a:pt x="874" y="398"/>
                  </a:lnTo>
                  <a:lnTo>
                    <a:pt x="874" y="400"/>
                  </a:lnTo>
                  <a:lnTo>
                    <a:pt x="875" y="401"/>
                  </a:lnTo>
                  <a:lnTo>
                    <a:pt x="884" y="398"/>
                  </a:lnTo>
                  <a:lnTo>
                    <a:pt x="884" y="398"/>
                  </a:lnTo>
                  <a:lnTo>
                    <a:pt x="884" y="399"/>
                  </a:lnTo>
                  <a:lnTo>
                    <a:pt x="886" y="400"/>
                  </a:lnTo>
                  <a:lnTo>
                    <a:pt x="887" y="400"/>
                  </a:lnTo>
                  <a:lnTo>
                    <a:pt x="886" y="403"/>
                  </a:lnTo>
                  <a:lnTo>
                    <a:pt x="881" y="407"/>
                  </a:lnTo>
                  <a:lnTo>
                    <a:pt x="876" y="412"/>
                  </a:lnTo>
                  <a:lnTo>
                    <a:pt x="876" y="412"/>
                  </a:lnTo>
                  <a:lnTo>
                    <a:pt x="878" y="412"/>
                  </a:lnTo>
                  <a:lnTo>
                    <a:pt x="881" y="412"/>
                  </a:lnTo>
                  <a:lnTo>
                    <a:pt x="880" y="416"/>
                  </a:lnTo>
                  <a:lnTo>
                    <a:pt x="880" y="419"/>
                  </a:lnTo>
                  <a:lnTo>
                    <a:pt x="880" y="421"/>
                  </a:lnTo>
                  <a:lnTo>
                    <a:pt x="880" y="423"/>
                  </a:lnTo>
                  <a:lnTo>
                    <a:pt x="881" y="424"/>
                  </a:lnTo>
                  <a:lnTo>
                    <a:pt x="882" y="425"/>
                  </a:lnTo>
                  <a:lnTo>
                    <a:pt x="882" y="426"/>
                  </a:lnTo>
                  <a:lnTo>
                    <a:pt x="886" y="426"/>
                  </a:lnTo>
                  <a:lnTo>
                    <a:pt x="891" y="429"/>
                  </a:lnTo>
                  <a:lnTo>
                    <a:pt x="891" y="430"/>
                  </a:lnTo>
                  <a:lnTo>
                    <a:pt x="889" y="431"/>
                  </a:lnTo>
                  <a:lnTo>
                    <a:pt x="888" y="432"/>
                  </a:lnTo>
                  <a:lnTo>
                    <a:pt x="890" y="433"/>
                  </a:lnTo>
                  <a:lnTo>
                    <a:pt x="894" y="433"/>
                  </a:lnTo>
                  <a:lnTo>
                    <a:pt x="897" y="435"/>
                  </a:lnTo>
                  <a:lnTo>
                    <a:pt x="904" y="435"/>
                  </a:lnTo>
                  <a:lnTo>
                    <a:pt x="905" y="437"/>
                  </a:lnTo>
                  <a:lnTo>
                    <a:pt x="910" y="436"/>
                  </a:lnTo>
                  <a:lnTo>
                    <a:pt x="917" y="433"/>
                  </a:lnTo>
                  <a:lnTo>
                    <a:pt x="917" y="435"/>
                  </a:lnTo>
                  <a:lnTo>
                    <a:pt x="916" y="437"/>
                  </a:lnTo>
                  <a:lnTo>
                    <a:pt x="918" y="437"/>
                  </a:lnTo>
                  <a:lnTo>
                    <a:pt x="920" y="437"/>
                  </a:lnTo>
                  <a:lnTo>
                    <a:pt x="922" y="437"/>
                  </a:lnTo>
                  <a:lnTo>
                    <a:pt x="924" y="440"/>
                  </a:lnTo>
                  <a:lnTo>
                    <a:pt x="925" y="441"/>
                  </a:lnTo>
                  <a:lnTo>
                    <a:pt x="922" y="441"/>
                  </a:lnTo>
                  <a:lnTo>
                    <a:pt x="922" y="443"/>
                  </a:lnTo>
                  <a:lnTo>
                    <a:pt x="926" y="443"/>
                  </a:lnTo>
                  <a:lnTo>
                    <a:pt x="927" y="443"/>
                  </a:lnTo>
                  <a:lnTo>
                    <a:pt x="925" y="444"/>
                  </a:lnTo>
                  <a:lnTo>
                    <a:pt x="922" y="444"/>
                  </a:lnTo>
                  <a:lnTo>
                    <a:pt x="920" y="445"/>
                  </a:lnTo>
                  <a:lnTo>
                    <a:pt x="918" y="445"/>
                  </a:lnTo>
                  <a:lnTo>
                    <a:pt x="914" y="447"/>
                  </a:lnTo>
                  <a:lnTo>
                    <a:pt x="908" y="450"/>
                  </a:lnTo>
                  <a:lnTo>
                    <a:pt x="905" y="451"/>
                  </a:lnTo>
                  <a:lnTo>
                    <a:pt x="904" y="451"/>
                  </a:lnTo>
                  <a:lnTo>
                    <a:pt x="902" y="452"/>
                  </a:lnTo>
                  <a:lnTo>
                    <a:pt x="900" y="452"/>
                  </a:lnTo>
                  <a:lnTo>
                    <a:pt x="897" y="454"/>
                  </a:lnTo>
                  <a:lnTo>
                    <a:pt x="895" y="454"/>
                  </a:lnTo>
                  <a:lnTo>
                    <a:pt x="894" y="453"/>
                  </a:lnTo>
                  <a:lnTo>
                    <a:pt x="892" y="454"/>
                  </a:lnTo>
                  <a:lnTo>
                    <a:pt x="889" y="455"/>
                  </a:lnTo>
                  <a:lnTo>
                    <a:pt x="887" y="454"/>
                  </a:lnTo>
                  <a:lnTo>
                    <a:pt x="887" y="457"/>
                  </a:lnTo>
                  <a:lnTo>
                    <a:pt x="886" y="459"/>
                  </a:lnTo>
                  <a:lnTo>
                    <a:pt x="882" y="459"/>
                  </a:lnTo>
                  <a:lnTo>
                    <a:pt x="881" y="456"/>
                  </a:lnTo>
                  <a:lnTo>
                    <a:pt x="881" y="455"/>
                  </a:lnTo>
                  <a:lnTo>
                    <a:pt x="878" y="459"/>
                  </a:lnTo>
                  <a:lnTo>
                    <a:pt x="878" y="456"/>
                  </a:lnTo>
                  <a:lnTo>
                    <a:pt x="876" y="459"/>
                  </a:lnTo>
                  <a:lnTo>
                    <a:pt x="875" y="462"/>
                  </a:lnTo>
                  <a:lnTo>
                    <a:pt x="871" y="464"/>
                  </a:lnTo>
                  <a:lnTo>
                    <a:pt x="867" y="467"/>
                  </a:lnTo>
                  <a:lnTo>
                    <a:pt x="866" y="469"/>
                  </a:lnTo>
                  <a:lnTo>
                    <a:pt x="863" y="471"/>
                  </a:lnTo>
                  <a:lnTo>
                    <a:pt x="860" y="473"/>
                  </a:lnTo>
                  <a:lnTo>
                    <a:pt x="858" y="472"/>
                  </a:lnTo>
                  <a:lnTo>
                    <a:pt x="857" y="473"/>
                  </a:lnTo>
                  <a:lnTo>
                    <a:pt x="855" y="475"/>
                  </a:lnTo>
                  <a:lnTo>
                    <a:pt x="854" y="476"/>
                  </a:lnTo>
                  <a:lnTo>
                    <a:pt x="853" y="476"/>
                  </a:lnTo>
                  <a:lnTo>
                    <a:pt x="850" y="475"/>
                  </a:lnTo>
                  <a:lnTo>
                    <a:pt x="849" y="473"/>
                  </a:lnTo>
                  <a:lnTo>
                    <a:pt x="848" y="471"/>
                  </a:lnTo>
                  <a:lnTo>
                    <a:pt x="846" y="471"/>
                  </a:lnTo>
                  <a:lnTo>
                    <a:pt x="846" y="467"/>
                  </a:lnTo>
                  <a:lnTo>
                    <a:pt x="847" y="464"/>
                  </a:lnTo>
                  <a:lnTo>
                    <a:pt x="848" y="461"/>
                  </a:lnTo>
                  <a:lnTo>
                    <a:pt x="853" y="456"/>
                  </a:lnTo>
                  <a:lnTo>
                    <a:pt x="851" y="457"/>
                  </a:lnTo>
                  <a:lnTo>
                    <a:pt x="848" y="460"/>
                  </a:lnTo>
                  <a:lnTo>
                    <a:pt x="849" y="457"/>
                  </a:lnTo>
                  <a:lnTo>
                    <a:pt x="854" y="455"/>
                  </a:lnTo>
                  <a:lnTo>
                    <a:pt x="856" y="455"/>
                  </a:lnTo>
                  <a:lnTo>
                    <a:pt x="859" y="454"/>
                  </a:lnTo>
                  <a:lnTo>
                    <a:pt x="859" y="453"/>
                  </a:lnTo>
                  <a:lnTo>
                    <a:pt x="867" y="449"/>
                  </a:lnTo>
                  <a:lnTo>
                    <a:pt x="874" y="445"/>
                  </a:lnTo>
                  <a:lnTo>
                    <a:pt x="878" y="444"/>
                  </a:lnTo>
                  <a:lnTo>
                    <a:pt x="878" y="445"/>
                  </a:lnTo>
                  <a:lnTo>
                    <a:pt x="878" y="446"/>
                  </a:lnTo>
                  <a:lnTo>
                    <a:pt x="880" y="447"/>
                  </a:lnTo>
                  <a:lnTo>
                    <a:pt x="884" y="445"/>
                  </a:lnTo>
                  <a:lnTo>
                    <a:pt x="887" y="444"/>
                  </a:lnTo>
                  <a:lnTo>
                    <a:pt x="894" y="443"/>
                  </a:lnTo>
                  <a:lnTo>
                    <a:pt x="894" y="442"/>
                  </a:lnTo>
                  <a:lnTo>
                    <a:pt x="890" y="442"/>
                  </a:lnTo>
                  <a:lnTo>
                    <a:pt x="886" y="443"/>
                  </a:lnTo>
                  <a:lnTo>
                    <a:pt x="879" y="442"/>
                  </a:lnTo>
                  <a:lnTo>
                    <a:pt x="876" y="443"/>
                  </a:lnTo>
                  <a:lnTo>
                    <a:pt x="872" y="443"/>
                  </a:lnTo>
                  <a:lnTo>
                    <a:pt x="874" y="441"/>
                  </a:lnTo>
                  <a:lnTo>
                    <a:pt x="877" y="439"/>
                  </a:lnTo>
                  <a:lnTo>
                    <a:pt x="881" y="435"/>
                  </a:lnTo>
                  <a:lnTo>
                    <a:pt x="879" y="435"/>
                  </a:lnTo>
                  <a:lnTo>
                    <a:pt x="879" y="433"/>
                  </a:lnTo>
                  <a:lnTo>
                    <a:pt x="876" y="437"/>
                  </a:lnTo>
                  <a:lnTo>
                    <a:pt x="872" y="437"/>
                  </a:lnTo>
                  <a:lnTo>
                    <a:pt x="863" y="443"/>
                  </a:lnTo>
                  <a:lnTo>
                    <a:pt x="859" y="444"/>
                  </a:lnTo>
                  <a:lnTo>
                    <a:pt x="857" y="445"/>
                  </a:lnTo>
                  <a:lnTo>
                    <a:pt x="855" y="444"/>
                  </a:lnTo>
                  <a:lnTo>
                    <a:pt x="853" y="446"/>
                  </a:lnTo>
                  <a:lnTo>
                    <a:pt x="850" y="447"/>
                  </a:lnTo>
                  <a:lnTo>
                    <a:pt x="844" y="447"/>
                  </a:lnTo>
                  <a:lnTo>
                    <a:pt x="843" y="447"/>
                  </a:lnTo>
                  <a:lnTo>
                    <a:pt x="841" y="446"/>
                  </a:lnTo>
                  <a:lnTo>
                    <a:pt x="839" y="446"/>
                  </a:lnTo>
                  <a:lnTo>
                    <a:pt x="838" y="446"/>
                  </a:lnTo>
                  <a:lnTo>
                    <a:pt x="837" y="447"/>
                  </a:lnTo>
                  <a:lnTo>
                    <a:pt x="835" y="446"/>
                  </a:lnTo>
                  <a:lnTo>
                    <a:pt x="834" y="445"/>
                  </a:lnTo>
                  <a:lnTo>
                    <a:pt x="833" y="444"/>
                  </a:lnTo>
                  <a:lnTo>
                    <a:pt x="833" y="443"/>
                  </a:lnTo>
                  <a:lnTo>
                    <a:pt x="834" y="440"/>
                  </a:lnTo>
                  <a:lnTo>
                    <a:pt x="830" y="437"/>
                  </a:lnTo>
                  <a:lnTo>
                    <a:pt x="835" y="425"/>
                  </a:lnTo>
                  <a:lnTo>
                    <a:pt x="839" y="413"/>
                  </a:lnTo>
                  <a:lnTo>
                    <a:pt x="834" y="407"/>
                  </a:lnTo>
                  <a:lnTo>
                    <a:pt x="833" y="407"/>
                  </a:lnTo>
                  <a:lnTo>
                    <a:pt x="829" y="411"/>
                  </a:lnTo>
                  <a:lnTo>
                    <a:pt x="825" y="411"/>
                  </a:lnTo>
                  <a:lnTo>
                    <a:pt x="821" y="410"/>
                  </a:lnTo>
                  <a:lnTo>
                    <a:pt x="821" y="410"/>
                  </a:lnTo>
                  <a:lnTo>
                    <a:pt x="821" y="407"/>
                  </a:lnTo>
                  <a:lnTo>
                    <a:pt x="820" y="406"/>
                  </a:lnTo>
                  <a:lnTo>
                    <a:pt x="819" y="406"/>
                  </a:lnTo>
                  <a:lnTo>
                    <a:pt x="817" y="407"/>
                  </a:lnTo>
                  <a:lnTo>
                    <a:pt x="806" y="417"/>
                  </a:lnTo>
                  <a:lnTo>
                    <a:pt x="804" y="422"/>
                  </a:lnTo>
                  <a:lnTo>
                    <a:pt x="800" y="425"/>
                  </a:lnTo>
                  <a:lnTo>
                    <a:pt x="800" y="426"/>
                  </a:lnTo>
                  <a:lnTo>
                    <a:pt x="798" y="429"/>
                  </a:lnTo>
                  <a:lnTo>
                    <a:pt x="797" y="430"/>
                  </a:lnTo>
                  <a:lnTo>
                    <a:pt x="794" y="439"/>
                  </a:lnTo>
                  <a:lnTo>
                    <a:pt x="793" y="439"/>
                  </a:lnTo>
                  <a:lnTo>
                    <a:pt x="790" y="440"/>
                  </a:lnTo>
                  <a:lnTo>
                    <a:pt x="789" y="441"/>
                  </a:lnTo>
                  <a:lnTo>
                    <a:pt x="788" y="442"/>
                  </a:lnTo>
                  <a:lnTo>
                    <a:pt x="788" y="443"/>
                  </a:lnTo>
                  <a:lnTo>
                    <a:pt x="788" y="444"/>
                  </a:lnTo>
                  <a:lnTo>
                    <a:pt x="786" y="443"/>
                  </a:lnTo>
                  <a:lnTo>
                    <a:pt x="786" y="443"/>
                  </a:lnTo>
                  <a:lnTo>
                    <a:pt x="786" y="445"/>
                  </a:lnTo>
                  <a:lnTo>
                    <a:pt x="784" y="444"/>
                  </a:lnTo>
                  <a:lnTo>
                    <a:pt x="780" y="445"/>
                  </a:lnTo>
                  <a:lnTo>
                    <a:pt x="779" y="445"/>
                  </a:lnTo>
                  <a:lnTo>
                    <a:pt x="777" y="445"/>
                  </a:lnTo>
                  <a:lnTo>
                    <a:pt x="775" y="446"/>
                  </a:lnTo>
                  <a:lnTo>
                    <a:pt x="773" y="450"/>
                  </a:lnTo>
                  <a:lnTo>
                    <a:pt x="772" y="450"/>
                  </a:lnTo>
                  <a:lnTo>
                    <a:pt x="746" y="450"/>
                  </a:lnTo>
                  <a:lnTo>
                    <a:pt x="727" y="450"/>
                  </a:lnTo>
                  <a:lnTo>
                    <a:pt x="723" y="450"/>
                  </a:lnTo>
                  <a:lnTo>
                    <a:pt x="717" y="453"/>
                  </a:lnTo>
                  <a:lnTo>
                    <a:pt x="712" y="456"/>
                  </a:lnTo>
                  <a:lnTo>
                    <a:pt x="711" y="457"/>
                  </a:lnTo>
                  <a:lnTo>
                    <a:pt x="709" y="457"/>
                  </a:lnTo>
                  <a:lnTo>
                    <a:pt x="705" y="461"/>
                  </a:lnTo>
                  <a:lnTo>
                    <a:pt x="702" y="462"/>
                  </a:lnTo>
                  <a:lnTo>
                    <a:pt x="692" y="465"/>
                  </a:lnTo>
                  <a:lnTo>
                    <a:pt x="689" y="466"/>
                  </a:lnTo>
                  <a:lnTo>
                    <a:pt x="689" y="464"/>
                  </a:lnTo>
                  <a:lnTo>
                    <a:pt x="688" y="464"/>
                  </a:lnTo>
                  <a:lnTo>
                    <a:pt x="686" y="465"/>
                  </a:lnTo>
                  <a:lnTo>
                    <a:pt x="685" y="465"/>
                  </a:lnTo>
                  <a:lnTo>
                    <a:pt x="686" y="465"/>
                  </a:lnTo>
                  <a:lnTo>
                    <a:pt x="687" y="469"/>
                  </a:lnTo>
                  <a:lnTo>
                    <a:pt x="687" y="470"/>
                  </a:lnTo>
                  <a:lnTo>
                    <a:pt x="684" y="470"/>
                  </a:lnTo>
                  <a:lnTo>
                    <a:pt x="684" y="469"/>
                  </a:lnTo>
                  <a:lnTo>
                    <a:pt x="681" y="469"/>
                  </a:lnTo>
                  <a:lnTo>
                    <a:pt x="679" y="467"/>
                  </a:lnTo>
                  <a:lnTo>
                    <a:pt x="676" y="467"/>
                  </a:lnTo>
                  <a:lnTo>
                    <a:pt x="672" y="467"/>
                  </a:lnTo>
                  <a:lnTo>
                    <a:pt x="655" y="472"/>
                  </a:lnTo>
                  <a:lnTo>
                    <a:pt x="651" y="474"/>
                  </a:lnTo>
                  <a:lnTo>
                    <a:pt x="648" y="476"/>
                  </a:lnTo>
                  <a:lnTo>
                    <a:pt x="646" y="477"/>
                  </a:lnTo>
                  <a:lnTo>
                    <a:pt x="643" y="481"/>
                  </a:lnTo>
                  <a:lnTo>
                    <a:pt x="648" y="482"/>
                  </a:lnTo>
                  <a:lnTo>
                    <a:pt x="651" y="482"/>
                  </a:lnTo>
                  <a:lnTo>
                    <a:pt x="653" y="481"/>
                  </a:lnTo>
                  <a:lnTo>
                    <a:pt x="653" y="484"/>
                  </a:lnTo>
                  <a:lnTo>
                    <a:pt x="653" y="485"/>
                  </a:lnTo>
                  <a:lnTo>
                    <a:pt x="653" y="489"/>
                  </a:lnTo>
                  <a:lnTo>
                    <a:pt x="647" y="487"/>
                  </a:lnTo>
                  <a:lnTo>
                    <a:pt x="645" y="487"/>
                  </a:lnTo>
                  <a:lnTo>
                    <a:pt x="643" y="487"/>
                  </a:lnTo>
                  <a:lnTo>
                    <a:pt x="642" y="487"/>
                  </a:lnTo>
                  <a:lnTo>
                    <a:pt x="636" y="489"/>
                  </a:lnTo>
                  <a:lnTo>
                    <a:pt x="633" y="490"/>
                  </a:lnTo>
                  <a:lnTo>
                    <a:pt x="627" y="493"/>
                  </a:lnTo>
                  <a:lnTo>
                    <a:pt x="624" y="492"/>
                  </a:lnTo>
                  <a:lnTo>
                    <a:pt x="620" y="492"/>
                  </a:lnTo>
                  <a:lnTo>
                    <a:pt x="614" y="493"/>
                  </a:lnTo>
                  <a:lnTo>
                    <a:pt x="612" y="494"/>
                  </a:lnTo>
                  <a:lnTo>
                    <a:pt x="611" y="494"/>
                  </a:lnTo>
                  <a:lnTo>
                    <a:pt x="607" y="497"/>
                  </a:lnTo>
                  <a:lnTo>
                    <a:pt x="606" y="497"/>
                  </a:lnTo>
                  <a:lnTo>
                    <a:pt x="603" y="499"/>
                  </a:lnTo>
                  <a:lnTo>
                    <a:pt x="601" y="500"/>
                  </a:lnTo>
                  <a:lnTo>
                    <a:pt x="597" y="502"/>
                  </a:lnTo>
                  <a:lnTo>
                    <a:pt x="595" y="503"/>
                  </a:lnTo>
                  <a:lnTo>
                    <a:pt x="595" y="504"/>
                  </a:lnTo>
                  <a:lnTo>
                    <a:pt x="591" y="503"/>
                  </a:lnTo>
                  <a:lnTo>
                    <a:pt x="590" y="504"/>
                  </a:lnTo>
                  <a:lnTo>
                    <a:pt x="585" y="504"/>
                  </a:lnTo>
                  <a:lnTo>
                    <a:pt x="586" y="501"/>
                  </a:lnTo>
                  <a:lnTo>
                    <a:pt x="589" y="497"/>
                  </a:lnTo>
                  <a:lnTo>
                    <a:pt x="591" y="496"/>
                  </a:lnTo>
                  <a:lnTo>
                    <a:pt x="591" y="497"/>
                  </a:lnTo>
                  <a:lnTo>
                    <a:pt x="593" y="499"/>
                  </a:lnTo>
                  <a:lnTo>
                    <a:pt x="596" y="497"/>
                  </a:lnTo>
                  <a:lnTo>
                    <a:pt x="597" y="497"/>
                  </a:lnTo>
                  <a:lnTo>
                    <a:pt x="597" y="496"/>
                  </a:lnTo>
                  <a:lnTo>
                    <a:pt x="598" y="495"/>
                  </a:lnTo>
                  <a:lnTo>
                    <a:pt x="598" y="495"/>
                  </a:lnTo>
                  <a:lnTo>
                    <a:pt x="597" y="494"/>
                  </a:lnTo>
                  <a:lnTo>
                    <a:pt x="597" y="492"/>
                  </a:lnTo>
                  <a:lnTo>
                    <a:pt x="597" y="492"/>
                  </a:lnTo>
                  <a:lnTo>
                    <a:pt x="602" y="485"/>
                  </a:lnTo>
                  <a:lnTo>
                    <a:pt x="603" y="484"/>
                  </a:lnTo>
                  <a:lnTo>
                    <a:pt x="605" y="484"/>
                  </a:lnTo>
                  <a:lnTo>
                    <a:pt x="607" y="483"/>
                  </a:lnTo>
                  <a:lnTo>
                    <a:pt x="608" y="482"/>
                  </a:lnTo>
                  <a:lnTo>
                    <a:pt x="611" y="482"/>
                  </a:lnTo>
                  <a:lnTo>
                    <a:pt x="614" y="479"/>
                  </a:lnTo>
                  <a:lnTo>
                    <a:pt x="616" y="475"/>
                  </a:lnTo>
                  <a:lnTo>
                    <a:pt x="617" y="472"/>
                  </a:lnTo>
                  <a:lnTo>
                    <a:pt x="618" y="467"/>
                  </a:lnTo>
                  <a:lnTo>
                    <a:pt x="620" y="465"/>
                  </a:lnTo>
                  <a:lnTo>
                    <a:pt x="627" y="459"/>
                  </a:lnTo>
                  <a:lnTo>
                    <a:pt x="628" y="456"/>
                  </a:lnTo>
                  <a:lnTo>
                    <a:pt x="630" y="454"/>
                  </a:lnTo>
                  <a:lnTo>
                    <a:pt x="631" y="453"/>
                  </a:lnTo>
                  <a:lnTo>
                    <a:pt x="631" y="450"/>
                  </a:lnTo>
                  <a:lnTo>
                    <a:pt x="631" y="446"/>
                  </a:lnTo>
                  <a:lnTo>
                    <a:pt x="630" y="446"/>
                  </a:lnTo>
                  <a:lnTo>
                    <a:pt x="630" y="445"/>
                  </a:lnTo>
                  <a:lnTo>
                    <a:pt x="630" y="444"/>
                  </a:lnTo>
                  <a:lnTo>
                    <a:pt x="634" y="445"/>
                  </a:lnTo>
                  <a:lnTo>
                    <a:pt x="633" y="449"/>
                  </a:lnTo>
                  <a:lnTo>
                    <a:pt x="634" y="451"/>
                  </a:lnTo>
                  <a:lnTo>
                    <a:pt x="634" y="452"/>
                  </a:lnTo>
                  <a:lnTo>
                    <a:pt x="635" y="451"/>
                  </a:lnTo>
                  <a:lnTo>
                    <a:pt x="636" y="450"/>
                  </a:lnTo>
                  <a:lnTo>
                    <a:pt x="635" y="453"/>
                  </a:lnTo>
                  <a:lnTo>
                    <a:pt x="636" y="453"/>
                  </a:lnTo>
                  <a:lnTo>
                    <a:pt x="635" y="455"/>
                  </a:lnTo>
                  <a:lnTo>
                    <a:pt x="635" y="456"/>
                  </a:lnTo>
                  <a:lnTo>
                    <a:pt x="637" y="454"/>
                  </a:lnTo>
                  <a:lnTo>
                    <a:pt x="638" y="454"/>
                  </a:lnTo>
                  <a:lnTo>
                    <a:pt x="640" y="456"/>
                  </a:lnTo>
                  <a:lnTo>
                    <a:pt x="641" y="457"/>
                  </a:lnTo>
                  <a:lnTo>
                    <a:pt x="643" y="457"/>
                  </a:lnTo>
                  <a:lnTo>
                    <a:pt x="647" y="457"/>
                  </a:lnTo>
                  <a:lnTo>
                    <a:pt x="648" y="456"/>
                  </a:lnTo>
                  <a:lnTo>
                    <a:pt x="650" y="455"/>
                  </a:lnTo>
                  <a:lnTo>
                    <a:pt x="648" y="453"/>
                  </a:lnTo>
                  <a:lnTo>
                    <a:pt x="650" y="452"/>
                  </a:lnTo>
                  <a:lnTo>
                    <a:pt x="650" y="452"/>
                  </a:lnTo>
                  <a:lnTo>
                    <a:pt x="651" y="453"/>
                  </a:lnTo>
                  <a:lnTo>
                    <a:pt x="653" y="453"/>
                  </a:lnTo>
                  <a:lnTo>
                    <a:pt x="654" y="453"/>
                  </a:lnTo>
                  <a:lnTo>
                    <a:pt x="655" y="452"/>
                  </a:lnTo>
                  <a:lnTo>
                    <a:pt x="654" y="452"/>
                  </a:lnTo>
                  <a:lnTo>
                    <a:pt x="654" y="451"/>
                  </a:lnTo>
                  <a:lnTo>
                    <a:pt x="653" y="450"/>
                  </a:lnTo>
                  <a:lnTo>
                    <a:pt x="652" y="447"/>
                  </a:lnTo>
                  <a:lnTo>
                    <a:pt x="653" y="446"/>
                  </a:lnTo>
                  <a:lnTo>
                    <a:pt x="653" y="444"/>
                  </a:lnTo>
                  <a:lnTo>
                    <a:pt x="653" y="443"/>
                  </a:lnTo>
                  <a:lnTo>
                    <a:pt x="652" y="443"/>
                  </a:lnTo>
                  <a:lnTo>
                    <a:pt x="651" y="442"/>
                  </a:lnTo>
                  <a:lnTo>
                    <a:pt x="650" y="441"/>
                  </a:lnTo>
                  <a:lnTo>
                    <a:pt x="647" y="439"/>
                  </a:lnTo>
                  <a:lnTo>
                    <a:pt x="648" y="434"/>
                  </a:lnTo>
                  <a:lnTo>
                    <a:pt x="646" y="433"/>
                  </a:lnTo>
                  <a:lnTo>
                    <a:pt x="644" y="433"/>
                  </a:lnTo>
                  <a:lnTo>
                    <a:pt x="638" y="432"/>
                  </a:lnTo>
                  <a:lnTo>
                    <a:pt x="635" y="433"/>
                  </a:lnTo>
                  <a:lnTo>
                    <a:pt x="635" y="432"/>
                  </a:lnTo>
                  <a:lnTo>
                    <a:pt x="636" y="431"/>
                  </a:lnTo>
                  <a:lnTo>
                    <a:pt x="633" y="431"/>
                  </a:lnTo>
                  <a:lnTo>
                    <a:pt x="630" y="431"/>
                  </a:lnTo>
                  <a:lnTo>
                    <a:pt x="625" y="430"/>
                  </a:lnTo>
                  <a:lnTo>
                    <a:pt x="624" y="429"/>
                  </a:lnTo>
                  <a:lnTo>
                    <a:pt x="623" y="430"/>
                  </a:lnTo>
                  <a:lnTo>
                    <a:pt x="621" y="429"/>
                  </a:lnTo>
                  <a:lnTo>
                    <a:pt x="620" y="427"/>
                  </a:lnTo>
                  <a:lnTo>
                    <a:pt x="616" y="429"/>
                  </a:lnTo>
                  <a:lnTo>
                    <a:pt x="615" y="429"/>
                  </a:lnTo>
                  <a:lnTo>
                    <a:pt x="614" y="429"/>
                  </a:lnTo>
                  <a:lnTo>
                    <a:pt x="606" y="426"/>
                  </a:lnTo>
                  <a:lnTo>
                    <a:pt x="603" y="426"/>
                  </a:lnTo>
                  <a:lnTo>
                    <a:pt x="602" y="426"/>
                  </a:lnTo>
                  <a:lnTo>
                    <a:pt x="602" y="425"/>
                  </a:lnTo>
                  <a:lnTo>
                    <a:pt x="602" y="422"/>
                  </a:lnTo>
                  <a:lnTo>
                    <a:pt x="601" y="421"/>
                  </a:lnTo>
                  <a:lnTo>
                    <a:pt x="601" y="422"/>
                  </a:lnTo>
                  <a:lnTo>
                    <a:pt x="600" y="422"/>
                  </a:lnTo>
                  <a:lnTo>
                    <a:pt x="600" y="423"/>
                  </a:lnTo>
                  <a:lnTo>
                    <a:pt x="597" y="423"/>
                  </a:lnTo>
                  <a:lnTo>
                    <a:pt x="598" y="423"/>
                  </a:lnTo>
                  <a:lnTo>
                    <a:pt x="598" y="423"/>
                  </a:lnTo>
                  <a:lnTo>
                    <a:pt x="597" y="422"/>
                  </a:lnTo>
                  <a:lnTo>
                    <a:pt x="597" y="421"/>
                  </a:lnTo>
                  <a:lnTo>
                    <a:pt x="600" y="419"/>
                  </a:lnTo>
                  <a:lnTo>
                    <a:pt x="598" y="420"/>
                  </a:lnTo>
                  <a:lnTo>
                    <a:pt x="598" y="417"/>
                  </a:lnTo>
                  <a:lnTo>
                    <a:pt x="601" y="416"/>
                  </a:lnTo>
                  <a:lnTo>
                    <a:pt x="598" y="414"/>
                  </a:lnTo>
                  <a:lnTo>
                    <a:pt x="598" y="412"/>
                  </a:lnTo>
                  <a:lnTo>
                    <a:pt x="602" y="409"/>
                  </a:lnTo>
                  <a:lnTo>
                    <a:pt x="600" y="404"/>
                  </a:lnTo>
                  <a:lnTo>
                    <a:pt x="600" y="403"/>
                  </a:lnTo>
                  <a:lnTo>
                    <a:pt x="602" y="399"/>
                  </a:lnTo>
                  <a:lnTo>
                    <a:pt x="603" y="396"/>
                  </a:lnTo>
                  <a:lnTo>
                    <a:pt x="597" y="398"/>
                  </a:lnTo>
                  <a:lnTo>
                    <a:pt x="591" y="398"/>
                  </a:lnTo>
                  <a:lnTo>
                    <a:pt x="589" y="395"/>
                  </a:lnTo>
                  <a:lnTo>
                    <a:pt x="589" y="389"/>
                  </a:lnTo>
                  <a:lnTo>
                    <a:pt x="589" y="385"/>
                  </a:lnTo>
                  <a:lnTo>
                    <a:pt x="587" y="383"/>
                  </a:lnTo>
                  <a:lnTo>
                    <a:pt x="585" y="383"/>
                  </a:lnTo>
                  <a:lnTo>
                    <a:pt x="583" y="382"/>
                  </a:lnTo>
                  <a:lnTo>
                    <a:pt x="579" y="382"/>
                  </a:lnTo>
                  <a:lnTo>
                    <a:pt x="575" y="391"/>
                  </a:lnTo>
                  <a:lnTo>
                    <a:pt x="574" y="381"/>
                  </a:lnTo>
                  <a:lnTo>
                    <a:pt x="566" y="379"/>
                  </a:lnTo>
                  <a:lnTo>
                    <a:pt x="565" y="380"/>
                  </a:lnTo>
                  <a:lnTo>
                    <a:pt x="565" y="380"/>
                  </a:lnTo>
                  <a:lnTo>
                    <a:pt x="563" y="384"/>
                  </a:lnTo>
                  <a:lnTo>
                    <a:pt x="562" y="385"/>
                  </a:lnTo>
                  <a:lnTo>
                    <a:pt x="560" y="386"/>
                  </a:lnTo>
                  <a:lnTo>
                    <a:pt x="557" y="388"/>
                  </a:lnTo>
                  <a:lnTo>
                    <a:pt x="556" y="389"/>
                  </a:lnTo>
                  <a:lnTo>
                    <a:pt x="556" y="386"/>
                  </a:lnTo>
                  <a:lnTo>
                    <a:pt x="559" y="385"/>
                  </a:lnTo>
                  <a:lnTo>
                    <a:pt x="560" y="383"/>
                  </a:lnTo>
                  <a:lnTo>
                    <a:pt x="561" y="382"/>
                  </a:lnTo>
                  <a:lnTo>
                    <a:pt x="559" y="383"/>
                  </a:lnTo>
                  <a:lnTo>
                    <a:pt x="553" y="389"/>
                  </a:lnTo>
                  <a:lnTo>
                    <a:pt x="553" y="390"/>
                  </a:lnTo>
                  <a:lnTo>
                    <a:pt x="551" y="390"/>
                  </a:lnTo>
                  <a:lnTo>
                    <a:pt x="551" y="389"/>
                  </a:lnTo>
                  <a:lnTo>
                    <a:pt x="552" y="386"/>
                  </a:lnTo>
                  <a:lnTo>
                    <a:pt x="547" y="390"/>
                  </a:lnTo>
                  <a:lnTo>
                    <a:pt x="544" y="393"/>
                  </a:lnTo>
                  <a:lnTo>
                    <a:pt x="542" y="393"/>
                  </a:lnTo>
                  <a:lnTo>
                    <a:pt x="542" y="394"/>
                  </a:lnTo>
                  <a:lnTo>
                    <a:pt x="535" y="396"/>
                  </a:lnTo>
                  <a:lnTo>
                    <a:pt x="534" y="396"/>
                  </a:lnTo>
                  <a:lnTo>
                    <a:pt x="531" y="395"/>
                  </a:lnTo>
                  <a:lnTo>
                    <a:pt x="524" y="395"/>
                  </a:lnTo>
                  <a:lnTo>
                    <a:pt x="521" y="393"/>
                  </a:lnTo>
                  <a:lnTo>
                    <a:pt x="517" y="394"/>
                  </a:lnTo>
                  <a:lnTo>
                    <a:pt x="514" y="395"/>
                  </a:lnTo>
                  <a:lnTo>
                    <a:pt x="512" y="395"/>
                  </a:lnTo>
                  <a:lnTo>
                    <a:pt x="510" y="394"/>
                  </a:lnTo>
                  <a:lnTo>
                    <a:pt x="509" y="392"/>
                  </a:lnTo>
                  <a:lnTo>
                    <a:pt x="506" y="391"/>
                  </a:lnTo>
                  <a:lnTo>
                    <a:pt x="505" y="390"/>
                  </a:lnTo>
                  <a:lnTo>
                    <a:pt x="503" y="390"/>
                  </a:lnTo>
                  <a:lnTo>
                    <a:pt x="502" y="389"/>
                  </a:lnTo>
                  <a:lnTo>
                    <a:pt x="501" y="388"/>
                  </a:lnTo>
                  <a:lnTo>
                    <a:pt x="500" y="386"/>
                  </a:lnTo>
                  <a:lnTo>
                    <a:pt x="498" y="385"/>
                  </a:lnTo>
                  <a:lnTo>
                    <a:pt x="491" y="384"/>
                  </a:lnTo>
                  <a:lnTo>
                    <a:pt x="489" y="385"/>
                  </a:lnTo>
                  <a:lnTo>
                    <a:pt x="485" y="386"/>
                  </a:lnTo>
                  <a:lnTo>
                    <a:pt x="484" y="385"/>
                  </a:lnTo>
                  <a:lnTo>
                    <a:pt x="484" y="385"/>
                  </a:lnTo>
                  <a:lnTo>
                    <a:pt x="484" y="384"/>
                  </a:lnTo>
                  <a:lnTo>
                    <a:pt x="481" y="384"/>
                  </a:lnTo>
                  <a:lnTo>
                    <a:pt x="480" y="383"/>
                  </a:lnTo>
                  <a:lnTo>
                    <a:pt x="478" y="383"/>
                  </a:lnTo>
                  <a:lnTo>
                    <a:pt x="476" y="383"/>
                  </a:lnTo>
                  <a:lnTo>
                    <a:pt x="475" y="383"/>
                  </a:lnTo>
                  <a:lnTo>
                    <a:pt x="473" y="383"/>
                  </a:lnTo>
                  <a:lnTo>
                    <a:pt x="473" y="379"/>
                  </a:lnTo>
                  <a:lnTo>
                    <a:pt x="473" y="379"/>
                  </a:lnTo>
                  <a:lnTo>
                    <a:pt x="474" y="372"/>
                  </a:lnTo>
                  <a:lnTo>
                    <a:pt x="472" y="371"/>
                  </a:lnTo>
                  <a:lnTo>
                    <a:pt x="471" y="371"/>
                  </a:lnTo>
                  <a:lnTo>
                    <a:pt x="468" y="379"/>
                  </a:lnTo>
                  <a:lnTo>
                    <a:pt x="452" y="379"/>
                  </a:lnTo>
                  <a:lnTo>
                    <a:pt x="438" y="379"/>
                  </a:lnTo>
                  <a:lnTo>
                    <a:pt x="435" y="379"/>
                  </a:lnTo>
                  <a:lnTo>
                    <a:pt x="423" y="379"/>
                  </a:lnTo>
                  <a:lnTo>
                    <a:pt x="411" y="379"/>
                  </a:lnTo>
                  <a:lnTo>
                    <a:pt x="398" y="379"/>
                  </a:lnTo>
                  <a:lnTo>
                    <a:pt x="384" y="379"/>
                  </a:lnTo>
                  <a:lnTo>
                    <a:pt x="380" y="379"/>
                  </a:lnTo>
                  <a:lnTo>
                    <a:pt x="342" y="379"/>
                  </a:lnTo>
                  <a:lnTo>
                    <a:pt x="331" y="379"/>
                  </a:lnTo>
                  <a:lnTo>
                    <a:pt x="318" y="379"/>
                  </a:lnTo>
                  <a:lnTo>
                    <a:pt x="304" y="379"/>
                  </a:lnTo>
                  <a:lnTo>
                    <a:pt x="293" y="379"/>
                  </a:lnTo>
                  <a:lnTo>
                    <a:pt x="281" y="379"/>
                  </a:lnTo>
                  <a:lnTo>
                    <a:pt x="267" y="379"/>
                  </a:lnTo>
                  <a:lnTo>
                    <a:pt x="259" y="379"/>
                  </a:lnTo>
                  <a:lnTo>
                    <a:pt x="247" y="379"/>
                  </a:lnTo>
                  <a:lnTo>
                    <a:pt x="232" y="379"/>
                  </a:lnTo>
                  <a:lnTo>
                    <a:pt x="220" y="379"/>
                  </a:lnTo>
                  <a:lnTo>
                    <a:pt x="202" y="379"/>
                  </a:lnTo>
                  <a:lnTo>
                    <a:pt x="174" y="379"/>
                  </a:lnTo>
                  <a:lnTo>
                    <a:pt x="160" y="379"/>
                  </a:lnTo>
                  <a:lnTo>
                    <a:pt x="147" y="379"/>
                  </a:lnTo>
                  <a:lnTo>
                    <a:pt x="136" y="379"/>
                  </a:lnTo>
                  <a:lnTo>
                    <a:pt x="122" y="379"/>
                  </a:lnTo>
                  <a:lnTo>
                    <a:pt x="109" y="379"/>
                  </a:lnTo>
                  <a:lnTo>
                    <a:pt x="97" y="379"/>
                  </a:lnTo>
                  <a:lnTo>
                    <a:pt x="80" y="379"/>
                  </a:lnTo>
                  <a:lnTo>
                    <a:pt x="81" y="378"/>
                  </a:lnTo>
                  <a:lnTo>
                    <a:pt x="79" y="378"/>
                  </a:lnTo>
                  <a:lnTo>
                    <a:pt x="78" y="378"/>
                  </a:lnTo>
                  <a:lnTo>
                    <a:pt x="78" y="376"/>
                  </a:lnTo>
                  <a:lnTo>
                    <a:pt x="79" y="376"/>
                  </a:lnTo>
                  <a:lnTo>
                    <a:pt x="83" y="375"/>
                  </a:lnTo>
                  <a:lnTo>
                    <a:pt x="85" y="375"/>
                  </a:lnTo>
                  <a:lnTo>
                    <a:pt x="86" y="374"/>
                  </a:lnTo>
                  <a:lnTo>
                    <a:pt x="85" y="374"/>
                  </a:lnTo>
                  <a:lnTo>
                    <a:pt x="85" y="373"/>
                  </a:lnTo>
                  <a:lnTo>
                    <a:pt x="85" y="373"/>
                  </a:lnTo>
                  <a:lnTo>
                    <a:pt x="81" y="374"/>
                  </a:lnTo>
                  <a:lnTo>
                    <a:pt x="78" y="374"/>
                  </a:lnTo>
                  <a:lnTo>
                    <a:pt x="78" y="373"/>
                  </a:lnTo>
                  <a:lnTo>
                    <a:pt x="79" y="373"/>
                  </a:lnTo>
                  <a:lnTo>
                    <a:pt x="79" y="372"/>
                  </a:lnTo>
                  <a:lnTo>
                    <a:pt x="79" y="371"/>
                  </a:lnTo>
                  <a:lnTo>
                    <a:pt x="80" y="371"/>
                  </a:lnTo>
                  <a:lnTo>
                    <a:pt x="84" y="366"/>
                  </a:lnTo>
                  <a:lnTo>
                    <a:pt x="83" y="365"/>
                  </a:lnTo>
                  <a:lnTo>
                    <a:pt x="81" y="366"/>
                  </a:lnTo>
                  <a:lnTo>
                    <a:pt x="78" y="369"/>
                  </a:lnTo>
                  <a:lnTo>
                    <a:pt x="76" y="371"/>
                  </a:lnTo>
                  <a:lnTo>
                    <a:pt x="74" y="371"/>
                  </a:lnTo>
                  <a:lnTo>
                    <a:pt x="75" y="369"/>
                  </a:lnTo>
                  <a:lnTo>
                    <a:pt x="75" y="369"/>
                  </a:lnTo>
                  <a:lnTo>
                    <a:pt x="77" y="366"/>
                  </a:lnTo>
                  <a:lnTo>
                    <a:pt x="76" y="366"/>
                  </a:lnTo>
                  <a:lnTo>
                    <a:pt x="76" y="365"/>
                  </a:lnTo>
                  <a:lnTo>
                    <a:pt x="76" y="365"/>
                  </a:lnTo>
                  <a:lnTo>
                    <a:pt x="76" y="364"/>
                  </a:lnTo>
                  <a:lnTo>
                    <a:pt x="76" y="363"/>
                  </a:lnTo>
                  <a:lnTo>
                    <a:pt x="76" y="362"/>
                  </a:lnTo>
                  <a:lnTo>
                    <a:pt x="77" y="360"/>
                  </a:lnTo>
                  <a:lnTo>
                    <a:pt x="76" y="361"/>
                  </a:lnTo>
                  <a:lnTo>
                    <a:pt x="75" y="362"/>
                  </a:lnTo>
                  <a:lnTo>
                    <a:pt x="75" y="363"/>
                  </a:lnTo>
                  <a:lnTo>
                    <a:pt x="74" y="362"/>
                  </a:lnTo>
                  <a:lnTo>
                    <a:pt x="71" y="363"/>
                  </a:lnTo>
                  <a:lnTo>
                    <a:pt x="70" y="364"/>
                  </a:lnTo>
                  <a:lnTo>
                    <a:pt x="67" y="364"/>
                  </a:lnTo>
                  <a:lnTo>
                    <a:pt x="66" y="362"/>
                  </a:lnTo>
                  <a:lnTo>
                    <a:pt x="66" y="362"/>
                  </a:lnTo>
                  <a:lnTo>
                    <a:pt x="65" y="360"/>
                  </a:lnTo>
                  <a:lnTo>
                    <a:pt x="65" y="360"/>
                  </a:lnTo>
                  <a:lnTo>
                    <a:pt x="68" y="358"/>
                  </a:lnTo>
                  <a:lnTo>
                    <a:pt x="69" y="358"/>
                  </a:lnTo>
                  <a:lnTo>
                    <a:pt x="70" y="355"/>
                  </a:lnTo>
                  <a:lnTo>
                    <a:pt x="70" y="355"/>
                  </a:lnTo>
                  <a:lnTo>
                    <a:pt x="71" y="353"/>
                  </a:lnTo>
                  <a:lnTo>
                    <a:pt x="71" y="353"/>
                  </a:lnTo>
                  <a:lnTo>
                    <a:pt x="69" y="354"/>
                  </a:lnTo>
                  <a:lnTo>
                    <a:pt x="67" y="354"/>
                  </a:lnTo>
                  <a:lnTo>
                    <a:pt x="67" y="353"/>
                  </a:lnTo>
                  <a:lnTo>
                    <a:pt x="68" y="351"/>
                  </a:lnTo>
                  <a:lnTo>
                    <a:pt x="67" y="351"/>
                  </a:lnTo>
                  <a:lnTo>
                    <a:pt x="64" y="352"/>
                  </a:lnTo>
                  <a:lnTo>
                    <a:pt x="61" y="352"/>
                  </a:lnTo>
                  <a:lnTo>
                    <a:pt x="60" y="352"/>
                  </a:lnTo>
                  <a:lnTo>
                    <a:pt x="59" y="351"/>
                  </a:lnTo>
                  <a:lnTo>
                    <a:pt x="58" y="352"/>
                  </a:lnTo>
                  <a:lnTo>
                    <a:pt x="57" y="352"/>
                  </a:lnTo>
                  <a:lnTo>
                    <a:pt x="56" y="352"/>
                  </a:lnTo>
                  <a:lnTo>
                    <a:pt x="49" y="351"/>
                  </a:lnTo>
                  <a:lnTo>
                    <a:pt x="48" y="351"/>
                  </a:lnTo>
                  <a:lnTo>
                    <a:pt x="56" y="349"/>
                  </a:lnTo>
                  <a:lnTo>
                    <a:pt x="57" y="349"/>
                  </a:lnTo>
                  <a:lnTo>
                    <a:pt x="55" y="349"/>
                  </a:lnTo>
                  <a:lnTo>
                    <a:pt x="56" y="346"/>
                  </a:lnTo>
                  <a:lnTo>
                    <a:pt x="55" y="345"/>
                  </a:lnTo>
                  <a:lnTo>
                    <a:pt x="53" y="345"/>
                  </a:lnTo>
                  <a:lnTo>
                    <a:pt x="54" y="345"/>
                  </a:lnTo>
                  <a:lnTo>
                    <a:pt x="55" y="345"/>
                  </a:lnTo>
                  <a:lnTo>
                    <a:pt x="57" y="344"/>
                  </a:lnTo>
                  <a:lnTo>
                    <a:pt x="56" y="343"/>
                  </a:lnTo>
                  <a:lnTo>
                    <a:pt x="53" y="343"/>
                  </a:lnTo>
                  <a:lnTo>
                    <a:pt x="49" y="344"/>
                  </a:lnTo>
                  <a:lnTo>
                    <a:pt x="49" y="344"/>
                  </a:lnTo>
                  <a:lnTo>
                    <a:pt x="45" y="343"/>
                  </a:lnTo>
                  <a:lnTo>
                    <a:pt x="44" y="344"/>
                  </a:lnTo>
                  <a:lnTo>
                    <a:pt x="44" y="345"/>
                  </a:lnTo>
                  <a:lnTo>
                    <a:pt x="43" y="345"/>
                  </a:lnTo>
                  <a:lnTo>
                    <a:pt x="39" y="343"/>
                  </a:lnTo>
                  <a:lnTo>
                    <a:pt x="38" y="341"/>
                  </a:lnTo>
                  <a:lnTo>
                    <a:pt x="38" y="340"/>
                  </a:lnTo>
                  <a:lnTo>
                    <a:pt x="39" y="339"/>
                  </a:lnTo>
                  <a:lnTo>
                    <a:pt x="41" y="338"/>
                  </a:lnTo>
                  <a:lnTo>
                    <a:pt x="43" y="339"/>
                  </a:lnTo>
                  <a:lnTo>
                    <a:pt x="45" y="338"/>
                  </a:lnTo>
                  <a:lnTo>
                    <a:pt x="45" y="336"/>
                  </a:lnTo>
                  <a:lnTo>
                    <a:pt x="44" y="336"/>
                  </a:lnTo>
                  <a:lnTo>
                    <a:pt x="40" y="336"/>
                  </a:lnTo>
                  <a:lnTo>
                    <a:pt x="41" y="335"/>
                  </a:lnTo>
                  <a:lnTo>
                    <a:pt x="45" y="335"/>
                  </a:lnTo>
                  <a:lnTo>
                    <a:pt x="48" y="335"/>
                  </a:lnTo>
                  <a:lnTo>
                    <a:pt x="49" y="334"/>
                  </a:lnTo>
                  <a:lnTo>
                    <a:pt x="47" y="334"/>
                  </a:lnTo>
                  <a:lnTo>
                    <a:pt x="47" y="333"/>
                  </a:lnTo>
                  <a:lnTo>
                    <a:pt x="49" y="332"/>
                  </a:lnTo>
                  <a:lnTo>
                    <a:pt x="49" y="330"/>
                  </a:lnTo>
                  <a:lnTo>
                    <a:pt x="45" y="332"/>
                  </a:lnTo>
                  <a:lnTo>
                    <a:pt x="44" y="333"/>
                  </a:lnTo>
                  <a:lnTo>
                    <a:pt x="43" y="332"/>
                  </a:lnTo>
                  <a:lnTo>
                    <a:pt x="44" y="331"/>
                  </a:lnTo>
                  <a:lnTo>
                    <a:pt x="45" y="329"/>
                  </a:lnTo>
                  <a:lnTo>
                    <a:pt x="48" y="326"/>
                  </a:lnTo>
                  <a:lnTo>
                    <a:pt x="47" y="325"/>
                  </a:lnTo>
                  <a:lnTo>
                    <a:pt x="47" y="325"/>
                  </a:lnTo>
                  <a:lnTo>
                    <a:pt x="48" y="324"/>
                  </a:lnTo>
                  <a:lnTo>
                    <a:pt x="50" y="322"/>
                  </a:lnTo>
                  <a:lnTo>
                    <a:pt x="51" y="321"/>
                  </a:lnTo>
                  <a:lnTo>
                    <a:pt x="50" y="321"/>
                  </a:lnTo>
                  <a:lnTo>
                    <a:pt x="51" y="319"/>
                  </a:lnTo>
                  <a:lnTo>
                    <a:pt x="53" y="318"/>
                  </a:lnTo>
                  <a:lnTo>
                    <a:pt x="48" y="320"/>
                  </a:lnTo>
                  <a:lnTo>
                    <a:pt x="46" y="320"/>
                  </a:lnTo>
                  <a:lnTo>
                    <a:pt x="47" y="319"/>
                  </a:lnTo>
                  <a:lnTo>
                    <a:pt x="48" y="318"/>
                  </a:lnTo>
                  <a:lnTo>
                    <a:pt x="49" y="318"/>
                  </a:lnTo>
                  <a:lnTo>
                    <a:pt x="49" y="316"/>
                  </a:lnTo>
                  <a:lnTo>
                    <a:pt x="47" y="316"/>
                  </a:lnTo>
                  <a:lnTo>
                    <a:pt x="45" y="316"/>
                  </a:lnTo>
                  <a:lnTo>
                    <a:pt x="43" y="316"/>
                  </a:lnTo>
                  <a:lnTo>
                    <a:pt x="43" y="316"/>
                  </a:lnTo>
                  <a:lnTo>
                    <a:pt x="44" y="313"/>
                  </a:lnTo>
                  <a:lnTo>
                    <a:pt x="43" y="313"/>
                  </a:lnTo>
                  <a:lnTo>
                    <a:pt x="43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6" y="306"/>
                  </a:lnTo>
                  <a:lnTo>
                    <a:pt x="47" y="305"/>
                  </a:lnTo>
                  <a:lnTo>
                    <a:pt x="49" y="303"/>
                  </a:lnTo>
                  <a:lnTo>
                    <a:pt x="50" y="301"/>
                  </a:lnTo>
                  <a:lnTo>
                    <a:pt x="50" y="301"/>
                  </a:lnTo>
                  <a:lnTo>
                    <a:pt x="50" y="300"/>
                  </a:lnTo>
                  <a:lnTo>
                    <a:pt x="48" y="301"/>
                  </a:lnTo>
                  <a:lnTo>
                    <a:pt x="48" y="301"/>
                  </a:lnTo>
                  <a:lnTo>
                    <a:pt x="47" y="301"/>
                  </a:lnTo>
                  <a:lnTo>
                    <a:pt x="47" y="300"/>
                  </a:lnTo>
                  <a:lnTo>
                    <a:pt x="47" y="300"/>
                  </a:lnTo>
                  <a:lnTo>
                    <a:pt x="46" y="298"/>
                  </a:lnTo>
                  <a:lnTo>
                    <a:pt x="46" y="295"/>
                  </a:lnTo>
                  <a:lnTo>
                    <a:pt x="46" y="294"/>
                  </a:lnTo>
                  <a:lnTo>
                    <a:pt x="44" y="292"/>
                  </a:lnTo>
                  <a:lnTo>
                    <a:pt x="44" y="291"/>
                  </a:lnTo>
                  <a:lnTo>
                    <a:pt x="46" y="290"/>
                  </a:lnTo>
                  <a:lnTo>
                    <a:pt x="48" y="289"/>
                  </a:lnTo>
                  <a:lnTo>
                    <a:pt x="49" y="289"/>
                  </a:lnTo>
                  <a:lnTo>
                    <a:pt x="50" y="288"/>
                  </a:lnTo>
                  <a:lnTo>
                    <a:pt x="46" y="288"/>
                  </a:lnTo>
                  <a:lnTo>
                    <a:pt x="46" y="288"/>
                  </a:lnTo>
                  <a:lnTo>
                    <a:pt x="46" y="284"/>
                  </a:lnTo>
                  <a:lnTo>
                    <a:pt x="46" y="284"/>
                  </a:lnTo>
                  <a:lnTo>
                    <a:pt x="47" y="282"/>
                  </a:lnTo>
                  <a:lnTo>
                    <a:pt x="49" y="281"/>
                  </a:lnTo>
                  <a:lnTo>
                    <a:pt x="51" y="279"/>
                  </a:lnTo>
                  <a:lnTo>
                    <a:pt x="53" y="279"/>
                  </a:lnTo>
                  <a:lnTo>
                    <a:pt x="54" y="280"/>
                  </a:lnTo>
                  <a:lnTo>
                    <a:pt x="55" y="279"/>
                  </a:lnTo>
                  <a:lnTo>
                    <a:pt x="55" y="278"/>
                  </a:lnTo>
                  <a:lnTo>
                    <a:pt x="55" y="278"/>
                  </a:lnTo>
                  <a:lnTo>
                    <a:pt x="57" y="275"/>
                  </a:lnTo>
                  <a:lnTo>
                    <a:pt x="59" y="275"/>
                  </a:lnTo>
                  <a:lnTo>
                    <a:pt x="60" y="274"/>
                  </a:lnTo>
                  <a:lnTo>
                    <a:pt x="60" y="273"/>
                  </a:lnTo>
                  <a:lnTo>
                    <a:pt x="59" y="273"/>
                  </a:lnTo>
                  <a:lnTo>
                    <a:pt x="60" y="272"/>
                  </a:lnTo>
                  <a:lnTo>
                    <a:pt x="63" y="271"/>
                  </a:lnTo>
                  <a:lnTo>
                    <a:pt x="64" y="270"/>
                  </a:lnTo>
                  <a:lnTo>
                    <a:pt x="64" y="269"/>
                  </a:lnTo>
                  <a:lnTo>
                    <a:pt x="66" y="267"/>
                  </a:lnTo>
                  <a:lnTo>
                    <a:pt x="69" y="262"/>
                  </a:lnTo>
                  <a:lnTo>
                    <a:pt x="73" y="259"/>
                  </a:lnTo>
                  <a:lnTo>
                    <a:pt x="74" y="258"/>
                  </a:lnTo>
                  <a:lnTo>
                    <a:pt x="74" y="258"/>
                  </a:lnTo>
                  <a:lnTo>
                    <a:pt x="75" y="257"/>
                  </a:lnTo>
                  <a:lnTo>
                    <a:pt x="74" y="255"/>
                  </a:lnTo>
                  <a:lnTo>
                    <a:pt x="70" y="255"/>
                  </a:lnTo>
                  <a:lnTo>
                    <a:pt x="70" y="254"/>
                  </a:lnTo>
                  <a:lnTo>
                    <a:pt x="67" y="250"/>
                  </a:lnTo>
                  <a:lnTo>
                    <a:pt x="60" y="249"/>
                  </a:lnTo>
                  <a:lnTo>
                    <a:pt x="58" y="248"/>
                  </a:lnTo>
                  <a:lnTo>
                    <a:pt x="58" y="247"/>
                  </a:lnTo>
                  <a:lnTo>
                    <a:pt x="58" y="245"/>
                  </a:lnTo>
                  <a:lnTo>
                    <a:pt x="59" y="242"/>
                  </a:lnTo>
                  <a:lnTo>
                    <a:pt x="60" y="241"/>
                  </a:lnTo>
                  <a:lnTo>
                    <a:pt x="60" y="240"/>
                  </a:lnTo>
                  <a:lnTo>
                    <a:pt x="59" y="239"/>
                  </a:lnTo>
                  <a:lnTo>
                    <a:pt x="59" y="238"/>
                  </a:lnTo>
                  <a:lnTo>
                    <a:pt x="60" y="237"/>
                  </a:lnTo>
                  <a:lnTo>
                    <a:pt x="61" y="237"/>
                  </a:lnTo>
                  <a:lnTo>
                    <a:pt x="61" y="235"/>
                  </a:lnTo>
                  <a:lnTo>
                    <a:pt x="61" y="232"/>
                  </a:lnTo>
                  <a:lnTo>
                    <a:pt x="63" y="229"/>
                  </a:lnTo>
                  <a:lnTo>
                    <a:pt x="61" y="229"/>
                  </a:lnTo>
                  <a:lnTo>
                    <a:pt x="61" y="229"/>
                  </a:lnTo>
                  <a:lnTo>
                    <a:pt x="64" y="225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5" y="212"/>
                  </a:lnTo>
                  <a:lnTo>
                    <a:pt x="65" y="210"/>
                  </a:lnTo>
                  <a:lnTo>
                    <a:pt x="60" y="209"/>
                  </a:lnTo>
                  <a:lnTo>
                    <a:pt x="61" y="208"/>
                  </a:lnTo>
                  <a:lnTo>
                    <a:pt x="61" y="207"/>
                  </a:lnTo>
                  <a:lnTo>
                    <a:pt x="63" y="204"/>
                  </a:lnTo>
                  <a:lnTo>
                    <a:pt x="61" y="203"/>
                  </a:lnTo>
                  <a:lnTo>
                    <a:pt x="63" y="202"/>
                  </a:lnTo>
                  <a:lnTo>
                    <a:pt x="63" y="200"/>
                  </a:lnTo>
                  <a:lnTo>
                    <a:pt x="64" y="198"/>
                  </a:lnTo>
                  <a:lnTo>
                    <a:pt x="63" y="198"/>
                  </a:lnTo>
                  <a:lnTo>
                    <a:pt x="63" y="197"/>
                  </a:lnTo>
                  <a:lnTo>
                    <a:pt x="63" y="194"/>
                  </a:lnTo>
                  <a:lnTo>
                    <a:pt x="63" y="193"/>
                  </a:lnTo>
                  <a:lnTo>
                    <a:pt x="61" y="193"/>
                  </a:lnTo>
                  <a:lnTo>
                    <a:pt x="54" y="195"/>
                  </a:lnTo>
                  <a:lnTo>
                    <a:pt x="48" y="197"/>
                  </a:lnTo>
                  <a:lnTo>
                    <a:pt x="46" y="198"/>
                  </a:lnTo>
                  <a:lnTo>
                    <a:pt x="44" y="200"/>
                  </a:lnTo>
                  <a:lnTo>
                    <a:pt x="43" y="200"/>
                  </a:lnTo>
                  <a:lnTo>
                    <a:pt x="40" y="200"/>
                  </a:lnTo>
                  <a:lnTo>
                    <a:pt x="39" y="201"/>
                  </a:lnTo>
                  <a:lnTo>
                    <a:pt x="38" y="202"/>
                  </a:lnTo>
                  <a:lnTo>
                    <a:pt x="36" y="203"/>
                  </a:lnTo>
                  <a:lnTo>
                    <a:pt x="31" y="204"/>
                  </a:lnTo>
                  <a:lnTo>
                    <a:pt x="26" y="207"/>
                  </a:lnTo>
                  <a:lnTo>
                    <a:pt x="22" y="208"/>
                  </a:lnTo>
                  <a:lnTo>
                    <a:pt x="22" y="207"/>
                  </a:lnTo>
                  <a:lnTo>
                    <a:pt x="22" y="207"/>
                  </a:lnTo>
                  <a:lnTo>
                    <a:pt x="22" y="205"/>
                  </a:lnTo>
                  <a:lnTo>
                    <a:pt x="24" y="202"/>
                  </a:lnTo>
                  <a:lnTo>
                    <a:pt x="22" y="200"/>
                  </a:lnTo>
                  <a:lnTo>
                    <a:pt x="28" y="198"/>
                  </a:lnTo>
                  <a:lnTo>
                    <a:pt x="28" y="197"/>
                  </a:lnTo>
                  <a:lnTo>
                    <a:pt x="26" y="195"/>
                  </a:lnTo>
                  <a:lnTo>
                    <a:pt x="26" y="198"/>
                  </a:lnTo>
                  <a:lnTo>
                    <a:pt x="25" y="198"/>
                  </a:lnTo>
                  <a:lnTo>
                    <a:pt x="23" y="198"/>
                  </a:lnTo>
                  <a:lnTo>
                    <a:pt x="20" y="199"/>
                  </a:lnTo>
                  <a:lnTo>
                    <a:pt x="20" y="198"/>
                  </a:lnTo>
                  <a:lnTo>
                    <a:pt x="19" y="193"/>
                  </a:lnTo>
                  <a:lnTo>
                    <a:pt x="20" y="191"/>
                  </a:lnTo>
                  <a:lnTo>
                    <a:pt x="19" y="189"/>
                  </a:lnTo>
                  <a:lnTo>
                    <a:pt x="18" y="189"/>
                  </a:lnTo>
                  <a:lnTo>
                    <a:pt x="19" y="189"/>
                  </a:lnTo>
                  <a:lnTo>
                    <a:pt x="20" y="188"/>
                  </a:lnTo>
                  <a:lnTo>
                    <a:pt x="24" y="184"/>
                  </a:lnTo>
                  <a:lnTo>
                    <a:pt x="16" y="184"/>
                  </a:lnTo>
                  <a:lnTo>
                    <a:pt x="10" y="187"/>
                  </a:lnTo>
                  <a:lnTo>
                    <a:pt x="9" y="187"/>
                  </a:lnTo>
                  <a:lnTo>
                    <a:pt x="8" y="184"/>
                  </a:lnTo>
                  <a:lnTo>
                    <a:pt x="3" y="187"/>
                  </a:lnTo>
                  <a:lnTo>
                    <a:pt x="0" y="184"/>
                  </a:lnTo>
                  <a:lnTo>
                    <a:pt x="6" y="179"/>
                  </a:lnTo>
                  <a:lnTo>
                    <a:pt x="23" y="163"/>
                  </a:lnTo>
                  <a:lnTo>
                    <a:pt x="38" y="148"/>
                  </a:lnTo>
                  <a:lnTo>
                    <a:pt x="54" y="134"/>
                  </a:lnTo>
                  <a:lnTo>
                    <a:pt x="69" y="120"/>
                  </a:lnTo>
                  <a:lnTo>
                    <a:pt x="87" y="104"/>
                  </a:lnTo>
                  <a:lnTo>
                    <a:pt x="104" y="90"/>
                  </a:lnTo>
                  <a:lnTo>
                    <a:pt x="119" y="77"/>
                  </a:lnTo>
                  <a:lnTo>
                    <a:pt x="135" y="63"/>
                  </a:lnTo>
                  <a:lnTo>
                    <a:pt x="154" y="48"/>
                  </a:lnTo>
                  <a:lnTo>
                    <a:pt x="170" y="35"/>
                  </a:lnTo>
                  <a:lnTo>
                    <a:pt x="170" y="35"/>
                  </a:lnTo>
                  <a:lnTo>
                    <a:pt x="172" y="35"/>
                  </a:lnTo>
                  <a:lnTo>
                    <a:pt x="174" y="36"/>
                  </a:lnTo>
                  <a:lnTo>
                    <a:pt x="182" y="35"/>
                  </a:lnTo>
                  <a:lnTo>
                    <a:pt x="184" y="36"/>
                  </a:lnTo>
                  <a:lnTo>
                    <a:pt x="184" y="36"/>
                  </a:lnTo>
                  <a:lnTo>
                    <a:pt x="187" y="36"/>
                  </a:lnTo>
                  <a:lnTo>
                    <a:pt x="189" y="38"/>
                  </a:lnTo>
                  <a:lnTo>
                    <a:pt x="189" y="41"/>
                  </a:lnTo>
                  <a:lnTo>
                    <a:pt x="191" y="41"/>
                  </a:lnTo>
                  <a:lnTo>
                    <a:pt x="191" y="41"/>
                  </a:lnTo>
                  <a:lnTo>
                    <a:pt x="192" y="41"/>
                  </a:lnTo>
                  <a:lnTo>
                    <a:pt x="192" y="42"/>
                  </a:lnTo>
                  <a:lnTo>
                    <a:pt x="193" y="43"/>
                  </a:lnTo>
                  <a:lnTo>
                    <a:pt x="195" y="45"/>
                  </a:lnTo>
                  <a:lnTo>
                    <a:pt x="196" y="45"/>
                  </a:lnTo>
                  <a:lnTo>
                    <a:pt x="197" y="46"/>
                  </a:lnTo>
                  <a:lnTo>
                    <a:pt x="198" y="46"/>
                  </a:lnTo>
                  <a:lnTo>
                    <a:pt x="201" y="46"/>
                  </a:lnTo>
                  <a:lnTo>
                    <a:pt x="203" y="47"/>
                  </a:lnTo>
                  <a:lnTo>
                    <a:pt x="205" y="47"/>
                  </a:lnTo>
                  <a:lnTo>
                    <a:pt x="206" y="47"/>
                  </a:lnTo>
                  <a:lnTo>
                    <a:pt x="207" y="47"/>
                  </a:lnTo>
                  <a:lnTo>
                    <a:pt x="208" y="47"/>
                  </a:lnTo>
                  <a:lnTo>
                    <a:pt x="208" y="46"/>
                  </a:lnTo>
                  <a:lnTo>
                    <a:pt x="209" y="47"/>
                  </a:lnTo>
                  <a:lnTo>
                    <a:pt x="211" y="47"/>
                  </a:lnTo>
                  <a:lnTo>
                    <a:pt x="211" y="47"/>
                  </a:lnTo>
                  <a:lnTo>
                    <a:pt x="213" y="48"/>
                  </a:lnTo>
                  <a:lnTo>
                    <a:pt x="215" y="48"/>
                  </a:lnTo>
                  <a:lnTo>
                    <a:pt x="217" y="50"/>
                  </a:lnTo>
                  <a:lnTo>
                    <a:pt x="218" y="50"/>
                  </a:lnTo>
                  <a:lnTo>
                    <a:pt x="219" y="50"/>
                  </a:lnTo>
                  <a:lnTo>
                    <a:pt x="219" y="50"/>
                  </a:lnTo>
                  <a:lnTo>
                    <a:pt x="218" y="49"/>
                  </a:lnTo>
                  <a:lnTo>
                    <a:pt x="219" y="47"/>
                  </a:lnTo>
                  <a:lnTo>
                    <a:pt x="219" y="47"/>
                  </a:lnTo>
                  <a:lnTo>
                    <a:pt x="220" y="47"/>
                  </a:lnTo>
                  <a:lnTo>
                    <a:pt x="223" y="47"/>
                  </a:lnTo>
                  <a:lnTo>
                    <a:pt x="225" y="47"/>
                  </a:lnTo>
                  <a:lnTo>
                    <a:pt x="227" y="47"/>
                  </a:lnTo>
                  <a:lnTo>
                    <a:pt x="228" y="48"/>
                  </a:lnTo>
                  <a:lnTo>
                    <a:pt x="227" y="49"/>
                  </a:lnTo>
                  <a:lnTo>
                    <a:pt x="227" y="50"/>
                  </a:lnTo>
                  <a:lnTo>
                    <a:pt x="228" y="51"/>
                  </a:lnTo>
                  <a:lnTo>
                    <a:pt x="228" y="52"/>
                  </a:lnTo>
                  <a:lnTo>
                    <a:pt x="230" y="51"/>
                  </a:lnTo>
                  <a:lnTo>
                    <a:pt x="231" y="49"/>
                  </a:lnTo>
                  <a:lnTo>
                    <a:pt x="231" y="49"/>
                  </a:lnTo>
                  <a:lnTo>
                    <a:pt x="231" y="46"/>
                  </a:lnTo>
                  <a:lnTo>
                    <a:pt x="231" y="45"/>
                  </a:lnTo>
                  <a:lnTo>
                    <a:pt x="232" y="45"/>
                  </a:lnTo>
                  <a:lnTo>
                    <a:pt x="236" y="43"/>
                  </a:lnTo>
                  <a:lnTo>
                    <a:pt x="239" y="42"/>
                  </a:lnTo>
                  <a:lnTo>
                    <a:pt x="243" y="41"/>
                  </a:lnTo>
                  <a:lnTo>
                    <a:pt x="246" y="40"/>
                  </a:lnTo>
                  <a:lnTo>
                    <a:pt x="247" y="40"/>
                  </a:lnTo>
                  <a:lnTo>
                    <a:pt x="249" y="40"/>
                  </a:lnTo>
                  <a:lnTo>
                    <a:pt x="253" y="39"/>
                  </a:lnTo>
                  <a:lnTo>
                    <a:pt x="256" y="39"/>
                  </a:lnTo>
                  <a:lnTo>
                    <a:pt x="259" y="38"/>
                  </a:lnTo>
                  <a:lnTo>
                    <a:pt x="261" y="36"/>
                  </a:lnTo>
                  <a:lnTo>
                    <a:pt x="263" y="36"/>
                  </a:lnTo>
                  <a:lnTo>
                    <a:pt x="263" y="36"/>
                  </a:lnTo>
                  <a:lnTo>
                    <a:pt x="265" y="36"/>
                  </a:lnTo>
                  <a:lnTo>
                    <a:pt x="267" y="35"/>
                  </a:lnTo>
                  <a:lnTo>
                    <a:pt x="268" y="33"/>
                  </a:lnTo>
                  <a:lnTo>
                    <a:pt x="270" y="33"/>
                  </a:lnTo>
                  <a:lnTo>
                    <a:pt x="269" y="35"/>
                  </a:lnTo>
                  <a:lnTo>
                    <a:pt x="272" y="35"/>
                  </a:lnTo>
                  <a:lnTo>
                    <a:pt x="274" y="33"/>
                  </a:lnTo>
                  <a:lnTo>
                    <a:pt x="276" y="33"/>
                  </a:lnTo>
                  <a:lnTo>
                    <a:pt x="277" y="33"/>
                  </a:lnTo>
                  <a:lnTo>
                    <a:pt x="283" y="31"/>
                  </a:lnTo>
                  <a:lnTo>
                    <a:pt x="284" y="30"/>
                  </a:lnTo>
                  <a:lnTo>
                    <a:pt x="288" y="31"/>
                  </a:lnTo>
                  <a:lnTo>
                    <a:pt x="291" y="30"/>
                  </a:lnTo>
                  <a:lnTo>
                    <a:pt x="292" y="29"/>
                  </a:lnTo>
                  <a:lnTo>
                    <a:pt x="293" y="29"/>
                  </a:lnTo>
                  <a:lnTo>
                    <a:pt x="298" y="28"/>
                  </a:lnTo>
                  <a:lnTo>
                    <a:pt x="299" y="28"/>
                  </a:lnTo>
                  <a:lnTo>
                    <a:pt x="301" y="28"/>
                  </a:lnTo>
                  <a:lnTo>
                    <a:pt x="302" y="28"/>
                  </a:lnTo>
                  <a:lnTo>
                    <a:pt x="302" y="29"/>
                  </a:lnTo>
                  <a:lnTo>
                    <a:pt x="306" y="28"/>
                  </a:lnTo>
                  <a:lnTo>
                    <a:pt x="308" y="28"/>
                  </a:lnTo>
                  <a:lnTo>
                    <a:pt x="309" y="27"/>
                  </a:lnTo>
                  <a:lnTo>
                    <a:pt x="311" y="26"/>
                  </a:lnTo>
                  <a:lnTo>
                    <a:pt x="310" y="27"/>
                  </a:lnTo>
                  <a:lnTo>
                    <a:pt x="311" y="28"/>
                  </a:lnTo>
                  <a:lnTo>
                    <a:pt x="310" y="29"/>
                  </a:lnTo>
                  <a:lnTo>
                    <a:pt x="309" y="29"/>
                  </a:lnTo>
                  <a:lnTo>
                    <a:pt x="307" y="30"/>
                  </a:lnTo>
                  <a:lnTo>
                    <a:pt x="294" y="32"/>
                  </a:lnTo>
                  <a:lnTo>
                    <a:pt x="291" y="35"/>
                  </a:lnTo>
                  <a:lnTo>
                    <a:pt x="289" y="35"/>
                  </a:lnTo>
                  <a:lnTo>
                    <a:pt x="283" y="37"/>
                  </a:lnTo>
                  <a:lnTo>
                    <a:pt x="281" y="36"/>
                  </a:lnTo>
                  <a:lnTo>
                    <a:pt x="272" y="37"/>
                  </a:lnTo>
                  <a:lnTo>
                    <a:pt x="269" y="38"/>
                  </a:lnTo>
                  <a:lnTo>
                    <a:pt x="267" y="39"/>
                  </a:lnTo>
                  <a:lnTo>
                    <a:pt x="269" y="39"/>
                  </a:lnTo>
                  <a:lnTo>
                    <a:pt x="263" y="40"/>
                  </a:lnTo>
                  <a:lnTo>
                    <a:pt x="262" y="41"/>
                  </a:lnTo>
                  <a:lnTo>
                    <a:pt x="261" y="41"/>
                  </a:lnTo>
                  <a:lnTo>
                    <a:pt x="259" y="41"/>
                  </a:lnTo>
                  <a:lnTo>
                    <a:pt x="258" y="42"/>
                  </a:lnTo>
                  <a:lnTo>
                    <a:pt x="258" y="42"/>
                  </a:lnTo>
                  <a:lnTo>
                    <a:pt x="258" y="41"/>
                  </a:lnTo>
                  <a:lnTo>
                    <a:pt x="252" y="43"/>
                  </a:lnTo>
                  <a:lnTo>
                    <a:pt x="251" y="45"/>
                  </a:lnTo>
                  <a:lnTo>
                    <a:pt x="253" y="45"/>
                  </a:lnTo>
                  <a:lnTo>
                    <a:pt x="257" y="43"/>
                  </a:lnTo>
                  <a:lnTo>
                    <a:pt x="262" y="42"/>
                  </a:lnTo>
                  <a:lnTo>
                    <a:pt x="270" y="40"/>
                  </a:lnTo>
                  <a:lnTo>
                    <a:pt x="270" y="40"/>
                  </a:lnTo>
                  <a:lnTo>
                    <a:pt x="270" y="39"/>
                  </a:lnTo>
                  <a:lnTo>
                    <a:pt x="271" y="39"/>
                  </a:lnTo>
                  <a:lnTo>
                    <a:pt x="273" y="39"/>
                  </a:lnTo>
                  <a:lnTo>
                    <a:pt x="274" y="39"/>
                  </a:lnTo>
                  <a:lnTo>
                    <a:pt x="272" y="40"/>
                  </a:lnTo>
                  <a:lnTo>
                    <a:pt x="276" y="39"/>
                  </a:lnTo>
                  <a:lnTo>
                    <a:pt x="274" y="40"/>
                  </a:lnTo>
                  <a:lnTo>
                    <a:pt x="279" y="38"/>
                  </a:lnTo>
                  <a:lnTo>
                    <a:pt x="281" y="38"/>
                  </a:lnTo>
                  <a:lnTo>
                    <a:pt x="281" y="39"/>
                  </a:lnTo>
                  <a:lnTo>
                    <a:pt x="279" y="40"/>
                  </a:lnTo>
                  <a:lnTo>
                    <a:pt x="277" y="42"/>
                  </a:lnTo>
                  <a:lnTo>
                    <a:pt x="284" y="38"/>
                  </a:lnTo>
                  <a:lnTo>
                    <a:pt x="291" y="36"/>
                  </a:lnTo>
                  <a:lnTo>
                    <a:pt x="292" y="35"/>
                  </a:lnTo>
                  <a:lnTo>
                    <a:pt x="296" y="35"/>
                  </a:lnTo>
                  <a:lnTo>
                    <a:pt x="299" y="33"/>
                  </a:lnTo>
                  <a:lnTo>
                    <a:pt x="302" y="32"/>
                  </a:lnTo>
                  <a:lnTo>
                    <a:pt x="309" y="32"/>
                  </a:lnTo>
                  <a:lnTo>
                    <a:pt x="314" y="30"/>
                  </a:lnTo>
                  <a:lnTo>
                    <a:pt x="312" y="32"/>
                  </a:lnTo>
                  <a:lnTo>
                    <a:pt x="311" y="32"/>
                  </a:lnTo>
                  <a:lnTo>
                    <a:pt x="309" y="33"/>
                  </a:lnTo>
                  <a:lnTo>
                    <a:pt x="307" y="35"/>
                  </a:lnTo>
                  <a:lnTo>
                    <a:pt x="313" y="33"/>
                  </a:lnTo>
                  <a:lnTo>
                    <a:pt x="317" y="31"/>
                  </a:lnTo>
                  <a:lnTo>
                    <a:pt x="320" y="30"/>
                  </a:lnTo>
                  <a:lnTo>
                    <a:pt x="322" y="29"/>
                  </a:lnTo>
                  <a:lnTo>
                    <a:pt x="323" y="29"/>
                  </a:lnTo>
                  <a:lnTo>
                    <a:pt x="324" y="28"/>
                  </a:lnTo>
                  <a:lnTo>
                    <a:pt x="331" y="27"/>
                  </a:lnTo>
                  <a:lnTo>
                    <a:pt x="333" y="27"/>
                  </a:lnTo>
                  <a:lnTo>
                    <a:pt x="331" y="26"/>
                  </a:lnTo>
                  <a:lnTo>
                    <a:pt x="330" y="26"/>
                  </a:lnTo>
                  <a:lnTo>
                    <a:pt x="331" y="25"/>
                  </a:lnTo>
                  <a:lnTo>
                    <a:pt x="332" y="25"/>
                  </a:lnTo>
                  <a:lnTo>
                    <a:pt x="332" y="23"/>
                  </a:lnTo>
                  <a:lnTo>
                    <a:pt x="330" y="23"/>
                  </a:lnTo>
                  <a:lnTo>
                    <a:pt x="331" y="23"/>
                  </a:lnTo>
                  <a:lnTo>
                    <a:pt x="333" y="22"/>
                  </a:lnTo>
                  <a:lnTo>
                    <a:pt x="334" y="21"/>
                  </a:lnTo>
                  <a:lnTo>
                    <a:pt x="337" y="22"/>
                  </a:lnTo>
                  <a:lnTo>
                    <a:pt x="339" y="26"/>
                  </a:lnTo>
                  <a:lnTo>
                    <a:pt x="339" y="27"/>
                  </a:lnTo>
                  <a:lnTo>
                    <a:pt x="337" y="29"/>
                  </a:lnTo>
                  <a:lnTo>
                    <a:pt x="337" y="30"/>
                  </a:lnTo>
                  <a:lnTo>
                    <a:pt x="334" y="35"/>
                  </a:lnTo>
                  <a:lnTo>
                    <a:pt x="334" y="36"/>
                  </a:lnTo>
                  <a:lnTo>
                    <a:pt x="337" y="37"/>
                  </a:lnTo>
                  <a:lnTo>
                    <a:pt x="336" y="38"/>
                  </a:lnTo>
                  <a:lnTo>
                    <a:pt x="337" y="38"/>
                  </a:lnTo>
                  <a:lnTo>
                    <a:pt x="338" y="39"/>
                  </a:lnTo>
                  <a:lnTo>
                    <a:pt x="340" y="40"/>
                  </a:lnTo>
                  <a:lnTo>
                    <a:pt x="344" y="40"/>
                  </a:lnTo>
                  <a:lnTo>
                    <a:pt x="344" y="39"/>
                  </a:lnTo>
                  <a:lnTo>
                    <a:pt x="346" y="39"/>
                  </a:lnTo>
                  <a:lnTo>
                    <a:pt x="348" y="39"/>
                  </a:lnTo>
                  <a:lnTo>
                    <a:pt x="349" y="39"/>
                  </a:lnTo>
                  <a:lnTo>
                    <a:pt x="347" y="38"/>
                  </a:lnTo>
                  <a:lnTo>
                    <a:pt x="343" y="39"/>
                  </a:lnTo>
                  <a:lnTo>
                    <a:pt x="344" y="38"/>
                  </a:lnTo>
                  <a:lnTo>
                    <a:pt x="348" y="38"/>
                  </a:lnTo>
                  <a:lnTo>
                    <a:pt x="350" y="37"/>
                  </a:lnTo>
                  <a:lnTo>
                    <a:pt x="349" y="37"/>
                  </a:lnTo>
                  <a:lnTo>
                    <a:pt x="349" y="36"/>
                  </a:lnTo>
                  <a:lnTo>
                    <a:pt x="351" y="35"/>
                  </a:lnTo>
                  <a:lnTo>
                    <a:pt x="354" y="35"/>
                  </a:lnTo>
                  <a:lnTo>
                    <a:pt x="354" y="33"/>
                  </a:lnTo>
                  <a:lnTo>
                    <a:pt x="353" y="33"/>
                  </a:lnTo>
                  <a:lnTo>
                    <a:pt x="354" y="32"/>
                  </a:lnTo>
                  <a:lnTo>
                    <a:pt x="354" y="33"/>
                  </a:lnTo>
                  <a:lnTo>
                    <a:pt x="360" y="31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0" y="30"/>
                  </a:lnTo>
                  <a:lnTo>
                    <a:pt x="358" y="31"/>
                  </a:lnTo>
                  <a:lnTo>
                    <a:pt x="358" y="31"/>
                  </a:lnTo>
                  <a:lnTo>
                    <a:pt x="359" y="30"/>
                  </a:lnTo>
                  <a:lnTo>
                    <a:pt x="360" y="29"/>
                  </a:lnTo>
                  <a:lnTo>
                    <a:pt x="361" y="29"/>
                  </a:lnTo>
                  <a:lnTo>
                    <a:pt x="363" y="29"/>
                  </a:lnTo>
                  <a:lnTo>
                    <a:pt x="364" y="29"/>
                  </a:lnTo>
                  <a:lnTo>
                    <a:pt x="363" y="30"/>
                  </a:lnTo>
                  <a:lnTo>
                    <a:pt x="365" y="30"/>
                  </a:lnTo>
                  <a:lnTo>
                    <a:pt x="367" y="29"/>
                  </a:lnTo>
                  <a:lnTo>
                    <a:pt x="368" y="29"/>
                  </a:lnTo>
                  <a:lnTo>
                    <a:pt x="365" y="29"/>
                  </a:lnTo>
                  <a:lnTo>
                    <a:pt x="365" y="28"/>
                  </a:lnTo>
                  <a:lnTo>
                    <a:pt x="369" y="28"/>
                  </a:lnTo>
                  <a:lnTo>
                    <a:pt x="369" y="28"/>
                  </a:lnTo>
                  <a:lnTo>
                    <a:pt x="369" y="29"/>
                  </a:lnTo>
                  <a:lnTo>
                    <a:pt x="367" y="30"/>
                  </a:lnTo>
                  <a:lnTo>
                    <a:pt x="363" y="32"/>
                  </a:lnTo>
                  <a:lnTo>
                    <a:pt x="362" y="33"/>
                  </a:lnTo>
                  <a:lnTo>
                    <a:pt x="362" y="35"/>
                  </a:lnTo>
                  <a:lnTo>
                    <a:pt x="362" y="35"/>
                  </a:lnTo>
                  <a:lnTo>
                    <a:pt x="364" y="35"/>
                  </a:lnTo>
                  <a:lnTo>
                    <a:pt x="367" y="35"/>
                  </a:lnTo>
                  <a:lnTo>
                    <a:pt x="359" y="38"/>
                  </a:lnTo>
                  <a:lnTo>
                    <a:pt x="357" y="39"/>
                  </a:lnTo>
                  <a:lnTo>
                    <a:pt x="358" y="38"/>
                  </a:lnTo>
                  <a:lnTo>
                    <a:pt x="355" y="39"/>
                  </a:lnTo>
                  <a:lnTo>
                    <a:pt x="355" y="40"/>
                  </a:lnTo>
                  <a:lnTo>
                    <a:pt x="359" y="40"/>
                  </a:lnTo>
                  <a:lnTo>
                    <a:pt x="362" y="39"/>
                  </a:lnTo>
                  <a:lnTo>
                    <a:pt x="362" y="40"/>
                  </a:lnTo>
                  <a:lnTo>
                    <a:pt x="365" y="40"/>
                  </a:lnTo>
                  <a:lnTo>
                    <a:pt x="368" y="39"/>
                  </a:lnTo>
                  <a:lnTo>
                    <a:pt x="370" y="38"/>
                  </a:lnTo>
                  <a:lnTo>
                    <a:pt x="372" y="37"/>
                  </a:lnTo>
                  <a:lnTo>
                    <a:pt x="374" y="36"/>
                  </a:lnTo>
                  <a:lnTo>
                    <a:pt x="377" y="35"/>
                  </a:lnTo>
                  <a:lnTo>
                    <a:pt x="379" y="32"/>
                  </a:lnTo>
                  <a:lnTo>
                    <a:pt x="381" y="32"/>
                  </a:lnTo>
                  <a:lnTo>
                    <a:pt x="384" y="32"/>
                  </a:lnTo>
                  <a:lnTo>
                    <a:pt x="387" y="32"/>
                  </a:lnTo>
                  <a:lnTo>
                    <a:pt x="388" y="32"/>
                  </a:lnTo>
                  <a:lnTo>
                    <a:pt x="390" y="32"/>
                  </a:lnTo>
                  <a:lnTo>
                    <a:pt x="390" y="33"/>
                  </a:lnTo>
                  <a:lnTo>
                    <a:pt x="394" y="32"/>
                  </a:lnTo>
                  <a:lnTo>
                    <a:pt x="399" y="33"/>
                  </a:lnTo>
                  <a:lnTo>
                    <a:pt x="402" y="36"/>
                  </a:lnTo>
                  <a:lnTo>
                    <a:pt x="403" y="39"/>
                  </a:lnTo>
                  <a:lnTo>
                    <a:pt x="407" y="39"/>
                  </a:lnTo>
                  <a:lnTo>
                    <a:pt x="410" y="40"/>
                  </a:lnTo>
                  <a:lnTo>
                    <a:pt x="412" y="40"/>
                  </a:lnTo>
                  <a:lnTo>
                    <a:pt x="414" y="40"/>
                  </a:lnTo>
                  <a:lnTo>
                    <a:pt x="418" y="41"/>
                  </a:lnTo>
                  <a:lnTo>
                    <a:pt x="419" y="41"/>
                  </a:lnTo>
                  <a:lnTo>
                    <a:pt x="421" y="41"/>
                  </a:lnTo>
                  <a:lnTo>
                    <a:pt x="421" y="42"/>
                  </a:lnTo>
                  <a:lnTo>
                    <a:pt x="423" y="43"/>
                  </a:lnTo>
                  <a:lnTo>
                    <a:pt x="425" y="45"/>
                  </a:lnTo>
                  <a:lnTo>
                    <a:pt x="429" y="46"/>
                  </a:lnTo>
                  <a:lnTo>
                    <a:pt x="433" y="46"/>
                  </a:lnTo>
                  <a:lnTo>
                    <a:pt x="433" y="47"/>
                  </a:lnTo>
                  <a:lnTo>
                    <a:pt x="435" y="47"/>
                  </a:lnTo>
                  <a:lnTo>
                    <a:pt x="435" y="47"/>
                  </a:lnTo>
                  <a:lnTo>
                    <a:pt x="442" y="47"/>
                  </a:lnTo>
                  <a:lnTo>
                    <a:pt x="444" y="47"/>
                  </a:lnTo>
                  <a:lnTo>
                    <a:pt x="445" y="48"/>
                  </a:lnTo>
                  <a:lnTo>
                    <a:pt x="448" y="47"/>
                  </a:lnTo>
                  <a:lnTo>
                    <a:pt x="445" y="46"/>
                  </a:lnTo>
                  <a:lnTo>
                    <a:pt x="448" y="46"/>
                  </a:lnTo>
                  <a:lnTo>
                    <a:pt x="449" y="46"/>
                  </a:lnTo>
                  <a:lnTo>
                    <a:pt x="451" y="46"/>
                  </a:lnTo>
                  <a:lnTo>
                    <a:pt x="452" y="46"/>
                  </a:lnTo>
                  <a:lnTo>
                    <a:pt x="456" y="46"/>
                  </a:lnTo>
                  <a:lnTo>
                    <a:pt x="455" y="47"/>
                  </a:lnTo>
                  <a:lnTo>
                    <a:pt x="458" y="47"/>
                  </a:lnTo>
                  <a:lnTo>
                    <a:pt x="456" y="48"/>
                  </a:lnTo>
                  <a:lnTo>
                    <a:pt x="460" y="48"/>
                  </a:lnTo>
                  <a:lnTo>
                    <a:pt x="459" y="49"/>
                  </a:lnTo>
                  <a:lnTo>
                    <a:pt x="461" y="49"/>
                  </a:lnTo>
                  <a:lnTo>
                    <a:pt x="462" y="51"/>
                  </a:lnTo>
                  <a:lnTo>
                    <a:pt x="463" y="52"/>
                  </a:lnTo>
                  <a:lnTo>
                    <a:pt x="461" y="55"/>
                  </a:lnTo>
                  <a:lnTo>
                    <a:pt x="463" y="53"/>
                  </a:lnTo>
                  <a:lnTo>
                    <a:pt x="462" y="55"/>
                  </a:lnTo>
                  <a:lnTo>
                    <a:pt x="461" y="56"/>
                  </a:lnTo>
                  <a:lnTo>
                    <a:pt x="461" y="56"/>
                  </a:lnTo>
                  <a:lnTo>
                    <a:pt x="459" y="56"/>
                  </a:lnTo>
                  <a:lnTo>
                    <a:pt x="458" y="57"/>
                  </a:lnTo>
                  <a:lnTo>
                    <a:pt x="456" y="57"/>
                  </a:lnTo>
                  <a:lnTo>
                    <a:pt x="456" y="56"/>
                  </a:lnTo>
                  <a:lnTo>
                    <a:pt x="452" y="57"/>
                  </a:lnTo>
                  <a:lnTo>
                    <a:pt x="449" y="56"/>
                  </a:lnTo>
                  <a:lnTo>
                    <a:pt x="451" y="57"/>
                  </a:lnTo>
                  <a:lnTo>
                    <a:pt x="449" y="58"/>
                  </a:lnTo>
                  <a:lnTo>
                    <a:pt x="444" y="57"/>
                  </a:lnTo>
                  <a:lnTo>
                    <a:pt x="444" y="58"/>
                  </a:lnTo>
                  <a:lnTo>
                    <a:pt x="443" y="59"/>
                  </a:lnTo>
                  <a:lnTo>
                    <a:pt x="442" y="60"/>
                  </a:lnTo>
                  <a:lnTo>
                    <a:pt x="438" y="61"/>
                  </a:lnTo>
                  <a:lnTo>
                    <a:pt x="438" y="61"/>
                  </a:lnTo>
                  <a:lnTo>
                    <a:pt x="439" y="62"/>
                  </a:lnTo>
                  <a:lnTo>
                    <a:pt x="441" y="61"/>
                  </a:lnTo>
                  <a:lnTo>
                    <a:pt x="439" y="62"/>
                  </a:lnTo>
                  <a:lnTo>
                    <a:pt x="442" y="62"/>
                  </a:lnTo>
                  <a:lnTo>
                    <a:pt x="444" y="65"/>
                  </a:lnTo>
                  <a:lnTo>
                    <a:pt x="446" y="63"/>
                  </a:lnTo>
                  <a:lnTo>
                    <a:pt x="448" y="63"/>
                  </a:lnTo>
                  <a:lnTo>
                    <a:pt x="449" y="65"/>
                  </a:lnTo>
                  <a:lnTo>
                    <a:pt x="451" y="65"/>
                  </a:lnTo>
                  <a:lnTo>
                    <a:pt x="453" y="65"/>
                  </a:lnTo>
                  <a:lnTo>
                    <a:pt x="458" y="65"/>
                  </a:lnTo>
                  <a:lnTo>
                    <a:pt x="460" y="65"/>
                  </a:lnTo>
                  <a:lnTo>
                    <a:pt x="464" y="65"/>
                  </a:lnTo>
                  <a:lnTo>
                    <a:pt x="464" y="65"/>
                  </a:lnTo>
                  <a:lnTo>
                    <a:pt x="466" y="65"/>
                  </a:lnTo>
                  <a:lnTo>
                    <a:pt x="472" y="65"/>
                  </a:lnTo>
                  <a:lnTo>
                    <a:pt x="473" y="65"/>
                  </a:lnTo>
                  <a:lnTo>
                    <a:pt x="478" y="65"/>
                  </a:lnTo>
                  <a:lnTo>
                    <a:pt x="475" y="65"/>
                  </a:lnTo>
                  <a:lnTo>
                    <a:pt x="478" y="65"/>
                  </a:lnTo>
                  <a:lnTo>
                    <a:pt x="478" y="65"/>
                  </a:lnTo>
                  <a:lnTo>
                    <a:pt x="480" y="63"/>
                  </a:lnTo>
                  <a:lnTo>
                    <a:pt x="480" y="65"/>
                  </a:lnTo>
                  <a:lnTo>
                    <a:pt x="482" y="65"/>
                  </a:lnTo>
                  <a:lnTo>
                    <a:pt x="482" y="65"/>
                  </a:lnTo>
                  <a:lnTo>
                    <a:pt x="484" y="65"/>
                  </a:lnTo>
                  <a:lnTo>
                    <a:pt x="486" y="62"/>
                  </a:lnTo>
                  <a:lnTo>
                    <a:pt x="489" y="62"/>
                  </a:lnTo>
                  <a:lnTo>
                    <a:pt x="486" y="65"/>
                  </a:lnTo>
                  <a:lnTo>
                    <a:pt x="490" y="65"/>
                  </a:lnTo>
                  <a:lnTo>
                    <a:pt x="491" y="63"/>
                  </a:lnTo>
                  <a:lnTo>
                    <a:pt x="496" y="61"/>
                  </a:lnTo>
                  <a:lnTo>
                    <a:pt x="499" y="61"/>
                  </a:lnTo>
                  <a:lnTo>
                    <a:pt x="502" y="61"/>
                  </a:lnTo>
                  <a:lnTo>
                    <a:pt x="503" y="60"/>
                  </a:lnTo>
                  <a:lnTo>
                    <a:pt x="504" y="61"/>
                  </a:lnTo>
                  <a:lnTo>
                    <a:pt x="503" y="62"/>
                  </a:lnTo>
                  <a:lnTo>
                    <a:pt x="503" y="62"/>
                  </a:lnTo>
                  <a:lnTo>
                    <a:pt x="504" y="61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5"/>
                  </a:lnTo>
                  <a:lnTo>
                    <a:pt x="503" y="65"/>
                  </a:lnTo>
                  <a:lnTo>
                    <a:pt x="506" y="65"/>
                  </a:lnTo>
                  <a:lnTo>
                    <a:pt x="506" y="65"/>
                  </a:lnTo>
                  <a:lnTo>
                    <a:pt x="513" y="65"/>
                  </a:lnTo>
                  <a:lnTo>
                    <a:pt x="512" y="65"/>
                  </a:lnTo>
                  <a:lnTo>
                    <a:pt x="511" y="66"/>
                  </a:lnTo>
                  <a:lnTo>
                    <a:pt x="511" y="66"/>
                  </a:lnTo>
                  <a:lnTo>
                    <a:pt x="511" y="67"/>
                  </a:lnTo>
                  <a:lnTo>
                    <a:pt x="509" y="69"/>
                  </a:lnTo>
                  <a:lnTo>
                    <a:pt x="509" y="69"/>
                  </a:lnTo>
                  <a:lnTo>
                    <a:pt x="510" y="69"/>
                  </a:lnTo>
                  <a:lnTo>
                    <a:pt x="510" y="69"/>
                  </a:lnTo>
                  <a:lnTo>
                    <a:pt x="512" y="68"/>
                  </a:lnTo>
                  <a:lnTo>
                    <a:pt x="514" y="66"/>
                  </a:lnTo>
                  <a:lnTo>
                    <a:pt x="515" y="66"/>
                  </a:lnTo>
                  <a:lnTo>
                    <a:pt x="514" y="67"/>
                  </a:lnTo>
                  <a:lnTo>
                    <a:pt x="515" y="67"/>
                  </a:lnTo>
                  <a:lnTo>
                    <a:pt x="513" y="68"/>
                  </a:lnTo>
                  <a:lnTo>
                    <a:pt x="512" y="69"/>
                  </a:lnTo>
                  <a:lnTo>
                    <a:pt x="513" y="70"/>
                  </a:lnTo>
                  <a:lnTo>
                    <a:pt x="515" y="69"/>
                  </a:lnTo>
                  <a:lnTo>
                    <a:pt x="515" y="70"/>
                  </a:lnTo>
                  <a:lnTo>
                    <a:pt x="517" y="70"/>
                  </a:lnTo>
                  <a:lnTo>
                    <a:pt x="517" y="71"/>
                  </a:lnTo>
                  <a:lnTo>
                    <a:pt x="516" y="73"/>
                  </a:lnTo>
                  <a:lnTo>
                    <a:pt x="514" y="75"/>
                  </a:lnTo>
                  <a:lnTo>
                    <a:pt x="513" y="75"/>
                  </a:lnTo>
                  <a:lnTo>
                    <a:pt x="511" y="75"/>
                  </a:lnTo>
                  <a:lnTo>
                    <a:pt x="510" y="75"/>
                  </a:lnTo>
                  <a:lnTo>
                    <a:pt x="510" y="76"/>
                  </a:lnTo>
                  <a:lnTo>
                    <a:pt x="510" y="78"/>
                  </a:lnTo>
                  <a:lnTo>
                    <a:pt x="511" y="79"/>
                  </a:lnTo>
                  <a:lnTo>
                    <a:pt x="512" y="80"/>
                  </a:lnTo>
                  <a:lnTo>
                    <a:pt x="514" y="78"/>
                  </a:lnTo>
                  <a:lnTo>
                    <a:pt x="515" y="77"/>
                  </a:lnTo>
                  <a:lnTo>
                    <a:pt x="517" y="78"/>
                  </a:lnTo>
                  <a:lnTo>
                    <a:pt x="520" y="77"/>
                  </a:lnTo>
                  <a:lnTo>
                    <a:pt x="522" y="77"/>
                  </a:lnTo>
                  <a:lnTo>
                    <a:pt x="521" y="75"/>
                  </a:lnTo>
                  <a:lnTo>
                    <a:pt x="524" y="75"/>
                  </a:lnTo>
                  <a:lnTo>
                    <a:pt x="524" y="73"/>
                  </a:lnTo>
                  <a:lnTo>
                    <a:pt x="522" y="73"/>
                  </a:lnTo>
                  <a:lnTo>
                    <a:pt x="522" y="72"/>
                  </a:lnTo>
                  <a:lnTo>
                    <a:pt x="523" y="70"/>
                  </a:lnTo>
                  <a:lnTo>
                    <a:pt x="522" y="69"/>
                  </a:lnTo>
                  <a:lnTo>
                    <a:pt x="523" y="69"/>
                  </a:lnTo>
                  <a:lnTo>
                    <a:pt x="525" y="67"/>
                  </a:lnTo>
                  <a:lnTo>
                    <a:pt x="524" y="67"/>
                  </a:lnTo>
                  <a:lnTo>
                    <a:pt x="525" y="66"/>
                  </a:lnTo>
                  <a:lnTo>
                    <a:pt x="523" y="65"/>
                  </a:lnTo>
                  <a:lnTo>
                    <a:pt x="523" y="65"/>
                  </a:lnTo>
                  <a:lnTo>
                    <a:pt x="526" y="62"/>
                  </a:lnTo>
                  <a:lnTo>
                    <a:pt x="527" y="62"/>
                  </a:lnTo>
                  <a:lnTo>
                    <a:pt x="529" y="61"/>
                  </a:lnTo>
                  <a:lnTo>
                    <a:pt x="531" y="61"/>
                  </a:lnTo>
                  <a:lnTo>
                    <a:pt x="529" y="61"/>
                  </a:lnTo>
                  <a:lnTo>
                    <a:pt x="532" y="59"/>
                  </a:lnTo>
                  <a:lnTo>
                    <a:pt x="535" y="59"/>
                  </a:lnTo>
                  <a:lnTo>
                    <a:pt x="539" y="59"/>
                  </a:lnTo>
                  <a:lnTo>
                    <a:pt x="540" y="58"/>
                  </a:lnTo>
                  <a:lnTo>
                    <a:pt x="539" y="59"/>
                  </a:lnTo>
                  <a:lnTo>
                    <a:pt x="544" y="58"/>
                  </a:lnTo>
                  <a:lnTo>
                    <a:pt x="544" y="57"/>
                  </a:lnTo>
                  <a:lnTo>
                    <a:pt x="546" y="57"/>
                  </a:lnTo>
                  <a:lnTo>
                    <a:pt x="549" y="57"/>
                  </a:lnTo>
                  <a:lnTo>
                    <a:pt x="551" y="56"/>
                  </a:lnTo>
                  <a:lnTo>
                    <a:pt x="552" y="55"/>
                  </a:lnTo>
                  <a:lnTo>
                    <a:pt x="551" y="56"/>
                  </a:lnTo>
                  <a:lnTo>
                    <a:pt x="554" y="55"/>
                  </a:lnTo>
                  <a:lnTo>
                    <a:pt x="555" y="53"/>
                  </a:lnTo>
                  <a:lnTo>
                    <a:pt x="556" y="52"/>
                  </a:lnTo>
                  <a:lnTo>
                    <a:pt x="560" y="52"/>
                  </a:lnTo>
                  <a:lnTo>
                    <a:pt x="559" y="52"/>
                  </a:lnTo>
                  <a:lnTo>
                    <a:pt x="561" y="51"/>
                  </a:lnTo>
                  <a:lnTo>
                    <a:pt x="562" y="50"/>
                  </a:lnTo>
                  <a:lnTo>
                    <a:pt x="560" y="50"/>
                  </a:lnTo>
                  <a:lnTo>
                    <a:pt x="560" y="50"/>
                  </a:lnTo>
                  <a:lnTo>
                    <a:pt x="552" y="51"/>
                  </a:lnTo>
                  <a:lnTo>
                    <a:pt x="553" y="52"/>
                  </a:lnTo>
                  <a:lnTo>
                    <a:pt x="549" y="52"/>
                  </a:lnTo>
                  <a:lnTo>
                    <a:pt x="549" y="55"/>
                  </a:lnTo>
                  <a:lnTo>
                    <a:pt x="550" y="53"/>
                  </a:lnTo>
                  <a:lnTo>
                    <a:pt x="549" y="56"/>
                  </a:lnTo>
                  <a:lnTo>
                    <a:pt x="547" y="56"/>
                  </a:lnTo>
                  <a:lnTo>
                    <a:pt x="546" y="56"/>
                  </a:lnTo>
                  <a:lnTo>
                    <a:pt x="547" y="55"/>
                  </a:lnTo>
                  <a:lnTo>
                    <a:pt x="546" y="55"/>
                  </a:lnTo>
                  <a:lnTo>
                    <a:pt x="546" y="55"/>
                  </a:lnTo>
                  <a:lnTo>
                    <a:pt x="544" y="55"/>
                  </a:lnTo>
                  <a:lnTo>
                    <a:pt x="543" y="55"/>
                  </a:lnTo>
                  <a:lnTo>
                    <a:pt x="541" y="56"/>
                  </a:lnTo>
                  <a:lnTo>
                    <a:pt x="541" y="56"/>
                  </a:lnTo>
                  <a:lnTo>
                    <a:pt x="537" y="55"/>
                  </a:lnTo>
                  <a:lnTo>
                    <a:pt x="537" y="55"/>
                  </a:lnTo>
                  <a:lnTo>
                    <a:pt x="534" y="55"/>
                  </a:lnTo>
                  <a:lnTo>
                    <a:pt x="533" y="56"/>
                  </a:lnTo>
                  <a:lnTo>
                    <a:pt x="532" y="57"/>
                  </a:lnTo>
                  <a:lnTo>
                    <a:pt x="534" y="57"/>
                  </a:lnTo>
                  <a:lnTo>
                    <a:pt x="533" y="57"/>
                  </a:lnTo>
                  <a:lnTo>
                    <a:pt x="534" y="57"/>
                  </a:lnTo>
                  <a:lnTo>
                    <a:pt x="532" y="58"/>
                  </a:lnTo>
                  <a:lnTo>
                    <a:pt x="530" y="58"/>
                  </a:lnTo>
                  <a:lnTo>
                    <a:pt x="529" y="58"/>
                  </a:lnTo>
                  <a:lnTo>
                    <a:pt x="531" y="58"/>
                  </a:lnTo>
                  <a:lnTo>
                    <a:pt x="526" y="58"/>
                  </a:lnTo>
                  <a:lnTo>
                    <a:pt x="526" y="57"/>
                  </a:lnTo>
                  <a:lnTo>
                    <a:pt x="524" y="58"/>
                  </a:lnTo>
                  <a:lnTo>
                    <a:pt x="526" y="57"/>
                  </a:lnTo>
                  <a:lnTo>
                    <a:pt x="524" y="57"/>
                  </a:lnTo>
                  <a:lnTo>
                    <a:pt x="525" y="56"/>
                  </a:lnTo>
                  <a:lnTo>
                    <a:pt x="522" y="57"/>
                  </a:lnTo>
                  <a:lnTo>
                    <a:pt x="522" y="56"/>
                  </a:lnTo>
                  <a:lnTo>
                    <a:pt x="523" y="55"/>
                  </a:lnTo>
                  <a:lnTo>
                    <a:pt x="526" y="53"/>
                  </a:lnTo>
                  <a:lnTo>
                    <a:pt x="527" y="52"/>
                  </a:lnTo>
                  <a:lnTo>
                    <a:pt x="531" y="51"/>
                  </a:lnTo>
                  <a:lnTo>
                    <a:pt x="533" y="50"/>
                  </a:lnTo>
                  <a:lnTo>
                    <a:pt x="540" y="50"/>
                  </a:lnTo>
                  <a:lnTo>
                    <a:pt x="546" y="49"/>
                  </a:lnTo>
                  <a:lnTo>
                    <a:pt x="550" y="48"/>
                  </a:lnTo>
                  <a:lnTo>
                    <a:pt x="552" y="48"/>
                  </a:lnTo>
                  <a:lnTo>
                    <a:pt x="555" y="47"/>
                  </a:lnTo>
                  <a:lnTo>
                    <a:pt x="556" y="46"/>
                  </a:lnTo>
                  <a:lnTo>
                    <a:pt x="560" y="47"/>
                  </a:lnTo>
                  <a:lnTo>
                    <a:pt x="562" y="46"/>
                  </a:lnTo>
                  <a:lnTo>
                    <a:pt x="564" y="46"/>
                  </a:lnTo>
                  <a:lnTo>
                    <a:pt x="564" y="47"/>
                  </a:lnTo>
                  <a:lnTo>
                    <a:pt x="565" y="47"/>
                  </a:lnTo>
                  <a:lnTo>
                    <a:pt x="564" y="48"/>
                  </a:lnTo>
                  <a:lnTo>
                    <a:pt x="566" y="49"/>
                  </a:lnTo>
                  <a:lnTo>
                    <a:pt x="564" y="49"/>
                  </a:lnTo>
                  <a:lnTo>
                    <a:pt x="565" y="50"/>
                  </a:lnTo>
                  <a:lnTo>
                    <a:pt x="565" y="51"/>
                  </a:lnTo>
                  <a:lnTo>
                    <a:pt x="566" y="52"/>
                  </a:lnTo>
                  <a:lnTo>
                    <a:pt x="565" y="52"/>
                  </a:lnTo>
                  <a:lnTo>
                    <a:pt x="564" y="52"/>
                  </a:lnTo>
                  <a:lnTo>
                    <a:pt x="562" y="52"/>
                  </a:lnTo>
                  <a:lnTo>
                    <a:pt x="562" y="53"/>
                  </a:lnTo>
                  <a:lnTo>
                    <a:pt x="563" y="53"/>
                  </a:lnTo>
                  <a:lnTo>
                    <a:pt x="564" y="55"/>
                  </a:lnTo>
                  <a:lnTo>
                    <a:pt x="565" y="55"/>
                  </a:lnTo>
                  <a:lnTo>
                    <a:pt x="565" y="56"/>
                  </a:lnTo>
                  <a:lnTo>
                    <a:pt x="566" y="56"/>
                  </a:lnTo>
                  <a:lnTo>
                    <a:pt x="570" y="57"/>
                  </a:lnTo>
                  <a:lnTo>
                    <a:pt x="569" y="57"/>
                  </a:lnTo>
                  <a:lnTo>
                    <a:pt x="569" y="58"/>
                  </a:lnTo>
                  <a:lnTo>
                    <a:pt x="567" y="59"/>
                  </a:lnTo>
                  <a:lnTo>
                    <a:pt x="569" y="60"/>
                  </a:lnTo>
                  <a:lnTo>
                    <a:pt x="571" y="59"/>
                  </a:lnTo>
                  <a:lnTo>
                    <a:pt x="573" y="60"/>
                  </a:lnTo>
                  <a:lnTo>
                    <a:pt x="575" y="59"/>
                  </a:lnTo>
                  <a:lnTo>
                    <a:pt x="577" y="60"/>
                  </a:lnTo>
                  <a:lnTo>
                    <a:pt x="579" y="59"/>
                  </a:lnTo>
                  <a:lnTo>
                    <a:pt x="580" y="59"/>
                  </a:lnTo>
                  <a:lnTo>
                    <a:pt x="581" y="59"/>
                  </a:lnTo>
                  <a:lnTo>
                    <a:pt x="582" y="58"/>
                  </a:lnTo>
                  <a:lnTo>
                    <a:pt x="585" y="58"/>
                  </a:lnTo>
                  <a:lnTo>
                    <a:pt x="583" y="60"/>
                  </a:lnTo>
                  <a:lnTo>
                    <a:pt x="585" y="61"/>
                  </a:lnTo>
                  <a:lnTo>
                    <a:pt x="586" y="62"/>
                  </a:lnTo>
                  <a:lnTo>
                    <a:pt x="586" y="65"/>
                  </a:lnTo>
                  <a:lnTo>
                    <a:pt x="589" y="65"/>
                  </a:lnTo>
                  <a:lnTo>
                    <a:pt x="591" y="66"/>
                  </a:lnTo>
                  <a:lnTo>
                    <a:pt x="592" y="66"/>
                  </a:lnTo>
                  <a:lnTo>
                    <a:pt x="593" y="65"/>
                  </a:lnTo>
                  <a:lnTo>
                    <a:pt x="594" y="65"/>
                  </a:lnTo>
                  <a:lnTo>
                    <a:pt x="595" y="65"/>
                  </a:lnTo>
                  <a:lnTo>
                    <a:pt x="596" y="65"/>
                  </a:lnTo>
                  <a:lnTo>
                    <a:pt x="597" y="65"/>
                  </a:lnTo>
                  <a:lnTo>
                    <a:pt x="600" y="66"/>
                  </a:lnTo>
                  <a:lnTo>
                    <a:pt x="604" y="65"/>
                  </a:lnTo>
                  <a:lnTo>
                    <a:pt x="608" y="65"/>
                  </a:lnTo>
                  <a:lnTo>
                    <a:pt x="613" y="65"/>
                  </a:lnTo>
                  <a:lnTo>
                    <a:pt x="616" y="62"/>
                  </a:lnTo>
                  <a:lnTo>
                    <a:pt x="623" y="63"/>
                  </a:lnTo>
                  <a:lnTo>
                    <a:pt x="625" y="63"/>
                  </a:lnTo>
                  <a:lnTo>
                    <a:pt x="627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0" y="65"/>
                  </a:lnTo>
                  <a:lnTo>
                    <a:pt x="635" y="65"/>
                  </a:lnTo>
                  <a:lnTo>
                    <a:pt x="638" y="65"/>
                  </a:lnTo>
                  <a:lnTo>
                    <a:pt x="637" y="62"/>
                  </a:lnTo>
                  <a:lnTo>
                    <a:pt x="637" y="62"/>
                  </a:lnTo>
                  <a:lnTo>
                    <a:pt x="636" y="61"/>
                  </a:lnTo>
                  <a:lnTo>
                    <a:pt x="637" y="60"/>
                  </a:lnTo>
                  <a:lnTo>
                    <a:pt x="638" y="59"/>
                  </a:lnTo>
                  <a:lnTo>
                    <a:pt x="640" y="59"/>
                  </a:lnTo>
                  <a:lnTo>
                    <a:pt x="641" y="60"/>
                  </a:lnTo>
                  <a:lnTo>
                    <a:pt x="641" y="61"/>
                  </a:lnTo>
                  <a:lnTo>
                    <a:pt x="642" y="61"/>
                  </a:lnTo>
                  <a:lnTo>
                    <a:pt x="640" y="62"/>
                  </a:lnTo>
                  <a:lnTo>
                    <a:pt x="641" y="65"/>
                  </a:lnTo>
                  <a:lnTo>
                    <a:pt x="643" y="65"/>
                  </a:lnTo>
                  <a:lnTo>
                    <a:pt x="643" y="66"/>
                  </a:lnTo>
                  <a:lnTo>
                    <a:pt x="645" y="66"/>
                  </a:lnTo>
                  <a:lnTo>
                    <a:pt x="646" y="67"/>
                  </a:lnTo>
                  <a:lnTo>
                    <a:pt x="648" y="67"/>
                  </a:lnTo>
                  <a:lnTo>
                    <a:pt x="652" y="66"/>
                  </a:lnTo>
                  <a:lnTo>
                    <a:pt x="654" y="61"/>
                  </a:lnTo>
                  <a:lnTo>
                    <a:pt x="653" y="61"/>
                  </a:lnTo>
                  <a:lnTo>
                    <a:pt x="653" y="62"/>
                  </a:lnTo>
                  <a:lnTo>
                    <a:pt x="651" y="62"/>
                  </a:lnTo>
                  <a:lnTo>
                    <a:pt x="652" y="61"/>
                  </a:lnTo>
                  <a:lnTo>
                    <a:pt x="651" y="61"/>
                  </a:lnTo>
                  <a:lnTo>
                    <a:pt x="646" y="61"/>
                  </a:lnTo>
                  <a:lnTo>
                    <a:pt x="644" y="62"/>
                  </a:lnTo>
                  <a:lnTo>
                    <a:pt x="644" y="62"/>
                  </a:lnTo>
                  <a:lnTo>
                    <a:pt x="644" y="63"/>
                  </a:lnTo>
                  <a:lnTo>
                    <a:pt x="643" y="62"/>
                  </a:lnTo>
                  <a:lnTo>
                    <a:pt x="643" y="61"/>
                  </a:lnTo>
                  <a:lnTo>
                    <a:pt x="642" y="59"/>
                  </a:lnTo>
                  <a:lnTo>
                    <a:pt x="642" y="59"/>
                  </a:lnTo>
                  <a:lnTo>
                    <a:pt x="643" y="59"/>
                  </a:lnTo>
                  <a:lnTo>
                    <a:pt x="644" y="58"/>
                  </a:lnTo>
                  <a:lnTo>
                    <a:pt x="643" y="57"/>
                  </a:lnTo>
                  <a:lnTo>
                    <a:pt x="644" y="56"/>
                  </a:lnTo>
                  <a:lnTo>
                    <a:pt x="643" y="55"/>
                  </a:lnTo>
                  <a:lnTo>
                    <a:pt x="644" y="55"/>
                  </a:lnTo>
                  <a:lnTo>
                    <a:pt x="645" y="56"/>
                  </a:lnTo>
                  <a:lnTo>
                    <a:pt x="646" y="55"/>
                  </a:lnTo>
                  <a:lnTo>
                    <a:pt x="646" y="55"/>
                  </a:lnTo>
                  <a:lnTo>
                    <a:pt x="648" y="55"/>
                  </a:lnTo>
                  <a:lnTo>
                    <a:pt x="648" y="55"/>
                  </a:lnTo>
                  <a:lnTo>
                    <a:pt x="654" y="55"/>
                  </a:lnTo>
                  <a:lnTo>
                    <a:pt x="654" y="55"/>
                  </a:lnTo>
                  <a:lnTo>
                    <a:pt x="652" y="52"/>
                  </a:lnTo>
                  <a:lnTo>
                    <a:pt x="654" y="52"/>
                  </a:lnTo>
                  <a:lnTo>
                    <a:pt x="656" y="52"/>
                  </a:lnTo>
                  <a:lnTo>
                    <a:pt x="656" y="53"/>
                  </a:lnTo>
                  <a:lnTo>
                    <a:pt x="657" y="55"/>
                  </a:lnTo>
                  <a:lnTo>
                    <a:pt x="657" y="52"/>
                  </a:lnTo>
                  <a:lnTo>
                    <a:pt x="661" y="52"/>
                  </a:lnTo>
                  <a:lnTo>
                    <a:pt x="661" y="55"/>
                  </a:lnTo>
                  <a:lnTo>
                    <a:pt x="663" y="56"/>
                  </a:lnTo>
                  <a:lnTo>
                    <a:pt x="662" y="56"/>
                  </a:lnTo>
                  <a:lnTo>
                    <a:pt x="663" y="57"/>
                  </a:lnTo>
                  <a:lnTo>
                    <a:pt x="667" y="56"/>
                  </a:lnTo>
                  <a:lnTo>
                    <a:pt x="666" y="57"/>
                  </a:lnTo>
                  <a:lnTo>
                    <a:pt x="664" y="58"/>
                  </a:lnTo>
                  <a:lnTo>
                    <a:pt x="663" y="59"/>
                  </a:lnTo>
                  <a:lnTo>
                    <a:pt x="661" y="59"/>
                  </a:lnTo>
                  <a:lnTo>
                    <a:pt x="662" y="60"/>
                  </a:lnTo>
                  <a:lnTo>
                    <a:pt x="664" y="59"/>
                  </a:lnTo>
                  <a:lnTo>
                    <a:pt x="664" y="60"/>
                  </a:lnTo>
                  <a:lnTo>
                    <a:pt x="665" y="58"/>
                  </a:lnTo>
                  <a:lnTo>
                    <a:pt x="672" y="57"/>
                  </a:lnTo>
                  <a:lnTo>
                    <a:pt x="672" y="57"/>
                  </a:lnTo>
                  <a:lnTo>
                    <a:pt x="671" y="58"/>
                  </a:lnTo>
                  <a:lnTo>
                    <a:pt x="671" y="59"/>
                  </a:lnTo>
                  <a:lnTo>
                    <a:pt x="668" y="61"/>
                  </a:lnTo>
                  <a:lnTo>
                    <a:pt x="666" y="62"/>
                  </a:lnTo>
                  <a:lnTo>
                    <a:pt x="664" y="65"/>
                  </a:lnTo>
                  <a:lnTo>
                    <a:pt x="664" y="66"/>
                  </a:lnTo>
                  <a:lnTo>
                    <a:pt x="658" y="67"/>
                  </a:lnTo>
                  <a:lnTo>
                    <a:pt x="658" y="69"/>
                  </a:lnTo>
                  <a:lnTo>
                    <a:pt x="662" y="69"/>
                  </a:lnTo>
                  <a:lnTo>
                    <a:pt x="660" y="71"/>
                  </a:lnTo>
                  <a:lnTo>
                    <a:pt x="664" y="70"/>
                  </a:lnTo>
                  <a:lnTo>
                    <a:pt x="665" y="70"/>
                  </a:lnTo>
                  <a:lnTo>
                    <a:pt x="667" y="70"/>
                  </a:lnTo>
                  <a:lnTo>
                    <a:pt x="666" y="70"/>
                  </a:lnTo>
                  <a:lnTo>
                    <a:pt x="665" y="71"/>
                  </a:lnTo>
                  <a:lnTo>
                    <a:pt x="665" y="72"/>
                  </a:lnTo>
                  <a:lnTo>
                    <a:pt x="667" y="72"/>
                  </a:lnTo>
                  <a:lnTo>
                    <a:pt x="670" y="70"/>
                  </a:lnTo>
                  <a:lnTo>
                    <a:pt x="671" y="69"/>
                  </a:lnTo>
                  <a:lnTo>
                    <a:pt x="672" y="67"/>
                  </a:lnTo>
                  <a:lnTo>
                    <a:pt x="672" y="66"/>
                  </a:lnTo>
                  <a:lnTo>
                    <a:pt x="670" y="65"/>
                  </a:lnTo>
                  <a:lnTo>
                    <a:pt x="671" y="65"/>
                  </a:lnTo>
                  <a:lnTo>
                    <a:pt x="675" y="61"/>
                  </a:lnTo>
                  <a:lnTo>
                    <a:pt x="674" y="60"/>
                  </a:lnTo>
                  <a:lnTo>
                    <a:pt x="675" y="59"/>
                  </a:lnTo>
                  <a:lnTo>
                    <a:pt x="676" y="59"/>
                  </a:lnTo>
                  <a:lnTo>
                    <a:pt x="677" y="59"/>
                  </a:lnTo>
                  <a:lnTo>
                    <a:pt x="678" y="59"/>
                  </a:lnTo>
                  <a:lnTo>
                    <a:pt x="678" y="60"/>
                  </a:lnTo>
                  <a:lnTo>
                    <a:pt x="679" y="59"/>
                  </a:lnTo>
                  <a:lnTo>
                    <a:pt x="682" y="59"/>
                  </a:lnTo>
                  <a:lnTo>
                    <a:pt x="684" y="60"/>
                  </a:lnTo>
                  <a:lnTo>
                    <a:pt x="685" y="60"/>
                  </a:lnTo>
                  <a:lnTo>
                    <a:pt x="687" y="58"/>
                  </a:lnTo>
                  <a:lnTo>
                    <a:pt x="688" y="58"/>
                  </a:lnTo>
                  <a:lnTo>
                    <a:pt x="693" y="57"/>
                  </a:lnTo>
                  <a:lnTo>
                    <a:pt x="693" y="56"/>
                  </a:lnTo>
                  <a:lnTo>
                    <a:pt x="696" y="55"/>
                  </a:lnTo>
                  <a:lnTo>
                    <a:pt x="703" y="52"/>
                  </a:lnTo>
                  <a:lnTo>
                    <a:pt x="705" y="51"/>
                  </a:lnTo>
                  <a:lnTo>
                    <a:pt x="703" y="51"/>
                  </a:lnTo>
                  <a:lnTo>
                    <a:pt x="705" y="49"/>
                  </a:lnTo>
                  <a:lnTo>
                    <a:pt x="706" y="47"/>
                  </a:lnTo>
                  <a:lnTo>
                    <a:pt x="707" y="46"/>
                  </a:lnTo>
                  <a:lnTo>
                    <a:pt x="705" y="45"/>
                  </a:lnTo>
                  <a:lnTo>
                    <a:pt x="704" y="46"/>
                  </a:lnTo>
                  <a:lnTo>
                    <a:pt x="703" y="47"/>
                  </a:lnTo>
                  <a:lnTo>
                    <a:pt x="702" y="48"/>
                  </a:lnTo>
                  <a:lnTo>
                    <a:pt x="704" y="47"/>
                  </a:lnTo>
                  <a:lnTo>
                    <a:pt x="705" y="47"/>
                  </a:lnTo>
                  <a:lnTo>
                    <a:pt x="701" y="49"/>
                  </a:lnTo>
                  <a:lnTo>
                    <a:pt x="696" y="50"/>
                  </a:lnTo>
                  <a:lnTo>
                    <a:pt x="694" y="49"/>
                  </a:lnTo>
                  <a:lnTo>
                    <a:pt x="695" y="48"/>
                  </a:lnTo>
                  <a:lnTo>
                    <a:pt x="697" y="46"/>
                  </a:lnTo>
                  <a:lnTo>
                    <a:pt x="698" y="46"/>
                  </a:lnTo>
                  <a:lnTo>
                    <a:pt x="699" y="46"/>
                  </a:lnTo>
                  <a:lnTo>
                    <a:pt x="703" y="43"/>
                  </a:lnTo>
                  <a:lnTo>
                    <a:pt x="704" y="42"/>
                  </a:lnTo>
                  <a:lnTo>
                    <a:pt x="702" y="43"/>
                  </a:lnTo>
                  <a:lnTo>
                    <a:pt x="703" y="43"/>
                  </a:lnTo>
                  <a:lnTo>
                    <a:pt x="704" y="41"/>
                  </a:lnTo>
                  <a:lnTo>
                    <a:pt x="707" y="40"/>
                  </a:lnTo>
                  <a:lnTo>
                    <a:pt x="712" y="39"/>
                  </a:lnTo>
                  <a:lnTo>
                    <a:pt x="713" y="39"/>
                  </a:lnTo>
                  <a:lnTo>
                    <a:pt x="709" y="40"/>
                  </a:lnTo>
                  <a:lnTo>
                    <a:pt x="708" y="41"/>
                  </a:lnTo>
                  <a:lnTo>
                    <a:pt x="708" y="42"/>
                  </a:lnTo>
                  <a:lnTo>
                    <a:pt x="712" y="41"/>
                  </a:lnTo>
                  <a:lnTo>
                    <a:pt x="714" y="39"/>
                  </a:lnTo>
                  <a:lnTo>
                    <a:pt x="715" y="38"/>
                  </a:lnTo>
                  <a:lnTo>
                    <a:pt x="713" y="38"/>
                  </a:lnTo>
                  <a:lnTo>
                    <a:pt x="708" y="39"/>
                  </a:lnTo>
                  <a:lnTo>
                    <a:pt x="706" y="39"/>
                  </a:lnTo>
                  <a:lnTo>
                    <a:pt x="705" y="36"/>
                  </a:lnTo>
                  <a:lnTo>
                    <a:pt x="704" y="36"/>
                  </a:lnTo>
                  <a:lnTo>
                    <a:pt x="704" y="36"/>
                  </a:lnTo>
                  <a:lnTo>
                    <a:pt x="703" y="37"/>
                  </a:lnTo>
                  <a:lnTo>
                    <a:pt x="702" y="36"/>
                  </a:lnTo>
                  <a:lnTo>
                    <a:pt x="702" y="36"/>
                  </a:lnTo>
                  <a:lnTo>
                    <a:pt x="699" y="35"/>
                  </a:lnTo>
                  <a:lnTo>
                    <a:pt x="699" y="35"/>
                  </a:lnTo>
                  <a:lnTo>
                    <a:pt x="699" y="33"/>
                  </a:lnTo>
                  <a:lnTo>
                    <a:pt x="694" y="33"/>
                  </a:lnTo>
                  <a:lnTo>
                    <a:pt x="692" y="32"/>
                  </a:lnTo>
                  <a:lnTo>
                    <a:pt x="692" y="32"/>
                  </a:lnTo>
                  <a:lnTo>
                    <a:pt x="693" y="31"/>
                  </a:lnTo>
                  <a:lnTo>
                    <a:pt x="689" y="30"/>
                  </a:lnTo>
                  <a:lnTo>
                    <a:pt x="689" y="30"/>
                  </a:lnTo>
                  <a:lnTo>
                    <a:pt x="688" y="29"/>
                  </a:lnTo>
                  <a:lnTo>
                    <a:pt x="691" y="26"/>
                  </a:lnTo>
                  <a:lnTo>
                    <a:pt x="692" y="25"/>
                  </a:lnTo>
                  <a:lnTo>
                    <a:pt x="693" y="25"/>
                  </a:lnTo>
                  <a:lnTo>
                    <a:pt x="695" y="23"/>
                  </a:lnTo>
                  <a:lnTo>
                    <a:pt x="695" y="23"/>
                  </a:lnTo>
                  <a:lnTo>
                    <a:pt x="699" y="21"/>
                  </a:lnTo>
                  <a:lnTo>
                    <a:pt x="701" y="21"/>
                  </a:lnTo>
                  <a:lnTo>
                    <a:pt x="701" y="21"/>
                  </a:lnTo>
                  <a:lnTo>
                    <a:pt x="702" y="21"/>
                  </a:lnTo>
                  <a:lnTo>
                    <a:pt x="703" y="20"/>
                  </a:lnTo>
                  <a:lnTo>
                    <a:pt x="702" y="20"/>
                  </a:lnTo>
                  <a:lnTo>
                    <a:pt x="702" y="18"/>
                  </a:lnTo>
                  <a:lnTo>
                    <a:pt x="701" y="18"/>
                  </a:lnTo>
                  <a:lnTo>
                    <a:pt x="702" y="17"/>
                  </a:lnTo>
                  <a:lnTo>
                    <a:pt x="703" y="16"/>
                  </a:lnTo>
                  <a:lnTo>
                    <a:pt x="705" y="15"/>
                  </a:lnTo>
                  <a:lnTo>
                    <a:pt x="705" y="15"/>
                  </a:lnTo>
                  <a:lnTo>
                    <a:pt x="706" y="13"/>
                  </a:lnTo>
                  <a:lnTo>
                    <a:pt x="707" y="12"/>
                  </a:lnTo>
                  <a:lnTo>
                    <a:pt x="708" y="11"/>
                  </a:lnTo>
                  <a:lnTo>
                    <a:pt x="709" y="10"/>
                  </a:lnTo>
                  <a:lnTo>
                    <a:pt x="711" y="11"/>
                  </a:lnTo>
                  <a:lnTo>
                    <a:pt x="711" y="10"/>
                  </a:lnTo>
                  <a:lnTo>
                    <a:pt x="712" y="10"/>
                  </a:lnTo>
                  <a:lnTo>
                    <a:pt x="714" y="9"/>
                  </a:lnTo>
                  <a:lnTo>
                    <a:pt x="715" y="11"/>
                  </a:lnTo>
                  <a:lnTo>
                    <a:pt x="716" y="11"/>
                  </a:lnTo>
                  <a:lnTo>
                    <a:pt x="718" y="10"/>
                  </a:lnTo>
                  <a:lnTo>
                    <a:pt x="719" y="8"/>
                  </a:lnTo>
                  <a:lnTo>
                    <a:pt x="718" y="8"/>
                  </a:lnTo>
                  <a:lnTo>
                    <a:pt x="717" y="7"/>
                  </a:lnTo>
                  <a:lnTo>
                    <a:pt x="718" y="7"/>
                  </a:lnTo>
                  <a:lnTo>
                    <a:pt x="722" y="5"/>
                  </a:lnTo>
                  <a:lnTo>
                    <a:pt x="725" y="3"/>
                  </a:lnTo>
                  <a:lnTo>
                    <a:pt x="727" y="2"/>
                  </a:lnTo>
                  <a:lnTo>
                    <a:pt x="728" y="2"/>
                  </a:lnTo>
                  <a:lnTo>
                    <a:pt x="731" y="1"/>
                  </a:lnTo>
                  <a:lnTo>
                    <a:pt x="733" y="0"/>
                  </a:lnTo>
                  <a:lnTo>
                    <a:pt x="734" y="1"/>
                  </a:lnTo>
                  <a:lnTo>
                    <a:pt x="736" y="0"/>
                  </a:lnTo>
                  <a:lnTo>
                    <a:pt x="737" y="1"/>
                  </a:lnTo>
                  <a:lnTo>
                    <a:pt x="736" y="2"/>
                  </a:lnTo>
                  <a:lnTo>
                    <a:pt x="736" y="2"/>
                  </a:lnTo>
                  <a:lnTo>
                    <a:pt x="735" y="3"/>
                  </a:lnTo>
                  <a:lnTo>
                    <a:pt x="734" y="3"/>
                  </a:lnTo>
                  <a:lnTo>
                    <a:pt x="736" y="3"/>
                  </a:lnTo>
                  <a:lnTo>
                    <a:pt x="735" y="5"/>
                  </a:lnTo>
                  <a:lnTo>
                    <a:pt x="737" y="5"/>
                  </a:lnTo>
                  <a:lnTo>
                    <a:pt x="739" y="3"/>
                  </a:lnTo>
                  <a:lnTo>
                    <a:pt x="741" y="5"/>
                  </a:lnTo>
                  <a:lnTo>
                    <a:pt x="744" y="3"/>
                  </a:lnTo>
                  <a:lnTo>
                    <a:pt x="743" y="5"/>
                  </a:lnTo>
                  <a:lnTo>
                    <a:pt x="742" y="6"/>
                  </a:lnTo>
                  <a:lnTo>
                    <a:pt x="742" y="7"/>
                  </a:lnTo>
                  <a:lnTo>
                    <a:pt x="744" y="7"/>
                  </a:lnTo>
                  <a:lnTo>
                    <a:pt x="746" y="10"/>
                  </a:lnTo>
                  <a:lnTo>
                    <a:pt x="745" y="13"/>
                  </a:lnTo>
                  <a:lnTo>
                    <a:pt x="743" y="15"/>
                  </a:lnTo>
                  <a:lnTo>
                    <a:pt x="742" y="17"/>
                  </a:lnTo>
                  <a:lnTo>
                    <a:pt x="741" y="17"/>
                  </a:lnTo>
                  <a:lnTo>
                    <a:pt x="739" y="18"/>
                  </a:lnTo>
                  <a:lnTo>
                    <a:pt x="742" y="18"/>
                  </a:lnTo>
                  <a:lnTo>
                    <a:pt x="741" y="20"/>
                  </a:lnTo>
                  <a:lnTo>
                    <a:pt x="744" y="20"/>
                  </a:lnTo>
                  <a:lnTo>
                    <a:pt x="745" y="21"/>
                  </a:lnTo>
                  <a:lnTo>
                    <a:pt x="744" y="22"/>
                  </a:lnTo>
                  <a:lnTo>
                    <a:pt x="744" y="22"/>
                  </a:lnTo>
                  <a:lnTo>
                    <a:pt x="745" y="23"/>
                  </a:lnTo>
                  <a:lnTo>
                    <a:pt x="744" y="25"/>
                  </a:lnTo>
                  <a:lnTo>
                    <a:pt x="744" y="26"/>
                  </a:lnTo>
                  <a:lnTo>
                    <a:pt x="745" y="26"/>
                  </a:lnTo>
                  <a:lnTo>
                    <a:pt x="746" y="26"/>
                  </a:lnTo>
                  <a:lnTo>
                    <a:pt x="746" y="25"/>
                  </a:lnTo>
                  <a:lnTo>
                    <a:pt x="747" y="26"/>
                  </a:lnTo>
                  <a:lnTo>
                    <a:pt x="746" y="27"/>
                  </a:lnTo>
                  <a:lnTo>
                    <a:pt x="747" y="27"/>
                  </a:lnTo>
                  <a:lnTo>
                    <a:pt x="748" y="28"/>
                  </a:lnTo>
                  <a:lnTo>
                    <a:pt x="744" y="28"/>
                  </a:lnTo>
                  <a:lnTo>
                    <a:pt x="739" y="27"/>
                  </a:lnTo>
                  <a:lnTo>
                    <a:pt x="738" y="28"/>
                  </a:lnTo>
                  <a:lnTo>
                    <a:pt x="738" y="28"/>
                  </a:lnTo>
                  <a:lnTo>
                    <a:pt x="737" y="28"/>
                  </a:lnTo>
                  <a:lnTo>
                    <a:pt x="736" y="29"/>
                  </a:lnTo>
                  <a:lnTo>
                    <a:pt x="736" y="29"/>
                  </a:lnTo>
                  <a:lnTo>
                    <a:pt x="739" y="29"/>
                  </a:lnTo>
                  <a:lnTo>
                    <a:pt x="741" y="30"/>
                  </a:lnTo>
                  <a:lnTo>
                    <a:pt x="739" y="31"/>
                  </a:lnTo>
                  <a:lnTo>
                    <a:pt x="737" y="32"/>
                  </a:lnTo>
                  <a:lnTo>
                    <a:pt x="735" y="32"/>
                  </a:lnTo>
                  <a:lnTo>
                    <a:pt x="734" y="32"/>
                  </a:lnTo>
                  <a:lnTo>
                    <a:pt x="732" y="32"/>
                  </a:lnTo>
                  <a:lnTo>
                    <a:pt x="732" y="33"/>
                  </a:lnTo>
                  <a:lnTo>
                    <a:pt x="729" y="33"/>
                  </a:lnTo>
                  <a:lnTo>
                    <a:pt x="729" y="35"/>
                  </a:lnTo>
                  <a:lnTo>
                    <a:pt x="728" y="35"/>
                  </a:lnTo>
                  <a:lnTo>
                    <a:pt x="733" y="35"/>
                  </a:lnTo>
                  <a:lnTo>
                    <a:pt x="733" y="36"/>
                  </a:lnTo>
                  <a:lnTo>
                    <a:pt x="733" y="37"/>
                  </a:lnTo>
                  <a:lnTo>
                    <a:pt x="735" y="38"/>
                  </a:lnTo>
                  <a:lnTo>
                    <a:pt x="738" y="37"/>
                  </a:lnTo>
                  <a:lnTo>
                    <a:pt x="742" y="36"/>
                  </a:lnTo>
                  <a:lnTo>
                    <a:pt x="744" y="36"/>
                  </a:lnTo>
                  <a:lnTo>
                    <a:pt x="743" y="37"/>
                  </a:lnTo>
                  <a:lnTo>
                    <a:pt x="742" y="37"/>
                  </a:lnTo>
                  <a:lnTo>
                    <a:pt x="743" y="37"/>
                  </a:lnTo>
                  <a:lnTo>
                    <a:pt x="744" y="38"/>
                  </a:lnTo>
                  <a:lnTo>
                    <a:pt x="745" y="38"/>
                  </a:lnTo>
                  <a:lnTo>
                    <a:pt x="746" y="38"/>
                  </a:lnTo>
                  <a:lnTo>
                    <a:pt x="747" y="37"/>
                  </a:lnTo>
                  <a:lnTo>
                    <a:pt x="747" y="39"/>
                  </a:lnTo>
                  <a:lnTo>
                    <a:pt x="745" y="40"/>
                  </a:lnTo>
                  <a:lnTo>
                    <a:pt x="744" y="40"/>
                  </a:lnTo>
                  <a:lnTo>
                    <a:pt x="743" y="40"/>
                  </a:lnTo>
                  <a:lnTo>
                    <a:pt x="742" y="40"/>
                  </a:lnTo>
                  <a:lnTo>
                    <a:pt x="739" y="40"/>
                  </a:lnTo>
                  <a:lnTo>
                    <a:pt x="742" y="43"/>
                  </a:lnTo>
                  <a:lnTo>
                    <a:pt x="744" y="43"/>
                  </a:lnTo>
                  <a:lnTo>
                    <a:pt x="744" y="45"/>
                  </a:lnTo>
                  <a:lnTo>
                    <a:pt x="744" y="46"/>
                  </a:lnTo>
                  <a:lnTo>
                    <a:pt x="744" y="47"/>
                  </a:lnTo>
                  <a:lnTo>
                    <a:pt x="744" y="48"/>
                  </a:lnTo>
                  <a:lnTo>
                    <a:pt x="742" y="50"/>
                  </a:lnTo>
                  <a:lnTo>
                    <a:pt x="741" y="51"/>
                  </a:lnTo>
                  <a:lnTo>
                    <a:pt x="739" y="52"/>
                  </a:lnTo>
                  <a:lnTo>
                    <a:pt x="739" y="55"/>
                  </a:lnTo>
                  <a:lnTo>
                    <a:pt x="739" y="55"/>
                  </a:lnTo>
                  <a:lnTo>
                    <a:pt x="739" y="56"/>
                  </a:lnTo>
                  <a:lnTo>
                    <a:pt x="742" y="55"/>
                  </a:lnTo>
                  <a:lnTo>
                    <a:pt x="746" y="52"/>
                  </a:lnTo>
                  <a:lnTo>
                    <a:pt x="747" y="51"/>
                  </a:lnTo>
                  <a:lnTo>
                    <a:pt x="748" y="50"/>
                  </a:lnTo>
                  <a:lnTo>
                    <a:pt x="748" y="50"/>
                  </a:lnTo>
                  <a:lnTo>
                    <a:pt x="750" y="50"/>
                  </a:lnTo>
                  <a:lnTo>
                    <a:pt x="752" y="48"/>
                  </a:lnTo>
                  <a:lnTo>
                    <a:pt x="753" y="46"/>
                  </a:lnTo>
                  <a:lnTo>
                    <a:pt x="754" y="45"/>
                  </a:lnTo>
                  <a:lnTo>
                    <a:pt x="758" y="43"/>
                  </a:lnTo>
                  <a:lnTo>
                    <a:pt x="760" y="41"/>
                  </a:lnTo>
                  <a:lnTo>
                    <a:pt x="764" y="41"/>
                  </a:lnTo>
                  <a:lnTo>
                    <a:pt x="766" y="41"/>
                  </a:lnTo>
                  <a:lnTo>
                    <a:pt x="766" y="43"/>
                  </a:lnTo>
                  <a:lnTo>
                    <a:pt x="767" y="45"/>
                  </a:lnTo>
                  <a:lnTo>
                    <a:pt x="772" y="47"/>
                  </a:lnTo>
                  <a:lnTo>
                    <a:pt x="772" y="49"/>
                  </a:lnTo>
                  <a:lnTo>
                    <a:pt x="769" y="52"/>
                  </a:lnTo>
                  <a:lnTo>
                    <a:pt x="769" y="55"/>
                  </a:lnTo>
                  <a:lnTo>
                    <a:pt x="768" y="56"/>
                  </a:lnTo>
                  <a:lnTo>
                    <a:pt x="766" y="57"/>
                  </a:lnTo>
                  <a:lnTo>
                    <a:pt x="764" y="57"/>
                  </a:lnTo>
                  <a:lnTo>
                    <a:pt x="764" y="56"/>
                  </a:lnTo>
                  <a:lnTo>
                    <a:pt x="765" y="55"/>
                  </a:lnTo>
                  <a:lnTo>
                    <a:pt x="762" y="57"/>
                  </a:lnTo>
                  <a:lnTo>
                    <a:pt x="760" y="59"/>
                  </a:lnTo>
                  <a:lnTo>
                    <a:pt x="758" y="60"/>
                  </a:lnTo>
                  <a:lnTo>
                    <a:pt x="758" y="61"/>
                  </a:lnTo>
                  <a:lnTo>
                    <a:pt x="758" y="63"/>
                  </a:lnTo>
                  <a:lnTo>
                    <a:pt x="758" y="66"/>
                  </a:lnTo>
                  <a:lnTo>
                    <a:pt x="759" y="67"/>
                  </a:lnTo>
                  <a:lnTo>
                    <a:pt x="760" y="71"/>
                  </a:lnTo>
                  <a:lnTo>
                    <a:pt x="762" y="71"/>
                  </a:lnTo>
                  <a:lnTo>
                    <a:pt x="763" y="72"/>
                  </a:lnTo>
                  <a:lnTo>
                    <a:pt x="765" y="72"/>
                  </a:lnTo>
                  <a:lnTo>
                    <a:pt x="766" y="71"/>
                  </a:lnTo>
                  <a:lnTo>
                    <a:pt x="767" y="70"/>
                  </a:lnTo>
                  <a:lnTo>
                    <a:pt x="769" y="69"/>
                  </a:lnTo>
                  <a:lnTo>
                    <a:pt x="770" y="70"/>
                  </a:lnTo>
                  <a:lnTo>
                    <a:pt x="772" y="69"/>
                  </a:lnTo>
                  <a:lnTo>
                    <a:pt x="772" y="70"/>
                  </a:lnTo>
                  <a:lnTo>
                    <a:pt x="773" y="70"/>
                  </a:lnTo>
                  <a:lnTo>
                    <a:pt x="776" y="68"/>
                  </a:lnTo>
                  <a:lnTo>
                    <a:pt x="777" y="66"/>
                  </a:lnTo>
                  <a:lnTo>
                    <a:pt x="778" y="65"/>
                  </a:lnTo>
                  <a:lnTo>
                    <a:pt x="782" y="62"/>
                  </a:lnTo>
                  <a:lnTo>
                    <a:pt x="785" y="61"/>
                  </a:lnTo>
                  <a:lnTo>
                    <a:pt x="790" y="58"/>
                  </a:lnTo>
                  <a:lnTo>
                    <a:pt x="791" y="56"/>
                  </a:lnTo>
                  <a:lnTo>
                    <a:pt x="793" y="56"/>
                  </a:lnTo>
                  <a:lnTo>
                    <a:pt x="797" y="51"/>
                  </a:lnTo>
                  <a:lnTo>
                    <a:pt x="797" y="50"/>
                  </a:lnTo>
                  <a:lnTo>
                    <a:pt x="798" y="50"/>
                  </a:lnTo>
                  <a:lnTo>
                    <a:pt x="801" y="50"/>
                  </a:lnTo>
                  <a:lnTo>
                    <a:pt x="803" y="49"/>
                  </a:lnTo>
                  <a:lnTo>
                    <a:pt x="804" y="49"/>
                  </a:lnTo>
                  <a:lnTo>
                    <a:pt x="806" y="49"/>
                  </a:lnTo>
                  <a:lnTo>
                    <a:pt x="808" y="49"/>
                  </a:lnTo>
                  <a:lnTo>
                    <a:pt x="810" y="49"/>
                  </a:lnTo>
                  <a:lnTo>
                    <a:pt x="810" y="48"/>
                  </a:lnTo>
                  <a:lnTo>
                    <a:pt x="807" y="48"/>
                  </a:lnTo>
                  <a:lnTo>
                    <a:pt x="807" y="48"/>
                  </a:lnTo>
                  <a:lnTo>
                    <a:pt x="808" y="47"/>
                  </a:lnTo>
                  <a:lnTo>
                    <a:pt x="808" y="47"/>
                  </a:lnTo>
                  <a:lnTo>
                    <a:pt x="810" y="47"/>
                  </a:lnTo>
                  <a:lnTo>
                    <a:pt x="810" y="46"/>
                  </a:lnTo>
                  <a:lnTo>
                    <a:pt x="811" y="46"/>
                  </a:lnTo>
                  <a:lnTo>
                    <a:pt x="814" y="46"/>
                  </a:lnTo>
                  <a:lnTo>
                    <a:pt x="814" y="45"/>
                  </a:lnTo>
                  <a:lnTo>
                    <a:pt x="813" y="45"/>
                  </a:lnTo>
                  <a:lnTo>
                    <a:pt x="811" y="43"/>
                  </a:lnTo>
                  <a:lnTo>
                    <a:pt x="809" y="43"/>
                  </a:lnTo>
                  <a:lnTo>
                    <a:pt x="808" y="42"/>
                  </a:lnTo>
                  <a:lnTo>
                    <a:pt x="808" y="41"/>
                  </a:lnTo>
                  <a:lnTo>
                    <a:pt x="809" y="40"/>
                  </a:lnTo>
                  <a:lnTo>
                    <a:pt x="809" y="39"/>
                  </a:lnTo>
                  <a:lnTo>
                    <a:pt x="810" y="38"/>
                  </a:lnTo>
                  <a:lnTo>
                    <a:pt x="811" y="37"/>
                  </a:lnTo>
                  <a:lnTo>
                    <a:pt x="811" y="36"/>
                  </a:lnTo>
                  <a:lnTo>
                    <a:pt x="813" y="35"/>
                  </a:lnTo>
                  <a:lnTo>
                    <a:pt x="814" y="33"/>
                  </a:lnTo>
                  <a:lnTo>
                    <a:pt x="814" y="32"/>
                  </a:lnTo>
                  <a:lnTo>
                    <a:pt x="818" y="33"/>
                  </a:lnTo>
                  <a:lnTo>
                    <a:pt x="820" y="32"/>
                  </a:lnTo>
                  <a:lnTo>
                    <a:pt x="825" y="32"/>
                  </a:lnTo>
                  <a:lnTo>
                    <a:pt x="828" y="32"/>
                  </a:lnTo>
                  <a:lnTo>
                    <a:pt x="829" y="33"/>
                  </a:lnTo>
                  <a:lnTo>
                    <a:pt x="834" y="36"/>
                  </a:lnTo>
                  <a:lnTo>
                    <a:pt x="839" y="35"/>
                  </a:lnTo>
                  <a:lnTo>
                    <a:pt x="840" y="36"/>
                  </a:lnTo>
                  <a:lnTo>
                    <a:pt x="843" y="35"/>
                  </a:lnTo>
                  <a:lnTo>
                    <a:pt x="845" y="35"/>
                  </a:lnTo>
                  <a:lnTo>
                    <a:pt x="846" y="36"/>
                  </a:lnTo>
                  <a:lnTo>
                    <a:pt x="845" y="37"/>
                  </a:lnTo>
                  <a:lnTo>
                    <a:pt x="844" y="38"/>
                  </a:lnTo>
                  <a:lnTo>
                    <a:pt x="841" y="38"/>
                  </a:lnTo>
                  <a:lnTo>
                    <a:pt x="844" y="38"/>
                  </a:lnTo>
                  <a:lnTo>
                    <a:pt x="845" y="40"/>
                  </a:lnTo>
                  <a:lnTo>
                    <a:pt x="846" y="41"/>
                  </a:lnTo>
                  <a:lnTo>
                    <a:pt x="844" y="41"/>
                  </a:lnTo>
                  <a:lnTo>
                    <a:pt x="845" y="42"/>
                  </a:lnTo>
                  <a:lnTo>
                    <a:pt x="850" y="41"/>
                  </a:lnTo>
                  <a:lnTo>
                    <a:pt x="853" y="42"/>
                  </a:lnTo>
                  <a:lnTo>
                    <a:pt x="854" y="42"/>
                  </a:lnTo>
                  <a:lnTo>
                    <a:pt x="854" y="43"/>
                  </a:lnTo>
                  <a:lnTo>
                    <a:pt x="850" y="45"/>
                  </a:lnTo>
                  <a:lnTo>
                    <a:pt x="846" y="47"/>
                  </a:lnTo>
                  <a:lnTo>
                    <a:pt x="844" y="48"/>
                  </a:lnTo>
                  <a:lnTo>
                    <a:pt x="850" y="48"/>
                  </a:lnTo>
                  <a:lnTo>
                    <a:pt x="850" y="49"/>
                  </a:lnTo>
                  <a:lnTo>
                    <a:pt x="849" y="51"/>
                  </a:lnTo>
                  <a:lnTo>
                    <a:pt x="848" y="51"/>
                  </a:lnTo>
                  <a:lnTo>
                    <a:pt x="845" y="52"/>
                  </a:lnTo>
                  <a:lnTo>
                    <a:pt x="843" y="52"/>
                  </a:lnTo>
                  <a:lnTo>
                    <a:pt x="841" y="53"/>
                  </a:lnTo>
                  <a:lnTo>
                    <a:pt x="839" y="55"/>
                  </a:lnTo>
                  <a:lnTo>
                    <a:pt x="839" y="53"/>
                  </a:lnTo>
                  <a:lnTo>
                    <a:pt x="839" y="52"/>
                  </a:lnTo>
                  <a:lnTo>
                    <a:pt x="837" y="52"/>
                  </a:lnTo>
                  <a:lnTo>
                    <a:pt x="836" y="53"/>
                  </a:lnTo>
                  <a:lnTo>
                    <a:pt x="834" y="52"/>
                  </a:lnTo>
                  <a:lnTo>
                    <a:pt x="833" y="53"/>
                  </a:lnTo>
                  <a:lnTo>
                    <a:pt x="834" y="56"/>
                  </a:lnTo>
                  <a:lnTo>
                    <a:pt x="833" y="56"/>
                  </a:lnTo>
                  <a:lnTo>
                    <a:pt x="833" y="57"/>
                  </a:lnTo>
                  <a:lnTo>
                    <a:pt x="834" y="57"/>
                  </a:lnTo>
                  <a:lnTo>
                    <a:pt x="834" y="58"/>
                  </a:lnTo>
                  <a:lnTo>
                    <a:pt x="833" y="58"/>
                  </a:lnTo>
                  <a:lnTo>
                    <a:pt x="837" y="58"/>
                  </a:lnTo>
                  <a:lnTo>
                    <a:pt x="835" y="59"/>
                  </a:lnTo>
                  <a:lnTo>
                    <a:pt x="833" y="61"/>
                  </a:lnTo>
                  <a:lnTo>
                    <a:pt x="831" y="62"/>
                  </a:lnTo>
                  <a:lnTo>
                    <a:pt x="835" y="67"/>
                  </a:lnTo>
                  <a:lnTo>
                    <a:pt x="836" y="68"/>
                  </a:lnTo>
                  <a:lnTo>
                    <a:pt x="837" y="69"/>
                  </a:lnTo>
                  <a:lnTo>
                    <a:pt x="837" y="70"/>
                  </a:lnTo>
                  <a:lnTo>
                    <a:pt x="835" y="70"/>
                  </a:lnTo>
                  <a:lnTo>
                    <a:pt x="834" y="72"/>
                  </a:lnTo>
                  <a:lnTo>
                    <a:pt x="834" y="73"/>
                  </a:lnTo>
                  <a:lnTo>
                    <a:pt x="833" y="73"/>
                  </a:lnTo>
                  <a:lnTo>
                    <a:pt x="831" y="75"/>
                  </a:lnTo>
                  <a:lnTo>
                    <a:pt x="828" y="76"/>
                  </a:lnTo>
                  <a:lnTo>
                    <a:pt x="826" y="76"/>
                  </a:lnTo>
                  <a:lnTo>
                    <a:pt x="823" y="78"/>
                  </a:lnTo>
                  <a:lnTo>
                    <a:pt x="821" y="79"/>
                  </a:lnTo>
                  <a:lnTo>
                    <a:pt x="819" y="79"/>
                  </a:lnTo>
                  <a:lnTo>
                    <a:pt x="811" y="82"/>
                  </a:lnTo>
                  <a:lnTo>
                    <a:pt x="807" y="83"/>
                  </a:lnTo>
                  <a:lnTo>
                    <a:pt x="806" y="85"/>
                  </a:lnTo>
                  <a:lnTo>
                    <a:pt x="803" y="86"/>
                  </a:lnTo>
                  <a:lnTo>
                    <a:pt x="800" y="86"/>
                  </a:lnTo>
                  <a:lnTo>
                    <a:pt x="800" y="86"/>
                  </a:lnTo>
                  <a:lnTo>
                    <a:pt x="800" y="85"/>
                  </a:lnTo>
                  <a:lnTo>
                    <a:pt x="797" y="82"/>
                  </a:lnTo>
                  <a:lnTo>
                    <a:pt x="796" y="81"/>
                  </a:lnTo>
                  <a:lnTo>
                    <a:pt x="794" y="82"/>
                  </a:lnTo>
                  <a:lnTo>
                    <a:pt x="794" y="83"/>
                  </a:lnTo>
                  <a:lnTo>
                    <a:pt x="795" y="85"/>
                  </a:lnTo>
                  <a:lnTo>
                    <a:pt x="794" y="87"/>
                  </a:lnTo>
                  <a:lnTo>
                    <a:pt x="794" y="89"/>
                  </a:lnTo>
                  <a:lnTo>
                    <a:pt x="794" y="89"/>
                  </a:lnTo>
                  <a:lnTo>
                    <a:pt x="794" y="89"/>
                  </a:lnTo>
                  <a:lnTo>
                    <a:pt x="791" y="88"/>
                  </a:lnTo>
                  <a:lnTo>
                    <a:pt x="789" y="87"/>
                  </a:lnTo>
                  <a:lnTo>
                    <a:pt x="788" y="86"/>
                  </a:lnTo>
                  <a:lnTo>
                    <a:pt x="788" y="86"/>
                  </a:lnTo>
                  <a:lnTo>
                    <a:pt x="787" y="86"/>
                  </a:lnTo>
                  <a:lnTo>
                    <a:pt x="785" y="89"/>
                  </a:lnTo>
                  <a:lnTo>
                    <a:pt x="782" y="88"/>
                  </a:lnTo>
                  <a:lnTo>
                    <a:pt x="780" y="88"/>
                  </a:lnTo>
                  <a:lnTo>
                    <a:pt x="778" y="87"/>
                  </a:lnTo>
                  <a:lnTo>
                    <a:pt x="777" y="88"/>
                  </a:lnTo>
                  <a:lnTo>
                    <a:pt x="779" y="83"/>
                  </a:lnTo>
                  <a:lnTo>
                    <a:pt x="777" y="82"/>
                  </a:lnTo>
                  <a:lnTo>
                    <a:pt x="772" y="85"/>
                  </a:lnTo>
                  <a:lnTo>
                    <a:pt x="772" y="83"/>
                  </a:lnTo>
                  <a:lnTo>
                    <a:pt x="770" y="85"/>
                  </a:lnTo>
                  <a:lnTo>
                    <a:pt x="765" y="83"/>
                  </a:lnTo>
                  <a:lnTo>
                    <a:pt x="762" y="85"/>
                  </a:lnTo>
                  <a:lnTo>
                    <a:pt x="762" y="85"/>
                  </a:lnTo>
                  <a:lnTo>
                    <a:pt x="760" y="85"/>
                  </a:lnTo>
                  <a:lnTo>
                    <a:pt x="760" y="86"/>
                  </a:lnTo>
                  <a:lnTo>
                    <a:pt x="765" y="88"/>
                  </a:lnTo>
                  <a:lnTo>
                    <a:pt x="766" y="88"/>
                  </a:lnTo>
                  <a:lnTo>
                    <a:pt x="767" y="89"/>
                  </a:lnTo>
                  <a:lnTo>
                    <a:pt x="766" y="90"/>
                  </a:lnTo>
                  <a:lnTo>
                    <a:pt x="765" y="91"/>
                  </a:lnTo>
                  <a:lnTo>
                    <a:pt x="764" y="91"/>
                  </a:lnTo>
                  <a:lnTo>
                    <a:pt x="764" y="92"/>
                  </a:lnTo>
                  <a:lnTo>
                    <a:pt x="762" y="92"/>
                  </a:lnTo>
                  <a:lnTo>
                    <a:pt x="759" y="93"/>
                  </a:lnTo>
                  <a:lnTo>
                    <a:pt x="757" y="96"/>
                  </a:lnTo>
                  <a:lnTo>
                    <a:pt x="755" y="97"/>
                  </a:lnTo>
                  <a:lnTo>
                    <a:pt x="753" y="98"/>
                  </a:lnTo>
                  <a:lnTo>
                    <a:pt x="752" y="98"/>
                  </a:lnTo>
                  <a:lnTo>
                    <a:pt x="748" y="99"/>
                  </a:lnTo>
                  <a:lnTo>
                    <a:pt x="746" y="101"/>
                  </a:lnTo>
                  <a:lnTo>
                    <a:pt x="744" y="101"/>
                  </a:lnTo>
                  <a:lnTo>
                    <a:pt x="742" y="102"/>
                  </a:lnTo>
                  <a:lnTo>
                    <a:pt x="733" y="102"/>
                  </a:lnTo>
                  <a:lnTo>
                    <a:pt x="733" y="101"/>
                  </a:lnTo>
                  <a:lnTo>
                    <a:pt x="733" y="100"/>
                  </a:lnTo>
                  <a:lnTo>
                    <a:pt x="728" y="97"/>
                  </a:lnTo>
                  <a:lnTo>
                    <a:pt x="728" y="97"/>
                  </a:lnTo>
                  <a:lnTo>
                    <a:pt x="724" y="96"/>
                  </a:lnTo>
                  <a:lnTo>
                    <a:pt x="722" y="93"/>
                  </a:lnTo>
                  <a:lnTo>
                    <a:pt x="719" y="93"/>
                  </a:lnTo>
                  <a:lnTo>
                    <a:pt x="717" y="94"/>
                  </a:lnTo>
                  <a:lnTo>
                    <a:pt x="714" y="93"/>
                  </a:lnTo>
                  <a:lnTo>
                    <a:pt x="712" y="94"/>
                  </a:lnTo>
                  <a:lnTo>
                    <a:pt x="715" y="96"/>
                  </a:lnTo>
                  <a:lnTo>
                    <a:pt x="717" y="98"/>
                  </a:lnTo>
                  <a:lnTo>
                    <a:pt x="718" y="100"/>
                  </a:lnTo>
                  <a:lnTo>
                    <a:pt x="721" y="102"/>
                  </a:lnTo>
                  <a:lnTo>
                    <a:pt x="726" y="102"/>
                  </a:lnTo>
                  <a:lnTo>
                    <a:pt x="731" y="103"/>
                  </a:lnTo>
                  <a:lnTo>
                    <a:pt x="733" y="103"/>
                  </a:lnTo>
                  <a:lnTo>
                    <a:pt x="738" y="103"/>
                  </a:lnTo>
                  <a:lnTo>
                    <a:pt x="744" y="103"/>
                  </a:lnTo>
                  <a:lnTo>
                    <a:pt x="744" y="104"/>
                  </a:lnTo>
                  <a:lnTo>
                    <a:pt x="745" y="104"/>
                  </a:lnTo>
                  <a:lnTo>
                    <a:pt x="743" y="106"/>
                  </a:lnTo>
                  <a:lnTo>
                    <a:pt x="742" y="107"/>
                  </a:lnTo>
                  <a:lnTo>
                    <a:pt x="741" y="108"/>
                  </a:lnTo>
                  <a:lnTo>
                    <a:pt x="737" y="110"/>
                  </a:lnTo>
                  <a:lnTo>
                    <a:pt x="735" y="112"/>
                  </a:lnTo>
                  <a:lnTo>
                    <a:pt x="733" y="112"/>
                  </a:lnTo>
                  <a:lnTo>
                    <a:pt x="729" y="114"/>
                  </a:lnTo>
                  <a:lnTo>
                    <a:pt x="726" y="116"/>
                  </a:lnTo>
                  <a:lnTo>
                    <a:pt x="725" y="118"/>
                  </a:lnTo>
                  <a:lnTo>
                    <a:pt x="723" y="119"/>
                  </a:lnTo>
                  <a:lnTo>
                    <a:pt x="718" y="121"/>
                  </a:lnTo>
                  <a:lnTo>
                    <a:pt x="718" y="121"/>
                  </a:lnTo>
                  <a:lnTo>
                    <a:pt x="715" y="122"/>
                  </a:lnTo>
                  <a:lnTo>
                    <a:pt x="709" y="123"/>
                  </a:lnTo>
                  <a:lnTo>
                    <a:pt x="706" y="123"/>
                  </a:lnTo>
                  <a:lnTo>
                    <a:pt x="704" y="124"/>
                  </a:lnTo>
                  <a:lnTo>
                    <a:pt x="701" y="122"/>
                  </a:lnTo>
                  <a:lnTo>
                    <a:pt x="701" y="122"/>
                  </a:lnTo>
                  <a:lnTo>
                    <a:pt x="699" y="123"/>
                  </a:lnTo>
                  <a:lnTo>
                    <a:pt x="699" y="122"/>
                  </a:lnTo>
                  <a:lnTo>
                    <a:pt x="698" y="122"/>
                  </a:lnTo>
                  <a:lnTo>
                    <a:pt x="697" y="121"/>
                  </a:lnTo>
                  <a:lnTo>
                    <a:pt x="696" y="121"/>
                  </a:lnTo>
                  <a:lnTo>
                    <a:pt x="696" y="122"/>
                  </a:lnTo>
                  <a:lnTo>
                    <a:pt x="695" y="123"/>
                  </a:lnTo>
                  <a:lnTo>
                    <a:pt x="695" y="124"/>
                  </a:lnTo>
                  <a:lnTo>
                    <a:pt x="695" y="124"/>
                  </a:lnTo>
                  <a:lnTo>
                    <a:pt x="694" y="124"/>
                  </a:lnTo>
                  <a:lnTo>
                    <a:pt x="693" y="124"/>
                  </a:lnTo>
                  <a:lnTo>
                    <a:pt x="691" y="126"/>
                  </a:lnTo>
                  <a:lnTo>
                    <a:pt x="692" y="127"/>
                  </a:lnTo>
                  <a:lnTo>
                    <a:pt x="691" y="128"/>
                  </a:lnTo>
                  <a:lnTo>
                    <a:pt x="688" y="129"/>
                  </a:lnTo>
                  <a:lnTo>
                    <a:pt x="686" y="130"/>
                  </a:lnTo>
                  <a:lnTo>
                    <a:pt x="685" y="130"/>
                  </a:lnTo>
                  <a:lnTo>
                    <a:pt x="684" y="131"/>
                  </a:lnTo>
                  <a:lnTo>
                    <a:pt x="683" y="131"/>
                  </a:lnTo>
                  <a:lnTo>
                    <a:pt x="682" y="131"/>
                  </a:lnTo>
                  <a:lnTo>
                    <a:pt x="679" y="132"/>
                  </a:lnTo>
                  <a:lnTo>
                    <a:pt x="679" y="131"/>
                  </a:lnTo>
                  <a:lnTo>
                    <a:pt x="678" y="131"/>
                  </a:lnTo>
                  <a:lnTo>
                    <a:pt x="677" y="130"/>
                  </a:lnTo>
                  <a:lnTo>
                    <a:pt x="675" y="129"/>
                  </a:lnTo>
                  <a:lnTo>
                    <a:pt x="673" y="128"/>
                  </a:lnTo>
                  <a:lnTo>
                    <a:pt x="672" y="128"/>
                  </a:lnTo>
                  <a:lnTo>
                    <a:pt x="673" y="127"/>
                  </a:lnTo>
                  <a:lnTo>
                    <a:pt x="670" y="128"/>
                  </a:lnTo>
                  <a:lnTo>
                    <a:pt x="667" y="128"/>
                  </a:lnTo>
                  <a:lnTo>
                    <a:pt x="667" y="128"/>
                  </a:lnTo>
                  <a:lnTo>
                    <a:pt x="666" y="128"/>
                  </a:lnTo>
                  <a:lnTo>
                    <a:pt x="664" y="128"/>
                  </a:lnTo>
                  <a:lnTo>
                    <a:pt x="660" y="127"/>
                  </a:lnTo>
                  <a:lnTo>
                    <a:pt x="660" y="126"/>
                  </a:lnTo>
                  <a:lnTo>
                    <a:pt x="652" y="123"/>
                  </a:lnTo>
                  <a:lnTo>
                    <a:pt x="651" y="123"/>
                  </a:lnTo>
                  <a:lnTo>
                    <a:pt x="648" y="124"/>
                  </a:lnTo>
                  <a:lnTo>
                    <a:pt x="647" y="126"/>
                  </a:lnTo>
                  <a:lnTo>
                    <a:pt x="650" y="127"/>
                  </a:lnTo>
                  <a:lnTo>
                    <a:pt x="651" y="126"/>
                  </a:lnTo>
                  <a:lnTo>
                    <a:pt x="652" y="126"/>
                  </a:lnTo>
                  <a:lnTo>
                    <a:pt x="652" y="124"/>
                  </a:lnTo>
                  <a:lnTo>
                    <a:pt x="653" y="126"/>
                  </a:lnTo>
                  <a:lnTo>
                    <a:pt x="656" y="127"/>
                  </a:lnTo>
                  <a:lnTo>
                    <a:pt x="658" y="127"/>
                  </a:lnTo>
                  <a:lnTo>
                    <a:pt x="658" y="128"/>
                  </a:lnTo>
                  <a:lnTo>
                    <a:pt x="658" y="129"/>
                  </a:lnTo>
                  <a:lnTo>
                    <a:pt x="661" y="128"/>
                  </a:lnTo>
                  <a:lnTo>
                    <a:pt x="664" y="128"/>
                  </a:lnTo>
                  <a:lnTo>
                    <a:pt x="664" y="129"/>
                  </a:lnTo>
                  <a:lnTo>
                    <a:pt x="662" y="130"/>
                  </a:lnTo>
                  <a:lnTo>
                    <a:pt x="661" y="131"/>
                  </a:lnTo>
                  <a:lnTo>
                    <a:pt x="662" y="131"/>
                  </a:lnTo>
                  <a:lnTo>
                    <a:pt x="663" y="130"/>
                  </a:lnTo>
                  <a:lnTo>
                    <a:pt x="665" y="129"/>
                  </a:lnTo>
                  <a:lnTo>
                    <a:pt x="667" y="129"/>
                  </a:lnTo>
                  <a:lnTo>
                    <a:pt x="670" y="129"/>
                  </a:lnTo>
                  <a:lnTo>
                    <a:pt x="670" y="130"/>
                  </a:lnTo>
                  <a:lnTo>
                    <a:pt x="671" y="131"/>
                  </a:lnTo>
                  <a:lnTo>
                    <a:pt x="674" y="132"/>
                  </a:lnTo>
                  <a:lnTo>
                    <a:pt x="674" y="132"/>
                  </a:lnTo>
                  <a:lnTo>
                    <a:pt x="676" y="132"/>
                  </a:lnTo>
                  <a:lnTo>
                    <a:pt x="676" y="133"/>
                  </a:lnTo>
                  <a:lnTo>
                    <a:pt x="675" y="133"/>
                  </a:lnTo>
                  <a:lnTo>
                    <a:pt x="676" y="134"/>
                  </a:lnTo>
                  <a:lnTo>
                    <a:pt x="676" y="136"/>
                  </a:lnTo>
                  <a:lnTo>
                    <a:pt x="675" y="139"/>
                  </a:lnTo>
                  <a:lnTo>
                    <a:pt x="674" y="140"/>
                  </a:lnTo>
                  <a:lnTo>
                    <a:pt x="673" y="141"/>
                  </a:lnTo>
                  <a:lnTo>
                    <a:pt x="671" y="142"/>
                  </a:lnTo>
                  <a:lnTo>
                    <a:pt x="666" y="142"/>
                  </a:lnTo>
                  <a:lnTo>
                    <a:pt x="664" y="143"/>
                  </a:lnTo>
                  <a:lnTo>
                    <a:pt x="662" y="143"/>
                  </a:lnTo>
                  <a:lnTo>
                    <a:pt x="660" y="143"/>
                  </a:lnTo>
                  <a:lnTo>
                    <a:pt x="654" y="143"/>
                  </a:lnTo>
                  <a:lnTo>
                    <a:pt x="652" y="143"/>
                  </a:lnTo>
                  <a:lnTo>
                    <a:pt x="650" y="143"/>
                  </a:lnTo>
                  <a:lnTo>
                    <a:pt x="648" y="144"/>
                  </a:lnTo>
                  <a:lnTo>
                    <a:pt x="648" y="147"/>
                  </a:lnTo>
                  <a:lnTo>
                    <a:pt x="653" y="146"/>
                  </a:lnTo>
                  <a:lnTo>
                    <a:pt x="652" y="147"/>
                  </a:lnTo>
                  <a:lnTo>
                    <a:pt x="648" y="148"/>
                  </a:lnTo>
                  <a:lnTo>
                    <a:pt x="647" y="147"/>
                  </a:lnTo>
                  <a:lnTo>
                    <a:pt x="644" y="147"/>
                  </a:lnTo>
                  <a:lnTo>
                    <a:pt x="642" y="150"/>
                  </a:lnTo>
                  <a:lnTo>
                    <a:pt x="641" y="151"/>
                  </a:lnTo>
                  <a:lnTo>
                    <a:pt x="638" y="156"/>
                  </a:lnTo>
                  <a:lnTo>
                    <a:pt x="637" y="153"/>
                  </a:lnTo>
                  <a:lnTo>
                    <a:pt x="635" y="153"/>
                  </a:lnTo>
                  <a:lnTo>
                    <a:pt x="634" y="154"/>
                  </a:lnTo>
                  <a:lnTo>
                    <a:pt x="632" y="156"/>
                  </a:lnTo>
                  <a:lnTo>
                    <a:pt x="632" y="156"/>
                  </a:lnTo>
                  <a:lnTo>
                    <a:pt x="630" y="157"/>
                  </a:lnTo>
                  <a:lnTo>
                    <a:pt x="628" y="158"/>
                  </a:lnTo>
                  <a:lnTo>
                    <a:pt x="625" y="158"/>
                  </a:lnTo>
                  <a:lnTo>
                    <a:pt x="625" y="159"/>
                  </a:lnTo>
                  <a:lnTo>
                    <a:pt x="626" y="160"/>
                  </a:lnTo>
                  <a:lnTo>
                    <a:pt x="622" y="162"/>
                  </a:lnTo>
                  <a:lnTo>
                    <a:pt x="615" y="164"/>
                  </a:lnTo>
                  <a:lnTo>
                    <a:pt x="613" y="166"/>
                  </a:lnTo>
                  <a:lnTo>
                    <a:pt x="607" y="167"/>
                  </a:lnTo>
                  <a:lnTo>
                    <a:pt x="605" y="167"/>
                  </a:lnTo>
                  <a:lnTo>
                    <a:pt x="608" y="169"/>
                  </a:lnTo>
                  <a:lnTo>
                    <a:pt x="608" y="170"/>
                  </a:lnTo>
                  <a:lnTo>
                    <a:pt x="606" y="172"/>
                  </a:lnTo>
                  <a:lnTo>
                    <a:pt x="604" y="174"/>
                  </a:lnTo>
                  <a:lnTo>
                    <a:pt x="603" y="174"/>
                  </a:lnTo>
                  <a:lnTo>
                    <a:pt x="601" y="176"/>
                  </a:lnTo>
                  <a:lnTo>
                    <a:pt x="597" y="179"/>
                  </a:lnTo>
                  <a:lnTo>
                    <a:pt x="596" y="181"/>
                  </a:lnTo>
                  <a:lnTo>
                    <a:pt x="594" y="181"/>
                  </a:lnTo>
                  <a:lnTo>
                    <a:pt x="593" y="181"/>
                  </a:lnTo>
                  <a:lnTo>
                    <a:pt x="592" y="184"/>
                  </a:lnTo>
                  <a:lnTo>
                    <a:pt x="589" y="188"/>
                  </a:lnTo>
                  <a:lnTo>
                    <a:pt x="587" y="189"/>
                  </a:lnTo>
                  <a:lnTo>
                    <a:pt x="583" y="194"/>
                  </a:lnTo>
                  <a:lnTo>
                    <a:pt x="581" y="199"/>
                  </a:lnTo>
                  <a:lnTo>
                    <a:pt x="579" y="201"/>
                  </a:lnTo>
                  <a:lnTo>
                    <a:pt x="577" y="203"/>
                  </a:lnTo>
                  <a:lnTo>
                    <a:pt x="573" y="205"/>
                  </a:lnTo>
                  <a:lnTo>
                    <a:pt x="575" y="205"/>
                  </a:lnTo>
                  <a:lnTo>
                    <a:pt x="575" y="208"/>
                  </a:lnTo>
                  <a:lnTo>
                    <a:pt x="575" y="210"/>
                  </a:lnTo>
                  <a:lnTo>
                    <a:pt x="576" y="210"/>
                  </a:lnTo>
                  <a:lnTo>
                    <a:pt x="577" y="210"/>
                  </a:lnTo>
                  <a:lnTo>
                    <a:pt x="579" y="210"/>
                  </a:lnTo>
                  <a:lnTo>
                    <a:pt x="579" y="211"/>
                  </a:lnTo>
                  <a:lnTo>
                    <a:pt x="576" y="214"/>
                  </a:lnTo>
                  <a:lnTo>
                    <a:pt x="577" y="213"/>
                  </a:lnTo>
                  <a:lnTo>
                    <a:pt x="580" y="210"/>
                  </a:lnTo>
                  <a:lnTo>
                    <a:pt x="581" y="210"/>
                  </a:lnTo>
                  <a:lnTo>
                    <a:pt x="587" y="210"/>
                  </a:lnTo>
                  <a:lnTo>
                    <a:pt x="589" y="210"/>
                  </a:lnTo>
                  <a:lnTo>
                    <a:pt x="591" y="210"/>
                  </a:lnTo>
                  <a:lnTo>
                    <a:pt x="592" y="210"/>
                  </a:lnTo>
                  <a:lnTo>
                    <a:pt x="593" y="211"/>
                  </a:lnTo>
                  <a:lnTo>
                    <a:pt x="593" y="212"/>
                  </a:lnTo>
                  <a:lnTo>
                    <a:pt x="591" y="215"/>
                  </a:lnTo>
                  <a:lnTo>
                    <a:pt x="591" y="223"/>
                  </a:lnTo>
                  <a:lnTo>
                    <a:pt x="589" y="227"/>
                  </a:lnTo>
                  <a:lnTo>
                    <a:pt x="587" y="229"/>
                  </a:lnTo>
                  <a:lnTo>
                    <a:pt x="589" y="232"/>
                  </a:lnTo>
                  <a:lnTo>
                    <a:pt x="586" y="237"/>
                  </a:lnTo>
                  <a:lnTo>
                    <a:pt x="585" y="238"/>
                  </a:lnTo>
                  <a:lnTo>
                    <a:pt x="583" y="239"/>
                  </a:lnTo>
                  <a:lnTo>
                    <a:pt x="581" y="240"/>
                  </a:lnTo>
                  <a:lnTo>
                    <a:pt x="579" y="241"/>
                  </a:lnTo>
                  <a:lnTo>
                    <a:pt x="579" y="242"/>
                  </a:lnTo>
                  <a:lnTo>
                    <a:pt x="585" y="240"/>
                  </a:lnTo>
                  <a:lnTo>
                    <a:pt x="584" y="241"/>
                  </a:lnTo>
                  <a:lnTo>
                    <a:pt x="585" y="241"/>
                  </a:lnTo>
                  <a:lnTo>
                    <a:pt x="590" y="239"/>
                  </a:lnTo>
                  <a:lnTo>
                    <a:pt x="604" y="235"/>
                  </a:lnTo>
                  <a:lnTo>
                    <a:pt x="608" y="237"/>
                  </a:lnTo>
                  <a:lnTo>
                    <a:pt x="610" y="238"/>
                  </a:lnTo>
                  <a:lnTo>
                    <a:pt x="612" y="239"/>
                  </a:lnTo>
                  <a:lnTo>
                    <a:pt x="612" y="240"/>
                  </a:lnTo>
                  <a:lnTo>
                    <a:pt x="615" y="241"/>
                  </a:lnTo>
                  <a:lnTo>
                    <a:pt x="620" y="243"/>
                  </a:lnTo>
                  <a:lnTo>
                    <a:pt x="625" y="243"/>
                  </a:lnTo>
                  <a:lnTo>
                    <a:pt x="625" y="244"/>
                  </a:lnTo>
                  <a:lnTo>
                    <a:pt x="632" y="249"/>
                  </a:lnTo>
                  <a:lnTo>
                    <a:pt x="635" y="249"/>
                  </a:lnTo>
                  <a:lnTo>
                    <a:pt x="637" y="254"/>
                  </a:lnTo>
                  <a:lnTo>
                    <a:pt x="637" y="255"/>
                  </a:lnTo>
                  <a:lnTo>
                    <a:pt x="636" y="257"/>
                  </a:lnTo>
                  <a:lnTo>
                    <a:pt x="637" y="258"/>
                  </a:lnTo>
                  <a:lnTo>
                    <a:pt x="638" y="258"/>
                  </a:lnTo>
                  <a:lnTo>
                    <a:pt x="640" y="258"/>
                  </a:lnTo>
                  <a:lnTo>
                    <a:pt x="641" y="259"/>
                  </a:lnTo>
                  <a:lnTo>
                    <a:pt x="642" y="259"/>
                  </a:lnTo>
                  <a:lnTo>
                    <a:pt x="644" y="259"/>
                  </a:lnTo>
                  <a:lnTo>
                    <a:pt x="646" y="259"/>
                  </a:lnTo>
                  <a:lnTo>
                    <a:pt x="647" y="261"/>
                  </a:lnTo>
                  <a:lnTo>
                    <a:pt x="656" y="263"/>
                  </a:lnTo>
                  <a:lnTo>
                    <a:pt x="658" y="264"/>
                  </a:lnTo>
                  <a:lnTo>
                    <a:pt x="658" y="265"/>
                  </a:lnTo>
                  <a:lnTo>
                    <a:pt x="662" y="268"/>
                  </a:lnTo>
                  <a:lnTo>
                    <a:pt x="661" y="269"/>
                  </a:lnTo>
                  <a:lnTo>
                    <a:pt x="658" y="271"/>
                  </a:lnTo>
                  <a:lnTo>
                    <a:pt x="656" y="273"/>
                  </a:lnTo>
                  <a:lnTo>
                    <a:pt x="652" y="277"/>
                  </a:lnTo>
                  <a:lnTo>
                    <a:pt x="657" y="273"/>
                  </a:lnTo>
                  <a:lnTo>
                    <a:pt x="660" y="271"/>
                  </a:lnTo>
                  <a:lnTo>
                    <a:pt x="662" y="270"/>
                  </a:lnTo>
                  <a:lnTo>
                    <a:pt x="675" y="270"/>
                  </a:lnTo>
                  <a:lnTo>
                    <a:pt x="682" y="271"/>
                  </a:lnTo>
                  <a:lnTo>
                    <a:pt x="686" y="270"/>
                  </a:lnTo>
                  <a:lnTo>
                    <a:pt x="688" y="270"/>
                  </a:lnTo>
                  <a:lnTo>
                    <a:pt x="689" y="270"/>
                  </a:lnTo>
                  <a:lnTo>
                    <a:pt x="692" y="270"/>
                  </a:lnTo>
                  <a:lnTo>
                    <a:pt x="692" y="271"/>
                  </a:lnTo>
                  <a:lnTo>
                    <a:pt x="694" y="271"/>
                  </a:lnTo>
                  <a:lnTo>
                    <a:pt x="696" y="272"/>
                  </a:lnTo>
                  <a:lnTo>
                    <a:pt x="697" y="272"/>
                  </a:lnTo>
                  <a:lnTo>
                    <a:pt x="699" y="272"/>
                  </a:lnTo>
                  <a:lnTo>
                    <a:pt x="698" y="277"/>
                  </a:lnTo>
                  <a:lnTo>
                    <a:pt x="694" y="282"/>
                  </a:lnTo>
                  <a:lnTo>
                    <a:pt x="692" y="285"/>
                  </a:lnTo>
                  <a:lnTo>
                    <a:pt x="689" y="289"/>
                  </a:lnTo>
                  <a:lnTo>
                    <a:pt x="689" y="291"/>
                  </a:lnTo>
                  <a:lnTo>
                    <a:pt x="689" y="293"/>
                  </a:lnTo>
                  <a:lnTo>
                    <a:pt x="687" y="298"/>
                  </a:lnTo>
                  <a:lnTo>
                    <a:pt x="685" y="304"/>
                  </a:lnTo>
                  <a:lnTo>
                    <a:pt x="683" y="305"/>
                  </a:lnTo>
                  <a:lnTo>
                    <a:pt x="681" y="309"/>
                  </a:lnTo>
                  <a:lnTo>
                    <a:pt x="681" y="311"/>
                  </a:lnTo>
                  <a:lnTo>
                    <a:pt x="682" y="311"/>
                  </a:lnTo>
                  <a:lnTo>
                    <a:pt x="682" y="312"/>
                  </a:lnTo>
                  <a:lnTo>
                    <a:pt x="683" y="314"/>
                  </a:lnTo>
                  <a:lnTo>
                    <a:pt x="684" y="315"/>
                  </a:lnTo>
                  <a:lnTo>
                    <a:pt x="685" y="316"/>
                  </a:lnTo>
                  <a:lnTo>
                    <a:pt x="686" y="319"/>
                  </a:lnTo>
                  <a:lnTo>
                    <a:pt x="686" y="321"/>
                  </a:lnTo>
                  <a:lnTo>
                    <a:pt x="686" y="321"/>
                  </a:lnTo>
                  <a:lnTo>
                    <a:pt x="683" y="322"/>
                  </a:lnTo>
                  <a:lnTo>
                    <a:pt x="677" y="324"/>
                  </a:lnTo>
                  <a:lnTo>
                    <a:pt x="675" y="325"/>
                  </a:lnTo>
                  <a:lnTo>
                    <a:pt x="675" y="325"/>
                  </a:lnTo>
                  <a:lnTo>
                    <a:pt x="684" y="323"/>
                  </a:lnTo>
                  <a:lnTo>
                    <a:pt x="686" y="323"/>
                  </a:lnTo>
                  <a:lnTo>
                    <a:pt x="687" y="324"/>
                  </a:lnTo>
                  <a:lnTo>
                    <a:pt x="692" y="330"/>
                  </a:lnTo>
                  <a:lnTo>
                    <a:pt x="693" y="332"/>
                  </a:lnTo>
                  <a:lnTo>
                    <a:pt x="692" y="335"/>
                  </a:lnTo>
                  <a:lnTo>
                    <a:pt x="691" y="338"/>
                  </a:lnTo>
                  <a:lnTo>
                    <a:pt x="682" y="343"/>
                  </a:lnTo>
                  <a:lnTo>
                    <a:pt x="689" y="339"/>
                  </a:lnTo>
                  <a:lnTo>
                    <a:pt x="692" y="338"/>
                  </a:lnTo>
                  <a:lnTo>
                    <a:pt x="693" y="338"/>
                  </a:lnTo>
                  <a:lnTo>
                    <a:pt x="695" y="340"/>
                  </a:lnTo>
                  <a:lnTo>
                    <a:pt x="697" y="340"/>
                  </a:lnTo>
                  <a:lnTo>
                    <a:pt x="699" y="342"/>
                  </a:lnTo>
                  <a:lnTo>
                    <a:pt x="701" y="342"/>
                  </a:lnTo>
                  <a:lnTo>
                    <a:pt x="702" y="336"/>
                  </a:lnTo>
                  <a:lnTo>
                    <a:pt x="704" y="335"/>
                  </a:lnTo>
                  <a:lnTo>
                    <a:pt x="705" y="335"/>
                  </a:lnTo>
                  <a:lnTo>
                    <a:pt x="706" y="334"/>
                  </a:lnTo>
                  <a:lnTo>
                    <a:pt x="707" y="333"/>
                  </a:lnTo>
                  <a:lnTo>
                    <a:pt x="709" y="332"/>
                  </a:lnTo>
                  <a:lnTo>
                    <a:pt x="711" y="332"/>
                  </a:lnTo>
                  <a:lnTo>
                    <a:pt x="711" y="333"/>
                  </a:lnTo>
                  <a:lnTo>
                    <a:pt x="713" y="335"/>
                  </a:lnTo>
                  <a:lnTo>
                    <a:pt x="712" y="339"/>
                  </a:lnTo>
                  <a:lnTo>
                    <a:pt x="714" y="339"/>
                  </a:lnTo>
                  <a:lnTo>
                    <a:pt x="716" y="338"/>
                  </a:lnTo>
                  <a:lnTo>
                    <a:pt x="716" y="336"/>
                  </a:lnTo>
                  <a:lnTo>
                    <a:pt x="717" y="335"/>
                  </a:lnTo>
                  <a:lnTo>
                    <a:pt x="718" y="334"/>
                  </a:lnTo>
                  <a:lnTo>
                    <a:pt x="717" y="333"/>
                  </a:lnTo>
                  <a:lnTo>
                    <a:pt x="715" y="331"/>
                  </a:lnTo>
                  <a:lnTo>
                    <a:pt x="716" y="329"/>
                  </a:lnTo>
                  <a:lnTo>
                    <a:pt x="719" y="329"/>
                  </a:lnTo>
                  <a:lnTo>
                    <a:pt x="719" y="328"/>
                  </a:lnTo>
                  <a:lnTo>
                    <a:pt x="722" y="326"/>
                  </a:lnTo>
                  <a:lnTo>
                    <a:pt x="724" y="324"/>
                  </a:lnTo>
                  <a:lnTo>
                    <a:pt x="726" y="323"/>
                  </a:lnTo>
                  <a:lnTo>
                    <a:pt x="727" y="322"/>
                  </a:lnTo>
                  <a:lnTo>
                    <a:pt x="733" y="323"/>
                  </a:lnTo>
                  <a:lnTo>
                    <a:pt x="734" y="322"/>
                  </a:lnTo>
                  <a:lnTo>
                    <a:pt x="735" y="321"/>
                  </a:lnTo>
                  <a:lnTo>
                    <a:pt x="731" y="322"/>
                  </a:lnTo>
                  <a:lnTo>
                    <a:pt x="728" y="322"/>
                  </a:lnTo>
                  <a:lnTo>
                    <a:pt x="727" y="321"/>
                  </a:lnTo>
                  <a:lnTo>
                    <a:pt x="727" y="319"/>
                  </a:lnTo>
                  <a:lnTo>
                    <a:pt x="727" y="318"/>
                  </a:lnTo>
                  <a:lnTo>
                    <a:pt x="726" y="318"/>
                  </a:lnTo>
                  <a:lnTo>
                    <a:pt x="726" y="313"/>
                  </a:lnTo>
                  <a:lnTo>
                    <a:pt x="727" y="313"/>
                  </a:lnTo>
                  <a:lnTo>
                    <a:pt x="728" y="312"/>
                  </a:lnTo>
                  <a:lnTo>
                    <a:pt x="727" y="311"/>
                  </a:lnTo>
                  <a:lnTo>
                    <a:pt x="731" y="303"/>
                  </a:lnTo>
                  <a:lnTo>
                    <a:pt x="731" y="301"/>
                  </a:lnTo>
                  <a:lnTo>
                    <a:pt x="733" y="296"/>
                  </a:lnTo>
                  <a:lnTo>
                    <a:pt x="734" y="294"/>
                  </a:lnTo>
                  <a:lnTo>
                    <a:pt x="734" y="292"/>
                  </a:lnTo>
                  <a:lnTo>
                    <a:pt x="735" y="290"/>
                  </a:lnTo>
                  <a:lnTo>
                    <a:pt x="734" y="289"/>
                  </a:lnTo>
                  <a:lnTo>
                    <a:pt x="733" y="283"/>
                  </a:lnTo>
                  <a:lnTo>
                    <a:pt x="733" y="282"/>
                  </a:lnTo>
                  <a:lnTo>
                    <a:pt x="731" y="282"/>
                  </a:lnTo>
                  <a:lnTo>
                    <a:pt x="729" y="282"/>
                  </a:lnTo>
                  <a:lnTo>
                    <a:pt x="735" y="280"/>
                  </a:lnTo>
                  <a:lnTo>
                    <a:pt x="743" y="277"/>
                  </a:lnTo>
                  <a:lnTo>
                    <a:pt x="747" y="275"/>
                  </a:lnTo>
                  <a:lnTo>
                    <a:pt x="756" y="272"/>
                  </a:lnTo>
                  <a:lnTo>
                    <a:pt x="759" y="271"/>
                  </a:lnTo>
                  <a:lnTo>
                    <a:pt x="765" y="268"/>
                  </a:lnTo>
                  <a:lnTo>
                    <a:pt x="769" y="265"/>
                  </a:lnTo>
                  <a:lnTo>
                    <a:pt x="765" y="267"/>
                  </a:lnTo>
                  <a:lnTo>
                    <a:pt x="770" y="263"/>
                  </a:lnTo>
                  <a:lnTo>
                    <a:pt x="779" y="257"/>
                  </a:lnTo>
                  <a:lnTo>
                    <a:pt x="782" y="254"/>
                  </a:lnTo>
                  <a:lnTo>
                    <a:pt x="784" y="253"/>
                  </a:lnTo>
                  <a:lnTo>
                    <a:pt x="786" y="254"/>
                  </a:lnTo>
                  <a:lnTo>
                    <a:pt x="787" y="255"/>
                  </a:lnTo>
                  <a:lnTo>
                    <a:pt x="790" y="254"/>
                  </a:lnTo>
                  <a:lnTo>
                    <a:pt x="791" y="253"/>
                  </a:lnTo>
                  <a:lnTo>
                    <a:pt x="790" y="252"/>
                  </a:lnTo>
                  <a:lnTo>
                    <a:pt x="790" y="249"/>
                  </a:lnTo>
                  <a:lnTo>
                    <a:pt x="790" y="248"/>
                  </a:lnTo>
                  <a:lnTo>
                    <a:pt x="787" y="251"/>
                  </a:lnTo>
                  <a:lnTo>
                    <a:pt x="785" y="252"/>
                  </a:lnTo>
                  <a:lnTo>
                    <a:pt x="785" y="252"/>
                  </a:lnTo>
                  <a:lnTo>
                    <a:pt x="786" y="248"/>
                  </a:lnTo>
                  <a:lnTo>
                    <a:pt x="788" y="244"/>
                  </a:lnTo>
                  <a:lnTo>
                    <a:pt x="789" y="240"/>
                  </a:lnTo>
                  <a:lnTo>
                    <a:pt x="788" y="240"/>
                  </a:lnTo>
                  <a:lnTo>
                    <a:pt x="788" y="238"/>
                  </a:lnTo>
                  <a:lnTo>
                    <a:pt x="790" y="235"/>
                  </a:lnTo>
                  <a:lnTo>
                    <a:pt x="790" y="229"/>
                  </a:lnTo>
                  <a:lnTo>
                    <a:pt x="791" y="224"/>
                  </a:lnTo>
                  <a:lnTo>
                    <a:pt x="793" y="222"/>
                  </a:lnTo>
                  <a:lnTo>
                    <a:pt x="791" y="220"/>
                  </a:lnTo>
                  <a:lnTo>
                    <a:pt x="793" y="219"/>
                  </a:lnTo>
                  <a:lnTo>
                    <a:pt x="793" y="219"/>
                  </a:lnTo>
                  <a:lnTo>
                    <a:pt x="790" y="219"/>
                  </a:lnTo>
                  <a:lnTo>
                    <a:pt x="786" y="217"/>
                  </a:lnTo>
                  <a:lnTo>
                    <a:pt x="786" y="215"/>
                  </a:lnTo>
                  <a:lnTo>
                    <a:pt x="783" y="213"/>
                  </a:lnTo>
                  <a:lnTo>
                    <a:pt x="780" y="211"/>
                  </a:lnTo>
                  <a:lnTo>
                    <a:pt x="780" y="210"/>
                  </a:lnTo>
                  <a:lnTo>
                    <a:pt x="782" y="209"/>
                  </a:lnTo>
                  <a:lnTo>
                    <a:pt x="782" y="208"/>
                  </a:lnTo>
                  <a:lnTo>
                    <a:pt x="783" y="207"/>
                  </a:lnTo>
                  <a:lnTo>
                    <a:pt x="784" y="204"/>
                  </a:lnTo>
                  <a:lnTo>
                    <a:pt x="785" y="204"/>
                  </a:lnTo>
                  <a:lnTo>
                    <a:pt x="789" y="203"/>
                  </a:lnTo>
                  <a:lnTo>
                    <a:pt x="794" y="203"/>
                  </a:lnTo>
                  <a:lnTo>
                    <a:pt x="795" y="202"/>
                  </a:lnTo>
                  <a:lnTo>
                    <a:pt x="798" y="202"/>
                  </a:lnTo>
                  <a:lnTo>
                    <a:pt x="799" y="200"/>
                  </a:lnTo>
                  <a:lnTo>
                    <a:pt x="799" y="199"/>
                  </a:lnTo>
                  <a:lnTo>
                    <a:pt x="799" y="198"/>
                  </a:lnTo>
                  <a:lnTo>
                    <a:pt x="801" y="195"/>
                  </a:lnTo>
                  <a:lnTo>
                    <a:pt x="805" y="197"/>
                  </a:lnTo>
                  <a:lnTo>
                    <a:pt x="805" y="197"/>
                  </a:lnTo>
                  <a:lnTo>
                    <a:pt x="810" y="197"/>
                  </a:lnTo>
                  <a:lnTo>
                    <a:pt x="807" y="195"/>
                  </a:lnTo>
                  <a:lnTo>
                    <a:pt x="806" y="194"/>
                  </a:lnTo>
                  <a:lnTo>
                    <a:pt x="808" y="193"/>
                  </a:lnTo>
                  <a:lnTo>
                    <a:pt x="808" y="192"/>
                  </a:lnTo>
                  <a:lnTo>
                    <a:pt x="809" y="192"/>
                  </a:lnTo>
                  <a:lnTo>
                    <a:pt x="813" y="190"/>
                  </a:lnTo>
                  <a:lnTo>
                    <a:pt x="810" y="190"/>
                  </a:lnTo>
                  <a:lnTo>
                    <a:pt x="805" y="190"/>
                  </a:lnTo>
                  <a:lnTo>
                    <a:pt x="806" y="189"/>
                  </a:lnTo>
                  <a:lnTo>
                    <a:pt x="807" y="189"/>
                  </a:lnTo>
                  <a:lnTo>
                    <a:pt x="809" y="188"/>
                  </a:lnTo>
                  <a:lnTo>
                    <a:pt x="810" y="187"/>
                  </a:lnTo>
                  <a:lnTo>
                    <a:pt x="809" y="186"/>
                  </a:lnTo>
                  <a:lnTo>
                    <a:pt x="809" y="186"/>
                  </a:lnTo>
                  <a:lnTo>
                    <a:pt x="808" y="183"/>
                  </a:lnTo>
                  <a:lnTo>
                    <a:pt x="811" y="180"/>
                  </a:lnTo>
                  <a:lnTo>
                    <a:pt x="810" y="180"/>
                  </a:lnTo>
                  <a:lnTo>
                    <a:pt x="810" y="179"/>
                  </a:lnTo>
                  <a:lnTo>
                    <a:pt x="816" y="178"/>
                  </a:lnTo>
                  <a:lnTo>
                    <a:pt x="816" y="178"/>
                  </a:lnTo>
                  <a:lnTo>
                    <a:pt x="814" y="178"/>
                  </a:lnTo>
                  <a:lnTo>
                    <a:pt x="813" y="177"/>
                  </a:lnTo>
                  <a:lnTo>
                    <a:pt x="810" y="178"/>
                  </a:lnTo>
                  <a:lnTo>
                    <a:pt x="808" y="177"/>
                  </a:lnTo>
                  <a:lnTo>
                    <a:pt x="808" y="176"/>
                  </a:lnTo>
                  <a:lnTo>
                    <a:pt x="808" y="174"/>
                  </a:lnTo>
                  <a:lnTo>
                    <a:pt x="813" y="172"/>
                  </a:lnTo>
                  <a:lnTo>
                    <a:pt x="815" y="169"/>
                  </a:lnTo>
                  <a:lnTo>
                    <a:pt x="817" y="168"/>
                  </a:lnTo>
                  <a:lnTo>
                    <a:pt x="818" y="167"/>
                  </a:lnTo>
                  <a:lnTo>
                    <a:pt x="819" y="167"/>
                  </a:lnTo>
                  <a:lnTo>
                    <a:pt x="820" y="166"/>
                  </a:lnTo>
                  <a:lnTo>
                    <a:pt x="821" y="163"/>
                  </a:lnTo>
                  <a:lnTo>
                    <a:pt x="824" y="163"/>
                  </a:lnTo>
                  <a:lnTo>
                    <a:pt x="826" y="161"/>
                  </a:lnTo>
                  <a:lnTo>
                    <a:pt x="824" y="162"/>
                  </a:lnTo>
                  <a:lnTo>
                    <a:pt x="821" y="162"/>
                  </a:lnTo>
                  <a:lnTo>
                    <a:pt x="820" y="161"/>
                  </a:lnTo>
                  <a:lnTo>
                    <a:pt x="819" y="161"/>
                  </a:lnTo>
                  <a:lnTo>
                    <a:pt x="818" y="160"/>
                  </a:lnTo>
                  <a:lnTo>
                    <a:pt x="818" y="158"/>
                  </a:lnTo>
                  <a:lnTo>
                    <a:pt x="818" y="157"/>
                  </a:lnTo>
                  <a:lnTo>
                    <a:pt x="819" y="154"/>
                  </a:lnTo>
                  <a:lnTo>
                    <a:pt x="820" y="153"/>
                  </a:lnTo>
                  <a:lnTo>
                    <a:pt x="820" y="152"/>
                  </a:lnTo>
                  <a:lnTo>
                    <a:pt x="824" y="151"/>
                  </a:lnTo>
                  <a:lnTo>
                    <a:pt x="828" y="149"/>
                  </a:lnTo>
                  <a:lnTo>
                    <a:pt x="831" y="148"/>
                  </a:lnTo>
                  <a:lnTo>
                    <a:pt x="833" y="147"/>
                  </a:lnTo>
                  <a:lnTo>
                    <a:pt x="833" y="148"/>
                  </a:lnTo>
                  <a:lnTo>
                    <a:pt x="835" y="148"/>
                  </a:lnTo>
                  <a:lnTo>
                    <a:pt x="840" y="148"/>
                  </a:lnTo>
                  <a:lnTo>
                    <a:pt x="847" y="149"/>
                  </a:lnTo>
                  <a:lnTo>
                    <a:pt x="847" y="150"/>
                  </a:lnTo>
                  <a:lnTo>
                    <a:pt x="847" y="150"/>
                  </a:lnTo>
                  <a:lnTo>
                    <a:pt x="849" y="151"/>
                  </a:lnTo>
                  <a:lnTo>
                    <a:pt x="853" y="151"/>
                  </a:lnTo>
                  <a:lnTo>
                    <a:pt x="854" y="151"/>
                  </a:lnTo>
                  <a:lnTo>
                    <a:pt x="853" y="152"/>
                  </a:lnTo>
                  <a:lnTo>
                    <a:pt x="853" y="153"/>
                  </a:lnTo>
                  <a:lnTo>
                    <a:pt x="856" y="152"/>
                  </a:lnTo>
                  <a:lnTo>
                    <a:pt x="860" y="152"/>
                  </a:lnTo>
                  <a:lnTo>
                    <a:pt x="860" y="152"/>
                  </a:lnTo>
                  <a:lnTo>
                    <a:pt x="859" y="153"/>
                  </a:lnTo>
                  <a:lnTo>
                    <a:pt x="864" y="153"/>
                  </a:lnTo>
                  <a:lnTo>
                    <a:pt x="864" y="153"/>
                  </a:lnTo>
                  <a:lnTo>
                    <a:pt x="865" y="152"/>
                  </a:lnTo>
                  <a:lnTo>
                    <a:pt x="874" y="150"/>
                  </a:lnTo>
                  <a:lnTo>
                    <a:pt x="878" y="149"/>
                  </a:lnTo>
                  <a:lnTo>
                    <a:pt x="884" y="151"/>
                  </a:lnTo>
                  <a:lnTo>
                    <a:pt x="885" y="153"/>
                  </a:lnTo>
                  <a:lnTo>
                    <a:pt x="888" y="153"/>
                  </a:lnTo>
                  <a:lnTo>
                    <a:pt x="889" y="154"/>
                  </a:lnTo>
                  <a:lnTo>
                    <a:pt x="890" y="154"/>
                  </a:lnTo>
                  <a:lnTo>
                    <a:pt x="889" y="156"/>
                  </a:lnTo>
                  <a:lnTo>
                    <a:pt x="885" y="160"/>
                  </a:lnTo>
                  <a:lnTo>
                    <a:pt x="886" y="159"/>
                  </a:lnTo>
                  <a:lnTo>
                    <a:pt x="887" y="160"/>
                  </a:lnTo>
                  <a:lnTo>
                    <a:pt x="888" y="159"/>
                  </a:lnTo>
                  <a:lnTo>
                    <a:pt x="889" y="158"/>
                  </a:lnTo>
                  <a:lnTo>
                    <a:pt x="890" y="157"/>
                  </a:lnTo>
                  <a:lnTo>
                    <a:pt x="892" y="158"/>
                  </a:lnTo>
                  <a:lnTo>
                    <a:pt x="891" y="160"/>
                  </a:lnTo>
                  <a:lnTo>
                    <a:pt x="892" y="161"/>
                  </a:lnTo>
                  <a:lnTo>
                    <a:pt x="892" y="162"/>
                  </a:lnTo>
                  <a:lnTo>
                    <a:pt x="890" y="163"/>
                  </a:lnTo>
                  <a:lnTo>
                    <a:pt x="889" y="164"/>
                  </a:lnTo>
                  <a:lnTo>
                    <a:pt x="892" y="163"/>
                  </a:lnTo>
                  <a:lnTo>
                    <a:pt x="894" y="162"/>
                  </a:lnTo>
                  <a:lnTo>
                    <a:pt x="896" y="162"/>
                  </a:lnTo>
                  <a:lnTo>
                    <a:pt x="897" y="162"/>
                  </a:lnTo>
                  <a:lnTo>
                    <a:pt x="898" y="163"/>
                  </a:lnTo>
                  <a:lnTo>
                    <a:pt x="897" y="164"/>
                  </a:lnTo>
                  <a:lnTo>
                    <a:pt x="895" y="164"/>
                  </a:lnTo>
                  <a:lnTo>
                    <a:pt x="894" y="166"/>
                  </a:lnTo>
                  <a:lnTo>
                    <a:pt x="892" y="167"/>
                  </a:lnTo>
                  <a:lnTo>
                    <a:pt x="892" y="168"/>
                  </a:lnTo>
                  <a:lnTo>
                    <a:pt x="894" y="169"/>
                  </a:lnTo>
                  <a:lnTo>
                    <a:pt x="895" y="169"/>
                  </a:lnTo>
                  <a:lnTo>
                    <a:pt x="894" y="170"/>
                  </a:lnTo>
                  <a:lnTo>
                    <a:pt x="894" y="170"/>
                  </a:lnTo>
                  <a:lnTo>
                    <a:pt x="898" y="170"/>
                  </a:lnTo>
                  <a:lnTo>
                    <a:pt x="900" y="170"/>
                  </a:lnTo>
                  <a:lnTo>
                    <a:pt x="900" y="172"/>
                  </a:lnTo>
                  <a:lnTo>
                    <a:pt x="901" y="173"/>
                  </a:lnTo>
                  <a:lnTo>
                    <a:pt x="904" y="172"/>
                  </a:lnTo>
                  <a:lnTo>
                    <a:pt x="906" y="172"/>
                  </a:lnTo>
                  <a:lnTo>
                    <a:pt x="910" y="172"/>
                  </a:lnTo>
                  <a:lnTo>
                    <a:pt x="910" y="172"/>
                  </a:lnTo>
                  <a:lnTo>
                    <a:pt x="910" y="173"/>
                  </a:lnTo>
                  <a:lnTo>
                    <a:pt x="909" y="174"/>
                  </a:lnTo>
                  <a:lnTo>
                    <a:pt x="910" y="176"/>
                  </a:lnTo>
                  <a:lnTo>
                    <a:pt x="916" y="173"/>
                  </a:lnTo>
                  <a:lnTo>
                    <a:pt x="916" y="172"/>
                  </a:lnTo>
                  <a:lnTo>
                    <a:pt x="918" y="172"/>
                  </a:lnTo>
                  <a:lnTo>
                    <a:pt x="919" y="174"/>
                  </a:lnTo>
                  <a:lnTo>
                    <a:pt x="919" y="176"/>
                  </a:lnTo>
                  <a:lnTo>
                    <a:pt x="918" y="176"/>
                  </a:lnTo>
                  <a:lnTo>
                    <a:pt x="917" y="177"/>
                  </a:lnTo>
                  <a:lnTo>
                    <a:pt x="915" y="178"/>
                  </a:lnTo>
                  <a:lnTo>
                    <a:pt x="914" y="179"/>
                  </a:lnTo>
                  <a:lnTo>
                    <a:pt x="912" y="181"/>
                  </a:lnTo>
                  <a:lnTo>
                    <a:pt x="912" y="182"/>
                  </a:lnTo>
                  <a:lnTo>
                    <a:pt x="911" y="183"/>
                  </a:lnTo>
                  <a:lnTo>
                    <a:pt x="912" y="183"/>
                  </a:lnTo>
                  <a:lnTo>
                    <a:pt x="912" y="186"/>
                  </a:lnTo>
                  <a:lnTo>
                    <a:pt x="912" y="188"/>
                  </a:lnTo>
                  <a:lnTo>
                    <a:pt x="909" y="188"/>
                  </a:lnTo>
                  <a:lnTo>
                    <a:pt x="909" y="189"/>
                  </a:lnTo>
                  <a:lnTo>
                    <a:pt x="908" y="190"/>
                  </a:lnTo>
                  <a:lnTo>
                    <a:pt x="905" y="190"/>
                  </a:lnTo>
                  <a:lnTo>
                    <a:pt x="904" y="189"/>
                  </a:lnTo>
                  <a:lnTo>
                    <a:pt x="899" y="189"/>
                  </a:lnTo>
                  <a:lnTo>
                    <a:pt x="895" y="189"/>
                  </a:lnTo>
                  <a:lnTo>
                    <a:pt x="894" y="188"/>
                  </a:lnTo>
                  <a:lnTo>
                    <a:pt x="890" y="188"/>
                  </a:lnTo>
                  <a:lnTo>
                    <a:pt x="889" y="189"/>
                  </a:lnTo>
                  <a:lnTo>
                    <a:pt x="894" y="189"/>
                  </a:lnTo>
                  <a:lnTo>
                    <a:pt x="897" y="191"/>
                  </a:lnTo>
                  <a:lnTo>
                    <a:pt x="906" y="190"/>
                  </a:lnTo>
                  <a:lnTo>
                    <a:pt x="908" y="191"/>
                  </a:lnTo>
                  <a:lnTo>
                    <a:pt x="910" y="193"/>
                  </a:lnTo>
                  <a:lnTo>
                    <a:pt x="909" y="194"/>
                  </a:lnTo>
                  <a:lnTo>
                    <a:pt x="909" y="194"/>
                  </a:lnTo>
                  <a:lnTo>
                    <a:pt x="909" y="195"/>
                  </a:lnTo>
                  <a:lnTo>
                    <a:pt x="904" y="200"/>
                  </a:lnTo>
                  <a:lnTo>
                    <a:pt x="904" y="201"/>
                  </a:lnTo>
                  <a:lnTo>
                    <a:pt x="908" y="200"/>
                  </a:lnTo>
                  <a:lnTo>
                    <a:pt x="909" y="201"/>
                  </a:lnTo>
                  <a:lnTo>
                    <a:pt x="908" y="202"/>
                  </a:lnTo>
                  <a:lnTo>
                    <a:pt x="905" y="203"/>
                  </a:lnTo>
                  <a:lnTo>
                    <a:pt x="905" y="204"/>
                  </a:lnTo>
                  <a:lnTo>
                    <a:pt x="907" y="204"/>
                  </a:lnTo>
                  <a:lnTo>
                    <a:pt x="907" y="205"/>
                  </a:lnTo>
                  <a:lnTo>
                    <a:pt x="907" y="205"/>
                  </a:lnTo>
                  <a:lnTo>
                    <a:pt x="906" y="207"/>
                  </a:lnTo>
                  <a:lnTo>
                    <a:pt x="905" y="207"/>
                  </a:lnTo>
                  <a:lnTo>
                    <a:pt x="905" y="205"/>
                  </a:lnTo>
                  <a:lnTo>
                    <a:pt x="902" y="207"/>
                  </a:lnTo>
                  <a:lnTo>
                    <a:pt x="899" y="209"/>
                  </a:lnTo>
                  <a:lnTo>
                    <a:pt x="899" y="207"/>
                  </a:lnTo>
                  <a:lnTo>
                    <a:pt x="898" y="207"/>
                  </a:lnTo>
                  <a:lnTo>
                    <a:pt x="896" y="207"/>
                  </a:lnTo>
                  <a:lnTo>
                    <a:pt x="897" y="209"/>
                  </a:lnTo>
                  <a:lnTo>
                    <a:pt x="896" y="210"/>
                  </a:lnTo>
                  <a:lnTo>
                    <a:pt x="890" y="210"/>
                  </a:lnTo>
                  <a:lnTo>
                    <a:pt x="891" y="211"/>
                  </a:lnTo>
                  <a:lnTo>
                    <a:pt x="894" y="211"/>
                  </a:lnTo>
                  <a:lnTo>
                    <a:pt x="896" y="211"/>
                  </a:lnTo>
                  <a:lnTo>
                    <a:pt x="896" y="212"/>
                  </a:lnTo>
                  <a:lnTo>
                    <a:pt x="901" y="210"/>
                  </a:lnTo>
                  <a:lnTo>
                    <a:pt x="904" y="209"/>
                  </a:lnTo>
                  <a:lnTo>
                    <a:pt x="907" y="209"/>
                  </a:lnTo>
                  <a:lnTo>
                    <a:pt x="910" y="208"/>
                  </a:lnTo>
                  <a:lnTo>
                    <a:pt x="914" y="208"/>
                  </a:lnTo>
                  <a:lnTo>
                    <a:pt x="915" y="209"/>
                  </a:lnTo>
                  <a:lnTo>
                    <a:pt x="915" y="212"/>
                  </a:lnTo>
                  <a:lnTo>
                    <a:pt x="916" y="213"/>
                  </a:lnTo>
                  <a:lnTo>
                    <a:pt x="915" y="215"/>
                  </a:lnTo>
                  <a:lnTo>
                    <a:pt x="911" y="220"/>
                  </a:lnTo>
                  <a:lnTo>
                    <a:pt x="907" y="222"/>
                  </a:lnTo>
                  <a:lnTo>
                    <a:pt x="896" y="225"/>
                  </a:lnTo>
                  <a:lnTo>
                    <a:pt x="905" y="223"/>
                  </a:lnTo>
                  <a:lnTo>
                    <a:pt x="910" y="221"/>
                  </a:lnTo>
                  <a:lnTo>
                    <a:pt x="914" y="219"/>
                  </a:lnTo>
                  <a:lnTo>
                    <a:pt x="917" y="214"/>
                  </a:lnTo>
                  <a:lnTo>
                    <a:pt x="920" y="213"/>
                  </a:lnTo>
                  <a:lnTo>
                    <a:pt x="918" y="215"/>
                  </a:lnTo>
                  <a:lnTo>
                    <a:pt x="917" y="217"/>
                  </a:lnTo>
                  <a:lnTo>
                    <a:pt x="920" y="215"/>
                  </a:lnTo>
                  <a:lnTo>
                    <a:pt x="920" y="217"/>
                  </a:lnTo>
                  <a:lnTo>
                    <a:pt x="919" y="218"/>
                  </a:lnTo>
                  <a:lnTo>
                    <a:pt x="918" y="221"/>
                  </a:lnTo>
                  <a:lnTo>
                    <a:pt x="918" y="221"/>
                  </a:lnTo>
                  <a:lnTo>
                    <a:pt x="921" y="219"/>
                  </a:lnTo>
                  <a:lnTo>
                    <a:pt x="930" y="215"/>
                  </a:lnTo>
                  <a:lnTo>
                    <a:pt x="936" y="214"/>
                  </a:lnTo>
                  <a:lnTo>
                    <a:pt x="937" y="212"/>
                  </a:lnTo>
                  <a:lnTo>
                    <a:pt x="939" y="210"/>
                  </a:lnTo>
                  <a:lnTo>
                    <a:pt x="941" y="209"/>
                  </a:lnTo>
                  <a:lnTo>
                    <a:pt x="942" y="210"/>
                  </a:lnTo>
                  <a:lnTo>
                    <a:pt x="945" y="211"/>
                  </a:lnTo>
                  <a:lnTo>
                    <a:pt x="945" y="213"/>
                  </a:lnTo>
                  <a:lnTo>
                    <a:pt x="942" y="215"/>
                  </a:lnTo>
                  <a:lnTo>
                    <a:pt x="945" y="214"/>
                  </a:lnTo>
                  <a:lnTo>
                    <a:pt x="948" y="211"/>
                  </a:lnTo>
                  <a:lnTo>
                    <a:pt x="947" y="210"/>
                  </a:lnTo>
                  <a:lnTo>
                    <a:pt x="946" y="209"/>
                  </a:lnTo>
                  <a:lnTo>
                    <a:pt x="946" y="208"/>
                  </a:lnTo>
                  <a:lnTo>
                    <a:pt x="947" y="209"/>
                  </a:lnTo>
                  <a:lnTo>
                    <a:pt x="949" y="209"/>
                  </a:lnTo>
                  <a:lnTo>
                    <a:pt x="950" y="208"/>
                  </a:lnTo>
                  <a:lnTo>
                    <a:pt x="949" y="207"/>
                  </a:lnTo>
                  <a:lnTo>
                    <a:pt x="950" y="205"/>
                  </a:lnTo>
                  <a:lnTo>
                    <a:pt x="952" y="205"/>
                  </a:lnTo>
                  <a:lnTo>
                    <a:pt x="955" y="203"/>
                  </a:lnTo>
                  <a:lnTo>
                    <a:pt x="955" y="201"/>
                  </a:lnTo>
                  <a:lnTo>
                    <a:pt x="955" y="202"/>
                  </a:lnTo>
                  <a:lnTo>
                    <a:pt x="957" y="201"/>
                  </a:lnTo>
                  <a:lnTo>
                    <a:pt x="959" y="200"/>
                  </a:lnTo>
                  <a:lnTo>
                    <a:pt x="959" y="199"/>
                  </a:lnTo>
                  <a:lnTo>
                    <a:pt x="962" y="198"/>
                  </a:lnTo>
                  <a:lnTo>
                    <a:pt x="961" y="197"/>
                  </a:lnTo>
                  <a:lnTo>
                    <a:pt x="960" y="195"/>
                  </a:lnTo>
                  <a:lnTo>
                    <a:pt x="959" y="193"/>
                  </a:lnTo>
                  <a:lnTo>
                    <a:pt x="961" y="192"/>
                  </a:lnTo>
                  <a:lnTo>
                    <a:pt x="967" y="189"/>
                  </a:lnTo>
                  <a:lnTo>
                    <a:pt x="969" y="188"/>
                  </a:lnTo>
                  <a:lnTo>
                    <a:pt x="971" y="187"/>
                  </a:lnTo>
                  <a:lnTo>
                    <a:pt x="971" y="186"/>
                  </a:lnTo>
                  <a:lnTo>
                    <a:pt x="973" y="184"/>
                  </a:lnTo>
                  <a:lnTo>
                    <a:pt x="976" y="184"/>
                  </a:lnTo>
                  <a:lnTo>
                    <a:pt x="977" y="184"/>
                  </a:lnTo>
                  <a:lnTo>
                    <a:pt x="978" y="186"/>
                  </a:lnTo>
                  <a:lnTo>
                    <a:pt x="976" y="187"/>
                  </a:lnTo>
                  <a:lnTo>
                    <a:pt x="978" y="187"/>
                  </a:lnTo>
                  <a:lnTo>
                    <a:pt x="977" y="188"/>
                  </a:lnTo>
                  <a:lnTo>
                    <a:pt x="977" y="189"/>
                  </a:lnTo>
                  <a:lnTo>
                    <a:pt x="977" y="191"/>
                  </a:lnTo>
                  <a:lnTo>
                    <a:pt x="975" y="192"/>
                  </a:lnTo>
                  <a:lnTo>
                    <a:pt x="977" y="191"/>
                  </a:lnTo>
                  <a:lnTo>
                    <a:pt x="978" y="192"/>
                  </a:lnTo>
                  <a:lnTo>
                    <a:pt x="976" y="195"/>
                  </a:lnTo>
                  <a:lnTo>
                    <a:pt x="979" y="195"/>
                  </a:lnTo>
                  <a:lnTo>
                    <a:pt x="977" y="195"/>
                  </a:lnTo>
                  <a:lnTo>
                    <a:pt x="977" y="197"/>
                  </a:lnTo>
                  <a:lnTo>
                    <a:pt x="979" y="197"/>
                  </a:lnTo>
                  <a:lnTo>
                    <a:pt x="981" y="198"/>
                  </a:lnTo>
                  <a:lnTo>
                    <a:pt x="980" y="199"/>
                  </a:lnTo>
                  <a:lnTo>
                    <a:pt x="977" y="200"/>
                  </a:lnTo>
                  <a:lnTo>
                    <a:pt x="980" y="200"/>
                  </a:lnTo>
                  <a:lnTo>
                    <a:pt x="980" y="201"/>
                  </a:lnTo>
                  <a:lnTo>
                    <a:pt x="981" y="200"/>
                  </a:lnTo>
                  <a:lnTo>
                    <a:pt x="982" y="200"/>
                  </a:lnTo>
                  <a:lnTo>
                    <a:pt x="981" y="202"/>
                  </a:lnTo>
                  <a:lnTo>
                    <a:pt x="983" y="201"/>
                  </a:lnTo>
                  <a:lnTo>
                    <a:pt x="985" y="202"/>
                  </a:lnTo>
                  <a:lnTo>
                    <a:pt x="983" y="203"/>
                  </a:lnTo>
                  <a:lnTo>
                    <a:pt x="980" y="204"/>
                  </a:lnTo>
                  <a:lnTo>
                    <a:pt x="976" y="204"/>
                  </a:lnTo>
                  <a:lnTo>
                    <a:pt x="971" y="205"/>
                  </a:lnTo>
                  <a:lnTo>
                    <a:pt x="971" y="207"/>
                  </a:lnTo>
                  <a:lnTo>
                    <a:pt x="973" y="205"/>
                  </a:lnTo>
                  <a:lnTo>
                    <a:pt x="975" y="205"/>
                  </a:lnTo>
                  <a:lnTo>
                    <a:pt x="977" y="205"/>
                  </a:lnTo>
                  <a:lnTo>
                    <a:pt x="980" y="205"/>
                  </a:lnTo>
                  <a:lnTo>
                    <a:pt x="985" y="204"/>
                  </a:lnTo>
                  <a:lnTo>
                    <a:pt x="985" y="205"/>
                  </a:lnTo>
                  <a:lnTo>
                    <a:pt x="983" y="207"/>
                  </a:lnTo>
                  <a:lnTo>
                    <a:pt x="983" y="207"/>
                  </a:lnTo>
                  <a:lnTo>
                    <a:pt x="983" y="209"/>
                  </a:lnTo>
                  <a:lnTo>
                    <a:pt x="982" y="210"/>
                  </a:lnTo>
                  <a:lnTo>
                    <a:pt x="983" y="209"/>
                  </a:lnTo>
                  <a:lnTo>
                    <a:pt x="986" y="210"/>
                  </a:lnTo>
                  <a:lnTo>
                    <a:pt x="985" y="211"/>
                  </a:lnTo>
                  <a:lnTo>
                    <a:pt x="985" y="212"/>
                  </a:lnTo>
                  <a:lnTo>
                    <a:pt x="987" y="212"/>
                  </a:lnTo>
                  <a:lnTo>
                    <a:pt x="986" y="213"/>
                  </a:lnTo>
                  <a:lnTo>
                    <a:pt x="983" y="213"/>
                  </a:lnTo>
                  <a:lnTo>
                    <a:pt x="980" y="214"/>
                  </a:lnTo>
                  <a:lnTo>
                    <a:pt x="978" y="213"/>
                  </a:lnTo>
                  <a:lnTo>
                    <a:pt x="977" y="213"/>
                  </a:lnTo>
                  <a:lnTo>
                    <a:pt x="977" y="214"/>
                  </a:lnTo>
                  <a:lnTo>
                    <a:pt x="978" y="215"/>
                  </a:lnTo>
                  <a:lnTo>
                    <a:pt x="980" y="214"/>
                  </a:lnTo>
                  <a:lnTo>
                    <a:pt x="985" y="214"/>
                  </a:lnTo>
                  <a:lnTo>
                    <a:pt x="988" y="214"/>
                  </a:lnTo>
                  <a:lnTo>
                    <a:pt x="988" y="217"/>
                  </a:lnTo>
                  <a:lnTo>
                    <a:pt x="987" y="218"/>
                  </a:lnTo>
                  <a:lnTo>
                    <a:pt x="985" y="218"/>
                  </a:lnTo>
                  <a:lnTo>
                    <a:pt x="986" y="219"/>
                  </a:lnTo>
                  <a:lnTo>
                    <a:pt x="985" y="220"/>
                  </a:lnTo>
                  <a:lnTo>
                    <a:pt x="981" y="220"/>
                  </a:lnTo>
                  <a:lnTo>
                    <a:pt x="977" y="222"/>
                  </a:lnTo>
                  <a:lnTo>
                    <a:pt x="979" y="222"/>
                  </a:lnTo>
                  <a:lnTo>
                    <a:pt x="982" y="221"/>
                  </a:lnTo>
                  <a:lnTo>
                    <a:pt x="985" y="221"/>
                  </a:lnTo>
                  <a:lnTo>
                    <a:pt x="987" y="220"/>
                  </a:lnTo>
                  <a:lnTo>
                    <a:pt x="988" y="222"/>
                  </a:lnTo>
                  <a:lnTo>
                    <a:pt x="987" y="223"/>
                  </a:lnTo>
                  <a:lnTo>
                    <a:pt x="985" y="224"/>
                  </a:lnTo>
                  <a:lnTo>
                    <a:pt x="985" y="224"/>
                  </a:lnTo>
                  <a:lnTo>
                    <a:pt x="987" y="224"/>
                  </a:lnTo>
                  <a:lnTo>
                    <a:pt x="989" y="224"/>
                  </a:lnTo>
                  <a:lnTo>
                    <a:pt x="989" y="225"/>
                  </a:lnTo>
                  <a:lnTo>
                    <a:pt x="990" y="227"/>
                  </a:lnTo>
                  <a:lnTo>
                    <a:pt x="991" y="228"/>
                  </a:lnTo>
                  <a:lnTo>
                    <a:pt x="991" y="229"/>
                  </a:lnTo>
                  <a:lnTo>
                    <a:pt x="987" y="232"/>
                  </a:lnTo>
                  <a:lnTo>
                    <a:pt x="983" y="232"/>
                  </a:lnTo>
                  <a:lnTo>
                    <a:pt x="983" y="233"/>
                  </a:lnTo>
                  <a:lnTo>
                    <a:pt x="989" y="232"/>
                  </a:lnTo>
                  <a:lnTo>
                    <a:pt x="990" y="234"/>
                  </a:lnTo>
                  <a:lnTo>
                    <a:pt x="989" y="235"/>
                  </a:lnTo>
                  <a:lnTo>
                    <a:pt x="993" y="237"/>
                  </a:lnTo>
                  <a:lnTo>
                    <a:pt x="993" y="240"/>
                  </a:lnTo>
                  <a:lnTo>
                    <a:pt x="990" y="241"/>
                  </a:lnTo>
                  <a:lnTo>
                    <a:pt x="987" y="243"/>
                  </a:lnTo>
                  <a:lnTo>
                    <a:pt x="987" y="245"/>
                  </a:lnTo>
                  <a:lnTo>
                    <a:pt x="986" y="245"/>
                  </a:lnTo>
                  <a:lnTo>
                    <a:pt x="979" y="243"/>
                  </a:lnTo>
                  <a:lnTo>
                    <a:pt x="978" y="243"/>
                  </a:lnTo>
                  <a:lnTo>
                    <a:pt x="981" y="244"/>
                  </a:lnTo>
                  <a:lnTo>
                    <a:pt x="981" y="245"/>
                  </a:lnTo>
                  <a:lnTo>
                    <a:pt x="973" y="245"/>
                  </a:lnTo>
                  <a:lnTo>
                    <a:pt x="971" y="245"/>
                  </a:lnTo>
                  <a:lnTo>
                    <a:pt x="975" y="247"/>
                  </a:lnTo>
                  <a:lnTo>
                    <a:pt x="982" y="247"/>
                  </a:lnTo>
                  <a:lnTo>
                    <a:pt x="986" y="247"/>
                  </a:lnTo>
                  <a:lnTo>
                    <a:pt x="986" y="248"/>
                  </a:lnTo>
                  <a:lnTo>
                    <a:pt x="983" y="248"/>
                  </a:lnTo>
                  <a:lnTo>
                    <a:pt x="981" y="249"/>
                  </a:lnTo>
                  <a:lnTo>
                    <a:pt x="981" y="250"/>
                  </a:lnTo>
                  <a:lnTo>
                    <a:pt x="985" y="251"/>
                  </a:lnTo>
                  <a:lnTo>
                    <a:pt x="985" y="252"/>
                  </a:lnTo>
                  <a:lnTo>
                    <a:pt x="982" y="252"/>
                  </a:lnTo>
                  <a:lnTo>
                    <a:pt x="980" y="253"/>
                  </a:lnTo>
                  <a:lnTo>
                    <a:pt x="989" y="253"/>
                  </a:lnTo>
                  <a:lnTo>
                    <a:pt x="988" y="257"/>
                  </a:lnTo>
                  <a:lnTo>
                    <a:pt x="989" y="258"/>
                  </a:lnTo>
                  <a:lnTo>
                    <a:pt x="987" y="259"/>
                  </a:lnTo>
                  <a:lnTo>
                    <a:pt x="995" y="259"/>
                  </a:lnTo>
                  <a:lnTo>
                    <a:pt x="996" y="260"/>
                  </a:lnTo>
                  <a:lnTo>
                    <a:pt x="995" y="262"/>
                  </a:lnTo>
                  <a:lnTo>
                    <a:pt x="997" y="261"/>
                  </a:lnTo>
                  <a:lnTo>
                    <a:pt x="999" y="261"/>
                  </a:lnTo>
                  <a:lnTo>
                    <a:pt x="998" y="263"/>
                  </a:lnTo>
                  <a:lnTo>
                    <a:pt x="997" y="264"/>
                  </a:lnTo>
                  <a:lnTo>
                    <a:pt x="998" y="265"/>
                  </a:lnTo>
                  <a:lnTo>
                    <a:pt x="998" y="267"/>
                  </a:lnTo>
                  <a:lnTo>
                    <a:pt x="995" y="269"/>
                  </a:lnTo>
                  <a:lnTo>
                    <a:pt x="995" y="269"/>
                  </a:lnTo>
                  <a:lnTo>
                    <a:pt x="998" y="268"/>
                  </a:lnTo>
                  <a:lnTo>
                    <a:pt x="1000" y="270"/>
                  </a:lnTo>
                  <a:lnTo>
                    <a:pt x="1002" y="269"/>
                  </a:lnTo>
                  <a:lnTo>
                    <a:pt x="1005" y="269"/>
                  </a:lnTo>
                  <a:lnTo>
                    <a:pt x="1005" y="270"/>
                  </a:lnTo>
                  <a:lnTo>
                    <a:pt x="1007" y="270"/>
                  </a:lnTo>
                  <a:lnTo>
                    <a:pt x="1001" y="275"/>
                  </a:lnTo>
                  <a:lnTo>
                    <a:pt x="1003" y="274"/>
                  </a:lnTo>
                  <a:lnTo>
                    <a:pt x="1008" y="271"/>
                  </a:lnTo>
                  <a:lnTo>
                    <a:pt x="1011" y="270"/>
                  </a:lnTo>
                  <a:lnTo>
                    <a:pt x="1010" y="272"/>
                  </a:lnTo>
                  <a:lnTo>
                    <a:pt x="1010" y="272"/>
                  </a:lnTo>
                  <a:lnTo>
                    <a:pt x="1012" y="271"/>
                  </a:lnTo>
                  <a:lnTo>
                    <a:pt x="1012" y="273"/>
                  </a:lnTo>
                  <a:lnTo>
                    <a:pt x="1012" y="275"/>
                  </a:lnTo>
                  <a:lnTo>
                    <a:pt x="1013" y="277"/>
                  </a:lnTo>
                  <a:lnTo>
                    <a:pt x="1017" y="277"/>
                  </a:lnTo>
                  <a:lnTo>
                    <a:pt x="1019" y="278"/>
                  </a:lnTo>
                  <a:lnTo>
                    <a:pt x="1021" y="278"/>
                  </a:lnTo>
                  <a:lnTo>
                    <a:pt x="1021" y="277"/>
                  </a:lnTo>
                  <a:lnTo>
                    <a:pt x="1025" y="274"/>
                  </a:lnTo>
                  <a:lnTo>
                    <a:pt x="1026" y="277"/>
                  </a:lnTo>
                  <a:lnTo>
                    <a:pt x="1025" y="278"/>
                  </a:lnTo>
                  <a:lnTo>
                    <a:pt x="1027" y="279"/>
                  </a:lnTo>
                  <a:lnTo>
                    <a:pt x="1028" y="279"/>
                  </a:lnTo>
                  <a:lnTo>
                    <a:pt x="1029" y="280"/>
                  </a:lnTo>
                  <a:lnTo>
                    <a:pt x="1030" y="281"/>
                  </a:lnTo>
                  <a:lnTo>
                    <a:pt x="1029" y="282"/>
                  </a:lnTo>
                  <a:lnTo>
                    <a:pt x="1028" y="283"/>
                  </a:lnTo>
                  <a:lnTo>
                    <a:pt x="1028" y="283"/>
                  </a:lnTo>
                  <a:lnTo>
                    <a:pt x="1026" y="284"/>
                  </a:lnTo>
                  <a:lnTo>
                    <a:pt x="1023" y="284"/>
                  </a:lnTo>
                  <a:lnTo>
                    <a:pt x="1022" y="284"/>
                  </a:lnTo>
                  <a:lnTo>
                    <a:pt x="1019" y="285"/>
                  </a:lnTo>
                  <a:lnTo>
                    <a:pt x="1017" y="285"/>
                  </a:lnTo>
                  <a:lnTo>
                    <a:pt x="1017" y="287"/>
                  </a:lnTo>
                  <a:lnTo>
                    <a:pt x="1012" y="288"/>
                  </a:lnTo>
                  <a:lnTo>
                    <a:pt x="1005" y="289"/>
                  </a:lnTo>
                  <a:lnTo>
                    <a:pt x="1000" y="290"/>
                  </a:lnTo>
                  <a:lnTo>
                    <a:pt x="998" y="291"/>
                  </a:lnTo>
                  <a:lnTo>
                    <a:pt x="1000" y="291"/>
                  </a:lnTo>
                  <a:lnTo>
                    <a:pt x="1005" y="290"/>
                  </a:lnTo>
                  <a:lnTo>
                    <a:pt x="1009" y="289"/>
                  </a:lnTo>
                  <a:lnTo>
                    <a:pt x="1010" y="289"/>
                  </a:lnTo>
                  <a:lnTo>
                    <a:pt x="1000" y="292"/>
                  </a:lnTo>
                  <a:lnTo>
                    <a:pt x="996" y="293"/>
                  </a:lnTo>
                  <a:lnTo>
                    <a:pt x="992" y="293"/>
                  </a:lnTo>
                  <a:lnTo>
                    <a:pt x="987" y="298"/>
                  </a:lnTo>
                  <a:lnTo>
                    <a:pt x="985" y="296"/>
                  </a:lnTo>
                  <a:lnTo>
                    <a:pt x="982" y="295"/>
                  </a:lnTo>
                  <a:lnTo>
                    <a:pt x="979" y="294"/>
                  </a:lnTo>
                  <a:lnTo>
                    <a:pt x="976" y="294"/>
                  </a:lnTo>
                  <a:lnTo>
                    <a:pt x="976" y="296"/>
                  </a:lnTo>
                  <a:lnTo>
                    <a:pt x="979" y="296"/>
                  </a:lnTo>
                  <a:lnTo>
                    <a:pt x="982" y="298"/>
                  </a:lnTo>
                  <a:lnTo>
                    <a:pt x="985" y="299"/>
                  </a:lnTo>
                  <a:lnTo>
                    <a:pt x="982" y="304"/>
                  </a:lnTo>
                  <a:lnTo>
                    <a:pt x="986" y="303"/>
                  </a:lnTo>
                  <a:lnTo>
                    <a:pt x="989" y="301"/>
                  </a:lnTo>
                  <a:lnTo>
                    <a:pt x="991" y="300"/>
                  </a:lnTo>
                  <a:lnTo>
                    <a:pt x="995" y="298"/>
                  </a:lnTo>
                  <a:lnTo>
                    <a:pt x="998" y="296"/>
                  </a:lnTo>
                  <a:lnTo>
                    <a:pt x="1003" y="294"/>
                  </a:lnTo>
                  <a:lnTo>
                    <a:pt x="1007" y="292"/>
                  </a:lnTo>
                  <a:lnTo>
                    <a:pt x="1010" y="291"/>
                  </a:lnTo>
                  <a:lnTo>
                    <a:pt x="1018" y="290"/>
                  </a:lnTo>
                  <a:lnTo>
                    <a:pt x="1021" y="290"/>
                  </a:lnTo>
                  <a:lnTo>
                    <a:pt x="1022" y="290"/>
                  </a:lnTo>
                  <a:lnTo>
                    <a:pt x="1021" y="289"/>
                  </a:lnTo>
                  <a:lnTo>
                    <a:pt x="1018" y="289"/>
                  </a:lnTo>
                  <a:lnTo>
                    <a:pt x="1013" y="289"/>
                  </a:lnTo>
                  <a:lnTo>
                    <a:pt x="1016" y="288"/>
                  </a:lnTo>
                  <a:lnTo>
                    <a:pt x="1020" y="288"/>
                  </a:lnTo>
                  <a:lnTo>
                    <a:pt x="1027" y="288"/>
                  </a:lnTo>
                  <a:lnTo>
                    <a:pt x="1029" y="288"/>
                  </a:lnTo>
                  <a:lnTo>
                    <a:pt x="1030" y="289"/>
                  </a:lnTo>
                  <a:lnTo>
                    <a:pt x="1029" y="291"/>
                  </a:lnTo>
                  <a:lnTo>
                    <a:pt x="1029" y="292"/>
                  </a:lnTo>
                  <a:lnTo>
                    <a:pt x="1028" y="294"/>
                  </a:lnTo>
                  <a:lnTo>
                    <a:pt x="1026" y="296"/>
                  </a:lnTo>
                  <a:lnTo>
                    <a:pt x="1025" y="299"/>
                  </a:lnTo>
                  <a:lnTo>
                    <a:pt x="1025" y="301"/>
                  </a:lnTo>
                  <a:lnTo>
                    <a:pt x="1025" y="301"/>
                  </a:lnTo>
                  <a:lnTo>
                    <a:pt x="1030" y="296"/>
                  </a:lnTo>
                  <a:lnTo>
                    <a:pt x="1032" y="295"/>
                  </a:lnTo>
                  <a:lnTo>
                    <a:pt x="1036" y="295"/>
                  </a:lnTo>
                  <a:lnTo>
                    <a:pt x="1037" y="295"/>
                  </a:lnTo>
                  <a:lnTo>
                    <a:pt x="1036" y="296"/>
                  </a:lnTo>
                  <a:lnTo>
                    <a:pt x="1043" y="299"/>
                  </a:lnTo>
                  <a:lnTo>
                    <a:pt x="1043" y="300"/>
                  </a:lnTo>
                  <a:lnTo>
                    <a:pt x="1042" y="300"/>
                  </a:lnTo>
                  <a:lnTo>
                    <a:pt x="1043" y="302"/>
                  </a:lnTo>
                  <a:lnTo>
                    <a:pt x="1044" y="302"/>
                  </a:lnTo>
                  <a:lnTo>
                    <a:pt x="1044" y="304"/>
                  </a:lnTo>
                  <a:lnTo>
                    <a:pt x="1044" y="304"/>
                  </a:lnTo>
                  <a:lnTo>
                    <a:pt x="1044" y="305"/>
                  </a:lnTo>
                  <a:lnTo>
                    <a:pt x="1043" y="306"/>
                  </a:lnTo>
                  <a:lnTo>
                    <a:pt x="1041" y="306"/>
                  </a:lnTo>
                  <a:lnTo>
                    <a:pt x="1037" y="305"/>
                  </a:lnTo>
                  <a:lnTo>
                    <a:pt x="1038" y="308"/>
                  </a:lnTo>
                  <a:lnTo>
                    <a:pt x="1039" y="308"/>
                  </a:lnTo>
                  <a:lnTo>
                    <a:pt x="1041" y="308"/>
                  </a:lnTo>
                  <a:lnTo>
                    <a:pt x="1041" y="311"/>
                  </a:lnTo>
                  <a:lnTo>
                    <a:pt x="1040" y="311"/>
                  </a:lnTo>
                  <a:lnTo>
                    <a:pt x="1039" y="312"/>
                  </a:lnTo>
                  <a:lnTo>
                    <a:pt x="1040" y="314"/>
                  </a:lnTo>
                  <a:lnTo>
                    <a:pt x="1040" y="315"/>
                  </a:lnTo>
                  <a:lnTo>
                    <a:pt x="1038" y="315"/>
                  </a:lnTo>
                  <a:lnTo>
                    <a:pt x="1037" y="316"/>
                  </a:lnTo>
                  <a:lnTo>
                    <a:pt x="1041" y="318"/>
                  </a:lnTo>
                  <a:lnTo>
                    <a:pt x="1041" y="320"/>
                  </a:lnTo>
                  <a:lnTo>
                    <a:pt x="1038" y="319"/>
                  </a:lnTo>
                  <a:lnTo>
                    <a:pt x="1036" y="319"/>
                  </a:lnTo>
                  <a:lnTo>
                    <a:pt x="1037" y="3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204" name="Freeform 1204"/>
            <p:cNvSpPr>
              <a:spLocks/>
            </p:cNvSpPr>
            <p:nvPr/>
          </p:nvSpPr>
          <p:spPr bwMode="auto">
            <a:xfrm>
              <a:off x="938" y="882"/>
              <a:ext cx="1044" cy="504"/>
            </a:xfrm>
            <a:custGeom>
              <a:avLst/>
              <a:gdLst>
                <a:gd name="T0" fmla="*/ 886 w 1044"/>
                <a:gd name="T1" fmla="*/ 355 h 504"/>
                <a:gd name="T2" fmla="*/ 841 w 1044"/>
                <a:gd name="T3" fmla="*/ 385 h 504"/>
                <a:gd name="T4" fmla="*/ 881 w 1044"/>
                <a:gd name="T5" fmla="*/ 424 h 504"/>
                <a:gd name="T6" fmla="*/ 887 w 1044"/>
                <a:gd name="T7" fmla="*/ 457 h 504"/>
                <a:gd name="T8" fmla="*/ 894 w 1044"/>
                <a:gd name="T9" fmla="*/ 443 h 504"/>
                <a:gd name="T10" fmla="*/ 819 w 1044"/>
                <a:gd name="T11" fmla="*/ 406 h 504"/>
                <a:gd name="T12" fmla="*/ 687 w 1044"/>
                <a:gd name="T13" fmla="*/ 470 h 504"/>
                <a:gd name="T14" fmla="*/ 591 w 1044"/>
                <a:gd name="T15" fmla="*/ 496 h 504"/>
                <a:gd name="T16" fmla="*/ 638 w 1044"/>
                <a:gd name="T17" fmla="*/ 454 h 504"/>
                <a:gd name="T18" fmla="*/ 606 w 1044"/>
                <a:gd name="T19" fmla="*/ 426 h 504"/>
                <a:gd name="T20" fmla="*/ 557 w 1044"/>
                <a:gd name="T21" fmla="*/ 388 h 504"/>
                <a:gd name="T22" fmla="*/ 476 w 1044"/>
                <a:gd name="T23" fmla="*/ 383 h 504"/>
                <a:gd name="T24" fmla="*/ 83 w 1044"/>
                <a:gd name="T25" fmla="*/ 375 h 504"/>
                <a:gd name="T26" fmla="*/ 70 w 1044"/>
                <a:gd name="T27" fmla="*/ 355 h 504"/>
                <a:gd name="T28" fmla="*/ 45 w 1044"/>
                <a:gd name="T29" fmla="*/ 336 h 504"/>
                <a:gd name="T30" fmla="*/ 49 w 1044"/>
                <a:gd name="T31" fmla="*/ 303 h 504"/>
                <a:gd name="T32" fmla="*/ 74 w 1044"/>
                <a:gd name="T33" fmla="*/ 258 h 504"/>
                <a:gd name="T34" fmla="*/ 48 w 1044"/>
                <a:gd name="T35" fmla="*/ 197 h 504"/>
                <a:gd name="T36" fmla="*/ 87 w 1044"/>
                <a:gd name="T37" fmla="*/ 104 h 504"/>
                <a:gd name="T38" fmla="*/ 219 w 1044"/>
                <a:gd name="T39" fmla="*/ 47 h 504"/>
                <a:gd name="T40" fmla="*/ 293 w 1044"/>
                <a:gd name="T41" fmla="*/ 29 h 504"/>
                <a:gd name="T42" fmla="*/ 272 w 1044"/>
                <a:gd name="T43" fmla="*/ 40 h 504"/>
                <a:gd name="T44" fmla="*/ 334 w 1044"/>
                <a:gd name="T45" fmla="*/ 35 h 504"/>
                <a:gd name="T46" fmla="*/ 369 w 1044"/>
                <a:gd name="T47" fmla="*/ 28 h 504"/>
                <a:gd name="T48" fmla="*/ 421 w 1044"/>
                <a:gd name="T49" fmla="*/ 42 h 504"/>
                <a:gd name="T50" fmla="*/ 442 w 1044"/>
                <a:gd name="T51" fmla="*/ 60 h 504"/>
                <a:gd name="T52" fmla="*/ 504 w 1044"/>
                <a:gd name="T53" fmla="*/ 62 h 504"/>
                <a:gd name="T54" fmla="*/ 524 w 1044"/>
                <a:gd name="T55" fmla="*/ 75 h 504"/>
                <a:gd name="T56" fmla="*/ 550 w 1044"/>
                <a:gd name="T57" fmla="*/ 53 h 504"/>
                <a:gd name="T58" fmla="*/ 560 w 1044"/>
                <a:gd name="T59" fmla="*/ 47 h 504"/>
                <a:gd name="T60" fmla="*/ 594 w 1044"/>
                <a:gd name="T61" fmla="*/ 65 h 504"/>
                <a:gd name="T62" fmla="*/ 644 w 1044"/>
                <a:gd name="T63" fmla="*/ 62 h 504"/>
                <a:gd name="T64" fmla="*/ 671 w 1044"/>
                <a:gd name="T65" fmla="*/ 59 h 504"/>
                <a:gd name="T66" fmla="*/ 706 w 1044"/>
                <a:gd name="T67" fmla="*/ 47 h 504"/>
                <a:gd name="T68" fmla="*/ 692 w 1044"/>
                <a:gd name="T69" fmla="*/ 32 h 504"/>
                <a:gd name="T70" fmla="*/ 731 w 1044"/>
                <a:gd name="T71" fmla="*/ 1 h 504"/>
                <a:gd name="T72" fmla="*/ 739 w 1044"/>
                <a:gd name="T73" fmla="*/ 27 h 504"/>
                <a:gd name="T74" fmla="*/ 744 w 1044"/>
                <a:gd name="T75" fmla="*/ 48 h 504"/>
                <a:gd name="T76" fmla="*/ 766 w 1044"/>
                <a:gd name="T77" fmla="*/ 71 h 504"/>
                <a:gd name="T78" fmla="*/ 811 w 1044"/>
                <a:gd name="T79" fmla="*/ 37 h 504"/>
                <a:gd name="T80" fmla="*/ 836 w 1044"/>
                <a:gd name="T81" fmla="*/ 53 h 504"/>
                <a:gd name="T82" fmla="*/ 794 w 1044"/>
                <a:gd name="T83" fmla="*/ 89 h 504"/>
                <a:gd name="T84" fmla="*/ 728 w 1044"/>
                <a:gd name="T85" fmla="*/ 97 h 504"/>
                <a:gd name="T86" fmla="*/ 695 w 1044"/>
                <a:gd name="T87" fmla="*/ 123 h 504"/>
                <a:gd name="T88" fmla="*/ 661 w 1044"/>
                <a:gd name="T89" fmla="*/ 128 h 504"/>
                <a:gd name="T90" fmla="*/ 634 w 1044"/>
                <a:gd name="T91" fmla="*/ 154 h 504"/>
                <a:gd name="T92" fmla="*/ 587 w 1044"/>
                <a:gd name="T93" fmla="*/ 210 h 504"/>
                <a:gd name="T94" fmla="*/ 647 w 1044"/>
                <a:gd name="T95" fmla="*/ 261 h 504"/>
                <a:gd name="T96" fmla="*/ 683 w 1044"/>
                <a:gd name="T97" fmla="*/ 322 h 504"/>
                <a:gd name="T98" fmla="*/ 727 w 1044"/>
                <a:gd name="T99" fmla="*/ 322 h 504"/>
                <a:gd name="T100" fmla="*/ 790 w 1044"/>
                <a:gd name="T101" fmla="*/ 249 h 504"/>
                <a:gd name="T102" fmla="*/ 808 w 1044"/>
                <a:gd name="T103" fmla="*/ 192 h 504"/>
                <a:gd name="T104" fmla="*/ 824 w 1044"/>
                <a:gd name="T105" fmla="*/ 151 h 504"/>
                <a:gd name="T106" fmla="*/ 892 w 1044"/>
                <a:gd name="T107" fmla="*/ 163 h 504"/>
                <a:gd name="T108" fmla="*/ 908 w 1044"/>
                <a:gd name="T109" fmla="*/ 190 h 504"/>
                <a:gd name="T110" fmla="*/ 904 w 1044"/>
                <a:gd name="T111" fmla="*/ 209 h 504"/>
                <a:gd name="T112" fmla="*/ 950 w 1044"/>
                <a:gd name="T113" fmla="*/ 205 h 504"/>
                <a:gd name="T114" fmla="*/ 983 w 1044"/>
                <a:gd name="T115" fmla="*/ 201 h 504"/>
                <a:gd name="T116" fmla="*/ 987 w 1044"/>
                <a:gd name="T117" fmla="*/ 220 h 504"/>
                <a:gd name="T118" fmla="*/ 989 w 1044"/>
                <a:gd name="T119" fmla="*/ 258 h 504"/>
                <a:gd name="T120" fmla="*/ 1028 w 1044"/>
                <a:gd name="T121" fmla="*/ 283 h 504"/>
                <a:gd name="T122" fmla="*/ 1016 w 1044"/>
                <a:gd name="T123" fmla="*/ 288 h 504"/>
                <a:gd name="T124" fmla="*/ 1037 w 1044"/>
                <a:gd name="T125" fmla="*/ 320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44" h="504">
                  <a:moveTo>
                    <a:pt x="1037" y="320"/>
                  </a:moveTo>
                  <a:lnTo>
                    <a:pt x="1039" y="321"/>
                  </a:lnTo>
                  <a:lnTo>
                    <a:pt x="1040" y="323"/>
                  </a:lnTo>
                  <a:lnTo>
                    <a:pt x="1037" y="325"/>
                  </a:lnTo>
                  <a:lnTo>
                    <a:pt x="1033" y="328"/>
                  </a:lnTo>
                  <a:lnTo>
                    <a:pt x="1028" y="330"/>
                  </a:lnTo>
                  <a:lnTo>
                    <a:pt x="1022" y="334"/>
                  </a:lnTo>
                  <a:lnTo>
                    <a:pt x="1020" y="334"/>
                  </a:lnTo>
                  <a:lnTo>
                    <a:pt x="1018" y="335"/>
                  </a:lnTo>
                  <a:lnTo>
                    <a:pt x="1015" y="335"/>
                  </a:lnTo>
                  <a:lnTo>
                    <a:pt x="1009" y="335"/>
                  </a:lnTo>
                  <a:lnTo>
                    <a:pt x="1005" y="336"/>
                  </a:lnTo>
                  <a:lnTo>
                    <a:pt x="997" y="338"/>
                  </a:lnTo>
                  <a:lnTo>
                    <a:pt x="993" y="340"/>
                  </a:lnTo>
                  <a:lnTo>
                    <a:pt x="989" y="342"/>
                  </a:lnTo>
                  <a:lnTo>
                    <a:pt x="988" y="342"/>
                  </a:lnTo>
                  <a:lnTo>
                    <a:pt x="983" y="346"/>
                  </a:lnTo>
                  <a:lnTo>
                    <a:pt x="978" y="351"/>
                  </a:lnTo>
                  <a:lnTo>
                    <a:pt x="975" y="352"/>
                  </a:lnTo>
                  <a:lnTo>
                    <a:pt x="970" y="355"/>
                  </a:lnTo>
                  <a:lnTo>
                    <a:pt x="968" y="356"/>
                  </a:lnTo>
                  <a:lnTo>
                    <a:pt x="967" y="356"/>
                  </a:lnTo>
                  <a:lnTo>
                    <a:pt x="966" y="355"/>
                  </a:lnTo>
                  <a:lnTo>
                    <a:pt x="968" y="353"/>
                  </a:lnTo>
                  <a:lnTo>
                    <a:pt x="966" y="353"/>
                  </a:lnTo>
                  <a:lnTo>
                    <a:pt x="963" y="355"/>
                  </a:lnTo>
                  <a:lnTo>
                    <a:pt x="952" y="356"/>
                  </a:lnTo>
                  <a:lnTo>
                    <a:pt x="946" y="359"/>
                  </a:lnTo>
                  <a:lnTo>
                    <a:pt x="944" y="359"/>
                  </a:lnTo>
                  <a:lnTo>
                    <a:pt x="944" y="358"/>
                  </a:lnTo>
                  <a:lnTo>
                    <a:pt x="942" y="356"/>
                  </a:lnTo>
                  <a:lnTo>
                    <a:pt x="938" y="355"/>
                  </a:lnTo>
                  <a:lnTo>
                    <a:pt x="927" y="355"/>
                  </a:lnTo>
                  <a:lnTo>
                    <a:pt x="922" y="356"/>
                  </a:lnTo>
                  <a:lnTo>
                    <a:pt x="915" y="355"/>
                  </a:lnTo>
                  <a:lnTo>
                    <a:pt x="912" y="355"/>
                  </a:lnTo>
                  <a:lnTo>
                    <a:pt x="907" y="355"/>
                  </a:lnTo>
                  <a:lnTo>
                    <a:pt x="899" y="356"/>
                  </a:lnTo>
                  <a:lnTo>
                    <a:pt x="897" y="355"/>
                  </a:lnTo>
                  <a:lnTo>
                    <a:pt x="894" y="355"/>
                  </a:lnTo>
                  <a:lnTo>
                    <a:pt x="889" y="356"/>
                  </a:lnTo>
                  <a:lnTo>
                    <a:pt x="886" y="355"/>
                  </a:lnTo>
                  <a:lnTo>
                    <a:pt x="884" y="356"/>
                  </a:lnTo>
                  <a:lnTo>
                    <a:pt x="880" y="356"/>
                  </a:lnTo>
                  <a:lnTo>
                    <a:pt x="879" y="358"/>
                  </a:lnTo>
                  <a:lnTo>
                    <a:pt x="878" y="359"/>
                  </a:lnTo>
                  <a:lnTo>
                    <a:pt x="876" y="359"/>
                  </a:lnTo>
                  <a:lnTo>
                    <a:pt x="875" y="359"/>
                  </a:lnTo>
                  <a:lnTo>
                    <a:pt x="872" y="360"/>
                  </a:lnTo>
                  <a:lnTo>
                    <a:pt x="870" y="361"/>
                  </a:lnTo>
                  <a:lnTo>
                    <a:pt x="867" y="364"/>
                  </a:lnTo>
                  <a:lnTo>
                    <a:pt x="865" y="368"/>
                  </a:lnTo>
                  <a:lnTo>
                    <a:pt x="861" y="372"/>
                  </a:lnTo>
                  <a:lnTo>
                    <a:pt x="860" y="372"/>
                  </a:lnTo>
                  <a:lnTo>
                    <a:pt x="850" y="373"/>
                  </a:lnTo>
                  <a:lnTo>
                    <a:pt x="847" y="375"/>
                  </a:lnTo>
                  <a:lnTo>
                    <a:pt x="845" y="375"/>
                  </a:lnTo>
                  <a:lnTo>
                    <a:pt x="845" y="376"/>
                  </a:lnTo>
                  <a:lnTo>
                    <a:pt x="838" y="380"/>
                  </a:lnTo>
                  <a:lnTo>
                    <a:pt x="836" y="381"/>
                  </a:lnTo>
                  <a:lnTo>
                    <a:pt x="825" y="391"/>
                  </a:lnTo>
                  <a:lnTo>
                    <a:pt x="821" y="392"/>
                  </a:lnTo>
                  <a:lnTo>
                    <a:pt x="818" y="393"/>
                  </a:lnTo>
                  <a:lnTo>
                    <a:pt x="817" y="396"/>
                  </a:lnTo>
                  <a:lnTo>
                    <a:pt x="808" y="405"/>
                  </a:lnTo>
                  <a:lnTo>
                    <a:pt x="807" y="405"/>
                  </a:lnTo>
                  <a:lnTo>
                    <a:pt x="800" y="410"/>
                  </a:lnTo>
                  <a:lnTo>
                    <a:pt x="791" y="416"/>
                  </a:lnTo>
                  <a:lnTo>
                    <a:pt x="790" y="416"/>
                  </a:lnTo>
                  <a:lnTo>
                    <a:pt x="795" y="415"/>
                  </a:lnTo>
                  <a:lnTo>
                    <a:pt x="798" y="414"/>
                  </a:lnTo>
                  <a:lnTo>
                    <a:pt x="798" y="413"/>
                  </a:lnTo>
                  <a:lnTo>
                    <a:pt x="800" y="413"/>
                  </a:lnTo>
                  <a:lnTo>
                    <a:pt x="805" y="409"/>
                  </a:lnTo>
                  <a:lnTo>
                    <a:pt x="808" y="406"/>
                  </a:lnTo>
                  <a:lnTo>
                    <a:pt x="813" y="404"/>
                  </a:lnTo>
                  <a:lnTo>
                    <a:pt x="815" y="402"/>
                  </a:lnTo>
                  <a:lnTo>
                    <a:pt x="820" y="396"/>
                  </a:lnTo>
                  <a:lnTo>
                    <a:pt x="824" y="394"/>
                  </a:lnTo>
                  <a:lnTo>
                    <a:pt x="831" y="390"/>
                  </a:lnTo>
                  <a:lnTo>
                    <a:pt x="833" y="389"/>
                  </a:lnTo>
                  <a:lnTo>
                    <a:pt x="836" y="389"/>
                  </a:lnTo>
                  <a:lnTo>
                    <a:pt x="838" y="386"/>
                  </a:lnTo>
                  <a:lnTo>
                    <a:pt x="841" y="385"/>
                  </a:lnTo>
                  <a:lnTo>
                    <a:pt x="845" y="384"/>
                  </a:lnTo>
                  <a:lnTo>
                    <a:pt x="855" y="380"/>
                  </a:lnTo>
                  <a:lnTo>
                    <a:pt x="870" y="375"/>
                  </a:lnTo>
                  <a:lnTo>
                    <a:pt x="878" y="373"/>
                  </a:lnTo>
                  <a:lnTo>
                    <a:pt x="881" y="374"/>
                  </a:lnTo>
                  <a:lnTo>
                    <a:pt x="885" y="373"/>
                  </a:lnTo>
                  <a:lnTo>
                    <a:pt x="891" y="374"/>
                  </a:lnTo>
                  <a:lnTo>
                    <a:pt x="898" y="376"/>
                  </a:lnTo>
                  <a:lnTo>
                    <a:pt x="900" y="379"/>
                  </a:lnTo>
                  <a:lnTo>
                    <a:pt x="901" y="382"/>
                  </a:lnTo>
                  <a:lnTo>
                    <a:pt x="899" y="381"/>
                  </a:lnTo>
                  <a:lnTo>
                    <a:pt x="899" y="381"/>
                  </a:lnTo>
                  <a:lnTo>
                    <a:pt x="900" y="383"/>
                  </a:lnTo>
                  <a:lnTo>
                    <a:pt x="898" y="386"/>
                  </a:lnTo>
                  <a:lnTo>
                    <a:pt x="895" y="389"/>
                  </a:lnTo>
                  <a:lnTo>
                    <a:pt x="887" y="393"/>
                  </a:lnTo>
                  <a:lnTo>
                    <a:pt x="882" y="394"/>
                  </a:lnTo>
                  <a:lnTo>
                    <a:pt x="878" y="394"/>
                  </a:lnTo>
                  <a:lnTo>
                    <a:pt x="875" y="393"/>
                  </a:lnTo>
                  <a:lnTo>
                    <a:pt x="869" y="393"/>
                  </a:lnTo>
                  <a:lnTo>
                    <a:pt x="865" y="395"/>
                  </a:lnTo>
                  <a:lnTo>
                    <a:pt x="864" y="395"/>
                  </a:lnTo>
                  <a:lnTo>
                    <a:pt x="867" y="395"/>
                  </a:lnTo>
                  <a:lnTo>
                    <a:pt x="874" y="398"/>
                  </a:lnTo>
                  <a:lnTo>
                    <a:pt x="874" y="400"/>
                  </a:lnTo>
                  <a:lnTo>
                    <a:pt x="875" y="401"/>
                  </a:lnTo>
                  <a:lnTo>
                    <a:pt x="884" y="398"/>
                  </a:lnTo>
                  <a:lnTo>
                    <a:pt x="884" y="398"/>
                  </a:lnTo>
                  <a:lnTo>
                    <a:pt x="884" y="399"/>
                  </a:lnTo>
                  <a:lnTo>
                    <a:pt x="886" y="400"/>
                  </a:lnTo>
                  <a:lnTo>
                    <a:pt x="887" y="400"/>
                  </a:lnTo>
                  <a:lnTo>
                    <a:pt x="886" y="403"/>
                  </a:lnTo>
                  <a:lnTo>
                    <a:pt x="881" y="407"/>
                  </a:lnTo>
                  <a:lnTo>
                    <a:pt x="876" y="412"/>
                  </a:lnTo>
                  <a:lnTo>
                    <a:pt x="876" y="412"/>
                  </a:lnTo>
                  <a:lnTo>
                    <a:pt x="878" y="412"/>
                  </a:lnTo>
                  <a:lnTo>
                    <a:pt x="881" y="412"/>
                  </a:lnTo>
                  <a:lnTo>
                    <a:pt x="880" y="416"/>
                  </a:lnTo>
                  <a:lnTo>
                    <a:pt x="880" y="419"/>
                  </a:lnTo>
                  <a:lnTo>
                    <a:pt x="880" y="421"/>
                  </a:lnTo>
                  <a:lnTo>
                    <a:pt x="880" y="423"/>
                  </a:lnTo>
                  <a:lnTo>
                    <a:pt x="881" y="424"/>
                  </a:lnTo>
                  <a:lnTo>
                    <a:pt x="882" y="425"/>
                  </a:lnTo>
                  <a:lnTo>
                    <a:pt x="882" y="426"/>
                  </a:lnTo>
                  <a:lnTo>
                    <a:pt x="886" y="426"/>
                  </a:lnTo>
                  <a:lnTo>
                    <a:pt x="891" y="429"/>
                  </a:lnTo>
                  <a:lnTo>
                    <a:pt x="891" y="430"/>
                  </a:lnTo>
                  <a:lnTo>
                    <a:pt x="889" y="431"/>
                  </a:lnTo>
                  <a:lnTo>
                    <a:pt x="888" y="432"/>
                  </a:lnTo>
                  <a:lnTo>
                    <a:pt x="890" y="433"/>
                  </a:lnTo>
                  <a:lnTo>
                    <a:pt x="894" y="433"/>
                  </a:lnTo>
                  <a:lnTo>
                    <a:pt x="897" y="435"/>
                  </a:lnTo>
                  <a:lnTo>
                    <a:pt x="904" y="435"/>
                  </a:lnTo>
                  <a:lnTo>
                    <a:pt x="905" y="437"/>
                  </a:lnTo>
                  <a:lnTo>
                    <a:pt x="910" y="436"/>
                  </a:lnTo>
                  <a:lnTo>
                    <a:pt x="917" y="433"/>
                  </a:lnTo>
                  <a:lnTo>
                    <a:pt x="917" y="435"/>
                  </a:lnTo>
                  <a:lnTo>
                    <a:pt x="916" y="437"/>
                  </a:lnTo>
                  <a:lnTo>
                    <a:pt x="918" y="437"/>
                  </a:lnTo>
                  <a:lnTo>
                    <a:pt x="920" y="437"/>
                  </a:lnTo>
                  <a:lnTo>
                    <a:pt x="922" y="437"/>
                  </a:lnTo>
                  <a:lnTo>
                    <a:pt x="924" y="440"/>
                  </a:lnTo>
                  <a:lnTo>
                    <a:pt x="925" y="441"/>
                  </a:lnTo>
                  <a:lnTo>
                    <a:pt x="922" y="441"/>
                  </a:lnTo>
                  <a:lnTo>
                    <a:pt x="922" y="443"/>
                  </a:lnTo>
                  <a:lnTo>
                    <a:pt x="926" y="443"/>
                  </a:lnTo>
                  <a:lnTo>
                    <a:pt x="927" y="443"/>
                  </a:lnTo>
                  <a:lnTo>
                    <a:pt x="925" y="444"/>
                  </a:lnTo>
                  <a:lnTo>
                    <a:pt x="922" y="444"/>
                  </a:lnTo>
                  <a:lnTo>
                    <a:pt x="920" y="445"/>
                  </a:lnTo>
                  <a:lnTo>
                    <a:pt x="918" y="445"/>
                  </a:lnTo>
                  <a:lnTo>
                    <a:pt x="914" y="447"/>
                  </a:lnTo>
                  <a:lnTo>
                    <a:pt x="908" y="450"/>
                  </a:lnTo>
                  <a:lnTo>
                    <a:pt x="905" y="451"/>
                  </a:lnTo>
                  <a:lnTo>
                    <a:pt x="904" y="451"/>
                  </a:lnTo>
                  <a:lnTo>
                    <a:pt x="902" y="452"/>
                  </a:lnTo>
                  <a:lnTo>
                    <a:pt x="900" y="452"/>
                  </a:lnTo>
                  <a:lnTo>
                    <a:pt x="897" y="454"/>
                  </a:lnTo>
                  <a:lnTo>
                    <a:pt x="895" y="454"/>
                  </a:lnTo>
                  <a:lnTo>
                    <a:pt x="894" y="453"/>
                  </a:lnTo>
                  <a:lnTo>
                    <a:pt x="892" y="454"/>
                  </a:lnTo>
                  <a:lnTo>
                    <a:pt x="889" y="455"/>
                  </a:lnTo>
                  <a:lnTo>
                    <a:pt x="887" y="454"/>
                  </a:lnTo>
                  <a:lnTo>
                    <a:pt x="887" y="457"/>
                  </a:lnTo>
                  <a:lnTo>
                    <a:pt x="886" y="459"/>
                  </a:lnTo>
                  <a:lnTo>
                    <a:pt x="882" y="459"/>
                  </a:lnTo>
                  <a:lnTo>
                    <a:pt x="881" y="456"/>
                  </a:lnTo>
                  <a:lnTo>
                    <a:pt x="881" y="455"/>
                  </a:lnTo>
                  <a:lnTo>
                    <a:pt x="878" y="459"/>
                  </a:lnTo>
                  <a:lnTo>
                    <a:pt x="878" y="456"/>
                  </a:lnTo>
                  <a:lnTo>
                    <a:pt x="876" y="459"/>
                  </a:lnTo>
                  <a:lnTo>
                    <a:pt x="875" y="462"/>
                  </a:lnTo>
                  <a:lnTo>
                    <a:pt x="871" y="464"/>
                  </a:lnTo>
                  <a:lnTo>
                    <a:pt x="867" y="467"/>
                  </a:lnTo>
                  <a:lnTo>
                    <a:pt x="866" y="469"/>
                  </a:lnTo>
                  <a:lnTo>
                    <a:pt x="863" y="471"/>
                  </a:lnTo>
                  <a:lnTo>
                    <a:pt x="860" y="473"/>
                  </a:lnTo>
                  <a:lnTo>
                    <a:pt x="858" y="472"/>
                  </a:lnTo>
                  <a:lnTo>
                    <a:pt x="857" y="473"/>
                  </a:lnTo>
                  <a:lnTo>
                    <a:pt x="855" y="475"/>
                  </a:lnTo>
                  <a:lnTo>
                    <a:pt x="854" y="476"/>
                  </a:lnTo>
                  <a:lnTo>
                    <a:pt x="853" y="476"/>
                  </a:lnTo>
                  <a:lnTo>
                    <a:pt x="850" y="475"/>
                  </a:lnTo>
                  <a:lnTo>
                    <a:pt x="849" y="473"/>
                  </a:lnTo>
                  <a:lnTo>
                    <a:pt x="848" y="471"/>
                  </a:lnTo>
                  <a:lnTo>
                    <a:pt x="846" y="471"/>
                  </a:lnTo>
                  <a:lnTo>
                    <a:pt x="846" y="467"/>
                  </a:lnTo>
                  <a:lnTo>
                    <a:pt x="847" y="464"/>
                  </a:lnTo>
                  <a:lnTo>
                    <a:pt x="848" y="461"/>
                  </a:lnTo>
                  <a:lnTo>
                    <a:pt x="853" y="456"/>
                  </a:lnTo>
                  <a:lnTo>
                    <a:pt x="851" y="457"/>
                  </a:lnTo>
                  <a:lnTo>
                    <a:pt x="848" y="460"/>
                  </a:lnTo>
                  <a:lnTo>
                    <a:pt x="849" y="457"/>
                  </a:lnTo>
                  <a:lnTo>
                    <a:pt x="854" y="455"/>
                  </a:lnTo>
                  <a:lnTo>
                    <a:pt x="856" y="455"/>
                  </a:lnTo>
                  <a:lnTo>
                    <a:pt x="859" y="454"/>
                  </a:lnTo>
                  <a:lnTo>
                    <a:pt x="859" y="453"/>
                  </a:lnTo>
                  <a:lnTo>
                    <a:pt x="867" y="449"/>
                  </a:lnTo>
                  <a:lnTo>
                    <a:pt x="874" y="445"/>
                  </a:lnTo>
                  <a:lnTo>
                    <a:pt x="878" y="444"/>
                  </a:lnTo>
                  <a:lnTo>
                    <a:pt x="878" y="445"/>
                  </a:lnTo>
                  <a:lnTo>
                    <a:pt x="878" y="446"/>
                  </a:lnTo>
                  <a:lnTo>
                    <a:pt x="880" y="447"/>
                  </a:lnTo>
                  <a:lnTo>
                    <a:pt x="884" y="445"/>
                  </a:lnTo>
                  <a:lnTo>
                    <a:pt x="887" y="444"/>
                  </a:lnTo>
                  <a:lnTo>
                    <a:pt x="894" y="443"/>
                  </a:lnTo>
                  <a:lnTo>
                    <a:pt x="894" y="442"/>
                  </a:lnTo>
                  <a:lnTo>
                    <a:pt x="890" y="442"/>
                  </a:lnTo>
                  <a:lnTo>
                    <a:pt x="886" y="443"/>
                  </a:lnTo>
                  <a:lnTo>
                    <a:pt x="879" y="442"/>
                  </a:lnTo>
                  <a:lnTo>
                    <a:pt x="876" y="443"/>
                  </a:lnTo>
                  <a:lnTo>
                    <a:pt x="872" y="443"/>
                  </a:lnTo>
                  <a:lnTo>
                    <a:pt x="874" y="441"/>
                  </a:lnTo>
                  <a:lnTo>
                    <a:pt x="877" y="439"/>
                  </a:lnTo>
                  <a:lnTo>
                    <a:pt x="881" y="435"/>
                  </a:lnTo>
                  <a:lnTo>
                    <a:pt x="879" y="435"/>
                  </a:lnTo>
                  <a:lnTo>
                    <a:pt x="879" y="433"/>
                  </a:lnTo>
                  <a:lnTo>
                    <a:pt x="876" y="437"/>
                  </a:lnTo>
                  <a:lnTo>
                    <a:pt x="872" y="437"/>
                  </a:lnTo>
                  <a:lnTo>
                    <a:pt x="863" y="443"/>
                  </a:lnTo>
                  <a:lnTo>
                    <a:pt x="859" y="444"/>
                  </a:lnTo>
                  <a:lnTo>
                    <a:pt x="857" y="445"/>
                  </a:lnTo>
                  <a:lnTo>
                    <a:pt x="855" y="444"/>
                  </a:lnTo>
                  <a:lnTo>
                    <a:pt x="853" y="446"/>
                  </a:lnTo>
                  <a:lnTo>
                    <a:pt x="850" y="447"/>
                  </a:lnTo>
                  <a:lnTo>
                    <a:pt x="844" y="447"/>
                  </a:lnTo>
                  <a:lnTo>
                    <a:pt x="843" y="447"/>
                  </a:lnTo>
                  <a:lnTo>
                    <a:pt x="841" y="446"/>
                  </a:lnTo>
                  <a:lnTo>
                    <a:pt x="839" y="446"/>
                  </a:lnTo>
                  <a:lnTo>
                    <a:pt x="838" y="446"/>
                  </a:lnTo>
                  <a:lnTo>
                    <a:pt x="837" y="447"/>
                  </a:lnTo>
                  <a:lnTo>
                    <a:pt x="835" y="446"/>
                  </a:lnTo>
                  <a:lnTo>
                    <a:pt x="834" y="445"/>
                  </a:lnTo>
                  <a:lnTo>
                    <a:pt x="833" y="444"/>
                  </a:lnTo>
                  <a:lnTo>
                    <a:pt x="833" y="443"/>
                  </a:lnTo>
                  <a:lnTo>
                    <a:pt x="834" y="440"/>
                  </a:lnTo>
                  <a:lnTo>
                    <a:pt x="830" y="437"/>
                  </a:lnTo>
                  <a:lnTo>
                    <a:pt x="835" y="425"/>
                  </a:lnTo>
                  <a:lnTo>
                    <a:pt x="839" y="413"/>
                  </a:lnTo>
                  <a:lnTo>
                    <a:pt x="834" y="407"/>
                  </a:lnTo>
                  <a:lnTo>
                    <a:pt x="833" y="407"/>
                  </a:lnTo>
                  <a:lnTo>
                    <a:pt x="829" y="411"/>
                  </a:lnTo>
                  <a:lnTo>
                    <a:pt x="825" y="411"/>
                  </a:lnTo>
                  <a:lnTo>
                    <a:pt x="821" y="410"/>
                  </a:lnTo>
                  <a:lnTo>
                    <a:pt x="821" y="410"/>
                  </a:lnTo>
                  <a:lnTo>
                    <a:pt x="821" y="407"/>
                  </a:lnTo>
                  <a:lnTo>
                    <a:pt x="820" y="406"/>
                  </a:lnTo>
                  <a:lnTo>
                    <a:pt x="819" y="406"/>
                  </a:lnTo>
                  <a:lnTo>
                    <a:pt x="817" y="407"/>
                  </a:lnTo>
                  <a:lnTo>
                    <a:pt x="806" y="417"/>
                  </a:lnTo>
                  <a:lnTo>
                    <a:pt x="804" y="422"/>
                  </a:lnTo>
                  <a:lnTo>
                    <a:pt x="800" y="425"/>
                  </a:lnTo>
                  <a:lnTo>
                    <a:pt x="800" y="426"/>
                  </a:lnTo>
                  <a:lnTo>
                    <a:pt x="798" y="429"/>
                  </a:lnTo>
                  <a:lnTo>
                    <a:pt x="797" y="430"/>
                  </a:lnTo>
                  <a:lnTo>
                    <a:pt x="794" y="439"/>
                  </a:lnTo>
                  <a:lnTo>
                    <a:pt x="793" y="439"/>
                  </a:lnTo>
                  <a:lnTo>
                    <a:pt x="790" y="440"/>
                  </a:lnTo>
                  <a:lnTo>
                    <a:pt x="789" y="441"/>
                  </a:lnTo>
                  <a:lnTo>
                    <a:pt x="788" y="442"/>
                  </a:lnTo>
                  <a:lnTo>
                    <a:pt x="788" y="443"/>
                  </a:lnTo>
                  <a:lnTo>
                    <a:pt x="788" y="444"/>
                  </a:lnTo>
                  <a:lnTo>
                    <a:pt x="786" y="443"/>
                  </a:lnTo>
                  <a:lnTo>
                    <a:pt x="786" y="443"/>
                  </a:lnTo>
                  <a:lnTo>
                    <a:pt x="786" y="445"/>
                  </a:lnTo>
                  <a:lnTo>
                    <a:pt x="784" y="444"/>
                  </a:lnTo>
                  <a:lnTo>
                    <a:pt x="780" y="445"/>
                  </a:lnTo>
                  <a:lnTo>
                    <a:pt x="779" y="445"/>
                  </a:lnTo>
                  <a:lnTo>
                    <a:pt x="777" y="445"/>
                  </a:lnTo>
                  <a:lnTo>
                    <a:pt x="775" y="446"/>
                  </a:lnTo>
                  <a:lnTo>
                    <a:pt x="773" y="450"/>
                  </a:lnTo>
                  <a:lnTo>
                    <a:pt x="772" y="450"/>
                  </a:lnTo>
                  <a:lnTo>
                    <a:pt x="746" y="450"/>
                  </a:lnTo>
                  <a:lnTo>
                    <a:pt x="727" y="450"/>
                  </a:lnTo>
                  <a:lnTo>
                    <a:pt x="723" y="450"/>
                  </a:lnTo>
                  <a:lnTo>
                    <a:pt x="717" y="453"/>
                  </a:lnTo>
                  <a:lnTo>
                    <a:pt x="712" y="456"/>
                  </a:lnTo>
                  <a:lnTo>
                    <a:pt x="711" y="457"/>
                  </a:lnTo>
                  <a:lnTo>
                    <a:pt x="709" y="457"/>
                  </a:lnTo>
                  <a:lnTo>
                    <a:pt x="705" y="461"/>
                  </a:lnTo>
                  <a:lnTo>
                    <a:pt x="702" y="462"/>
                  </a:lnTo>
                  <a:lnTo>
                    <a:pt x="692" y="465"/>
                  </a:lnTo>
                  <a:lnTo>
                    <a:pt x="689" y="466"/>
                  </a:lnTo>
                  <a:lnTo>
                    <a:pt x="689" y="464"/>
                  </a:lnTo>
                  <a:lnTo>
                    <a:pt x="688" y="464"/>
                  </a:lnTo>
                  <a:lnTo>
                    <a:pt x="686" y="465"/>
                  </a:lnTo>
                  <a:lnTo>
                    <a:pt x="685" y="465"/>
                  </a:lnTo>
                  <a:lnTo>
                    <a:pt x="686" y="465"/>
                  </a:lnTo>
                  <a:lnTo>
                    <a:pt x="687" y="469"/>
                  </a:lnTo>
                  <a:lnTo>
                    <a:pt x="687" y="470"/>
                  </a:lnTo>
                  <a:lnTo>
                    <a:pt x="684" y="470"/>
                  </a:lnTo>
                  <a:lnTo>
                    <a:pt x="684" y="469"/>
                  </a:lnTo>
                  <a:lnTo>
                    <a:pt x="681" y="469"/>
                  </a:lnTo>
                  <a:lnTo>
                    <a:pt x="679" y="467"/>
                  </a:lnTo>
                  <a:lnTo>
                    <a:pt x="676" y="467"/>
                  </a:lnTo>
                  <a:lnTo>
                    <a:pt x="672" y="467"/>
                  </a:lnTo>
                  <a:lnTo>
                    <a:pt x="655" y="472"/>
                  </a:lnTo>
                  <a:lnTo>
                    <a:pt x="651" y="474"/>
                  </a:lnTo>
                  <a:lnTo>
                    <a:pt x="648" y="476"/>
                  </a:lnTo>
                  <a:lnTo>
                    <a:pt x="646" y="477"/>
                  </a:lnTo>
                  <a:lnTo>
                    <a:pt x="643" y="481"/>
                  </a:lnTo>
                  <a:lnTo>
                    <a:pt x="648" y="482"/>
                  </a:lnTo>
                  <a:lnTo>
                    <a:pt x="651" y="482"/>
                  </a:lnTo>
                  <a:lnTo>
                    <a:pt x="653" y="481"/>
                  </a:lnTo>
                  <a:lnTo>
                    <a:pt x="653" y="484"/>
                  </a:lnTo>
                  <a:lnTo>
                    <a:pt x="653" y="485"/>
                  </a:lnTo>
                  <a:lnTo>
                    <a:pt x="653" y="489"/>
                  </a:lnTo>
                  <a:lnTo>
                    <a:pt x="647" y="487"/>
                  </a:lnTo>
                  <a:lnTo>
                    <a:pt x="645" y="487"/>
                  </a:lnTo>
                  <a:lnTo>
                    <a:pt x="643" y="487"/>
                  </a:lnTo>
                  <a:lnTo>
                    <a:pt x="642" y="487"/>
                  </a:lnTo>
                  <a:lnTo>
                    <a:pt x="636" y="489"/>
                  </a:lnTo>
                  <a:lnTo>
                    <a:pt x="633" y="490"/>
                  </a:lnTo>
                  <a:lnTo>
                    <a:pt x="627" y="493"/>
                  </a:lnTo>
                  <a:lnTo>
                    <a:pt x="624" y="492"/>
                  </a:lnTo>
                  <a:lnTo>
                    <a:pt x="620" y="492"/>
                  </a:lnTo>
                  <a:lnTo>
                    <a:pt x="614" y="493"/>
                  </a:lnTo>
                  <a:lnTo>
                    <a:pt x="612" y="494"/>
                  </a:lnTo>
                  <a:lnTo>
                    <a:pt x="611" y="494"/>
                  </a:lnTo>
                  <a:lnTo>
                    <a:pt x="607" y="497"/>
                  </a:lnTo>
                  <a:lnTo>
                    <a:pt x="606" y="497"/>
                  </a:lnTo>
                  <a:lnTo>
                    <a:pt x="603" y="499"/>
                  </a:lnTo>
                  <a:lnTo>
                    <a:pt x="601" y="500"/>
                  </a:lnTo>
                  <a:lnTo>
                    <a:pt x="597" y="502"/>
                  </a:lnTo>
                  <a:lnTo>
                    <a:pt x="595" y="503"/>
                  </a:lnTo>
                  <a:lnTo>
                    <a:pt x="595" y="504"/>
                  </a:lnTo>
                  <a:lnTo>
                    <a:pt x="591" y="503"/>
                  </a:lnTo>
                  <a:lnTo>
                    <a:pt x="590" y="504"/>
                  </a:lnTo>
                  <a:lnTo>
                    <a:pt x="585" y="504"/>
                  </a:lnTo>
                  <a:lnTo>
                    <a:pt x="586" y="501"/>
                  </a:lnTo>
                  <a:lnTo>
                    <a:pt x="589" y="497"/>
                  </a:lnTo>
                  <a:lnTo>
                    <a:pt x="591" y="496"/>
                  </a:lnTo>
                  <a:lnTo>
                    <a:pt x="591" y="497"/>
                  </a:lnTo>
                  <a:lnTo>
                    <a:pt x="593" y="499"/>
                  </a:lnTo>
                  <a:lnTo>
                    <a:pt x="596" y="497"/>
                  </a:lnTo>
                  <a:lnTo>
                    <a:pt x="597" y="497"/>
                  </a:lnTo>
                  <a:lnTo>
                    <a:pt x="597" y="496"/>
                  </a:lnTo>
                  <a:lnTo>
                    <a:pt x="598" y="495"/>
                  </a:lnTo>
                  <a:lnTo>
                    <a:pt x="598" y="495"/>
                  </a:lnTo>
                  <a:lnTo>
                    <a:pt x="597" y="494"/>
                  </a:lnTo>
                  <a:lnTo>
                    <a:pt x="597" y="492"/>
                  </a:lnTo>
                  <a:lnTo>
                    <a:pt x="597" y="492"/>
                  </a:lnTo>
                  <a:lnTo>
                    <a:pt x="602" y="485"/>
                  </a:lnTo>
                  <a:lnTo>
                    <a:pt x="603" y="484"/>
                  </a:lnTo>
                  <a:lnTo>
                    <a:pt x="605" y="484"/>
                  </a:lnTo>
                  <a:lnTo>
                    <a:pt x="607" y="483"/>
                  </a:lnTo>
                  <a:lnTo>
                    <a:pt x="608" y="482"/>
                  </a:lnTo>
                  <a:lnTo>
                    <a:pt x="611" y="482"/>
                  </a:lnTo>
                  <a:lnTo>
                    <a:pt x="614" y="479"/>
                  </a:lnTo>
                  <a:lnTo>
                    <a:pt x="616" y="475"/>
                  </a:lnTo>
                  <a:lnTo>
                    <a:pt x="617" y="472"/>
                  </a:lnTo>
                  <a:lnTo>
                    <a:pt x="618" y="467"/>
                  </a:lnTo>
                  <a:lnTo>
                    <a:pt x="620" y="465"/>
                  </a:lnTo>
                  <a:lnTo>
                    <a:pt x="627" y="459"/>
                  </a:lnTo>
                  <a:lnTo>
                    <a:pt x="628" y="456"/>
                  </a:lnTo>
                  <a:lnTo>
                    <a:pt x="630" y="454"/>
                  </a:lnTo>
                  <a:lnTo>
                    <a:pt x="631" y="453"/>
                  </a:lnTo>
                  <a:lnTo>
                    <a:pt x="631" y="450"/>
                  </a:lnTo>
                  <a:lnTo>
                    <a:pt x="631" y="446"/>
                  </a:lnTo>
                  <a:lnTo>
                    <a:pt x="630" y="446"/>
                  </a:lnTo>
                  <a:lnTo>
                    <a:pt x="630" y="445"/>
                  </a:lnTo>
                  <a:lnTo>
                    <a:pt x="630" y="444"/>
                  </a:lnTo>
                  <a:lnTo>
                    <a:pt x="634" y="445"/>
                  </a:lnTo>
                  <a:lnTo>
                    <a:pt x="633" y="449"/>
                  </a:lnTo>
                  <a:lnTo>
                    <a:pt x="634" y="451"/>
                  </a:lnTo>
                  <a:lnTo>
                    <a:pt x="634" y="452"/>
                  </a:lnTo>
                  <a:lnTo>
                    <a:pt x="635" y="451"/>
                  </a:lnTo>
                  <a:lnTo>
                    <a:pt x="636" y="450"/>
                  </a:lnTo>
                  <a:lnTo>
                    <a:pt x="635" y="453"/>
                  </a:lnTo>
                  <a:lnTo>
                    <a:pt x="636" y="453"/>
                  </a:lnTo>
                  <a:lnTo>
                    <a:pt x="635" y="455"/>
                  </a:lnTo>
                  <a:lnTo>
                    <a:pt x="635" y="456"/>
                  </a:lnTo>
                  <a:lnTo>
                    <a:pt x="637" y="454"/>
                  </a:lnTo>
                  <a:lnTo>
                    <a:pt x="638" y="454"/>
                  </a:lnTo>
                  <a:lnTo>
                    <a:pt x="640" y="456"/>
                  </a:lnTo>
                  <a:lnTo>
                    <a:pt x="641" y="457"/>
                  </a:lnTo>
                  <a:lnTo>
                    <a:pt x="643" y="457"/>
                  </a:lnTo>
                  <a:lnTo>
                    <a:pt x="647" y="457"/>
                  </a:lnTo>
                  <a:lnTo>
                    <a:pt x="648" y="456"/>
                  </a:lnTo>
                  <a:lnTo>
                    <a:pt x="650" y="455"/>
                  </a:lnTo>
                  <a:lnTo>
                    <a:pt x="648" y="453"/>
                  </a:lnTo>
                  <a:lnTo>
                    <a:pt x="650" y="452"/>
                  </a:lnTo>
                  <a:lnTo>
                    <a:pt x="650" y="452"/>
                  </a:lnTo>
                  <a:lnTo>
                    <a:pt x="651" y="453"/>
                  </a:lnTo>
                  <a:lnTo>
                    <a:pt x="653" y="453"/>
                  </a:lnTo>
                  <a:lnTo>
                    <a:pt x="654" y="453"/>
                  </a:lnTo>
                  <a:lnTo>
                    <a:pt x="655" y="452"/>
                  </a:lnTo>
                  <a:lnTo>
                    <a:pt x="654" y="452"/>
                  </a:lnTo>
                  <a:lnTo>
                    <a:pt x="654" y="451"/>
                  </a:lnTo>
                  <a:lnTo>
                    <a:pt x="653" y="450"/>
                  </a:lnTo>
                  <a:lnTo>
                    <a:pt x="652" y="447"/>
                  </a:lnTo>
                  <a:lnTo>
                    <a:pt x="653" y="446"/>
                  </a:lnTo>
                  <a:lnTo>
                    <a:pt x="653" y="444"/>
                  </a:lnTo>
                  <a:lnTo>
                    <a:pt x="653" y="443"/>
                  </a:lnTo>
                  <a:lnTo>
                    <a:pt x="652" y="443"/>
                  </a:lnTo>
                  <a:lnTo>
                    <a:pt x="651" y="442"/>
                  </a:lnTo>
                  <a:lnTo>
                    <a:pt x="650" y="441"/>
                  </a:lnTo>
                  <a:lnTo>
                    <a:pt x="647" y="439"/>
                  </a:lnTo>
                  <a:lnTo>
                    <a:pt x="648" y="434"/>
                  </a:lnTo>
                  <a:lnTo>
                    <a:pt x="646" y="433"/>
                  </a:lnTo>
                  <a:lnTo>
                    <a:pt x="644" y="433"/>
                  </a:lnTo>
                  <a:lnTo>
                    <a:pt x="638" y="432"/>
                  </a:lnTo>
                  <a:lnTo>
                    <a:pt x="635" y="433"/>
                  </a:lnTo>
                  <a:lnTo>
                    <a:pt x="635" y="432"/>
                  </a:lnTo>
                  <a:lnTo>
                    <a:pt x="636" y="431"/>
                  </a:lnTo>
                  <a:lnTo>
                    <a:pt x="633" y="431"/>
                  </a:lnTo>
                  <a:lnTo>
                    <a:pt x="630" y="431"/>
                  </a:lnTo>
                  <a:lnTo>
                    <a:pt x="625" y="430"/>
                  </a:lnTo>
                  <a:lnTo>
                    <a:pt x="624" y="429"/>
                  </a:lnTo>
                  <a:lnTo>
                    <a:pt x="623" y="430"/>
                  </a:lnTo>
                  <a:lnTo>
                    <a:pt x="621" y="429"/>
                  </a:lnTo>
                  <a:lnTo>
                    <a:pt x="620" y="427"/>
                  </a:lnTo>
                  <a:lnTo>
                    <a:pt x="616" y="429"/>
                  </a:lnTo>
                  <a:lnTo>
                    <a:pt x="615" y="429"/>
                  </a:lnTo>
                  <a:lnTo>
                    <a:pt x="614" y="429"/>
                  </a:lnTo>
                  <a:lnTo>
                    <a:pt x="606" y="426"/>
                  </a:lnTo>
                  <a:lnTo>
                    <a:pt x="603" y="426"/>
                  </a:lnTo>
                  <a:lnTo>
                    <a:pt x="602" y="426"/>
                  </a:lnTo>
                  <a:lnTo>
                    <a:pt x="602" y="425"/>
                  </a:lnTo>
                  <a:lnTo>
                    <a:pt x="602" y="422"/>
                  </a:lnTo>
                  <a:lnTo>
                    <a:pt x="601" y="421"/>
                  </a:lnTo>
                  <a:lnTo>
                    <a:pt x="601" y="422"/>
                  </a:lnTo>
                  <a:lnTo>
                    <a:pt x="600" y="422"/>
                  </a:lnTo>
                  <a:lnTo>
                    <a:pt x="600" y="423"/>
                  </a:lnTo>
                  <a:lnTo>
                    <a:pt x="597" y="423"/>
                  </a:lnTo>
                  <a:lnTo>
                    <a:pt x="598" y="423"/>
                  </a:lnTo>
                  <a:lnTo>
                    <a:pt x="598" y="423"/>
                  </a:lnTo>
                  <a:lnTo>
                    <a:pt x="597" y="422"/>
                  </a:lnTo>
                  <a:lnTo>
                    <a:pt x="597" y="421"/>
                  </a:lnTo>
                  <a:lnTo>
                    <a:pt x="600" y="419"/>
                  </a:lnTo>
                  <a:lnTo>
                    <a:pt x="598" y="420"/>
                  </a:lnTo>
                  <a:lnTo>
                    <a:pt x="598" y="417"/>
                  </a:lnTo>
                  <a:lnTo>
                    <a:pt x="601" y="416"/>
                  </a:lnTo>
                  <a:lnTo>
                    <a:pt x="598" y="414"/>
                  </a:lnTo>
                  <a:lnTo>
                    <a:pt x="598" y="412"/>
                  </a:lnTo>
                  <a:lnTo>
                    <a:pt x="602" y="409"/>
                  </a:lnTo>
                  <a:lnTo>
                    <a:pt x="600" y="404"/>
                  </a:lnTo>
                  <a:lnTo>
                    <a:pt x="600" y="403"/>
                  </a:lnTo>
                  <a:lnTo>
                    <a:pt x="602" y="399"/>
                  </a:lnTo>
                  <a:lnTo>
                    <a:pt x="603" y="396"/>
                  </a:lnTo>
                  <a:lnTo>
                    <a:pt x="597" y="398"/>
                  </a:lnTo>
                  <a:lnTo>
                    <a:pt x="591" y="398"/>
                  </a:lnTo>
                  <a:lnTo>
                    <a:pt x="589" y="395"/>
                  </a:lnTo>
                  <a:lnTo>
                    <a:pt x="589" y="389"/>
                  </a:lnTo>
                  <a:lnTo>
                    <a:pt x="589" y="385"/>
                  </a:lnTo>
                  <a:lnTo>
                    <a:pt x="587" y="383"/>
                  </a:lnTo>
                  <a:lnTo>
                    <a:pt x="585" y="383"/>
                  </a:lnTo>
                  <a:lnTo>
                    <a:pt x="583" y="382"/>
                  </a:lnTo>
                  <a:lnTo>
                    <a:pt x="579" y="382"/>
                  </a:lnTo>
                  <a:lnTo>
                    <a:pt x="575" y="391"/>
                  </a:lnTo>
                  <a:lnTo>
                    <a:pt x="574" y="381"/>
                  </a:lnTo>
                  <a:lnTo>
                    <a:pt x="566" y="379"/>
                  </a:lnTo>
                  <a:lnTo>
                    <a:pt x="565" y="380"/>
                  </a:lnTo>
                  <a:lnTo>
                    <a:pt x="565" y="380"/>
                  </a:lnTo>
                  <a:lnTo>
                    <a:pt x="563" y="384"/>
                  </a:lnTo>
                  <a:lnTo>
                    <a:pt x="562" y="385"/>
                  </a:lnTo>
                  <a:lnTo>
                    <a:pt x="560" y="386"/>
                  </a:lnTo>
                  <a:lnTo>
                    <a:pt x="557" y="388"/>
                  </a:lnTo>
                  <a:lnTo>
                    <a:pt x="556" y="389"/>
                  </a:lnTo>
                  <a:lnTo>
                    <a:pt x="556" y="386"/>
                  </a:lnTo>
                  <a:lnTo>
                    <a:pt x="559" y="385"/>
                  </a:lnTo>
                  <a:lnTo>
                    <a:pt x="560" y="383"/>
                  </a:lnTo>
                  <a:lnTo>
                    <a:pt x="561" y="382"/>
                  </a:lnTo>
                  <a:lnTo>
                    <a:pt x="559" y="383"/>
                  </a:lnTo>
                  <a:lnTo>
                    <a:pt x="553" y="389"/>
                  </a:lnTo>
                  <a:lnTo>
                    <a:pt x="553" y="390"/>
                  </a:lnTo>
                  <a:lnTo>
                    <a:pt x="551" y="390"/>
                  </a:lnTo>
                  <a:lnTo>
                    <a:pt x="551" y="389"/>
                  </a:lnTo>
                  <a:lnTo>
                    <a:pt x="552" y="386"/>
                  </a:lnTo>
                  <a:lnTo>
                    <a:pt x="547" y="390"/>
                  </a:lnTo>
                  <a:lnTo>
                    <a:pt x="544" y="393"/>
                  </a:lnTo>
                  <a:lnTo>
                    <a:pt x="542" y="393"/>
                  </a:lnTo>
                  <a:lnTo>
                    <a:pt x="542" y="394"/>
                  </a:lnTo>
                  <a:lnTo>
                    <a:pt x="535" y="396"/>
                  </a:lnTo>
                  <a:lnTo>
                    <a:pt x="534" y="396"/>
                  </a:lnTo>
                  <a:lnTo>
                    <a:pt x="531" y="395"/>
                  </a:lnTo>
                  <a:lnTo>
                    <a:pt x="524" y="395"/>
                  </a:lnTo>
                  <a:lnTo>
                    <a:pt x="521" y="393"/>
                  </a:lnTo>
                  <a:lnTo>
                    <a:pt x="517" y="394"/>
                  </a:lnTo>
                  <a:lnTo>
                    <a:pt x="514" y="395"/>
                  </a:lnTo>
                  <a:lnTo>
                    <a:pt x="512" y="395"/>
                  </a:lnTo>
                  <a:lnTo>
                    <a:pt x="510" y="394"/>
                  </a:lnTo>
                  <a:lnTo>
                    <a:pt x="509" y="392"/>
                  </a:lnTo>
                  <a:lnTo>
                    <a:pt x="506" y="391"/>
                  </a:lnTo>
                  <a:lnTo>
                    <a:pt x="505" y="390"/>
                  </a:lnTo>
                  <a:lnTo>
                    <a:pt x="503" y="390"/>
                  </a:lnTo>
                  <a:lnTo>
                    <a:pt x="502" y="389"/>
                  </a:lnTo>
                  <a:lnTo>
                    <a:pt x="501" y="388"/>
                  </a:lnTo>
                  <a:lnTo>
                    <a:pt x="500" y="386"/>
                  </a:lnTo>
                  <a:lnTo>
                    <a:pt x="498" y="385"/>
                  </a:lnTo>
                  <a:lnTo>
                    <a:pt x="491" y="384"/>
                  </a:lnTo>
                  <a:lnTo>
                    <a:pt x="489" y="385"/>
                  </a:lnTo>
                  <a:lnTo>
                    <a:pt x="485" y="386"/>
                  </a:lnTo>
                  <a:lnTo>
                    <a:pt x="484" y="385"/>
                  </a:lnTo>
                  <a:lnTo>
                    <a:pt x="484" y="385"/>
                  </a:lnTo>
                  <a:lnTo>
                    <a:pt x="484" y="384"/>
                  </a:lnTo>
                  <a:lnTo>
                    <a:pt x="481" y="384"/>
                  </a:lnTo>
                  <a:lnTo>
                    <a:pt x="480" y="383"/>
                  </a:lnTo>
                  <a:lnTo>
                    <a:pt x="478" y="383"/>
                  </a:lnTo>
                  <a:lnTo>
                    <a:pt x="476" y="383"/>
                  </a:lnTo>
                  <a:lnTo>
                    <a:pt x="475" y="383"/>
                  </a:lnTo>
                  <a:lnTo>
                    <a:pt x="473" y="383"/>
                  </a:lnTo>
                  <a:lnTo>
                    <a:pt x="473" y="379"/>
                  </a:lnTo>
                  <a:lnTo>
                    <a:pt x="473" y="379"/>
                  </a:lnTo>
                  <a:lnTo>
                    <a:pt x="474" y="372"/>
                  </a:lnTo>
                  <a:lnTo>
                    <a:pt x="472" y="371"/>
                  </a:lnTo>
                  <a:lnTo>
                    <a:pt x="471" y="371"/>
                  </a:lnTo>
                  <a:lnTo>
                    <a:pt x="468" y="379"/>
                  </a:lnTo>
                  <a:lnTo>
                    <a:pt x="452" y="379"/>
                  </a:lnTo>
                  <a:lnTo>
                    <a:pt x="438" y="379"/>
                  </a:lnTo>
                  <a:lnTo>
                    <a:pt x="435" y="379"/>
                  </a:lnTo>
                  <a:lnTo>
                    <a:pt x="423" y="379"/>
                  </a:lnTo>
                  <a:lnTo>
                    <a:pt x="411" y="379"/>
                  </a:lnTo>
                  <a:lnTo>
                    <a:pt x="398" y="379"/>
                  </a:lnTo>
                  <a:lnTo>
                    <a:pt x="384" y="379"/>
                  </a:lnTo>
                  <a:lnTo>
                    <a:pt x="380" y="379"/>
                  </a:lnTo>
                  <a:lnTo>
                    <a:pt x="342" y="379"/>
                  </a:lnTo>
                  <a:lnTo>
                    <a:pt x="331" y="379"/>
                  </a:lnTo>
                  <a:lnTo>
                    <a:pt x="318" y="379"/>
                  </a:lnTo>
                  <a:lnTo>
                    <a:pt x="304" y="379"/>
                  </a:lnTo>
                  <a:lnTo>
                    <a:pt x="293" y="379"/>
                  </a:lnTo>
                  <a:lnTo>
                    <a:pt x="281" y="379"/>
                  </a:lnTo>
                  <a:lnTo>
                    <a:pt x="267" y="379"/>
                  </a:lnTo>
                  <a:lnTo>
                    <a:pt x="259" y="379"/>
                  </a:lnTo>
                  <a:lnTo>
                    <a:pt x="247" y="379"/>
                  </a:lnTo>
                  <a:lnTo>
                    <a:pt x="232" y="379"/>
                  </a:lnTo>
                  <a:lnTo>
                    <a:pt x="220" y="379"/>
                  </a:lnTo>
                  <a:lnTo>
                    <a:pt x="202" y="379"/>
                  </a:lnTo>
                  <a:lnTo>
                    <a:pt x="174" y="379"/>
                  </a:lnTo>
                  <a:lnTo>
                    <a:pt x="160" y="379"/>
                  </a:lnTo>
                  <a:lnTo>
                    <a:pt x="147" y="379"/>
                  </a:lnTo>
                  <a:lnTo>
                    <a:pt x="136" y="379"/>
                  </a:lnTo>
                  <a:lnTo>
                    <a:pt x="122" y="379"/>
                  </a:lnTo>
                  <a:lnTo>
                    <a:pt x="109" y="379"/>
                  </a:lnTo>
                  <a:lnTo>
                    <a:pt x="97" y="379"/>
                  </a:lnTo>
                  <a:lnTo>
                    <a:pt x="80" y="379"/>
                  </a:lnTo>
                  <a:lnTo>
                    <a:pt x="81" y="378"/>
                  </a:lnTo>
                  <a:lnTo>
                    <a:pt x="79" y="378"/>
                  </a:lnTo>
                  <a:lnTo>
                    <a:pt x="78" y="378"/>
                  </a:lnTo>
                  <a:lnTo>
                    <a:pt x="78" y="376"/>
                  </a:lnTo>
                  <a:lnTo>
                    <a:pt x="79" y="376"/>
                  </a:lnTo>
                  <a:lnTo>
                    <a:pt x="83" y="375"/>
                  </a:lnTo>
                  <a:lnTo>
                    <a:pt x="85" y="375"/>
                  </a:lnTo>
                  <a:lnTo>
                    <a:pt x="86" y="374"/>
                  </a:lnTo>
                  <a:lnTo>
                    <a:pt x="85" y="374"/>
                  </a:lnTo>
                  <a:lnTo>
                    <a:pt x="85" y="373"/>
                  </a:lnTo>
                  <a:lnTo>
                    <a:pt x="85" y="373"/>
                  </a:lnTo>
                  <a:lnTo>
                    <a:pt x="81" y="374"/>
                  </a:lnTo>
                  <a:lnTo>
                    <a:pt x="78" y="374"/>
                  </a:lnTo>
                  <a:lnTo>
                    <a:pt x="78" y="373"/>
                  </a:lnTo>
                  <a:lnTo>
                    <a:pt x="79" y="373"/>
                  </a:lnTo>
                  <a:lnTo>
                    <a:pt x="79" y="372"/>
                  </a:lnTo>
                  <a:lnTo>
                    <a:pt x="79" y="371"/>
                  </a:lnTo>
                  <a:lnTo>
                    <a:pt x="80" y="371"/>
                  </a:lnTo>
                  <a:lnTo>
                    <a:pt x="84" y="366"/>
                  </a:lnTo>
                  <a:lnTo>
                    <a:pt x="83" y="365"/>
                  </a:lnTo>
                  <a:lnTo>
                    <a:pt x="81" y="366"/>
                  </a:lnTo>
                  <a:lnTo>
                    <a:pt x="78" y="369"/>
                  </a:lnTo>
                  <a:lnTo>
                    <a:pt x="76" y="371"/>
                  </a:lnTo>
                  <a:lnTo>
                    <a:pt x="74" y="371"/>
                  </a:lnTo>
                  <a:lnTo>
                    <a:pt x="75" y="369"/>
                  </a:lnTo>
                  <a:lnTo>
                    <a:pt x="75" y="369"/>
                  </a:lnTo>
                  <a:lnTo>
                    <a:pt x="77" y="366"/>
                  </a:lnTo>
                  <a:lnTo>
                    <a:pt x="76" y="366"/>
                  </a:lnTo>
                  <a:lnTo>
                    <a:pt x="76" y="365"/>
                  </a:lnTo>
                  <a:lnTo>
                    <a:pt x="76" y="365"/>
                  </a:lnTo>
                  <a:lnTo>
                    <a:pt x="76" y="364"/>
                  </a:lnTo>
                  <a:lnTo>
                    <a:pt x="76" y="363"/>
                  </a:lnTo>
                  <a:lnTo>
                    <a:pt x="76" y="362"/>
                  </a:lnTo>
                  <a:lnTo>
                    <a:pt x="77" y="360"/>
                  </a:lnTo>
                  <a:lnTo>
                    <a:pt x="76" y="361"/>
                  </a:lnTo>
                  <a:lnTo>
                    <a:pt x="75" y="362"/>
                  </a:lnTo>
                  <a:lnTo>
                    <a:pt x="75" y="363"/>
                  </a:lnTo>
                  <a:lnTo>
                    <a:pt x="74" y="362"/>
                  </a:lnTo>
                  <a:lnTo>
                    <a:pt x="71" y="363"/>
                  </a:lnTo>
                  <a:lnTo>
                    <a:pt x="70" y="364"/>
                  </a:lnTo>
                  <a:lnTo>
                    <a:pt x="67" y="364"/>
                  </a:lnTo>
                  <a:lnTo>
                    <a:pt x="66" y="362"/>
                  </a:lnTo>
                  <a:lnTo>
                    <a:pt x="66" y="362"/>
                  </a:lnTo>
                  <a:lnTo>
                    <a:pt x="65" y="360"/>
                  </a:lnTo>
                  <a:lnTo>
                    <a:pt x="65" y="360"/>
                  </a:lnTo>
                  <a:lnTo>
                    <a:pt x="68" y="358"/>
                  </a:lnTo>
                  <a:lnTo>
                    <a:pt x="69" y="358"/>
                  </a:lnTo>
                  <a:lnTo>
                    <a:pt x="70" y="355"/>
                  </a:lnTo>
                  <a:lnTo>
                    <a:pt x="70" y="355"/>
                  </a:lnTo>
                  <a:lnTo>
                    <a:pt x="71" y="353"/>
                  </a:lnTo>
                  <a:lnTo>
                    <a:pt x="71" y="353"/>
                  </a:lnTo>
                  <a:lnTo>
                    <a:pt x="69" y="354"/>
                  </a:lnTo>
                  <a:lnTo>
                    <a:pt x="67" y="354"/>
                  </a:lnTo>
                  <a:lnTo>
                    <a:pt x="67" y="353"/>
                  </a:lnTo>
                  <a:lnTo>
                    <a:pt x="68" y="351"/>
                  </a:lnTo>
                  <a:lnTo>
                    <a:pt x="67" y="351"/>
                  </a:lnTo>
                  <a:lnTo>
                    <a:pt x="64" y="352"/>
                  </a:lnTo>
                  <a:lnTo>
                    <a:pt x="61" y="352"/>
                  </a:lnTo>
                  <a:lnTo>
                    <a:pt x="60" y="352"/>
                  </a:lnTo>
                  <a:lnTo>
                    <a:pt x="59" y="351"/>
                  </a:lnTo>
                  <a:lnTo>
                    <a:pt x="58" y="352"/>
                  </a:lnTo>
                  <a:lnTo>
                    <a:pt x="57" y="352"/>
                  </a:lnTo>
                  <a:lnTo>
                    <a:pt x="56" y="352"/>
                  </a:lnTo>
                  <a:lnTo>
                    <a:pt x="49" y="351"/>
                  </a:lnTo>
                  <a:lnTo>
                    <a:pt x="48" y="351"/>
                  </a:lnTo>
                  <a:lnTo>
                    <a:pt x="56" y="349"/>
                  </a:lnTo>
                  <a:lnTo>
                    <a:pt x="57" y="349"/>
                  </a:lnTo>
                  <a:lnTo>
                    <a:pt x="55" y="349"/>
                  </a:lnTo>
                  <a:lnTo>
                    <a:pt x="56" y="346"/>
                  </a:lnTo>
                  <a:lnTo>
                    <a:pt x="55" y="345"/>
                  </a:lnTo>
                  <a:lnTo>
                    <a:pt x="53" y="345"/>
                  </a:lnTo>
                  <a:lnTo>
                    <a:pt x="54" y="345"/>
                  </a:lnTo>
                  <a:lnTo>
                    <a:pt x="55" y="345"/>
                  </a:lnTo>
                  <a:lnTo>
                    <a:pt x="57" y="344"/>
                  </a:lnTo>
                  <a:lnTo>
                    <a:pt x="56" y="343"/>
                  </a:lnTo>
                  <a:lnTo>
                    <a:pt x="53" y="343"/>
                  </a:lnTo>
                  <a:lnTo>
                    <a:pt x="49" y="344"/>
                  </a:lnTo>
                  <a:lnTo>
                    <a:pt x="49" y="344"/>
                  </a:lnTo>
                  <a:lnTo>
                    <a:pt x="45" y="343"/>
                  </a:lnTo>
                  <a:lnTo>
                    <a:pt x="44" y="344"/>
                  </a:lnTo>
                  <a:lnTo>
                    <a:pt x="44" y="345"/>
                  </a:lnTo>
                  <a:lnTo>
                    <a:pt x="43" y="345"/>
                  </a:lnTo>
                  <a:lnTo>
                    <a:pt x="39" y="343"/>
                  </a:lnTo>
                  <a:lnTo>
                    <a:pt x="38" y="341"/>
                  </a:lnTo>
                  <a:lnTo>
                    <a:pt x="38" y="340"/>
                  </a:lnTo>
                  <a:lnTo>
                    <a:pt x="39" y="339"/>
                  </a:lnTo>
                  <a:lnTo>
                    <a:pt x="41" y="338"/>
                  </a:lnTo>
                  <a:lnTo>
                    <a:pt x="43" y="339"/>
                  </a:lnTo>
                  <a:lnTo>
                    <a:pt x="45" y="338"/>
                  </a:lnTo>
                  <a:lnTo>
                    <a:pt x="45" y="336"/>
                  </a:lnTo>
                  <a:lnTo>
                    <a:pt x="44" y="336"/>
                  </a:lnTo>
                  <a:lnTo>
                    <a:pt x="40" y="336"/>
                  </a:lnTo>
                  <a:lnTo>
                    <a:pt x="41" y="335"/>
                  </a:lnTo>
                  <a:lnTo>
                    <a:pt x="45" y="335"/>
                  </a:lnTo>
                  <a:lnTo>
                    <a:pt x="48" y="335"/>
                  </a:lnTo>
                  <a:lnTo>
                    <a:pt x="49" y="334"/>
                  </a:lnTo>
                  <a:lnTo>
                    <a:pt x="47" y="334"/>
                  </a:lnTo>
                  <a:lnTo>
                    <a:pt x="47" y="333"/>
                  </a:lnTo>
                  <a:lnTo>
                    <a:pt x="49" y="332"/>
                  </a:lnTo>
                  <a:lnTo>
                    <a:pt x="49" y="330"/>
                  </a:lnTo>
                  <a:lnTo>
                    <a:pt x="45" y="332"/>
                  </a:lnTo>
                  <a:lnTo>
                    <a:pt x="44" y="333"/>
                  </a:lnTo>
                  <a:lnTo>
                    <a:pt x="43" y="332"/>
                  </a:lnTo>
                  <a:lnTo>
                    <a:pt x="44" y="331"/>
                  </a:lnTo>
                  <a:lnTo>
                    <a:pt x="45" y="329"/>
                  </a:lnTo>
                  <a:lnTo>
                    <a:pt x="48" y="326"/>
                  </a:lnTo>
                  <a:lnTo>
                    <a:pt x="47" y="325"/>
                  </a:lnTo>
                  <a:lnTo>
                    <a:pt x="47" y="325"/>
                  </a:lnTo>
                  <a:lnTo>
                    <a:pt x="48" y="324"/>
                  </a:lnTo>
                  <a:lnTo>
                    <a:pt x="50" y="322"/>
                  </a:lnTo>
                  <a:lnTo>
                    <a:pt x="51" y="321"/>
                  </a:lnTo>
                  <a:lnTo>
                    <a:pt x="50" y="321"/>
                  </a:lnTo>
                  <a:lnTo>
                    <a:pt x="51" y="319"/>
                  </a:lnTo>
                  <a:lnTo>
                    <a:pt x="53" y="318"/>
                  </a:lnTo>
                  <a:lnTo>
                    <a:pt x="48" y="320"/>
                  </a:lnTo>
                  <a:lnTo>
                    <a:pt x="46" y="320"/>
                  </a:lnTo>
                  <a:lnTo>
                    <a:pt x="47" y="319"/>
                  </a:lnTo>
                  <a:lnTo>
                    <a:pt x="48" y="318"/>
                  </a:lnTo>
                  <a:lnTo>
                    <a:pt x="49" y="318"/>
                  </a:lnTo>
                  <a:lnTo>
                    <a:pt x="49" y="316"/>
                  </a:lnTo>
                  <a:lnTo>
                    <a:pt x="47" y="316"/>
                  </a:lnTo>
                  <a:lnTo>
                    <a:pt x="45" y="316"/>
                  </a:lnTo>
                  <a:lnTo>
                    <a:pt x="43" y="316"/>
                  </a:lnTo>
                  <a:lnTo>
                    <a:pt x="43" y="316"/>
                  </a:lnTo>
                  <a:lnTo>
                    <a:pt x="44" y="313"/>
                  </a:lnTo>
                  <a:lnTo>
                    <a:pt x="43" y="313"/>
                  </a:lnTo>
                  <a:lnTo>
                    <a:pt x="43" y="311"/>
                  </a:lnTo>
                  <a:lnTo>
                    <a:pt x="44" y="310"/>
                  </a:lnTo>
                  <a:lnTo>
                    <a:pt x="44" y="309"/>
                  </a:lnTo>
                  <a:lnTo>
                    <a:pt x="46" y="306"/>
                  </a:lnTo>
                  <a:lnTo>
                    <a:pt x="47" y="305"/>
                  </a:lnTo>
                  <a:lnTo>
                    <a:pt x="49" y="303"/>
                  </a:lnTo>
                  <a:lnTo>
                    <a:pt x="50" y="301"/>
                  </a:lnTo>
                  <a:lnTo>
                    <a:pt x="50" y="301"/>
                  </a:lnTo>
                  <a:lnTo>
                    <a:pt x="50" y="300"/>
                  </a:lnTo>
                  <a:lnTo>
                    <a:pt x="48" y="301"/>
                  </a:lnTo>
                  <a:lnTo>
                    <a:pt x="48" y="301"/>
                  </a:lnTo>
                  <a:lnTo>
                    <a:pt x="47" y="301"/>
                  </a:lnTo>
                  <a:lnTo>
                    <a:pt x="47" y="300"/>
                  </a:lnTo>
                  <a:lnTo>
                    <a:pt x="47" y="300"/>
                  </a:lnTo>
                  <a:lnTo>
                    <a:pt x="46" y="298"/>
                  </a:lnTo>
                  <a:lnTo>
                    <a:pt x="46" y="295"/>
                  </a:lnTo>
                  <a:lnTo>
                    <a:pt x="46" y="294"/>
                  </a:lnTo>
                  <a:lnTo>
                    <a:pt x="44" y="292"/>
                  </a:lnTo>
                  <a:lnTo>
                    <a:pt x="44" y="291"/>
                  </a:lnTo>
                  <a:lnTo>
                    <a:pt x="46" y="290"/>
                  </a:lnTo>
                  <a:lnTo>
                    <a:pt x="48" y="289"/>
                  </a:lnTo>
                  <a:lnTo>
                    <a:pt x="49" y="289"/>
                  </a:lnTo>
                  <a:lnTo>
                    <a:pt x="50" y="288"/>
                  </a:lnTo>
                  <a:lnTo>
                    <a:pt x="46" y="288"/>
                  </a:lnTo>
                  <a:lnTo>
                    <a:pt x="46" y="288"/>
                  </a:lnTo>
                  <a:lnTo>
                    <a:pt x="46" y="284"/>
                  </a:lnTo>
                  <a:lnTo>
                    <a:pt x="46" y="284"/>
                  </a:lnTo>
                  <a:lnTo>
                    <a:pt x="47" y="282"/>
                  </a:lnTo>
                  <a:lnTo>
                    <a:pt x="49" y="281"/>
                  </a:lnTo>
                  <a:lnTo>
                    <a:pt x="51" y="279"/>
                  </a:lnTo>
                  <a:lnTo>
                    <a:pt x="53" y="279"/>
                  </a:lnTo>
                  <a:lnTo>
                    <a:pt x="54" y="280"/>
                  </a:lnTo>
                  <a:lnTo>
                    <a:pt x="55" y="279"/>
                  </a:lnTo>
                  <a:lnTo>
                    <a:pt x="55" y="278"/>
                  </a:lnTo>
                  <a:lnTo>
                    <a:pt x="55" y="278"/>
                  </a:lnTo>
                  <a:lnTo>
                    <a:pt x="57" y="275"/>
                  </a:lnTo>
                  <a:lnTo>
                    <a:pt x="59" y="275"/>
                  </a:lnTo>
                  <a:lnTo>
                    <a:pt x="60" y="274"/>
                  </a:lnTo>
                  <a:lnTo>
                    <a:pt x="60" y="273"/>
                  </a:lnTo>
                  <a:lnTo>
                    <a:pt x="59" y="273"/>
                  </a:lnTo>
                  <a:lnTo>
                    <a:pt x="60" y="272"/>
                  </a:lnTo>
                  <a:lnTo>
                    <a:pt x="63" y="271"/>
                  </a:lnTo>
                  <a:lnTo>
                    <a:pt x="64" y="270"/>
                  </a:lnTo>
                  <a:lnTo>
                    <a:pt x="64" y="269"/>
                  </a:lnTo>
                  <a:lnTo>
                    <a:pt x="66" y="267"/>
                  </a:lnTo>
                  <a:lnTo>
                    <a:pt x="69" y="262"/>
                  </a:lnTo>
                  <a:lnTo>
                    <a:pt x="73" y="259"/>
                  </a:lnTo>
                  <a:lnTo>
                    <a:pt x="74" y="258"/>
                  </a:lnTo>
                  <a:lnTo>
                    <a:pt x="74" y="258"/>
                  </a:lnTo>
                  <a:lnTo>
                    <a:pt x="75" y="257"/>
                  </a:lnTo>
                  <a:lnTo>
                    <a:pt x="74" y="255"/>
                  </a:lnTo>
                  <a:lnTo>
                    <a:pt x="70" y="255"/>
                  </a:lnTo>
                  <a:lnTo>
                    <a:pt x="70" y="254"/>
                  </a:lnTo>
                  <a:lnTo>
                    <a:pt x="67" y="250"/>
                  </a:lnTo>
                  <a:lnTo>
                    <a:pt x="60" y="249"/>
                  </a:lnTo>
                  <a:lnTo>
                    <a:pt x="58" y="248"/>
                  </a:lnTo>
                  <a:lnTo>
                    <a:pt x="58" y="247"/>
                  </a:lnTo>
                  <a:lnTo>
                    <a:pt x="58" y="245"/>
                  </a:lnTo>
                  <a:lnTo>
                    <a:pt x="59" y="242"/>
                  </a:lnTo>
                  <a:lnTo>
                    <a:pt x="60" y="241"/>
                  </a:lnTo>
                  <a:lnTo>
                    <a:pt x="60" y="240"/>
                  </a:lnTo>
                  <a:lnTo>
                    <a:pt x="59" y="239"/>
                  </a:lnTo>
                  <a:lnTo>
                    <a:pt x="59" y="238"/>
                  </a:lnTo>
                  <a:lnTo>
                    <a:pt x="60" y="237"/>
                  </a:lnTo>
                  <a:lnTo>
                    <a:pt x="61" y="237"/>
                  </a:lnTo>
                  <a:lnTo>
                    <a:pt x="61" y="235"/>
                  </a:lnTo>
                  <a:lnTo>
                    <a:pt x="61" y="232"/>
                  </a:lnTo>
                  <a:lnTo>
                    <a:pt x="63" y="229"/>
                  </a:lnTo>
                  <a:lnTo>
                    <a:pt x="61" y="229"/>
                  </a:lnTo>
                  <a:lnTo>
                    <a:pt x="61" y="229"/>
                  </a:lnTo>
                  <a:lnTo>
                    <a:pt x="64" y="225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5" y="212"/>
                  </a:lnTo>
                  <a:lnTo>
                    <a:pt x="65" y="210"/>
                  </a:lnTo>
                  <a:lnTo>
                    <a:pt x="60" y="209"/>
                  </a:lnTo>
                  <a:lnTo>
                    <a:pt x="61" y="208"/>
                  </a:lnTo>
                  <a:lnTo>
                    <a:pt x="61" y="207"/>
                  </a:lnTo>
                  <a:lnTo>
                    <a:pt x="63" y="204"/>
                  </a:lnTo>
                  <a:lnTo>
                    <a:pt x="61" y="203"/>
                  </a:lnTo>
                  <a:lnTo>
                    <a:pt x="63" y="202"/>
                  </a:lnTo>
                  <a:lnTo>
                    <a:pt x="63" y="200"/>
                  </a:lnTo>
                  <a:lnTo>
                    <a:pt x="64" y="198"/>
                  </a:lnTo>
                  <a:lnTo>
                    <a:pt x="63" y="198"/>
                  </a:lnTo>
                  <a:lnTo>
                    <a:pt x="63" y="197"/>
                  </a:lnTo>
                  <a:lnTo>
                    <a:pt x="63" y="194"/>
                  </a:lnTo>
                  <a:lnTo>
                    <a:pt x="63" y="193"/>
                  </a:lnTo>
                  <a:lnTo>
                    <a:pt x="61" y="193"/>
                  </a:lnTo>
                  <a:lnTo>
                    <a:pt x="54" y="195"/>
                  </a:lnTo>
                  <a:lnTo>
                    <a:pt x="48" y="197"/>
                  </a:lnTo>
                  <a:lnTo>
                    <a:pt x="46" y="198"/>
                  </a:lnTo>
                  <a:lnTo>
                    <a:pt x="44" y="200"/>
                  </a:lnTo>
                  <a:lnTo>
                    <a:pt x="43" y="200"/>
                  </a:lnTo>
                  <a:lnTo>
                    <a:pt x="40" y="200"/>
                  </a:lnTo>
                  <a:lnTo>
                    <a:pt x="39" y="201"/>
                  </a:lnTo>
                  <a:lnTo>
                    <a:pt x="38" y="202"/>
                  </a:lnTo>
                  <a:lnTo>
                    <a:pt x="36" y="203"/>
                  </a:lnTo>
                  <a:lnTo>
                    <a:pt x="31" y="204"/>
                  </a:lnTo>
                  <a:lnTo>
                    <a:pt x="26" y="207"/>
                  </a:lnTo>
                  <a:lnTo>
                    <a:pt x="22" y="208"/>
                  </a:lnTo>
                  <a:lnTo>
                    <a:pt x="22" y="207"/>
                  </a:lnTo>
                  <a:lnTo>
                    <a:pt x="22" y="207"/>
                  </a:lnTo>
                  <a:lnTo>
                    <a:pt x="22" y="205"/>
                  </a:lnTo>
                  <a:lnTo>
                    <a:pt x="24" y="202"/>
                  </a:lnTo>
                  <a:lnTo>
                    <a:pt x="22" y="200"/>
                  </a:lnTo>
                  <a:lnTo>
                    <a:pt x="28" y="198"/>
                  </a:lnTo>
                  <a:lnTo>
                    <a:pt x="28" y="197"/>
                  </a:lnTo>
                  <a:lnTo>
                    <a:pt x="26" y="195"/>
                  </a:lnTo>
                  <a:lnTo>
                    <a:pt x="26" y="198"/>
                  </a:lnTo>
                  <a:lnTo>
                    <a:pt x="25" y="198"/>
                  </a:lnTo>
                  <a:lnTo>
                    <a:pt x="23" y="198"/>
                  </a:lnTo>
                  <a:lnTo>
                    <a:pt x="20" y="199"/>
                  </a:lnTo>
                  <a:lnTo>
                    <a:pt x="20" y="198"/>
                  </a:lnTo>
                  <a:lnTo>
                    <a:pt x="19" y="193"/>
                  </a:lnTo>
                  <a:lnTo>
                    <a:pt x="20" y="191"/>
                  </a:lnTo>
                  <a:lnTo>
                    <a:pt x="19" y="189"/>
                  </a:lnTo>
                  <a:lnTo>
                    <a:pt x="18" y="189"/>
                  </a:lnTo>
                  <a:lnTo>
                    <a:pt x="19" y="189"/>
                  </a:lnTo>
                  <a:lnTo>
                    <a:pt x="20" y="188"/>
                  </a:lnTo>
                  <a:lnTo>
                    <a:pt x="24" y="184"/>
                  </a:lnTo>
                  <a:lnTo>
                    <a:pt x="16" y="184"/>
                  </a:lnTo>
                  <a:lnTo>
                    <a:pt x="10" y="187"/>
                  </a:lnTo>
                  <a:lnTo>
                    <a:pt x="9" y="187"/>
                  </a:lnTo>
                  <a:lnTo>
                    <a:pt x="8" y="184"/>
                  </a:lnTo>
                  <a:lnTo>
                    <a:pt x="3" y="187"/>
                  </a:lnTo>
                  <a:lnTo>
                    <a:pt x="0" y="184"/>
                  </a:lnTo>
                  <a:lnTo>
                    <a:pt x="6" y="179"/>
                  </a:lnTo>
                  <a:lnTo>
                    <a:pt x="23" y="163"/>
                  </a:lnTo>
                  <a:lnTo>
                    <a:pt x="38" y="148"/>
                  </a:lnTo>
                  <a:lnTo>
                    <a:pt x="54" y="134"/>
                  </a:lnTo>
                  <a:lnTo>
                    <a:pt x="69" y="120"/>
                  </a:lnTo>
                  <a:lnTo>
                    <a:pt x="87" y="104"/>
                  </a:lnTo>
                  <a:lnTo>
                    <a:pt x="104" y="90"/>
                  </a:lnTo>
                  <a:lnTo>
                    <a:pt x="119" y="77"/>
                  </a:lnTo>
                  <a:lnTo>
                    <a:pt x="135" y="63"/>
                  </a:lnTo>
                  <a:lnTo>
                    <a:pt x="154" y="48"/>
                  </a:lnTo>
                  <a:lnTo>
                    <a:pt x="170" y="35"/>
                  </a:lnTo>
                  <a:lnTo>
                    <a:pt x="170" y="35"/>
                  </a:lnTo>
                  <a:lnTo>
                    <a:pt x="172" y="35"/>
                  </a:lnTo>
                  <a:lnTo>
                    <a:pt x="174" y="36"/>
                  </a:lnTo>
                  <a:lnTo>
                    <a:pt x="182" y="35"/>
                  </a:lnTo>
                  <a:lnTo>
                    <a:pt x="184" y="36"/>
                  </a:lnTo>
                  <a:lnTo>
                    <a:pt x="184" y="36"/>
                  </a:lnTo>
                  <a:lnTo>
                    <a:pt x="187" y="36"/>
                  </a:lnTo>
                  <a:lnTo>
                    <a:pt x="189" y="38"/>
                  </a:lnTo>
                  <a:lnTo>
                    <a:pt x="189" y="41"/>
                  </a:lnTo>
                  <a:lnTo>
                    <a:pt x="191" y="41"/>
                  </a:lnTo>
                  <a:lnTo>
                    <a:pt x="191" y="41"/>
                  </a:lnTo>
                  <a:lnTo>
                    <a:pt x="192" y="41"/>
                  </a:lnTo>
                  <a:lnTo>
                    <a:pt x="192" y="42"/>
                  </a:lnTo>
                  <a:lnTo>
                    <a:pt x="193" y="43"/>
                  </a:lnTo>
                  <a:lnTo>
                    <a:pt x="195" y="45"/>
                  </a:lnTo>
                  <a:lnTo>
                    <a:pt x="196" y="45"/>
                  </a:lnTo>
                  <a:lnTo>
                    <a:pt x="197" y="46"/>
                  </a:lnTo>
                  <a:lnTo>
                    <a:pt x="198" y="46"/>
                  </a:lnTo>
                  <a:lnTo>
                    <a:pt x="201" y="46"/>
                  </a:lnTo>
                  <a:lnTo>
                    <a:pt x="203" y="47"/>
                  </a:lnTo>
                  <a:lnTo>
                    <a:pt x="205" y="47"/>
                  </a:lnTo>
                  <a:lnTo>
                    <a:pt x="206" y="47"/>
                  </a:lnTo>
                  <a:lnTo>
                    <a:pt x="207" y="47"/>
                  </a:lnTo>
                  <a:lnTo>
                    <a:pt x="208" y="47"/>
                  </a:lnTo>
                  <a:lnTo>
                    <a:pt x="208" y="46"/>
                  </a:lnTo>
                  <a:lnTo>
                    <a:pt x="209" y="47"/>
                  </a:lnTo>
                  <a:lnTo>
                    <a:pt x="211" y="47"/>
                  </a:lnTo>
                  <a:lnTo>
                    <a:pt x="211" y="47"/>
                  </a:lnTo>
                  <a:lnTo>
                    <a:pt x="213" y="48"/>
                  </a:lnTo>
                  <a:lnTo>
                    <a:pt x="215" y="48"/>
                  </a:lnTo>
                  <a:lnTo>
                    <a:pt x="217" y="50"/>
                  </a:lnTo>
                  <a:lnTo>
                    <a:pt x="218" y="50"/>
                  </a:lnTo>
                  <a:lnTo>
                    <a:pt x="219" y="50"/>
                  </a:lnTo>
                  <a:lnTo>
                    <a:pt x="219" y="50"/>
                  </a:lnTo>
                  <a:lnTo>
                    <a:pt x="218" y="49"/>
                  </a:lnTo>
                  <a:lnTo>
                    <a:pt x="219" y="47"/>
                  </a:lnTo>
                  <a:lnTo>
                    <a:pt x="219" y="47"/>
                  </a:lnTo>
                  <a:lnTo>
                    <a:pt x="220" y="47"/>
                  </a:lnTo>
                  <a:lnTo>
                    <a:pt x="223" y="47"/>
                  </a:lnTo>
                  <a:lnTo>
                    <a:pt x="225" y="47"/>
                  </a:lnTo>
                  <a:lnTo>
                    <a:pt x="227" y="47"/>
                  </a:lnTo>
                  <a:lnTo>
                    <a:pt x="228" y="48"/>
                  </a:lnTo>
                  <a:lnTo>
                    <a:pt x="227" y="49"/>
                  </a:lnTo>
                  <a:lnTo>
                    <a:pt x="227" y="50"/>
                  </a:lnTo>
                  <a:lnTo>
                    <a:pt x="228" y="51"/>
                  </a:lnTo>
                  <a:lnTo>
                    <a:pt x="228" y="52"/>
                  </a:lnTo>
                  <a:lnTo>
                    <a:pt x="230" y="51"/>
                  </a:lnTo>
                  <a:lnTo>
                    <a:pt x="231" y="49"/>
                  </a:lnTo>
                  <a:lnTo>
                    <a:pt x="231" y="49"/>
                  </a:lnTo>
                  <a:lnTo>
                    <a:pt x="231" y="46"/>
                  </a:lnTo>
                  <a:lnTo>
                    <a:pt x="231" y="45"/>
                  </a:lnTo>
                  <a:lnTo>
                    <a:pt x="232" y="45"/>
                  </a:lnTo>
                  <a:lnTo>
                    <a:pt x="236" y="43"/>
                  </a:lnTo>
                  <a:lnTo>
                    <a:pt x="239" y="42"/>
                  </a:lnTo>
                  <a:lnTo>
                    <a:pt x="243" y="41"/>
                  </a:lnTo>
                  <a:lnTo>
                    <a:pt x="246" y="40"/>
                  </a:lnTo>
                  <a:lnTo>
                    <a:pt x="247" y="40"/>
                  </a:lnTo>
                  <a:lnTo>
                    <a:pt x="249" y="40"/>
                  </a:lnTo>
                  <a:lnTo>
                    <a:pt x="253" y="39"/>
                  </a:lnTo>
                  <a:lnTo>
                    <a:pt x="256" y="39"/>
                  </a:lnTo>
                  <a:lnTo>
                    <a:pt x="259" y="38"/>
                  </a:lnTo>
                  <a:lnTo>
                    <a:pt x="261" y="36"/>
                  </a:lnTo>
                  <a:lnTo>
                    <a:pt x="263" y="36"/>
                  </a:lnTo>
                  <a:lnTo>
                    <a:pt x="263" y="36"/>
                  </a:lnTo>
                  <a:lnTo>
                    <a:pt x="265" y="36"/>
                  </a:lnTo>
                  <a:lnTo>
                    <a:pt x="267" y="35"/>
                  </a:lnTo>
                  <a:lnTo>
                    <a:pt x="268" y="33"/>
                  </a:lnTo>
                  <a:lnTo>
                    <a:pt x="270" y="33"/>
                  </a:lnTo>
                  <a:lnTo>
                    <a:pt x="269" y="35"/>
                  </a:lnTo>
                  <a:lnTo>
                    <a:pt x="272" y="35"/>
                  </a:lnTo>
                  <a:lnTo>
                    <a:pt x="274" y="33"/>
                  </a:lnTo>
                  <a:lnTo>
                    <a:pt x="276" y="33"/>
                  </a:lnTo>
                  <a:lnTo>
                    <a:pt x="277" y="33"/>
                  </a:lnTo>
                  <a:lnTo>
                    <a:pt x="283" y="31"/>
                  </a:lnTo>
                  <a:lnTo>
                    <a:pt x="284" y="30"/>
                  </a:lnTo>
                  <a:lnTo>
                    <a:pt x="288" y="31"/>
                  </a:lnTo>
                  <a:lnTo>
                    <a:pt x="291" y="30"/>
                  </a:lnTo>
                  <a:lnTo>
                    <a:pt x="292" y="29"/>
                  </a:lnTo>
                  <a:lnTo>
                    <a:pt x="293" y="29"/>
                  </a:lnTo>
                  <a:lnTo>
                    <a:pt x="298" y="28"/>
                  </a:lnTo>
                  <a:lnTo>
                    <a:pt x="299" y="28"/>
                  </a:lnTo>
                  <a:lnTo>
                    <a:pt x="301" y="28"/>
                  </a:lnTo>
                  <a:lnTo>
                    <a:pt x="302" y="28"/>
                  </a:lnTo>
                  <a:lnTo>
                    <a:pt x="302" y="29"/>
                  </a:lnTo>
                  <a:lnTo>
                    <a:pt x="306" y="28"/>
                  </a:lnTo>
                  <a:lnTo>
                    <a:pt x="308" y="28"/>
                  </a:lnTo>
                  <a:lnTo>
                    <a:pt x="309" y="27"/>
                  </a:lnTo>
                  <a:lnTo>
                    <a:pt x="311" y="26"/>
                  </a:lnTo>
                  <a:lnTo>
                    <a:pt x="310" y="27"/>
                  </a:lnTo>
                  <a:lnTo>
                    <a:pt x="311" y="28"/>
                  </a:lnTo>
                  <a:lnTo>
                    <a:pt x="310" y="29"/>
                  </a:lnTo>
                  <a:lnTo>
                    <a:pt x="309" y="29"/>
                  </a:lnTo>
                  <a:lnTo>
                    <a:pt x="307" y="30"/>
                  </a:lnTo>
                  <a:lnTo>
                    <a:pt x="294" y="32"/>
                  </a:lnTo>
                  <a:lnTo>
                    <a:pt x="291" y="35"/>
                  </a:lnTo>
                  <a:lnTo>
                    <a:pt x="289" y="35"/>
                  </a:lnTo>
                  <a:lnTo>
                    <a:pt x="283" y="37"/>
                  </a:lnTo>
                  <a:lnTo>
                    <a:pt x="281" y="36"/>
                  </a:lnTo>
                  <a:lnTo>
                    <a:pt x="272" y="37"/>
                  </a:lnTo>
                  <a:lnTo>
                    <a:pt x="269" y="38"/>
                  </a:lnTo>
                  <a:lnTo>
                    <a:pt x="267" y="39"/>
                  </a:lnTo>
                  <a:lnTo>
                    <a:pt x="269" y="39"/>
                  </a:lnTo>
                  <a:lnTo>
                    <a:pt x="263" y="40"/>
                  </a:lnTo>
                  <a:lnTo>
                    <a:pt x="262" y="41"/>
                  </a:lnTo>
                  <a:lnTo>
                    <a:pt x="261" y="41"/>
                  </a:lnTo>
                  <a:lnTo>
                    <a:pt x="259" y="41"/>
                  </a:lnTo>
                  <a:lnTo>
                    <a:pt x="258" y="42"/>
                  </a:lnTo>
                  <a:lnTo>
                    <a:pt x="258" y="42"/>
                  </a:lnTo>
                  <a:lnTo>
                    <a:pt x="258" y="41"/>
                  </a:lnTo>
                  <a:lnTo>
                    <a:pt x="252" y="43"/>
                  </a:lnTo>
                  <a:lnTo>
                    <a:pt x="251" y="45"/>
                  </a:lnTo>
                  <a:lnTo>
                    <a:pt x="253" y="45"/>
                  </a:lnTo>
                  <a:lnTo>
                    <a:pt x="257" y="43"/>
                  </a:lnTo>
                  <a:lnTo>
                    <a:pt x="262" y="42"/>
                  </a:lnTo>
                  <a:lnTo>
                    <a:pt x="270" y="40"/>
                  </a:lnTo>
                  <a:lnTo>
                    <a:pt x="270" y="40"/>
                  </a:lnTo>
                  <a:lnTo>
                    <a:pt x="270" y="39"/>
                  </a:lnTo>
                  <a:lnTo>
                    <a:pt x="271" y="39"/>
                  </a:lnTo>
                  <a:lnTo>
                    <a:pt x="273" y="39"/>
                  </a:lnTo>
                  <a:lnTo>
                    <a:pt x="274" y="39"/>
                  </a:lnTo>
                  <a:lnTo>
                    <a:pt x="272" y="40"/>
                  </a:lnTo>
                  <a:lnTo>
                    <a:pt x="276" y="39"/>
                  </a:lnTo>
                  <a:lnTo>
                    <a:pt x="274" y="40"/>
                  </a:lnTo>
                  <a:lnTo>
                    <a:pt x="279" y="38"/>
                  </a:lnTo>
                  <a:lnTo>
                    <a:pt x="281" y="38"/>
                  </a:lnTo>
                  <a:lnTo>
                    <a:pt x="281" y="39"/>
                  </a:lnTo>
                  <a:lnTo>
                    <a:pt x="279" y="40"/>
                  </a:lnTo>
                  <a:lnTo>
                    <a:pt x="277" y="42"/>
                  </a:lnTo>
                  <a:lnTo>
                    <a:pt x="284" y="38"/>
                  </a:lnTo>
                  <a:lnTo>
                    <a:pt x="291" y="36"/>
                  </a:lnTo>
                  <a:lnTo>
                    <a:pt x="292" y="35"/>
                  </a:lnTo>
                  <a:lnTo>
                    <a:pt x="296" y="35"/>
                  </a:lnTo>
                  <a:lnTo>
                    <a:pt x="299" y="33"/>
                  </a:lnTo>
                  <a:lnTo>
                    <a:pt x="302" y="32"/>
                  </a:lnTo>
                  <a:lnTo>
                    <a:pt x="309" y="32"/>
                  </a:lnTo>
                  <a:lnTo>
                    <a:pt x="314" y="30"/>
                  </a:lnTo>
                  <a:lnTo>
                    <a:pt x="312" y="32"/>
                  </a:lnTo>
                  <a:lnTo>
                    <a:pt x="311" y="32"/>
                  </a:lnTo>
                  <a:lnTo>
                    <a:pt x="309" y="33"/>
                  </a:lnTo>
                  <a:lnTo>
                    <a:pt x="307" y="35"/>
                  </a:lnTo>
                  <a:lnTo>
                    <a:pt x="313" y="33"/>
                  </a:lnTo>
                  <a:lnTo>
                    <a:pt x="317" y="31"/>
                  </a:lnTo>
                  <a:lnTo>
                    <a:pt x="320" y="30"/>
                  </a:lnTo>
                  <a:lnTo>
                    <a:pt x="322" y="29"/>
                  </a:lnTo>
                  <a:lnTo>
                    <a:pt x="323" y="29"/>
                  </a:lnTo>
                  <a:lnTo>
                    <a:pt x="324" y="28"/>
                  </a:lnTo>
                  <a:lnTo>
                    <a:pt x="331" y="27"/>
                  </a:lnTo>
                  <a:lnTo>
                    <a:pt x="333" y="27"/>
                  </a:lnTo>
                  <a:lnTo>
                    <a:pt x="331" y="26"/>
                  </a:lnTo>
                  <a:lnTo>
                    <a:pt x="330" y="26"/>
                  </a:lnTo>
                  <a:lnTo>
                    <a:pt x="331" y="25"/>
                  </a:lnTo>
                  <a:lnTo>
                    <a:pt x="332" y="25"/>
                  </a:lnTo>
                  <a:lnTo>
                    <a:pt x="332" y="23"/>
                  </a:lnTo>
                  <a:lnTo>
                    <a:pt x="330" y="23"/>
                  </a:lnTo>
                  <a:lnTo>
                    <a:pt x="331" y="23"/>
                  </a:lnTo>
                  <a:lnTo>
                    <a:pt x="333" y="22"/>
                  </a:lnTo>
                  <a:lnTo>
                    <a:pt x="334" y="21"/>
                  </a:lnTo>
                  <a:lnTo>
                    <a:pt x="337" y="22"/>
                  </a:lnTo>
                  <a:lnTo>
                    <a:pt x="339" y="26"/>
                  </a:lnTo>
                  <a:lnTo>
                    <a:pt x="339" y="27"/>
                  </a:lnTo>
                  <a:lnTo>
                    <a:pt x="337" y="29"/>
                  </a:lnTo>
                  <a:lnTo>
                    <a:pt x="337" y="30"/>
                  </a:lnTo>
                  <a:lnTo>
                    <a:pt x="334" y="35"/>
                  </a:lnTo>
                  <a:lnTo>
                    <a:pt x="334" y="36"/>
                  </a:lnTo>
                  <a:lnTo>
                    <a:pt x="337" y="37"/>
                  </a:lnTo>
                  <a:lnTo>
                    <a:pt x="336" y="38"/>
                  </a:lnTo>
                  <a:lnTo>
                    <a:pt x="337" y="38"/>
                  </a:lnTo>
                  <a:lnTo>
                    <a:pt x="338" y="39"/>
                  </a:lnTo>
                  <a:lnTo>
                    <a:pt x="340" y="40"/>
                  </a:lnTo>
                  <a:lnTo>
                    <a:pt x="344" y="40"/>
                  </a:lnTo>
                  <a:lnTo>
                    <a:pt x="344" y="39"/>
                  </a:lnTo>
                  <a:lnTo>
                    <a:pt x="346" y="39"/>
                  </a:lnTo>
                  <a:lnTo>
                    <a:pt x="348" y="39"/>
                  </a:lnTo>
                  <a:lnTo>
                    <a:pt x="349" y="39"/>
                  </a:lnTo>
                  <a:lnTo>
                    <a:pt x="347" y="38"/>
                  </a:lnTo>
                  <a:lnTo>
                    <a:pt x="343" y="39"/>
                  </a:lnTo>
                  <a:lnTo>
                    <a:pt x="344" y="38"/>
                  </a:lnTo>
                  <a:lnTo>
                    <a:pt x="348" y="38"/>
                  </a:lnTo>
                  <a:lnTo>
                    <a:pt x="350" y="37"/>
                  </a:lnTo>
                  <a:lnTo>
                    <a:pt x="349" y="37"/>
                  </a:lnTo>
                  <a:lnTo>
                    <a:pt x="349" y="36"/>
                  </a:lnTo>
                  <a:lnTo>
                    <a:pt x="351" y="35"/>
                  </a:lnTo>
                  <a:lnTo>
                    <a:pt x="354" y="35"/>
                  </a:lnTo>
                  <a:lnTo>
                    <a:pt x="354" y="33"/>
                  </a:lnTo>
                  <a:lnTo>
                    <a:pt x="353" y="33"/>
                  </a:lnTo>
                  <a:lnTo>
                    <a:pt x="354" y="32"/>
                  </a:lnTo>
                  <a:lnTo>
                    <a:pt x="354" y="33"/>
                  </a:lnTo>
                  <a:lnTo>
                    <a:pt x="360" y="31"/>
                  </a:lnTo>
                  <a:lnTo>
                    <a:pt x="362" y="30"/>
                  </a:lnTo>
                  <a:lnTo>
                    <a:pt x="362" y="30"/>
                  </a:lnTo>
                  <a:lnTo>
                    <a:pt x="360" y="30"/>
                  </a:lnTo>
                  <a:lnTo>
                    <a:pt x="358" y="31"/>
                  </a:lnTo>
                  <a:lnTo>
                    <a:pt x="358" y="31"/>
                  </a:lnTo>
                  <a:lnTo>
                    <a:pt x="359" y="30"/>
                  </a:lnTo>
                  <a:lnTo>
                    <a:pt x="360" y="29"/>
                  </a:lnTo>
                  <a:lnTo>
                    <a:pt x="361" y="29"/>
                  </a:lnTo>
                  <a:lnTo>
                    <a:pt x="363" y="29"/>
                  </a:lnTo>
                  <a:lnTo>
                    <a:pt x="364" y="29"/>
                  </a:lnTo>
                  <a:lnTo>
                    <a:pt x="363" y="30"/>
                  </a:lnTo>
                  <a:lnTo>
                    <a:pt x="365" y="30"/>
                  </a:lnTo>
                  <a:lnTo>
                    <a:pt x="367" y="29"/>
                  </a:lnTo>
                  <a:lnTo>
                    <a:pt x="368" y="29"/>
                  </a:lnTo>
                  <a:lnTo>
                    <a:pt x="365" y="29"/>
                  </a:lnTo>
                  <a:lnTo>
                    <a:pt x="365" y="28"/>
                  </a:lnTo>
                  <a:lnTo>
                    <a:pt x="369" y="28"/>
                  </a:lnTo>
                  <a:lnTo>
                    <a:pt x="369" y="28"/>
                  </a:lnTo>
                  <a:lnTo>
                    <a:pt x="369" y="29"/>
                  </a:lnTo>
                  <a:lnTo>
                    <a:pt x="367" y="30"/>
                  </a:lnTo>
                  <a:lnTo>
                    <a:pt x="363" y="32"/>
                  </a:lnTo>
                  <a:lnTo>
                    <a:pt x="362" y="33"/>
                  </a:lnTo>
                  <a:lnTo>
                    <a:pt x="362" y="35"/>
                  </a:lnTo>
                  <a:lnTo>
                    <a:pt x="362" y="35"/>
                  </a:lnTo>
                  <a:lnTo>
                    <a:pt x="364" y="35"/>
                  </a:lnTo>
                  <a:lnTo>
                    <a:pt x="367" y="35"/>
                  </a:lnTo>
                  <a:lnTo>
                    <a:pt x="359" y="38"/>
                  </a:lnTo>
                  <a:lnTo>
                    <a:pt x="357" y="39"/>
                  </a:lnTo>
                  <a:lnTo>
                    <a:pt x="358" y="38"/>
                  </a:lnTo>
                  <a:lnTo>
                    <a:pt x="355" y="39"/>
                  </a:lnTo>
                  <a:lnTo>
                    <a:pt x="355" y="40"/>
                  </a:lnTo>
                  <a:lnTo>
                    <a:pt x="359" y="40"/>
                  </a:lnTo>
                  <a:lnTo>
                    <a:pt x="362" y="39"/>
                  </a:lnTo>
                  <a:lnTo>
                    <a:pt x="362" y="40"/>
                  </a:lnTo>
                  <a:lnTo>
                    <a:pt x="365" y="40"/>
                  </a:lnTo>
                  <a:lnTo>
                    <a:pt x="368" y="39"/>
                  </a:lnTo>
                  <a:lnTo>
                    <a:pt x="370" y="38"/>
                  </a:lnTo>
                  <a:lnTo>
                    <a:pt x="372" y="37"/>
                  </a:lnTo>
                  <a:lnTo>
                    <a:pt x="374" y="36"/>
                  </a:lnTo>
                  <a:lnTo>
                    <a:pt x="377" y="35"/>
                  </a:lnTo>
                  <a:lnTo>
                    <a:pt x="379" y="32"/>
                  </a:lnTo>
                  <a:lnTo>
                    <a:pt x="381" y="32"/>
                  </a:lnTo>
                  <a:lnTo>
                    <a:pt x="384" y="32"/>
                  </a:lnTo>
                  <a:lnTo>
                    <a:pt x="387" y="32"/>
                  </a:lnTo>
                  <a:lnTo>
                    <a:pt x="388" y="32"/>
                  </a:lnTo>
                  <a:lnTo>
                    <a:pt x="390" y="32"/>
                  </a:lnTo>
                  <a:lnTo>
                    <a:pt x="390" y="33"/>
                  </a:lnTo>
                  <a:lnTo>
                    <a:pt x="394" y="32"/>
                  </a:lnTo>
                  <a:lnTo>
                    <a:pt x="399" y="33"/>
                  </a:lnTo>
                  <a:lnTo>
                    <a:pt x="402" y="36"/>
                  </a:lnTo>
                  <a:lnTo>
                    <a:pt x="403" y="39"/>
                  </a:lnTo>
                  <a:lnTo>
                    <a:pt x="407" y="39"/>
                  </a:lnTo>
                  <a:lnTo>
                    <a:pt x="410" y="40"/>
                  </a:lnTo>
                  <a:lnTo>
                    <a:pt x="412" y="40"/>
                  </a:lnTo>
                  <a:lnTo>
                    <a:pt x="414" y="40"/>
                  </a:lnTo>
                  <a:lnTo>
                    <a:pt x="418" y="41"/>
                  </a:lnTo>
                  <a:lnTo>
                    <a:pt x="419" y="41"/>
                  </a:lnTo>
                  <a:lnTo>
                    <a:pt x="421" y="41"/>
                  </a:lnTo>
                  <a:lnTo>
                    <a:pt x="421" y="42"/>
                  </a:lnTo>
                  <a:lnTo>
                    <a:pt x="423" y="43"/>
                  </a:lnTo>
                  <a:lnTo>
                    <a:pt x="425" y="45"/>
                  </a:lnTo>
                  <a:lnTo>
                    <a:pt x="429" y="46"/>
                  </a:lnTo>
                  <a:lnTo>
                    <a:pt x="433" y="46"/>
                  </a:lnTo>
                  <a:lnTo>
                    <a:pt x="433" y="47"/>
                  </a:lnTo>
                  <a:lnTo>
                    <a:pt x="435" y="47"/>
                  </a:lnTo>
                  <a:lnTo>
                    <a:pt x="435" y="47"/>
                  </a:lnTo>
                  <a:lnTo>
                    <a:pt x="442" y="47"/>
                  </a:lnTo>
                  <a:lnTo>
                    <a:pt x="444" y="47"/>
                  </a:lnTo>
                  <a:lnTo>
                    <a:pt x="445" y="48"/>
                  </a:lnTo>
                  <a:lnTo>
                    <a:pt x="448" y="47"/>
                  </a:lnTo>
                  <a:lnTo>
                    <a:pt x="445" y="46"/>
                  </a:lnTo>
                  <a:lnTo>
                    <a:pt x="448" y="46"/>
                  </a:lnTo>
                  <a:lnTo>
                    <a:pt x="449" y="46"/>
                  </a:lnTo>
                  <a:lnTo>
                    <a:pt x="451" y="46"/>
                  </a:lnTo>
                  <a:lnTo>
                    <a:pt x="452" y="46"/>
                  </a:lnTo>
                  <a:lnTo>
                    <a:pt x="456" y="46"/>
                  </a:lnTo>
                  <a:lnTo>
                    <a:pt x="455" y="47"/>
                  </a:lnTo>
                  <a:lnTo>
                    <a:pt x="458" y="47"/>
                  </a:lnTo>
                  <a:lnTo>
                    <a:pt x="456" y="48"/>
                  </a:lnTo>
                  <a:lnTo>
                    <a:pt x="460" y="48"/>
                  </a:lnTo>
                  <a:lnTo>
                    <a:pt x="459" y="49"/>
                  </a:lnTo>
                  <a:lnTo>
                    <a:pt x="461" y="49"/>
                  </a:lnTo>
                  <a:lnTo>
                    <a:pt x="462" y="51"/>
                  </a:lnTo>
                  <a:lnTo>
                    <a:pt x="463" y="52"/>
                  </a:lnTo>
                  <a:lnTo>
                    <a:pt x="461" y="55"/>
                  </a:lnTo>
                  <a:lnTo>
                    <a:pt x="463" y="53"/>
                  </a:lnTo>
                  <a:lnTo>
                    <a:pt x="462" y="55"/>
                  </a:lnTo>
                  <a:lnTo>
                    <a:pt x="461" y="56"/>
                  </a:lnTo>
                  <a:lnTo>
                    <a:pt x="461" y="56"/>
                  </a:lnTo>
                  <a:lnTo>
                    <a:pt x="459" y="56"/>
                  </a:lnTo>
                  <a:lnTo>
                    <a:pt x="458" y="57"/>
                  </a:lnTo>
                  <a:lnTo>
                    <a:pt x="456" y="57"/>
                  </a:lnTo>
                  <a:lnTo>
                    <a:pt x="456" y="56"/>
                  </a:lnTo>
                  <a:lnTo>
                    <a:pt x="452" y="57"/>
                  </a:lnTo>
                  <a:lnTo>
                    <a:pt x="449" y="56"/>
                  </a:lnTo>
                  <a:lnTo>
                    <a:pt x="451" y="57"/>
                  </a:lnTo>
                  <a:lnTo>
                    <a:pt x="449" y="58"/>
                  </a:lnTo>
                  <a:lnTo>
                    <a:pt x="444" y="57"/>
                  </a:lnTo>
                  <a:lnTo>
                    <a:pt x="444" y="58"/>
                  </a:lnTo>
                  <a:lnTo>
                    <a:pt x="443" y="59"/>
                  </a:lnTo>
                  <a:lnTo>
                    <a:pt x="442" y="60"/>
                  </a:lnTo>
                  <a:lnTo>
                    <a:pt x="438" y="61"/>
                  </a:lnTo>
                  <a:lnTo>
                    <a:pt x="438" y="61"/>
                  </a:lnTo>
                  <a:lnTo>
                    <a:pt x="439" y="62"/>
                  </a:lnTo>
                  <a:lnTo>
                    <a:pt x="441" y="61"/>
                  </a:lnTo>
                  <a:lnTo>
                    <a:pt x="439" y="62"/>
                  </a:lnTo>
                  <a:lnTo>
                    <a:pt x="442" y="62"/>
                  </a:lnTo>
                  <a:lnTo>
                    <a:pt x="444" y="65"/>
                  </a:lnTo>
                  <a:lnTo>
                    <a:pt x="446" y="63"/>
                  </a:lnTo>
                  <a:lnTo>
                    <a:pt x="448" y="63"/>
                  </a:lnTo>
                  <a:lnTo>
                    <a:pt x="449" y="65"/>
                  </a:lnTo>
                  <a:lnTo>
                    <a:pt x="451" y="65"/>
                  </a:lnTo>
                  <a:lnTo>
                    <a:pt x="453" y="65"/>
                  </a:lnTo>
                  <a:lnTo>
                    <a:pt x="458" y="65"/>
                  </a:lnTo>
                  <a:lnTo>
                    <a:pt x="460" y="65"/>
                  </a:lnTo>
                  <a:lnTo>
                    <a:pt x="464" y="65"/>
                  </a:lnTo>
                  <a:lnTo>
                    <a:pt x="464" y="65"/>
                  </a:lnTo>
                  <a:lnTo>
                    <a:pt x="466" y="65"/>
                  </a:lnTo>
                  <a:lnTo>
                    <a:pt x="472" y="65"/>
                  </a:lnTo>
                  <a:lnTo>
                    <a:pt x="473" y="65"/>
                  </a:lnTo>
                  <a:lnTo>
                    <a:pt x="478" y="65"/>
                  </a:lnTo>
                  <a:lnTo>
                    <a:pt x="475" y="65"/>
                  </a:lnTo>
                  <a:lnTo>
                    <a:pt x="478" y="65"/>
                  </a:lnTo>
                  <a:lnTo>
                    <a:pt x="478" y="65"/>
                  </a:lnTo>
                  <a:lnTo>
                    <a:pt x="480" y="63"/>
                  </a:lnTo>
                  <a:lnTo>
                    <a:pt x="480" y="65"/>
                  </a:lnTo>
                  <a:lnTo>
                    <a:pt x="482" y="65"/>
                  </a:lnTo>
                  <a:lnTo>
                    <a:pt x="482" y="65"/>
                  </a:lnTo>
                  <a:lnTo>
                    <a:pt x="484" y="65"/>
                  </a:lnTo>
                  <a:lnTo>
                    <a:pt x="486" y="62"/>
                  </a:lnTo>
                  <a:lnTo>
                    <a:pt x="489" y="62"/>
                  </a:lnTo>
                  <a:lnTo>
                    <a:pt x="486" y="65"/>
                  </a:lnTo>
                  <a:lnTo>
                    <a:pt x="490" y="65"/>
                  </a:lnTo>
                  <a:lnTo>
                    <a:pt x="491" y="63"/>
                  </a:lnTo>
                  <a:lnTo>
                    <a:pt x="496" y="61"/>
                  </a:lnTo>
                  <a:lnTo>
                    <a:pt x="499" y="61"/>
                  </a:lnTo>
                  <a:lnTo>
                    <a:pt x="502" y="61"/>
                  </a:lnTo>
                  <a:lnTo>
                    <a:pt x="503" y="60"/>
                  </a:lnTo>
                  <a:lnTo>
                    <a:pt x="504" y="61"/>
                  </a:lnTo>
                  <a:lnTo>
                    <a:pt x="503" y="62"/>
                  </a:lnTo>
                  <a:lnTo>
                    <a:pt x="503" y="62"/>
                  </a:lnTo>
                  <a:lnTo>
                    <a:pt x="504" y="61"/>
                  </a:lnTo>
                  <a:lnTo>
                    <a:pt x="504" y="62"/>
                  </a:lnTo>
                  <a:lnTo>
                    <a:pt x="504" y="63"/>
                  </a:lnTo>
                  <a:lnTo>
                    <a:pt x="504" y="65"/>
                  </a:lnTo>
                  <a:lnTo>
                    <a:pt x="503" y="65"/>
                  </a:lnTo>
                  <a:lnTo>
                    <a:pt x="506" y="65"/>
                  </a:lnTo>
                  <a:lnTo>
                    <a:pt x="506" y="65"/>
                  </a:lnTo>
                  <a:lnTo>
                    <a:pt x="513" y="65"/>
                  </a:lnTo>
                  <a:lnTo>
                    <a:pt x="512" y="65"/>
                  </a:lnTo>
                  <a:lnTo>
                    <a:pt x="511" y="66"/>
                  </a:lnTo>
                  <a:lnTo>
                    <a:pt x="511" y="66"/>
                  </a:lnTo>
                  <a:lnTo>
                    <a:pt x="511" y="67"/>
                  </a:lnTo>
                  <a:lnTo>
                    <a:pt x="509" y="69"/>
                  </a:lnTo>
                  <a:lnTo>
                    <a:pt x="509" y="69"/>
                  </a:lnTo>
                  <a:lnTo>
                    <a:pt x="510" y="69"/>
                  </a:lnTo>
                  <a:lnTo>
                    <a:pt x="510" y="69"/>
                  </a:lnTo>
                  <a:lnTo>
                    <a:pt x="512" y="68"/>
                  </a:lnTo>
                  <a:lnTo>
                    <a:pt x="514" y="66"/>
                  </a:lnTo>
                  <a:lnTo>
                    <a:pt x="515" y="66"/>
                  </a:lnTo>
                  <a:lnTo>
                    <a:pt x="514" y="67"/>
                  </a:lnTo>
                  <a:lnTo>
                    <a:pt x="515" y="67"/>
                  </a:lnTo>
                  <a:lnTo>
                    <a:pt x="513" y="68"/>
                  </a:lnTo>
                  <a:lnTo>
                    <a:pt x="512" y="69"/>
                  </a:lnTo>
                  <a:lnTo>
                    <a:pt x="513" y="70"/>
                  </a:lnTo>
                  <a:lnTo>
                    <a:pt x="515" y="69"/>
                  </a:lnTo>
                  <a:lnTo>
                    <a:pt x="515" y="70"/>
                  </a:lnTo>
                  <a:lnTo>
                    <a:pt x="517" y="70"/>
                  </a:lnTo>
                  <a:lnTo>
                    <a:pt x="517" y="71"/>
                  </a:lnTo>
                  <a:lnTo>
                    <a:pt x="516" y="73"/>
                  </a:lnTo>
                  <a:lnTo>
                    <a:pt x="514" y="75"/>
                  </a:lnTo>
                  <a:lnTo>
                    <a:pt x="513" y="75"/>
                  </a:lnTo>
                  <a:lnTo>
                    <a:pt x="511" y="75"/>
                  </a:lnTo>
                  <a:lnTo>
                    <a:pt x="510" y="75"/>
                  </a:lnTo>
                  <a:lnTo>
                    <a:pt x="510" y="76"/>
                  </a:lnTo>
                  <a:lnTo>
                    <a:pt x="510" y="78"/>
                  </a:lnTo>
                  <a:lnTo>
                    <a:pt x="511" y="79"/>
                  </a:lnTo>
                  <a:lnTo>
                    <a:pt x="512" y="80"/>
                  </a:lnTo>
                  <a:lnTo>
                    <a:pt x="514" y="78"/>
                  </a:lnTo>
                  <a:lnTo>
                    <a:pt x="515" y="77"/>
                  </a:lnTo>
                  <a:lnTo>
                    <a:pt x="517" y="78"/>
                  </a:lnTo>
                  <a:lnTo>
                    <a:pt x="520" y="77"/>
                  </a:lnTo>
                  <a:lnTo>
                    <a:pt x="522" y="77"/>
                  </a:lnTo>
                  <a:lnTo>
                    <a:pt x="521" y="75"/>
                  </a:lnTo>
                  <a:lnTo>
                    <a:pt x="524" y="75"/>
                  </a:lnTo>
                  <a:lnTo>
                    <a:pt x="524" y="73"/>
                  </a:lnTo>
                  <a:lnTo>
                    <a:pt x="522" y="73"/>
                  </a:lnTo>
                  <a:lnTo>
                    <a:pt x="522" y="72"/>
                  </a:lnTo>
                  <a:lnTo>
                    <a:pt x="523" y="70"/>
                  </a:lnTo>
                  <a:lnTo>
                    <a:pt x="522" y="69"/>
                  </a:lnTo>
                  <a:lnTo>
                    <a:pt x="523" y="69"/>
                  </a:lnTo>
                  <a:lnTo>
                    <a:pt x="525" y="67"/>
                  </a:lnTo>
                  <a:lnTo>
                    <a:pt x="524" y="67"/>
                  </a:lnTo>
                  <a:lnTo>
                    <a:pt x="525" y="66"/>
                  </a:lnTo>
                  <a:lnTo>
                    <a:pt x="523" y="65"/>
                  </a:lnTo>
                  <a:lnTo>
                    <a:pt x="523" y="65"/>
                  </a:lnTo>
                  <a:lnTo>
                    <a:pt x="526" y="62"/>
                  </a:lnTo>
                  <a:lnTo>
                    <a:pt x="527" y="62"/>
                  </a:lnTo>
                  <a:lnTo>
                    <a:pt x="529" y="61"/>
                  </a:lnTo>
                  <a:lnTo>
                    <a:pt x="531" y="61"/>
                  </a:lnTo>
                  <a:lnTo>
                    <a:pt x="529" y="61"/>
                  </a:lnTo>
                  <a:lnTo>
                    <a:pt x="532" y="59"/>
                  </a:lnTo>
                  <a:lnTo>
                    <a:pt x="535" y="59"/>
                  </a:lnTo>
                  <a:lnTo>
                    <a:pt x="539" y="59"/>
                  </a:lnTo>
                  <a:lnTo>
                    <a:pt x="540" y="58"/>
                  </a:lnTo>
                  <a:lnTo>
                    <a:pt x="539" y="59"/>
                  </a:lnTo>
                  <a:lnTo>
                    <a:pt x="544" y="58"/>
                  </a:lnTo>
                  <a:lnTo>
                    <a:pt x="544" y="57"/>
                  </a:lnTo>
                  <a:lnTo>
                    <a:pt x="546" y="57"/>
                  </a:lnTo>
                  <a:lnTo>
                    <a:pt x="549" y="57"/>
                  </a:lnTo>
                  <a:lnTo>
                    <a:pt x="551" y="56"/>
                  </a:lnTo>
                  <a:lnTo>
                    <a:pt x="552" y="55"/>
                  </a:lnTo>
                  <a:lnTo>
                    <a:pt x="551" y="56"/>
                  </a:lnTo>
                  <a:lnTo>
                    <a:pt x="554" y="55"/>
                  </a:lnTo>
                  <a:lnTo>
                    <a:pt x="555" y="53"/>
                  </a:lnTo>
                  <a:lnTo>
                    <a:pt x="556" y="52"/>
                  </a:lnTo>
                  <a:lnTo>
                    <a:pt x="560" y="52"/>
                  </a:lnTo>
                  <a:lnTo>
                    <a:pt x="559" y="52"/>
                  </a:lnTo>
                  <a:lnTo>
                    <a:pt x="561" y="51"/>
                  </a:lnTo>
                  <a:lnTo>
                    <a:pt x="562" y="50"/>
                  </a:lnTo>
                  <a:lnTo>
                    <a:pt x="560" y="50"/>
                  </a:lnTo>
                  <a:lnTo>
                    <a:pt x="560" y="50"/>
                  </a:lnTo>
                  <a:lnTo>
                    <a:pt x="552" y="51"/>
                  </a:lnTo>
                  <a:lnTo>
                    <a:pt x="553" y="52"/>
                  </a:lnTo>
                  <a:lnTo>
                    <a:pt x="549" y="52"/>
                  </a:lnTo>
                  <a:lnTo>
                    <a:pt x="549" y="55"/>
                  </a:lnTo>
                  <a:lnTo>
                    <a:pt x="550" y="53"/>
                  </a:lnTo>
                  <a:lnTo>
                    <a:pt x="549" y="56"/>
                  </a:lnTo>
                  <a:lnTo>
                    <a:pt x="547" y="56"/>
                  </a:lnTo>
                  <a:lnTo>
                    <a:pt x="546" y="56"/>
                  </a:lnTo>
                  <a:lnTo>
                    <a:pt x="547" y="55"/>
                  </a:lnTo>
                  <a:lnTo>
                    <a:pt x="546" y="55"/>
                  </a:lnTo>
                  <a:lnTo>
                    <a:pt x="546" y="55"/>
                  </a:lnTo>
                  <a:lnTo>
                    <a:pt x="544" y="55"/>
                  </a:lnTo>
                  <a:lnTo>
                    <a:pt x="543" y="55"/>
                  </a:lnTo>
                  <a:lnTo>
                    <a:pt x="541" y="56"/>
                  </a:lnTo>
                  <a:lnTo>
                    <a:pt x="541" y="56"/>
                  </a:lnTo>
                  <a:lnTo>
                    <a:pt x="537" y="55"/>
                  </a:lnTo>
                  <a:lnTo>
                    <a:pt x="537" y="55"/>
                  </a:lnTo>
                  <a:lnTo>
                    <a:pt x="534" y="55"/>
                  </a:lnTo>
                  <a:lnTo>
                    <a:pt x="533" y="56"/>
                  </a:lnTo>
                  <a:lnTo>
                    <a:pt x="532" y="57"/>
                  </a:lnTo>
                  <a:lnTo>
                    <a:pt x="534" y="57"/>
                  </a:lnTo>
                  <a:lnTo>
                    <a:pt x="533" y="57"/>
                  </a:lnTo>
                  <a:lnTo>
                    <a:pt x="534" y="57"/>
                  </a:lnTo>
                  <a:lnTo>
                    <a:pt x="532" y="58"/>
                  </a:lnTo>
                  <a:lnTo>
                    <a:pt x="530" y="58"/>
                  </a:lnTo>
                  <a:lnTo>
                    <a:pt x="529" y="58"/>
                  </a:lnTo>
                  <a:lnTo>
                    <a:pt x="531" y="58"/>
                  </a:lnTo>
                  <a:lnTo>
                    <a:pt x="526" y="58"/>
                  </a:lnTo>
                  <a:lnTo>
                    <a:pt x="526" y="57"/>
                  </a:lnTo>
                  <a:lnTo>
                    <a:pt x="524" y="58"/>
                  </a:lnTo>
                  <a:lnTo>
                    <a:pt x="526" y="57"/>
                  </a:lnTo>
                  <a:lnTo>
                    <a:pt x="524" y="57"/>
                  </a:lnTo>
                  <a:lnTo>
                    <a:pt x="525" y="56"/>
                  </a:lnTo>
                  <a:lnTo>
                    <a:pt x="522" y="57"/>
                  </a:lnTo>
                  <a:lnTo>
                    <a:pt x="522" y="56"/>
                  </a:lnTo>
                  <a:lnTo>
                    <a:pt x="523" y="55"/>
                  </a:lnTo>
                  <a:lnTo>
                    <a:pt x="526" y="53"/>
                  </a:lnTo>
                  <a:lnTo>
                    <a:pt x="527" y="52"/>
                  </a:lnTo>
                  <a:lnTo>
                    <a:pt x="531" y="51"/>
                  </a:lnTo>
                  <a:lnTo>
                    <a:pt x="533" y="50"/>
                  </a:lnTo>
                  <a:lnTo>
                    <a:pt x="540" y="50"/>
                  </a:lnTo>
                  <a:lnTo>
                    <a:pt x="546" y="49"/>
                  </a:lnTo>
                  <a:lnTo>
                    <a:pt x="550" y="48"/>
                  </a:lnTo>
                  <a:lnTo>
                    <a:pt x="552" y="48"/>
                  </a:lnTo>
                  <a:lnTo>
                    <a:pt x="555" y="47"/>
                  </a:lnTo>
                  <a:lnTo>
                    <a:pt x="556" y="46"/>
                  </a:lnTo>
                  <a:lnTo>
                    <a:pt x="560" y="47"/>
                  </a:lnTo>
                  <a:lnTo>
                    <a:pt x="562" y="46"/>
                  </a:lnTo>
                  <a:lnTo>
                    <a:pt x="564" y="46"/>
                  </a:lnTo>
                  <a:lnTo>
                    <a:pt x="564" y="47"/>
                  </a:lnTo>
                  <a:lnTo>
                    <a:pt x="565" y="47"/>
                  </a:lnTo>
                  <a:lnTo>
                    <a:pt x="564" y="48"/>
                  </a:lnTo>
                  <a:lnTo>
                    <a:pt x="566" y="49"/>
                  </a:lnTo>
                  <a:lnTo>
                    <a:pt x="564" y="49"/>
                  </a:lnTo>
                  <a:lnTo>
                    <a:pt x="565" y="50"/>
                  </a:lnTo>
                  <a:lnTo>
                    <a:pt x="565" y="51"/>
                  </a:lnTo>
                  <a:lnTo>
                    <a:pt x="566" y="52"/>
                  </a:lnTo>
                  <a:lnTo>
                    <a:pt x="565" y="52"/>
                  </a:lnTo>
                  <a:lnTo>
                    <a:pt x="564" y="52"/>
                  </a:lnTo>
                  <a:lnTo>
                    <a:pt x="562" y="52"/>
                  </a:lnTo>
                  <a:lnTo>
                    <a:pt x="562" y="53"/>
                  </a:lnTo>
                  <a:lnTo>
                    <a:pt x="563" y="53"/>
                  </a:lnTo>
                  <a:lnTo>
                    <a:pt x="564" y="55"/>
                  </a:lnTo>
                  <a:lnTo>
                    <a:pt x="565" y="55"/>
                  </a:lnTo>
                  <a:lnTo>
                    <a:pt x="565" y="56"/>
                  </a:lnTo>
                  <a:lnTo>
                    <a:pt x="566" y="56"/>
                  </a:lnTo>
                  <a:lnTo>
                    <a:pt x="570" y="57"/>
                  </a:lnTo>
                  <a:lnTo>
                    <a:pt x="569" y="57"/>
                  </a:lnTo>
                  <a:lnTo>
                    <a:pt x="569" y="58"/>
                  </a:lnTo>
                  <a:lnTo>
                    <a:pt x="567" y="59"/>
                  </a:lnTo>
                  <a:lnTo>
                    <a:pt x="569" y="60"/>
                  </a:lnTo>
                  <a:lnTo>
                    <a:pt x="571" y="59"/>
                  </a:lnTo>
                  <a:lnTo>
                    <a:pt x="573" y="60"/>
                  </a:lnTo>
                  <a:lnTo>
                    <a:pt x="575" y="59"/>
                  </a:lnTo>
                  <a:lnTo>
                    <a:pt x="577" y="60"/>
                  </a:lnTo>
                  <a:lnTo>
                    <a:pt x="579" y="59"/>
                  </a:lnTo>
                  <a:lnTo>
                    <a:pt x="580" y="59"/>
                  </a:lnTo>
                  <a:lnTo>
                    <a:pt x="581" y="59"/>
                  </a:lnTo>
                  <a:lnTo>
                    <a:pt x="582" y="58"/>
                  </a:lnTo>
                  <a:lnTo>
                    <a:pt x="585" y="58"/>
                  </a:lnTo>
                  <a:lnTo>
                    <a:pt x="583" y="60"/>
                  </a:lnTo>
                  <a:lnTo>
                    <a:pt x="585" y="61"/>
                  </a:lnTo>
                  <a:lnTo>
                    <a:pt x="586" y="62"/>
                  </a:lnTo>
                  <a:lnTo>
                    <a:pt x="586" y="65"/>
                  </a:lnTo>
                  <a:lnTo>
                    <a:pt x="589" y="65"/>
                  </a:lnTo>
                  <a:lnTo>
                    <a:pt x="591" y="66"/>
                  </a:lnTo>
                  <a:lnTo>
                    <a:pt x="592" y="66"/>
                  </a:lnTo>
                  <a:lnTo>
                    <a:pt x="593" y="65"/>
                  </a:lnTo>
                  <a:lnTo>
                    <a:pt x="594" y="65"/>
                  </a:lnTo>
                  <a:lnTo>
                    <a:pt x="595" y="65"/>
                  </a:lnTo>
                  <a:lnTo>
                    <a:pt x="596" y="65"/>
                  </a:lnTo>
                  <a:lnTo>
                    <a:pt x="597" y="65"/>
                  </a:lnTo>
                  <a:lnTo>
                    <a:pt x="600" y="66"/>
                  </a:lnTo>
                  <a:lnTo>
                    <a:pt x="604" y="65"/>
                  </a:lnTo>
                  <a:lnTo>
                    <a:pt x="608" y="65"/>
                  </a:lnTo>
                  <a:lnTo>
                    <a:pt x="613" y="65"/>
                  </a:lnTo>
                  <a:lnTo>
                    <a:pt x="616" y="62"/>
                  </a:lnTo>
                  <a:lnTo>
                    <a:pt x="623" y="63"/>
                  </a:lnTo>
                  <a:lnTo>
                    <a:pt x="625" y="63"/>
                  </a:lnTo>
                  <a:lnTo>
                    <a:pt x="627" y="65"/>
                  </a:lnTo>
                  <a:lnTo>
                    <a:pt x="628" y="65"/>
                  </a:lnTo>
                  <a:lnTo>
                    <a:pt x="630" y="65"/>
                  </a:lnTo>
                  <a:lnTo>
                    <a:pt x="630" y="65"/>
                  </a:lnTo>
                  <a:lnTo>
                    <a:pt x="635" y="65"/>
                  </a:lnTo>
                  <a:lnTo>
                    <a:pt x="638" y="65"/>
                  </a:lnTo>
                  <a:lnTo>
                    <a:pt x="637" y="62"/>
                  </a:lnTo>
                  <a:lnTo>
                    <a:pt x="637" y="62"/>
                  </a:lnTo>
                  <a:lnTo>
                    <a:pt x="636" y="61"/>
                  </a:lnTo>
                  <a:lnTo>
                    <a:pt x="637" y="60"/>
                  </a:lnTo>
                  <a:lnTo>
                    <a:pt x="638" y="59"/>
                  </a:lnTo>
                  <a:lnTo>
                    <a:pt x="640" y="59"/>
                  </a:lnTo>
                  <a:lnTo>
                    <a:pt x="641" y="60"/>
                  </a:lnTo>
                  <a:lnTo>
                    <a:pt x="641" y="61"/>
                  </a:lnTo>
                  <a:lnTo>
                    <a:pt x="642" y="61"/>
                  </a:lnTo>
                  <a:lnTo>
                    <a:pt x="640" y="62"/>
                  </a:lnTo>
                  <a:lnTo>
                    <a:pt x="641" y="65"/>
                  </a:lnTo>
                  <a:lnTo>
                    <a:pt x="643" y="65"/>
                  </a:lnTo>
                  <a:lnTo>
                    <a:pt x="643" y="66"/>
                  </a:lnTo>
                  <a:lnTo>
                    <a:pt x="645" y="66"/>
                  </a:lnTo>
                  <a:lnTo>
                    <a:pt x="646" y="67"/>
                  </a:lnTo>
                  <a:lnTo>
                    <a:pt x="648" y="67"/>
                  </a:lnTo>
                  <a:lnTo>
                    <a:pt x="652" y="66"/>
                  </a:lnTo>
                  <a:lnTo>
                    <a:pt x="654" y="61"/>
                  </a:lnTo>
                  <a:lnTo>
                    <a:pt x="653" y="61"/>
                  </a:lnTo>
                  <a:lnTo>
                    <a:pt x="653" y="62"/>
                  </a:lnTo>
                  <a:lnTo>
                    <a:pt x="651" y="62"/>
                  </a:lnTo>
                  <a:lnTo>
                    <a:pt x="652" y="61"/>
                  </a:lnTo>
                  <a:lnTo>
                    <a:pt x="651" y="61"/>
                  </a:lnTo>
                  <a:lnTo>
                    <a:pt x="646" y="61"/>
                  </a:lnTo>
                  <a:lnTo>
                    <a:pt x="644" y="62"/>
                  </a:lnTo>
                  <a:lnTo>
                    <a:pt x="644" y="62"/>
                  </a:lnTo>
                  <a:lnTo>
                    <a:pt x="644" y="63"/>
                  </a:lnTo>
                  <a:lnTo>
                    <a:pt x="643" y="62"/>
                  </a:lnTo>
                  <a:lnTo>
                    <a:pt x="643" y="61"/>
                  </a:lnTo>
                  <a:lnTo>
                    <a:pt x="642" y="59"/>
                  </a:lnTo>
                  <a:lnTo>
                    <a:pt x="642" y="59"/>
                  </a:lnTo>
                  <a:lnTo>
                    <a:pt x="643" y="59"/>
                  </a:lnTo>
                  <a:lnTo>
                    <a:pt x="644" y="58"/>
                  </a:lnTo>
                  <a:lnTo>
                    <a:pt x="643" y="57"/>
                  </a:lnTo>
                  <a:lnTo>
                    <a:pt x="644" y="56"/>
                  </a:lnTo>
                  <a:lnTo>
                    <a:pt x="643" y="55"/>
                  </a:lnTo>
                  <a:lnTo>
                    <a:pt x="644" y="55"/>
                  </a:lnTo>
                  <a:lnTo>
                    <a:pt x="645" y="56"/>
                  </a:lnTo>
                  <a:lnTo>
                    <a:pt x="646" y="55"/>
                  </a:lnTo>
                  <a:lnTo>
                    <a:pt x="646" y="55"/>
                  </a:lnTo>
                  <a:lnTo>
                    <a:pt x="648" y="55"/>
                  </a:lnTo>
                  <a:lnTo>
                    <a:pt x="648" y="55"/>
                  </a:lnTo>
                  <a:lnTo>
                    <a:pt x="654" y="55"/>
                  </a:lnTo>
                  <a:lnTo>
                    <a:pt x="654" y="55"/>
                  </a:lnTo>
                  <a:lnTo>
                    <a:pt x="652" y="52"/>
                  </a:lnTo>
                  <a:lnTo>
                    <a:pt x="654" y="52"/>
                  </a:lnTo>
                  <a:lnTo>
                    <a:pt x="656" y="52"/>
                  </a:lnTo>
                  <a:lnTo>
                    <a:pt x="656" y="53"/>
                  </a:lnTo>
                  <a:lnTo>
                    <a:pt x="657" y="55"/>
                  </a:lnTo>
                  <a:lnTo>
                    <a:pt x="657" y="52"/>
                  </a:lnTo>
                  <a:lnTo>
                    <a:pt x="661" y="52"/>
                  </a:lnTo>
                  <a:lnTo>
                    <a:pt x="661" y="55"/>
                  </a:lnTo>
                  <a:lnTo>
                    <a:pt x="663" y="56"/>
                  </a:lnTo>
                  <a:lnTo>
                    <a:pt x="662" y="56"/>
                  </a:lnTo>
                  <a:lnTo>
                    <a:pt x="663" y="57"/>
                  </a:lnTo>
                  <a:lnTo>
                    <a:pt x="667" y="56"/>
                  </a:lnTo>
                  <a:lnTo>
                    <a:pt x="666" y="57"/>
                  </a:lnTo>
                  <a:lnTo>
                    <a:pt x="664" y="58"/>
                  </a:lnTo>
                  <a:lnTo>
                    <a:pt x="663" y="59"/>
                  </a:lnTo>
                  <a:lnTo>
                    <a:pt x="661" y="59"/>
                  </a:lnTo>
                  <a:lnTo>
                    <a:pt x="662" y="60"/>
                  </a:lnTo>
                  <a:lnTo>
                    <a:pt x="664" y="59"/>
                  </a:lnTo>
                  <a:lnTo>
                    <a:pt x="664" y="60"/>
                  </a:lnTo>
                  <a:lnTo>
                    <a:pt x="665" y="58"/>
                  </a:lnTo>
                  <a:lnTo>
                    <a:pt x="672" y="57"/>
                  </a:lnTo>
                  <a:lnTo>
                    <a:pt x="672" y="57"/>
                  </a:lnTo>
                  <a:lnTo>
                    <a:pt x="671" y="58"/>
                  </a:lnTo>
                  <a:lnTo>
                    <a:pt x="671" y="59"/>
                  </a:lnTo>
                  <a:lnTo>
                    <a:pt x="668" y="61"/>
                  </a:lnTo>
                  <a:lnTo>
                    <a:pt x="666" y="62"/>
                  </a:lnTo>
                  <a:lnTo>
                    <a:pt x="664" y="65"/>
                  </a:lnTo>
                  <a:lnTo>
                    <a:pt x="664" y="66"/>
                  </a:lnTo>
                  <a:lnTo>
                    <a:pt x="658" y="67"/>
                  </a:lnTo>
                  <a:lnTo>
                    <a:pt x="658" y="69"/>
                  </a:lnTo>
                  <a:lnTo>
                    <a:pt x="662" y="69"/>
                  </a:lnTo>
                  <a:lnTo>
                    <a:pt x="660" y="71"/>
                  </a:lnTo>
                  <a:lnTo>
                    <a:pt x="664" y="70"/>
                  </a:lnTo>
                  <a:lnTo>
                    <a:pt x="665" y="70"/>
                  </a:lnTo>
                  <a:lnTo>
                    <a:pt x="667" y="70"/>
                  </a:lnTo>
                  <a:lnTo>
                    <a:pt x="666" y="70"/>
                  </a:lnTo>
                  <a:lnTo>
                    <a:pt x="665" y="71"/>
                  </a:lnTo>
                  <a:lnTo>
                    <a:pt x="665" y="72"/>
                  </a:lnTo>
                  <a:lnTo>
                    <a:pt x="667" y="72"/>
                  </a:lnTo>
                  <a:lnTo>
                    <a:pt x="670" y="70"/>
                  </a:lnTo>
                  <a:lnTo>
                    <a:pt x="671" y="69"/>
                  </a:lnTo>
                  <a:lnTo>
                    <a:pt x="672" y="67"/>
                  </a:lnTo>
                  <a:lnTo>
                    <a:pt x="672" y="66"/>
                  </a:lnTo>
                  <a:lnTo>
                    <a:pt x="670" y="65"/>
                  </a:lnTo>
                  <a:lnTo>
                    <a:pt x="671" y="65"/>
                  </a:lnTo>
                  <a:lnTo>
                    <a:pt x="675" y="61"/>
                  </a:lnTo>
                  <a:lnTo>
                    <a:pt x="674" y="60"/>
                  </a:lnTo>
                  <a:lnTo>
                    <a:pt x="675" y="59"/>
                  </a:lnTo>
                  <a:lnTo>
                    <a:pt x="676" y="59"/>
                  </a:lnTo>
                  <a:lnTo>
                    <a:pt x="677" y="59"/>
                  </a:lnTo>
                  <a:lnTo>
                    <a:pt x="678" y="59"/>
                  </a:lnTo>
                  <a:lnTo>
                    <a:pt x="678" y="60"/>
                  </a:lnTo>
                  <a:lnTo>
                    <a:pt x="679" y="59"/>
                  </a:lnTo>
                  <a:lnTo>
                    <a:pt x="682" y="59"/>
                  </a:lnTo>
                  <a:lnTo>
                    <a:pt x="684" y="60"/>
                  </a:lnTo>
                  <a:lnTo>
                    <a:pt x="685" y="60"/>
                  </a:lnTo>
                  <a:lnTo>
                    <a:pt x="687" y="58"/>
                  </a:lnTo>
                  <a:lnTo>
                    <a:pt x="688" y="58"/>
                  </a:lnTo>
                  <a:lnTo>
                    <a:pt x="693" y="57"/>
                  </a:lnTo>
                  <a:lnTo>
                    <a:pt x="693" y="56"/>
                  </a:lnTo>
                  <a:lnTo>
                    <a:pt x="696" y="55"/>
                  </a:lnTo>
                  <a:lnTo>
                    <a:pt x="703" y="52"/>
                  </a:lnTo>
                  <a:lnTo>
                    <a:pt x="705" y="51"/>
                  </a:lnTo>
                  <a:lnTo>
                    <a:pt x="703" y="51"/>
                  </a:lnTo>
                  <a:lnTo>
                    <a:pt x="705" y="49"/>
                  </a:lnTo>
                  <a:lnTo>
                    <a:pt x="706" y="47"/>
                  </a:lnTo>
                  <a:lnTo>
                    <a:pt x="707" y="46"/>
                  </a:lnTo>
                  <a:lnTo>
                    <a:pt x="705" y="45"/>
                  </a:lnTo>
                  <a:lnTo>
                    <a:pt x="704" y="46"/>
                  </a:lnTo>
                  <a:lnTo>
                    <a:pt x="703" y="47"/>
                  </a:lnTo>
                  <a:lnTo>
                    <a:pt x="702" y="48"/>
                  </a:lnTo>
                  <a:lnTo>
                    <a:pt x="704" y="47"/>
                  </a:lnTo>
                  <a:lnTo>
                    <a:pt x="705" y="47"/>
                  </a:lnTo>
                  <a:lnTo>
                    <a:pt x="701" y="49"/>
                  </a:lnTo>
                  <a:lnTo>
                    <a:pt x="696" y="50"/>
                  </a:lnTo>
                  <a:lnTo>
                    <a:pt x="694" y="49"/>
                  </a:lnTo>
                  <a:lnTo>
                    <a:pt x="695" y="48"/>
                  </a:lnTo>
                  <a:lnTo>
                    <a:pt x="697" y="46"/>
                  </a:lnTo>
                  <a:lnTo>
                    <a:pt x="698" y="46"/>
                  </a:lnTo>
                  <a:lnTo>
                    <a:pt x="699" y="46"/>
                  </a:lnTo>
                  <a:lnTo>
                    <a:pt x="703" y="43"/>
                  </a:lnTo>
                  <a:lnTo>
                    <a:pt x="704" y="42"/>
                  </a:lnTo>
                  <a:lnTo>
                    <a:pt x="702" y="43"/>
                  </a:lnTo>
                  <a:lnTo>
                    <a:pt x="703" y="43"/>
                  </a:lnTo>
                  <a:lnTo>
                    <a:pt x="704" y="41"/>
                  </a:lnTo>
                  <a:lnTo>
                    <a:pt x="707" y="40"/>
                  </a:lnTo>
                  <a:lnTo>
                    <a:pt x="712" y="39"/>
                  </a:lnTo>
                  <a:lnTo>
                    <a:pt x="713" y="39"/>
                  </a:lnTo>
                  <a:lnTo>
                    <a:pt x="709" y="40"/>
                  </a:lnTo>
                  <a:lnTo>
                    <a:pt x="708" y="41"/>
                  </a:lnTo>
                  <a:lnTo>
                    <a:pt x="708" y="42"/>
                  </a:lnTo>
                  <a:lnTo>
                    <a:pt x="712" y="41"/>
                  </a:lnTo>
                  <a:lnTo>
                    <a:pt x="714" y="39"/>
                  </a:lnTo>
                  <a:lnTo>
                    <a:pt x="715" y="38"/>
                  </a:lnTo>
                  <a:lnTo>
                    <a:pt x="713" y="38"/>
                  </a:lnTo>
                  <a:lnTo>
                    <a:pt x="708" y="39"/>
                  </a:lnTo>
                  <a:lnTo>
                    <a:pt x="706" y="39"/>
                  </a:lnTo>
                  <a:lnTo>
                    <a:pt x="705" y="36"/>
                  </a:lnTo>
                  <a:lnTo>
                    <a:pt x="704" y="36"/>
                  </a:lnTo>
                  <a:lnTo>
                    <a:pt x="704" y="36"/>
                  </a:lnTo>
                  <a:lnTo>
                    <a:pt x="703" y="37"/>
                  </a:lnTo>
                  <a:lnTo>
                    <a:pt x="702" y="36"/>
                  </a:lnTo>
                  <a:lnTo>
                    <a:pt x="702" y="36"/>
                  </a:lnTo>
                  <a:lnTo>
                    <a:pt x="699" y="35"/>
                  </a:lnTo>
                  <a:lnTo>
                    <a:pt x="699" y="35"/>
                  </a:lnTo>
                  <a:lnTo>
                    <a:pt x="699" y="33"/>
                  </a:lnTo>
                  <a:lnTo>
                    <a:pt x="694" y="33"/>
                  </a:lnTo>
                  <a:lnTo>
                    <a:pt x="692" y="32"/>
                  </a:lnTo>
                  <a:lnTo>
                    <a:pt x="692" y="32"/>
                  </a:lnTo>
                  <a:lnTo>
                    <a:pt x="693" y="31"/>
                  </a:lnTo>
                  <a:lnTo>
                    <a:pt x="689" y="30"/>
                  </a:lnTo>
                  <a:lnTo>
                    <a:pt x="689" y="30"/>
                  </a:lnTo>
                  <a:lnTo>
                    <a:pt x="688" y="29"/>
                  </a:lnTo>
                  <a:lnTo>
                    <a:pt x="691" y="26"/>
                  </a:lnTo>
                  <a:lnTo>
                    <a:pt x="692" y="25"/>
                  </a:lnTo>
                  <a:lnTo>
                    <a:pt x="693" y="25"/>
                  </a:lnTo>
                  <a:lnTo>
                    <a:pt x="695" y="23"/>
                  </a:lnTo>
                  <a:lnTo>
                    <a:pt x="695" y="23"/>
                  </a:lnTo>
                  <a:lnTo>
                    <a:pt x="699" y="21"/>
                  </a:lnTo>
                  <a:lnTo>
                    <a:pt x="701" y="21"/>
                  </a:lnTo>
                  <a:lnTo>
                    <a:pt x="701" y="21"/>
                  </a:lnTo>
                  <a:lnTo>
                    <a:pt x="702" y="21"/>
                  </a:lnTo>
                  <a:lnTo>
                    <a:pt x="703" y="20"/>
                  </a:lnTo>
                  <a:lnTo>
                    <a:pt x="702" y="20"/>
                  </a:lnTo>
                  <a:lnTo>
                    <a:pt x="702" y="18"/>
                  </a:lnTo>
                  <a:lnTo>
                    <a:pt x="701" y="18"/>
                  </a:lnTo>
                  <a:lnTo>
                    <a:pt x="702" y="17"/>
                  </a:lnTo>
                  <a:lnTo>
                    <a:pt x="703" y="16"/>
                  </a:lnTo>
                  <a:lnTo>
                    <a:pt x="705" y="15"/>
                  </a:lnTo>
                  <a:lnTo>
                    <a:pt x="705" y="15"/>
                  </a:lnTo>
                  <a:lnTo>
                    <a:pt x="706" y="13"/>
                  </a:lnTo>
                  <a:lnTo>
                    <a:pt x="707" y="12"/>
                  </a:lnTo>
                  <a:lnTo>
                    <a:pt x="708" y="11"/>
                  </a:lnTo>
                  <a:lnTo>
                    <a:pt x="709" y="10"/>
                  </a:lnTo>
                  <a:lnTo>
                    <a:pt x="711" y="11"/>
                  </a:lnTo>
                  <a:lnTo>
                    <a:pt x="711" y="10"/>
                  </a:lnTo>
                  <a:lnTo>
                    <a:pt x="712" y="10"/>
                  </a:lnTo>
                  <a:lnTo>
                    <a:pt x="714" y="9"/>
                  </a:lnTo>
                  <a:lnTo>
                    <a:pt x="715" y="11"/>
                  </a:lnTo>
                  <a:lnTo>
                    <a:pt x="716" y="11"/>
                  </a:lnTo>
                  <a:lnTo>
                    <a:pt x="718" y="10"/>
                  </a:lnTo>
                  <a:lnTo>
                    <a:pt x="719" y="8"/>
                  </a:lnTo>
                  <a:lnTo>
                    <a:pt x="718" y="8"/>
                  </a:lnTo>
                  <a:lnTo>
                    <a:pt x="717" y="7"/>
                  </a:lnTo>
                  <a:lnTo>
                    <a:pt x="718" y="7"/>
                  </a:lnTo>
                  <a:lnTo>
                    <a:pt x="722" y="5"/>
                  </a:lnTo>
                  <a:lnTo>
                    <a:pt x="725" y="3"/>
                  </a:lnTo>
                  <a:lnTo>
                    <a:pt x="727" y="2"/>
                  </a:lnTo>
                  <a:lnTo>
                    <a:pt x="728" y="2"/>
                  </a:lnTo>
                  <a:lnTo>
                    <a:pt x="731" y="1"/>
                  </a:lnTo>
                  <a:lnTo>
                    <a:pt x="733" y="0"/>
                  </a:lnTo>
                  <a:lnTo>
                    <a:pt x="734" y="1"/>
                  </a:lnTo>
                  <a:lnTo>
                    <a:pt x="736" y="0"/>
                  </a:lnTo>
                  <a:lnTo>
                    <a:pt x="737" y="1"/>
                  </a:lnTo>
                  <a:lnTo>
                    <a:pt x="736" y="2"/>
                  </a:lnTo>
                  <a:lnTo>
                    <a:pt x="736" y="2"/>
                  </a:lnTo>
                  <a:lnTo>
                    <a:pt x="735" y="3"/>
                  </a:lnTo>
                  <a:lnTo>
                    <a:pt x="734" y="3"/>
                  </a:lnTo>
                  <a:lnTo>
                    <a:pt x="736" y="3"/>
                  </a:lnTo>
                  <a:lnTo>
                    <a:pt x="735" y="5"/>
                  </a:lnTo>
                  <a:lnTo>
                    <a:pt x="737" y="5"/>
                  </a:lnTo>
                  <a:lnTo>
                    <a:pt x="739" y="3"/>
                  </a:lnTo>
                  <a:lnTo>
                    <a:pt x="741" y="5"/>
                  </a:lnTo>
                  <a:lnTo>
                    <a:pt x="744" y="3"/>
                  </a:lnTo>
                  <a:lnTo>
                    <a:pt x="743" y="5"/>
                  </a:lnTo>
                  <a:lnTo>
                    <a:pt x="742" y="6"/>
                  </a:lnTo>
                  <a:lnTo>
                    <a:pt x="742" y="7"/>
                  </a:lnTo>
                  <a:lnTo>
                    <a:pt x="744" y="7"/>
                  </a:lnTo>
                  <a:lnTo>
                    <a:pt x="746" y="10"/>
                  </a:lnTo>
                  <a:lnTo>
                    <a:pt x="745" y="13"/>
                  </a:lnTo>
                  <a:lnTo>
                    <a:pt x="743" y="15"/>
                  </a:lnTo>
                  <a:lnTo>
                    <a:pt x="742" y="17"/>
                  </a:lnTo>
                  <a:lnTo>
                    <a:pt x="741" y="17"/>
                  </a:lnTo>
                  <a:lnTo>
                    <a:pt x="739" y="18"/>
                  </a:lnTo>
                  <a:lnTo>
                    <a:pt x="742" y="18"/>
                  </a:lnTo>
                  <a:lnTo>
                    <a:pt x="741" y="20"/>
                  </a:lnTo>
                  <a:lnTo>
                    <a:pt x="744" y="20"/>
                  </a:lnTo>
                  <a:lnTo>
                    <a:pt x="745" y="21"/>
                  </a:lnTo>
                  <a:lnTo>
                    <a:pt x="744" y="22"/>
                  </a:lnTo>
                  <a:lnTo>
                    <a:pt x="744" y="22"/>
                  </a:lnTo>
                  <a:lnTo>
                    <a:pt x="745" y="23"/>
                  </a:lnTo>
                  <a:lnTo>
                    <a:pt x="744" y="25"/>
                  </a:lnTo>
                  <a:lnTo>
                    <a:pt x="744" y="26"/>
                  </a:lnTo>
                  <a:lnTo>
                    <a:pt x="745" y="26"/>
                  </a:lnTo>
                  <a:lnTo>
                    <a:pt x="746" y="26"/>
                  </a:lnTo>
                  <a:lnTo>
                    <a:pt x="746" y="25"/>
                  </a:lnTo>
                  <a:lnTo>
                    <a:pt x="747" y="26"/>
                  </a:lnTo>
                  <a:lnTo>
                    <a:pt x="746" y="27"/>
                  </a:lnTo>
                  <a:lnTo>
                    <a:pt x="747" y="27"/>
                  </a:lnTo>
                  <a:lnTo>
                    <a:pt x="748" y="28"/>
                  </a:lnTo>
                  <a:lnTo>
                    <a:pt x="744" y="28"/>
                  </a:lnTo>
                  <a:lnTo>
                    <a:pt x="739" y="27"/>
                  </a:lnTo>
                  <a:lnTo>
                    <a:pt x="738" y="28"/>
                  </a:lnTo>
                  <a:lnTo>
                    <a:pt x="738" y="28"/>
                  </a:lnTo>
                  <a:lnTo>
                    <a:pt x="737" y="28"/>
                  </a:lnTo>
                  <a:lnTo>
                    <a:pt x="736" y="29"/>
                  </a:lnTo>
                  <a:lnTo>
                    <a:pt x="736" y="29"/>
                  </a:lnTo>
                  <a:lnTo>
                    <a:pt x="739" y="29"/>
                  </a:lnTo>
                  <a:lnTo>
                    <a:pt x="741" y="30"/>
                  </a:lnTo>
                  <a:lnTo>
                    <a:pt x="739" y="31"/>
                  </a:lnTo>
                  <a:lnTo>
                    <a:pt x="737" y="32"/>
                  </a:lnTo>
                  <a:lnTo>
                    <a:pt x="735" y="32"/>
                  </a:lnTo>
                  <a:lnTo>
                    <a:pt x="734" y="32"/>
                  </a:lnTo>
                  <a:lnTo>
                    <a:pt x="732" y="32"/>
                  </a:lnTo>
                  <a:lnTo>
                    <a:pt x="732" y="33"/>
                  </a:lnTo>
                  <a:lnTo>
                    <a:pt x="729" y="33"/>
                  </a:lnTo>
                  <a:lnTo>
                    <a:pt x="729" y="35"/>
                  </a:lnTo>
                  <a:lnTo>
                    <a:pt x="728" y="35"/>
                  </a:lnTo>
                  <a:lnTo>
                    <a:pt x="733" y="35"/>
                  </a:lnTo>
                  <a:lnTo>
                    <a:pt x="733" y="36"/>
                  </a:lnTo>
                  <a:lnTo>
                    <a:pt x="733" y="37"/>
                  </a:lnTo>
                  <a:lnTo>
                    <a:pt x="735" y="38"/>
                  </a:lnTo>
                  <a:lnTo>
                    <a:pt x="738" y="37"/>
                  </a:lnTo>
                  <a:lnTo>
                    <a:pt x="742" y="36"/>
                  </a:lnTo>
                  <a:lnTo>
                    <a:pt x="744" y="36"/>
                  </a:lnTo>
                  <a:lnTo>
                    <a:pt x="743" y="37"/>
                  </a:lnTo>
                  <a:lnTo>
                    <a:pt x="742" y="37"/>
                  </a:lnTo>
                  <a:lnTo>
                    <a:pt x="743" y="37"/>
                  </a:lnTo>
                  <a:lnTo>
                    <a:pt x="744" y="38"/>
                  </a:lnTo>
                  <a:lnTo>
                    <a:pt x="745" y="38"/>
                  </a:lnTo>
                  <a:lnTo>
                    <a:pt x="746" y="38"/>
                  </a:lnTo>
                  <a:lnTo>
                    <a:pt x="747" y="37"/>
                  </a:lnTo>
                  <a:lnTo>
                    <a:pt x="747" y="39"/>
                  </a:lnTo>
                  <a:lnTo>
                    <a:pt x="745" y="40"/>
                  </a:lnTo>
                  <a:lnTo>
                    <a:pt x="744" y="40"/>
                  </a:lnTo>
                  <a:lnTo>
                    <a:pt x="743" y="40"/>
                  </a:lnTo>
                  <a:lnTo>
                    <a:pt x="742" y="40"/>
                  </a:lnTo>
                  <a:lnTo>
                    <a:pt x="739" y="40"/>
                  </a:lnTo>
                  <a:lnTo>
                    <a:pt x="742" y="43"/>
                  </a:lnTo>
                  <a:lnTo>
                    <a:pt x="744" y="43"/>
                  </a:lnTo>
                  <a:lnTo>
                    <a:pt x="744" y="45"/>
                  </a:lnTo>
                  <a:lnTo>
                    <a:pt x="744" y="46"/>
                  </a:lnTo>
                  <a:lnTo>
                    <a:pt x="744" y="47"/>
                  </a:lnTo>
                  <a:lnTo>
                    <a:pt x="744" y="48"/>
                  </a:lnTo>
                  <a:lnTo>
                    <a:pt x="742" y="50"/>
                  </a:lnTo>
                  <a:lnTo>
                    <a:pt x="741" y="51"/>
                  </a:lnTo>
                  <a:lnTo>
                    <a:pt x="739" y="52"/>
                  </a:lnTo>
                  <a:lnTo>
                    <a:pt x="739" y="55"/>
                  </a:lnTo>
                  <a:lnTo>
                    <a:pt x="739" y="55"/>
                  </a:lnTo>
                  <a:lnTo>
                    <a:pt x="739" y="56"/>
                  </a:lnTo>
                  <a:lnTo>
                    <a:pt x="742" y="55"/>
                  </a:lnTo>
                  <a:lnTo>
                    <a:pt x="746" y="52"/>
                  </a:lnTo>
                  <a:lnTo>
                    <a:pt x="747" y="51"/>
                  </a:lnTo>
                  <a:lnTo>
                    <a:pt x="748" y="50"/>
                  </a:lnTo>
                  <a:lnTo>
                    <a:pt x="748" y="50"/>
                  </a:lnTo>
                  <a:lnTo>
                    <a:pt x="750" y="50"/>
                  </a:lnTo>
                  <a:lnTo>
                    <a:pt x="752" y="48"/>
                  </a:lnTo>
                  <a:lnTo>
                    <a:pt x="753" y="46"/>
                  </a:lnTo>
                  <a:lnTo>
                    <a:pt x="754" y="45"/>
                  </a:lnTo>
                  <a:lnTo>
                    <a:pt x="758" y="43"/>
                  </a:lnTo>
                  <a:lnTo>
                    <a:pt x="760" y="41"/>
                  </a:lnTo>
                  <a:lnTo>
                    <a:pt x="764" y="41"/>
                  </a:lnTo>
                  <a:lnTo>
                    <a:pt x="766" y="41"/>
                  </a:lnTo>
                  <a:lnTo>
                    <a:pt x="766" y="43"/>
                  </a:lnTo>
                  <a:lnTo>
                    <a:pt x="767" y="45"/>
                  </a:lnTo>
                  <a:lnTo>
                    <a:pt x="772" y="47"/>
                  </a:lnTo>
                  <a:lnTo>
                    <a:pt x="772" y="49"/>
                  </a:lnTo>
                  <a:lnTo>
                    <a:pt x="769" y="52"/>
                  </a:lnTo>
                  <a:lnTo>
                    <a:pt x="769" y="55"/>
                  </a:lnTo>
                  <a:lnTo>
                    <a:pt x="768" y="56"/>
                  </a:lnTo>
                  <a:lnTo>
                    <a:pt x="766" y="57"/>
                  </a:lnTo>
                  <a:lnTo>
                    <a:pt x="764" y="57"/>
                  </a:lnTo>
                  <a:lnTo>
                    <a:pt x="764" y="56"/>
                  </a:lnTo>
                  <a:lnTo>
                    <a:pt x="765" y="55"/>
                  </a:lnTo>
                  <a:lnTo>
                    <a:pt x="762" y="57"/>
                  </a:lnTo>
                  <a:lnTo>
                    <a:pt x="760" y="59"/>
                  </a:lnTo>
                  <a:lnTo>
                    <a:pt x="758" y="60"/>
                  </a:lnTo>
                  <a:lnTo>
                    <a:pt x="758" y="61"/>
                  </a:lnTo>
                  <a:lnTo>
                    <a:pt x="758" y="63"/>
                  </a:lnTo>
                  <a:lnTo>
                    <a:pt x="758" y="66"/>
                  </a:lnTo>
                  <a:lnTo>
                    <a:pt x="759" y="67"/>
                  </a:lnTo>
                  <a:lnTo>
                    <a:pt x="760" y="71"/>
                  </a:lnTo>
                  <a:lnTo>
                    <a:pt x="762" y="71"/>
                  </a:lnTo>
                  <a:lnTo>
                    <a:pt x="763" y="72"/>
                  </a:lnTo>
                  <a:lnTo>
                    <a:pt x="765" y="72"/>
                  </a:lnTo>
                  <a:lnTo>
                    <a:pt x="766" y="71"/>
                  </a:lnTo>
                  <a:lnTo>
                    <a:pt x="767" y="70"/>
                  </a:lnTo>
                  <a:lnTo>
                    <a:pt x="769" y="69"/>
                  </a:lnTo>
                  <a:lnTo>
                    <a:pt x="770" y="70"/>
                  </a:lnTo>
                  <a:lnTo>
                    <a:pt x="772" y="69"/>
                  </a:lnTo>
                  <a:lnTo>
                    <a:pt x="772" y="70"/>
                  </a:lnTo>
                  <a:lnTo>
                    <a:pt x="773" y="70"/>
                  </a:lnTo>
                  <a:lnTo>
                    <a:pt x="776" y="68"/>
                  </a:lnTo>
                  <a:lnTo>
                    <a:pt x="777" y="66"/>
                  </a:lnTo>
                  <a:lnTo>
                    <a:pt x="778" y="65"/>
                  </a:lnTo>
                  <a:lnTo>
                    <a:pt x="782" y="62"/>
                  </a:lnTo>
                  <a:lnTo>
                    <a:pt x="785" y="61"/>
                  </a:lnTo>
                  <a:lnTo>
                    <a:pt x="790" y="58"/>
                  </a:lnTo>
                  <a:lnTo>
                    <a:pt x="791" y="56"/>
                  </a:lnTo>
                  <a:lnTo>
                    <a:pt x="793" y="56"/>
                  </a:lnTo>
                  <a:lnTo>
                    <a:pt x="797" y="51"/>
                  </a:lnTo>
                  <a:lnTo>
                    <a:pt x="797" y="50"/>
                  </a:lnTo>
                  <a:lnTo>
                    <a:pt x="798" y="50"/>
                  </a:lnTo>
                  <a:lnTo>
                    <a:pt x="801" y="50"/>
                  </a:lnTo>
                  <a:lnTo>
                    <a:pt x="803" y="49"/>
                  </a:lnTo>
                  <a:lnTo>
                    <a:pt x="804" y="49"/>
                  </a:lnTo>
                  <a:lnTo>
                    <a:pt x="806" y="49"/>
                  </a:lnTo>
                  <a:lnTo>
                    <a:pt x="808" y="49"/>
                  </a:lnTo>
                  <a:lnTo>
                    <a:pt x="810" y="49"/>
                  </a:lnTo>
                  <a:lnTo>
                    <a:pt x="810" y="48"/>
                  </a:lnTo>
                  <a:lnTo>
                    <a:pt x="807" y="48"/>
                  </a:lnTo>
                  <a:lnTo>
                    <a:pt x="807" y="48"/>
                  </a:lnTo>
                  <a:lnTo>
                    <a:pt x="808" y="47"/>
                  </a:lnTo>
                  <a:lnTo>
                    <a:pt x="808" y="47"/>
                  </a:lnTo>
                  <a:lnTo>
                    <a:pt x="810" y="47"/>
                  </a:lnTo>
                  <a:lnTo>
                    <a:pt x="810" y="46"/>
                  </a:lnTo>
                  <a:lnTo>
                    <a:pt x="811" y="46"/>
                  </a:lnTo>
                  <a:lnTo>
                    <a:pt x="814" y="46"/>
                  </a:lnTo>
                  <a:lnTo>
                    <a:pt x="814" y="45"/>
                  </a:lnTo>
                  <a:lnTo>
                    <a:pt x="813" y="45"/>
                  </a:lnTo>
                  <a:lnTo>
                    <a:pt x="811" y="43"/>
                  </a:lnTo>
                  <a:lnTo>
                    <a:pt x="809" y="43"/>
                  </a:lnTo>
                  <a:lnTo>
                    <a:pt x="808" y="42"/>
                  </a:lnTo>
                  <a:lnTo>
                    <a:pt x="808" y="41"/>
                  </a:lnTo>
                  <a:lnTo>
                    <a:pt x="809" y="40"/>
                  </a:lnTo>
                  <a:lnTo>
                    <a:pt x="809" y="39"/>
                  </a:lnTo>
                  <a:lnTo>
                    <a:pt x="810" y="38"/>
                  </a:lnTo>
                  <a:lnTo>
                    <a:pt x="811" y="37"/>
                  </a:lnTo>
                  <a:lnTo>
                    <a:pt x="811" y="36"/>
                  </a:lnTo>
                  <a:lnTo>
                    <a:pt x="813" y="35"/>
                  </a:lnTo>
                  <a:lnTo>
                    <a:pt x="814" y="33"/>
                  </a:lnTo>
                  <a:lnTo>
                    <a:pt x="814" y="32"/>
                  </a:lnTo>
                  <a:lnTo>
                    <a:pt x="818" y="33"/>
                  </a:lnTo>
                  <a:lnTo>
                    <a:pt x="820" y="32"/>
                  </a:lnTo>
                  <a:lnTo>
                    <a:pt x="825" y="32"/>
                  </a:lnTo>
                  <a:lnTo>
                    <a:pt x="828" y="32"/>
                  </a:lnTo>
                  <a:lnTo>
                    <a:pt x="829" y="33"/>
                  </a:lnTo>
                  <a:lnTo>
                    <a:pt x="834" y="36"/>
                  </a:lnTo>
                  <a:lnTo>
                    <a:pt x="839" y="35"/>
                  </a:lnTo>
                  <a:lnTo>
                    <a:pt x="840" y="36"/>
                  </a:lnTo>
                  <a:lnTo>
                    <a:pt x="843" y="35"/>
                  </a:lnTo>
                  <a:lnTo>
                    <a:pt x="845" y="35"/>
                  </a:lnTo>
                  <a:lnTo>
                    <a:pt x="846" y="36"/>
                  </a:lnTo>
                  <a:lnTo>
                    <a:pt x="845" y="37"/>
                  </a:lnTo>
                  <a:lnTo>
                    <a:pt x="844" y="38"/>
                  </a:lnTo>
                  <a:lnTo>
                    <a:pt x="841" y="38"/>
                  </a:lnTo>
                  <a:lnTo>
                    <a:pt x="844" y="38"/>
                  </a:lnTo>
                  <a:lnTo>
                    <a:pt x="845" y="40"/>
                  </a:lnTo>
                  <a:lnTo>
                    <a:pt x="846" y="41"/>
                  </a:lnTo>
                  <a:lnTo>
                    <a:pt x="844" y="41"/>
                  </a:lnTo>
                  <a:lnTo>
                    <a:pt x="845" y="42"/>
                  </a:lnTo>
                  <a:lnTo>
                    <a:pt x="850" y="41"/>
                  </a:lnTo>
                  <a:lnTo>
                    <a:pt x="853" y="42"/>
                  </a:lnTo>
                  <a:lnTo>
                    <a:pt x="854" y="42"/>
                  </a:lnTo>
                  <a:lnTo>
                    <a:pt x="854" y="43"/>
                  </a:lnTo>
                  <a:lnTo>
                    <a:pt x="850" y="45"/>
                  </a:lnTo>
                  <a:lnTo>
                    <a:pt x="846" y="47"/>
                  </a:lnTo>
                  <a:lnTo>
                    <a:pt x="844" y="48"/>
                  </a:lnTo>
                  <a:lnTo>
                    <a:pt x="850" y="48"/>
                  </a:lnTo>
                  <a:lnTo>
                    <a:pt x="850" y="49"/>
                  </a:lnTo>
                  <a:lnTo>
                    <a:pt x="849" y="51"/>
                  </a:lnTo>
                  <a:lnTo>
                    <a:pt x="848" y="51"/>
                  </a:lnTo>
                  <a:lnTo>
                    <a:pt x="845" y="52"/>
                  </a:lnTo>
                  <a:lnTo>
                    <a:pt x="843" y="52"/>
                  </a:lnTo>
                  <a:lnTo>
                    <a:pt x="841" y="53"/>
                  </a:lnTo>
                  <a:lnTo>
                    <a:pt x="839" y="55"/>
                  </a:lnTo>
                  <a:lnTo>
                    <a:pt x="839" y="53"/>
                  </a:lnTo>
                  <a:lnTo>
                    <a:pt x="839" y="52"/>
                  </a:lnTo>
                  <a:lnTo>
                    <a:pt x="837" y="52"/>
                  </a:lnTo>
                  <a:lnTo>
                    <a:pt x="836" y="53"/>
                  </a:lnTo>
                  <a:lnTo>
                    <a:pt x="834" y="52"/>
                  </a:lnTo>
                  <a:lnTo>
                    <a:pt x="833" y="53"/>
                  </a:lnTo>
                  <a:lnTo>
                    <a:pt x="834" y="56"/>
                  </a:lnTo>
                  <a:lnTo>
                    <a:pt x="833" y="56"/>
                  </a:lnTo>
                  <a:lnTo>
                    <a:pt x="833" y="57"/>
                  </a:lnTo>
                  <a:lnTo>
                    <a:pt x="834" y="57"/>
                  </a:lnTo>
                  <a:lnTo>
                    <a:pt x="834" y="58"/>
                  </a:lnTo>
                  <a:lnTo>
                    <a:pt x="833" y="58"/>
                  </a:lnTo>
                  <a:lnTo>
                    <a:pt x="837" y="58"/>
                  </a:lnTo>
                  <a:lnTo>
                    <a:pt x="835" y="59"/>
                  </a:lnTo>
                  <a:lnTo>
                    <a:pt x="833" y="61"/>
                  </a:lnTo>
                  <a:lnTo>
                    <a:pt x="831" y="62"/>
                  </a:lnTo>
                  <a:lnTo>
                    <a:pt x="835" y="67"/>
                  </a:lnTo>
                  <a:lnTo>
                    <a:pt x="836" y="68"/>
                  </a:lnTo>
                  <a:lnTo>
                    <a:pt x="837" y="69"/>
                  </a:lnTo>
                  <a:lnTo>
                    <a:pt x="837" y="70"/>
                  </a:lnTo>
                  <a:lnTo>
                    <a:pt x="835" y="70"/>
                  </a:lnTo>
                  <a:lnTo>
                    <a:pt x="834" y="72"/>
                  </a:lnTo>
                  <a:lnTo>
                    <a:pt x="834" y="73"/>
                  </a:lnTo>
                  <a:lnTo>
                    <a:pt x="833" y="73"/>
                  </a:lnTo>
                  <a:lnTo>
                    <a:pt x="831" y="75"/>
                  </a:lnTo>
                  <a:lnTo>
                    <a:pt x="828" y="76"/>
                  </a:lnTo>
                  <a:lnTo>
                    <a:pt x="826" y="76"/>
                  </a:lnTo>
                  <a:lnTo>
                    <a:pt x="823" y="78"/>
                  </a:lnTo>
                  <a:lnTo>
                    <a:pt x="821" y="79"/>
                  </a:lnTo>
                  <a:lnTo>
                    <a:pt x="819" y="79"/>
                  </a:lnTo>
                  <a:lnTo>
                    <a:pt x="811" y="82"/>
                  </a:lnTo>
                  <a:lnTo>
                    <a:pt x="807" y="83"/>
                  </a:lnTo>
                  <a:lnTo>
                    <a:pt x="806" y="85"/>
                  </a:lnTo>
                  <a:lnTo>
                    <a:pt x="803" y="86"/>
                  </a:lnTo>
                  <a:lnTo>
                    <a:pt x="800" y="86"/>
                  </a:lnTo>
                  <a:lnTo>
                    <a:pt x="800" y="86"/>
                  </a:lnTo>
                  <a:lnTo>
                    <a:pt x="800" y="85"/>
                  </a:lnTo>
                  <a:lnTo>
                    <a:pt x="797" y="82"/>
                  </a:lnTo>
                  <a:lnTo>
                    <a:pt x="796" y="81"/>
                  </a:lnTo>
                  <a:lnTo>
                    <a:pt x="794" y="82"/>
                  </a:lnTo>
                  <a:lnTo>
                    <a:pt x="794" y="83"/>
                  </a:lnTo>
                  <a:lnTo>
                    <a:pt x="795" y="85"/>
                  </a:lnTo>
                  <a:lnTo>
                    <a:pt x="794" y="87"/>
                  </a:lnTo>
                  <a:lnTo>
                    <a:pt x="794" y="89"/>
                  </a:lnTo>
                  <a:lnTo>
                    <a:pt x="794" y="89"/>
                  </a:lnTo>
                  <a:lnTo>
                    <a:pt x="794" y="89"/>
                  </a:lnTo>
                  <a:lnTo>
                    <a:pt x="791" y="88"/>
                  </a:lnTo>
                  <a:lnTo>
                    <a:pt x="789" y="87"/>
                  </a:lnTo>
                  <a:lnTo>
                    <a:pt x="788" y="86"/>
                  </a:lnTo>
                  <a:lnTo>
                    <a:pt x="788" y="86"/>
                  </a:lnTo>
                  <a:lnTo>
                    <a:pt x="787" y="86"/>
                  </a:lnTo>
                  <a:lnTo>
                    <a:pt x="785" y="89"/>
                  </a:lnTo>
                  <a:lnTo>
                    <a:pt x="782" y="88"/>
                  </a:lnTo>
                  <a:lnTo>
                    <a:pt x="780" y="88"/>
                  </a:lnTo>
                  <a:lnTo>
                    <a:pt x="778" y="87"/>
                  </a:lnTo>
                  <a:lnTo>
                    <a:pt x="777" y="88"/>
                  </a:lnTo>
                  <a:lnTo>
                    <a:pt x="779" y="83"/>
                  </a:lnTo>
                  <a:lnTo>
                    <a:pt x="777" y="82"/>
                  </a:lnTo>
                  <a:lnTo>
                    <a:pt x="772" y="85"/>
                  </a:lnTo>
                  <a:lnTo>
                    <a:pt x="772" y="83"/>
                  </a:lnTo>
                  <a:lnTo>
                    <a:pt x="770" y="85"/>
                  </a:lnTo>
                  <a:lnTo>
                    <a:pt x="765" y="83"/>
                  </a:lnTo>
                  <a:lnTo>
                    <a:pt x="762" y="85"/>
                  </a:lnTo>
                  <a:lnTo>
                    <a:pt x="762" y="85"/>
                  </a:lnTo>
                  <a:lnTo>
                    <a:pt x="760" y="85"/>
                  </a:lnTo>
                  <a:lnTo>
                    <a:pt x="760" y="86"/>
                  </a:lnTo>
                  <a:lnTo>
                    <a:pt x="765" y="88"/>
                  </a:lnTo>
                  <a:lnTo>
                    <a:pt x="766" y="88"/>
                  </a:lnTo>
                  <a:lnTo>
                    <a:pt x="767" y="89"/>
                  </a:lnTo>
                  <a:lnTo>
                    <a:pt x="766" y="90"/>
                  </a:lnTo>
                  <a:lnTo>
                    <a:pt x="765" y="91"/>
                  </a:lnTo>
                  <a:lnTo>
                    <a:pt x="764" y="91"/>
                  </a:lnTo>
                  <a:lnTo>
                    <a:pt x="764" y="92"/>
                  </a:lnTo>
                  <a:lnTo>
                    <a:pt x="762" y="92"/>
                  </a:lnTo>
                  <a:lnTo>
                    <a:pt x="759" y="93"/>
                  </a:lnTo>
                  <a:lnTo>
                    <a:pt x="757" y="96"/>
                  </a:lnTo>
                  <a:lnTo>
                    <a:pt x="755" y="97"/>
                  </a:lnTo>
                  <a:lnTo>
                    <a:pt x="753" y="98"/>
                  </a:lnTo>
                  <a:lnTo>
                    <a:pt x="752" y="98"/>
                  </a:lnTo>
                  <a:lnTo>
                    <a:pt x="748" y="99"/>
                  </a:lnTo>
                  <a:lnTo>
                    <a:pt x="746" y="101"/>
                  </a:lnTo>
                  <a:lnTo>
                    <a:pt x="744" y="101"/>
                  </a:lnTo>
                  <a:lnTo>
                    <a:pt x="742" y="102"/>
                  </a:lnTo>
                  <a:lnTo>
                    <a:pt x="733" y="102"/>
                  </a:lnTo>
                  <a:lnTo>
                    <a:pt x="733" y="101"/>
                  </a:lnTo>
                  <a:lnTo>
                    <a:pt x="733" y="100"/>
                  </a:lnTo>
                  <a:lnTo>
                    <a:pt x="728" y="97"/>
                  </a:lnTo>
                  <a:lnTo>
                    <a:pt x="728" y="97"/>
                  </a:lnTo>
                  <a:lnTo>
                    <a:pt x="724" y="96"/>
                  </a:lnTo>
                  <a:lnTo>
                    <a:pt x="722" y="93"/>
                  </a:lnTo>
                  <a:lnTo>
                    <a:pt x="719" y="93"/>
                  </a:lnTo>
                  <a:lnTo>
                    <a:pt x="717" y="94"/>
                  </a:lnTo>
                  <a:lnTo>
                    <a:pt x="714" y="93"/>
                  </a:lnTo>
                  <a:lnTo>
                    <a:pt x="712" y="94"/>
                  </a:lnTo>
                  <a:lnTo>
                    <a:pt x="715" y="96"/>
                  </a:lnTo>
                  <a:lnTo>
                    <a:pt x="717" y="98"/>
                  </a:lnTo>
                  <a:lnTo>
                    <a:pt x="718" y="100"/>
                  </a:lnTo>
                  <a:lnTo>
                    <a:pt x="721" y="102"/>
                  </a:lnTo>
                  <a:lnTo>
                    <a:pt x="726" y="102"/>
                  </a:lnTo>
                  <a:lnTo>
                    <a:pt x="731" y="103"/>
                  </a:lnTo>
                  <a:lnTo>
                    <a:pt x="733" y="103"/>
                  </a:lnTo>
                  <a:lnTo>
                    <a:pt x="738" y="103"/>
                  </a:lnTo>
                  <a:lnTo>
                    <a:pt x="744" y="103"/>
                  </a:lnTo>
                  <a:lnTo>
                    <a:pt x="744" y="104"/>
                  </a:lnTo>
                  <a:lnTo>
                    <a:pt x="745" y="104"/>
                  </a:lnTo>
                  <a:lnTo>
                    <a:pt x="743" y="106"/>
                  </a:lnTo>
                  <a:lnTo>
                    <a:pt x="742" y="107"/>
                  </a:lnTo>
                  <a:lnTo>
                    <a:pt x="741" y="108"/>
                  </a:lnTo>
                  <a:lnTo>
                    <a:pt x="737" y="110"/>
                  </a:lnTo>
                  <a:lnTo>
                    <a:pt x="735" y="112"/>
                  </a:lnTo>
                  <a:lnTo>
                    <a:pt x="733" y="112"/>
                  </a:lnTo>
                  <a:lnTo>
                    <a:pt x="729" y="114"/>
                  </a:lnTo>
                  <a:lnTo>
                    <a:pt x="726" y="116"/>
                  </a:lnTo>
                  <a:lnTo>
                    <a:pt x="725" y="118"/>
                  </a:lnTo>
                  <a:lnTo>
                    <a:pt x="723" y="119"/>
                  </a:lnTo>
                  <a:lnTo>
                    <a:pt x="718" y="121"/>
                  </a:lnTo>
                  <a:lnTo>
                    <a:pt x="718" y="121"/>
                  </a:lnTo>
                  <a:lnTo>
                    <a:pt x="715" y="122"/>
                  </a:lnTo>
                  <a:lnTo>
                    <a:pt x="709" y="123"/>
                  </a:lnTo>
                  <a:lnTo>
                    <a:pt x="706" y="123"/>
                  </a:lnTo>
                  <a:lnTo>
                    <a:pt x="704" y="124"/>
                  </a:lnTo>
                  <a:lnTo>
                    <a:pt x="701" y="122"/>
                  </a:lnTo>
                  <a:lnTo>
                    <a:pt x="701" y="122"/>
                  </a:lnTo>
                  <a:lnTo>
                    <a:pt x="699" y="123"/>
                  </a:lnTo>
                  <a:lnTo>
                    <a:pt x="699" y="122"/>
                  </a:lnTo>
                  <a:lnTo>
                    <a:pt x="698" y="122"/>
                  </a:lnTo>
                  <a:lnTo>
                    <a:pt x="697" y="121"/>
                  </a:lnTo>
                  <a:lnTo>
                    <a:pt x="696" y="121"/>
                  </a:lnTo>
                  <a:lnTo>
                    <a:pt x="696" y="122"/>
                  </a:lnTo>
                  <a:lnTo>
                    <a:pt x="695" y="123"/>
                  </a:lnTo>
                  <a:lnTo>
                    <a:pt x="695" y="124"/>
                  </a:lnTo>
                  <a:lnTo>
                    <a:pt x="695" y="124"/>
                  </a:lnTo>
                  <a:lnTo>
                    <a:pt x="694" y="124"/>
                  </a:lnTo>
                  <a:lnTo>
                    <a:pt x="693" y="124"/>
                  </a:lnTo>
                  <a:lnTo>
                    <a:pt x="691" y="126"/>
                  </a:lnTo>
                  <a:lnTo>
                    <a:pt x="692" y="127"/>
                  </a:lnTo>
                  <a:lnTo>
                    <a:pt x="691" y="128"/>
                  </a:lnTo>
                  <a:lnTo>
                    <a:pt x="688" y="129"/>
                  </a:lnTo>
                  <a:lnTo>
                    <a:pt x="686" y="130"/>
                  </a:lnTo>
                  <a:lnTo>
                    <a:pt x="685" y="130"/>
                  </a:lnTo>
                  <a:lnTo>
                    <a:pt x="684" y="131"/>
                  </a:lnTo>
                  <a:lnTo>
                    <a:pt x="683" y="131"/>
                  </a:lnTo>
                  <a:lnTo>
                    <a:pt x="682" y="131"/>
                  </a:lnTo>
                  <a:lnTo>
                    <a:pt x="679" y="132"/>
                  </a:lnTo>
                  <a:lnTo>
                    <a:pt x="679" y="131"/>
                  </a:lnTo>
                  <a:lnTo>
                    <a:pt x="678" y="131"/>
                  </a:lnTo>
                  <a:lnTo>
                    <a:pt x="677" y="130"/>
                  </a:lnTo>
                  <a:lnTo>
                    <a:pt x="675" y="129"/>
                  </a:lnTo>
                  <a:lnTo>
                    <a:pt x="673" y="128"/>
                  </a:lnTo>
                  <a:lnTo>
                    <a:pt x="672" y="128"/>
                  </a:lnTo>
                  <a:lnTo>
                    <a:pt x="673" y="127"/>
                  </a:lnTo>
                  <a:lnTo>
                    <a:pt x="670" y="128"/>
                  </a:lnTo>
                  <a:lnTo>
                    <a:pt x="667" y="128"/>
                  </a:lnTo>
                  <a:lnTo>
                    <a:pt x="667" y="128"/>
                  </a:lnTo>
                  <a:lnTo>
                    <a:pt x="666" y="128"/>
                  </a:lnTo>
                  <a:lnTo>
                    <a:pt x="664" y="128"/>
                  </a:lnTo>
                  <a:lnTo>
                    <a:pt x="660" y="127"/>
                  </a:lnTo>
                  <a:lnTo>
                    <a:pt x="660" y="126"/>
                  </a:lnTo>
                  <a:lnTo>
                    <a:pt x="652" y="123"/>
                  </a:lnTo>
                  <a:lnTo>
                    <a:pt x="651" y="123"/>
                  </a:lnTo>
                  <a:lnTo>
                    <a:pt x="648" y="124"/>
                  </a:lnTo>
                  <a:lnTo>
                    <a:pt x="647" y="126"/>
                  </a:lnTo>
                  <a:lnTo>
                    <a:pt x="650" y="127"/>
                  </a:lnTo>
                  <a:lnTo>
                    <a:pt x="651" y="126"/>
                  </a:lnTo>
                  <a:lnTo>
                    <a:pt x="652" y="126"/>
                  </a:lnTo>
                  <a:lnTo>
                    <a:pt x="652" y="124"/>
                  </a:lnTo>
                  <a:lnTo>
                    <a:pt x="653" y="126"/>
                  </a:lnTo>
                  <a:lnTo>
                    <a:pt x="656" y="127"/>
                  </a:lnTo>
                  <a:lnTo>
                    <a:pt x="658" y="127"/>
                  </a:lnTo>
                  <a:lnTo>
                    <a:pt x="658" y="128"/>
                  </a:lnTo>
                  <a:lnTo>
                    <a:pt x="658" y="129"/>
                  </a:lnTo>
                  <a:lnTo>
                    <a:pt x="661" y="128"/>
                  </a:lnTo>
                  <a:lnTo>
                    <a:pt x="664" y="128"/>
                  </a:lnTo>
                  <a:lnTo>
                    <a:pt x="664" y="129"/>
                  </a:lnTo>
                  <a:lnTo>
                    <a:pt x="662" y="130"/>
                  </a:lnTo>
                  <a:lnTo>
                    <a:pt x="661" y="131"/>
                  </a:lnTo>
                  <a:lnTo>
                    <a:pt x="662" y="131"/>
                  </a:lnTo>
                  <a:lnTo>
                    <a:pt x="663" y="130"/>
                  </a:lnTo>
                  <a:lnTo>
                    <a:pt x="665" y="129"/>
                  </a:lnTo>
                  <a:lnTo>
                    <a:pt x="667" y="129"/>
                  </a:lnTo>
                  <a:lnTo>
                    <a:pt x="670" y="129"/>
                  </a:lnTo>
                  <a:lnTo>
                    <a:pt x="670" y="130"/>
                  </a:lnTo>
                  <a:lnTo>
                    <a:pt x="671" y="131"/>
                  </a:lnTo>
                  <a:lnTo>
                    <a:pt x="674" y="132"/>
                  </a:lnTo>
                  <a:lnTo>
                    <a:pt x="674" y="132"/>
                  </a:lnTo>
                  <a:lnTo>
                    <a:pt x="676" y="132"/>
                  </a:lnTo>
                  <a:lnTo>
                    <a:pt x="676" y="133"/>
                  </a:lnTo>
                  <a:lnTo>
                    <a:pt x="675" y="133"/>
                  </a:lnTo>
                  <a:lnTo>
                    <a:pt x="676" y="134"/>
                  </a:lnTo>
                  <a:lnTo>
                    <a:pt x="676" y="136"/>
                  </a:lnTo>
                  <a:lnTo>
                    <a:pt x="675" y="139"/>
                  </a:lnTo>
                  <a:lnTo>
                    <a:pt x="674" y="140"/>
                  </a:lnTo>
                  <a:lnTo>
                    <a:pt x="673" y="141"/>
                  </a:lnTo>
                  <a:lnTo>
                    <a:pt x="671" y="142"/>
                  </a:lnTo>
                  <a:lnTo>
                    <a:pt x="666" y="142"/>
                  </a:lnTo>
                  <a:lnTo>
                    <a:pt x="664" y="143"/>
                  </a:lnTo>
                  <a:lnTo>
                    <a:pt x="662" y="143"/>
                  </a:lnTo>
                  <a:lnTo>
                    <a:pt x="660" y="143"/>
                  </a:lnTo>
                  <a:lnTo>
                    <a:pt x="654" y="143"/>
                  </a:lnTo>
                  <a:lnTo>
                    <a:pt x="652" y="143"/>
                  </a:lnTo>
                  <a:lnTo>
                    <a:pt x="650" y="143"/>
                  </a:lnTo>
                  <a:lnTo>
                    <a:pt x="648" y="144"/>
                  </a:lnTo>
                  <a:lnTo>
                    <a:pt x="648" y="147"/>
                  </a:lnTo>
                  <a:lnTo>
                    <a:pt x="653" y="146"/>
                  </a:lnTo>
                  <a:lnTo>
                    <a:pt x="652" y="147"/>
                  </a:lnTo>
                  <a:lnTo>
                    <a:pt x="648" y="148"/>
                  </a:lnTo>
                  <a:lnTo>
                    <a:pt x="647" y="147"/>
                  </a:lnTo>
                  <a:lnTo>
                    <a:pt x="644" y="147"/>
                  </a:lnTo>
                  <a:lnTo>
                    <a:pt x="642" y="150"/>
                  </a:lnTo>
                  <a:lnTo>
                    <a:pt x="641" y="151"/>
                  </a:lnTo>
                  <a:lnTo>
                    <a:pt x="638" y="156"/>
                  </a:lnTo>
                  <a:lnTo>
                    <a:pt x="637" y="153"/>
                  </a:lnTo>
                  <a:lnTo>
                    <a:pt x="635" y="153"/>
                  </a:lnTo>
                  <a:lnTo>
                    <a:pt x="634" y="154"/>
                  </a:lnTo>
                  <a:lnTo>
                    <a:pt x="632" y="156"/>
                  </a:lnTo>
                  <a:lnTo>
                    <a:pt x="632" y="156"/>
                  </a:lnTo>
                  <a:lnTo>
                    <a:pt x="630" y="157"/>
                  </a:lnTo>
                  <a:lnTo>
                    <a:pt x="628" y="158"/>
                  </a:lnTo>
                  <a:lnTo>
                    <a:pt x="625" y="158"/>
                  </a:lnTo>
                  <a:lnTo>
                    <a:pt x="625" y="159"/>
                  </a:lnTo>
                  <a:lnTo>
                    <a:pt x="626" y="160"/>
                  </a:lnTo>
                  <a:lnTo>
                    <a:pt x="622" y="162"/>
                  </a:lnTo>
                  <a:lnTo>
                    <a:pt x="615" y="164"/>
                  </a:lnTo>
                  <a:lnTo>
                    <a:pt x="613" y="166"/>
                  </a:lnTo>
                  <a:lnTo>
                    <a:pt x="607" y="167"/>
                  </a:lnTo>
                  <a:lnTo>
                    <a:pt x="605" y="167"/>
                  </a:lnTo>
                  <a:lnTo>
                    <a:pt x="608" y="169"/>
                  </a:lnTo>
                  <a:lnTo>
                    <a:pt x="608" y="170"/>
                  </a:lnTo>
                  <a:lnTo>
                    <a:pt x="606" y="172"/>
                  </a:lnTo>
                  <a:lnTo>
                    <a:pt x="604" y="174"/>
                  </a:lnTo>
                  <a:lnTo>
                    <a:pt x="603" y="174"/>
                  </a:lnTo>
                  <a:lnTo>
                    <a:pt x="601" y="176"/>
                  </a:lnTo>
                  <a:lnTo>
                    <a:pt x="597" y="179"/>
                  </a:lnTo>
                  <a:lnTo>
                    <a:pt x="596" y="181"/>
                  </a:lnTo>
                  <a:lnTo>
                    <a:pt x="594" y="181"/>
                  </a:lnTo>
                  <a:lnTo>
                    <a:pt x="593" y="181"/>
                  </a:lnTo>
                  <a:lnTo>
                    <a:pt x="592" y="184"/>
                  </a:lnTo>
                  <a:lnTo>
                    <a:pt x="589" y="188"/>
                  </a:lnTo>
                  <a:lnTo>
                    <a:pt x="587" y="189"/>
                  </a:lnTo>
                  <a:lnTo>
                    <a:pt x="583" y="194"/>
                  </a:lnTo>
                  <a:lnTo>
                    <a:pt x="581" y="199"/>
                  </a:lnTo>
                  <a:lnTo>
                    <a:pt x="579" y="201"/>
                  </a:lnTo>
                  <a:lnTo>
                    <a:pt x="577" y="203"/>
                  </a:lnTo>
                  <a:lnTo>
                    <a:pt x="573" y="205"/>
                  </a:lnTo>
                  <a:lnTo>
                    <a:pt x="575" y="205"/>
                  </a:lnTo>
                  <a:lnTo>
                    <a:pt x="575" y="208"/>
                  </a:lnTo>
                  <a:lnTo>
                    <a:pt x="575" y="210"/>
                  </a:lnTo>
                  <a:lnTo>
                    <a:pt x="576" y="210"/>
                  </a:lnTo>
                  <a:lnTo>
                    <a:pt x="577" y="210"/>
                  </a:lnTo>
                  <a:lnTo>
                    <a:pt x="579" y="210"/>
                  </a:lnTo>
                  <a:lnTo>
                    <a:pt x="579" y="211"/>
                  </a:lnTo>
                  <a:lnTo>
                    <a:pt x="576" y="214"/>
                  </a:lnTo>
                  <a:lnTo>
                    <a:pt x="577" y="213"/>
                  </a:lnTo>
                  <a:lnTo>
                    <a:pt x="580" y="210"/>
                  </a:lnTo>
                  <a:lnTo>
                    <a:pt x="581" y="210"/>
                  </a:lnTo>
                  <a:lnTo>
                    <a:pt x="587" y="210"/>
                  </a:lnTo>
                  <a:lnTo>
                    <a:pt x="589" y="210"/>
                  </a:lnTo>
                  <a:lnTo>
                    <a:pt x="591" y="210"/>
                  </a:lnTo>
                  <a:lnTo>
                    <a:pt x="592" y="210"/>
                  </a:lnTo>
                  <a:lnTo>
                    <a:pt x="593" y="211"/>
                  </a:lnTo>
                  <a:lnTo>
                    <a:pt x="593" y="212"/>
                  </a:lnTo>
                  <a:lnTo>
                    <a:pt x="591" y="215"/>
                  </a:lnTo>
                  <a:lnTo>
                    <a:pt x="591" y="223"/>
                  </a:lnTo>
                  <a:lnTo>
                    <a:pt x="589" y="227"/>
                  </a:lnTo>
                  <a:lnTo>
                    <a:pt x="587" y="229"/>
                  </a:lnTo>
                  <a:lnTo>
                    <a:pt x="589" y="232"/>
                  </a:lnTo>
                  <a:lnTo>
                    <a:pt x="586" y="237"/>
                  </a:lnTo>
                  <a:lnTo>
                    <a:pt x="585" y="238"/>
                  </a:lnTo>
                  <a:lnTo>
                    <a:pt x="583" y="239"/>
                  </a:lnTo>
                  <a:lnTo>
                    <a:pt x="581" y="240"/>
                  </a:lnTo>
                  <a:lnTo>
                    <a:pt x="579" y="241"/>
                  </a:lnTo>
                  <a:lnTo>
                    <a:pt x="579" y="242"/>
                  </a:lnTo>
                  <a:lnTo>
                    <a:pt x="585" y="240"/>
                  </a:lnTo>
                  <a:lnTo>
                    <a:pt x="584" y="241"/>
                  </a:lnTo>
                  <a:lnTo>
                    <a:pt x="585" y="241"/>
                  </a:lnTo>
                  <a:lnTo>
                    <a:pt x="590" y="239"/>
                  </a:lnTo>
                  <a:lnTo>
                    <a:pt x="604" y="235"/>
                  </a:lnTo>
                  <a:lnTo>
                    <a:pt x="608" y="237"/>
                  </a:lnTo>
                  <a:lnTo>
                    <a:pt x="610" y="238"/>
                  </a:lnTo>
                  <a:lnTo>
                    <a:pt x="612" y="239"/>
                  </a:lnTo>
                  <a:lnTo>
                    <a:pt x="612" y="240"/>
                  </a:lnTo>
                  <a:lnTo>
                    <a:pt x="615" y="241"/>
                  </a:lnTo>
                  <a:lnTo>
                    <a:pt x="620" y="243"/>
                  </a:lnTo>
                  <a:lnTo>
                    <a:pt x="625" y="243"/>
                  </a:lnTo>
                  <a:lnTo>
                    <a:pt x="625" y="244"/>
                  </a:lnTo>
                  <a:lnTo>
                    <a:pt x="632" y="249"/>
                  </a:lnTo>
                  <a:lnTo>
                    <a:pt x="635" y="249"/>
                  </a:lnTo>
                  <a:lnTo>
                    <a:pt x="637" y="254"/>
                  </a:lnTo>
                  <a:lnTo>
                    <a:pt x="637" y="255"/>
                  </a:lnTo>
                  <a:lnTo>
                    <a:pt x="636" y="257"/>
                  </a:lnTo>
                  <a:lnTo>
                    <a:pt x="637" y="258"/>
                  </a:lnTo>
                  <a:lnTo>
                    <a:pt x="638" y="258"/>
                  </a:lnTo>
                  <a:lnTo>
                    <a:pt x="640" y="258"/>
                  </a:lnTo>
                  <a:lnTo>
                    <a:pt x="641" y="259"/>
                  </a:lnTo>
                  <a:lnTo>
                    <a:pt x="642" y="259"/>
                  </a:lnTo>
                  <a:lnTo>
                    <a:pt x="644" y="259"/>
                  </a:lnTo>
                  <a:lnTo>
                    <a:pt x="646" y="259"/>
                  </a:lnTo>
                  <a:lnTo>
                    <a:pt x="647" y="261"/>
                  </a:lnTo>
                  <a:lnTo>
                    <a:pt x="656" y="263"/>
                  </a:lnTo>
                  <a:lnTo>
                    <a:pt x="658" y="264"/>
                  </a:lnTo>
                  <a:lnTo>
                    <a:pt x="658" y="265"/>
                  </a:lnTo>
                  <a:lnTo>
                    <a:pt x="662" y="268"/>
                  </a:lnTo>
                  <a:lnTo>
                    <a:pt x="661" y="269"/>
                  </a:lnTo>
                  <a:lnTo>
                    <a:pt x="658" y="271"/>
                  </a:lnTo>
                  <a:lnTo>
                    <a:pt x="656" y="273"/>
                  </a:lnTo>
                  <a:lnTo>
                    <a:pt x="652" y="277"/>
                  </a:lnTo>
                  <a:lnTo>
                    <a:pt x="657" y="273"/>
                  </a:lnTo>
                  <a:lnTo>
                    <a:pt x="660" y="271"/>
                  </a:lnTo>
                  <a:lnTo>
                    <a:pt x="662" y="270"/>
                  </a:lnTo>
                  <a:lnTo>
                    <a:pt x="675" y="270"/>
                  </a:lnTo>
                  <a:lnTo>
                    <a:pt x="682" y="271"/>
                  </a:lnTo>
                  <a:lnTo>
                    <a:pt x="686" y="270"/>
                  </a:lnTo>
                  <a:lnTo>
                    <a:pt x="688" y="270"/>
                  </a:lnTo>
                  <a:lnTo>
                    <a:pt x="689" y="270"/>
                  </a:lnTo>
                  <a:lnTo>
                    <a:pt x="692" y="270"/>
                  </a:lnTo>
                  <a:lnTo>
                    <a:pt x="692" y="271"/>
                  </a:lnTo>
                  <a:lnTo>
                    <a:pt x="694" y="271"/>
                  </a:lnTo>
                  <a:lnTo>
                    <a:pt x="696" y="272"/>
                  </a:lnTo>
                  <a:lnTo>
                    <a:pt x="697" y="272"/>
                  </a:lnTo>
                  <a:lnTo>
                    <a:pt x="699" y="272"/>
                  </a:lnTo>
                  <a:lnTo>
                    <a:pt x="698" y="277"/>
                  </a:lnTo>
                  <a:lnTo>
                    <a:pt x="694" y="282"/>
                  </a:lnTo>
                  <a:lnTo>
                    <a:pt x="692" y="285"/>
                  </a:lnTo>
                  <a:lnTo>
                    <a:pt x="689" y="289"/>
                  </a:lnTo>
                  <a:lnTo>
                    <a:pt x="689" y="291"/>
                  </a:lnTo>
                  <a:lnTo>
                    <a:pt x="689" y="293"/>
                  </a:lnTo>
                  <a:lnTo>
                    <a:pt x="687" y="298"/>
                  </a:lnTo>
                  <a:lnTo>
                    <a:pt x="685" y="304"/>
                  </a:lnTo>
                  <a:lnTo>
                    <a:pt x="683" y="305"/>
                  </a:lnTo>
                  <a:lnTo>
                    <a:pt x="681" y="309"/>
                  </a:lnTo>
                  <a:lnTo>
                    <a:pt x="681" y="311"/>
                  </a:lnTo>
                  <a:lnTo>
                    <a:pt x="682" y="311"/>
                  </a:lnTo>
                  <a:lnTo>
                    <a:pt x="682" y="312"/>
                  </a:lnTo>
                  <a:lnTo>
                    <a:pt x="683" y="314"/>
                  </a:lnTo>
                  <a:lnTo>
                    <a:pt x="684" y="315"/>
                  </a:lnTo>
                  <a:lnTo>
                    <a:pt x="685" y="316"/>
                  </a:lnTo>
                  <a:lnTo>
                    <a:pt x="686" y="319"/>
                  </a:lnTo>
                  <a:lnTo>
                    <a:pt x="686" y="321"/>
                  </a:lnTo>
                  <a:lnTo>
                    <a:pt x="686" y="321"/>
                  </a:lnTo>
                  <a:lnTo>
                    <a:pt x="683" y="322"/>
                  </a:lnTo>
                  <a:lnTo>
                    <a:pt x="677" y="324"/>
                  </a:lnTo>
                  <a:lnTo>
                    <a:pt x="675" y="325"/>
                  </a:lnTo>
                  <a:lnTo>
                    <a:pt x="675" y="325"/>
                  </a:lnTo>
                  <a:lnTo>
                    <a:pt x="684" y="323"/>
                  </a:lnTo>
                  <a:lnTo>
                    <a:pt x="686" y="323"/>
                  </a:lnTo>
                  <a:lnTo>
                    <a:pt x="687" y="324"/>
                  </a:lnTo>
                  <a:lnTo>
                    <a:pt x="692" y="330"/>
                  </a:lnTo>
                  <a:lnTo>
                    <a:pt x="693" y="332"/>
                  </a:lnTo>
                  <a:lnTo>
                    <a:pt x="692" y="335"/>
                  </a:lnTo>
                  <a:lnTo>
                    <a:pt x="691" y="338"/>
                  </a:lnTo>
                  <a:lnTo>
                    <a:pt x="682" y="343"/>
                  </a:lnTo>
                  <a:lnTo>
                    <a:pt x="689" y="339"/>
                  </a:lnTo>
                  <a:lnTo>
                    <a:pt x="692" y="338"/>
                  </a:lnTo>
                  <a:lnTo>
                    <a:pt x="693" y="338"/>
                  </a:lnTo>
                  <a:lnTo>
                    <a:pt x="695" y="340"/>
                  </a:lnTo>
                  <a:lnTo>
                    <a:pt x="697" y="340"/>
                  </a:lnTo>
                  <a:lnTo>
                    <a:pt x="699" y="342"/>
                  </a:lnTo>
                  <a:lnTo>
                    <a:pt x="701" y="342"/>
                  </a:lnTo>
                  <a:lnTo>
                    <a:pt x="702" y="336"/>
                  </a:lnTo>
                  <a:lnTo>
                    <a:pt x="704" y="335"/>
                  </a:lnTo>
                  <a:lnTo>
                    <a:pt x="705" y="335"/>
                  </a:lnTo>
                  <a:lnTo>
                    <a:pt x="706" y="334"/>
                  </a:lnTo>
                  <a:lnTo>
                    <a:pt x="707" y="333"/>
                  </a:lnTo>
                  <a:lnTo>
                    <a:pt x="709" y="332"/>
                  </a:lnTo>
                  <a:lnTo>
                    <a:pt x="711" y="332"/>
                  </a:lnTo>
                  <a:lnTo>
                    <a:pt x="711" y="333"/>
                  </a:lnTo>
                  <a:lnTo>
                    <a:pt x="713" y="335"/>
                  </a:lnTo>
                  <a:lnTo>
                    <a:pt x="712" y="339"/>
                  </a:lnTo>
                  <a:lnTo>
                    <a:pt x="714" y="339"/>
                  </a:lnTo>
                  <a:lnTo>
                    <a:pt x="716" y="338"/>
                  </a:lnTo>
                  <a:lnTo>
                    <a:pt x="716" y="336"/>
                  </a:lnTo>
                  <a:lnTo>
                    <a:pt x="717" y="335"/>
                  </a:lnTo>
                  <a:lnTo>
                    <a:pt x="718" y="334"/>
                  </a:lnTo>
                  <a:lnTo>
                    <a:pt x="717" y="333"/>
                  </a:lnTo>
                  <a:lnTo>
                    <a:pt x="715" y="331"/>
                  </a:lnTo>
                  <a:lnTo>
                    <a:pt x="716" y="329"/>
                  </a:lnTo>
                  <a:lnTo>
                    <a:pt x="719" y="329"/>
                  </a:lnTo>
                  <a:lnTo>
                    <a:pt x="719" y="328"/>
                  </a:lnTo>
                  <a:lnTo>
                    <a:pt x="722" y="326"/>
                  </a:lnTo>
                  <a:lnTo>
                    <a:pt x="724" y="324"/>
                  </a:lnTo>
                  <a:lnTo>
                    <a:pt x="726" y="323"/>
                  </a:lnTo>
                  <a:lnTo>
                    <a:pt x="727" y="322"/>
                  </a:lnTo>
                  <a:lnTo>
                    <a:pt x="733" y="323"/>
                  </a:lnTo>
                  <a:lnTo>
                    <a:pt x="734" y="322"/>
                  </a:lnTo>
                  <a:lnTo>
                    <a:pt x="735" y="321"/>
                  </a:lnTo>
                  <a:lnTo>
                    <a:pt x="731" y="322"/>
                  </a:lnTo>
                  <a:lnTo>
                    <a:pt x="728" y="322"/>
                  </a:lnTo>
                  <a:lnTo>
                    <a:pt x="727" y="321"/>
                  </a:lnTo>
                  <a:lnTo>
                    <a:pt x="727" y="319"/>
                  </a:lnTo>
                  <a:lnTo>
                    <a:pt x="727" y="318"/>
                  </a:lnTo>
                  <a:lnTo>
                    <a:pt x="726" y="318"/>
                  </a:lnTo>
                  <a:lnTo>
                    <a:pt x="726" y="313"/>
                  </a:lnTo>
                  <a:lnTo>
                    <a:pt x="727" y="313"/>
                  </a:lnTo>
                  <a:lnTo>
                    <a:pt x="728" y="312"/>
                  </a:lnTo>
                  <a:lnTo>
                    <a:pt x="727" y="311"/>
                  </a:lnTo>
                  <a:lnTo>
                    <a:pt x="731" y="303"/>
                  </a:lnTo>
                  <a:lnTo>
                    <a:pt x="731" y="301"/>
                  </a:lnTo>
                  <a:lnTo>
                    <a:pt x="733" y="296"/>
                  </a:lnTo>
                  <a:lnTo>
                    <a:pt x="734" y="294"/>
                  </a:lnTo>
                  <a:lnTo>
                    <a:pt x="734" y="292"/>
                  </a:lnTo>
                  <a:lnTo>
                    <a:pt x="735" y="290"/>
                  </a:lnTo>
                  <a:lnTo>
                    <a:pt x="734" y="289"/>
                  </a:lnTo>
                  <a:lnTo>
                    <a:pt x="733" y="283"/>
                  </a:lnTo>
                  <a:lnTo>
                    <a:pt x="733" y="282"/>
                  </a:lnTo>
                  <a:lnTo>
                    <a:pt x="731" y="282"/>
                  </a:lnTo>
                  <a:lnTo>
                    <a:pt x="729" y="282"/>
                  </a:lnTo>
                  <a:lnTo>
                    <a:pt x="735" y="280"/>
                  </a:lnTo>
                  <a:lnTo>
                    <a:pt x="743" y="277"/>
                  </a:lnTo>
                  <a:lnTo>
                    <a:pt x="747" y="275"/>
                  </a:lnTo>
                  <a:lnTo>
                    <a:pt x="756" y="272"/>
                  </a:lnTo>
                  <a:lnTo>
                    <a:pt x="759" y="271"/>
                  </a:lnTo>
                  <a:lnTo>
                    <a:pt x="765" y="268"/>
                  </a:lnTo>
                  <a:lnTo>
                    <a:pt x="769" y="265"/>
                  </a:lnTo>
                  <a:lnTo>
                    <a:pt x="765" y="267"/>
                  </a:lnTo>
                  <a:lnTo>
                    <a:pt x="770" y="263"/>
                  </a:lnTo>
                  <a:lnTo>
                    <a:pt x="779" y="257"/>
                  </a:lnTo>
                  <a:lnTo>
                    <a:pt x="782" y="254"/>
                  </a:lnTo>
                  <a:lnTo>
                    <a:pt x="784" y="253"/>
                  </a:lnTo>
                  <a:lnTo>
                    <a:pt x="786" y="254"/>
                  </a:lnTo>
                  <a:lnTo>
                    <a:pt x="787" y="255"/>
                  </a:lnTo>
                  <a:lnTo>
                    <a:pt x="790" y="254"/>
                  </a:lnTo>
                  <a:lnTo>
                    <a:pt x="791" y="253"/>
                  </a:lnTo>
                  <a:lnTo>
                    <a:pt x="790" y="252"/>
                  </a:lnTo>
                  <a:lnTo>
                    <a:pt x="790" y="249"/>
                  </a:lnTo>
                  <a:lnTo>
                    <a:pt x="790" y="248"/>
                  </a:lnTo>
                  <a:lnTo>
                    <a:pt x="787" y="251"/>
                  </a:lnTo>
                  <a:lnTo>
                    <a:pt x="785" y="252"/>
                  </a:lnTo>
                  <a:lnTo>
                    <a:pt x="785" y="252"/>
                  </a:lnTo>
                  <a:lnTo>
                    <a:pt x="786" y="248"/>
                  </a:lnTo>
                  <a:lnTo>
                    <a:pt x="788" y="244"/>
                  </a:lnTo>
                  <a:lnTo>
                    <a:pt x="789" y="240"/>
                  </a:lnTo>
                  <a:lnTo>
                    <a:pt x="788" y="240"/>
                  </a:lnTo>
                  <a:lnTo>
                    <a:pt x="788" y="238"/>
                  </a:lnTo>
                  <a:lnTo>
                    <a:pt x="790" y="235"/>
                  </a:lnTo>
                  <a:lnTo>
                    <a:pt x="790" y="229"/>
                  </a:lnTo>
                  <a:lnTo>
                    <a:pt x="791" y="224"/>
                  </a:lnTo>
                  <a:lnTo>
                    <a:pt x="793" y="222"/>
                  </a:lnTo>
                  <a:lnTo>
                    <a:pt x="791" y="220"/>
                  </a:lnTo>
                  <a:lnTo>
                    <a:pt x="793" y="219"/>
                  </a:lnTo>
                  <a:lnTo>
                    <a:pt x="793" y="219"/>
                  </a:lnTo>
                  <a:lnTo>
                    <a:pt x="790" y="219"/>
                  </a:lnTo>
                  <a:lnTo>
                    <a:pt x="786" y="217"/>
                  </a:lnTo>
                  <a:lnTo>
                    <a:pt x="786" y="215"/>
                  </a:lnTo>
                  <a:lnTo>
                    <a:pt x="783" y="213"/>
                  </a:lnTo>
                  <a:lnTo>
                    <a:pt x="780" y="211"/>
                  </a:lnTo>
                  <a:lnTo>
                    <a:pt x="780" y="210"/>
                  </a:lnTo>
                  <a:lnTo>
                    <a:pt x="782" y="209"/>
                  </a:lnTo>
                  <a:lnTo>
                    <a:pt x="782" y="208"/>
                  </a:lnTo>
                  <a:lnTo>
                    <a:pt x="783" y="207"/>
                  </a:lnTo>
                  <a:lnTo>
                    <a:pt x="784" y="204"/>
                  </a:lnTo>
                  <a:lnTo>
                    <a:pt x="785" y="204"/>
                  </a:lnTo>
                  <a:lnTo>
                    <a:pt x="789" y="203"/>
                  </a:lnTo>
                  <a:lnTo>
                    <a:pt x="794" y="203"/>
                  </a:lnTo>
                  <a:lnTo>
                    <a:pt x="795" y="202"/>
                  </a:lnTo>
                  <a:lnTo>
                    <a:pt x="798" y="202"/>
                  </a:lnTo>
                  <a:lnTo>
                    <a:pt x="799" y="200"/>
                  </a:lnTo>
                  <a:lnTo>
                    <a:pt x="799" y="199"/>
                  </a:lnTo>
                  <a:lnTo>
                    <a:pt x="799" y="198"/>
                  </a:lnTo>
                  <a:lnTo>
                    <a:pt x="801" y="195"/>
                  </a:lnTo>
                  <a:lnTo>
                    <a:pt x="805" y="197"/>
                  </a:lnTo>
                  <a:lnTo>
                    <a:pt x="805" y="197"/>
                  </a:lnTo>
                  <a:lnTo>
                    <a:pt x="810" y="197"/>
                  </a:lnTo>
                  <a:lnTo>
                    <a:pt x="807" y="195"/>
                  </a:lnTo>
                  <a:lnTo>
                    <a:pt x="806" y="194"/>
                  </a:lnTo>
                  <a:lnTo>
                    <a:pt x="808" y="193"/>
                  </a:lnTo>
                  <a:lnTo>
                    <a:pt x="808" y="192"/>
                  </a:lnTo>
                  <a:lnTo>
                    <a:pt x="809" y="192"/>
                  </a:lnTo>
                  <a:lnTo>
                    <a:pt x="813" y="190"/>
                  </a:lnTo>
                  <a:lnTo>
                    <a:pt x="810" y="190"/>
                  </a:lnTo>
                  <a:lnTo>
                    <a:pt x="805" y="190"/>
                  </a:lnTo>
                  <a:lnTo>
                    <a:pt x="806" y="189"/>
                  </a:lnTo>
                  <a:lnTo>
                    <a:pt x="807" y="189"/>
                  </a:lnTo>
                  <a:lnTo>
                    <a:pt x="809" y="188"/>
                  </a:lnTo>
                  <a:lnTo>
                    <a:pt x="810" y="187"/>
                  </a:lnTo>
                  <a:lnTo>
                    <a:pt x="809" y="186"/>
                  </a:lnTo>
                  <a:lnTo>
                    <a:pt x="809" y="186"/>
                  </a:lnTo>
                  <a:lnTo>
                    <a:pt x="808" y="183"/>
                  </a:lnTo>
                  <a:lnTo>
                    <a:pt x="811" y="180"/>
                  </a:lnTo>
                  <a:lnTo>
                    <a:pt x="810" y="180"/>
                  </a:lnTo>
                  <a:lnTo>
                    <a:pt x="810" y="179"/>
                  </a:lnTo>
                  <a:lnTo>
                    <a:pt x="816" y="178"/>
                  </a:lnTo>
                  <a:lnTo>
                    <a:pt x="816" y="178"/>
                  </a:lnTo>
                  <a:lnTo>
                    <a:pt x="814" y="178"/>
                  </a:lnTo>
                  <a:lnTo>
                    <a:pt x="813" y="177"/>
                  </a:lnTo>
                  <a:lnTo>
                    <a:pt x="810" y="178"/>
                  </a:lnTo>
                  <a:lnTo>
                    <a:pt x="808" y="177"/>
                  </a:lnTo>
                  <a:lnTo>
                    <a:pt x="808" y="176"/>
                  </a:lnTo>
                  <a:lnTo>
                    <a:pt x="808" y="174"/>
                  </a:lnTo>
                  <a:lnTo>
                    <a:pt x="813" y="172"/>
                  </a:lnTo>
                  <a:lnTo>
                    <a:pt x="815" y="169"/>
                  </a:lnTo>
                  <a:lnTo>
                    <a:pt x="817" y="168"/>
                  </a:lnTo>
                  <a:lnTo>
                    <a:pt x="818" y="167"/>
                  </a:lnTo>
                  <a:lnTo>
                    <a:pt x="819" y="167"/>
                  </a:lnTo>
                  <a:lnTo>
                    <a:pt x="820" y="166"/>
                  </a:lnTo>
                  <a:lnTo>
                    <a:pt x="821" y="163"/>
                  </a:lnTo>
                  <a:lnTo>
                    <a:pt x="824" y="163"/>
                  </a:lnTo>
                  <a:lnTo>
                    <a:pt x="826" y="161"/>
                  </a:lnTo>
                  <a:lnTo>
                    <a:pt x="824" y="162"/>
                  </a:lnTo>
                  <a:lnTo>
                    <a:pt x="821" y="162"/>
                  </a:lnTo>
                  <a:lnTo>
                    <a:pt x="820" y="161"/>
                  </a:lnTo>
                  <a:lnTo>
                    <a:pt x="819" y="161"/>
                  </a:lnTo>
                  <a:lnTo>
                    <a:pt x="818" y="160"/>
                  </a:lnTo>
                  <a:lnTo>
                    <a:pt x="818" y="158"/>
                  </a:lnTo>
                  <a:lnTo>
                    <a:pt x="818" y="157"/>
                  </a:lnTo>
                  <a:lnTo>
                    <a:pt x="819" y="154"/>
                  </a:lnTo>
                  <a:lnTo>
                    <a:pt x="820" y="153"/>
                  </a:lnTo>
                  <a:lnTo>
                    <a:pt x="820" y="152"/>
                  </a:lnTo>
                  <a:lnTo>
                    <a:pt x="824" y="151"/>
                  </a:lnTo>
                  <a:lnTo>
                    <a:pt x="828" y="149"/>
                  </a:lnTo>
                  <a:lnTo>
                    <a:pt x="831" y="148"/>
                  </a:lnTo>
                  <a:lnTo>
                    <a:pt x="833" y="147"/>
                  </a:lnTo>
                  <a:lnTo>
                    <a:pt x="833" y="148"/>
                  </a:lnTo>
                  <a:lnTo>
                    <a:pt x="835" y="148"/>
                  </a:lnTo>
                  <a:lnTo>
                    <a:pt x="840" y="148"/>
                  </a:lnTo>
                  <a:lnTo>
                    <a:pt x="847" y="149"/>
                  </a:lnTo>
                  <a:lnTo>
                    <a:pt x="847" y="150"/>
                  </a:lnTo>
                  <a:lnTo>
                    <a:pt x="847" y="150"/>
                  </a:lnTo>
                  <a:lnTo>
                    <a:pt x="849" y="151"/>
                  </a:lnTo>
                  <a:lnTo>
                    <a:pt x="853" y="151"/>
                  </a:lnTo>
                  <a:lnTo>
                    <a:pt x="854" y="151"/>
                  </a:lnTo>
                  <a:lnTo>
                    <a:pt x="853" y="152"/>
                  </a:lnTo>
                  <a:lnTo>
                    <a:pt x="853" y="153"/>
                  </a:lnTo>
                  <a:lnTo>
                    <a:pt x="856" y="152"/>
                  </a:lnTo>
                  <a:lnTo>
                    <a:pt x="860" y="152"/>
                  </a:lnTo>
                  <a:lnTo>
                    <a:pt x="860" y="152"/>
                  </a:lnTo>
                  <a:lnTo>
                    <a:pt x="859" y="153"/>
                  </a:lnTo>
                  <a:lnTo>
                    <a:pt x="864" y="153"/>
                  </a:lnTo>
                  <a:lnTo>
                    <a:pt x="864" y="153"/>
                  </a:lnTo>
                  <a:lnTo>
                    <a:pt x="865" y="152"/>
                  </a:lnTo>
                  <a:lnTo>
                    <a:pt x="874" y="150"/>
                  </a:lnTo>
                  <a:lnTo>
                    <a:pt x="878" y="149"/>
                  </a:lnTo>
                  <a:lnTo>
                    <a:pt x="884" y="151"/>
                  </a:lnTo>
                  <a:lnTo>
                    <a:pt x="885" y="153"/>
                  </a:lnTo>
                  <a:lnTo>
                    <a:pt x="888" y="153"/>
                  </a:lnTo>
                  <a:lnTo>
                    <a:pt x="889" y="154"/>
                  </a:lnTo>
                  <a:lnTo>
                    <a:pt x="890" y="154"/>
                  </a:lnTo>
                  <a:lnTo>
                    <a:pt x="889" y="156"/>
                  </a:lnTo>
                  <a:lnTo>
                    <a:pt x="885" y="160"/>
                  </a:lnTo>
                  <a:lnTo>
                    <a:pt x="886" y="159"/>
                  </a:lnTo>
                  <a:lnTo>
                    <a:pt x="887" y="160"/>
                  </a:lnTo>
                  <a:lnTo>
                    <a:pt x="888" y="159"/>
                  </a:lnTo>
                  <a:lnTo>
                    <a:pt x="889" y="158"/>
                  </a:lnTo>
                  <a:lnTo>
                    <a:pt x="890" y="157"/>
                  </a:lnTo>
                  <a:lnTo>
                    <a:pt x="892" y="158"/>
                  </a:lnTo>
                  <a:lnTo>
                    <a:pt x="891" y="160"/>
                  </a:lnTo>
                  <a:lnTo>
                    <a:pt x="892" y="161"/>
                  </a:lnTo>
                  <a:lnTo>
                    <a:pt x="892" y="162"/>
                  </a:lnTo>
                  <a:lnTo>
                    <a:pt x="890" y="163"/>
                  </a:lnTo>
                  <a:lnTo>
                    <a:pt x="889" y="164"/>
                  </a:lnTo>
                  <a:lnTo>
                    <a:pt x="892" y="163"/>
                  </a:lnTo>
                  <a:lnTo>
                    <a:pt x="894" y="162"/>
                  </a:lnTo>
                  <a:lnTo>
                    <a:pt x="896" y="162"/>
                  </a:lnTo>
                  <a:lnTo>
                    <a:pt x="897" y="162"/>
                  </a:lnTo>
                  <a:lnTo>
                    <a:pt x="898" y="163"/>
                  </a:lnTo>
                  <a:lnTo>
                    <a:pt x="897" y="164"/>
                  </a:lnTo>
                  <a:lnTo>
                    <a:pt x="895" y="164"/>
                  </a:lnTo>
                  <a:lnTo>
                    <a:pt x="894" y="166"/>
                  </a:lnTo>
                  <a:lnTo>
                    <a:pt x="892" y="167"/>
                  </a:lnTo>
                  <a:lnTo>
                    <a:pt x="892" y="168"/>
                  </a:lnTo>
                  <a:lnTo>
                    <a:pt x="894" y="169"/>
                  </a:lnTo>
                  <a:lnTo>
                    <a:pt x="895" y="169"/>
                  </a:lnTo>
                  <a:lnTo>
                    <a:pt x="894" y="170"/>
                  </a:lnTo>
                  <a:lnTo>
                    <a:pt x="894" y="170"/>
                  </a:lnTo>
                  <a:lnTo>
                    <a:pt x="898" y="170"/>
                  </a:lnTo>
                  <a:lnTo>
                    <a:pt x="900" y="170"/>
                  </a:lnTo>
                  <a:lnTo>
                    <a:pt x="900" y="172"/>
                  </a:lnTo>
                  <a:lnTo>
                    <a:pt x="901" y="173"/>
                  </a:lnTo>
                  <a:lnTo>
                    <a:pt x="904" y="172"/>
                  </a:lnTo>
                  <a:lnTo>
                    <a:pt x="906" y="172"/>
                  </a:lnTo>
                  <a:lnTo>
                    <a:pt x="910" y="172"/>
                  </a:lnTo>
                  <a:lnTo>
                    <a:pt x="910" y="172"/>
                  </a:lnTo>
                  <a:lnTo>
                    <a:pt x="910" y="173"/>
                  </a:lnTo>
                  <a:lnTo>
                    <a:pt x="909" y="174"/>
                  </a:lnTo>
                  <a:lnTo>
                    <a:pt x="910" y="176"/>
                  </a:lnTo>
                  <a:lnTo>
                    <a:pt x="916" y="173"/>
                  </a:lnTo>
                  <a:lnTo>
                    <a:pt x="916" y="172"/>
                  </a:lnTo>
                  <a:lnTo>
                    <a:pt x="918" y="172"/>
                  </a:lnTo>
                  <a:lnTo>
                    <a:pt x="919" y="174"/>
                  </a:lnTo>
                  <a:lnTo>
                    <a:pt x="919" y="176"/>
                  </a:lnTo>
                  <a:lnTo>
                    <a:pt x="918" y="176"/>
                  </a:lnTo>
                  <a:lnTo>
                    <a:pt x="917" y="177"/>
                  </a:lnTo>
                  <a:lnTo>
                    <a:pt x="915" y="178"/>
                  </a:lnTo>
                  <a:lnTo>
                    <a:pt x="914" y="179"/>
                  </a:lnTo>
                  <a:lnTo>
                    <a:pt x="912" y="181"/>
                  </a:lnTo>
                  <a:lnTo>
                    <a:pt x="912" y="182"/>
                  </a:lnTo>
                  <a:lnTo>
                    <a:pt x="911" y="183"/>
                  </a:lnTo>
                  <a:lnTo>
                    <a:pt x="912" y="183"/>
                  </a:lnTo>
                  <a:lnTo>
                    <a:pt x="912" y="186"/>
                  </a:lnTo>
                  <a:lnTo>
                    <a:pt x="912" y="188"/>
                  </a:lnTo>
                  <a:lnTo>
                    <a:pt x="909" y="188"/>
                  </a:lnTo>
                  <a:lnTo>
                    <a:pt x="909" y="189"/>
                  </a:lnTo>
                  <a:lnTo>
                    <a:pt x="908" y="190"/>
                  </a:lnTo>
                  <a:lnTo>
                    <a:pt x="905" y="190"/>
                  </a:lnTo>
                  <a:lnTo>
                    <a:pt x="904" y="189"/>
                  </a:lnTo>
                  <a:lnTo>
                    <a:pt x="899" y="189"/>
                  </a:lnTo>
                  <a:lnTo>
                    <a:pt x="895" y="189"/>
                  </a:lnTo>
                  <a:lnTo>
                    <a:pt x="894" y="188"/>
                  </a:lnTo>
                  <a:lnTo>
                    <a:pt x="890" y="188"/>
                  </a:lnTo>
                  <a:lnTo>
                    <a:pt x="889" y="189"/>
                  </a:lnTo>
                  <a:lnTo>
                    <a:pt x="894" y="189"/>
                  </a:lnTo>
                  <a:lnTo>
                    <a:pt x="897" y="191"/>
                  </a:lnTo>
                  <a:lnTo>
                    <a:pt x="906" y="190"/>
                  </a:lnTo>
                  <a:lnTo>
                    <a:pt x="908" y="191"/>
                  </a:lnTo>
                  <a:lnTo>
                    <a:pt x="910" y="193"/>
                  </a:lnTo>
                  <a:lnTo>
                    <a:pt x="909" y="194"/>
                  </a:lnTo>
                  <a:lnTo>
                    <a:pt x="909" y="194"/>
                  </a:lnTo>
                  <a:lnTo>
                    <a:pt x="909" y="195"/>
                  </a:lnTo>
                  <a:lnTo>
                    <a:pt x="904" y="200"/>
                  </a:lnTo>
                  <a:lnTo>
                    <a:pt x="904" y="201"/>
                  </a:lnTo>
                  <a:lnTo>
                    <a:pt x="908" y="200"/>
                  </a:lnTo>
                  <a:lnTo>
                    <a:pt x="909" y="201"/>
                  </a:lnTo>
                  <a:lnTo>
                    <a:pt x="908" y="202"/>
                  </a:lnTo>
                  <a:lnTo>
                    <a:pt x="905" y="203"/>
                  </a:lnTo>
                  <a:lnTo>
                    <a:pt x="905" y="204"/>
                  </a:lnTo>
                  <a:lnTo>
                    <a:pt x="907" y="204"/>
                  </a:lnTo>
                  <a:lnTo>
                    <a:pt x="907" y="205"/>
                  </a:lnTo>
                  <a:lnTo>
                    <a:pt x="907" y="205"/>
                  </a:lnTo>
                  <a:lnTo>
                    <a:pt x="906" y="207"/>
                  </a:lnTo>
                  <a:lnTo>
                    <a:pt x="905" y="207"/>
                  </a:lnTo>
                  <a:lnTo>
                    <a:pt x="905" y="205"/>
                  </a:lnTo>
                  <a:lnTo>
                    <a:pt x="902" y="207"/>
                  </a:lnTo>
                  <a:lnTo>
                    <a:pt x="899" y="209"/>
                  </a:lnTo>
                  <a:lnTo>
                    <a:pt x="899" y="207"/>
                  </a:lnTo>
                  <a:lnTo>
                    <a:pt x="898" y="207"/>
                  </a:lnTo>
                  <a:lnTo>
                    <a:pt x="896" y="207"/>
                  </a:lnTo>
                  <a:lnTo>
                    <a:pt x="897" y="209"/>
                  </a:lnTo>
                  <a:lnTo>
                    <a:pt x="896" y="210"/>
                  </a:lnTo>
                  <a:lnTo>
                    <a:pt x="890" y="210"/>
                  </a:lnTo>
                  <a:lnTo>
                    <a:pt x="891" y="211"/>
                  </a:lnTo>
                  <a:lnTo>
                    <a:pt x="894" y="211"/>
                  </a:lnTo>
                  <a:lnTo>
                    <a:pt x="896" y="211"/>
                  </a:lnTo>
                  <a:lnTo>
                    <a:pt x="896" y="212"/>
                  </a:lnTo>
                  <a:lnTo>
                    <a:pt x="901" y="210"/>
                  </a:lnTo>
                  <a:lnTo>
                    <a:pt x="904" y="209"/>
                  </a:lnTo>
                  <a:lnTo>
                    <a:pt x="907" y="209"/>
                  </a:lnTo>
                  <a:lnTo>
                    <a:pt x="910" y="208"/>
                  </a:lnTo>
                  <a:lnTo>
                    <a:pt x="914" y="208"/>
                  </a:lnTo>
                  <a:lnTo>
                    <a:pt x="915" y="209"/>
                  </a:lnTo>
                  <a:lnTo>
                    <a:pt x="915" y="212"/>
                  </a:lnTo>
                  <a:lnTo>
                    <a:pt x="916" y="213"/>
                  </a:lnTo>
                  <a:lnTo>
                    <a:pt x="915" y="215"/>
                  </a:lnTo>
                  <a:lnTo>
                    <a:pt x="911" y="220"/>
                  </a:lnTo>
                  <a:lnTo>
                    <a:pt x="907" y="222"/>
                  </a:lnTo>
                  <a:lnTo>
                    <a:pt x="896" y="225"/>
                  </a:lnTo>
                  <a:lnTo>
                    <a:pt x="905" y="223"/>
                  </a:lnTo>
                  <a:lnTo>
                    <a:pt x="910" y="221"/>
                  </a:lnTo>
                  <a:lnTo>
                    <a:pt x="914" y="219"/>
                  </a:lnTo>
                  <a:lnTo>
                    <a:pt x="917" y="214"/>
                  </a:lnTo>
                  <a:lnTo>
                    <a:pt x="920" y="213"/>
                  </a:lnTo>
                  <a:lnTo>
                    <a:pt x="918" y="215"/>
                  </a:lnTo>
                  <a:lnTo>
                    <a:pt x="917" y="217"/>
                  </a:lnTo>
                  <a:lnTo>
                    <a:pt x="920" y="215"/>
                  </a:lnTo>
                  <a:lnTo>
                    <a:pt x="920" y="217"/>
                  </a:lnTo>
                  <a:lnTo>
                    <a:pt x="919" y="218"/>
                  </a:lnTo>
                  <a:lnTo>
                    <a:pt x="918" y="221"/>
                  </a:lnTo>
                  <a:lnTo>
                    <a:pt x="918" y="221"/>
                  </a:lnTo>
                  <a:lnTo>
                    <a:pt x="921" y="219"/>
                  </a:lnTo>
                  <a:lnTo>
                    <a:pt x="930" y="215"/>
                  </a:lnTo>
                  <a:lnTo>
                    <a:pt x="936" y="214"/>
                  </a:lnTo>
                  <a:lnTo>
                    <a:pt x="937" y="212"/>
                  </a:lnTo>
                  <a:lnTo>
                    <a:pt x="939" y="210"/>
                  </a:lnTo>
                  <a:lnTo>
                    <a:pt x="941" y="209"/>
                  </a:lnTo>
                  <a:lnTo>
                    <a:pt x="942" y="210"/>
                  </a:lnTo>
                  <a:lnTo>
                    <a:pt x="945" y="211"/>
                  </a:lnTo>
                  <a:lnTo>
                    <a:pt x="945" y="213"/>
                  </a:lnTo>
                  <a:lnTo>
                    <a:pt x="942" y="215"/>
                  </a:lnTo>
                  <a:lnTo>
                    <a:pt x="945" y="214"/>
                  </a:lnTo>
                  <a:lnTo>
                    <a:pt x="948" y="211"/>
                  </a:lnTo>
                  <a:lnTo>
                    <a:pt x="947" y="210"/>
                  </a:lnTo>
                  <a:lnTo>
                    <a:pt x="946" y="209"/>
                  </a:lnTo>
                  <a:lnTo>
                    <a:pt x="946" y="208"/>
                  </a:lnTo>
                  <a:lnTo>
                    <a:pt x="947" y="209"/>
                  </a:lnTo>
                  <a:lnTo>
                    <a:pt x="949" y="209"/>
                  </a:lnTo>
                  <a:lnTo>
                    <a:pt x="950" y="208"/>
                  </a:lnTo>
                  <a:lnTo>
                    <a:pt x="949" y="207"/>
                  </a:lnTo>
                  <a:lnTo>
                    <a:pt x="950" y="205"/>
                  </a:lnTo>
                  <a:lnTo>
                    <a:pt x="952" y="205"/>
                  </a:lnTo>
                  <a:lnTo>
                    <a:pt x="955" y="203"/>
                  </a:lnTo>
                  <a:lnTo>
                    <a:pt x="955" y="201"/>
                  </a:lnTo>
                  <a:lnTo>
                    <a:pt x="955" y="202"/>
                  </a:lnTo>
                  <a:lnTo>
                    <a:pt x="957" y="201"/>
                  </a:lnTo>
                  <a:lnTo>
                    <a:pt x="959" y="200"/>
                  </a:lnTo>
                  <a:lnTo>
                    <a:pt x="959" y="199"/>
                  </a:lnTo>
                  <a:lnTo>
                    <a:pt x="962" y="198"/>
                  </a:lnTo>
                  <a:lnTo>
                    <a:pt x="961" y="197"/>
                  </a:lnTo>
                  <a:lnTo>
                    <a:pt x="960" y="195"/>
                  </a:lnTo>
                  <a:lnTo>
                    <a:pt x="959" y="193"/>
                  </a:lnTo>
                  <a:lnTo>
                    <a:pt x="961" y="192"/>
                  </a:lnTo>
                  <a:lnTo>
                    <a:pt x="967" y="189"/>
                  </a:lnTo>
                  <a:lnTo>
                    <a:pt x="969" y="188"/>
                  </a:lnTo>
                  <a:lnTo>
                    <a:pt x="971" y="187"/>
                  </a:lnTo>
                  <a:lnTo>
                    <a:pt x="971" y="186"/>
                  </a:lnTo>
                  <a:lnTo>
                    <a:pt x="973" y="184"/>
                  </a:lnTo>
                  <a:lnTo>
                    <a:pt x="976" y="184"/>
                  </a:lnTo>
                  <a:lnTo>
                    <a:pt x="977" y="184"/>
                  </a:lnTo>
                  <a:lnTo>
                    <a:pt x="978" y="186"/>
                  </a:lnTo>
                  <a:lnTo>
                    <a:pt x="976" y="187"/>
                  </a:lnTo>
                  <a:lnTo>
                    <a:pt x="978" y="187"/>
                  </a:lnTo>
                  <a:lnTo>
                    <a:pt x="977" y="188"/>
                  </a:lnTo>
                  <a:lnTo>
                    <a:pt x="977" y="189"/>
                  </a:lnTo>
                  <a:lnTo>
                    <a:pt x="977" y="191"/>
                  </a:lnTo>
                  <a:lnTo>
                    <a:pt x="975" y="192"/>
                  </a:lnTo>
                  <a:lnTo>
                    <a:pt x="977" y="191"/>
                  </a:lnTo>
                  <a:lnTo>
                    <a:pt x="978" y="192"/>
                  </a:lnTo>
                  <a:lnTo>
                    <a:pt x="976" y="195"/>
                  </a:lnTo>
                  <a:lnTo>
                    <a:pt x="979" y="195"/>
                  </a:lnTo>
                  <a:lnTo>
                    <a:pt x="977" y="195"/>
                  </a:lnTo>
                  <a:lnTo>
                    <a:pt x="977" y="197"/>
                  </a:lnTo>
                  <a:lnTo>
                    <a:pt x="979" y="197"/>
                  </a:lnTo>
                  <a:lnTo>
                    <a:pt x="981" y="198"/>
                  </a:lnTo>
                  <a:lnTo>
                    <a:pt x="980" y="199"/>
                  </a:lnTo>
                  <a:lnTo>
                    <a:pt x="977" y="200"/>
                  </a:lnTo>
                  <a:lnTo>
                    <a:pt x="980" y="200"/>
                  </a:lnTo>
                  <a:lnTo>
                    <a:pt x="980" y="201"/>
                  </a:lnTo>
                  <a:lnTo>
                    <a:pt x="981" y="200"/>
                  </a:lnTo>
                  <a:lnTo>
                    <a:pt x="982" y="200"/>
                  </a:lnTo>
                  <a:lnTo>
                    <a:pt x="981" y="202"/>
                  </a:lnTo>
                  <a:lnTo>
                    <a:pt x="983" y="201"/>
                  </a:lnTo>
                  <a:lnTo>
                    <a:pt x="985" y="202"/>
                  </a:lnTo>
                  <a:lnTo>
                    <a:pt x="983" y="203"/>
                  </a:lnTo>
                  <a:lnTo>
                    <a:pt x="980" y="204"/>
                  </a:lnTo>
                  <a:lnTo>
                    <a:pt x="976" y="204"/>
                  </a:lnTo>
                  <a:lnTo>
                    <a:pt x="971" y="205"/>
                  </a:lnTo>
                  <a:lnTo>
                    <a:pt x="971" y="207"/>
                  </a:lnTo>
                  <a:lnTo>
                    <a:pt x="973" y="205"/>
                  </a:lnTo>
                  <a:lnTo>
                    <a:pt x="975" y="205"/>
                  </a:lnTo>
                  <a:lnTo>
                    <a:pt x="977" y="205"/>
                  </a:lnTo>
                  <a:lnTo>
                    <a:pt x="980" y="205"/>
                  </a:lnTo>
                  <a:lnTo>
                    <a:pt x="985" y="204"/>
                  </a:lnTo>
                  <a:lnTo>
                    <a:pt x="985" y="205"/>
                  </a:lnTo>
                  <a:lnTo>
                    <a:pt x="983" y="207"/>
                  </a:lnTo>
                  <a:lnTo>
                    <a:pt x="983" y="207"/>
                  </a:lnTo>
                  <a:lnTo>
                    <a:pt x="983" y="209"/>
                  </a:lnTo>
                  <a:lnTo>
                    <a:pt x="982" y="210"/>
                  </a:lnTo>
                  <a:lnTo>
                    <a:pt x="983" y="209"/>
                  </a:lnTo>
                  <a:lnTo>
                    <a:pt x="986" y="210"/>
                  </a:lnTo>
                  <a:lnTo>
                    <a:pt x="985" y="211"/>
                  </a:lnTo>
                  <a:lnTo>
                    <a:pt x="985" y="212"/>
                  </a:lnTo>
                  <a:lnTo>
                    <a:pt x="987" y="212"/>
                  </a:lnTo>
                  <a:lnTo>
                    <a:pt x="986" y="213"/>
                  </a:lnTo>
                  <a:lnTo>
                    <a:pt x="983" y="213"/>
                  </a:lnTo>
                  <a:lnTo>
                    <a:pt x="980" y="214"/>
                  </a:lnTo>
                  <a:lnTo>
                    <a:pt x="978" y="213"/>
                  </a:lnTo>
                  <a:lnTo>
                    <a:pt x="977" y="213"/>
                  </a:lnTo>
                  <a:lnTo>
                    <a:pt x="977" y="214"/>
                  </a:lnTo>
                  <a:lnTo>
                    <a:pt x="978" y="215"/>
                  </a:lnTo>
                  <a:lnTo>
                    <a:pt x="980" y="214"/>
                  </a:lnTo>
                  <a:lnTo>
                    <a:pt x="985" y="214"/>
                  </a:lnTo>
                  <a:lnTo>
                    <a:pt x="988" y="214"/>
                  </a:lnTo>
                  <a:lnTo>
                    <a:pt x="988" y="217"/>
                  </a:lnTo>
                  <a:lnTo>
                    <a:pt x="987" y="218"/>
                  </a:lnTo>
                  <a:lnTo>
                    <a:pt x="985" y="218"/>
                  </a:lnTo>
                  <a:lnTo>
                    <a:pt x="986" y="219"/>
                  </a:lnTo>
                  <a:lnTo>
                    <a:pt x="985" y="220"/>
                  </a:lnTo>
                  <a:lnTo>
                    <a:pt x="981" y="220"/>
                  </a:lnTo>
                  <a:lnTo>
                    <a:pt x="977" y="222"/>
                  </a:lnTo>
                  <a:lnTo>
                    <a:pt x="979" y="222"/>
                  </a:lnTo>
                  <a:lnTo>
                    <a:pt x="982" y="221"/>
                  </a:lnTo>
                  <a:lnTo>
                    <a:pt x="985" y="221"/>
                  </a:lnTo>
                  <a:lnTo>
                    <a:pt x="987" y="220"/>
                  </a:lnTo>
                  <a:lnTo>
                    <a:pt x="988" y="222"/>
                  </a:lnTo>
                  <a:lnTo>
                    <a:pt x="987" y="223"/>
                  </a:lnTo>
                  <a:lnTo>
                    <a:pt x="985" y="224"/>
                  </a:lnTo>
                  <a:lnTo>
                    <a:pt x="985" y="224"/>
                  </a:lnTo>
                  <a:lnTo>
                    <a:pt x="987" y="224"/>
                  </a:lnTo>
                  <a:lnTo>
                    <a:pt x="989" y="224"/>
                  </a:lnTo>
                  <a:lnTo>
                    <a:pt x="989" y="225"/>
                  </a:lnTo>
                  <a:lnTo>
                    <a:pt x="990" y="227"/>
                  </a:lnTo>
                  <a:lnTo>
                    <a:pt x="991" y="228"/>
                  </a:lnTo>
                  <a:lnTo>
                    <a:pt x="991" y="229"/>
                  </a:lnTo>
                  <a:lnTo>
                    <a:pt x="987" y="232"/>
                  </a:lnTo>
                  <a:lnTo>
                    <a:pt x="983" y="232"/>
                  </a:lnTo>
                  <a:lnTo>
                    <a:pt x="983" y="233"/>
                  </a:lnTo>
                  <a:lnTo>
                    <a:pt x="989" y="232"/>
                  </a:lnTo>
                  <a:lnTo>
                    <a:pt x="990" y="234"/>
                  </a:lnTo>
                  <a:lnTo>
                    <a:pt x="989" y="235"/>
                  </a:lnTo>
                  <a:lnTo>
                    <a:pt x="993" y="237"/>
                  </a:lnTo>
                  <a:lnTo>
                    <a:pt x="993" y="240"/>
                  </a:lnTo>
                  <a:lnTo>
                    <a:pt x="990" y="241"/>
                  </a:lnTo>
                  <a:lnTo>
                    <a:pt x="987" y="243"/>
                  </a:lnTo>
                  <a:lnTo>
                    <a:pt x="987" y="245"/>
                  </a:lnTo>
                  <a:lnTo>
                    <a:pt x="986" y="245"/>
                  </a:lnTo>
                  <a:lnTo>
                    <a:pt x="979" y="243"/>
                  </a:lnTo>
                  <a:lnTo>
                    <a:pt x="978" y="243"/>
                  </a:lnTo>
                  <a:lnTo>
                    <a:pt x="981" y="244"/>
                  </a:lnTo>
                  <a:lnTo>
                    <a:pt x="981" y="245"/>
                  </a:lnTo>
                  <a:lnTo>
                    <a:pt x="973" y="245"/>
                  </a:lnTo>
                  <a:lnTo>
                    <a:pt x="971" y="245"/>
                  </a:lnTo>
                  <a:lnTo>
                    <a:pt x="975" y="247"/>
                  </a:lnTo>
                  <a:lnTo>
                    <a:pt x="982" y="247"/>
                  </a:lnTo>
                  <a:lnTo>
                    <a:pt x="986" y="247"/>
                  </a:lnTo>
                  <a:lnTo>
                    <a:pt x="986" y="248"/>
                  </a:lnTo>
                  <a:lnTo>
                    <a:pt x="983" y="248"/>
                  </a:lnTo>
                  <a:lnTo>
                    <a:pt x="981" y="249"/>
                  </a:lnTo>
                  <a:lnTo>
                    <a:pt x="981" y="250"/>
                  </a:lnTo>
                  <a:lnTo>
                    <a:pt x="985" y="251"/>
                  </a:lnTo>
                  <a:lnTo>
                    <a:pt x="985" y="252"/>
                  </a:lnTo>
                  <a:lnTo>
                    <a:pt x="982" y="252"/>
                  </a:lnTo>
                  <a:lnTo>
                    <a:pt x="980" y="253"/>
                  </a:lnTo>
                  <a:lnTo>
                    <a:pt x="989" y="253"/>
                  </a:lnTo>
                  <a:lnTo>
                    <a:pt x="988" y="257"/>
                  </a:lnTo>
                  <a:lnTo>
                    <a:pt x="989" y="258"/>
                  </a:lnTo>
                  <a:lnTo>
                    <a:pt x="987" y="259"/>
                  </a:lnTo>
                  <a:lnTo>
                    <a:pt x="995" y="259"/>
                  </a:lnTo>
                  <a:lnTo>
                    <a:pt x="996" y="260"/>
                  </a:lnTo>
                  <a:lnTo>
                    <a:pt x="995" y="262"/>
                  </a:lnTo>
                  <a:lnTo>
                    <a:pt x="997" y="261"/>
                  </a:lnTo>
                  <a:lnTo>
                    <a:pt x="999" y="261"/>
                  </a:lnTo>
                  <a:lnTo>
                    <a:pt x="998" y="263"/>
                  </a:lnTo>
                  <a:lnTo>
                    <a:pt x="997" y="264"/>
                  </a:lnTo>
                  <a:lnTo>
                    <a:pt x="998" y="265"/>
                  </a:lnTo>
                  <a:lnTo>
                    <a:pt x="998" y="267"/>
                  </a:lnTo>
                  <a:lnTo>
                    <a:pt x="995" y="269"/>
                  </a:lnTo>
                  <a:lnTo>
                    <a:pt x="995" y="269"/>
                  </a:lnTo>
                  <a:lnTo>
                    <a:pt x="998" y="268"/>
                  </a:lnTo>
                  <a:lnTo>
                    <a:pt x="1000" y="270"/>
                  </a:lnTo>
                  <a:lnTo>
                    <a:pt x="1002" y="269"/>
                  </a:lnTo>
                  <a:lnTo>
                    <a:pt x="1005" y="269"/>
                  </a:lnTo>
                  <a:lnTo>
                    <a:pt x="1005" y="270"/>
                  </a:lnTo>
                  <a:lnTo>
                    <a:pt x="1007" y="270"/>
                  </a:lnTo>
                  <a:lnTo>
                    <a:pt x="1001" y="275"/>
                  </a:lnTo>
                  <a:lnTo>
                    <a:pt x="1003" y="274"/>
                  </a:lnTo>
                  <a:lnTo>
                    <a:pt x="1008" y="271"/>
                  </a:lnTo>
                  <a:lnTo>
                    <a:pt x="1011" y="270"/>
                  </a:lnTo>
                  <a:lnTo>
                    <a:pt x="1010" y="272"/>
                  </a:lnTo>
                  <a:lnTo>
                    <a:pt x="1010" y="272"/>
                  </a:lnTo>
                  <a:lnTo>
                    <a:pt x="1012" y="271"/>
                  </a:lnTo>
                  <a:lnTo>
                    <a:pt x="1012" y="273"/>
                  </a:lnTo>
                  <a:lnTo>
                    <a:pt x="1012" y="275"/>
                  </a:lnTo>
                  <a:lnTo>
                    <a:pt x="1013" y="277"/>
                  </a:lnTo>
                  <a:lnTo>
                    <a:pt x="1017" y="277"/>
                  </a:lnTo>
                  <a:lnTo>
                    <a:pt x="1019" y="278"/>
                  </a:lnTo>
                  <a:lnTo>
                    <a:pt x="1021" y="278"/>
                  </a:lnTo>
                  <a:lnTo>
                    <a:pt x="1021" y="277"/>
                  </a:lnTo>
                  <a:lnTo>
                    <a:pt x="1025" y="274"/>
                  </a:lnTo>
                  <a:lnTo>
                    <a:pt x="1026" y="277"/>
                  </a:lnTo>
                  <a:lnTo>
                    <a:pt x="1025" y="278"/>
                  </a:lnTo>
                  <a:lnTo>
                    <a:pt x="1027" y="279"/>
                  </a:lnTo>
                  <a:lnTo>
                    <a:pt x="1028" y="279"/>
                  </a:lnTo>
                  <a:lnTo>
                    <a:pt x="1029" y="280"/>
                  </a:lnTo>
                  <a:lnTo>
                    <a:pt x="1030" y="281"/>
                  </a:lnTo>
                  <a:lnTo>
                    <a:pt x="1029" y="282"/>
                  </a:lnTo>
                  <a:lnTo>
                    <a:pt x="1028" y="283"/>
                  </a:lnTo>
                  <a:lnTo>
                    <a:pt x="1028" y="283"/>
                  </a:lnTo>
                  <a:lnTo>
                    <a:pt x="1026" y="284"/>
                  </a:lnTo>
                  <a:lnTo>
                    <a:pt x="1023" y="284"/>
                  </a:lnTo>
                  <a:lnTo>
                    <a:pt x="1022" y="284"/>
                  </a:lnTo>
                  <a:lnTo>
                    <a:pt x="1019" y="285"/>
                  </a:lnTo>
                  <a:lnTo>
                    <a:pt x="1017" y="285"/>
                  </a:lnTo>
                  <a:lnTo>
                    <a:pt x="1017" y="287"/>
                  </a:lnTo>
                  <a:lnTo>
                    <a:pt x="1012" y="288"/>
                  </a:lnTo>
                  <a:lnTo>
                    <a:pt x="1005" y="289"/>
                  </a:lnTo>
                  <a:lnTo>
                    <a:pt x="1000" y="290"/>
                  </a:lnTo>
                  <a:lnTo>
                    <a:pt x="998" y="291"/>
                  </a:lnTo>
                  <a:lnTo>
                    <a:pt x="1000" y="291"/>
                  </a:lnTo>
                  <a:lnTo>
                    <a:pt x="1005" y="290"/>
                  </a:lnTo>
                  <a:lnTo>
                    <a:pt x="1009" y="289"/>
                  </a:lnTo>
                  <a:lnTo>
                    <a:pt x="1010" y="289"/>
                  </a:lnTo>
                  <a:lnTo>
                    <a:pt x="1000" y="292"/>
                  </a:lnTo>
                  <a:lnTo>
                    <a:pt x="996" y="293"/>
                  </a:lnTo>
                  <a:lnTo>
                    <a:pt x="992" y="293"/>
                  </a:lnTo>
                  <a:lnTo>
                    <a:pt x="987" y="298"/>
                  </a:lnTo>
                  <a:lnTo>
                    <a:pt x="985" y="296"/>
                  </a:lnTo>
                  <a:lnTo>
                    <a:pt x="982" y="295"/>
                  </a:lnTo>
                  <a:lnTo>
                    <a:pt x="979" y="294"/>
                  </a:lnTo>
                  <a:lnTo>
                    <a:pt x="976" y="294"/>
                  </a:lnTo>
                  <a:lnTo>
                    <a:pt x="976" y="296"/>
                  </a:lnTo>
                  <a:lnTo>
                    <a:pt x="979" y="296"/>
                  </a:lnTo>
                  <a:lnTo>
                    <a:pt x="982" y="298"/>
                  </a:lnTo>
                  <a:lnTo>
                    <a:pt x="985" y="299"/>
                  </a:lnTo>
                  <a:lnTo>
                    <a:pt x="982" y="304"/>
                  </a:lnTo>
                  <a:lnTo>
                    <a:pt x="986" y="303"/>
                  </a:lnTo>
                  <a:lnTo>
                    <a:pt x="989" y="301"/>
                  </a:lnTo>
                  <a:lnTo>
                    <a:pt x="991" y="300"/>
                  </a:lnTo>
                  <a:lnTo>
                    <a:pt x="995" y="298"/>
                  </a:lnTo>
                  <a:lnTo>
                    <a:pt x="998" y="296"/>
                  </a:lnTo>
                  <a:lnTo>
                    <a:pt x="1003" y="294"/>
                  </a:lnTo>
                  <a:lnTo>
                    <a:pt x="1007" y="292"/>
                  </a:lnTo>
                  <a:lnTo>
                    <a:pt x="1010" y="291"/>
                  </a:lnTo>
                  <a:lnTo>
                    <a:pt x="1018" y="290"/>
                  </a:lnTo>
                  <a:lnTo>
                    <a:pt x="1021" y="290"/>
                  </a:lnTo>
                  <a:lnTo>
                    <a:pt x="1022" y="290"/>
                  </a:lnTo>
                  <a:lnTo>
                    <a:pt x="1021" y="289"/>
                  </a:lnTo>
                  <a:lnTo>
                    <a:pt x="1018" y="289"/>
                  </a:lnTo>
                  <a:lnTo>
                    <a:pt x="1013" y="289"/>
                  </a:lnTo>
                  <a:lnTo>
                    <a:pt x="1016" y="288"/>
                  </a:lnTo>
                  <a:lnTo>
                    <a:pt x="1020" y="288"/>
                  </a:lnTo>
                  <a:lnTo>
                    <a:pt x="1027" y="288"/>
                  </a:lnTo>
                  <a:lnTo>
                    <a:pt x="1029" y="288"/>
                  </a:lnTo>
                  <a:lnTo>
                    <a:pt x="1030" y="289"/>
                  </a:lnTo>
                  <a:lnTo>
                    <a:pt x="1029" y="291"/>
                  </a:lnTo>
                  <a:lnTo>
                    <a:pt x="1029" y="292"/>
                  </a:lnTo>
                  <a:lnTo>
                    <a:pt x="1028" y="294"/>
                  </a:lnTo>
                  <a:lnTo>
                    <a:pt x="1026" y="296"/>
                  </a:lnTo>
                  <a:lnTo>
                    <a:pt x="1025" y="299"/>
                  </a:lnTo>
                  <a:lnTo>
                    <a:pt x="1025" y="301"/>
                  </a:lnTo>
                  <a:lnTo>
                    <a:pt x="1025" y="301"/>
                  </a:lnTo>
                  <a:lnTo>
                    <a:pt x="1030" y="296"/>
                  </a:lnTo>
                  <a:lnTo>
                    <a:pt x="1032" y="295"/>
                  </a:lnTo>
                  <a:lnTo>
                    <a:pt x="1036" y="295"/>
                  </a:lnTo>
                  <a:lnTo>
                    <a:pt x="1037" y="295"/>
                  </a:lnTo>
                  <a:lnTo>
                    <a:pt x="1036" y="296"/>
                  </a:lnTo>
                  <a:lnTo>
                    <a:pt x="1043" y="299"/>
                  </a:lnTo>
                  <a:lnTo>
                    <a:pt x="1043" y="300"/>
                  </a:lnTo>
                  <a:lnTo>
                    <a:pt x="1042" y="300"/>
                  </a:lnTo>
                  <a:lnTo>
                    <a:pt x="1043" y="302"/>
                  </a:lnTo>
                  <a:lnTo>
                    <a:pt x="1044" y="302"/>
                  </a:lnTo>
                  <a:lnTo>
                    <a:pt x="1044" y="304"/>
                  </a:lnTo>
                  <a:lnTo>
                    <a:pt x="1044" y="304"/>
                  </a:lnTo>
                  <a:lnTo>
                    <a:pt x="1044" y="305"/>
                  </a:lnTo>
                  <a:lnTo>
                    <a:pt x="1043" y="306"/>
                  </a:lnTo>
                  <a:lnTo>
                    <a:pt x="1041" y="306"/>
                  </a:lnTo>
                  <a:lnTo>
                    <a:pt x="1037" y="305"/>
                  </a:lnTo>
                  <a:lnTo>
                    <a:pt x="1038" y="308"/>
                  </a:lnTo>
                  <a:lnTo>
                    <a:pt x="1039" y="308"/>
                  </a:lnTo>
                  <a:lnTo>
                    <a:pt x="1041" y="308"/>
                  </a:lnTo>
                  <a:lnTo>
                    <a:pt x="1041" y="311"/>
                  </a:lnTo>
                  <a:lnTo>
                    <a:pt x="1040" y="311"/>
                  </a:lnTo>
                  <a:lnTo>
                    <a:pt x="1039" y="312"/>
                  </a:lnTo>
                  <a:lnTo>
                    <a:pt x="1040" y="314"/>
                  </a:lnTo>
                  <a:lnTo>
                    <a:pt x="1040" y="315"/>
                  </a:lnTo>
                  <a:lnTo>
                    <a:pt x="1038" y="315"/>
                  </a:lnTo>
                  <a:lnTo>
                    <a:pt x="1037" y="316"/>
                  </a:lnTo>
                  <a:lnTo>
                    <a:pt x="1041" y="318"/>
                  </a:lnTo>
                  <a:lnTo>
                    <a:pt x="1041" y="320"/>
                  </a:lnTo>
                  <a:lnTo>
                    <a:pt x="1038" y="319"/>
                  </a:lnTo>
                  <a:lnTo>
                    <a:pt x="1036" y="319"/>
                  </a:lnTo>
                  <a:lnTo>
                    <a:pt x="1037" y="320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205" name="Freeform 1205"/>
            <p:cNvSpPr>
              <a:spLocks/>
            </p:cNvSpPr>
            <p:nvPr/>
          </p:nvSpPr>
          <p:spPr bwMode="auto">
            <a:xfrm>
              <a:off x="1862" y="1295"/>
              <a:ext cx="24" cy="26"/>
            </a:xfrm>
            <a:custGeom>
              <a:avLst/>
              <a:gdLst>
                <a:gd name="T0" fmla="*/ 24 w 24"/>
                <a:gd name="T1" fmla="*/ 14 h 26"/>
                <a:gd name="T2" fmla="*/ 22 w 24"/>
                <a:gd name="T3" fmla="*/ 13 h 26"/>
                <a:gd name="T4" fmla="*/ 18 w 24"/>
                <a:gd name="T5" fmla="*/ 17 h 26"/>
                <a:gd name="T6" fmla="*/ 20 w 24"/>
                <a:gd name="T7" fmla="*/ 14 h 26"/>
                <a:gd name="T8" fmla="*/ 13 w 24"/>
                <a:gd name="T9" fmla="*/ 17 h 26"/>
                <a:gd name="T10" fmla="*/ 13 w 24"/>
                <a:gd name="T11" fmla="*/ 17 h 26"/>
                <a:gd name="T12" fmla="*/ 16 w 24"/>
                <a:gd name="T13" fmla="*/ 13 h 26"/>
                <a:gd name="T14" fmla="*/ 15 w 24"/>
                <a:gd name="T15" fmla="*/ 12 h 26"/>
                <a:gd name="T16" fmla="*/ 17 w 24"/>
                <a:gd name="T17" fmla="*/ 9 h 26"/>
                <a:gd name="T18" fmla="*/ 21 w 24"/>
                <a:gd name="T19" fmla="*/ 3 h 26"/>
                <a:gd name="T20" fmla="*/ 21 w 24"/>
                <a:gd name="T21" fmla="*/ 1 h 26"/>
                <a:gd name="T22" fmla="*/ 20 w 24"/>
                <a:gd name="T23" fmla="*/ 1 h 26"/>
                <a:gd name="T24" fmla="*/ 18 w 24"/>
                <a:gd name="T25" fmla="*/ 0 h 26"/>
                <a:gd name="T26" fmla="*/ 17 w 24"/>
                <a:gd name="T27" fmla="*/ 1 h 26"/>
                <a:gd name="T28" fmla="*/ 17 w 24"/>
                <a:gd name="T29" fmla="*/ 0 h 26"/>
                <a:gd name="T30" fmla="*/ 16 w 24"/>
                <a:gd name="T31" fmla="*/ 2 h 26"/>
                <a:gd name="T32" fmla="*/ 12 w 24"/>
                <a:gd name="T33" fmla="*/ 7 h 26"/>
                <a:gd name="T34" fmla="*/ 8 w 24"/>
                <a:gd name="T35" fmla="*/ 10 h 26"/>
                <a:gd name="T36" fmla="*/ 7 w 24"/>
                <a:gd name="T37" fmla="*/ 12 h 26"/>
                <a:gd name="T38" fmla="*/ 3 w 24"/>
                <a:gd name="T39" fmla="*/ 16 h 26"/>
                <a:gd name="T40" fmla="*/ 2 w 24"/>
                <a:gd name="T41" fmla="*/ 18 h 26"/>
                <a:gd name="T42" fmla="*/ 0 w 24"/>
                <a:gd name="T43" fmla="*/ 20 h 26"/>
                <a:gd name="T44" fmla="*/ 0 w 24"/>
                <a:gd name="T45" fmla="*/ 22 h 26"/>
                <a:gd name="T46" fmla="*/ 0 w 24"/>
                <a:gd name="T47" fmla="*/ 23 h 26"/>
                <a:gd name="T48" fmla="*/ 1 w 24"/>
                <a:gd name="T49" fmla="*/ 26 h 26"/>
                <a:gd name="T50" fmla="*/ 3 w 24"/>
                <a:gd name="T51" fmla="*/ 26 h 26"/>
                <a:gd name="T52" fmla="*/ 7 w 24"/>
                <a:gd name="T53" fmla="*/ 24 h 26"/>
                <a:gd name="T54" fmla="*/ 12 w 24"/>
                <a:gd name="T55" fmla="*/ 24 h 26"/>
                <a:gd name="T56" fmla="*/ 17 w 24"/>
                <a:gd name="T57" fmla="*/ 22 h 26"/>
                <a:gd name="T58" fmla="*/ 18 w 24"/>
                <a:gd name="T59" fmla="*/ 21 h 26"/>
                <a:gd name="T60" fmla="*/ 21 w 24"/>
                <a:gd name="T61" fmla="*/ 20 h 26"/>
                <a:gd name="T62" fmla="*/ 23 w 24"/>
                <a:gd name="T63" fmla="*/ 19 h 26"/>
                <a:gd name="T64" fmla="*/ 24 w 24"/>
                <a:gd name="T65" fmla="*/ 18 h 26"/>
                <a:gd name="T66" fmla="*/ 23 w 24"/>
                <a:gd name="T67" fmla="*/ 18 h 26"/>
                <a:gd name="T68" fmla="*/ 24 w 24"/>
                <a:gd name="T69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" h="26">
                  <a:moveTo>
                    <a:pt x="24" y="14"/>
                  </a:moveTo>
                  <a:lnTo>
                    <a:pt x="22" y="13"/>
                  </a:lnTo>
                  <a:lnTo>
                    <a:pt x="18" y="17"/>
                  </a:lnTo>
                  <a:lnTo>
                    <a:pt x="20" y="14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6" y="13"/>
                  </a:lnTo>
                  <a:lnTo>
                    <a:pt x="15" y="12"/>
                  </a:lnTo>
                  <a:lnTo>
                    <a:pt x="17" y="9"/>
                  </a:lnTo>
                  <a:lnTo>
                    <a:pt x="21" y="3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18" y="0"/>
                  </a:lnTo>
                  <a:lnTo>
                    <a:pt x="17" y="1"/>
                  </a:lnTo>
                  <a:lnTo>
                    <a:pt x="17" y="0"/>
                  </a:lnTo>
                  <a:lnTo>
                    <a:pt x="16" y="2"/>
                  </a:lnTo>
                  <a:lnTo>
                    <a:pt x="12" y="7"/>
                  </a:lnTo>
                  <a:lnTo>
                    <a:pt x="8" y="10"/>
                  </a:lnTo>
                  <a:lnTo>
                    <a:pt x="7" y="12"/>
                  </a:lnTo>
                  <a:lnTo>
                    <a:pt x="3" y="16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0" y="23"/>
                  </a:lnTo>
                  <a:lnTo>
                    <a:pt x="1" y="26"/>
                  </a:lnTo>
                  <a:lnTo>
                    <a:pt x="3" y="26"/>
                  </a:lnTo>
                  <a:lnTo>
                    <a:pt x="7" y="24"/>
                  </a:lnTo>
                  <a:lnTo>
                    <a:pt x="12" y="24"/>
                  </a:lnTo>
                  <a:lnTo>
                    <a:pt x="17" y="22"/>
                  </a:lnTo>
                  <a:lnTo>
                    <a:pt x="18" y="21"/>
                  </a:lnTo>
                  <a:lnTo>
                    <a:pt x="21" y="20"/>
                  </a:lnTo>
                  <a:lnTo>
                    <a:pt x="23" y="19"/>
                  </a:lnTo>
                  <a:lnTo>
                    <a:pt x="24" y="18"/>
                  </a:lnTo>
                  <a:lnTo>
                    <a:pt x="23" y="18"/>
                  </a:lnTo>
                  <a:lnTo>
                    <a:pt x="24" y="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206" name="Freeform 1206"/>
            <p:cNvSpPr>
              <a:spLocks/>
            </p:cNvSpPr>
            <p:nvPr/>
          </p:nvSpPr>
          <p:spPr bwMode="auto">
            <a:xfrm>
              <a:off x="1862" y="1295"/>
              <a:ext cx="24" cy="26"/>
            </a:xfrm>
            <a:custGeom>
              <a:avLst/>
              <a:gdLst>
                <a:gd name="T0" fmla="*/ 24 w 24"/>
                <a:gd name="T1" fmla="*/ 14 h 26"/>
                <a:gd name="T2" fmla="*/ 22 w 24"/>
                <a:gd name="T3" fmla="*/ 13 h 26"/>
                <a:gd name="T4" fmla="*/ 18 w 24"/>
                <a:gd name="T5" fmla="*/ 17 h 26"/>
                <a:gd name="T6" fmla="*/ 20 w 24"/>
                <a:gd name="T7" fmla="*/ 14 h 26"/>
                <a:gd name="T8" fmla="*/ 13 w 24"/>
                <a:gd name="T9" fmla="*/ 17 h 26"/>
                <a:gd name="T10" fmla="*/ 13 w 24"/>
                <a:gd name="T11" fmla="*/ 17 h 26"/>
                <a:gd name="T12" fmla="*/ 16 w 24"/>
                <a:gd name="T13" fmla="*/ 13 h 26"/>
                <a:gd name="T14" fmla="*/ 15 w 24"/>
                <a:gd name="T15" fmla="*/ 12 h 26"/>
                <a:gd name="T16" fmla="*/ 17 w 24"/>
                <a:gd name="T17" fmla="*/ 9 h 26"/>
                <a:gd name="T18" fmla="*/ 21 w 24"/>
                <a:gd name="T19" fmla="*/ 3 h 26"/>
                <a:gd name="T20" fmla="*/ 21 w 24"/>
                <a:gd name="T21" fmla="*/ 1 h 26"/>
                <a:gd name="T22" fmla="*/ 20 w 24"/>
                <a:gd name="T23" fmla="*/ 1 h 26"/>
                <a:gd name="T24" fmla="*/ 18 w 24"/>
                <a:gd name="T25" fmla="*/ 0 h 26"/>
                <a:gd name="T26" fmla="*/ 17 w 24"/>
                <a:gd name="T27" fmla="*/ 1 h 26"/>
                <a:gd name="T28" fmla="*/ 17 w 24"/>
                <a:gd name="T29" fmla="*/ 0 h 26"/>
                <a:gd name="T30" fmla="*/ 16 w 24"/>
                <a:gd name="T31" fmla="*/ 2 h 26"/>
                <a:gd name="T32" fmla="*/ 12 w 24"/>
                <a:gd name="T33" fmla="*/ 7 h 26"/>
                <a:gd name="T34" fmla="*/ 8 w 24"/>
                <a:gd name="T35" fmla="*/ 10 h 26"/>
                <a:gd name="T36" fmla="*/ 7 w 24"/>
                <a:gd name="T37" fmla="*/ 12 h 26"/>
                <a:gd name="T38" fmla="*/ 3 w 24"/>
                <a:gd name="T39" fmla="*/ 16 h 26"/>
                <a:gd name="T40" fmla="*/ 2 w 24"/>
                <a:gd name="T41" fmla="*/ 18 h 26"/>
                <a:gd name="T42" fmla="*/ 0 w 24"/>
                <a:gd name="T43" fmla="*/ 20 h 26"/>
                <a:gd name="T44" fmla="*/ 0 w 24"/>
                <a:gd name="T45" fmla="*/ 22 h 26"/>
                <a:gd name="T46" fmla="*/ 0 w 24"/>
                <a:gd name="T47" fmla="*/ 23 h 26"/>
                <a:gd name="T48" fmla="*/ 1 w 24"/>
                <a:gd name="T49" fmla="*/ 26 h 26"/>
                <a:gd name="T50" fmla="*/ 3 w 24"/>
                <a:gd name="T51" fmla="*/ 26 h 26"/>
                <a:gd name="T52" fmla="*/ 7 w 24"/>
                <a:gd name="T53" fmla="*/ 24 h 26"/>
                <a:gd name="T54" fmla="*/ 12 w 24"/>
                <a:gd name="T55" fmla="*/ 24 h 26"/>
                <a:gd name="T56" fmla="*/ 17 w 24"/>
                <a:gd name="T57" fmla="*/ 22 h 26"/>
                <a:gd name="T58" fmla="*/ 18 w 24"/>
                <a:gd name="T59" fmla="*/ 21 h 26"/>
                <a:gd name="T60" fmla="*/ 21 w 24"/>
                <a:gd name="T61" fmla="*/ 20 h 26"/>
                <a:gd name="T62" fmla="*/ 23 w 24"/>
                <a:gd name="T63" fmla="*/ 19 h 26"/>
                <a:gd name="T64" fmla="*/ 24 w 24"/>
                <a:gd name="T65" fmla="*/ 18 h 26"/>
                <a:gd name="T66" fmla="*/ 23 w 24"/>
                <a:gd name="T67" fmla="*/ 18 h 26"/>
                <a:gd name="T68" fmla="*/ 24 w 24"/>
                <a:gd name="T69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" h="26">
                  <a:moveTo>
                    <a:pt x="24" y="14"/>
                  </a:moveTo>
                  <a:lnTo>
                    <a:pt x="22" y="13"/>
                  </a:lnTo>
                  <a:lnTo>
                    <a:pt x="18" y="17"/>
                  </a:lnTo>
                  <a:lnTo>
                    <a:pt x="20" y="14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6" y="13"/>
                  </a:lnTo>
                  <a:lnTo>
                    <a:pt x="15" y="12"/>
                  </a:lnTo>
                  <a:lnTo>
                    <a:pt x="17" y="9"/>
                  </a:lnTo>
                  <a:lnTo>
                    <a:pt x="21" y="3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18" y="0"/>
                  </a:lnTo>
                  <a:lnTo>
                    <a:pt x="17" y="1"/>
                  </a:lnTo>
                  <a:lnTo>
                    <a:pt x="17" y="0"/>
                  </a:lnTo>
                  <a:lnTo>
                    <a:pt x="16" y="2"/>
                  </a:lnTo>
                  <a:lnTo>
                    <a:pt x="12" y="7"/>
                  </a:lnTo>
                  <a:lnTo>
                    <a:pt x="8" y="10"/>
                  </a:lnTo>
                  <a:lnTo>
                    <a:pt x="7" y="12"/>
                  </a:lnTo>
                  <a:lnTo>
                    <a:pt x="3" y="16"/>
                  </a:lnTo>
                  <a:lnTo>
                    <a:pt x="2" y="18"/>
                  </a:lnTo>
                  <a:lnTo>
                    <a:pt x="0" y="20"/>
                  </a:lnTo>
                  <a:lnTo>
                    <a:pt x="0" y="22"/>
                  </a:lnTo>
                  <a:lnTo>
                    <a:pt x="0" y="23"/>
                  </a:lnTo>
                  <a:lnTo>
                    <a:pt x="1" y="26"/>
                  </a:lnTo>
                  <a:lnTo>
                    <a:pt x="3" y="26"/>
                  </a:lnTo>
                  <a:lnTo>
                    <a:pt x="7" y="24"/>
                  </a:lnTo>
                  <a:lnTo>
                    <a:pt x="12" y="24"/>
                  </a:lnTo>
                  <a:lnTo>
                    <a:pt x="17" y="22"/>
                  </a:lnTo>
                  <a:lnTo>
                    <a:pt x="18" y="21"/>
                  </a:lnTo>
                  <a:lnTo>
                    <a:pt x="21" y="20"/>
                  </a:lnTo>
                  <a:lnTo>
                    <a:pt x="23" y="19"/>
                  </a:lnTo>
                  <a:lnTo>
                    <a:pt x="24" y="18"/>
                  </a:lnTo>
                  <a:lnTo>
                    <a:pt x="23" y="18"/>
                  </a:lnTo>
                  <a:lnTo>
                    <a:pt x="24" y="14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207" name="Freeform 1207"/>
            <p:cNvSpPr>
              <a:spLocks/>
            </p:cNvSpPr>
            <p:nvPr/>
          </p:nvSpPr>
          <p:spPr bwMode="auto">
            <a:xfrm>
              <a:off x="1407" y="1727"/>
              <a:ext cx="163" cy="61"/>
            </a:xfrm>
            <a:custGeom>
              <a:avLst/>
              <a:gdLst>
                <a:gd name="T0" fmla="*/ 123 w 163"/>
                <a:gd name="T1" fmla="*/ 31 h 61"/>
                <a:gd name="T2" fmla="*/ 129 w 163"/>
                <a:gd name="T3" fmla="*/ 34 h 61"/>
                <a:gd name="T4" fmla="*/ 135 w 163"/>
                <a:gd name="T5" fmla="*/ 37 h 61"/>
                <a:gd name="T6" fmla="*/ 141 w 163"/>
                <a:gd name="T7" fmla="*/ 37 h 61"/>
                <a:gd name="T8" fmla="*/ 141 w 163"/>
                <a:gd name="T9" fmla="*/ 42 h 61"/>
                <a:gd name="T10" fmla="*/ 143 w 163"/>
                <a:gd name="T11" fmla="*/ 44 h 61"/>
                <a:gd name="T12" fmla="*/ 155 w 163"/>
                <a:gd name="T13" fmla="*/ 46 h 61"/>
                <a:gd name="T14" fmla="*/ 162 w 163"/>
                <a:gd name="T15" fmla="*/ 51 h 61"/>
                <a:gd name="T16" fmla="*/ 152 w 163"/>
                <a:gd name="T17" fmla="*/ 57 h 61"/>
                <a:gd name="T18" fmla="*/ 141 w 163"/>
                <a:gd name="T19" fmla="*/ 60 h 61"/>
                <a:gd name="T20" fmla="*/ 122 w 163"/>
                <a:gd name="T21" fmla="*/ 59 h 61"/>
                <a:gd name="T22" fmla="*/ 108 w 163"/>
                <a:gd name="T23" fmla="*/ 61 h 61"/>
                <a:gd name="T24" fmla="*/ 108 w 163"/>
                <a:gd name="T25" fmla="*/ 57 h 61"/>
                <a:gd name="T26" fmla="*/ 118 w 163"/>
                <a:gd name="T27" fmla="*/ 51 h 61"/>
                <a:gd name="T28" fmla="*/ 117 w 163"/>
                <a:gd name="T29" fmla="*/ 47 h 61"/>
                <a:gd name="T30" fmla="*/ 102 w 163"/>
                <a:gd name="T31" fmla="*/ 43 h 61"/>
                <a:gd name="T32" fmla="*/ 97 w 163"/>
                <a:gd name="T33" fmla="*/ 35 h 61"/>
                <a:gd name="T34" fmla="*/ 90 w 163"/>
                <a:gd name="T35" fmla="*/ 30 h 61"/>
                <a:gd name="T36" fmla="*/ 82 w 163"/>
                <a:gd name="T37" fmla="*/ 29 h 61"/>
                <a:gd name="T38" fmla="*/ 70 w 163"/>
                <a:gd name="T39" fmla="*/ 22 h 61"/>
                <a:gd name="T40" fmla="*/ 58 w 163"/>
                <a:gd name="T41" fmla="*/ 20 h 61"/>
                <a:gd name="T42" fmla="*/ 54 w 163"/>
                <a:gd name="T43" fmla="*/ 21 h 61"/>
                <a:gd name="T44" fmla="*/ 47 w 163"/>
                <a:gd name="T45" fmla="*/ 19 h 61"/>
                <a:gd name="T46" fmla="*/ 44 w 163"/>
                <a:gd name="T47" fmla="*/ 15 h 61"/>
                <a:gd name="T48" fmla="*/ 50 w 163"/>
                <a:gd name="T49" fmla="*/ 12 h 61"/>
                <a:gd name="T50" fmla="*/ 47 w 163"/>
                <a:gd name="T51" fmla="*/ 10 h 61"/>
                <a:gd name="T52" fmla="*/ 31 w 163"/>
                <a:gd name="T53" fmla="*/ 11 h 61"/>
                <a:gd name="T54" fmla="*/ 23 w 163"/>
                <a:gd name="T55" fmla="*/ 18 h 61"/>
                <a:gd name="T56" fmla="*/ 13 w 163"/>
                <a:gd name="T57" fmla="*/ 22 h 61"/>
                <a:gd name="T58" fmla="*/ 5 w 163"/>
                <a:gd name="T59" fmla="*/ 25 h 61"/>
                <a:gd name="T60" fmla="*/ 4 w 163"/>
                <a:gd name="T61" fmla="*/ 24 h 61"/>
                <a:gd name="T62" fmla="*/ 3 w 163"/>
                <a:gd name="T63" fmla="*/ 21 h 61"/>
                <a:gd name="T64" fmla="*/ 7 w 163"/>
                <a:gd name="T65" fmla="*/ 20 h 61"/>
                <a:gd name="T66" fmla="*/ 13 w 163"/>
                <a:gd name="T67" fmla="*/ 10 h 61"/>
                <a:gd name="T68" fmla="*/ 24 w 163"/>
                <a:gd name="T69" fmla="*/ 4 h 61"/>
                <a:gd name="T70" fmla="*/ 53 w 163"/>
                <a:gd name="T71" fmla="*/ 0 h 61"/>
                <a:gd name="T72" fmla="*/ 67 w 163"/>
                <a:gd name="T73" fmla="*/ 1 h 61"/>
                <a:gd name="T74" fmla="*/ 76 w 163"/>
                <a:gd name="T75" fmla="*/ 3 h 61"/>
                <a:gd name="T76" fmla="*/ 83 w 163"/>
                <a:gd name="T77" fmla="*/ 10 h 61"/>
                <a:gd name="T78" fmla="*/ 94 w 163"/>
                <a:gd name="T79" fmla="*/ 13 h 61"/>
                <a:gd name="T80" fmla="*/ 100 w 163"/>
                <a:gd name="T81" fmla="*/ 15 h 61"/>
                <a:gd name="T82" fmla="*/ 100 w 163"/>
                <a:gd name="T83" fmla="*/ 18 h 61"/>
                <a:gd name="T84" fmla="*/ 107 w 163"/>
                <a:gd name="T85" fmla="*/ 23 h 61"/>
                <a:gd name="T86" fmla="*/ 118 w 163"/>
                <a:gd name="T87" fmla="*/ 2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3" h="61">
                  <a:moveTo>
                    <a:pt x="118" y="27"/>
                  </a:moveTo>
                  <a:lnTo>
                    <a:pt x="118" y="27"/>
                  </a:lnTo>
                  <a:lnTo>
                    <a:pt x="123" y="31"/>
                  </a:lnTo>
                  <a:lnTo>
                    <a:pt x="126" y="33"/>
                  </a:lnTo>
                  <a:lnTo>
                    <a:pt x="128" y="34"/>
                  </a:lnTo>
                  <a:lnTo>
                    <a:pt x="129" y="34"/>
                  </a:lnTo>
                  <a:lnTo>
                    <a:pt x="131" y="35"/>
                  </a:lnTo>
                  <a:lnTo>
                    <a:pt x="132" y="35"/>
                  </a:lnTo>
                  <a:lnTo>
                    <a:pt x="135" y="37"/>
                  </a:lnTo>
                  <a:lnTo>
                    <a:pt x="137" y="37"/>
                  </a:lnTo>
                  <a:lnTo>
                    <a:pt x="139" y="36"/>
                  </a:lnTo>
                  <a:lnTo>
                    <a:pt x="141" y="37"/>
                  </a:lnTo>
                  <a:lnTo>
                    <a:pt x="142" y="39"/>
                  </a:lnTo>
                  <a:lnTo>
                    <a:pt x="142" y="40"/>
                  </a:lnTo>
                  <a:lnTo>
                    <a:pt x="141" y="42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3" y="44"/>
                  </a:lnTo>
                  <a:lnTo>
                    <a:pt x="152" y="44"/>
                  </a:lnTo>
                  <a:lnTo>
                    <a:pt x="153" y="44"/>
                  </a:lnTo>
                  <a:lnTo>
                    <a:pt x="155" y="46"/>
                  </a:lnTo>
                  <a:lnTo>
                    <a:pt x="155" y="47"/>
                  </a:lnTo>
                  <a:lnTo>
                    <a:pt x="159" y="51"/>
                  </a:lnTo>
                  <a:lnTo>
                    <a:pt x="162" y="51"/>
                  </a:lnTo>
                  <a:lnTo>
                    <a:pt x="163" y="52"/>
                  </a:lnTo>
                  <a:lnTo>
                    <a:pt x="163" y="54"/>
                  </a:lnTo>
                  <a:lnTo>
                    <a:pt x="152" y="57"/>
                  </a:lnTo>
                  <a:lnTo>
                    <a:pt x="148" y="60"/>
                  </a:lnTo>
                  <a:lnTo>
                    <a:pt x="145" y="60"/>
                  </a:lnTo>
                  <a:lnTo>
                    <a:pt x="141" y="60"/>
                  </a:lnTo>
                  <a:lnTo>
                    <a:pt x="137" y="59"/>
                  </a:lnTo>
                  <a:lnTo>
                    <a:pt x="135" y="59"/>
                  </a:lnTo>
                  <a:lnTo>
                    <a:pt x="122" y="59"/>
                  </a:lnTo>
                  <a:lnTo>
                    <a:pt x="115" y="60"/>
                  </a:lnTo>
                  <a:lnTo>
                    <a:pt x="111" y="61"/>
                  </a:lnTo>
                  <a:lnTo>
                    <a:pt x="108" y="61"/>
                  </a:lnTo>
                  <a:lnTo>
                    <a:pt x="107" y="60"/>
                  </a:lnTo>
                  <a:lnTo>
                    <a:pt x="106" y="59"/>
                  </a:lnTo>
                  <a:lnTo>
                    <a:pt x="108" y="57"/>
                  </a:lnTo>
                  <a:lnTo>
                    <a:pt x="111" y="55"/>
                  </a:lnTo>
                  <a:lnTo>
                    <a:pt x="114" y="53"/>
                  </a:lnTo>
                  <a:lnTo>
                    <a:pt x="118" y="51"/>
                  </a:lnTo>
                  <a:lnTo>
                    <a:pt x="120" y="50"/>
                  </a:lnTo>
                  <a:lnTo>
                    <a:pt x="118" y="49"/>
                  </a:lnTo>
                  <a:lnTo>
                    <a:pt x="117" y="47"/>
                  </a:lnTo>
                  <a:lnTo>
                    <a:pt x="113" y="45"/>
                  </a:lnTo>
                  <a:lnTo>
                    <a:pt x="104" y="45"/>
                  </a:lnTo>
                  <a:lnTo>
                    <a:pt x="102" y="43"/>
                  </a:lnTo>
                  <a:lnTo>
                    <a:pt x="100" y="41"/>
                  </a:lnTo>
                  <a:lnTo>
                    <a:pt x="98" y="39"/>
                  </a:lnTo>
                  <a:lnTo>
                    <a:pt x="97" y="35"/>
                  </a:lnTo>
                  <a:lnTo>
                    <a:pt x="97" y="32"/>
                  </a:lnTo>
                  <a:lnTo>
                    <a:pt x="95" y="30"/>
                  </a:lnTo>
                  <a:lnTo>
                    <a:pt x="90" y="30"/>
                  </a:lnTo>
                  <a:lnTo>
                    <a:pt x="85" y="30"/>
                  </a:lnTo>
                  <a:lnTo>
                    <a:pt x="84" y="30"/>
                  </a:lnTo>
                  <a:lnTo>
                    <a:pt x="82" y="29"/>
                  </a:lnTo>
                  <a:lnTo>
                    <a:pt x="77" y="27"/>
                  </a:lnTo>
                  <a:lnTo>
                    <a:pt x="73" y="25"/>
                  </a:lnTo>
                  <a:lnTo>
                    <a:pt x="70" y="22"/>
                  </a:lnTo>
                  <a:lnTo>
                    <a:pt x="67" y="21"/>
                  </a:lnTo>
                  <a:lnTo>
                    <a:pt x="61" y="21"/>
                  </a:lnTo>
                  <a:lnTo>
                    <a:pt x="58" y="20"/>
                  </a:lnTo>
                  <a:lnTo>
                    <a:pt x="57" y="20"/>
                  </a:lnTo>
                  <a:lnTo>
                    <a:pt x="56" y="20"/>
                  </a:lnTo>
                  <a:lnTo>
                    <a:pt x="54" y="21"/>
                  </a:lnTo>
                  <a:lnTo>
                    <a:pt x="52" y="20"/>
                  </a:lnTo>
                  <a:lnTo>
                    <a:pt x="52" y="19"/>
                  </a:lnTo>
                  <a:lnTo>
                    <a:pt x="47" y="19"/>
                  </a:lnTo>
                  <a:lnTo>
                    <a:pt x="45" y="18"/>
                  </a:lnTo>
                  <a:lnTo>
                    <a:pt x="44" y="18"/>
                  </a:lnTo>
                  <a:lnTo>
                    <a:pt x="44" y="15"/>
                  </a:lnTo>
                  <a:lnTo>
                    <a:pt x="44" y="14"/>
                  </a:lnTo>
                  <a:lnTo>
                    <a:pt x="50" y="13"/>
                  </a:lnTo>
                  <a:lnTo>
                    <a:pt x="50" y="12"/>
                  </a:lnTo>
                  <a:lnTo>
                    <a:pt x="50" y="11"/>
                  </a:lnTo>
                  <a:lnTo>
                    <a:pt x="48" y="11"/>
                  </a:lnTo>
                  <a:lnTo>
                    <a:pt x="47" y="10"/>
                  </a:lnTo>
                  <a:lnTo>
                    <a:pt x="37" y="9"/>
                  </a:lnTo>
                  <a:lnTo>
                    <a:pt x="34" y="9"/>
                  </a:lnTo>
                  <a:lnTo>
                    <a:pt x="31" y="11"/>
                  </a:lnTo>
                  <a:lnTo>
                    <a:pt x="29" y="13"/>
                  </a:lnTo>
                  <a:lnTo>
                    <a:pt x="26" y="16"/>
                  </a:lnTo>
                  <a:lnTo>
                    <a:pt x="23" y="18"/>
                  </a:lnTo>
                  <a:lnTo>
                    <a:pt x="19" y="18"/>
                  </a:lnTo>
                  <a:lnTo>
                    <a:pt x="16" y="19"/>
                  </a:lnTo>
                  <a:lnTo>
                    <a:pt x="13" y="22"/>
                  </a:lnTo>
                  <a:lnTo>
                    <a:pt x="11" y="22"/>
                  </a:lnTo>
                  <a:lnTo>
                    <a:pt x="10" y="22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3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7" y="20"/>
                  </a:lnTo>
                  <a:lnTo>
                    <a:pt x="7" y="13"/>
                  </a:lnTo>
                  <a:lnTo>
                    <a:pt x="9" y="12"/>
                  </a:lnTo>
                  <a:lnTo>
                    <a:pt x="13" y="10"/>
                  </a:lnTo>
                  <a:lnTo>
                    <a:pt x="19" y="6"/>
                  </a:lnTo>
                  <a:lnTo>
                    <a:pt x="20" y="6"/>
                  </a:lnTo>
                  <a:lnTo>
                    <a:pt x="24" y="4"/>
                  </a:lnTo>
                  <a:lnTo>
                    <a:pt x="36" y="1"/>
                  </a:lnTo>
                  <a:lnTo>
                    <a:pt x="40" y="0"/>
                  </a:lnTo>
                  <a:lnTo>
                    <a:pt x="53" y="0"/>
                  </a:lnTo>
                  <a:lnTo>
                    <a:pt x="57" y="1"/>
                  </a:lnTo>
                  <a:lnTo>
                    <a:pt x="63" y="1"/>
                  </a:lnTo>
                  <a:lnTo>
                    <a:pt x="67" y="1"/>
                  </a:lnTo>
                  <a:lnTo>
                    <a:pt x="68" y="3"/>
                  </a:lnTo>
                  <a:lnTo>
                    <a:pt x="70" y="3"/>
                  </a:lnTo>
                  <a:lnTo>
                    <a:pt x="76" y="3"/>
                  </a:lnTo>
                  <a:lnTo>
                    <a:pt x="77" y="4"/>
                  </a:lnTo>
                  <a:lnTo>
                    <a:pt x="82" y="8"/>
                  </a:lnTo>
                  <a:lnTo>
                    <a:pt x="83" y="10"/>
                  </a:lnTo>
                  <a:lnTo>
                    <a:pt x="85" y="13"/>
                  </a:lnTo>
                  <a:lnTo>
                    <a:pt x="88" y="13"/>
                  </a:lnTo>
                  <a:lnTo>
                    <a:pt x="94" y="13"/>
                  </a:lnTo>
                  <a:lnTo>
                    <a:pt x="96" y="14"/>
                  </a:lnTo>
                  <a:lnTo>
                    <a:pt x="98" y="14"/>
                  </a:lnTo>
                  <a:lnTo>
                    <a:pt x="100" y="15"/>
                  </a:lnTo>
                  <a:lnTo>
                    <a:pt x="98" y="15"/>
                  </a:lnTo>
                  <a:lnTo>
                    <a:pt x="98" y="16"/>
                  </a:lnTo>
                  <a:lnTo>
                    <a:pt x="100" y="18"/>
                  </a:lnTo>
                  <a:lnTo>
                    <a:pt x="103" y="18"/>
                  </a:lnTo>
                  <a:lnTo>
                    <a:pt x="105" y="19"/>
                  </a:lnTo>
                  <a:lnTo>
                    <a:pt x="107" y="23"/>
                  </a:lnTo>
                  <a:lnTo>
                    <a:pt x="113" y="24"/>
                  </a:lnTo>
                  <a:lnTo>
                    <a:pt x="116" y="26"/>
                  </a:lnTo>
                  <a:lnTo>
                    <a:pt x="118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208" name="Freeform 1208"/>
            <p:cNvSpPr>
              <a:spLocks/>
            </p:cNvSpPr>
            <p:nvPr/>
          </p:nvSpPr>
          <p:spPr bwMode="auto">
            <a:xfrm>
              <a:off x="1407" y="1727"/>
              <a:ext cx="163" cy="61"/>
            </a:xfrm>
            <a:custGeom>
              <a:avLst/>
              <a:gdLst>
                <a:gd name="T0" fmla="*/ 123 w 163"/>
                <a:gd name="T1" fmla="*/ 31 h 61"/>
                <a:gd name="T2" fmla="*/ 129 w 163"/>
                <a:gd name="T3" fmla="*/ 34 h 61"/>
                <a:gd name="T4" fmla="*/ 135 w 163"/>
                <a:gd name="T5" fmla="*/ 37 h 61"/>
                <a:gd name="T6" fmla="*/ 141 w 163"/>
                <a:gd name="T7" fmla="*/ 37 h 61"/>
                <a:gd name="T8" fmla="*/ 141 w 163"/>
                <a:gd name="T9" fmla="*/ 42 h 61"/>
                <a:gd name="T10" fmla="*/ 143 w 163"/>
                <a:gd name="T11" fmla="*/ 44 h 61"/>
                <a:gd name="T12" fmla="*/ 155 w 163"/>
                <a:gd name="T13" fmla="*/ 46 h 61"/>
                <a:gd name="T14" fmla="*/ 162 w 163"/>
                <a:gd name="T15" fmla="*/ 51 h 61"/>
                <a:gd name="T16" fmla="*/ 152 w 163"/>
                <a:gd name="T17" fmla="*/ 57 h 61"/>
                <a:gd name="T18" fmla="*/ 141 w 163"/>
                <a:gd name="T19" fmla="*/ 60 h 61"/>
                <a:gd name="T20" fmla="*/ 122 w 163"/>
                <a:gd name="T21" fmla="*/ 59 h 61"/>
                <a:gd name="T22" fmla="*/ 108 w 163"/>
                <a:gd name="T23" fmla="*/ 61 h 61"/>
                <a:gd name="T24" fmla="*/ 108 w 163"/>
                <a:gd name="T25" fmla="*/ 57 h 61"/>
                <a:gd name="T26" fmla="*/ 118 w 163"/>
                <a:gd name="T27" fmla="*/ 51 h 61"/>
                <a:gd name="T28" fmla="*/ 117 w 163"/>
                <a:gd name="T29" fmla="*/ 47 h 61"/>
                <a:gd name="T30" fmla="*/ 102 w 163"/>
                <a:gd name="T31" fmla="*/ 43 h 61"/>
                <a:gd name="T32" fmla="*/ 97 w 163"/>
                <a:gd name="T33" fmla="*/ 35 h 61"/>
                <a:gd name="T34" fmla="*/ 90 w 163"/>
                <a:gd name="T35" fmla="*/ 30 h 61"/>
                <a:gd name="T36" fmla="*/ 82 w 163"/>
                <a:gd name="T37" fmla="*/ 29 h 61"/>
                <a:gd name="T38" fmla="*/ 70 w 163"/>
                <a:gd name="T39" fmla="*/ 22 h 61"/>
                <a:gd name="T40" fmla="*/ 58 w 163"/>
                <a:gd name="T41" fmla="*/ 20 h 61"/>
                <a:gd name="T42" fmla="*/ 54 w 163"/>
                <a:gd name="T43" fmla="*/ 21 h 61"/>
                <a:gd name="T44" fmla="*/ 47 w 163"/>
                <a:gd name="T45" fmla="*/ 19 h 61"/>
                <a:gd name="T46" fmla="*/ 44 w 163"/>
                <a:gd name="T47" fmla="*/ 15 h 61"/>
                <a:gd name="T48" fmla="*/ 50 w 163"/>
                <a:gd name="T49" fmla="*/ 12 h 61"/>
                <a:gd name="T50" fmla="*/ 47 w 163"/>
                <a:gd name="T51" fmla="*/ 10 h 61"/>
                <a:gd name="T52" fmla="*/ 31 w 163"/>
                <a:gd name="T53" fmla="*/ 11 h 61"/>
                <a:gd name="T54" fmla="*/ 23 w 163"/>
                <a:gd name="T55" fmla="*/ 18 h 61"/>
                <a:gd name="T56" fmla="*/ 13 w 163"/>
                <a:gd name="T57" fmla="*/ 22 h 61"/>
                <a:gd name="T58" fmla="*/ 5 w 163"/>
                <a:gd name="T59" fmla="*/ 25 h 61"/>
                <a:gd name="T60" fmla="*/ 4 w 163"/>
                <a:gd name="T61" fmla="*/ 24 h 61"/>
                <a:gd name="T62" fmla="*/ 3 w 163"/>
                <a:gd name="T63" fmla="*/ 21 h 61"/>
                <a:gd name="T64" fmla="*/ 7 w 163"/>
                <a:gd name="T65" fmla="*/ 20 h 61"/>
                <a:gd name="T66" fmla="*/ 13 w 163"/>
                <a:gd name="T67" fmla="*/ 10 h 61"/>
                <a:gd name="T68" fmla="*/ 24 w 163"/>
                <a:gd name="T69" fmla="*/ 4 h 61"/>
                <a:gd name="T70" fmla="*/ 53 w 163"/>
                <a:gd name="T71" fmla="*/ 0 h 61"/>
                <a:gd name="T72" fmla="*/ 67 w 163"/>
                <a:gd name="T73" fmla="*/ 1 h 61"/>
                <a:gd name="T74" fmla="*/ 76 w 163"/>
                <a:gd name="T75" fmla="*/ 3 h 61"/>
                <a:gd name="T76" fmla="*/ 83 w 163"/>
                <a:gd name="T77" fmla="*/ 10 h 61"/>
                <a:gd name="T78" fmla="*/ 94 w 163"/>
                <a:gd name="T79" fmla="*/ 13 h 61"/>
                <a:gd name="T80" fmla="*/ 100 w 163"/>
                <a:gd name="T81" fmla="*/ 15 h 61"/>
                <a:gd name="T82" fmla="*/ 100 w 163"/>
                <a:gd name="T83" fmla="*/ 18 h 61"/>
                <a:gd name="T84" fmla="*/ 107 w 163"/>
                <a:gd name="T85" fmla="*/ 23 h 61"/>
                <a:gd name="T86" fmla="*/ 118 w 163"/>
                <a:gd name="T87" fmla="*/ 2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63" h="61">
                  <a:moveTo>
                    <a:pt x="118" y="27"/>
                  </a:moveTo>
                  <a:lnTo>
                    <a:pt x="118" y="27"/>
                  </a:lnTo>
                  <a:lnTo>
                    <a:pt x="123" y="31"/>
                  </a:lnTo>
                  <a:lnTo>
                    <a:pt x="126" y="33"/>
                  </a:lnTo>
                  <a:lnTo>
                    <a:pt x="128" y="34"/>
                  </a:lnTo>
                  <a:lnTo>
                    <a:pt x="129" y="34"/>
                  </a:lnTo>
                  <a:lnTo>
                    <a:pt x="131" y="35"/>
                  </a:lnTo>
                  <a:lnTo>
                    <a:pt x="132" y="35"/>
                  </a:lnTo>
                  <a:lnTo>
                    <a:pt x="135" y="37"/>
                  </a:lnTo>
                  <a:lnTo>
                    <a:pt x="137" y="37"/>
                  </a:lnTo>
                  <a:lnTo>
                    <a:pt x="139" y="36"/>
                  </a:lnTo>
                  <a:lnTo>
                    <a:pt x="141" y="37"/>
                  </a:lnTo>
                  <a:lnTo>
                    <a:pt x="142" y="39"/>
                  </a:lnTo>
                  <a:lnTo>
                    <a:pt x="142" y="40"/>
                  </a:lnTo>
                  <a:lnTo>
                    <a:pt x="141" y="42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3" y="44"/>
                  </a:lnTo>
                  <a:lnTo>
                    <a:pt x="152" y="44"/>
                  </a:lnTo>
                  <a:lnTo>
                    <a:pt x="153" y="44"/>
                  </a:lnTo>
                  <a:lnTo>
                    <a:pt x="155" y="46"/>
                  </a:lnTo>
                  <a:lnTo>
                    <a:pt x="155" y="47"/>
                  </a:lnTo>
                  <a:lnTo>
                    <a:pt x="159" y="51"/>
                  </a:lnTo>
                  <a:lnTo>
                    <a:pt x="162" y="51"/>
                  </a:lnTo>
                  <a:lnTo>
                    <a:pt x="163" y="52"/>
                  </a:lnTo>
                  <a:lnTo>
                    <a:pt x="163" y="54"/>
                  </a:lnTo>
                  <a:lnTo>
                    <a:pt x="152" y="57"/>
                  </a:lnTo>
                  <a:lnTo>
                    <a:pt x="148" y="60"/>
                  </a:lnTo>
                  <a:lnTo>
                    <a:pt x="145" y="60"/>
                  </a:lnTo>
                  <a:lnTo>
                    <a:pt x="141" y="60"/>
                  </a:lnTo>
                  <a:lnTo>
                    <a:pt x="137" y="59"/>
                  </a:lnTo>
                  <a:lnTo>
                    <a:pt x="135" y="59"/>
                  </a:lnTo>
                  <a:lnTo>
                    <a:pt x="122" y="59"/>
                  </a:lnTo>
                  <a:lnTo>
                    <a:pt x="115" y="60"/>
                  </a:lnTo>
                  <a:lnTo>
                    <a:pt x="111" y="61"/>
                  </a:lnTo>
                  <a:lnTo>
                    <a:pt x="108" y="61"/>
                  </a:lnTo>
                  <a:lnTo>
                    <a:pt x="107" y="60"/>
                  </a:lnTo>
                  <a:lnTo>
                    <a:pt x="106" y="59"/>
                  </a:lnTo>
                  <a:lnTo>
                    <a:pt x="108" y="57"/>
                  </a:lnTo>
                  <a:lnTo>
                    <a:pt x="111" y="55"/>
                  </a:lnTo>
                  <a:lnTo>
                    <a:pt x="114" y="53"/>
                  </a:lnTo>
                  <a:lnTo>
                    <a:pt x="118" y="51"/>
                  </a:lnTo>
                  <a:lnTo>
                    <a:pt x="120" y="50"/>
                  </a:lnTo>
                  <a:lnTo>
                    <a:pt x="118" y="49"/>
                  </a:lnTo>
                  <a:lnTo>
                    <a:pt x="117" y="47"/>
                  </a:lnTo>
                  <a:lnTo>
                    <a:pt x="113" y="45"/>
                  </a:lnTo>
                  <a:lnTo>
                    <a:pt x="104" y="45"/>
                  </a:lnTo>
                  <a:lnTo>
                    <a:pt x="102" y="43"/>
                  </a:lnTo>
                  <a:lnTo>
                    <a:pt x="100" y="41"/>
                  </a:lnTo>
                  <a:lnTo>
                    <a:pt x="98" y="39"/>
                  </a:lnTo>
                  <a:lnTo>
                    <a:pt x="97" y="35"/>
                  </a:lnTo>
                  <a:lnTo>
                    <a:pt x="97" y="32"/>
                  </a:lnTo>
                  <a:lnTo>
                    <a:pt x="95" y="30"/>
                  </a:lnTo>
                  <a:lnTo>
                    <a:pt x="90" y="30"/>
                  </a:lnTo>
                  <a:lnTo>
                    <a:pt x="85" y="30"/>
                  </a:lnTo>
                  <a:lnTo>
                    <a:pt x="84" y="30"/>
                  </a:lnTo>
                  <a:lnTo>
                    <a:pt x="82" y="29"/>
                  </a:lnTo>
                  <a:lnTo>
                    <a:pt x="77" y="27"/>
                  </a:lnTo>
                  <a:lnTo>
                    <a:pt x="73" y="25"/>
                  </a:lnTo>
                  <a:lnTo>
                    <a:pt x="70" y="22"/>
                  </a:lnTo>
                  <a:lnTo>
                    <a:pt x="67" y="21"/>
                  </a:lnTo>
                  <a:lnTo>
                    <a:pt x="61" y="21"/>
                  </a:lnTo>
                  <a:lnTo>
                    <a:pt x="58" y="20"/>
                  </a:lnTo>
                  <a:lnTo>
                    <a:pt x="57" y="20"/>
                  </a:lnTo>
                  <a:lnTo>
                    <a:pt x="56" y="20"/>
                  </a:lnTo>
                  <a:lnTo>
                    <a:pt x="54" y="21"/>
                  </a:lnTo>
                  <a:lnTo>
                    <a:pt x="52" y="20"/>
                  </a:lnTo>
                  <a:lnTo>
                    <a:pt x="52" y="19"/>
                  </a:lnTo>
                  <a:lnTo>
                    <a:pt x="47" y="19"/>
                  </a:lnTo>
                  <a:lnTo>
                    <a:pt x="45" y="18"/>
                  </a:lnTo>
                  <a:lnTo>
                    <a:pt x="44" y="18"/>
                  </a:lnTo>
                  <a:lnTo>
                    <a:pt x="44" y="15"/>
                  </a:lnTo>
                  <a:lnTo>
                    <a:pt x="44" y="14"/>
                  </a:lnTo>
                  <a:lnTo>
                    <a:pt x="50" y="13"/>
                  </a:lnTo>
                  <a:lnTo>
                    <a:pt x="50" y="12"/>
                  </a:lnTo>
                  <a:lnTo>
                    <a:pt x="50" y="11"/>
                  </a:lnTo>
                  <a:lnTo>
                    <a:pt x="48" y="11"/>
                  </a:lnTo>
                  <a:lnTo>
                    <a:pt x="47" y="10"/>
                  </a:lnTo>
                  <a:lnTo>
                    <a:pt x="37" y="9"/>
                  </a:lnTo>
                  <a:lnTo>
                    <a:pt x="34" y="9"/>
                  </a:lnTo>
                  <a:lnTo>
                    <a:pt x="31" y="11"/>
                  </a:lnTo>
                  <a:lnTo>
                    <a:pt x="29" y="13"/>
                  </a:lnTo>
                  <a:lnTo>
                    <a:pt x="26" y="16"/>
                  </a:lnTo>
                  <a:lnTo>
                    <a:pt x="23" y="18"/>
                  </a:lnTo>
                  <a:lnTo>
                    <a:pt x="19" y="18"/>
                  </a:lnTo>
                  <a:lnTo>
                    <a:pt x="16" y="19"/>
                  </a:lnTo>
                  <a:lnTo>
                    <a:pt x="13" y="22"/>
                  </a:lnTo>
                  <a:lnTo>
                    <a:pt x="11" y="22"/>
                  </a:lnTo>
                  <a:lnTo>
                    <a:pt x="10" y="22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3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7" y="20"/>
                  </a:lnTo>
                  <a:lnTo>
                    <a:pt x="7" y="13"/>
                  </a:lnTo>
                  <a:lnTo>
                    <a:pt x="9" y="12"/>
                  </a:lnTo>
                  <a:lnTo>
                    <a:pt x="13" y="10"/>
                  </a:lnTo>
                  <a:lnTo>
                    <a:pt x="19" y="6"/>
                  </a:lnTo>
                  <a:lnTo>
                    <a:pt x="20" y="6"/>
                  </a:lnTo>
                  <a:lnTo>
                    <a:pt x="24" y="4"/>
                  </a:lnTo>
                  <a:lnTo>
                    <a:pt x="36" y="1"/>
                  </a:lnTo>
                  <a:lnTo>
                    <a:pt x="40" y="0"/>
                  </a:lnTo>
                  <a:lnTo>
                    <a:pt x="53" y="0"/>
                  </a:lnTo>
                  <a:lnTo>
                    <a:pt x="57" y="1"/>
                  </a:lnTo>
                  <a:lnTo>
                    <a:pt x="63" y="1"/>
                  </a:lnTo>
                  <a:lnTo>
                    <a:pt x="67" y="1"/>
                  </a:lnTo>
                  <a:lnTo>
                    <a:pt x="68" y="3"/>
                  </a:lnTo>
                  <a:lnTo>
                    <a:pt x="70" y="3"/>
                  </a:lnTo>
                  <a:lnTo>
                    <a:pt x="76" y="3"/>
                  </a:lnTo>
                  <a:lnTo>
                    <a:pt x="77" y="4"/>
                  </a:lnTo>
                  <a:lnTo>
                    <a:pt x="82" y="8"/>
                  </a:lnTo>
                  <a:lnTo>
                    <a:pt x="83" y="10"/>
                  </a:lnTo>
                  <a:lnTo>
                    <a:pt x="85" y="13"/>
                  </a:lnTo>
                  <a:lnTo>
                    <a:pt x="88" y="13"/>
                  </a:lnTo>
                  <a:lnTo>
                    <a:pt x="94" y="13"/>
                  </a:lnTo>
                  <a:lnTo>
                    <a:pt x="96" y="14"/>
                  </a:lnTo>
                  <a:lnTo>
                    <a:pt x="98" y="14"/>
                  </a:lnTo>
                  <a:lnTo>
                    <a:pt x="100" y="15"/>
                  </a:lnTo>
                  <a:lnTo>
                    <a:pt x="98" y="15"/>
                  </a:lnTo>
                  <a:lnTo>
                    <a:pt x="98" y="16"/>
                  </a:lnTo>
                  <a:lnTo>
                    <a:pt x="100" y="18"/>
                  </a:lnTo>
                  <a:lnTo>
                    <a:pt x="103" y="18"/>
                  </a:lnTo>
                  <a:lnTo>
                    <a:pt x="105" y="19"/>
                  </a:lnTo>
                  <a:lnTo>
                    <a:pt x="107" y="23"/>
                  </a:lnTo>
                  <a:lnTo>
                    <a:pt x="113" y="24"/>
                  </a:lnTo>
                  <a:lnTo>
                    <a:pt x="116" y="26"/>
                  </a:lnTo>
                  <a:lnTo>
                    <a:pt x="118" y="27"/>
                  </a:lnTo>
                </a:path>
              </a:pathLst>
            </a:custGeom>
            <a:grpFill/>
            <a:ln w="1" cap="flat">
              <a:solidFill>
                <a:srgbClr val="FFFFFF"/>
              </a:solidFill>
              <a:prstDash val="solid"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  <p:sp>
          <p:nvSpPr>
            <p:cNvPr id="1209" name="Freeform 1209"/>
            <p:cNvSpPr>
              <a:spLocks/>
            </p:cNvSpPr>
            <p:nvPr/>
          </p:nvSpPr>
          <p:spPr bwMode="auto">
            <a:xfrm>
              <a:off x="1432" y="1750"/>
              <a:ext cx="8" cy="9"/>
            </a:xfrm>
            <a:custGeom>
              <a:avLst/>
              <a:gdLst>
                <a:gd name="T0" fmla="*/ 7 w 8"/>
                <a:gd name="T1" fmla="*/ 0 h 9"/>
                <a:gd name="T2" fmla="*/ 7 w 8"/>
                <a:gd name="T3" fmla="*/ 2 h 9"/>
                <a:gd name="T4" fmla="*/ 8 w 8"/>
                <a:gd name="T5" fmla="*/ 3 h 9"/>
                <a:gd name="T6" fmla="*/ 8 w 8"/>
                <a:gd name="T7" fmla="*/ 7 h 9"/>
                <a:gd name="T8" fmla="*/ 4 w 8"/>
                <a:gd name="T9" fmla="*/ 9 h 9"/>
                <a:gd name="T10" fmla="*/ 1 w 8"/>
                <a:gd name="T11" fmla="*/ 9 h 9"/>
                <a:gd name="T12" fmla="*/ 0 w 8"/>
                <a:gd name="T13" fmla="*/ 8 h 9"/>
                <a:gd name="T14" fmla="*/ 0 w 8"/>
                <a:gd name="T15" fmla="*/ 7 h 9"/>
                <a:gd name="T16" fmla="*/ 0 w 8"/>
                <a:gd name="T17" fmla="*/ 6 h 9"/>
                <a:gd name="T18" fmla="*/ 2 w 8"/>
                <a:gd name="T19" fmla="*/ 7 h 9"/>
                <a:gd name="T20" fmla="*/ 4 w 8"/>
                <a:gd name="T21" fmla="*/ 4 h 9"/>
                <a:gd name="T22" fmla="*/ 2 w 8"/>
                <a:gd name="T23" fmla="*/ 3 h 9"/>
                <a:gd name="T24" fmla="*/ 2 w 8"/>
                <a:gd name="T25" fmla="*/ 2 h 9"/>
                <a:gd name="T26" fmla="*/ 4 w 8"/>
                <a:gd name="T27" fmla="*/ 0 h 9"/>
                <a:gd name="T28" fmla="*/ 5 w 8"/>
                <a:gd name="T29" fmla="*/ 0 h 9"/>
                <a:gd name="T30" fmla="*/ 6 w 8"/>
                <a:gd name="T31" fmla="*/ 0 h 9"/>
                <a:gd name="T32" fmla="*/ 7 w 8"/>
                <a:gd name="T33" fmla="*/ 1 h 9"/>
                <a:gd name="T34" fmla="*/ 7 w 8"/>
                <a:gd name="T3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" h="9">
                  <a:moveTo>
                    <a:pt x="7" y="0"/>
                  </a:moveTo>
                  <a:lnTo>
                    <a:pt x="7" y="2"/>
                  </a:lnTo>
                  <a:lnTo>
                    <a:pt x="8" y="3"/>
                  </a:lnTo>
                  <a:lnTo>
                    <a:pt x="8" y="7"/>
                  </a:lnTo>
                  <a:lnTo>
                    <a:pt x="4" y="9"/>
                  </a:lnTo>
                  <a:lnTo>
                    <a:pt x="1" y="9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2" y="7"/>
                  </a:lnTo>
                  <a:lnTo>
                    <a:pt x="4" y="4"/>
                  </a:lnTo>
                  <a:lnTo>
                    <a:pt x="2" y="3"/>
                  </a:lnTo>
                  <a:lnTo>
                    <a:pt x="2" y="2"/>
                  </a:lnTo>
                  <a:lnTo>
                    <a:pt x="4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7" y="1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 sz="1000">
                <a:solidFill>
                  <a:srgbClr val="000000"/>
                </a:solidFill>
              </a:endParaRPr>
            </a:p>
          </p:txBody>
        </p:sp>
      </p:grpSp>
      <p:sp>
        <p:nvSpPr>
          <p:cNvPr id="1211" name="Freeform 1211"/>
          <p:cNvSpPr>
            <a:spLocks/>
          </p:cNvSpPr>
          <p:nvPr/>
        </p:nvSpPr>
        <p:spPr bwMode="auto">
          <a:xfrm>
            <a:off x="2273300" y="2946365"/>
            <a:ext cx="12700" cy="14288"/>
          </a:xfrm>
          <a:custGeom>
            <a:avLst/>
            <a:gdLst>
              <a:gd name="T0" fmla="*/ 7 w 8"/>
              <a:gd name="T1" fmla="*/ 0 h 9"/>
              <a:gd name="T2" fmla="*/ 7 w 8"/>
              <a:gd name="T3" fmla="*/ 2 h 9"/>
              <a:gd name="T4" fmla="*/ 8 w 8"/>
              <a:gd name="T5" fmla="*/ 3 h 9"/>
              <a:gd name="T6" fmla="*/ 8 w 8"/>
              <a:gd name="T7" fmla="*/ 7 h 9"/>
              <a:gd name="T8" fmla="*/ 4 w 8"/>
              <a:gd name="T9" fmla="*/ 9 h 9"/>
              <a:gd name="T10" fmla="*/ 1 w 8"/>
              <a:gd name="T11" fmla="*/ 9 h 9"/>
              <a:gd name="T12" fmla="*/ 0 w 8"/>
              <a:gd name="T13" fmla="*/ 8 h 9"/>
              <a:gd name="T14" fmla="*/ 0 w 8"/>
              <a:gd name="T15" fmla="*/ 7 h 9"/>
              <a:gd name="T16" fmla="*/ 0 w 8"/>
              <a:gd name="T17" fmla="*/ 6 h 9"/>
              <a:gd name="T18" fmla="*/ 2 w 8"/>
              <a:gd name="T19" fmla="*/ 7 h 9"/>
              <a:gd name="T20" fmla="*/ 4 w 8"/>
              <a:gd name="T21" fmla="*/ 4 h 9"/>
              <a:gd name="T22" fmla="*/ 2 w 8"/>
              <a:gd name="T23" fmla="*/ 3 h 9"/>
              <a:gd name="T24" fmla="*/ 2 w 8"/>
              <a:gd name="T25" fmla="*/ 2 h 9"/>
              <a:gd name="T26" fmla="*/ 4 w 8"/>
              <a:gd name="T27" fmla="*/ 0 h 9"/>
              <a:gd name="T28" fmla="*/ 5 w 8"/>
              <a:gd name="T29" fmla="*/ 0 h 9"/>
              <a:gd name="T30" fmla="*/ 6 w 8"/>
              <a:gd name="T31" fmla="*/ 0 h 9"/>
              <a:gd name="T32" fmla="*/ 7 w 8"/>
              <a:gd name="T33" fmla="*/ 1 h 9"/>
              <a:gd name="T34" fmla="*/ 7 w 8"/>
              <a:gd name="T35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8" h="9">
                <a:moveTo>
                  <a:pt x="7" y="0"/>
                </a:moveTo>
                <a:lnTo>
                  <a:pt x="7" y="2"/>
                </a:lnTo>
                <a:lnTo>
                  <a:pt x="8" y="3"/>
                </a:lnTo>
                <a:lnTo>
                  <a:pt x="8" y="7"/>
                </a:lnTo>
                <a:lnTo>
                  <a:pt x="4" y="9"/>
                </a:lnTo>
                <a:lnTo>
                  <a:pt x="1" y="9"/>
                </a:lnTo>
                <a:lnTo>
                  <a:pt x="0" y="8"/>
                </a:lnTo>
                <a:lnTo>
                  <a:pt x="0" y="7"/>
                </a:lnTo>
                <a:lnTo>
                  <a:pt x="0" y="6"/>
                </a:lnTo>
                <a:lnTo>
                  <a:pt x="2" y="7"/>
                </a:lnTo>
                <a:lnTo>
                  <a:pt x="4" y="4"/>
                </a:lnTo>
                <a:lnTo>
                  <a:pt x="2" y="3"/>
                </a:lnTo>
                <a:lnTo>
                  <a:pt x="2" y="2"/>
                </a:lnTo>
                <a:lnTo>
                  <a:pt x="4" y="0"/>
                </a:lnTo>
                <a:lnTo>
                  <a:pt x="5" y="0"/>
                </a:lnTo>
                <a:lnTo>
                  <a:pt x="6" y="0"/>
                </a:lnTo>
                <a:lnTo>
                  <a:pt x="7" y="1"/>
                </a:lnTo>
                <a:lnTo>
                  <a:pt x="7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12" name="Freeform 1212"/>
          <p:cNvSpPr>
            <a:spLocks/>
          </p:cNvSpPr>
          <p:nvPr/>
        </p:nvSpPr>
        <p:spPr bwMode="auto">
          <a:xfrm>
            <a:off x="2389187" y="2927315"/>
            <a:ext cx="23812" cy="17463"/>
          </a:xfrm>
          <a:custGeom>
            <a:avLst/>
            <a:gdLst>
              <a:gd name="T0" fmla="*/ 10 w 15"/>
              <a:gd name="T1" fmla="*/ 4 h 11"/>
              <a:gd name="T2" fmla="*/ 14 w 15"/>
              <a:gd name="T3" fmla="*/ 7 h 11"/>
              <a:gd name="T4" fmla="*/ 15 w 15"/>
              <a:gd name="T5" fmla="*/ 9 h 11"/>
              <a:gd name="T6" fmla="*/ 15 w 15"/>
              <a:gd name="T7" fmla="*/ 11 h 11"/>
              <a:gd name="T8" fmla="*/ 13 w 15"/>
              <a:gd name="T9" fmla="*/ 11 h 11"/>
              <a:gd name="T10" fmla="*/ 9 w 15"/>
              <a:gd name="T11" fmla="*/ 9 h 11"/>
              <a:gd name="T12" fmla="*/ 8 w 15"/>
              <a:gd name="T13" fmla="*/ 5 h 11"/>
              <a:gd name="T14" fmla="*/ 6 w 15"/>
              <a:gd name="T15" fmla="*/ 4 h 11"/>
              <a:gd name="T16" fmla="*/ 3 w 15"/>
              <a:gd name="T17" fmla="*/ 3 h 11"/>
              <a:gd name="T18" fmla="*/ 2 w 15"/>
              <a:gd name="T19" fmla="*/ 3 h 11"/>
              <a:gd name="T20" fmla="*/ 0 w 15"/>
              <a:gd name="T21" fmla="*/ 2 h 11"/>
              <a:gd name="T22" fmla="*/ 0 w 15"/>
              <a:gd name="T23" fmla="*/ 1 h 11"/>
              <a:gd name="T24" fmla="*/ 0 w 15"/>
              <a:gd name="T25" fmla="*/ 0 h 11"/>
              <a:gd name="T26" fmla="*/ 4 w 15"/>
              <a:gd name="T27" fmla="*/ 1 h 11"/>
              <a:gd name="T28" fmla="*/ 10 w 15"/>
              <a:gd name="T29" fmla="*/ 4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" h="11">
                <a:moveTo>
                  <a:pt x="10" y="4"/>
                </a:moveTo>
                <a:lnTo>
                  <a:pt x="14" y="7"/>
                </a:lnTo>
                <a:lnTo>
                  <a:pt x="15" y="9"/>
                </a:lnTo>
                <a:lnTo>
                  <a:pt x="15" y="11"/>
                </a:lnTo>
                <a:lnTo>
                  <a:pt x="13" y="11"/>
                </a:lnTo>
                <a:lnTo>
                  <a:pt x="9" y="9"/>
                </a:lnTo>
                <a:lnTo>
                  <a:pt x="8" y="5"/>
                </a:lnTo>
                <a:lnTo>
                  <a:pt x="6" y="4"/>
                </a:lnTo>
                <a:lnTo>
                  <a:pt x="3" y="3"/>
                </a:lnTo>
                <a:lnTo>
                  <a:pt x="2" y="3"/>
                </a:lnTo>
                <a:lnTo>
                  <a:pt x="0" y="2"/>
                </a:lnTo>
                <a:lnTo>
                  <a:pt x="0" y="1"/>
                </a:lnTo>
                <a:lnTo>
                  <a:pt x="0" y="0"/>
                </a:lnTo>
                <a:lnTo>
                  <a:pt x="4" y="1"/>
                </a:lnTo>
                <a:lnTo>
                  <a:pt x="10" y="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13" name="Freeform 1213"/>
          <p:cNvSpPr>
            <a:spLocks/>
          </p:cNvSpPr>
          <p:nvPr/>
        </p:nvSpPr>
        <p:spPr bwMode="auto">
          <a:xfrm>
            <a:off x="2389187" y="2927315"/>
            <a:ext cx="23812" cy="17463"/>
          </a:xfrm>
          <a:custGeom>
            <a:avLst/>
            <a:gdLst>
              <a:gd name="T0" fmla="*/ 10 w 15"/>
              <a:gd name="T1" fmla="*/ 4 h 11"/>
              <a:gd name="T2" fmla="*/ 14 w 15"/>
              <a:gd name="T3" fmla="*/ 7 h 11"/>
              <a:gd name="T4" fmla="*/ 15 w 15"/>
              <a:gd name="T5" fmla="*/ 9 h 11"/>
              <a:gd name="T6" fmla="*/ 15 w 15"/>
              <a:gd name="T7" fmla="*/ 11 h 11"/>
              <a:gd name="T8" fmla="*/ 13 w 15"/>
              <a:gd name="T9" fmla="*/ 11 h 11"/>
              <a:gd name="T10" fmla="*/ 9 w 15"/>
              <a:gd name="T11" fmla="*/ 9 h 11"/>
              <a:gd name="T12" fmla="*/ 8 w 15"/>
              <a:gd name="T13" fmla="*/ 5 h 11"/>
              <a:gd name="T14" fmla="*/ 6 w 15"/>
              <a:gd name="T15" fmla="*/ 4 h 11"/>
              <a:gd name="T16" fmla="*/ 3 w 15"/>
              <a:gd name="T17" fmla="*/ 3 h 11"/>
              <a:gd name="T18" fmla="*/ 2 w 15"/>
              <a:gd name="T19" fmla="*/ 3 h 11"/>
              <a:gd name="T20" fmla="*/ 0 w 15"/>
              <a:gd name="T21" fmla="*/ 2 h 11"/>
              <a:gd name="T22" fmla="*/ 0 w 15"/>
              <a:gd name="T23" fmla="*/ 1 h 11"/>
              <a:gd name="T24" fmla="*/ 0 w 15"/>
              <a:gd name="T25" fmla="*/ 0 h 11"/>
              <a:gd name="T26" fmla="*/ 4 w 15"/>
              <a:gd name="T27" fmla="*/ 1 h 11"/>
              <a:gd name="T28" fmla="*/ 10 w 15"/>
              <a:gd name="T29" fmla="*/ 4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5" h="11">
                <a:moveTo>
                  <a:pt x="10" y="4"/>
                </a:moveTo>
                <a:lnTo>
                  <a:pt x="14" y="7"/>
                </a:lnTo>
                <a:lnTo>
                  <a:pt x="15" y="9"/>
                </a:lnTo>
                <a:lnTo>
                  <a:pt x="15" y="11"/>
                </a:lnTo>
                <a:lnTo>
                  <a:pt x="13" y="11"/>
                </a:lnTo>
                <a:lnTo>
                  <a:pt x="9" y="9"/>
                </a:lnTo>
                <a:lnTo>
                  <a:pt x="8" y="5"/>
                </a:lnTo>
                <a:lnTo>
                  <a:pt x="6" y="4"/>
                </a:lnTo>
                <a:lnTo>
                  <a:pt x="3" y="3"/>
                </a:lnTo>
                <a:lnTo>
                  <a:pt x="2" y="3"/>
                </a:lnTo>
                <a:lnTo>
                  <a:pt x="0" y="2"/>
                </a:lnTo>
                <a:lnTo>
                  <a:pt x="0" y="1"/>
                </a:lnTo>
                <a:lnTo>
                  <a:pt x="0" y="0"/>
                </a:lnTo>
                <a:lnTo>
                  <a:pt x="4" y="1"/>
                </a:lnTo>
                <a:lnTo>
                  <a:pt x="10" y="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14" name="Freeform 1214"/>
          <p:cNvSpPr>
            <a:spLocks/>
          </p:cNvSpPr>
          <p:nvPr/>
        </p:nvSpPr>
        <p:spPr bwMode="auto">
          <a:xfrm>
            <a:off x="2974975" y="5145053"/>
            <a:ext cx="17462" cy="6350"/>
          </a:xfrm>
          <a:custGeom>
            <a:avLst/>
            <a:gdLst>
              <a:gd name="T0" fmla="*/ 2 w 11"/>
              <a:gd name="T1" fmla="*/ 1 h 4"/>
              <a:gd name="T2" fmla="*/ 4 w 11"/>
              <a:gd name="T3" fmla="*/ 1 h 4"/>
              <a:gd name="T4" fmla="*/ 8 w 11"/>
              <a:gd name="T5" fmla="*/ 1 h 4"/>
              <a:gd name="T6" fmla="*/ 11 w 11"/>
              <a:gd name="T7" fmla="*/ 0 h 4"/>
              <a:gd name="T8" fmla="*/ 11 w 11"/>
              <a:gd name="T9" fmla="*/ 0 h 4"/>
              <a:gd name="T10" fmla="*/ 11 w 11"/>
              <a:gd name="T11" fmla="*/ 1 h 4"/>
              <a:gd name="T12" fmla="*/ 11 w 11"/>
              <a:gd name="T13" fmla="*/ 2 h 4"/>
              <a:gd name="T14" fmla="*/ 8 w 11"/>
              <a:gd name="T15" fmla="*/ 1 h 4"/>
              <a:gd name="T16" fmla="*/ 6 w 11"/>
              <a:gd name="T17" fmla="*/ 2 h 4"/>
              <a:gd name="T18" fmla="*/ 6 w 11"/>
              <a:gd name="T19" fmla="*/ 2 h 4"/>
              <a:gd name="T20" fmla="*/ 4 w 11"/>
              <a:gd name="T21" fmla="*/ 2 h 4"/>
              <a:gd name="T22" fmla="*/ 2 w 11"/>
              <a:gd name="T23" fmla="*/ 4 h 4"/>
              <a:gd name="T24" fmla="*/ 0 w 11"/>
              <a:gd name="T25" fmla="*/ 4 h 4"/>
              <a:gd name="T26" fmla="*/ 0 w 11"/>
              <a:gd name="T27" fmla="*/ 1 h 4"/>
              <a:gd name="T28" fmla="*/ 0 w 11"/>
              <a:gd name="T29" fmla="*/ 1 h 4"/>
              <a:gd name="T30" fmla="*/ 2 w 11"/>
              <a:gd name="T31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" h="4">
                <a:moveTo>
                  <a:pt x="2" y="1"/>
                </a:moveTo>
                <a:lnTo>
                  <a:pt x="4" y="1"/>
                </a:lnTo>
                <a:lnTo>
                  <a:pt x="8" y="1"/>
                </a:lnTo>
                <a:lnTo>
                  <a:pt x="11" y="0"/>
                </a:lnTo>
                <a:lnTo>
                  <a:pt x="11" y="0"/>
                </a:lnTo>
                <a:lnTo>
                  <a:pt x="11" y="1"/>
                </a:lnTo>
                <a:lnTo>
                  <a:pt x="11" y="2"/>
                </a:lnTo>
                <a:lnTo>
                  <a:pt x="8" y="1"/>
                </a:lnTo>
                <a:lnTo>
                  <a:pt x="6" y="2"/>
                </a:lnTo>
                <a:lnTo>
                  <a:pt x="6" y="2"/>
                </a:lnTo>
                <a:lnTo>
                  <a:pt x="4" y="2"/>
                </a:lnTo>
                <a:lnTo>
                  <a:pt x="2" y="4"/>
                </a:lnTo>
                <a:lnTo>
                  <a:pt x="0" y="4"/>
                </a:lnTo>
                <a:lnTo>
                  <a:pt x="0" y="1"/>
                </a:lnTo>
                <a:lnTo>
                  <a:pt x="0" y="1"/>
                </a:lnTo>
                <a:lnTo>
                  <a:pt x="2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15" name="Freeform 1215"/>
          <p:cNvSpPr>
            <a:spLocks/>
          </p:cNvSpPr>
          <p:nvPr/>
        </p:nvSpPr>
        <p:spPr bwMode="auto">
          <a:xfrm>
            <a:off x="2974975" y="5145053"/>
            <a:ext cx="17462" cy="6350"/>
          </a:xfrm>
          <a:custGeom>
            <a:avLst/>
            <a:gdLst>
              <a:gd name="T0" fmla="*/ 2 w 11"/>
              <a:gd name="T1" fmla="*/ 1 h 4"/>
              <a:gd name="T2" fmla="*/ 4 w 11"/>
              <a:gd name="T3" fmla="*/ 1 h 4"/>
              <a:gd name="T4" fmla="*/ 8 w 11"/>
              <a:gd name="T5" fmla="*/ 1 h 4"/>
              <a:gd name="T6" fmla="*/ 11 w 11"/>
              <a:gd name="T7" fmla="*/ 0 h 4"/>
              <a:gd name="T8" fmla="*/ 11 w 11"/>
              <a:gd name="T9" fmla="*/ 0 h 4"/>
              <a:gd name="T10" fmla="*/ 11 w 11"/>
              <a:gd name="T11" fmla="*/ 1 h 4"/>
              <a:gd name="T12" fmla="*/ 11 w 11"/>
              <a:gd name="T13" fmla="*/ 2 h 4"/>
              <a:gd name="T14" fmla="*/ 8 w 11"/>
              <a:gd name="T15" fmla="*/ 1 h 4"/>
              <a:gd name="T16" fmla="*/ 6 w 11"/>
              <a:gd name="T17" fmla="*/ 2 h 4"/>
              <a:gd name="T18" fmla="*/ 6 w 11"/>
              <a:gd name="T19" fmla="*/ 2 h 4"/>
              <a:gd name="T20" fmla="*/ 4 w 11"/>
              <a:gd name="T21" fmla="*/ 2 h 4"/>
              <a:gd name="T22" fmla="*/ 2 w 11"/>
              <a:gd name="T23" fmla="*/ 4 h 4"/>
              <a:gd name="T24" fmla="*/ 0 w 11"/>
              <a:gd name="T25" fmla="*/ 4 h 4"/>
              <a:gd name="T26" fmla="*/ 0 w 11"/>
              <a:gd name="T27" fmla="*/ 1 h 4"/>
              <a:gd name="T28" fmla="*/ 0 w 11"/>
              <a:gd name="T29" fmla="*/ 1 h 4"/>
              <a:gd name="T30" fmla="*/ 2 w 11"/>
              <a:gd name="T31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1" h="4">
                <a:moveTo>
                  <a:pt x="2" y="1"/>
                </a:moveTo>
                <a:lnTo>
                  <a:pt x="4" y="1"/>
                </a:lnTo>
                <a:lnTo>
                  <a:pt x="8" y="1"/>
                </a:lnTo>
                <a:lnTo>
                  <a:pt x="11" y="0"/>
                </a:lnTo>
                <a:lnTo>
                  <a:pt x="11" y="0"/>
                </a:lnTo>
                <a:lnTo>
                  <a:pt x="11" y="1"/>
                </a:lnTo>
                <a:lnTo>
                  <a:pt x="11" y="2"/>
                </a:lnTo>
                <a:lnTo>
                  <a:pt x="8" y="1"/>
                </a:lnTo>
                <a:lnTo>
                  <a:pt x="6" y="2"/>
                </a:lnTo>
                <a:lnTo>
                  <a:pt x="6" y="2"/>
                </a:lnTo>
                <a:lnTo>
                  <a:pt x="4" y="2"/>
                </a:lnTo>
                <a:lnTo>
                  <a:pt x="2" y="4"/>
                </a:lnTo>
                <a:lnTo>
                  <a:pt x="0" y="4"/>
                </a:lnTo>
                <a:lnTo>
                  <a:pt x="0" y="1"/>
                </a:lnTo>
                <a:lnTo>
                  <a:pt x="0" y="1"/>
                </a:lnTo>
                <a:lnTo>
                  <a:pt x="2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16" name="Freeform 1216"/>
          <p:cNvSpPr>
            <a:spLocks/>
          </p:cNvSpPr>
          <p:nvPr/>
        </p:nvSpPr>
        <p:spPr bwMode="auto">
          <a:xfrm>
            <a:off x="5399087" y="3090828"/>
            <a:ext cx="4762" cy="4763"/>
          </a:xfrm>
          <a:custGeom>
            <a:avLst/>
            <a:gdLst>
              <a:gd name="T0" fmla="*/ 2 w 3"/>
              <a:gd name="T1" fmla="*/ 3 h 3"/>
              <a:gd name="T2" fmla="*/ 3 w 3"/>
              <a:gd name="T3" fmla="*/ 3 h 3"/>
              <a:gd name="T4" fmla="*/ 3 w 3"/>
              <a:gd name="T5" fmla="*/ 3 h 3"/>
              <a:gd name="T6" fmla="*/ 2 w 3"/>
              <a:gd name="T7" fmla="*/ 2 h 3"/>
              <a:gd name="T8" fmla="*/ 1 w 3"/>
              <a:gd name="T9" fmla="*/ 1 h 3"/>
              <a:gd name="T10" fmla="*/ 0 w 3"/>
              <a:gd name="T11" fmla="*/ 0 h 3"/>
              <a:gd name="T12" fmla="*/ 0 w 3"/>
              <a:gd name="T13" fmla="*/ 1 h 3"/>
              <a:gd name="T14" fmla="*/ 2 w 3"/>
              <a:gd name="T15" fmla="*/ 3 h 3"/>
              <a:gd name="T16" fmla="*/ 2 w 3"/>
              <a:gd name="T17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3">
                <a:moveTo>
                  <a:pt x="2" y="3"/>
                </a:moveTo>
                <a:lnTo>
                  <a:pt x="3" y="3"/>
                </a:lnTo>
                <a:lnTo>
                  <a:pt x="3" y="3"/>
                </a:lnTo>
                <a:lnTo>
                  <a:pt x="2" y="2"/>
                </a:lnTo>
                <a:lnTo>
                  <a:pt x="1" y="1"/>
                </a:lnTo>
                <a:lnTo>
                  <a:pt x="0" y="0"/>
                </a:lnTo>
                <a:lnTo>
                  <a:pt x="0" y="1"/>
                </a:lnTo>
                <a:lnTo>
                  <a:pt x="2" y="3"/>
                </a:lnTo>
                <a:lnTo>
                  <a:pt x="2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17" name="Freeform 1217"/>
          <p:cNvSpPr>
            <a:spLocks/>
          </p:cNvSpPr>
          <p:nvPr/>
        </p:nvSpPr>
        <p:spPr bwMode="auto">
          <a:xfrm>
            <a:off x="5399087" y="3090828"/>
            <a:ext cx="4762" cy="4763"/>
          </a:xfrm>
          <a:custGeom>
            <a:avLst/>
            <a:gdLst>
              <a:gd name="T0" fmla="*/ 2 w 3"/>
              <a:gd name="T1" fmla="*/ 3 h 3"/>
              <a:gd name="T2" fmla="*/ 3 w 3"/>
              <a:gd name="T3" fmla="*/ 3 h 3"/>
              <a:gd name="T4" fmla="*/ 3 w 3"/>
              <a:gd name="T5" fmla="*/ 3 h 3"/>
              <a:gd name="T6" fmla="*/ 2 w 3"/>
              <a:gd name="T7" fmla="*/ 2 h 3"/>
              <a:gd name="T8" fmla="*/ 1 w 3"/>
              <a:gd name="T9" fmla="*/ 1 h 3"/>
              <a:gd name="T10" fmla="*/ 0 w 3"/>
              <a:gd name="T11" fmla="*/ 0 h 3"/>
              <a:gd name="T12" fmla="*/ 0 w 3"/>
              <a:gd name="T13" fmla="*/ 1 h 3"/>
              <a:gd name="T14" fmla="*/ 2 w 3"/>
              <a:gd name="T15" fmla="*/ 3 h 3"/>
              <a:gd name="T16" fmla="*/ 2 w 3"/>
              <a:gd name="T17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3">
                <a:moveTo>
                  <a:pt x="2" y="3"/>
                </a:moveTo>
                <a:lnTo>
                  <a:pt x="3" y="3"/>
                </a:lnTo>
                <a:lnTo>
                  <a:pt x="3" y="3"/>
                </a:lnTo>
                <a:lnTo>
                  <a:pt x="2" y="2"/>
                </a:lnTo>
                <a:lnTo>
                  <a:pt x="1" y="1"/>
                </a:lnTo>
                <a:lnTo>
                  <a:pt x="0" y="0"/>
                </a:lnTo>
                <a:lnTo>
                  <a:pt x="0" y="1"/>
                </a:lnTo>
                <a:lnTo>
                  <a:pt x="2" y="3"/>
                </a:lnTo>
                <a:lnTo>
                  <a:pt x="2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18" name="Freeform 1218"/>
          <p:cNvSpPr>
            <a:spLocks/>
          </p:cNvSpPr>
          <p:nvPr/>
        </p:nvSpPr>
        <p:spPr bwMode="auto">
          <a:xfrm>
            <a:off x="5400675" y="3089240"/>
            <a:ext cx="3175" cy="4763"/>
          </a:xfrm>
          <a:custGeom>
            <a:avLst/>
            <a:gdLst>
              <a:gd name="T0" fmla="*/ 0 w 2"/>
              <a:gd name="T1" fmla="*/ 0 h 3"/>
              <a:gd name="T2" fmla="*/ 0 w 2"/>
              <a:gd name="T3" fmla="*/ 1 h 3"/>
              <a:gd name="T4" fmla="*/ 0 w 2"/>
              <a:gd name="T5" fmla="*/ 1 h 3"/>
              <a:gd name="T6" fmla="*/ 1 w 2"/>
              <a:gd name="T7" fmla="*/ 2 h 3"/>
              <a:gd name="T8" fmla="*/ 1 w 2"/>
              <a:gd name="T9" fmla="*/ 3 h 3"/>
              <a:gd name="T10" fmla="*/ 1 w 2"/>
              <a:gd name="T11" fmla="*/ 3 h 3"/>
              <a:gd name="T12" fmla="*/ 2 w 2"/>
              <a:gd name="T13" fmla="*/ 3 h 3"/>
              <a:gd name="T14" fmla="*/ 2 w 2"/>
              <a:gd name="T15" fmla="*/ 2 h 3"/>
              <a:gd name="T16" fmla="*/ 1 w 2"/>
              <a:gd name="T17" fmla="*/ 2 h 3"/>
              <a:gd name="T18" fmla="*/ 1 w 2"/>
              <a:gd name="T19" fmla="*/ 1 h 3"/>
              <a:gd name="T20" fmla="*/ 0 w 2"/>
              <a:gd name="T21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" h="3">
                <a:moveTo>
                  <a:pt x="0" y="0"/>
                </a:moveTo>
                <a:lnTo>
                  <a:pt x="0" y="1"/>
                </a:lnTo>
                <a:lnTo>
                  <a:pt x="0" y="1"/>
                </a:lnTo>
                <a:lnTo>
                  <a:pt x="1" y="2"/>
                </a:lnTo>
                <a:lnTo>
                  <a:pt x="1" y="3"/>
                </a:lnTo>
                <a:lnTo>
                  <a:pt x="1" y="3"/>
                </a:lnTo>
                <a:lnTo>
                  <a:pt x="2" y="3"/>
                </a:lnTo>
                <a:lnTo>
                  <a:pt x="2" y="2"/>
                </a:lnTo>
                <a:lnTo>
                  <a:pt x="1" y="2"/>
                </a:lnTo>
                <a:lnTo>
                  <a:pt x="1" y="1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19" name="Freeform 1219"/>
          <p:cNvSpPr>
            <a:spLocks/>
          </p:cNvSpPr>
          <p:nvPr/>
        </p:nvSpPr>
        <p:spPr bwMode="auto">
          <a:xfrm>
            <a:off x="5400675" y="3089240"/>
            <a:ext cx="3175" cy="4763"/>
          </a:xfrm>
          <a:custGeom>
            <a:avLst/>
            <a:gdLst>
              <a:gd name="T0" fmla="*/ 0 w 2"/>
              <a:gd name="T1" fmla="*/ 0 h 3"/>
              <a:gd name="T2" fmla="*/ 0 w 2"/>
              <a:gd name="T3" fmla="*/ 1 h 3"/>
              <a:gd name="T4" fmla="*/ 0 w 2"/>
              <a:gd name="T5" fmla="*/ 1 h 3"/>
              <a:gd name="T6" fmla="*/ 1 w 2"/>
              <a:gd name="T7" fmla="*/ 2 h 3"/>
              <a:gd name="T8" fmla="*/ 1 w 2"/>
              <a:gd name="T9" fmla="*/ 3 h 3"/>
              <a:gd name="T10" fmla="*/ 1 w 2"/>
              <a:gd name="T11" fmla="*/ 3 h 3"/>
              <a:gd name="T12" fmla="*/ 2 w 2"/>
              <a:gd name="T13" fmla="*/ 3 h 3"/>
              <a:gd name="T14" fmla="*/ 2 w 2"/>
              <a:gd name="T15" fmla="*/ 2 h 3"/>
              <a:gd name="T16" fmla="*/ 1 w 2"/>
              <a:gd name="T17" fmla="*/ 2 h 3"/>
              <a:gd name="T18" fmla="*/ 1 w 2"/>
              <a:gd name="T19" fmla="*/ 1 h 3"/>
              <a:gd name="T20" fmla="*/ 0 w 2"/>
              <a:gd name="T21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" h="3">
                <a:moveTo>
                  <a:pt x="0" y="0"/>
                </a:moveTo>
                <a:lnTo>
                  <a:pt x="0" y="1"/>
                </a:lnTo>
                <a:lnTo>
                  <a:pt x="0" y="1"/>
                </a:lnTo>
                <a:lnTo>
                  <a:pt x="1" y="2"/>
                </a:lnTo>
                <a:lnTo>
                  <a:pt x="1" y="3"/>
                </a:lnTo>
                <a:lnTo>
                  <a:pt x="1" y="3"/>
                </a:lnTo>
                <a:lnTo>
                  <a:pt x="2" y="3"/>
                </a:lnTo>
                <a:lnTo>
                  <a:pt x="2" y="2"/>
                </a:lnTo>
                <a:lnTo>
                  <a:pt x="1" y="2"/>
                </a:lnTo>
                <a:lnTo>
                  <a:pt x="1" y="1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20" name="Freeform 1220"/>
          <p:cNvSpPr>
            <a:spLocks/>
          </p:cNvSpPr>
          <p:nvPr/>
        </p:nvSpPr>
        <p:spPr bwMode="auto">
          <a:xfrm>
            <a:off x="5403850" y="3094003"/>
            <a:ext cx="3175" cy="4763"/>
          </a:xfrm>
          <a:custGeom>
            <a:avLst/>
            <a:gdLst>
              <a:gd name="T0" fmla="*/ 2 w 2"/>
              <a:gd name="T1" fmla="*/ 3 h 3"/>
              <a:gd name="T2" fmla="*/ 2 w 2"/>
              <a:gd name="T3" fmla="*/ 3 h 3"/>
              <a:gd name="T4" fmla="*/ 2 w 2"/>
              <a:gd name="T5" fmla="*/ 0 h 3"/>
              <a:gd name="T6" fmla="*/ 1 w 2"/>
              <a:gd name="T7" fmla="*/ 0 h 3"/>
              <a:gd name="T8" fmla="*/ 1 w 2"/>
              <a:gd name="T9" fmla="*/ 0 h 3"/>
              <a:gd name="T10" fmla="*/ 0 w 2"/>
              <a:gd name="T11" fmla="*/ 1 h 3"/>
              <a:gd name="T12" fmla="*/ 1 w 2"/>
              <a:gd name="T13" fmla="*/ 1 h 3"/>
              <a:gd name="T14" fmla="*/ 1 w 2"/>
              <a:gd name="T15" fmla="*/ 3 h 3"/>
              <a:gd name="T16" fmla="*/ 2 w 2"/>
              <a:gd name="T17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" h="3">
                <a:moveTo>
                  <a:pt x="2" y="3"/>
                </a:moveTo>
                <a:lnTo>
                  <a:pt x="2" y="3"/>
                </a:lnTo>
                <a:lnTo>
                  <a:pt x="2" y="0"/>
                </a:lnTo>
                <a:lnTo>
                  <a:pt x="1" y="0"/>
                </a:lnTo>
                <a:lnTo>
                  <a:pt x="1" y="0"/>
                </a:lnTo>
                <a:lnTo>
                  <a:pt x="0" y="1"/>
                </a:lnTo>
                <a:lnTo>
                  <a:pt x="1" y="1"/>
                </a:lnTo>
                <a:lnTo>
                  <a:pt x="1" y="3"/>
                </a:lnTo>
                <a:lnTo>
                  <a:pt x="2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21" name="Freeform 1221"/>
          <p:cNvSpPr>
            <a:spLocks/>
          </p:cNvSpPr>
          <p:nvPr/>
        </p:nvSpPr>
        <p:spPr bwMode="auto">
          <a:xfrm>
            <a:off x="5403850" y="3094003"/>
            <a:ext cx="3175" cy="4763"/>
          </a:xfrm>
          <a:custGeom>
            <a:avLst/>
            <a:gdLst>
              <a:gd name="T0" fmla="*/ 2 w 2"/>
              <a:gd name="T1" fmla="*/ 3 h 3"/>
              <a:gd name="T2" fmla="*/ 2 w 2"/>
              <a:gd name="T3" fmla="*/ 3 h 3"/>
              <a:gd name="T4" fmla="*/ 2 w 2"/>
              <a:gd name="T5" fmla="*/ 0 h 3"/>
              <a:gd name="T6" fmla="*/ 1 w 2"/>
              <a:gd name="T7" fmla="*/ 0 h 3"/>
              <a:gd name="T8" fmla="*/ 1 w 2"/>
              <a:gd name="T9" fmla="*/ 0 h 3"/>
              <a:gd name="T10" fmla="*/ 0 w 2"/>
              <a:gd name="T11" fmla="*/ 1 h 3"/>
              <a:gd name="T12" fmla="*/ 1 w 2"/>
              <a:gd name="T13" fmla="*/ 1 h 3"/>
              <a:gd name="T14" fmla="*/ 1 w 2"/>
              <a:gd name="T15" fmla="*/ 3 h 3"/>
              <a:gd name="T16" fmla="*/ 2 w 2"/>
              <a:gd name="T17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" h="3">
                <a:moveTo>
                  <a:pt x="2" y="3"/>
                </a:moveTo>
                <a:lnTo>
                  <a:pt x="2" y="3"/>
                </a:lnTo>
                <a:lnTo>
                  <a:pt x="2" y="0"/>
                </a:lnTo>
                <a:lnTo>
                  <a:pt x="1" y="0"/>
                </a:lnTo>
                <a:lnTo>
                  <a:pt x="1" y="0"/>
                </a:lnTo>
                <a:lnTo>
                  <a:pt x="0" y="1"/>
                </a:lnTo>
                <a:lnTo>
                  <a:pt x="1" y="1"/>
                </a:lnTo>
                <a:lnTo>
                  <a:pt x="1" y="3"/>
                </a:lnTo>
                <a:lnTo>
                  <a:pt x="2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22" name="Freeform 1222"/>
          <p:cNvSpPr>
            <a:spLocks/>
          </p:cNvSpPr>
          <p:nvPr/>
        </p:nvSpPr>
        <p:spPr bwMode="auto">
          <a:xfrm>
            <a:off x="6605587" y="2922553"/>
            <a:ext cx="6350" cy="12700"/>
          </a:xfrm>
          <a:custGeom>
            <a:avLst/>
            <a:gdLst>
              <a:gd name="T0" fmla="*/ 0 w 4"/>
              <a:gd name="T1" fmla="*/ 1 h 8"/>
              <a:gd name="T2" fmla="*/ 1 w 4"/>
              <a:gd name="T3" fmla="*/ 7 h 8"/>
              <a:gd name="T4" fmla="*/ 3 w 4"/>
              <a:gd name="T5" fmla="*/ 8 h 8"/>
              <a:gd name="T6" fmla="*/ 4 w 4"/>
              <a:gd name="T7" fmla="*/ 6 h 8"/>
              <a:gd name="T8" fmla="*/ 4 w 4"/>
              <a:gd name="T9" fmla="*/ 3 h 8"/>
              <a:gd name="T10" fmla="*/ 2 w 4"/>
              <a:gd name="T11" fmla="*/ 1 h 8"/>
              <a:gd name="T12" fmla="*/ 1 w 4"/>
              <a:gd name="T13" fmla="*/ 0 h 8"/>
              <a:gd name="T14" fmla="*/ 0 w 4"/>
              <a:gd name="T15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8">
                <a:moveTo>
                  <a:pt x="0" y="1"/>
                </a:moveTo>
                <a:lnTo>
                  <a:pt x="1" y="7"/>
                </a:lnTo>
                <a:lnTo>
                  <a:pt x="3" y="8"/>
                </a:lnTo>
                <a:lnTo>
                  <a:pt x="4" y="6"/>
                </a:lnTo>
                <a:lnTo>
                  <a:pt x="4" y="3"/>
                </a:lnTo>
                <a:lnTo>
                  <a:pt x="2" y="1"/>
                </a:lnTo>
                <a:lnTo>
                  <a:pt x="1" y="0"/>
                </a:lnTo>
                <a:lnTo>
                  <a:pt x="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23" name="Freeform 1223"/>
          <p:cNvSpPr>
            <a:spLocks/>
          </p:cNvSpPr>
          <p:nvPr/>
        </p:nvSpPr>
        <p:spPr bwMode="auto">
          <a:xfrm>
            <a:off x="6605587" y="2922553"/>
            <a:ext cx="6350" cy="12700"/>
          </a:xfrm>
          <a:custGeom>
            <a:avLst/>
            <a:gdLst>
              <a:gd name="T0" fmla="*/ 0 w 4"/>
              <a:gd name="T1" fmla="*/ 1 h 8"/>
              <a:gd name="T2" fmla="*/ 1 w 4"/>
              <a:gd name="T3" fmla="*/ 7 h 8"/>
              <a:gd name="T4" fmla="*/ 3 w 4"/>
              <a:gd name="T5" fmla="*/ 8 h 8"/>
              <a:gd name="T6" fmla="*/ 4 w 4"/>
              <a:gd name="T7" fmla="*/ 6 h 8"/>
              <a:gd name="T8" fmla="*/ 4 w 4"/>
              <a:gd name="T9" fmla="*/ 3 h 8"/>
              <a:gd name="T10" fmla="*/ 2 w 4"/>
              <a:gd name="T11" fmla="*/ 1 h 8"/>
              <a:gd name="T12" fmla="*/ 1 w 4"/>
              <a:gd name="T13" fmla="*/ 0 h 8"/>
              <a:gd name="T14" fmla="*/ 0 w 4"/>
              <a:gd name="T15" fmla="*/ 1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8">
                <a:moveTo>
                  <a:pt x="0" y="1"/>
                </a:moveTo>
                <a:lnTo>
                  <a:pt x="1" y="7"/>
                </a:lnTo>
                <a:lnTo>
                  <a:pt x="3" y="8"/>
                </a:lnTo>
                <a:lnTo>
                  <a:pt x="4" y="6"/>
                </a:lnTo>
                <a:lnTo>
                  <a:pt x="4" y="3"/>
                </a:lnTo>
                <a:lnTo>
                  <a:pt x="2" y="1"/>
                </a:lnTo>
                <a:lnTo>
                  <a:pt x="1" y="0"/>
                </a:lnTo>
                <a:lnTo>
                  <a:pt x="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24" name="Freeform 1224"/>
          <p:cNvSpPr>
            <a:spLocks/>
          </p:cNvSpPr>
          <p:nvPr/>
        </p:nvSpPr>
        <p:spPr bwMode="auto">
          <a:xfrm>
            <a:off x="8447087" y="4162390"/>
            <a:ext cx="58737" cy="65088"/>
          </a:xfrm>
          <a:custGeom>
            <a:avLst/>
            <a:gdLst>
              <a:gd name="T0" fmla="*/ 12 w 37"/>
              <a:gd name="T1" fmla="*/ 21 h 41"/>
              <a:gd name="T2" fmla="*/ 7 w 37"/>
              <a:gd name="T3" fmla="*/ 18 h 41"/>
              <a:gd name="T4" fmla="*/ 5 w 37"/>
              <a:gd name="T5" fmla="*/ 12 h 41"/>
              <a:gd name="T6" fmla="*/ 4 w 37"/>
              <a:gd name="T7" fmla="*/ 11 h 41"/>
              <a:gd name="T8" fmla="*/ 2 w 37"/>
              <a:gd name="T9" fmla="*/ 8 h 41"/>
              <a:gd name="T10" fmla="*/ 0 w 37"/>
              <a:gd name="T11" fmla="*/ 4 h 41"/>
              <a:gd name="T12" fmla="*/ 1 w 37"/>
              <a:gd name="T13" fmla="*/ 2 h 41"/>
              <a:gd name="T14" fmla="*/ 0 w 37"/>
              <a:gd name="T15" fmla="*/ 0 h 41"/>
              <a:gd name="T16" fmla="*/ 2 w 37"/>
              <a:gd name="T17" fmla="*/ 0 h 41"/>
              <a:gd name="T18" fmla="*/ 5 w 37"/>
              <a:gd name="T19" fmla="*/ 1 h 41"/>
              <a:gd name="T20" fmla="*/ 6 w 37"/>
              <a:gd name="T21" fmla="*/ 1 h 41"/>
              <a:gd name="T22" fmla="*/ 9 w 37"/>
              <a:gd name="T23" fmla="*/ 3 h 41"/>
              <a:gd name="T24" fmla="*/ 10 w 37"/>
              <a:gd name="T25" fmla="*/ 4 h 41"/>
              <a:gd name="T26" fmla="*/ 10 w 37"/>
              <a:gd name="T27" fmla="*/ 7 h 41"/>
              <a:gd name="T28" fmla="*/ 11 w 37"/>
              <a:gd name="T29" fmla="*/ 8 h 41"/>
              <a:gd name="T30" fmla="*/ 14 w 37"/>
              <a:gd name="T31" fmla="*/ 8 h 41"/>
              <a:gd name="T32" fmla="*/ 15 w 37"/>
              <a:gd name="T33" fmla="*/ 9 h 41"/>
              <a:gd name="T34" fmla="*/ 17 w 37"/>
              <a:gd name="T35" fmla="*/ 13 h 41"/>
              <a:gd name="T36" fmla="*/ 18 w 37"/>
              <a:gd name="T37" fmla="*/ 13 h 41"/>
              <a:gd name="T38" fmla="*/ 18 w 37"/>
              <a:gd name="T39" fmla="*/ 18 h 41"/>
              <a:gd name="T40" fmla="*/ 18 w 37"/>
              <a:gd name="T41" fmla="*/ 18 h 41"/>
              <a:gd name="T42" fmla="*/ 19 w 37"/>
              <a:gd name="T43" fmla="*/ 19 h 41"/>
              <a:gd name="T44" fmla="*/ 20 w 37"/>
              <a:gd name="T45" fmla="*/ 20 h 41"/>
              <a:gd name="T46" fmla="*/ 21 w 37"/>
              <a:gd name="T47" fmla="*/ 22 h 41"/>
              <a:gd name="T48" fmla="*/ 22 w 37"/>
              <a:gd name="T49" fmla="*/ 22 h 41"/>
              <a:gd name="T50" fmla="*/ 24 w 37"/>
              <a:gd name="T51" fmla="*/ 24 h 41"/>
              <a:gd name="T52" fmla="*/ 26 w 37"/>
              <a:gd name="T53" fmla="*/ 24 h 41"/>
              <a:gd name="T54" fmla="*/ 29 w 37"/>
              <a:gd name="T55" fmla="*/ 27 h 41"/>
              <a:gd name="T56" fmla="*/ 32 w 37"/>
              <a:gd name="T57" fmla="*/ 31 h 41"/>
              <a:gd name="T58" fmla="*/ 32 w 37"/>
              <a:gd name="T59" fmla="*/ 33 h 41"/>
              <a:gd name="T60" fmla="*/ 35 w 37"/>
              <a:gd name="T61" fmla="*/ 33 h 41"/>
              <a:gd name="T62" fmla="*/ 37 w 37"/>
              <a:gd name="T63" fmla="*/ 34 h 41"/>
              <a:gd name="T64" fmla="*/ 37 w 37"/>
              <a:gd name="T65" fmla="*/ 38 h 41"/>
              <a:gd name="T66" fmla="*/ 36 w 37"/>
              <a:gd name="T67" fmla="*/ 39 h 41"/>
              <a:gd name="T68" fmla="*/ 35 w 37"/>
              <a:gd name="T69" fmla="*/ 39 h 41"/>
              <a:gd name="T70" fmla="*/ 34 w 37"/>
              <a:gd name="T71" fmla="*/ 41 h 41"/>
              <a:gd name="T72" fmla="*/ 32 w 37"/>
              <a:gd name="T73" fmla="*/ 40 h 41"/>
              <a:gd name="T74" fmla="*/ 32 w 37"/>
              <a:gd name="T75" fmla="*/ 39 h 41"/>
              <a:gd name="T76" fmla="*/ 31 w 37"/>
              <a:gd name="T77" fmla="*/ 38 h 41"/>
              <a:gd name="T78" fmla="*/ 30 w 37"/>
              <a:gd name="T79" fmla="*/ 37 h 41"/>
              <a:gd name="T80" fmla="*/ 28 w 37"/>
              <a:gd name="T81" fmla="*/ 37 h 41"/>
              <a:gd name="T82" fmla="*/ 27 w 37"/>
              <a:gd name="T83" fmla="*/ 35 h 41"/>
              <a:gd name="T84" fmla="*/ 25 w 37"/>
              <a:gd name="T85" fmla="*/ 35 h 41"/>
              <a:gd name="T86" fmla="*/ 25 w 37"/>
              <a:gd name="T87" fmla="*/ 34 h 41"/>
              <a:gd name="T88" fmla="*/ 25 w 37"/>
              <a:gd name="T89" fmla="*/ 32 h 41"/>
              <a:gd name="T90" fmla="*/ 24 w 37"/>
              <a:gd name="T91" fmla="*/ 32 h 41"/>
              <a:gd name="T92" fmla="*/ 22 w 37"/>
              <a:gd name="T93" fmla="*/ 31 h 41"/>
              <a:gd name="T94" fmla="*/ 21 w 37"/>
              <a:gd name="T95" fmla="*/ 31 h 41"/>
              <a:gd name="T96" fmla="*/ 20 w 37"/>
              <a:gd name="T97" fmla="*/ 30 h 41"/>
              <a:gd name="T98" fmla="*/ 19 w 37"/>
              <a:gd name="T99" fmla="*/ 30 h 41"/>
              <a:gd name="T100" fmla="*/ 19 w 37"/>
              <a:gd name="T101" fmla="*/ 29 h 41"/>
              <a:gd name="T102" fmla="*/ 17 w 37"/>
              <a:gd name="T103" fmla="*/ 29 h 41"/>
              <a:gd name="T104" fmla="*/ 16 w 37"/>
              <a:gd name="T105" fmla="*/ 27 h 41"/>
              <a:gd name="T106" fmla="*/ 15 w 37"/>
              <a:gd name="T107" fmla="*/ 27 h 41"/>
              <a:gd name="T108" fmla="*/ 12 w 37"/>
              <a:gd name="T109" fmla="*/ 25 h 41"/>
              <a:gd name="T110" fmla="*/ 14 w 37"/>
              <a:gd name="T111" fmla="*/ 23 h 41"/>
              <a:gd name="T112" fmla="*/ 12 w 37"/>
              <a:gd name="T113" fmla="*/ 2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7" h="41">
                <a:moveTo>
                  <a:pt x="12" y="21"/>
                </a:moveTo>
                <a:lnTo>
                  <a:pt x="7" y="18"/>
                </a:lnTo>
                <a:lnTo>
                  <a:pt x="5" y="12"/>
                </a:lnTo>
                <a:lnTo>
                  <a:pt x="4" y="11"/>
                </a:lnTo>
                <a:lnTo>
                  <a:pt x="2" y="8"/>
                </a:lnTo>
                <a:lnTo>
                  <a:pt x="0" y="4"/>
                </a:lnTo>
                <a:lnTo>
                  <a:pt x="1" y="2"/>
                </a:lnTo>
                <a:lnTo>
                  <a:pt x="0" y="0"/>
                </a:lnTo>
                <a:lnTo>
                  <a:pt x="2" y="0"/>
                </a:lnTo>
                <a:lnTo>
                  <a:pt x="5" y="1"/>
                </a:lnTo>
                <a:lnTo>
                  <a:pt x="6" y="1"/>
                </a:lnTo>
                <a:lnTo>
                  <a:pt x="9" y="3"/>
                </a:lnTo>
                <a:lnTo>
                  <a:pt x="10" y="4"/>
                </a:lnTo>
                <a:lnTo>
                  <a:pt x="10" y="7"/>
                </a:lnTo>
                <a:lnTo>
                  <a:pt x="11" y="8"/>
                </a:lnTo>
                <a:lnTo>
                  <a:pt x="14" y="8"/>
                </a:lnTo>
                <a:lnTo>
                  <a:pt x="15" y="9"/>
                </a:lnTo>
                <a:lnTo>
                  <a:pt x="17" y="13"/>
                </a:lnTo>
                <a:lnTo>
                  <a:pt x="18" y="13"/>
                </a:lnTo>
                <a:lnTo>
                  <a:pt x="18" y="18"/>
                </a:lnTo>
                <a:lnTo>
                  <a:pt x="18" y="18"/>
                </a:lnTo>
                <a:lnTo>
                  <a:pt x="19" y="19"/>
                </a:lnTo>
                <a:lnTo>
                  <a:pt x="20" y="20"/>
                </a:lnTo>
                <a:lnTo>
                  <a:pt x="21" y="22"/>
                </a:lnTo>
                <a:lnTo>
                  <a:pt x="22" y="22"/>
                </a:lnTo>
                <a:lnTo>
                  <a:pt x="24" y="24"/>
                </a:lnTo>
                <a:lnTo>
                  <a:pt x="26" y="24"/>
                </a:lnTo>
                <a:lnTo>
                  <a:pt x="29" y="27"/>
                </a:lnTo>
                <a:lnTo>
                  <a:pt x="32" y="31"/>
                </a:lnTo>
                <a:lnTo>
                  <a:pt x="32" y="33"/>
                </a:lnTo>
                <a:lnTo>
                  <a:pt x="35" y="33"/>
                </a:lnTo>
                <a:lnTo>
                  <a:pt x="37" y="34"/>
                </a:lnTo>
                <a:lnTo>
                  <a:pt x="37" y="38"/>
                </a:lnTo>
                <a:lnTo>
                  <a:pt x="36" y="39"/>
                </a:lnTo>
                <a:lnTo>
                  <a:pt x="35" y="39"/>
                </a:lnTo>
                <a:lnTo>
                  <a:pt x="34" y="41"/>
                </a:lnTo>
                <a:lnTo>
                  <a:pt x="32" y="40"/>
                </a:lnTo>
                <a:lnTo>
                  <a:pt x="32" y="39"/>
                </a:lnTo>
                <a:lnTo>
                  <a:pt x="31" y="38"/>
                </a:lnTo>
                <a:lnTo>
                  <a:pt x="30" y="37"/>
                </a:lnTo>
                <a:lnTo>
                  <a:pt x="28" y="37"/>
                </a:lnTo>
                <a:lnTo>
                  <a:pt x="27" y="35"/>
                </a:lnTo>
                <a:lnTo>
                  <a:pt x="25" y="35"/>
                </a:lnTo>
                <a:lnTo>
                  <a:pt x="25" y="34"/>
                </a:lnTo>
                <a:lnTo>
                  <a:pt x="25" y="32"/>
                </a:lnTo>
                <a:lnTo>
                  <a:pt x="24" y="32"/>
                </a:lnTo>
                <a:lnTo>
                  <a:pt x="22" y="31"/>
                </a:lnTo>
                <a:lnTo>
                  <a:pt x="21" y="31"/>
                </a:lnTo>
                <a:lnTo>
                  <a:pt x="20" y="30"/>
                </a:lnTo>
                <a:lnTo>
                  <a:pt x="19" y="30"/>
                </a:lnTo>
                <a:lnTo>
                  <a:pt x="19" y="29"/>
                </a:lnTo>
                <a:lnTo>
                  <a:pt x="17" y="29"/>
                </a:lnTo>
                <a:lnTo>
                  <a:pt x="16" y="27"/>
                </a:lnTo>
                <a:lnTo>
                  <a:pt x="15" y="27"/>
                </a:lnTo>
                <a:lnTo>
                  <a:pt x="12" y="25"/>
                </a:lnTo>
                <a:lnTo>
                  <a:pt x="14" y="23"/>
                </a:lnTo>
                <a:lnTo>
                  <a:pt x="12" y="2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25" name="Freeform 1225"/>
          <p:cNvSpPr>
            <a:spLocks/>
          </p:cNvSpPr>
          <p:nvPr/>
        </p:nvSpPr>
        <p:spPr bwMode="auto">
          <a:xfrm>
            <a:off x="8447087" y="4162390"/>
            <a:ext cx="58737" cy="65088"/>
          </a:xfrm>
          <a:custGeom>
            <a:avLst/>
            <a:gdLst>
              <a:gd name="T0" fmla="*/ 12 w 37"/>
              <a:gd name="T1" fmla="*/ 21 h 41"/>
              <a:gd name="T2" fmla="*/ 7 w 37"/>
              <a:gd name="T3" fmla="*/ 18 h 41"/>
              <a:gd name="T4" fmla="*/ 5 w 37"/>
              <a:gd name="T5" fmla="*/ 12 h 41"/>
              <a:gd name="T6" fmla="*/ 4 w 37"/>
              <a:gd name="T7" fmla="*/ 11 h 41"/>
              <a:gd name="T8" fmla="*/ 2 w 37"/>
              <a:gd name="T9" fmla="*/ 8 h 41"/>
              <a:gd name="T10" fmla="*/ 0 w 37"/>
              <a:gd name="T11" fmla="*/ 4 h 41"/>
              <a:gd name="T12" fmla="*/ 1 w 37"/>
              <a:gd name="T13" fmla="*/ 2 h 41"/>
              <a:gd name="T14" fmla="*/ 0 w 37"/>
              <a:gd name="T15" fmla="*/ 0 h 41"/>
              <a:gd name="T16" fmla="*/ 2 w 37"/>
              <a:gd name="T17" fmla="*/ 0 h 41"/>
              <a:gd name="T18" fmla="*/ 5 w 37"/>
              <a:gd name="T19" fmla="*/ 1 h 41"/>
              <a:gd name="T20" fmla="*/ 6 w 37"/>
              <a:gd name="T21" fmla="*/ 1 h 41"/>
              <a:gd name="T22" fmla="*/ 9 w 37"/>
              <a:gd name="T23" fmla="*/ 3 h 41"/>
              <a:gd name="T24" fmla="*/ 10 w 37"/>
              <a:gd name="T25" fmla="*/ 4 h 41"/>
              <a:gd name="T26" fmla="*/ 10 w 37"/>
              <a:gd name="T27" fmla="*/ 7 h 41"/>
              <a:gd name="T28" fmla="*/ 11 w 37"/>
              <a:gd name="T29" fmla="*/ 8 h 41"/>
              <a:gd name="T30" fmla="*/ 14 w 37"/>
              <a:gd name="T31" fmla="*/ 8 h 41"/>
              <a:gd name="T32" fmla="*/ 15 w 37"/>
              <a:gd name="T33" fmla="*/ 9 h 41"/>
              <a:gd name="T34" fmla="*/ 17 w 37"/>
              <a:gd name="T35" fmla="*/ 13 h 41"/>
              <a:gd name="T36" fmla="*/ 18 w 37"/>
              <a:gd name="T37" fmla="*/ 13 h 41"/>
              <a:gd name="T38" fmla="*/ 18 w 37"/>
              <a:gd name="T39" fmla="*/ 18 h 41"/>
              <a:gd name="T40" fmla="*/ 18 w 37"/>
              <a:gd name="T41" fmla="*/ 18 h 41"/>
              <a:gd name="T42" fmla="*/ 19 w 37"/>
              <a:gd name="T43" fmla="*/ 19 h 41"/>
              <a:gd name="T44" fmla="*/ 20 w 37"/>
              <a:gd name="T45" fmla="*/ 20 h 41"/>
              <a:gd name="T46" fmla="*/ 21 w 37"/>
              <a:gd name="T47" fmla="*/ 22 h 41"/>
              <a:gd name="T48" fmla="*/ 22 w 37"/>
              <a:gd name="T49" fmla="*/ 22 h 41"/>
              <a:gd name="T50" fmla="*/ 24 w 37"/>
              <a:gd name="T51" fmla="*/ 24 h 41"/>
              <a:gd name="T52" fmla="*/ 26 w 37"/>
              <a:gd name="T53" fmla="*/ 24 h 41"/>
              <a:gd name="T54" fmla="*/ 29 w 37"/>
              <a:gd name="T55" fmla="*/ 27 h 41"/>
              <a:gd name="T56" fmla="*/ 32 w 37"/>
              <a:gd name="T57" fmla="*/ 31 h 41"/>
              <a:gd name="T58" fmla="*/ 32 w 37"/>
              <a:gd name="T59" fmla="*/ 33 h 41"/>
              <a:gd name="T60" fmla="*/ 35 w 37"/>
              <a:gd name="T61" fmla="*/ 33 h 41"/>
              <a:gd name="T62" fmla="*/ 37 w 37"/>
              <a:gd name="T63" fmla="*/ 34 h 41"/>
              <a:gd name="T64" fmla="*/ 37 w 37"/>
              <a:gd name="T65" fmla="*/ 38 h 41"/>
              <a:gd name="T66" fmla="*/ 36 w 37"/>
              <a:gd name="T67" fmla="*/ 39 h 41"/>
              <a:gd name="T68" fmla="*/ 35 w 37"/>
              <a:gd name="T69" fmla="*/ 39 h 41"/>
              <a:gd name="T70" fmla="*/ 34 w 37"/>
              <a:gd name="T71" fmla="*/ 41 h 41"/>
              <a:gd name="T72" fmla="*/ 32 w 37"/>
              <a:gd name="T73" fmla="*/ 40 h 41"/>
              <a:gd name="T74" fmla="*/ 32 w 37"/>
              <a:gd name="T75" fmla="*/ 39 h 41"/>
              <a:gd name="T76" fmla="*/ 31 w 37"/>
              <a:gd name="T77" fmla="*/ 38 h 41"/>
              <a:gd name="T78" fmla="*/ 30 w 37"/>
              <a:gd name="T79" fmla="*/ 37 h 41"/>
              <a:gd name="T80" fmla="*/ 28 w 37"/>
              <a:gd name="T81" fmla="*/ 37 h 41"/>
              <a:gd name="T82" fmla="*/ 27 w 37"/>
              <a:gd name="T83" fmla="*/ 35 h 41"/>
              <a:gd name="T84" fmla="*/ 25 w 37"/>
              <a:gd name="T85" fmla="*/ 35 h 41"/>
              <a:gd name="T86" fmla="*/ 25 w 37"/>
              <a:gd name="T87" fmla="*/ 34 h 41"/>
              <a:gd name="T88" fmla="*/ 25 w 37"/>
              <a:gd name="T89" fmla="*/ 32 h 41"/>
              <a:gd name="T90" fmla="*/ 24 w 37"/>
              <a:gd name="T91" fmla="*/ 32 h 41"/>
              <a:gd name="T92" fmla="*/ 22 w 37"/>
              <a:gd name="T93" fmla="*/ 31 h 41"/>
              <a:gd name="T94" fmla="*/ 21 w 37"/>
              <a:gd name="T95" fmla="*/ 31 h 41"/>
              <a:gd name="T96" fmla="*/ 20 w 37"/>
              <a:gd name="T97" fmla="*/ 30 h 41"/>
              <a:gd name="T98" fmla="*/ 19 w 37"/>
              <a:gd name="T99" fmla="*/ 30 h 41"/>
              <a:gd name="T100" fmla="*/ 19 w 37"/>
              <a:gd name="T101" fmla="*/ 29 h 41"/>
              <a:gd name="T102" fmla="*/ 17 w 37"/>
              <a:gd name="T103" fmla="*/ 29 h 41"/>
              <a:gd name="T104" fmla="*/ 16 w 37"/>
              <a:gd name="T105" fmla="*/ 27 h 41"/>
              <a:gd name="T106" fmla="*/ 15 w 37"/>
              <a:gd name="T107" fmla="*/ 27 h 41"/>
              <a:gd name="T108" fmla="*/ 12 w 37"/>
              <a:gd name="T109" fmla="*/ 25 h 41"/>
              <a:gd name="T110" fmla="*/ 14 w 37"/>
              <a:gd name="T111" fmla="*/ 23 h 41"/>
              <a:gd name="T112" fmla="*/ 12 w 37"/>
              <a:gd name="T113" fmla="*/ 2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7" h="41">
                <a:moveTo>
                  <a:pt x="12" y="21"/>
                </a:moveTo>
                <a:lnTo>
                  <a:pt x="7" y="18"/>
                </a:lnTo>
                <a:lnTo>
                  <a:pt x="5" y="12"/>
                </a:lnTo>
                <a:lnTo>
                  <a:pt x="4" y="11"/>
                </a:lnTo>
                <a:lnTo>
                  <a:pt x="2" y="8"/>
                </a:lnTo>
                <a:lnTo>
                  <a:pt x="0" y="4"/>
                </a:lnTo>
                <a:lnTo>
                  <a:pt x="1" y="2"/>
                </a:lnTo>
                <a:lnTo>
                  <a:pt x="0" y="0"/>
                </a:lnTo>
                <a:lnTo>
                  <a:pt x="2" y="0"/>
                </a:lnTo>
                <a:lnTo>
                  <a:pt x="5" y="1"/>
                </a:lnTo>
                <a:lnTo>
                  <a:pt x="6" y="1"/>
                </a:lnTo>
                <a:lnTo>
                  <a:pt x="9" y="3"/>
                </a:lnTo>
                <a:lnTo>
                  <a:pt x="10" y="4"/>
                </a:lnTo>
                <a:lnTo>
                  <a:pt x="10" y="7"/>
                </a:lnTo>
                <a:lnTo>
                  <a:pt x="11" y="8"/>
                </a:lnTo>
                <a:lnTo>
                  <a:pt x="14" y="8"/>
                </a:lnTo>
                <a:lnTo>
                  <a:pt x="15" y="9"/>
                </a:lnTo>
                <a:lnTo>
                  <a:pt x="17" y="13"/>
                </a:lnTo>
                <a:lnTo>
                  <a:pt x="18" y="13"/>
                </a:lnTo>
                <a:lnTo>
                  <a:pt x="18" y="18"/>
                </a:lnTo>
                <a:lnTo>
                  <a:pt x="18" y="18"/>
                </a:lnTo>
                <a:lnTo>
                  <a:pt x="19" y="19"/>
                </a:lnTo>
                <a:lnTo>
                  <a:pt x="20" y="20"/>
                </a:lnTo>
                <a:lnTo>
                  <a:pt x="21" y="22"/>
                </a:lnTo>
                <a:lnTo>
                  <a:pt x="22" y="22"/>
                </a:lnTo>
                <a:lnTo>
                  <a:pt x="24" y="24"/>
                </a:lnTo>
                <a:lnTo>
                  <a:pt x="26" y="24"/>
                </a:lnTo>
                <a:lnTo>
                  <a:pt x="29" y="27"/>
                </a:lnTo>
                <a:lnTo>
                  <a:pt x="32" y="31"/>
                </a:lnTo>
                <a:lnTo>
                  <a:pt x="32" y="33"/>
                </a:lnTo>
                <a:lnTo>
                  <a:pt x="35" y="33"/>
                </a:lnTo>
                <a:lnTo>
                  <a:pt x="37" y="34"/>
                </a:lnTo>
                <a:lnTo>
                  <a:pt x="37" y="38"/>
                </a:lnTo>
                <a:lnTo>
                  <a:pt x="36" y="39"/>
                </a:lnTo>
                <a:lnTo>
                  <a:pt x="35" y="39"/>
                </a:lnTo>
                <a:lnTo>
                  <a:pt x="34" y="41"/>
                </a:lnTo>
                <a:lnTo>
                  <a:pt x="32" y="40"/>
                </a:lnTo>
                <a:lnTo>
                  <a:pt x="32" y="39"/>
                </a:lnTo>
                <a:lnTo>
                  <a:pt x="31" y="38"/>
                </a:lnTo>
                <a:lnTo>
                  <a:pt x="30" y="37"/>
                </a:lnTo>
                <a:lnTo>
                  <a:pt x="28" y="37"/>
                </a:lnTo>
                <a:lnTo>
                  <a:pt x="27" y="35"/>
                </a:lnTo>
                <a:lnTo>
                  <a:pt x="25" y="35"/>
                </a:lnTo>
                <a:lnTo>
                  <a:pt x="25" y="34"/>
                </a:lnTo>
                <a:lnTo>
                  <a:pt x="25" y="32"/>
                </a:lnTo>
                <a:lnTo>
                  <a:pt x="24" y="32"/>
                </a:lnTo>
                <a:lnTo>
                  <a:pt x="22" y="31"/>
                </a:lnTo>
                <a:lnTo>
                  <a:pt x="21" y="31"/>
                </a:lnTo>
                <a:lnTo>
                  <a:pt x="20" y="30"/>
                </a:lnTo>
                <a:lnTo>
                  <a:pt x="19" y="30"/>
                </a:lnTo>
                <a:lnTo>
                  <a:pt x="19" y="29"/>
                </a:lnTo>
                <a:lnTo>
                  <a:pt x="17" y="29"/>
                </a:lnTo>
                <a:lnTo>
                  <a:pt x="16" y="27"/>
                </a:lnTo>
                <a:lnTo>
                  <a:pt x="15" y="27"/>
                </a:lnTo>
                <a:lnTo>
                  <a:pt x="12" y="25"/>
                </a:lnTo>
                <a:lnTo>
                  <a:pt x="14" y="23"/>
                </a:lnTo>
                <a:lnTo>
                  <a:pt x="12" y="2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26" name="Freeform 1226"/>
          <p:cNvSpPr>
            <a:spLocks/>
          </p:cNvSpPr>
          <p:nvPr/>
        </p:nvSpPr>
        <p:spPr bwMode="auto">
          <a:xfrm>
            <a:off x="8518525" y="4178265"/>
            <a:ext cx="7937" cy="12700"/>
          </a:xfrm>
          <a:custGeom>
            <a:avLst/>
            <a:gdLst>
              <a:gd name="T0" fmla="*/ 1 w 5"/>
              <a:gd name="T1" fmla="*/ 0 h 8"/>
              <a:gd name="T2" fmla="*/ 2 w 5"/>
              <a:gd name="T3" fmla="*/ 0 h 8"/>
              <a:gd name="T4" fmla="*/ 3 w 5"/>
              <a:gd name="T5" fmla="*/ 0 h 8"/>
              <a:gd name="T6" fmla="*/ 4 w 5"/>
              <a:gd name="T7" fmla="*/ 0 h 8"/>
              <a:gd name="T8" fmla="*/ 3 w 5"/>
              <a:gd name="T9" fmla="*/ 2 h 8"/>
              <a:gd name="T10" fmla="*/ 4 w 5"/>
              <a:gd name="T11" fmla="*/ 3 h 8"/>
              <a:gd name="T12" fmla="*/ 5 w 5"/>
              <a:gd name="T13" fmla="*/ 4 h 8"/>
              <a:gd name="T14" fmla="*/ 4 w 5"/>
              <a:gd name="T15" fmla="*/ 5 h 8"/>
              <a:gd name="T16" fmla="*/ 4 w 5"/>
              <a:gd name="T17" fmla="*/ 7 h 8"/>
              <a:gd name="T18" fmla="*/ 3 w 5"/>
              <a:gd name="T19" fmla="*/ 8 h 8"/>
              <a:gd name="T20" fmla="*/ 0 w 5"/>
              <a:gd name="T21" fmla="*/ 4 h 8"/>
              <a:gd name="T22" fmla="*/ 0 w 5"/>
              <a:gd name="T23" fmla="*/ 3 h 8"/>
              <a:gd name="T24" fmla="*/ 1 w 5"/>
              <a:gd name="T25" fmla="*/ 2 h 8"/>
              <a:gd name="T26" fmla="*/ 1 w 5"/>
              <a:gd name="T27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" h="8">
                <a:moveTo>
                  <a:pt x="1" y="0"/>
                </a:moveTo>
                <a:lnTo>
                  <a:pt x="2" y="0"/>
                </a:lnTo>
                <a:lnTo>
                  <a:pt x="3" y="0"/>
                </a:lnTo>
                <a:lnTo>
                  <a:pt x="4" y="0"/>
                </a:lnTo>
                <a:lnTo>
                  <a:pt x="3" y="2"/>
                </a:lnTo>
                <a:lnTo>
                  <a:pt x="4" y="3"/>
                </a:lnTo>
                <a:lnTo>
                  <a:pt x="5" y="4"/>
                </a:lnTo>
                <a:lnTo>
                  <a:pt x="4" y="5"/>
                </a:lnTo>
                <a:lnTo>
                  <a:pt x="4" y="7"/>
                </a:lnTo>
                <a:lnTo>
                  <a:pt x="3" y="8"/>
                </a:lnTo>
                <a:lnTo>
                  <a:pt x="0" y="4"/>
                </a:lnTo>
                <a:lnTo>
                  <a:pt x="0" y="3"/>
                </a:lnTo>
                <a:lnTo>
                  <a:pt x="1" y="2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27" name="Freeform 1227"/>
          <p:cNvSpPr>
            <a:spLocks/>
          </p:cNvSpPr>
          <p:nvPr/>
        </p:nvSpPr>
        <p:spPr bwMode="auto">
          <a:xfrm>
            <a:off x="8518525" y="4178265"/>
            <a:ext cx="7937" cy="12700"/>
          </a:xfrm>
          <a:custGeom>
            <a:avLst/>
            <a:gdLst>
              <a:gd name="T0" fmla="*/ 1 w 5"/>
              <a:gd name="T1" fmla="*/ 0 h 8"/>
              <a:gd name="T2" fmla="*/ 2 w 5"/>
              <a:gd name="T3" fmla="*/ 0 h 8"/>
              <a:gd name="T4" fmla="*/ 3 w 5"/>
              <a:gd name="T5" fmla="*/ 0 h 8"/>
              <a:gd name="T6" fmla="*/ 4 w 5"/>
              <a:gd name="T7" fmla="*/ 0 h 8"/>
              <a:gd name="T8" fmla="*/ 3 w 5"/>
              <a:gd name="T9" fmla="*/ 2 h 8"/>
              <a:gd name="T10" fmla="*/ 4 w 5"/>
              <a:gd name="T11" fmla="*/ 3 h 8"/>
              <a:gd name="T12" fmla="*/ 5 w 5"/>
              <a:gd name="T13" fmla="*/ 4 h 8"/>
              <a:gd name="T14" fmla="*/ 4 w 5"/>
              <a:gd name="T15" fmla="*/ 5 h 8"/>
              <a:gd name="T16" fmla="*/ 4 w 5"/>
              <a:gd name="T17" fmla="*/ 7 h 8"/>
              <a:gd name="T18" fmla="*/ 3 w 5"/>
              <a:gd name="T19" fmla="*/ 8 h 8"/>
              <a:gd name="T20" fmla="*/ 0 w 5"/>
              <a:gd name="T21" fmla="*/ 4 h 8"/>
              <a:gd name="T22" fmla="*/ 0 w 5"/>
              <a:gd name="T23" fmla="*/ 3 h 8"/>
              <a:gd name="T24" fmla="*/ 1 w 5"/>
              <a:gd name="T25" fmla="*/ 2 h 8"/>
              <a:gd name="T26" fmla="*/ 1 w 5"/>
              <a:gd name="T27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" h="8">
                <a:moveTo>
                  <a:pt x="1" y="0"/>
                </a:moveTo>
                <a:lnTo>
                  <a:pt x="2" y="0"/>
                </a:lnTo>
                <a:lnTo>
                  <a:pt x="3" y="0"/>
                </a:lnTo>
                <a:lnTo>
                  <a:pt x="4" y="0"/>
                </a:lnTo>
                <a:lnTo>
                  <a:pt x="3" y="2"/>
                </a:lnTo>
                <a:lnTo>
                  <a:pt x="4" y="3"/>
                </a:lnTo>
                <a:lnTo>
                  <a:pt x="5" y="4"/>
                </a:lnTo>
                <a:lnTo>
                  <a:pt x="4" y="5"/>
                </a:lnTo>
                <a:lnTo>
                  <a:pt x="4" y="7"/>
                </a:lnTo>
                <a:lnTo>
                  <a:pt x="3" y="8"/>
                </a:lnTo>
                <a:lnTo>
                  <a:pt x="0" y="4"/>
                </a:lnTo>
                <a:lnTo>
                  <a:pt x="0" y="3"/>
                </a:lnTo>
                <a:lnTo>
                  <a:pt x="1" y="2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28" name="Freeform 1228"/>
          <p:cNvSpPr>
            <a:spLocks/>
          </p:cNvSpPr>
          <p:nvPr/>
        </p:nvSpPr>
        <p:spPr bwMode="auto">
          <a:xfrm>
            <a:off x="8531225" y="4195728"/>
            <a:ext cx="7937" cy="6350"/>
          </a:xfrm>
          <a:custGeom>
            <a:avLst/>
            <a:gdLst>
              <a:gd name="T0" fmla="*/ 2 w 5"/>
              <a:gd name="T1" fmla="*/ 1 h 4"/>
              <a:gd name="T2" fmla="*/ 0 w 5"/>
              <a:gd name="T3" fmla="*/ 0 h 4"/>
              <a:gd name="T4" fmla="*/ 3 w 5"/>
              <a:gd name="T5" fmla="*/ 0 h 4"/>
              <a:gd name="T6" fmla="*/ 4 w 5"/>
              <a:gd name="T7" fmla="*/ 1 h 4"/>
              <a:gd name="T8" fmla="*/ 5 w 5"/>
              <a:gd name="T9" fmla="*/ 1 h 4"/>
              <a:gd name="T10" fmla="*/ 5 w 5"/>
              <a:gd name="T11" fmla="*/ 3 h 4"/>
              <a:gd name="T12" fmla="*/ 4 w 5"/>
              <a:gd name="T13" fmla="*/ 4 h 4"/>
              <a:gd name="T14" fmla="*/ 2 w 5"/>
              <a:gd name="T15" fmla="*/ 4 h 4"/>
              <a:gd name="T16" fmla="*/ 2 w 5"/>
              <a:gd name="T17" fmla="*/ 2 h 4"/>
              <a:gd name="T18" fmla="*/ 2 w 5"/>
              <a:gd name="T19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" h="4">
                <a:moveTo>
                  <a:pt x="2" y="1"/>
                </a:moveTo>
                <a:lnTo>
                  <a:pt x="0" y="0"/>
                </a:lnTo>
                <a:lnTo>
                  <a:pt x="3" y="0"/>
                </a:lnTo>
                <a:lnTo>
                  <a:pt x="4" y="1"/>
                </a:lnTo>
                <a:lnTo>
                  <a:pt x="5" y="1"/>
                </a:lnTo>
                <a:lnTo>
                  <a:pt x="5" y="3"/>
                </a:lnTo>
                <a:lnTo>
                  <a:pt x="4" y="4"/>
                </a:lnTo>
                <a:lnTo>
                  <a:pt x="2" y="4"/>
                </a:lnTo>
                <a:lnTo>
                  <a:pt x="2" y="2"/>
                </a:lnTo>
                <a:lnTo>
                  <a:pt x="2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29" name="Freeform 1229"/>
          <p:cNvSpPr>
            <a:spLocks/>
          </p:cNvSpPr>
          <p:nvPr/>
        </p:nvSpPr>
        <p:spPr bwMode="auto">
          <a:xfrm>
            <a:off x="8531225" y="4195728"/>
            <a:ext cx="7937" cy="6350"/>
          </a:xfrm>
          <a:custGeom>
            <a:avLst/>
            <a:gdLst>
              <a:gd name="T0" fmla="*/ 2 w 5"/>
              <a:gd name="T1" fmla="*/ 1 h 4"/>
              <a:gd name="T2" fmla="*/ 0 w 5"/>
              <a:gd name="T3" fmla="*/ 0 h 4"/>
              <a:gd name="T4" fmla="*/ 3 w 5"/>
              <a:gd name="T5" fmla="*/ 0 h 4"/>
              <a:gd name="T6" fmla="*/ 4 w 5"/>
              <a:gd name="T7" fmla="*/ 1 h 4"/>
              <a:gd name="T8" fmla="*/ 5 w 5"/>
              <a:gd name="T9" fmla="*/ 1 h 4"/>
              <a:gd name="T10" fmla="*/ 5 w 5"/>
              <a:gd name="T11" fmla="*/ 3 h 4"/>
              <a:gd name="T12" fmla="*/ 4 w 5"/>
              <a:gd name="T13" fmla="*/ 4 h 4"/>
              <a:gd name="T14" fmla="*/ 2 w 5"/>
              <a:gd name="T15" fmla="*/ 4 h 4"/>
              <a:gd name="T16" fmla="*/ 2 w 5"/>
              <a:gd name="T17" fmla="*/ 2 h 4"/>
              <a:gd name="T18" fmla="*/ 2 w 5"/>
              <a:gd name="T19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" h="4">
                <a:moveTo>
                  <a:pt x="2" y="1"/>
                </a:moveTo>
                <a:lnTo>
                  <a:pt x="0" y="0"/>
                </a:lnTo>
                <a:lnTo>
                  <a:pt x="3" y="0"/>
                </a:lnTo>
                <a:lnTo>
                  <a:pt x="4" y="1"/>
                </a:lnTo>
                <a:lnTo>
                  <a:pt x="5" y="1"/>
                </a:lnTo>
                <a:lnTo>
                  <a:pt x="5" y="3"/>
                </a:lnTo>
                <a:lnTo>
                  <a:pt x="4" y="4"/>
                </a:lnTo>
                <a:lnTo>
                  <a:pt x="2" y="4"/>
                </a:lnTo>
                <a:lnTo>
                  <a:pt x="2" y="2"/>
                </a:lnTo>
                <a:lnTo>
                  <a:pt x="2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30" name="Freeform 1230"/>
          <p:cNvSpPr>
            <a:spLocks/>
          </p:cNvSpPr>
          <p:nvPr/>
        </p:nvSpPr>
        <p:spPr bwMode="auto">
          <a:xfrm>
            <a:off x="2092325" y="3117815"/>
            <a:ext cx="157162" cy="84138"/>
          </a:xfrm>
          <a:custGeom>
            <a:avLst/>
            <a:gdLst>
              <a:gd name="T0" fmla="*/ 95 w 99"/>
              <a:gd name="T1" fmla="*/ 17 h 53"/>
              <a:gd name="T2" fmla="*/ 90 w 99"/>
              <a:gd name="T3" fmla="*/ 21 h 53"/>
              <a:gd name="T4" fmla="*/ 84 w 99"/>
              <a:gd name="T5" fmla="*/ 22 h 53"/>
              <a:gd name="T6" fmla="*/ 78 w 99"/>
              <a:gd name="T7" fmla="*/ 24 h 53"/>
              <a:gd name="T8" fmla="*/ 75 w 99"/>
              <a:gd name="T9" fmla="*/ 22 h 53"/>
              <a:gd name="T10" fmla="*/ 73 w 99"/>
              <a:gd name="T11" fmla="*/ 22 h 53"/>
              <a:gd name="T12" fmla="*/ 72 w 99"/>
              <a:gd name="T13" fmla="*/ 23 h 53"/>
              <a:gd name="T14" fmla="*/ 69 w 99"/>
              <a:gd name="T15" fmla="*/ 30 h 53"/>
              <a:gd name="T16" fmla="*/ 65 w 99"/>
              <a:gd name="T17" fmla="*/ 31 h 53"/>
              <a:gd name="T18" fmla="*/ 63 w 99"/>
              <a:gd name="T19" fmla="*/ 33 h 53"/>
              <a:gd name="T20" fmla="*/ 61 w 99"/>
              <a:gd name="T21" fmla="*/ 35 h 53"/>
              <a:gd name="T22" fmla="*/ 59 w 99"/>
              <a:gd name="T23" fmla="*/ 36 h 53"/>
              <a:gd name="T24" fmla="*/ 55 w 99"/>
              <a:gd name="T25" fmla="*/ 37 h 53"/>
              <a:gd name="T26" fmla="*/ 52 w 99"/>
              <a:gd name="T27" fmla="*/ 34 h 53"/>
              <a:gd name="T28" fmla="*/ 49 w 99"/>
              <a:gd name="T29" fmla="*/ 41 h 53"/>
              <a:gd name="T30" fmla="*/ 42 w 99"/>
              <a:gd name="T31" fmla="*/ 41 h 53"/>
              <a:gd name="T32" fmla="*/ 41 w 99"/>
              <a:gd name="T33" fmla="*/ 47 h 53"/>
              <a:gd name="T34" fmla="*/ 38 w 99"/>
              <a:gd name="T35" fmla="*/ 50 h 53"/>
              <a:gd name="T36" fmla="*/ 35 w 99"/>
              <a:gd name="T37" fmla="*/ 53 h 53"/>
              <a:gd name="T38" fmla="*/ 31 w 99"/>
              <a:gd name="T39" fmla="*/ 53 h 53"/>
              <a:gd name="T40" fmla="*/ 29 w 99"/>
              <a:gd name="T41" fmla="*/ 49 h 53"/>
              <a:gd name="T42" fmla="*/ 27 w 99"/>
              <a:gd name="T43" fmla="*/ 46 h 53"/>
              <a:gd name="T44" fmla="*/ 24 w 99"/>
              <a:gd name="T45" fmla="*/ 46 h 53"/>
              <a:gd name="T46" fmla="*/ 24 w 99"/>
              <a:gd name="T47" fmla="*/ 39 h 53"/>
              <a:gd name="T48" fmla="*/ 21 w 99"/>
              <a:gd name="T49" fmla="*/ 37 h 53"/>
              <a:gd name="T50" fmla="*/ 19 w 99"/>
              <a:gd name="T51" fmla="*/ 36 h 53"/>
              <a:gd name="T52" fmla="*/ 15 w 99"/>
              <a:gd name="T53" fmla="*/ 37 h 53"/>
              <a:gd name="T54" fmla="*/ 13 w 99"/>
              <a:gd name="T55" fmla="*/ 36 h 53"/>
              <a:gd name="T56" fmla="*/ 11 w 99"/>
              <a:gd name="T57" fmla="*/ 35 h 53"/>
              <a:gd name="T58" fmla="*/ 10 w 99"/>
              <a:gd name="T59" fmla="*/ 34 h 53"/>
              <a:gd name="T60" fmla="*/ 7 w 99"/>
              <a:gd name="T61" fmla="*/ 32 h 53"/>
              <a:gd name="T62" fmla="*/ 5 w 99"/>
              <a:gd name="T63" fmla="*/ 29 h 53"/>
              <a:gd name="T64" fmla="*/ 0 w 99"/>
              <a:gd name="T65" fmla="*/ 27 h 53"/>
              <a:gd name="T66" fmla="*/ 1 w 99"/>
              <a:gd name="T67" fmla="*/ 25 h 53"/>
              <a:gd name="T68" fmla="*/ 4 w 99"/>
              <a:gd name="T69" fmla="*/ 22 h 53"/>
              <a:gd name="T70" fmla="*/ 3 w 99"/>
              <a:gd name="T71" fmla="*/ 21 h 53"/>
              <a:gd name="T72" fmla="*/ 4 w 99"/>
              <a:gd name="T73" fmla="*/ 17 h 53"/>
              <a:gd name="T74" fmla="*/ 8 w 99"/>
              <a:gd name="T75" fmla="*/ 15 h 53"/>
              <a:gd name="T76" fmla="*/ 12 w 99"/>
              <a:gd name="T77" fmla="*/ 12 h 53"/>
              <a:gd name="T78" fmla="*/ 20 w 99"/>
              <a:gd name="T79" fmla="*/ 5 h 53"/>
              <a:gd name="T80" fmla="*/ 24 w 99"/>
              <a:gd name="T81" fmla="*/ 4 h 53"/>
              <a:gd name="T82" fmla="*/ 30 w 99"/>
              <a:gd name="T83" fmla="*/ 2 h 53"/>
              <a:gd name="T84" fmla="*/ 39 w 99"/>
              <a:gd name="T85" fmla="*/ 3 h 53"/>
              <a:gd name="T86" fmla="*/ 51 w 99"/>
              <a:gd name="T87" fmla="*/ 2 h 53"/>
              <a:gd name="T88" fmla="*/ 55 w 99"/>
              <a:gd name="T89" fmla="*/ 1 h 53"/>
              <a:gd name="T90" fmla="*/ 60 w 99"/>
              <a:gd name="T91" fmla="*/ 0 h 53"/>
              <a:gd name="T92" fmla="*/ 63 w 99"/>
              <a:gd name="T93" fmla="*/ 1 h 53"/>
              <a:gd name="T94" fmla="*/ 70 w 99"/>
              <a:gd name="T95" fmla="*/ 0 h 53"/>
              <a:gd name="T96" fmla="*/ 73 w 99"/>
              <a:gd name="T97" fmla="*/ 1 h 53"/>
              <a:gd name="T98" fmla="*/ 81 w 99"/>
              <a:gd name="T99" fmla="*/ 3 h 53"/>
              <a:gd name="T100" fmla="*/ 86 w 99"/>
              <a:gd name="T101" fmla="*/ 5 h 53"/>
              <a:gd name="T102" fmla="*/ 96 w 99"/>
              <a:gd name="T103" fmla="*/ 12 h 53"/>
              <a:gd name="T104" fmla="*/ 99 w 99"/>
              <a:gd name="T105" fmla="*/ 16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99" h="53">
                <a:moveTo>
                  <a:pt x="99" y="17"/>
                </a:moveTo>
                <a:lnTo>
                  <a:pt x="95" y="17"/>
                </a:lnTo>
                <a:lnTo>
                  <a:pt x="91" y="20"/>
                </a:lnTo>
                <a:lnTo>
                  <a:pt x="90" y="21"/>
                </a:lnTo>
                <a:lnTo>
                  <a:pt x="88" y="22"/>
                </a:lnTo>
                <a:lnTo>
                  <a:pt x="84" y="22"/>
                </a:lnTo>
                <a:lnTo>
                  <a:pt x="82" y="24"/>
                </a:lnTo>
                <a:lnTo>
                  <a:pt x="78" y="24"/>
                </a:lnTo>
                <a:lnTo>
                  <a:pt x="76" y="23"/>
                </a:lnTo>
                <a:lnTo>
                  <a:pt x="75" y="22"/>
                </a:lnTo>
                <a:lnTo>
                  <a:pt x="74" y="21"/>
                </a:lnTo>
                <a:lnTo>
                  <a:pt x="73" y="22"/>
                </a:lnTo>
                <a:lnTo>
                  <a:pt x="73" y="23"/>
                </a:lnTo>
                <a:lnTo>
                  <a:pt x="72" y="23"/>
                </a:lnTo>
                <a:lnTo>
                  <a:pt x="70" y="25"/>
                </a:lnTo>
                <a:lnTo>
                  <a:pt x="69" y="30"/>
                </a:lnTo>
                <a:lnTo>
                  <a:pt x="68" y="31"/>
                </a:lnTo>
                <a:lnTo>
                  <a:pt x="65" y="31"/>
                </a:lnTo>
                <a:lnTo>
                  <a:pt x="63" y="33"/>
                </a:lnTo>
                <a:lnTo>
                  <a:pt x="63" y="33"/>
                </a:lnTo>
                <a:lnTo>
                  <a:pt x="62" y="34"/>
                </a:lnTo>
                <a:lnTo>
                  <a:pt x="61" y="35"/>
                </a:lnTo>
                <a:lnTo>
                  <a:pt x="59" y="36"/>
                </a:lnTo>
                <a:lnTo>
                  <a:pt x="59" y="36"/>
                </a:lnTo>
                <a:lnTo>
                  <a:pt x="58" y="37"/>
                </a:lnTo>
                <a:lnTo>
                  <a:pt x="55" y="37"/>
                </a:lnTo>
                <a:lnTo>
                  <a:pt x="53" y="35"/>
                </a:lnTo>
                <a:lnTo>
                  <a:pt x="52" y="34"/>
                </a:lnTo>
                <a:lnTo>
                  <a:pt x="50" y="37"/>
                </a:lnTo>
                <a:lnTo>
                  <a:pt x="49" y="41"/>
                </a:lnTo>
                <a:lnTo>
                  <a:pt x="43" y="41"/>
                </a:lnTo>
                <a:lnTo>
                  <a:pt x="42" y="41"/>
                </a:lnTo>
                <a:lnTo>
                  <a:pt x="41" y="43"/>
                </a:lnTo>
                <a:lnTo>
                  <a:pt x="41" y="47"/>
                </a:lnTo>
                <a:lnTo>
                  <a:pt x="40" y="47"/>
                </a:lnTo>
                <a:lnTo>
                  <a:pt x="38" y="50"/>
                </a:lnTo>
                <a:lnTo>
                  <a:pt x="37" y="52"/>
                </a:lnTo>
                <a:lnTo>
                  <a:pt x="35" y="53"/>
                </a:lnTo>
                <a:lnTo>
                  <a:pt x="31" y="53"/>
                </a:lnTo>
                <a:lnTo>
                  <a:pt x="31" y="53"/>
                </a:lnTo>
                <a:lnTo>
                  <a:pt x="29" y="50"/>
                </a:lnTo>
                <a:lnTo>
                  <a:pt x="29" y="49"/>
                </a:lnTo>
                <a:lnTo>
                  <a:pt x="29" y="47"/>
                </a:lnTo>
                <a:lnTo>
                  <a:pt x="27" y="46"/>
                </a:lnTo>
                <a:lnTo>
                  <a:pt x="25" y="46"/>
                </a:lnTo>
                <a:lnTo>
                  <a:pt x="24" y="46"/>
                </a:lnTo>
                <a:lnTo>
                  <a:pt x="25" y="40"/>
                </a:lnTo>
                <a:lnTo>
                  <a:pt x="24" y="39"/>
                </a:lnTo>
                <a:lnTo>
                  <a:pt x="23" y="37"/>
                </a:lnTo>
                <a:lnTo>
                  <a:pt x="21" y="37"/>
                </a:lnTo>
                <a:lnTo>
                  <a:pt x="20" y="36"/>
                </a:lnTo>
                <a:lnTo>
                  <a:pt x="19" y="36"/>
                </a:lnTo>
                <a:lnTo>
                  <a:pt x="17" y="37"/>
                </a:lnTo>
                <a:lnTo>
                  <a:pt x="15" y="37"/>
                </a:lnTo>
                <a:lnTo>
                  <a:pt x="14" y="37"/>
                </a:lnTo>
                <a:lnTo>
                  <a:pt x="13" y="36"/>
                </a:lnTo>
                <a:lnTo>
                  <a:pt x="13" y="35"/>
                </a:lnTo>
                <a:lnTo>
                  <a:pt x="11" y="35"/>
                </a:lnTo>
                <a:lnTo>
                  <a:pt x="11" y="35"/>
                </a:lnTo>
                <a:lnTo>
                  <a:pt x="10" y="34"/>
                </a:lnTo>
                <a:lnTo>
                  <a:pt x="9" y="34"/>
                </a:lnTo>
                <a:lnTo>
                  <a:pt x="7" y="32"/>
                </a:lnTo>
                <a:lnTo>
                  <a:pt x="7" y="31"/>
                </a:lnTo>
                <a:lnTo>
                  <a:pt x="5" y="29"/>
                </a:lnTo>
                <a:lnTo>
                  <a:pt x="2" y="29"/>
                </a:lnTo>
                <a:lnTo>
                  <a:pt x="0" y="27"/>
                </a:lnTo>
                <a:lnTo>
                  <a:pt x="1" y="27"/>
                </a:lnTo>
                <a:lnTo>
                  <a:pt x="1" y="25"/>
                </a:lnTo>
                <a:lnTo>
                  <a:pt x="4" y="24"/>
                </a:lnTo>
                <a:lnTo>
                  <a:pt x="4" y="22"/>
                </a:lnTo>
                <a:lnTo>
                  <a:pt x="4" y="21"/>
                </a:lnTo>
                <a:lnTo>
                  <a:pt x="3" y="21"/>
                </a:lnTo>
                <a:lnTo>
                  <a:pt x="3" y="20"/>
                </a:lnTo>
                <a:lnTo>
                  <a:pt x="4" y="17"/>
                </a:lnTo>
                <a:lnTo>
                  <a:pt x="7" y="16"/>
                </a:lnTo>
                <a:lnTo>
                  <a:pt x="8" y="15"/>
                </a:lnTo>
                <a:lnTo>
                  <a:pt x="9" y="15"/>
                </a:lnTo>
                <a:lnTo>
                  <a:pt x="12" y="12"/>
                </a:lnTo>
                <a:lnTo>
                  <a:pt x="18" y="7"/>
                </a:lnTo>
                <a:lnTo>
                  <a:pt x="20" y="5"/>
                </a:lnTo>
                <a:lnTo>
                  <a:pt x="20" y="4"/>
                </a:lnTo>
                <a:lnTo>
                  <a:pt x="24" y="4"/>
                </a:lnTo>
                <a:lnTo>
                  <a:pt x="27" y="3"/>
                </a:lnTo>
                <a:lnTo>
                  <a:pt x="30" y="2"/>
                </a:lnTo>
                <a:lnTo>
                  <a:pt x="34" y="2"/>
                </a:lnTo>
                <a:lnTo>
                  <a:pt x="39" y="3"/>
                </a:lnTo>
                <a:lnTo>
                  <a:pt x="45" y="3"/>
                </a:lnTo>
                <a:lnTo>
                  <a:pt x="51" y="2"/>
                </a:lnTo>
                <a:lnTo>
                  <a:pt x="54" y="2"/>
                </a:lnTo>
                <a:lnTo>
                  <a:pt x="55" y="1"/>
                </a:lnTo>
                <a:lnTo>
                  <a:pt x="58" y="0"/>
                </a:lnTo>
                <a:lnTo>
                  <a:pt x="60" y="0"/>
                </a:lnTo>
                <a:lnTo>
                  <a:pt x="62" y="1"/>
                </a:lnTo>
                <a:lnTo>
                  <a:pt x="63" y="1"/>
                </a:lnTo>
                <a:lnTo>
                  <a:pt x="68" y="1"/>
                </a:lnTo>
                <a:lnTo>
                  <a:pt x="70" y="0"/>
                </a:lnTo>
                <a:lnTo>
                  <a:pt x="72" y="0"/>
                </a:lnTo>
                <a:lnTo>
                  <a:pt x="73" y="1"/>
                </a:lnTo>
                <a:lnTo>
                  <a:pt x="76" y="2"/>
                </a:lnTo>
                <a:lnTo>
                  <a:pt x="81" y="3"/>
                </a:lnTo>
                <a:lnTo>
                  <a:pt x="84" y="3"/>
                </a:lnTo>
                <a:lnTo>
                  <a:pt x="86" y="5"/>
                </a:lnTo>
                <a:lnTo>
                  <a:pt x="90" y="9"/>
                </a:lnTo>
                <a:lnTo>
                  <a:pt x="96" y="12"/>
                </a:lnTo>
                <a:lnTo>
                  <a:pt x="98" y="13"/>
                </a:lnTo>
                <a:lnTo>
                  <a:pt x="99" y="16"/>
                </a:lnTo>
                <a:lnTo>
                  <a:pt x="99" y="17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31" name="Freeform 1231"/>
          <p:cNvSpPr>
            <a:spLocks/>
          </p:cNvSpPr>
          <p:nvPr/>
        </p:nvSpPr>
        <p:spPr bwMode="auto">
          <a:xfrm>
            <a:off x="2092325" y="3117815"/>
            <a:ext cx="157162" cy="84138"/>
          </a:xfrm>
          <a:custGeom>
            <a:avLst/>
            <a:gdLst>
              <a:gd name="T0" fmla="*/ 95 w 99"/>
              <a:gd name="T1" fmla="*/ 17 h 53"/>
              <a:gd name="T2" fmla="*/ 90 w 99"/>
              <a:gd name="T3" fmla="*/ 21 h 53"/>
              <a:gd name="T4" fmla="*/ 84 w 99"/>
              <a:gd name="T5" fmla="*/ 22 h 53"/>
              <a:gd name="T6" fmla="*/ 78 w 99"/>
              <a:gd name="T7" fmla="*/ 24 h 53"/>
              <a:gd name="T8" fmla="*/ 75 w 99"/>
              <a:gd name="T9" fmla="*/ 22 h 53"/>
              <a:gd name="T10" fmla="*/ 73 w 99"/>
              <a:gd name="T11" fmla="*/ 22 h 53"/>
              <a:gd name="T12" fmla="*/ 72 w 99"/>
              <a:gd name="T13" fmla="*/ 23 h 53"/>
              <a:gd name="T14" fmla="*/ 69 w 99"/>
              <a:gd name="T15" fmla="*/ 30 h 53"/>
              <a:gd name="T16" fmla="*/ 65 w 99"/>
              <a:gd name="T17" fmla="*/ 31 h 53"/>
              <a:gd name="T18" fmla="*/ 63 w 99"/>
              <a:gd name="T19" fmla="*/ 33 h 53"/>
              <a:gd name="T20" fmla="*/ 61 w 99"/>
              <a:gd name="T21" fmla="*/ 35 h 53"/>
              <a:gd name="T22" fmla="*/ 59 w 99"/>
              <a:gd name="T23" fmla="*/ 36 h 53"/>
              <a:gd name="T24" fmla="*/ 55 w 99"/>
              <a:gd name="T25" fmla="*/ 37 h 53"/>
              <a:gd name="T26" fmla="*/ 52 w 99"/>
              <a:gd name="T27" fmla="*/ 34 h 53"/>
              <a:gd name="T28" fmla="*/ 49 w 99"/>
              <a:gd name="T29" fmla="*/ 41 h 53"/>
              <a:gd name="T30" fmla="*/ 42 w 99"/>
              <a:gd name="T31" fmla="*/ 41 h 53"/>
              <a:gd name="T32" fmla="*/ 41 w 99"/>
              <a:gd name="T33" fmla="*/ 47 h 53"/>
              <a:gd name="T34" fmla="*/ 38 w 99"/>
              <a:gd name="T35" fmla="*/ 50 h 53"/>
              <a:gd name="T36" fmla="*/ 35 w 99"/>
              <a:gd name="T37" fmla="*/ 53 h 53"/>
              <a:gd name="T38" fmla="*/ 31 w 99"/>
              <a:gd name="T39" fmla="*/ 53 h 53"/>
              <a:gd name="T40" fmla="*/ 29 w 99"/>
              <a:gd name="T41" fmla="*/ 49 h 53"/>
              <a:gd name="T42" fmla="*/ 27 w 99"/>
              <a:gd name="T43" fmla="*/ 46 h 53"/>
              <a:gd name="T44" fmla="*/ 24 w 99"/>
              <a:gd name="T45" fmla="*/ 46 h 53"/>
              <a:gd name="T46" fmla="*/ 24 w 99"/>
              <a:gd name="T47" fmla="*/ 39 h 53"/>
              <a:gd name="T48" fmla="*/ 21 w 99"/>
              <a:gd name="T49" fmla="*/ 37 h 53"/>
              <a:gd name="T50" fmla="*/ 19 w 99"/>
              <a:gd name="T51" fmla="*/ 36 h 53"/>
              <a:gd name="T52" fmla="*/ 15 w 99"/>
              <a:gd name="T53" fmla="*/ 37 h 53"/>
              <a:gd name="T54" fmla="*/ 13 w 99"/>
              <a:gd name="T55" fmla="*/ 36 h 53"/>
              <a:gd name="T56" fmla="*/ 11 w 99"/>
              <a:gd name="T57" fmla="*/ 35 h 53"/>
              <a:gd name="T58" fmla="*/ 10 w 99"/>
              <a:gd name="T59" fmla="*/ 34 h 53"/>
              <a:gd name="T60" fmla="*/ 7 w 99"/>
              <a:gd name="T61" fmla="*/ 32 h 53"/>
              <a:gd name="T62" fmla="*/ 5 w 99"/>
              <a:gd name="T63" fmla="*/ 29 h 53"/>
              <a:gd name="T64" fmla="*/ 0 w 99"/>
              <a:gd name="T65" fmla="*/ 27 h 53"/>
              <a:gd name="T66" fmla="*/ 1 w 99"/>
              <a:gd name="T67" fmla="*/ 25 h 53"/>
              <a:gd name="T68" fmla="*/ 4 w 99"/>
              <a:gd name="T69" fmla="*/ 22 h 53"/>
              <a:gd name="T70" fmla="*/ 3 w 99"/>
              <a:gd name="T71" fmla="*/ 21 h 53"/>
              <a:gd name="T72" fmla="*/ 4 w 99"/>
              <a:gd name="T73" fmla="*/ 17 h 53"/>
              <a:gd name="T74" fmla="*/ 8 w 99"/>
              <a:gd name="T75" fmla="*/ 15 h 53"/>
              <a:gd name="T76" fmla="*/ 12 w 99"/>
              <a:gd name="T77" fmla="*/ 12 h 53"/>
              <a:gd name="T78" fmla="*/ 20 w 99"/>
              <a:gd name="T79" fmla="*/ 5 h 53"/>
              <a:gd name="T80" fmla="*/ 24 w 99"/>
              <a:gd name="T81" fmla="*/ 4 h 53"/>
              <a:gd name="T82" fmla="*/ 30 w 99"/>
              <a:gd name="T83" fmla="*/ 2 h 53"/>
              <a:gd name="T84" fmla="*/ 39 w 99"/>
              <a:gd name="T85" fmla="*/ 3 h 53"/>
              <a:gd name="T86" fmla="*/ 51 w 99"/>
              <a:gd name="T87" fmla="*/ 2 h 53"/>
              <a:gd name="T88" fmla="*/ 55 w 99"/>
              <a:gd name="T89" fmla="*/ 1 h 53"/>
              <a:gd name="T90" fmla="*/ 60 w 99"/>
              <a:gd name="T91" fmla="*/ 0 h 53"/>
              <a:gd name="T92" fmla="*/ 63 w 99"/>
              <a:gd name="T93" fmla="*/ 1 h 53"/>
              <a:gd name="T94" fmla="*/ 70 w 99"/>
              <a:gd name="T95" fmla="*/ 0 h 53"/>
              <a:gd name="T96" fmla="*/ 73 w 99"/>
              <a:gd name="T97" fmla="*/ 1 h 53"/>
              <a:gd name="T98" fmla="*/ 81 w 99"/>
              <a:gd name="T99" fmla="*/ 3 h 53"/>
              <a:gd name="T100" fmla="*/ 86 w 99"/>
              <a:gd name="T101" fmla="*/ 5 h 53"/>
              <a:gd name="T102" fmla="*/ 96 w 99"/>
              <a:gd name="T103" fmla="*/ 12 h 53"/>
              <a:gd name="T104" fmla="*/ 99 w 99"/>
              <a:gd name="T105" fmla="*/ 16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99" h="53">
                <a:moveTo>
                  <a:pt x="99" y="17"/>
                </a:moveTo>
                <a:lnTo>
                  <a:pt x="95" y="17"/>
                </a:lnTo>
                <a:lnTo>
                  <a:pt x="91" y="20"/>
                </a:lnTo>
                <a:lnTo>
                  <a:pt x="90" y="21"/>
                </a:lnTo>
                <a:lnTo>
                  <a:pt x="88" y="22"/>
                </a:lnTo>
                <a:lnTo>
                  <a:pt x="84" y="22"/>
                </a:lnTo>
                <a:lnTo>
                  <a:pt x="82" y="24"/>
                </a:lnTo>
                <a:lnTo>
                  <a:pt x="78" y="24"/>
                </a:lnTo>
                <a:lnTo>
                  <a:pt x="76" y="23"/>
                </a:lnTo>
                <a:lnTo>
                  <a:pt x="75" y="22"/>
                </a:lnTo>
                <a:lnTo>
                  <a:pt x="74" y="21"/>
                </a:lnTo>
                <a:lnTo>
                  <a:pt x="73" y="22"/>
                </a:lnTo>
                <a:lnTo>
                  <a:pt x="73" y="23"/>
                </a:lnTo>
                <a:lnTo>
                  <a:pt x="72" y="23"/>
                </a:lnTo>
                <a:lnTo>
                  <a:pt x="70" y="25"/>
                </a:lnTo>
                <a:lnTo>
                  <a:pt x="69" y="30"/>
                </a:lnTo>
                <a:lnTo>
                  <a:pt x="68" y="31"/>
                </a:lnTo>
                <a:lnTo>
                  <a:pt x="65" y="31"/>
                </a:lnTo>
                <a:lnTo>
                  <a:pt x="63" y="33"/>
                </a:lnTo>
                <a:lnTo>
                  <a:pt x="63" y="33"/>
                </a:lnTo>
                <a:lnTo>
                  <a:pt x="62" y="34"/>
                </a:lnTo>
                <a:lnTo>
                  <a:pt x="61" y="35"/>
                </a:lnTo>
                <a:lnTo>
                  <a:pt x="59" y="36"/>
                </a:lnTo>
                <a:lnTo>
                  <a:pt x="59" y="36"/>
                </a:lnTo>
                <a:lnTo>
                  <a:pt x="58" y="37"/>
                </a:lnTo>
                <a:lnTo>
                  <a:pt x="55" y="37"/>
                </a:lnTo>
                <a:lnTo>
                  <a:pt x="53" y="35"/>
                </a:lnTo>
                <a:lnTo>
                  <a:pt x="52" y="34"/>
                </a:lnTo>
                <a:lnTo>
                  <a:pt x="50" y="37"/>
                </a:lnTo>
                <a:lnTo>
                  <a:pt x="49" y="41"/>
                </a:lnTo>
                <a:lnTo>
                  <a:pt x="43" y="41"/>
                </a:lnTo>
                <a:lnTo>
                  <a:pt x="42" y="41"/>
                </a:lnTo>
                <a:lnTo>
                  <a:pt x="41" y="43"/>
                </a:lnTo>
                <a:lnTo>
                  <a:pt x="41" y="47"/>
                </a:lnTo>
                <a:lnTo>
                  <a:pt x="40" y="47"/>
                </a:lnTo>
                <a:lnTo>
                  <a:pt x="38" y="50"/>
                </a:lnTo>
                <a:lnTo>
                  <a:pt x="37" y="52"/>
                </a:lnTo>
                <a:lnTo>
                  <a:pt x="35" y="53"/>
                </a:lnTo>
                <a:lnTo>
                  <a:pt x="31" y="53"/>
                </a:lnTo>
                <a:lnTo>
                  <a:pt x="31" y="53"/>
                </a:lnTo>
                <a:lnTo>
                  <a:pt x="29" y="50"/>
                </a:lnTo>
                <a:lnTo>
                  <a:pt x="29" y="49"/>
                </a:lnTo>
                <a:lnTo>
                  <a:pt x="29" y="47"/>
                </a:lnTo>
                <a:lnTo>
                  <a:pt x="27" y="46"/>
                </a:lnTo>
                <a:lnTo>
                  <a:pt x="25" y="46"/>
                </a:lnTo>
                <a:lnTo>
                  <a:pt x="24" y="46"/>
                </a:lnTo>
                <a:lnTo>
                  <a:pt x="25" y="40"/>
                </a:lnTo>
                <a:lnTo>
                  <a:pt x="24" y="39"/>
                </a:lnTo>
                <a:lnTo>
                  <a:pt x="23" y="37"/>
                </a:lnTo>
                <a:lnTo>
                  <a:pt x="21" y="37"/>
                </a:lnTo>
                <a:lnTo>
                  <a:pt x="20" y="36"/>
                </a:lnTo>
                <a:lnTo>
                  <a:pt x="19" y="36"/>
                </a:lnTo>
                <a:lnTo>
                  <a:pt x="17" y="37"/>
                </a:lnTo>
                <a:lnTo>
                  <a:pt x="15" y="37"/>
                </a:lnTo>
                <a:lnTo>
                  <a:pt x="14" y="37"/>
                </a:lnTo>
                <a:lnTo>
                  <a:pt x="13" y="36"/>
                </a:lnTo>
                <a:lnTo>
                  <a:pt x="13" y="35"/>
                </a:lnTo>
                <a:lnTo>
                  <a:pt x="11" y="35"/>
                </a:lnTo>
                <a:lnTo>
                  <a:pt x="11" y="35"/>
                </a:lnTo>
                <a:lnTo>
                  <a:pt x="10" y="34"/>
                </a:lnTo>
                <a:lnTo>
                  <a:pt x="9" y="34"/>
                </a:lnTo>
                <a:lnTo>
                  <a:pt x="7" y="32"/>
                </a:lnTo>
                <a:lnTo>
                  <a:pt x="7" y="31"/>
                </a:lnTo>
                <a:lnTo>
                  <a:pt x="5" y="29"/>
                </a:lnTo>
                <a:lnTo>
                  <a:pt x="2" y="29"/>
                </a:lnTo>
                <a:lnTo>
                  <a:pt x="0" y="27"/>
                </a:lnTo>
                <a:lnTo>
                  <a:pt x="1" y="27"/>
                </a:lnTo>
                <a:lnTo>
                  <a:pt x="1" y="25"/>
                </a:lnTo>
                <a:lnTo>
                  <a:pt x="4" y="24"/>
                </a:lnTo>
                <a:lnTo>
                  <a:pt x="4" y="22"/>
                </a:lnTo>
                <a:lnTo>
                  <a:pt x="4" y="21"/>
                </a:lnTo>
                <a:lnTo>
                  <a:pt x="3" y="21"/>
                </a:lnTo>
                <a:lnTo>
                  <a:pt x="3" y="20"/>
                </a:lnTo>
                <a:lnTo>
                  <a:pt x="4" y="17"/>
                </a:lnTo>
                <a:lnTo>
                  <a:pt x="7" y="16"/>
                </a:lnTo>
                <a:lnTo>
                  <a:pt x="8" y="15"/>
                </a:lnTo>
                <a:lnTo>
                  <a:pt x="9" y="15"/>
                </a:lnTo>
                <a:lnTo>
                  <a:pt x="12" y="12"/>
                </a:lnTo>
                <a:lnTo>
                  <a:pt x="18" y="7"/>
                </a:lnTo>
                <a:lnTo>
                  <a:pt x="20" y="5"/>
                </a:lnTo>
                <a:lnTo>
                  <a:pt x="20" y="4"/>
                </a:lnTo>
                <a:lnTo>
                  <a:pt x="24" y="4"/>
                </a:lnTo>
                <a:lnTo>
                  <a:pt x="27" y="3"/>
                </a:lnTo>
                <a:lnTo>
                  <a:pt x="30" y="2"/>
                </a:lnTo>
                <a:lnTo>
                  <a:pt x="34" y="2"/>
                </a:lnTo>
                <a:lnTo>
                  <a:pt x="39" y="3"/>
                </a:lnTo>
                <a:lnTo>
                  <a:pt x="45" y="3"/>
                </a:lnTo>
                <a:lnTo>
                  <a:pt x="51" y="2"/>
                </a:lnTo>
                <a:lnTo>
                  <a:pt x="54" y="2"/>
                </a:lnTo>
                <a:lnTo>
                  <a:pt x="55" y="1"/>
                </a:lnTo>
                <a:lnTo>
                  <a:pt x="58" y="0"/>
                </a:lnTo>
                <a:lnTo>
                  <a:pt x="60" y="0"/>
                </a:lnTo>
                <a:lnTo>
                  <a:pt x="62" y="1"/>
                </a:lnTo>
                <a:lnTo>
                  <a:pt x="63" y="1"/>
                </a:lnTo>
                <a:lnTo>
                  <a:pt x="68" y="1"/>
                </a:lnTo>
                <a:lnTo>
                  <a:pt x="70" y="0"/>
                </a:lnTo>
                <a:lnTo>
                  <a:pt x="72" y="0"/>
                </a:lnTo>
                <a:lnTo>
                  <a:pt x="73" y="1"/>
                </a:lnTo>
                <a:lnTo>
                  <a:pt x="76" y="2"/>
                </a:lnTo>
                <a:lnTo>
                  <a:pt x="81" y="3"/>
                </a:lnTo>
                <a:lnTo>
                  <a:pt x="84" y="3"/>
                </a:lnTo>
                <a:lnTo>
                  <a:pt x="86" y="5"/>
                </a:lnTo>
                <a:lnTo>
                  <a:pt x="90" y="9"/>
                </a:lnTo>
                <a:lnTo>
                  <a:pt x="96" y="12"/>
                </a:lnTo>
                <a:lnTo>
                  <a:pt x="98" y="13"/>
                </a:lnTo>
                <a:lnTo>
                  <a:pt x="99" y="16"/>
                </a:lnTo>
                <a:lnTo>
                  <a:pt x="99" y="17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32" name="Freeform 1232"/>
          <p:cNvSpPr>
            <a:spLocks/>
          </p:cNvSpPr>
          <p:nvPr/>
        </p:nvSpPr>
        <p:spPr bwMode="auto">
          <a:xfrm>
            <a:off x="2282825" y="3581365"/>
            <a:ext cx="328612" cy="522288"/>
          </a:xfrm>
          <a:custGeom>
            <a:avLst/>
            <a:gdLst>
              <a:gd name="T0" fmla="*/ 91 w 207"/>
              <a:gd name="T1" fmla="*/ 4 h 329"/>
              <a:gd name="T2" fmla="*/ 95 w 207"/>
              <a:gd name="T3" fmla="*/ 16 h 329"/>
              <a:gd name="T4" fmla="*/ 81 w 207"/>
              <a:gd name="T5" fmla="*/ 36 h 329"/>
              <a:gd name="T6" fmla="*/ 57 w 207"/>
              <a:gd name="T7" fmla="*/ 52 h 329"/>
              <a:gd name="T8" fmla="*/ 49 w 207"/>
              <a:gd name="T9" fmla="*/ 63 h 329"/>
              <a:gd name="T10" fmla="*/ 45 w 207"/>
              <a:gd name="T11" fmla="*/ 63 h 329"/>
              <a:gd name="T12" fmla="*/ 40 w 207"/>
              <a:gd name="T13" fmla="*/ 84 h 329"/>
              <a:gd name="T14" fmla="*/ 27 w 207"/>
              <a:gd name="T15" fmla="*/ 86 h 329"/>
              <a:gd name="T16" fmla="*/ 20 w 207"/>
              <a:gd name="T17" fmla="*/ 81 h 329"/>
              <a:gd name="T18" fmla="*/ 12 w 207"/>
              <a:gd name="T19" fmla="*/ 81 h 329"/>
              <a:gd name="T20" fmla="*/ 14 w 207"/>
              <a:gd name="T21" fmla="*/ 71 h 329"/>
              <a:gd name="T22" fmla="*/ 13 w 207"/>
              <a:gd name="T23" fmla="*/ 63 h 329"/>
              <a:gd name="T24" fmla="*/ 0 w 207"/>
              <a:gd name="T25" fmla="*/ 76 h 329"/>
              <a:gd name="T26" fmla="*/ 2 w 207"/>
              <a:gd name="T27" fmla="*/ 90 h 329"/>
              <a:gd name="T28" fmla="*/ 6 w 207"/>
              <a:gd name="T29" fmla="*/ 103 h 329"/>
              <a:gd name="T30" fmla="*/ 15 w 207"/>
              <a:gd name="T31" fmla="*/ 116 h 329"/>
              <a:gd name="T32" fmla="*/ 26 w 207"/>
              <a:gd name="T33" fmla="*/ 128 h 329"/>
              <a:gd name="T34" fmla="*/ 43 w 207"/>
              <a:gd name="T35" fmla="*/ 158 h 329"/>
              <a:gd name="T36" fmla="*/ 59 w 207"/>
              <a:gd name="T37" fmla="*/ 192 h 329"/>
              <a:gd name="T38" fmla="*/ 66 w 207"/>
              <a:gd name="T39" fmla="*/ 209 h 329"/>
              <a:gd name="T40" fmla="*/ 82 w 207"/>
              <a:gd name="T41" fmla="*/ 235 h 329"/>
              <a:gd name="T42" fmla="*/ 86 w 207"/>
              <a:gd name="T43" fmla="*/ 252 h 329"/>
              <a:gd name="T44" fmla="*/ 96 w 207"/>
              <a:gd name="T45" fmla="*/ 266 h 329"/>
              <a:gd name="T46" fmla="*/ 125 w 207"/>
              <a:gd name="T47" fmla="*/ 287 h 329"/>
              <a:gd name="T48" fmla="*/ 153 w 207"/>
              <a:gd name="T49" fmla="*/ 303 h 329"/>
              <a:gd name="T50" fmla="*/ 168 w 207"/>
              <a:gd name="T51" fmla="*/ 314 h 329"/>
              <a:gd name="T52" fmla="*/ 185 w 207"/>
              <a:gd name="T53" fmla="*/ 328 h 329"/>
              <a:gd name="T54" fmla="*/ 195 w 207"/>
              <a:gd name="T55" fmla="*/ 326 h 329"/>
              <a:gd name="T56" fmla="*/ 199 w 207"/>
              <a:gd name="T57" fmla="*/ 317 h 329"/>
              <a:gd name="T58" fmla="*/ 202 w 207"/>
              <a:gd name="T59" fmla="*/ 307 h 329"/>
              <a:gd name="T60" fmla="*/ 205 w 207"/>
              <a:gd name="T61" fmla="*/ 292 h 329"/>
              <a:gd name="T62" fmla="*/ 201 w 207"/>
              <a:gd name="T63" fmla="*/ 284 h 329"/>
              <a:gd name="T64" fmla="*/ 203 w 207"/>
              <a:gd name="T65" fmla="*/ 273 h 329"/>
              <a:gd name="T66" fmla="*/ 204 w 207"/>
              <a:gd name="T67" fmla="*/ 262 h 329"/>
              <a:gd name="T68" fmla="*/ 203 w 207"/>
              <a:gd name="T69" fmla="*/ 239 h 329"/>
              <a:gd name="T70" fmla="*/ 206 w 207"/>
              <a:gd name="T71" fmla="*/ 224 h 329"/>
              <a:gd name="T72" fmla="*/ 183 w 207"/>
              <a:gd name="T73" fmla="*/ 198 h 329"/>
              <a:gd name="T74" fmla="*/ 176 w 207"/>
              <a:gd name="T75" fmla="*/ 186 h 329"/>
              <a:gd name="T76" fmla="*/ 172 w 207"/>
              <a:gd name="T77" fmla="*/ 171 h 329"/>
              <a:gd name="T78" fmla="*/ 150 w 207"/>
              <a:gd name="T79" fmla="*/ 177 h 329"/>
              <a:gd name="T80" fmla="*/ 140 w 207"/>
              <a:gd name="T81" fmla="*/ 169 h 329"/>
              <a:gd name="T82" fmla="*/ 134 w 207"/>
              <a:gd name="T83" fmla="*/ 159 h 329"/>
              <a:gd name="T84" fmla="*/ 124 w 207"/>
              <a:gd name="T85" fmla="*/ 144 h 329"/>
              <a:gd name="T86" fmla="*/ 125 w 207"/>
              <a:gd name="T87" fmla="*/ 121 h 329"/>
              <a:gd name="T88" fmla="*/ 132 w 207"/>
              <a:gd name="T89" fmla="*/ 105 h 329"/>
              <a:gd name="T90" fmla="*/ 148 w 207"/>
              <a:gd name="T91" fmla="*/ 84 h 329"/>
              <a:gd name="T92" fmla="*/ 179 w 207"/>
              <a:gd name="T93" fmla="*/ 74 h 329"/>
              <a:gd name="T94" fmla="*/ 173 w 207"/>
              <a:gd name="T95" fmla="*/ 68 h 329"/>
              <a:gd name="T96" fmla="*/ 172 w 207"/>
              <a:gd name="T97" fmla="*/ 61 h 329"/>
              <a:gd name="T98" fmla="*/ 175 w 207"/>
              <a:gd name="T99" fmla="*/ 45 h 329"/>
              <a:gd name="T100" fmla="*/ 160 w 207"/>
              <a:gd name="T101" fmla="*/ 42 h 329"/>
              <a:gd name="T102" fmla="*/ 148 w 207"/>
              <a:gd name="T103" fmla="*/ 40 h 329"/>
              <a:gd name="T104" fmla="*/ 144 w 207"/>
              <a:gd name="T105" fmla="*/ 44 h 329"/>
              <a:gd name="T106" fmla="*/ 133 w 207"/>
              <a:gd name="T107" fmla="*/ 43 h 329"/>
              <a:gd name="T108" fmla="*/ 126 w 207"/>
              <a:gd name="T109" fmla="*/ 32 h 329"/>
              <a:gd name="T110" fmla="*/ 121 w 207"/>
              <a:gd name="T111" fmla="*/ 23 h 329"/>
              <a:gd name="T112" fmla="*/ 113 w 207"/>
              <a:gd name="T113" fmla="*/ 19 h 329"/>
              <a:gd name="T114" fmla="*/ 104 w 207"/>
              <a:gd name="T115" fmla="*/ 6 h 329"/>
              <a:gd name="T116" fmla="*/ 94 w 207"/>
              <a:gd name="T117" fmla="*/ 0 h 3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07" h="329">
                <a:moveTo>
                  <a:pt x="93" y="0"/>
                </a:moveTo>
                <a:lnTo>
                  <a:pt x="93" y="1"/>
                </a:lnTo>
                <a:lnTo>
                  <a:pt x="90" y="1"/>
                </a:lnTo>
                <a:lnTo>
                  <a:pt x="90" y="3"/>
                </a:lnTo>
                <a:lnTo>
                  <a:pt x="91" y="4"/>
                </a:lnTo>
                <a:lnTo>
                  <a:pt x="92" y="5"/>
                </a:lnTo>
                <a:lnTo>
                  <a:pt x="93" y="9"/>
                </a:lnTo>
                <a:lnTo>
                  <a:pt x="93" y="11"/>
                </a:lnTo>
                <a:lnTo>
                  <a:pt x="95" y="16"/>
                </a:lnTo>
                <a:lnTo>
                  <a:pt x="95" y="16"/>
                </a:lnTo>
                <a:lnTo>
                  <a:pt x="93" y="16"/>
                </a:lnTo>
                <a:lnTo>
                  <a:pt x="91" y="22"/>
                </a:lnTo>
                <a:lnTo>
                  <a:pt x="86" y="30"/>
                </a:lnTo>
                <a:lnTo>
                  <a:pt x="83" y="34"/>
                </a:lnTo>
                <a:lnTo>
                  <a:pt x="81" y="36"/>
                </a:lnTo>
                <a:lnTo>
                  <a:pt x="79" y="40"/>
                </a:lnTo>
                <a:lnTo>
                  <a:pt x="75" y="43"/>
                </a:lnTo>
                <a:lnTo>
                  <a:pt x="73" y="45"/>
                </a:lnTo>
                <a:lnTo>
                  <a:pt x="69" y="47"/>
                </a:lnTo>
                <a:lnTo>
                  <a:pt x="57" y="52"/>
                </a:lnTo>
                <a:lnTo>
                  <a:pt x="53" y="54"/>
                </a:lnTo>
                <a:lnTo>
                  <a:pt x="51" y="56"/>
                </a:lnTo>
                <a:lnTo>
                  <a:pt x="50" y="56"/>
                </a:lnTo>
                <a:lnTo>
                  <a:pt x="49" y="60"/>
                </a:lnTo>
                <a:lnTo>
                  <a:pt x="49" y="63"/>
                </a:lnTo>
                <a:lnTo>
                  <a:pt x="47" y="64"/>
                </a:lnTo>
                <a:lnTo>
                  <a:pt x="46" y="64"/>
                </a:lnTo>
                <a:lnTo>
                  <a:pt x="45" y="63"/>
                </a:lnTo>
                <a:lnTo>
                  <a:pt x="45" y="63"/>
                </a:lnTo>
                <a:lnTo>
                  <a:pt x="45" y="63"/>
                </a:lnTo>
                <a:lnTo>
                  <a:pt x="41" y="70"/>
                </a:lnTo>
                <a:lnTo>
                  <a:pt x="41" y="74"/>
                </a:lnTo>
                <a:lnTo>
                  <a:pt x="41" y="81"/>
                </a:lnTo>
                <a:lnTo>
                  <a:pt x="40" y="84"/>
                </a:lnTo>
                <a:lnTo>
                  <a:pt x="40" y="84"/>
                </a:lnTo>
                <a:lnTo>
                  <a:pt x="36" y="85"/>
                </a:lnTo>
                <a:lnTo>
                  <a:pt x="34" y="87"/>
                </a:lnTo>
                <a:lnTo>
                  <a:pt x="32" y="90"/>
                </a:lnTo>
                <a:lnTo>
                  <a:pt x="29" y="88"/>
                </a:lnTo>
                <a:lnTo>
                  <a:pt x="27" y="86"/>
                </a:lnTo>
                <a:lnTo>
                  <a:pt x="27" y="84"/>
                </a:lnTo>
                <a:lnTo>
                  <a:pt x="25" y="82"/>
                </a:lnTo>
                <a:lnTo>
                  <a:pt x="23" y="82"/>
                </a:lnTo>
                <a:lnTo>
                  <a:pt x="21" y="82"/>
                </a:lnTo>
                <a:lnTo>
                  <a:pt x="20" y="81"/>
                </a:lnTo>
                <a:lnTo>
                  <a:pt x="19" y="80"/>
                </a:lnTo>
                <a:lnTo>
                  <a:pt x="15" y="78"/>
                </a:lnTo>
                <a:lnTo>
                  <a:pt x="13" y="81"/>
                </a:lnTo>
                <a:lnTo>
                  <a:pt x="12" y="81"/>
                </a:lnTo>
                <a:lnTo>
                  <a:pt x="12" y="81"/>
                </a:lnTo>
                <a:lnTo>
                  <a:pt x="11" y="76"/>
                </a:lnTo>
                <a:lnTo>
                  <a:pt x="10" y="74"/>
                </a:lnTo>
                <a:lnTo>
                  <a:pt x="10" y="73"/>
                </a:lnTo>
                <a:lnTo>
                  <a:pt x="11" y="72"/>
                </a:lnTo>
                <a:lnTo>
                  <a:pt x="14" y="71"/>
                </a:lnTo>
                <a:lnTo>
                  <a:pt x="15" y="70"/>
                </a:lnTo>
                <a:lnTo>
                  <a:pt x="15" y="66"/>
                </a:lnTo>
                <a:lnTo>
                  <a:pt x="14" y="66"/>
                </a:lnTo>
                <a:lnTo>
                  <a:pt x="13" y="63"/>
                </a:lnTo>
                <a:lnTo>
                  <a:pt x="13" y="63"/>
                </a:lnTo>
                <a:lnTo>
                  <a:pt x="13" y="62"/>
                </a:lnTo>
                <a:lnTo>
                  <a:pt x="11" y="64"/>
                </a:lnTo>
                <a:lnTo>
                  <a:pt x="8" y="66"/>
                </a:lnTo>
                <a:lnTo>
                  <a:pt x="4" y="72"/>
                </a:lnTo>
                <a:lnTo>
                  <a:pt x="0" y="76"/>
                </a:lnTo>
                <a:lnTo>
                  <a:pt x="0" y="78"/>
                </a:lnTo>
                <a:lnTo>
                  <a:pt x="0" y="82"/>
                </a:lnTo>
                <a:lnTo>
                  <a:pt x="0" y="86"/>
                </a:lnTo>
                <a:lnTo>
                  <a:pt x="0" y="87"/>
                </a:lnTo>
                <a:lnTo>
                  <a:pt x="2" y="90"/>
                </a:lnTo>
                <a:lnTo>
                  <a:pt x="2" y="94"/>
                </a:lnTo>
                <a:lnTo>
                  <a:pt x="5" y="97"/>
                </a:lnTo>
                <a:lnTo>
                  <a:pt x="6" y="100"/>
                </a:lnTo>
                <a:lnTo>
                  <a:pt x="6" y="101"/>
                </a:lnTo>
                <a:lnTo>
                  <a:pt x="6" y="103"/>
                </a:lnTo>
                <a:lnTo>
                  <a:pt x="3" y="105"/>
                </a:lnTo>
                <a:lnTo>
                  <a:pt x="4" y="107"/>
                </a:lnTo>
                <a:lnTo>
                  <a:pt x="9" y="111"/>
                </a:lnTo>
                <a:lnTo>
                  <a:pt x="11" y="113"/>
                </a:lnTo>
                <a:lnTo>
                  <a:pt x="15" y="116"/>
                </a:lnTo>
                <a:lnTo>
                  <a:pt x="17" y="117"/>
                </a:lnTo>
                <a:lnTo>
                  <a:pt x="22" y="122"/>
                </a:lnTo>
                <a:lnTo>
                  <a:pt x="24" y="126"/>
                </a:lnTo>
                <a:lnTo>
                  <a:pt x="25" y="126"/>
                </a:lnTo>
                <a:lnTo>
                  <a:pt x="26" y="128"/>
                </a:lnTo>
                <a:lnTo>
                  <a:pt x="30" y="137"/>
                </a:lnTo>
                <a:lnTo>
                  <a:pt x="31" y="141"/>
                </a:lnTo>
                <a:lnTo>
                  <a:pt x="41" y="149"/>
                </a:lnTo>
                <a:lnTo>
                  <a:pt x="43" y="155"/>
                </a:lnTo>
                <a:lnTo>
                  <a:pt x="43" y="158"/>
                </a:lnTo>
                <a:lnTo>
                  <a:pt x="44" y="161"/>
                </a:lnTo>
                <a:lnTo>
                  <a:pt x="47" y="168"/>
                </a:lnTo>
                <a:lnTo>
                  <a:pt x="50" y="173"/>
                </a:lnTo>
                <a:lnTo>
                  <a:pt x="53" y="182"/>
                </a:lnTo>
                <a:lnTo>
                  <a:pt x="59" y="192"/>
                </a:lnTo>
                <a:lnTo>
                  <a:pt x="60" y="194"/>
                </a:lnTo>
                <a:lnTo>
                  <a:pt x="61" y="201"/>
                </a:lnTo>
                <a:lnTo>
                  <a:pt x="63" y="206"/>
                </a:lnTo>
                <a:lnTo>
                  <a:pt x="65" y="208"/>
                </a:lnTo>
                <a:lnTo>
                  <a:pt x="66" y="209"/>
                </a:lnTo>
                <a:lnTo>
                  <a:pt x="69" y="212"/>
                </a:lnTo>
                <a:lnTo>
                  <a:pt x="71" y="218"/>
                </a:lnTo>
                <a:lnTo>
                  <a:pt x="76" y="224"/>
                </a:lnTo>
                <a:lnTo>
                  <a:pt x="79" y="228"/>
                </a:lnTo>
                <a:lnTo>
                  <a:pt x="82" y="235"/>
                </a:lnTo>
                <a:lnTo>
                  <a:pt x="86" y="239"/>
                </a:lnTo>
                <a:lnTo>
                  <a:pt x="89" y="245"/>
                </a:lnTo>
                <a:lnTo>
                  <a:pt x="89" y="248"/>
                </a:lnTo>
                <a:lnTo>
                  <a:pt x="87" y="250"/>
                </a:lnTo>
                <a:lnTo>
                  <a:pt x="86" y="252"/>
                </a:lnTo>
                <a:lnTo>
                  <a:pt x="87" y="256"/>
                </a:lnTo>
                <a:lnTo>
                  <a:pt x="89" y="257"/>
                </a:lnTo>
                <a:lnTo>
                  <a:pt x="92" y="260"/>
                </a:lnTo>
                <a:lnTo>
                  <a:pt x="94" y="264"/>
                </a:lnTo>
                <a:lnTo>
                  <a:pt x="96" y="266"/>
                </a:lnTo>
                <a:lnTo>
                  <a:pt x="103" y="273"/>
                </a:lnTo>
                <a:lnTo>
                  <a:pt x="105" y="275"/>
                </a:lnTo>
                <a:lnTo>
                  <a:pt x="107" y="277"/>
                </a:lnTo>
                <a:lnTo>
                  <a:pt x="115" y="283"/>
                </a:lnTo>
                <a:lnTo>
                  <a:pt x="125" y="287"/>
                </a:lnTo>
                <a:lnTo>
                  <a:pt x="132" y="293"/>
                </a:lnTo>
                <a:lnTo>
                  <a:pt x="133" y="293"/>
                </a:lnTo>
                <a:lnTo>
                  <a:pt x="145" y="298"/>
                </a:lnTo>
                <a:lnTo>
                  <a:pt x="152" y="303"/>
                </a:lnTo>
                <a:lnTo>
                  <a:pt x="153" y="303"/>
                </a:lnTo>
                <a:lnTo>
                  <a:pt x="154" y="303"/>
                </a:lnTo>
                <a:lnTo>
                  <a:pt x="155" y="304"/>
                </a:lnTo>
                <a:lnTo>
                  <a:pt x="163" y="309"/>
                </a:lnTo>
                <a:lnTo>
                  <a:pt x="166" y="310"/>
                </a:lnTo>
                <a:lnTo>
                  <a:pt x="168" y="314"/>
                </a:lnTo>
                <a:lnTo>
                  <a:pt x="172" y="316"/>
                </a:lnTo>
                <a:lnTo>
                  <a:pt x="174" y="319"/>
                </a:lnTo>
                <a:lnTo>
                  <a:pt x="178" y="324"/>
                </a:lnTo>
                <a:lnTo>
                  <a:pt x="182" y="326"/>
                </a:lnTo>
                <a:lnTo>
                  <a:pt x="185" y="328"/>
                </a:lnTo>
                <a:lnTo>
                  <a:pt x="185" y="328"/>
                </a:lnTo>
                <a:lnTo>
                  <a:pt x="186" y="329"/>
                </a:lnTo>
                <a:lnTo>
                  <a:pt x="189" y="326"/>
                </a:lnTo>
                <a:lnTo>
                  <a:pt x="189" y="326"/>
                </a:lnTo>
                <a:lnTo>
                  <a:pt x="195" y="326"/>
                </a:lnTo>
                <a:lnTo>
                  <a:pt x="196" y="325"/>
                </a:lnTo>
                <a:lnTo>
                  <a:pt x="197" y="325"/>
                </a:lnTo>
                <a:lnTo>
                  <a:pt x="197" y="322"/>
                </a:lnTo>
                <a:lnTo>
                  <a:pt x="198" y="318"/>
                </a:lnTo>
                <a:lnTo>
                  <a:pt x="199" y="317"/>
                </a:lnTo>
                <a:lnTo>
                  <a:pt x="201" y="317"/>
                </a:lnTo>
                <a:lnTo>
                  <a:pt x="199" y="315"/>
                </a:lnTo>
                <a:lnTo>
                  <a:pt x="198" y="315"/>
                </a:lnTo>
                <a:lnTo>
                  <a:pt x="198" y="313"/>
                </a:lnTo>
                <a:lnTo>
                  <a:pt x="202" y="307"/>
                </a:lnTo>
                <a:lnTo>
                  <a:pt x="204" y="304"/>
                </a:lnTo>
                <a:lnTo>
                  <a:pt x="207" y="298"/>
                </a:lnTo>
                <a:lnTo>
                  <a:pt x="207" y="295"/>
                </a:lnTo>
                <a:lnTo>
                  <a:pt x="206" y="294"/>
                </a:lnTo>
                <a:lnTo>
                  <a:pt x="205" y="292"/>
                </a:lnTo>
                <a:lnTo>
                  <a:pt x="204" y="292"/>
                </a:lnTo>
                <a:lnTo>
                  <a:pt x="202" y="289"/>
                </a:lnTo>
                <a:lnTo>
                  <a:pt x="202" y="289"/>
                </a:lnTo>
                <a:lnTo>
                  <a:pt x="201" y="287"/>
                </a:lnTo>
                <a:lnTo>
                  <a:pt x="201" y="284"/>
                </a:lnTo>
                <a:lnTo>
                  <a:pt x="201" y="280"/>
                </a:lnTo>
                <a:lnTo>
                  <a:pt x="202" y="277"/>
                </a:lnTo>
                <a:lnTo>
                  <a:pt x="203" y="276"/>
                </a:lnTo>
                <a:lnTo>
                  <a:pt x="203" y="274"/>
                </a:lnTo>
                <a:lnTo>
                  <a:pt x="203" y="273"/>
                </a:lnTo>
                <a:lnTo>
                  <a:pt x="203" y="270"/>
                </a:lnTo>
                <a:lnTo>
                  <a:pt x="199" y="266"/>
                </a:lnTo>
                <a:lnTo>
                  <a:pt x="199" y="265"/>
                </a:lnTo>
                <a:lnTo>
                  <a:pt x="201" y="264"/>
                </a:lnTo>
                <a:lnTo>
                  <a:pt x="204" y="262"/>
                </a:lnTo>
                <a:lnTo>
                  <a:pt x="204" y="260"/>
                </a:lnTo>
                <a:lnTo>
                  <a:pt x="204" y="255"/>
                </a:lnTo>
                <a:lnTo>
                  <a:pt x="203" y="248"/>
                </a:lnTo>
                <a:lnTo>
                  <a:pt x="202" y="245"/>
                </a:lnTo>
                <a:lnTo>
                  <a:pt x="203" y="239"/>
                </a:lnTo>
                <a:lnTo>
                  <a:pt x="202" y="232"/>
                </a:lnTo>
                <a:lnTo>
                  <a:pt x="203" y="227"/>
                </a:lnTo>
                <a:lnTo>
                  <a:pt x="205" y="225"/>
                </a:lnTo>
                <a:lnTo>
                  <a:pt x="206" y="224"/>
                </a:lnTo>
                <a:lnTo>
                  <a:pt x="206" y="224"/>
                </a:lnTo>
                <a:lnTo>
                  <a:pt x="201" y="216"/>
                </a:lnTo>
                <a:lnTo>
                  <a:pt x="189" y="196"/>
                </a:lnTo>
                <a:lnTo>
                  <a:pt x="185" y="197"/>
                </a:lnTo>
                <a:lnTo>
                  <a:pt x="183" y="198"/>
                </a:lnTo>
                <a:lnTo>
                  <a:pt x="183" y="198"/>
                </a:lnTo>
                <a:lnTo>
                  <a:pt x="181" y="198"/>
                </a:lnTo>
                <a:lnTo>
                  <a:pt x="179" y="198"/>
                </a:lnTo>
                <a:lnTo>
                  <a:pt x="177" y="197"/>
                </a:lnTo>
                <a:lnTo>
                  <a:pt x="176" y="196"/>
                </a:lnTo>
                <a:lnTo>
                  <a:pt x="176" y="186"/>
                </a:lnTo>
                <a:lnTo>
                  <a:pt x="176" y="186"/>
                </a:lnTo>
                <a:lnTo>
                  <a:pt x="175" y="167"/>
                </a:lnTo>
                <a:lnTo>
                  <a:pt x="175" y="167"/>
                </a:lnTo>
                <a:lnTo>
                  <a:pt x="174" y="167"/>
                </a:lnTo>
                <a:lnTo>
                  <a:pt x="172" y="171"/>
                </a:lnTo>
                <a:lnTo>
                  <a:pt x="165" y="176"/>
                </a:lnTo>
                <a:lnTo>
                  <a:pt x="161" y="178"/>
                </a:lnTo>
                <a:lnTo>
                  <a:pt x="157" y="179"/>
                </a:lnTo>
                <a:lnTo>
                  <a:pt x="154" y="179"/>
                </a:lnTo>
                <a:lnTo>
                  <a:pt x="150" y="177"/>
                </a:lnTo>
                <a:lnTo>
                  <a:pt x="148" y="176"/>
                </a:lnTo>
                <a:lnTo>
                  <a:pt x="147" y="173"/>
                </a:lnTo>
                <a:lnTo>
                  <a:pt x="146" y="172"/>
                </a:lnTo>
                <a:lnTo>
                  <a:pt x="145" y="171"/>
                </a:lnTo>
                <a:lnTo>
                  <a:pt x="140" y="169"/>
                </a:lnTo>
                <a:lnTo>
                  <a:pt x="135" y="168"/>
                </a:lnTo>
                <a:lnTo>
                  <a:pt x="135" y="167"/>
                </a:lnTo>
                <a:lnTo>
                  <a:pt x="136" y="164"/>
                </a:lnTo>
                <a:lnTo>
                  <a:pt x="136" y="162"/>
                </a:lnTo>
                <a:lnTo>
                  <a:pt x="134" y="159"/>
                </a:lnTo>
                <a:lnTo>
                  <a:pt x="130" y="155"/>
                </a:lnTo>
                <a:lnTo>
                  <a:pt x="128" y="152"/>
                </a:lnTo>
                <a:lnTo>
                  <a:pt x="125" y="148"/>
                </a:lnTo>
                <a:lnTo>
                  <a:pt x="125" y="147"/>
                </a:lnTo>
                <a:lnTo>
                  <a:pt x="124" y="144"/>
                </a:lnTo>
                <a:lnTo>
                  <a:pt x="121" y="136"/>
                </a:lnTo>
                <a:lnTo>
                  <a:pt x="121" y="134"/>
                </a:lnTo>
                <a:lnTo>
                  <a:pt x="121" y="133"/>
                </a:lnTo>
                <a:lnTo>
                  <a:pt x="124" y="126"/>
                </a:lnTo>
                <a:lnTo>
                  <a:pt x="125" y="121"/>
                </a:lnTo>
                <a:lnTo>
                  <a:pt x="126" y="118"/>
                </a:lnTo>
                <a:lnTo>
                  <a:pt x="130" y="117"/>
                </a:lnTo>
                <a:lnTo>
                  <a:pt x="132" y="117"/>
                </a:lnTo>
                <a:lnTo>
                  <a:pt x="132" y="107"/>
                </a:lnTo>
                <a:lnTo>
                  <a:pt x="132" y="105"/>
                </a:lnTo>
                <a:lnTo>
                  <a:pt x="134" y="101"/>
                </a:lnTo>
                <a:lnTo>
                  <a:pt x="136" y="96"/>
                </a:lnTo>
                <a:lnTo>
                  <a:pt x="141" y="91"/>
                </a:lnTo>
                <a:lnTo>
                  <a:pt x="144" y="88"/>
                </a:lnTo>
                <a:lnTo>
                  <a:pt x="148" y="84"/>
                </a:lnTo>
                <a:lnTo>
                  <a:pt x="154" y="82"/>
                </a:lnTo>
                <a:lnTo>
                  <a:pt x="168" y="77"/>
                </a:lnTo>
                <a:lnTo>
                  <a:pt x="172" y="75"/>
                </a:lnTo>
                <a:lnTo>
                  <a:pt x="178" y="76"/>
                </a:lnTo>
                <a:lnTo>
                  <a:pt x="179" y="74"/>
                </a:lnTo>
                <a:lnTo>
                  <a:pt x="181" y="74"/>
                </a:lnTo>
                <a:lnTo>
                  <a:pt x="178" y="74"/>
                </a:lnTo>
                <a:lnTo>
                  <a:pt x="175" y="70"/>
                </a:lnTo>
                <a:lnTo>
                  <a:pt x="174" y="68"/>
                </a:lnTo>
                <a:lnTo>
                  <a:pt x="173" y="68"/>
                </a:lnTo>
                <a:lnTo>
                  <a:pt x="172" y="68"/>
                </a:lnTo>
                <a:lnTo>
                  <a:pt x="170" y="68"/>
                </a:lnTo>
                <a:lnTo>
                  <a:pt x="170" y="67"/>
                </a:lnTo>
                <a:lnTo>
                  <a:pt x="170" y="64"/>
                </a:lnTo>
                <a:lnTo>
                  <a:pt x="172" y="61"/>
                </a:lnTo>
                <a:lnTo>
                  <a:pt x="175" y="56"/>
                </a:lnTo>
                <a:lnTo>
                  <a:pt x="177" y="54"/>
                </a:lnTo>
                <a:lnTo>
                  <a:pt x="178" y="52"/>
                </a:lnTo>
                <a:lnTo>
                  <a:pt x="177" y="50"/>
                </a:lnTo>
                <a:lnTo>
                  <a:pt x="175" y="45"/>
                </a:lnTo>
                <a:lnTo>
                  <a:pt x="170" y="42"/>
                </a:lnTo>
                <a:lnTo>
                  <a:pt x="165" y="41"/>
                </a:lnTo>
                <a:lnTo>
                  <a:pt x="163" y="40"/>
                </a:lnTo>
                <a:lnTo>
                  <a:pt x="162" y="40"/>
                </a:lnTo>
                <a:lnTo>
                  <a:pt x="160" y="42"/>
                </a:lnTo>
                <a:lnTo>
                  <a:pt x="157" y="42"/>
                </a:lnTo>
                <a:lnTo>
                  <a:pt x="155" y="42"/>
                </a:lnTo>
                <a:lnTo>
                  <a:pt x="154" y="41"/>
                </a:lnTo>
                <a:lnTo>
                  <a:pt x="152" y="40"/>
                </a:lnTo>
                <a:lnTo>
                  <a:pt x="148" y="40"/>
                </a:lnTo>
                <a:lnTo>
                  <a:pt x="147" y="41"/>
                </a:lnTo>
                <a:lnTo>
                  <a:pt x="146" y="42"/>
                </a:lnTo>
                <a:lnTo>
                  <a:pt x="146" y="42"/>
                </a:lnTo>
                <a:lnTo>
                  <a:pt x="145" y="43"/>
                </a:lnTo>
                <a:lnTo>
                  <a:pt x="144" y="44"/>
                </a:lnTo>
                <a:lnTo>
                  <a:pt x="142" y="44"/>
                </a:lnTo>
                <a:lnTo>
                  <a:pt x="141" y="44"/>
                </a:lnTo>
                <a:lnTo>
                  <a:pt x="138" y="43"/>
                </a:lnTo>
                <a:lnTo>
                  <a:pt x="134" y="43"/>
                </a:lnTo>
                <a:lnTo>
                  <a:pt x="133" y="43"/>
                </a:lnTo>
                <a:lnTo>
                  <a:pt x="130" y="43"/>
                </a:lnTo>
                <a:lnTo>
                  <a:pt x="128" y="41"/>
                </a:lnTo>
                <a:lnTo>
                  <a:pt x="127" y="40"/>
                </a:lnTo>
                <a:lnTo>
                  <a:pt x="127" y="32"/>
                </a:lnTo>
                <a:lnTo>
                  <a:pt x="126" y="32"/>
                </a:lnTo>
                <a:lnTo>
                  <a:pt x="124" y="32"/>
                </a:lnTo>
                <a:lnTo>
                  <a:pt x="123" y="31"/>
                </a:lnTo>
                <a:lnTo>
                  <a:pt x="122" y="30"/>
                </a:lnTo>
                <a:lnTo>
                  <a:pt x="121" y="26"/>
                </a:lnTo>
                <a:lnTo>
                  <a:pt x="121" y="23"/>
                </a:lnTo>
                <a:lnTo>
                  <a:pt x="120" y="21"/>
                </a:lnTo>
                <a:lnTo>
                  <a:pt x="117" y="20"/>
                </a:lnTo>
                <a:lnTo>
                  <a:pt x="116" y="19"/>
                </a:lnTo>
                <a:lnTo>
                  <a:pt x="115" y="19"/>
                </a:lnTo>
                <a:lnTo>
                  <a:pt x="113" y="19"/>
                </a:lnTo>
                <a:lnTo>
                  <a:pt x="112" y="16"/>
                </a:lnTo>
                <a:lnTo>
                  <a:pt x="111" y="15"/>
                </a:lnTo>
                <a:lnTo>
                  <a:pt x="108" y="12"/>
                </a:lnTo>
                <a:lnTo>
                  <a:pt x="107" y="7"/>
                </a:lnTo>
                <a:lnTo>
                  <a:pt x="104" y="6"/>
                </a:lnTo>
                <a:lnTo>
                  <a:pt x="103" y="5"/>
                </a:lnTo>
                <a:lnTo>
                  <a:pt x="102" y="3"/>
                </a:lnTo>
                <a:lnTo>
                  <a:pt x="100" y="2"/>
                </a:lnTo>
                <a:lnTo>
                  <a:pt x="97" y="1"/>
                </a:lnTo>
                <a:lnTo>
                  <a:pt x="94" y="0"/>
                </a:lnTo>
                <a:lnTo>
                  <a:pt x="93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33" name="Freeform 1233"/>
          <p:cNvSpPr>
            <a:spLocks/>
          </p:cNvSpPr>
          <p:nvPr/>
        </p:nvSpPr>
        <p:spPr bwMode="auto">
          <a:xfrm>
            <a:off x="2282825" y="3581365"/>
            <a:ext cx="328612" cy="522288"/>
          </a:xfrm>
          <a:custGeom>
            <a:avLst/>
            <a:gdLst>
              <a:gd name="T0" fmla="*/ 91 w 207"/>
              <a:gd name="T1" fmla="*/ 4 h 329"/>
              <a:gd name="T2" fmla="*/ 95 w 207"/>
              <a:gd name="T3" fmla="*/ 16 h 329"/>
              <a:gd name="T4" fmla="*/ 81 w 207"/>
              <a:gd name="T5" fmla="*/ 36 h 329"/>
              <a:gd name="T6" fmla="*/ 57 w 207"/>
              <a:gd name="T7" fmla="*/ 52 h 329"/>
              <a:gd name="T8" fmla="*/ 49 w 207"/>
              <a:gd name="T9" fmla="*/ 63 h 329"/>
              <a:gd name="T10" fmla="*/ 45 w 207"/>
              <a:gd name="T11" fmla="*/ 63 h 329"/>
              <a:gd name="T12" fmla="*/ 40 w 207"/>
              <a:gd name="T13" fmla="*/ 84 h 329"/>
              <a:gd name="T14" fmla="*/ 27 w 207"/>
              <a:gd name="T15" fmla="*/ 86 h 329"/>
              <a:gd name="T16" fmla="*/ 20 w 207"/>
              <a:gd name="T17" fmla="*/ 81 h 329"/>
              <a:gd name="T18" fmla="*/ 12 w 207"/>
              <a:gd name="T19" fmla="*/ 81 h 329"/>
              <a:gd name="T20" fmla="*/ 14 w 207"/>
              <a:gd name="T21" fmla="*/ 71 h 329"/>
              <a:gd name="T22" fmla="*/ 13 w 207"/>
              <a:gd name="T23" fmla="*/ 63 h 329"/>
              <a:gd name="T24" fmla="*/ 0 w 207"/>
              <a:gd name="T25" fmla="*/ 76 h 329"/>
              <a:gd name="T26" fmla="*/ 2 w 207"/>
              <a:gd name="T27" fmla="*/ 90 h 329"/>
              <a:gd name="T28" fmla="*/ 6 w 207"/>
              <a:gd name="T29" fmla="*/ 103 h 329"/>
              <a:gd name="T30" fmla="*/ 15 w 207"/>
              <a:gd name="T31" fmla="*/ 116 h 329"/>
              <a:gd name="T32" fmla="*/ 26 w 207"/>
              <a:gd name="T33" fmla="*/ 128 h 329"/>
              <a:gd name="T34" fmla="*/ 43 w 207"/>
              <a:gd name="T35" fmla="*/ 158 h 329"/>
              <a:gd name="T36" fmla="*/ 59 w 207"/>
              <a:gd name="T37" fmla="*/ 192 h 329"/>
              <a:gd name="T38" fmla="*/ 66 w 207"/>
              <a:gd name="T39" fmla="*/ 209 h 329"/>
              <a:gd name="T40" fmla="*/ 82 w 207"/>
              <a:gd name="T41" fmla="*/ 235 h 329"/>
              <a:gd name="T42" fmla="*/ 86 w 207"/>
              <a:gd name="T43" fmla="*/ 252 h 329"/>
              <a:gd name="T44" fmla="*/ 96 w 207"/>
              <a:gd name="T45" fmla="*/ 266 h 329"/>
              <a:gd name="T46" fmla="*/ 125 w 207"/>
              <a:gd name="T47" fmla="*/ 287 h 329"/>
              <a:gd name="T48" fmla="*/ 153 w 207"/>
              <a:gd name="T49" fmla="*/ 303 h 329"/>
              <a:gd name="T50" fmla="*/ 168 w 207"/>
              <a:gd name="T51" fmla="*/ 314 h 329"/>
              <a:gd name="T52" fmla="*/ 185 w 207"/>
              <a:gd name="T53" fmla="*/ 328 h 329"/>
              <a:gd name="T54" fmla="*/ 195 w 207"/>
              <a:gd name="T55" fmla="*/ 326 h 329"/>
              <a:gd name="T56" fmla="*/ 199 w 207"/>
              <a:gd name="T57" fmla="*/ 317 h 329"/>
              <a:gd name="T58" fmla="*/ 202 w 207"/>
              <a:gd name="T59" fmla="*/ 307 h 329"/>
              <a:gd name="T60" fmla="*/ 205 w 207"/>
              <a:gd name="T61" fmla="*/ 292 h 329"/>
              <a:gd name="T62" fmla="*/ 201 w 207"/>
              <a:gd name="T63" fmla="*/ 284 h 329"/>
              <a:gd name="T64" fmla="*/ 203 w 207"/>
              <a:gd name="T65" fmla="*/ 273 h 329"/>
              <a:gd name="T66" fmla="*/ 204 w 207"/>
              <a:gd name="T67" fmla="*/ 262 h 329"/>
              <a:gd name="T68" fmla="*/ 203 w 207"/>
              <a:gd name="T69" fmla="*/ 239 h 329"/>
              <a:gd name="T70" fmla="*/ 206 w 207"/>
              <a:gd name="T71" fmla="*/ 224 h 329"/>
              <a:gd name="T72" fmla="*/ 183 w 207"/>
              <a:gd name="T73" fmla="*/ 198 h 329"/>
              <a:gd name="T74" fmla="*/ 176 w 207"/>
              <a:gd name="T75" fmla="*/ 186 h 329"/>
              <a:gd name="T76" fmla="*/ 172 w 207"/>
              <a:gd name="T77" fmla="*/ 171 h 329"/>
              <a:gd name="T78" fmla="*/ 150 w 207"/>
              <a:gd name="T79" fmla="*/ 177 h 329"/>
              <a:gd name="T80" fmla="*/ 140 w 207"/>
              <a:gd name="T81" fmla="*/ 169 h 329"/>
              <a:gd name="T82" fmla="*/ 134 w 207"/>
              <a:gd name="T83" fmla="*/ 159 h 329"/>
              <a:gd name="T84" fmla="*/ 124 w 207"/>
              <a:gd name="T85" fmla="*/ 144 h 329"/>
              <a:gd name="T86" fmla="*/ 125 w 207"/>
              <a:gd name="T87" fmla="*/ 121 h 329"/>
              <a:gd name="T88" fmla="*/ 132 w 207"/>
              <a:gd name="T89" fmla="*/ 105 h 329"/>
              <a:gd name="T90" fmla="*/ 148 w 207"/>
              <a:gd name="T91" fmla="*/ 84 h 329"/>
              <a:gd name="T92" fmla="*/ 179 w 207"/>
              <a:gd name="T93" fmla="*/ 74 h 329"/>
              <a:gd name="T94" fmla="*/ 173 w 207"/>
              <a:gd name="T95" fmla="*/ 68 h 329"/>
              <a:gd name="T96" fmla="*/ 172 w 207"/>
              <a:gd name="T97" fmla="*/ 61 h 329"/>
              <a:gd name="T98" fmla="*/ 175 w 207"/>
              <a:gd name="T99" fmla="*/ 45 h 329"/>
              <a:gd name="T100" fmla="*/ 160 w 207"/>
              <a:gd name="T101" fmla="*/ 42 h 329"/>
              <a:gd name="T102" fmla="*/ 148 w 207"/>
              <a:gd name="T103" fmla="*/ 40 h 329"/>
              <a:gd name="T104" fmla="*/ 144 w 207"/>
              <a:gd name="T105" fmla="*/ 44 h 329"/>
              <a:gd name="T106" fmla="*/ 133 w 207"/>
              <a:gd name="T107" fmla="*/ 43 h 329"/>
              <a:gd name="T108" fmla="*/ 126 w 207"/>
              <a:gd name="T109" fmla="*/ 32 h 329"/>
              <a:gd name="T110" fmla="*/ 121 w 207"/>
              <a:gd name="T111" fmla="*/ 23 h 329"/>
              <a:gd name="T112" fmla="*/ 113 w 207"/>
              <a:gd name="T113" fmla="*/ 19 h 329"/>
              <a:gd name="T114" fmla="*/ 104 w 207"/>
              <a:gd name="T115" fmla="*/ 6 h 329"/>
              <a:gd name="T116" fmla="*/ 94 w 207"/>
              <a:gd name="T117" fmla="*/ 0 h 3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07" h="329">
                <a:moveTo>
                  <a:pt x="93" y="0"/>
                </a:moveTo>
                <a:lnTo>
                  <a:pt x="93" y="1"/>
                </a:lnTo>
                <a:lnTo>
                  <a:pt x="90" y="1"/>
                </a:lnTo>
                <a:lnTo>
                  <a:pt x="90" y="3"/>
                </a:lnTo>
                <a:lnTo>
                  <a:pt x="91" y="4"/>
                </a:lnTo>
                <a:lnTo>
                  <a:pt x="92" y="5"/>
                </a:lnTo>
                <a:lnTo>
                  <a:pt x="93" y="9"/>
                </a:lnTo>
                <a:lnTo>
                  <a:pt x="93" y="11"/>
                </a:lnTo>
                <a:lnTo>
                  <a:pt x="95" y="16"/>
                </a:lnTo>
                <a:lnTo>
                  <a:pt x="95" y="16"/>
                </a:lnTo>
                <a:lnTo>
                  <a:pt x="93" y="16"/>
                </a:lnTo>
                <a:lnTo>
                  <a:pt x="91" y="22"/>
                </a:lnTo>
                <a:lnTo>
                  <a:pt x="86" y="30"/>
                </a:lnTo>
                <a:lnTo>
                  <a:pt x="83" y="34"/>
                </a:lnTo>
                <a:lnTo>
                  <a:pt x="81" y="36"/>
                </a:lnTo>
                <a:lnTo>
                  <a:pt x="79" y="40"/>
                </a:lnTo>
                <a:lnTo>
                  <a:pt x="75" y="43"/>
                </a:lnTo>
                <a:lnTo>
                  <a:pt x="73" y="45"/>
                </a:lnTo>
                <a:lnTo>
                  <a:pt x="69" y="47"/>
                </a:lnTo>
                <a:lnTo>
                  <a:pt x="57" y="52"/>
                </a:lnTo>
                <a:lnTo>
                  <a:pt x="53" y="54"/>
                </a:lnTo>
                <a:lnTo>
                  <a:pt x="51" y="56"/>
                </a:lnTo>
                <a:lnTo>
                  <a:pt x="50" y="56"/>
                </a:lnTo>
                <a:lnTo>
                  <a:pt x="49" y="60"/>
                </a:lnTo>
                <a:lnTo>
                  <a:pt x="49" y="63"/>
                </a:lnTo>
                <a:lnTo>
                  <a:pt x="47" y="64"/>
                </a:lnTo>
                <a:lnTo>
                  <a:pt x="46" y="64"/>
                </a:lnTo>
                <a:lnTo>
                  <a:pt x="45" y="63"/>
                </a:lnTo>
                <a:lnTo>
                  <a:pt x="45" y="63"/>
                </a:lnTo>
                <a:lnTo>
                  <a:pt x="45" y="63"/>
                </a:lnTo>
                <a:lnTo>
                  <a:pt x="41" y="70"/>
                </a:lnTo>
                <a:lnTo>
                  <a:pt x="41" y="74"/>
                </a:lnTo>
                <a:lnTo>
                  <a:pt x="41" y="81"/>
                </a:lnTo>
                <a:lnTo>
                  <a:pt x="40" y="84"/>
                </a:lnTo>
                <a:lnTo>
                  <a:pt x="40" y="84"/>
                </a:lnTo>
                <a:lnTo>
                  <a:pt x="36" y="85"/>
                </a:lnTo>
                <a:lnTo>
                  <a:pt x="34" y="87"/>
                </a:lnTo>
                <a:lnTo>
                  <a:pt x="32" y="90"/>
                </a:lnTo>
                <a:lnTo>
                  <a:pt x="29" y="88"/>
                </a:lnTo>
                <a:lnTo>
                  <a:pt x="27" y="86"/>
                </a:lnTo>
                <a:lnTo>
                  <a:pt x="27" y="84"/>
                </a:lnTo>
                <a:lnTo>
                  <a:pt x="25" y="82"/>
                </a:lnTo>
                <a:lnTo>
                  <a:pt x="23" y="82"/>
                </a:lnTo>
                <a:lnTo>
                  <a:pt x="21" y="82"/>
                </a:lnTo>
                <a:lnTo>
                  <a:pt x="20" y="81"/>
                </a:lnTo>
                <a:lnTo>
                  <a:pt x="19" y="80"/>
                </a:lnTo>
                <a:lnTo>
                  <a:pt x="15" y="78"/>
                </a:lnTo>
                <a:lnTo>
                  <a:pt x="13" y="81"/>
                </a:lnTo>
                <a:lnTo>
                  <a:pt x="12" y="81"/>
                </a:lnTo>
                <a:lnTo>
                  <a:pt x="12" y="81"/>
                </a:lnTo>
                <a:lnTo>
                  <a:pt x="11" y="76"/>
                </a:lnTo>
                <a:lnTo>
                  <a:pt x="10" y="74"/>
                </a:lnTo>
                <a:lnTo>
                  <a:pt x="10" y="73"/>
                </a:lnTo>
                <a:lnTo>
                  <a:pt x="11" y="72"/>
                </a:lnTo>
                <a:lnTo>
                  <a:pt x="14" y="71"/>
                </a:lnTo>
                <a:lnTo>
                  <a:pt x="15" y="70"/>
                </a:lnTo>
                <a:lnTo>
                  <a:pt x="15" y="66"/>
                </a:lnTo>
                <a:lnTo>
                  <a:pt x="14" y="66"/>
                </a:lnTo>
                <a:lnTo>
                  <a:pt x="13" y="63"/>
                </a:lnTo>
                <a:lnTo>
                  <a:pt x="13" y="63"/>
                </a:lnTo>
                <a:lnTo>
                  <a:pt x="13" y="62"/>
                </a:lnTo>
                <a:lnTo>
                  <a:pt x="11" y="64"/>
                </a:lnTo>
                <a:lnTo>
                  <a:pt x="8" y="66"/>
                </a:lnTo>
                <a:lnTo>
                  <a:pt x="4" y="72"/>
                </a:lnTo>
                <a:lnTo>
                  <a:pt x="0" y="76"/>
                </a:lnTo>
                <a:lnTo>
                  <a:pt x="0" y="78"/>
                </a:lnTo>
                <a:lnTo>
                  <a:pt x="0" y="82"/>
                </a:lnTo>
                <a:lnTo>
                  <a:pt x="0" y="86"/>
                </a:lnTo>
                <a:lnTo>
                  <a:pt x="0" y="87"/>
                </a:lnTo>
                <a:lnTo>
                  <a:pt x="2" y="90"/>
                </a:lnTo>
                <a:lnTo>
                  <a:pt x="2" y="94"/>
                </a:lnTo>
                <a:lnTo>
                  <a:pt x="5" y="97"/>
                </a:lnTo>
                <a:lnTo>
                  <a:pt x="6" y="100"/>
                </a:lnTo>
                <a:lnTo>
                  <a:pt x="6" y="101"/>
                </a:lnTo>
                <a:lnTo>
                  <a:pt x="6" y="103"/>
                </a:lnTo>
                <a:lnTo>
                  <a:pt x="3" y="105"/>
                </a:lnTo>
                <a:lnTo>
                  <a:pt x="4" y="107"/>
                </a:lnTo>
                <a:lnTo>
                  <a:pt x="9" y="111"/>
                </a:lnTo>
                <a:lnTo>
                  <a:pt x="11" y="113"/>
                </a:lnTo>
                <a:lnTo>
                  <a:pt x="15" y="116"/>
                </a:lnTo>
                <a:lnTo>
                  <a:pt x="17" y="117"/>
                </a:lnTo>
                <a:lnTo>
                  <a:pt x="22" y="122"/>
                </a:lnTo>
                <a:lnTo>
                  <a:pt x="24" y="126"/>
                </a:lnTo>
                <a:lnTo>
                  <a:pt x="25" y="126"/>
                </a:lnTo>
                <a:lnTo>
                  <a:pt x="26" y="128"/>
                </a:lnTo>
                <a:lnTo>
                  <a:pt x="30" y="137"/>
                </a:lnTo>
                <a:lnTo>
                  <a:pt x="31" y="141"/>
                </a:lnTo>
                <a:lnTo>
                  <a:pt x="41" y="149"/>
                </a:lnTo>
                <a:lnTo>
                  <a:pt x="43" y="155"/>
                </a:lnTo>
                <a:lnTo>
                  <a:pt x="43" y="158"/>
                </a:lnTo>
                <a:lnTo>
                  <a:pt x="44" y="161"/>
                </a:lnTo>
                <a:lnTo>
                  <a:pt x="47" y="168"/>
                </a:lnTo>
                <a:lnTo>
                  <a:pt x="50" y="173"/>
                </a:lnTo>
                <a:lnTo>
                  <a:pt x="53" y="182"/>
                </a:lnTo>
                <a:lnTo>
                  <a:pt x="59" y="192"/>
                </a:lnTo>
                <a:lnTo>
                  <a:pt x="60" y="194"/>
                </a:lnTo>
                <a:lnTo>
                  <a:pt x="61" y="201"/>
                </a:lnTo>
                <a:lnTo>
                  <a:pt x="63" y="206"/>
                </a:lnTo>
                <a:lnTo>
                  <a:pt x="65" y="208"/>
                </a:lnTo>
                <a:lnTo>
                  <a:pt x="66" y="209"/>
                </a:lnTo>
                <a:lnTo>
                  <a:pt x="69" y="212"/>
                </a:lnTo>
                <a:lnTo>
                  <a:pt x="71" y="218"/>
                </a:lnTo>
                <a:lnTo>
                  <a:pt x="76" y="224"/>
                </a:lnTo>
                <a:lnTo>
                  <a:pt x="79" y="228"/>
                </a:lnTo>
                <a:lnTo>
                  <a:pt x="82" y="235"/>
                </a:lnTo>
                <a:lnTo>
                  <a:pt x="86" y="239"/>
                </a:lnTo>
                <a:lnTo>
                  <a:pt x="89" y="245"/>
                </a:lnTo>
                <a:lnTo>
                  <a:pt x="89" y="248"/>
                </a:lnTo>
                <a:lnTo>
                  <a:pt x="87" y="250"/>
                </a:lnTo>
                <a:lnTo>
                  <a:pt x="86" y="252"/>
                </a:lnTo>
                <a:lnTo>
                  <a:pt x="87" y="256"/>
                </a:lnTo>
                <a:lnTo>
                  <a:pt x="89" y="257"/>
                </a:lnTo>
                <a:lnTo>
                  <a:pt x="92" y="260"/>
                </a:lnTo>
                <a:lnTo>
                  <a:pt x="94" y="264"/>
                </a:lnTo>
                <a:lnTo>
                  <a:pt x="96" y="266"/>
                </a:lnTo>
                <a:lnTo>
                  <a:pt x="103" y="273"/>
                </a:lnTo>
                <a:lnTo>
                  <a:pt x="105" y="275"/>
                </a:lnTo>
                <a:lnTo>
                  <a:pt x="107" y="277"/>
                </a:lnTo>
                <a:lnTo>
                  <a:pt x="115" y="283"/>
                </a:lnTo>
                <a:lnTo>
                  <a:pt x="125" y="287"/>
                </a:lnTo>
                <a:lnTo>
                  <a:pt x="132" y="293"/>
                </a:lnTo>
                <a:lnTo>
                  <a:pt x="133" y="293"/>
                </a:lnTo>
                <a:lnTo>
                  <a:pt x="145" y="298"/>
                </a:lnTo>
                <a:lnTo>
                  <a:pt x="152" y="303"/>
                </a:lnTo>
                <a:lnTo>
                  <a:pt x="153" y="303"/>
                </a:lnTo>
                <a:lnTo>
                  <a:pt x="154" y="303"/>
                </a:lnTo>
                <a:lnTo>
                  <a:pt x="155" y="304"/>
                </a:lnTo>
                <a:lnTo>
                  <a:pt x="163" y="309"/>
                </a:lnTo>
                <a:lnTo>
                  <a:pt x="166" y="310"/>
                </a:lnTo>
                <a:lnTo>
                  <a:pt x="168" y="314"/>
                </a:lnTo>
                <a:lnTo>
                  <a:pt x="172" y="316"/>
                </a:lnTo>
                <a:lnTo>
                  <a:pt x="174" y="319"/>
                </a:lnTo>
                <a:lnTo>
                  <a:pt x="178" y="324"/>
                </a:lnTo>
                <a:lnTo>
                  <a:pt x="182" y="326"/>
                </a:lnTo>
                <a:lnTo>
                  <a:pt x="185" y="328"/>
                </a:lnTo>
                <a:lnTo>
                  <a:pt x="185" y="328"/>
                </a:lnTo>
                <a:lnTo>
                  <a:pt x="186" y="329"/>
                </a:lnTo>
                <a:lnTo>
                  <a:pt x="189" y="326"/>
                </a:lnTo>
                <a:lnTo>
                  <a:pt x="189" y="326"/>
                </a:lnTo>
                <a:lnTo>
                  <a:pt x="195" y="326"/>
                </a:lnTo>
                <a:lnTo>
                  <a:pt x="196" y="325"/>
                </a:lnTo>
                <a:lnTo>
                  <a:pt x="197" y="325"/>
                </a:lnTo>
                <a:lnTo>
                  <a:pt x="197" y="322"/>
                </a:lnTo>
                <a:lnTo>
                  <a:pt x="198" y="318"/>
                </a:lnTo>
                <a:lnTo>
                  <a:pt x="199" y="317"/>
                </a:lnTo>
                <a:lnTo>
                  <a:pt x="201" y="317"/>
                </a:lnTo>
                <a:lnTo>
                  <a:pt x="199" y="315"/>
                </a:lnTo>
                <a:lnTo>
                  <a:pt x="198" y="315"/>
                </a:lnTo>
                <a:lnTo>
                  <a:pt x="198" y="313"/>
                </a:lnTo>
                <a:lnTo>
                  <a:pt x="202" y="307"/>
                </a:lnTo>
                <a:lnTo>
                  <a:pt x="204" y="304"/>
                </a:lnTo>
                <a:lnTo>
                  <a:pt x="207" y="298"/>
                </a:lnTo>
                <a:lnTo>
                  <a:pt x="207" y="295"/>
                </a:lnTo>
                <a:lnTo>
                  <a:pt x="206" y="294"/>
                </a:lnTo>
                <a:lnTo>
                  <a:pt x="205" y="292"/>
                </a:lnTo>
                <a:lnTo>
                  <a:pt x="204" y="292"/>
                </a:lnTo>
                <a:lnTo>
                  <a:pt x="202" y="289"/>
                </a:lnTo>
                <a:lnTo>
                  <a:pt x="202" y="289"/>
                </a:lnTo>
                <a:lnTo>
                  <a:pt x="201" y="287"/>
                </a:lnTo>
                <a:lnTo>
                  <a:pt x="201" y="284"/>
                </a:lnTo>
                <a:lnTo>
                  <a:pt x="201" y="280"/>
                </a:lnTo>
                <a:lnTo>
                  <a:pt x="202" y="277"/>
                </a:lnTo>
                <a:lnTo>
                  <a:pt x="203" y="276"/>
                </a:lnTo>
                <a:lnTo>
                  <a:pt x="203" y="274"/>
                </a:lnTo>
                <a:lnTo>
                  <a:pt x="203" y="273"/>
                </a:lnTo>
                <a:lnTo>
                  <a:pt x="203" y="270"/>
                </a:lnTo>
                <a:lnTo>
                  <a:pt x="199" y="266"/>
                </a:lnTo>
                <a:lnTo>
                  <a:pt x="199" y="265"/>
                </a:lnTo>
                <a:lnTo>
                  <a:pt x="201" y="264"/>
                </a:lnTo>
                <a:lnTo>
                  <a:pt x="204" y="262"/>
                </a:lnTo>
                <a:lnTo>
                  <a:pt x="204" y="260"/>
                </a:lnTo>
                <a:lnTo>
                  <a:pt x="204" y="255"/>
                </a:lnTo>
                <a:lnTo>
                  <a:pt x="203" y="248"/>
                </a:lnTo>
                <a:lnTo>
                  <a:pt x="202" y="245"/>
                </a:lnTo>
                <a:lnTo>
                  <a:pt x="203" y="239"/>
                </a:lnTo>
                <a:lnTo>
                  <a:pt x="202" y="232"/>
                </a:lnTo>
                <a:lnTo>
                  <a:pt x="203" y="227"/>
                </a:lnTo>
                <a:lnTo>
                  <a:pt x="205" y="225"/>
                </a:lnTo>
                <a:lnTo>
                  <a:pt x="206" y="224"/>
                </a:lnTo>
                <a:lnTo>
                  <a:pt x="206" y="224"/>
                </a:lnTo>
                <a:lnTo>
                  <a:pt x="201" y="216"/>
                </a:lnTo>
                <a:lnTo>
                  <a:pt x="189" y="196"/>
                </a:lnTo>
                <a:lnTo>
                  <a:pt x="185" y="197"/>
                </a:lnTo>
                <a:lnTo>
                  <a:pt x="183" y="198"/>
                </a:lnTo>
                <a:lnTo>
                  <a:pt x="183" y="198"/>
                </a:lnTo>
                <a:lnTo>
                  <a:pt x="181" y="198"/>
                </a:lnTo>
                <a:lnTo>
                  <a:pt x="179" y="198"/>
                </a:lnTo>
                <a:lnTo>
                  <a:pt x="177" y="197"/>
                </a:lnTo>
                <a:lnTo>
                  <a:pt x="176" y="196"/>
                </a:lnTo>
                <a:lnTo>
                  <a:pt x="176" y="186"/>
                </a:lnTo>
                <a:lnTo>
                  <a:pt x="176" y="186"/>
                </a:lnTo>
                <a:lnTo>
                  <a:pt x="175" y="167"/>
                </a:lnTo>
                <a:lnTo>
                  <a:pt x="175" y="167"/>
                </a:lnTo>
                <a:lnTo>
                  <a:pt x="174" y="167"/>
                </a:lnTo>
                <a:lnTo>
                  <a:pt x="172" y="171"/>
                </a:lnTo>
                <a:lnTo>
                  <a:pt x="165" y="176"/>
                </a:lnTo>
                <a:lnTo>
                  <a:pt x="161" y="178"/>
                </a:lnTo>
                <a:lnTo>
                  <a:pt x="157" y="179"/>
                </a:lnTo>
                <a:lnTo>
                  <a:pt x="154" y="179"/>
                </a:lnTo>
                <a:lnTo>
                  <a:pt x="150" y="177"/>
                </a:lnTo>
                <a:lnTo>
                  <a:pt x="148" y="176"/>
                </a:lnTo>
                <a:lnTo>
                  <a:pt x="147" y="173"/>
                </a:lnTo>
                <a:lnTo>
                  <a:pt x="146" y="172"/>
                </a:lnTo>
                <a:lnTo>
                  <a:pt x="145" y="171"/>
                </a:lnTo>
                <a:lnTo>
                  <a:pt x="140" y="169"/>
                </a:lnTo>
                <a:lnTo>
                  <a:pt x="135" y="168"/>
                </a:lnTo>
                <a:lnTo>
                  <a:pt x="135" y="167"/>
                </a:lnTo>
                <a:lnTo>
                  <a:pt x="136" y="164"/>
                </a:lnTo>
                <a:lnTo>
                  <a:pt x="136" y="162"/>
                </a:lnTo>
                <a:lnTo>
                  <a:pt x="134" y="159"/>
                </a:lnTo>
                <a:lnTo>
                  <a:pt x="130" y="155"/>
                </a:lnTo>
                <a:lnTo>
                  <a:pt x="128" y="152"/>
                </a:lnTo>
                <a:lnTo>
                  <a:pt x="125" y="148"/>
                </a:lnTo>
                <a:lnTo>
                  <a:pt x="125" y="147"/>
                </a:lnTo>
                <a:lnTo>
                  <a:pt x="124" y="144"/>
                </a:lnTo>
                <a:lnTo>
                  <a:pt x="121" y="136"/>
                </a:lnTo>
                <a:lnTo>
                  <a:pt x="121" y="134"/>
                </a:lnTo>
                <a:lnTo>
                  <a:pt x="121" y="133"/>
                </a:lnTo>
                <a:lnTo>
                  <a:pt x="124" y="126"/>
                </a:lnTo>
                <a:lnTo>
                  <a:pt x="125" y="121"/>
                </a:lnTo>
                <a:lnTo>
                  <a:pt x="126" y="118"/>
                </a:lnTo>
                <a:lnTo>
                  <a:pt x="130" y="117"/>
                </a:lnTo>
                <a:lnTo>
                  <a:pt x="132" y="117"/>
                </a:lnTo>
                <a:lnTo>
                  <a:pt x="132" y="107"/>
                </a:lnTo>
                <a:lnTo>
                  <a:pt x="132" y="105"/>
                </a:lnTo>
                <a:lnTo>
                  <a:pt x="134" y="101"/>
                </a:lnTo>
                <a:lnTo>
                  <a:pt x="136" y="96"/>
                </a:lnTo>
                <a:lnTo>
                  <a:pt x="141" y="91"/>
                </a:lnTo>
                <a:lnTo>
                  <a:pt x="144" y="88"/>
                </a:lnTo>
                <a:lnTo>
                  <a:pt x="148" y="84"/>
                </a:lnTo>
                <a:lnTo>
                  <a:pt x="154" y="82"/>
                </a:lnTo>
                <a:lnTo>
                  <a:pt x="168" y="77"/>
                </a:lnTo>
                <a:lnTo>
                  <a:pt x="172" y="75"/>
                </a:lnTo>
                <a:lnTo>
                  <a:pt x="178" y="76"/>
                </a:lnTo>
                <a:lnTo>
                  <a:pt x="179" y="74"/>
                </a:lnTo>
                <a:lnTo>
                  <a:pt x="181" y="74"/>
                </a:lnTo>
                <a:lnTo>
                  <a:pt x="178" y="74"/>
                </a:lnTo>
                <a:lnTo>
                  <a:pt x="175" y="70"/>
                </a:lnTo>
                <a:lnTo>
                  <a:pt x="174" y="68"/>
                </a:lnTo>
                <a:lnTo>
                  <a:pt x="173" y="68"/>
                </a:lnTo>
                <a:lnTo>
                  <a:pt x="172" y="68"/>
                </a:lnTo>
                <a:lnTo>
                  <a:pt x="170" y="68"/>
                </a:lnTo>
                <a:lnTo>
                  <a:pt x="170" y="67"/>
                </a:lnTo>
                <a:lnTo>
                  <a:pt x="170" y="64"/>
                </a:lnTo>
                <a:lnTo>
                  <a:pt x="172" y="61"/>
                </a:lnTo>
                <a:lnTo>
                  <a:pt x="175" y="56"/>
                </a:lnTo>
                <a:lnTo>
                  <a:pt x="177" y="54"/>
                </a:lnTo>
                <a:lnTo>
                  <a:pt x="178" y="52"/>
                </a:lnTo>
                <a:lnTo>
                  <a:pt x="177" y="50"/>
                </a:lnTo>
                <a:lnTo>
                  <a:pt x="175" y="45"/>
                </a:lnTo>
                <a:lnTo>
                  <a:pt x="170" y="42"/>
                </a:lnTo>
                <a:lnTo>
                  <a:pt x="165" y="41"/>
                </a:lnTo>
                <a:lnTo>
                  <a:pt x="163" y="40"/>
                </a:lnTo>
                <a:lnTo>
                  <a:pt x="162" y="40"/>
                </a:lnTo>
                <a:lnTo>
                  <a:pt x="160" y="42"/>
                </a:lnTo>
                <a:lnTo>
                  <a:pt x="157" y="42"/>
                </a:lnTo>
                <a:lnTo>
                  <a:pt x="155" y="42"/>
                </a:lnTo>
                <a:lnTo>
                  <a:pt x="154" y="41"/>
                </a:lnTo>
                <a:lnTo>
                  <a:pt x="152" y="40"/>
                </a:lnTo>
                <a:lnTo>
                  <a:pt x="148" y="40"/>
                </a:lnTo>
                <a:lnTo>
                  <a:pt x="147" y="41"/>
                </a:lnTo>
                <a:lnTo>
                  <a:pt x="146" y="42"/>
                </a:lnTo>
                <a:lnTo>
                  <a:pt x="146" y="42"/>
                </a:lnTo>
                <a:lnTo>
                  <a:pt x="145" y="43"/>
                </a:lnTo>
                <a:lnTo>
                  <a:pt x="144" y="44"/>
                </a:lnTo>
                <a:lnTo>
                  <a:pt x="142" y="44"/>
                </a:lnTo>
                <a:lnTo>
                  <a:pt x="141" y="44"/>
                </a:lnTo>
                <a:lnTo>
                  <a:pt x="138" y="43"/>
                </a:lnTo>
                <a:lnTo>
                  <a:pt x="134" y="43"/>
                </a:lnTo>
                <a:lnTo>
                  <a:pt x="133" y="43"/>
                </a:lnTo>
                <a:lnTo>
                  <a:pt x="130" y="43"/>
                </a:lnTo>
                <a:lnTo>
                  <a:pt x="128" y="41"/>
                </a:lnTo>
                <a:lnTo>
                  <a:pt x="127" y="40"/>
                </a:lnTo>
                <a:lnTo>
                  <a:pt x="127" y="32"/>
                </a:lnTo>
                <a:lnTo>
                  <a:pt x="126" y="32"/>
                </a:lnTo>
                <a:lnTo>
                  <a:pt x="124" y="32"/>
                </a:lnTo>
                <a:lnTo>
                  <a:pt x="123" y="31"/>
                </a:lnTo>
                <a:lnTo>
                  <a:pt x="122" y="30"/>
                </a:lnTo>
                <a:lnTo>
                  <a:pt x="121" y="26"/>
                </a:lnTo>
                <a:lnTo>
                  <a:pt x="121" y="23"/>
                </a:lnTo>
                <a:lnTo>
                  <a:pt x="120" y="21"/>
                </a:lnTo>
                <a:lnTo>
                  <a:pt x="117" y="20"/>
                </a:lnTo>
                <a:lnTo>
                  <a:pt x="116" y="19"/>
                </a:lnTo>
                <a:lnTo>
                  <a:pt x="115" y="19"/>
                </a:lnTo>
                <a:lnTo>
                  <a:pt x="113" y="19"/>
                </a:lnTo>
                <a:lnTo>
                  <a:pt x="112" y="16"/>
                </a:lnTo>
                <a:lnTo>
                  <a:pt x="111" y="15"/>
                </a:lnTo>
                <a:lnTo>
                  <a:pt x="108" y="12"/>
                </a:lnTo>
                <a:lnTo>
                  <a:pt x="107" y="7"/>
                </a:lnTo>
                <a:lnTo>
                  <a:pt x="104" y="6"/>
                </a:lnTo>
                <a:lnTo>
                  <a:pt x="103" y="5"/>
                </a:lnTo>
                <a:lnTo>
                  <a:pt x="102" y="3"/>
                </a:lnTo>
                <a:lnTo>
                  <a:pt x="100" y="2"/>
                </a:lnTo>
                <a:lnTo>
                  <a:pt x="97" y="1"/>
                </a:lnTo>
                <a:lnTo>
                  <a:pt x="94" y="0"/>
                </a:lnTo>
                <a:lnTo>
                  <a:pt x="93" y="0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34" name="Freeform 1234"/>
          <p:cNvSpPr>
            <a:spLocks/>
          </p:cNvSpPr>
          <p:nvPr/>
        </p:nvSpPr>
        <p:spPr bwMode="auto">
          <a:xfrm>
            <a:off x="2633662" y="4206840"/>
            <a:ext cx="392112" cy="873125"/>
          </a:xfrm>
          <a:custGeom>
            <a:avLst/>
            <a:gdLst>
              <a:gd name="T0" fmla="*/ 112 w 247"/>
              <a:gd name="T1" fmla="*/ 546 h 550"/>
              <a:gd name="T2" fmla="*/ 82 w 247"/>
              <a:gd name="T3" fmla="*/ 528 h 550"/>
              <a:gd name="T4" fmla="*/ 68 w 247"/>
              <a:gd name="T5" fmla="*/ 522 h 550"/>
              <a:gd name="T6" fmla="*/ 61 w 247"/>
              <a:gd name="T7" fmla="*/ 511 h 550"/>
              <a:gd name="T8" fmla="*/ 63 w 247"/>
              <a:gd name="T9" fmla="*/ 486 h 550"/>
              <a:gd name="T10" fmla="*/ 58 w 247"/>
              <a:gd name="T11" fmla="*/ 472 h 550"/>
              <a:gd name="T12" fmla="*/ 61 w 247"/>
              <a:gd name="T13" fmla="*/ 450 h 550"/>
              <a:gd name="T14" fmla="*/ 55 w 247"/>
              <a:gd name="T15" fmla="*/ 426 h 550"/>
              <a:gd name="T16" fmla="*/ 53 w 247"/>
              <a:gd name="T17" fmla="*/ 415 h 550"/>
              <a:gd name="T18" fmla="*/ 37 w 247"/>
              <a:gd name="T19" fmla="*/ 396 h 550"/>
              <a:gd name="T20" fmla="*/ 31 w 247"/>
              <a:gd name="T21" fmla="*/ 368 h 550"/>
              <a:gd name="T22" fmla="*/ 22 w 247"/>
              <a:gd name="T23" fmla="*/ 337 h 550"/>
              <a:gd name="T24" fmla="*/ 23 w 247"/>
              <a:gd name="T25" fmla="*/ 305 h 550"/>
              <a:gd name="T26" fmla="*/ 15 w 247"/>
              <a:gd name="T27" fmla="*/ 265 h 550"/>
              <a:gd name="T28" fmla="*/ 17 w 247"/>
              <a:gd name="T29" fmla="*/ 254 h 550"/>
              <a:gd name="T30" fmla="*/ 20 w 247"/>
              <a:gd name="T31" fmla="*/ 221 h 550"/>
              <a:gd name="T32" fmla="*/ 3 w 247"/>
              <a:gd name="T33" fmla="*/ 183 h 550"/>
              <a:gd name="T34" fmla="*/ 3 w 247"/>
              <a:gd name="T35" fmla="*/ 158 h 550"/>
              <a:gd name="T36" fmla="*/ 2 w 247"/>
              <a:gd name="T37" fmla="*/ 135 h 550"/>
              <a:gd name="T38" fmla="*/ 15 w 247"/>
              <a:gd name="T39" fmla="*/ 95 h 550"/>
              <a:gd name="T40" fmla="*/ 12 w 247"/>
              <a:gd name="T41" fmla="*/ 67 h 550"/>
              <a:gd name="T42" fmla="*/ 24 w 247"/>
              <a:gd name="T43" fmla="*/ 43 h 550"/>
              <a:gd name="T44" fmla="*/ 27 w 247"/>
              <a:gd name="T45" fmla="*/ 20 h 550"/>
              <a:gd name="T46" fmla="*/ 42 w 247"/>
              <a:gd name="T47" fmla="*/ 0 h 550"/>
              <a:gd name="T48" fmla="*/ 65 w 247"/>
              <a:gd name="T49" fmla="*/ 9 h 550"/>
              <a:gd name="T50" fmla="*/ 74 w 247"/>
              <a:gd name="T51" fmla="*/ 5 h 550"/>
              <a:gd name="T52" fmla="*/ 94 w 247"/>
              <a:gd name="T53" fmla="*/ 9 h 550"/>
              <a:gd name="T54" fmla="*/ 123 w 247"/>
              <a:gd name="T55" fmla="*/ 32 h 550"/>
              <a:gd name="T56" fmla="*/ 147 w 247"/>
              <a:gd name="T57" fmla="*/ 44 h 550"/>
              <a:gd name="T58" fmla="*/ 178 w 247"/>
              <a:gd name="T59" fmla="*/ 64 h 550"/>
              <a:gd name="T60" fmla="*/ 173 w 247"/>
              <a:gd name="T61" fmla="*/ 92 h 550"/>
              <a:gd name="T62" fmla="*/ 199 w 247"/>
              <a:gd name="T63" fmla="*/ 103 h 550"/>
              <a:gd name="T64" fmla="*/ 217 w 247"/>
              <a:gd name="T65" fmla="*/ 101 h 550"/>
              <a:gd name="T66" fmla="*/ 230 w 247"/>
              <a:gd name="T67" fmla="*/ 85 h 550"/>
              <a:gd name="T68" fmla="*/ 246 w 247"/>
              <a:gd name="T69" fmla="*/ 82 h 550"/>
              <a:gd name="T70" fmla="*/ 231 w 247"/>
              <a:gd name="T71" fmla="*/ 104 h 550"/>
              <a:gd name="T72" fmla="*/ 206 w 247"/>
              <a:gd name="T73" fmla="*/ 140 h 550"/>
              <a:gd name="T74" fmla="*/ 190 w 247"/>
              <a:gd name="T75" fmla="*/ 157 h 550"/>
              <a:gd name="T76" fmla="*/ 194 w 247"/>
              <a:gd name="T77" fmla="*/ 203 h 550"/>
              <a:gd name="T78" fmla="*/ 193 w 247"/>
              <a:gd name="T79" fmla="*/ 227 h 550"/>
              <a:gd name="T80" fmla="*/ 217 w 247"/>
              <a:gd name="T81" fmla="*/ 259 h 550"/>
              <a:gd name="T82" fmla="*/ 223 w 247"/>
              <a:gd name="T83" fmla="*/ 288 h 550"/>
              <a:gd name="T84" fmla="*/ 197 w 247"/>
              <a:gd name="T85" fmla="*/ 308 h 550"/>
              <a:gd name="T86" fmla="*/ 154 w 247"/>
              <a:gd name="T87" fmla="*/ 310 h 550"/>
              <a:gd name="T88" fmla="*/ 159 w 247"/>
              <a:gd name="T89" fmla="*/ 332 h 550"/>
              <a:gd name="T90" fmla="*/ 143 w 247"/>
              <a:gd name="T91" fmla="*/ 352 h 550"/>
              <a:gd name="T92" fmla="*/ 126 w 247"/>
              <a:gd name="T93" fmla="*/ 356 h 550"/>
              <a:gd name="T94" fmla="*/ 144 w 247"/>
              <a:gd name="T95" fmla="*/ 371 h 550"/>
              <a:gd name="T96" fmla="*/ 149 w 247"/>
              <a:gd name="T97" fmla="*/ 383 h 550"/>
              <a:gd name="T98" fmla="*/ 134 w 247"/>
              <a:gd name="T99" fmla="*/ 378 h 550"/>
              <a:gd name="T100" fmla="*/ 138 w 247"/>
              <a:gd name="T101" fmla="*/ 389 h 550"/>
              <a:gd name="T102" fmla="*/ 139 w 247"/>
              <a:gd name="T103" fmla="*/ 411 h 550"/>
              <a:gd name="T104" fmla="*/ 127 w 247"/>
              <a:gd name="T105" fmla="*/ 423 h 550"/>
              <a:gd name="T106" fmla="*/ 116 w 247"/>
              <a:gd name="T107" fmla="*/ 441 h 550"/>
              <a:gd name="T108" fmla="*/ 147 w 247"/>
              <a:gd name="T109" fmla="*/ 458 h 550"/>
              <a:gd name="T110" fmla="*/ 151 w 247"/>
              <a:gd name="T111" fmla="*/ 475 h 550"/>
              <a:gd name="T112" fmla="*/ 134 w 247"/>
              <a:gd name="T113" fmla="*/ 492 h 550"/>
              <a:gd name="T114" fmla="*/ 129 w 247"/>
              <a:gd name="T115" fmla="*/ 511 h 550"/>
              <a:gd name="T116" fmla="*/ 123 w 247"/>
              <a:gd name="T117" fmla="*/ 517 h 550"/>
              <a:gd name="T118" fmla="*/ 127 w 247"/>
              <a:gd name="T119" fmla="*/ 537 h 5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47" h="550">
                <a:moveTo>
                  <a:pt x="145" y="550"/>
                </a:moveTo>
                <a:lnTo>
                  <a:pt x="144" y="549"/>
                </a:lnTo>
                <a:lnTo>
                  <a:pt x="139" y="548"/>
                </a:lnTo>
                <a:lnTo>
                  <a:pt x="130" y="547"/>
                </a:lnTo>
                <a:lnTo>
                  <a:pt x="124" y="545"/>
                </a:lnTo>
                <a:lnTo>
                  <a:pt x="122" y="545"/>
                </a:lnTo>
                <a:lnTo>
                  <a:pt x="117" y="546"/>
                </a:lnTo>
                <a:lnTo>
                  <a:pt x="112" y="546"/>
                </a:lnTo>
                <a:lnTo>
                  <a:pt x="110" y="546"/>
                </a:lnTo>
                <a:lnTo>
                  <a:pt x="109" y="546"/>
                </a:lnTo>
                <a:lnTo>
                  <a:pt x="96" y="546"/>
                </a:lnTo>
                <a:lnTo>
                  <a:pt x="92" y="545"/>
                </a:lnTo>
                <a:lnTo>
                  <a:pt x="90" y="544"/>
                </a:lnTo>
                <a:lnTo>
                  <a:pt x="87" y="540"/>
                </a:lnTo>
                <a:lnTo>
                  <a:pt x="87" y="539"/>
                </a:lnTo>
                <a:lnTo>
                  <a:pt x="82" y="528"/>
                </a:lnTo>
                <a:lnTo>
                  <a:pt x="80" y="525"/>
                </a:lnTo>
                <a:lnTo>
                  <a:pt x="78" y="521"/>
                </a:lnTo>
                <a:lnTo>
                  <a:pt x="77" y="521"/>
                </a:lnTo>
                <a:lnTo>
                  <a:pt x="76" y="520"/>
                </a:lnTo>
                <a:lnTo>
                  <a:pt x="76" y="520"/>
                </a:lnTo>
                <a:lnTo>
                  <a:pt x="76" y="522"/>
                </a:lnTo>
                <a:lnTo>
                  <a:pt x="70" y="521"/>
                </a:lnTo>
                <a:lnTo>
                  <a:pt x="68" y="522"/>
                </a:lnTo>
                <a:lnTo>
                  <a:pt x="68" y="524"/>
                </a:lnTo>
                <a:lnTo>
                  <a:pt x="68" y="525"/>
                </a:lnTo>
                <a:lnTo>
                  <a:pt x="67" y="524"/>
                </a:lnTo>
                <a:lnTo>
                  <a:pt x="66" y="522"/>
                </a:lnTo>
                <a:lnTo>
                  <a:pt x="64" y="520"/>
                </a:lnTo>
                <a:lnTo>
                  <a:pt x="63" y="519"/>
                </a:lnTo>
                <a:lnTo>
                  <a:pt x="61" y="512"/>
                </a:lnTo>
                <a:lnTo>
                  <a:pt x="61" y="511"/>
                </a:lnTo>
                <a:lnTo>
                  <a:pt x="59" y="508"/>
                </a:lnTo>
                <a:lnTo>
                  <a:pt x="58" y="501"/>
                </a:lnTo>
                <a:lnTo>
                  <a:pt x="58" y="499"/>
                </a:lnTo>
                <a:lnTo>
                  <a:pt x="59" y="499"/>
                </a:lnTo>
                <a:lnTo>
                  <a:pt x="61" y="492"/>
                </a:lnTo>
                <a:lnTo>
                  <a:pt x="63" y="490"/>
                </a:lnTo>
                <a:lnTo>
                  <a:pt x="63" y="489"/>
                </a:lnTo>
                <a:lnTo>
                  <a:pt x="63" y="486"/>
                </a:lnTo>
                <a:lnTo>
                  <a:pt x="62" y="481"/>
                </a:lnTo>
                <a:lnTo>
                  <a:pt x="62" y="480"/>
                </a:lnTo>
                <a:lnTo>
                  <a:pt x="62" y="480"/>
                </a:lnTo>
                <a:lnTo>
                  <a:pt x="62" y="478"/>
                </a:lnTo>
                <a:lnTo>
                  <a:pt x="61" y="476"/>
                </a:lnTo>
                <a:lnTo>
                  <a:pt x="59" y="475"/>
                </a:lnTo>
                <a:lnTo>
                  <a:pt x="58" y="472"/>
                </a:lnTo>
                <a:lnTo>
                  <a:pt x="58" y="472"/>
                </a:lnTo>
                <a:lnTo>
                  <a:pt x="57" y="469"/>
                </a:lnTo>
                <a:lnTo>
                  <a:pt x="57" y="468"/>
                </a:lnTo>
                <a:lnTo>
                  <a:pt x="57" y="467"/>
                </a:lnTo>
                <a:lnTo>
                  <a:pt x="59" y="463"/>
                </a:lnTo>
                <a:lnTo>
                  <a:pt x="61" y="459"/>
                </a:lnTo>
                <a:lnTo>
                  <a:pt x="59" y="457"/>
                </a:lnTo>
                <a:lnTo>
                  <a:pt x="61" y="454"/>
                </a:lnTo>
                <a:lnTo>
                  <a:pt x="61" y="450"/>
                </a:lnTo>
                <a:lnTo>
                  <a:pt x="58" y="441"/>
                </a:lnTo>
                <a:lnTo>
                  <a:pt x="57" y="440"/>
                </a:lnTo>
                <a:lnTo>
                  <a:pt x="56" y="437"/>
                </a:lnTo>
                <a:lnTo>
                  <a:pt x="56" y="436"/>
                </a:lnTo>
                <a:lnTo>
                  <a:pt x="54" y="430"/>
                </a:lnTo>
                <a:lnTo>
                  <a:pt x="54" y="428"/>
                </a:lnTo>
                <a:lnTo>
                  <a:pt x="54" y="427"/>
                </a:lnTo>
                <a:lnTo>
                  <a:pt x="55" y="426"/>
                </a:lnTo>
                <a:lnTo>
                  <a:pt x="54" y="424"/>
                </a:lnTo>
                <a:lnTo>
                  <a:pt x="51" y="420"/>
                </a:lnTo>
                <a:lnTo>
                  <a:pt x="46" y="419"/>
                </a:lnTo>
                <a:lnTo>
                  <a:pt x="45" y="417"/>
                </a:lnTo>
                <a:lnTo>
                  <a:pt x="45" y="416"/>
                </a:lnTo>
                <a:lnTo>
                  <a:pt x="49" y="417"/>
                </a:lnTo>
                <a:lnTo>
                  <a:pt x="53" y="417"/>
                </a:lnTo>
                <a:lnTo>
                  <a:pt x="53" y="415"/>
                </a:lnTo>
                <a:lnTo>
                  <a:pt x="52" y="413"/>
                </a:lnTo>
                <a:lnTo>
                  <a:pt x="49" y="410"/>
                </a:lnTo>
                <a:lnTo>
                  <a:pt x="45" y="409"/>
                </a:lnTo>
                <a:lnTo>
                  <a:pt x="44" y="409"/>
                </a:lnTo>
                <a:lnTo>
                  <a:pt x="43" y="408"/>
                </a:lnTo>
                <a:lnTo>
                  <a:pt x="42" y="401"/>
                </a:lnTo>
                <a:lnTo>
                  <a:pt x="39" y="398"/>
                </a:lnTo>
                <a:lnTo>
                  <a:pt x="37" y="396"/>
                </a:lnTo>
                <a:lnTo>
                  <a:pt x="37" y="395"/>
                </a:lnTo>
                <a:lnTo>
                  <a:pt x="35" y="388"/>
                </a:lnTo>
                <a:lnTo>
                  <a:pt x="35" y="387"/>
                </a:lnTo>
                <a:lnTo>
                  <a:pt x="33" y="386"/>
                </a:lnTo>
                <a:lnTo>
                  <a:pt x="32" y="385"/>
                </a:lnTo>
                <a:lnTo>
                  <a:pt x="29" y="376"/>
                </a:lnTo>
                <a:lnTo>
                  <a:pt x="29" y="371"/>
                </a:lnTo>
                <a:lnTo>
                  <a:pt x="31" y="368"/>
                </a:lnTo>
                <a:lnTo>
                  <a:pt x="31" y="366"/>
                </a:lnTo>
                <a:lnTo>
                  <a:pt x="31" y="365"/>
                </a:lnTo>
                <a:lnTo>
                  <a:pt x="29" y="361"/>
                </a:lnTo>
                <a:lnTo>
                  <a:pt x="29" y="360"/>
                </a:lnTo>
                <a:lnTo>
                  <a:pt x="26" y="358"/>
                </a:lnTo>
                <a:lnTo>
                  <a:pt x="24" y="355"/>
                </a:lnTo>
                <a:lnTo>
                  <a:pt x="23" y="347"/>
                </a:lnTo>
                <a:lnTo>
                  <a:pt x="22" y="337"/>
                </a:lnTo>
                <a:lnTo>
                  <a:pt x="21" y="334"/>
                </a:lnTo>
                <a:lnTo>
                  <a:pt x="21" y="332"/>
                </a:lnTo>
                <a:lnTo>
                  <a:pt x="21" y="316"/>
                </a:lnTo>
                <a:lnTo>
                  <a:pt x="20" y="313"/>
                </a:lnTo>
                <a:lnTo>
                  <a:pt x="21" y="312"/>
                </a:lnTo>
                <a:lnTo>
                  <a:pt x="21" y="309"/>
                </a:lnTo>
                <a:lnTo>
                  <a:pt x="23" y="308"/>
                </a:lnTo>
                <a:lnTo>
                  <a:pt x="23" y="305"/>
                </a:lnTo>
                <a:lnTo>
                  <a:pt x="22" y="302"/>
                </a:lnTo>
                <a:lnTo>
                  <a:pt x="21" y="299"/>
                </a:lnTo>
                <a:lnTo>
                  <a:pt x="17" y="292"/>
                </a:lnTo>
                <a:lnTo>
                  <a:pt x="14" y="282"/>
                </a:lnTo>
                <a:lnTo>
                  <a:pt x="13" y="272"/>
                </a:lnTo>
                <a:lnTo>
                  <a:pt x="13" y="268"/>
                </a:lnTo>
                <a:lnTo>
                  <a:pt x="14" y="266"/>
                </a:lnTo>
                <a:lnTo>
                  <a:pt x="15" y="265"/>
                </a:lnTo>
                <a:lnTo>
                  <a:pt x="16" y="265"/>
                </a:lnTo>
                <a:lnTo>
                  <a:pt x="17" y="264"/>
                </a:lnTo>
                <a:lnTo>
                  <a:pt x="17" y="263"/>
                </a:lnTo>
                <a:lnTo>
                  <a:pt x="17" y="262"/>
                </a:lnTo>
                <a:lnTo>
                  <a:pt x="18" y="260"/>
                </a:lnTo>
                <a:lnTo>
                  <a:pt x="20" y="259"/>
                </a:lnTo>
                <a:lnTo>
                  <a:pt x="20" y="258"/>
                </a:lnTo>
                <a:lnTo>
                  <a:pt x="17" y="254"/>
                </a:lnTo>
                <a:lnTo>
                  <a:pt x="15" y="245"/>
                </a:lnTo>
                <a:lnTo>
                  <a:pt x="17" y="243"/>
                </a:lnTo>
                <a:lnTo>
                  <a:pt x="17" y="242"/>
                </a:lnTo>
                <a:lnTo>
                  <a:pt x="17" y="236"/>
                </a:lnTo>
                <a:lnTo>
                  <a:pt x="17" y="234"/>
                </a:lnTo>
                <a:lnTo>
                  <a:pt x="18" y="231"/>
                </a:lnTo>
                <a:lnTo>
                  <a:pt x="21" y="225"/>
                </a:lnTo>
                <a:lnTo>
                  <a:pt x="20" y="221"/>
                </a:lnTo>
                <a:lnTo>
                  <a:pt x="17" y="216"/>
                </a:lnTo>
                <a:lnTo>
                  <a:pt x="16" y="211"/>
                </a:lnTo>
                <a:lnTo>
                  <a:pt x="15" y="209"/>
                </a:lnTo>
                <a:lnTo>
                  <a:pt x="12" y="206"/>
                </a:lnTo>
                <a:lnTo>
                  <a:pt x="12" y="204"/>
                </a:lnTo>
                <a:lnTo>
                  <a:pt x="11" y="201"/>
                </a:lnTo>
                <a:lnTo>
                  <a:pt x="5" y="192"/>
                </a:lnTo>
                <a:lnTo>
                  <a:pt x="3" y="183"/>
                </a:lnTo>
                <a:lnTo>
                  <a:pt x="1" y="181"/>
                </a:lnTo>
                <a:lnTo>
                  <a:pt x="0" y="176"/>
                </a:lnTo>
                <a:lnTo>
                  <a:pt x="0" y="172"/>
                </a:lnTo>
                <a:lnTo>
                  <a:pt x="0" y="168"/>
                </a:lnTo>
                <a:lnTo>
                  <a:pt x="0" y="168"/>
                </a:lnTo>
                <a:lnTo>
                  <a:pt x="1" y="164"/>
                </a:lnTo>
                <a:lnTo>
                  <a:pt x="2" y="159"/>
                </a:lnTo>
                <a:lnTo>
                  <a:pt x="3" y="158"/>
                </a:lnTo>
                <a:lnTo>
                  <a:pt x="3" y="156"/>
                </a:lnTo>
                <a:lnTo>
                  <a:pt x="3" y="155"/>
                </a:lnTo>
                <a:lnTo>
                  <a:pt x="4" y="154"/>
                </a:lnTo>
                <a:lnTo>
                  <a:pt x="4" y="151"/>
                </a:lnTo>
                <a:lnTo>
                  <a:pt x="3" y="147"/>
                </a:lnTo>
                <a:lnTo>
                  <a:pt x="3" y="145"/>
                </a:lnTo>
                <a:lnTo>
                  <a:pt x="2" y="137"/>
                </a:lnTo>
                <a:lnTo>
                  <a:pt x="2" y="135"/>
                </a:lnTo>
                <a:lnTo>
                  <a:pt x="3" y="132"/>
                </a:lnTo>
                <a:lnTo>
                  <a:pt x="3" y="130"/>
                </a:lnTo>
                <a:lnTo>
                  <a:pt x="3" y="123"/>
                </a:lnTo>
                <a:lnTo>
                  <a:pt x="4" y="115"/>
                </a:lnTo>
                <a:lnTo>
                  <a:pt x="10" y="107"/>
                </a:lnTo>
                <a:lnTo>
                  <a:pt x="11" y="100"/>
                </a:lnTo>
                <a:lnTo>
                  <a:pt x="11" y="98"/>
                </a:lnTo>
                <a:lnTo>
                  <a:pt x="15" y="95"/>
                </a:lnTo>
                <a:lnTo>
                  <a:pt x="17" y="94"/>
                </a:lnTo>
                <a:lnTo>
                  <a:pt x="18" y="93"/>
                </a:lnTo>
                <a:lnTo>
                  <a:pt x="18" y="92"/>
                </a:lnTo>
                <a:lnTo>
                  <a:pt x="17" y="87"/>
                </a:lnTo>
                <a:lnTo>
                  <a:pt x="15" y="83"/>
                </a:lnTo>
                <a:lnTo>
                  <a:pt x="14" y="80"/>
                </a:lnTo>
                <a:lnTo>
                  <a:pt x="13" y="72"/>
                </a:lnTo>
                <a:lnTo>
                  <a:pt x="12" y="67"/>
                </a:lnTo>
                <a:lnTo>
                  <a:pt x="11" y="63"/>
                </a:lnTo>
                <a:lnTo>
                  <a:pt x="11" y="62"/>
                </a:lnTo>
                <a:lnTo>
                  <a:pt x="12" y="60"/>
                </a:lnTo>
                <a:lnTo>
                  <a:pt x="12" y="56"/>
                </a:lnTo>
                <a:lnTo>
                  <a:pt x="11" y="54"/>
                </a:lnTo>
                <a:lnTo>
                  <a:pt x="11" y="52"/>
                </a:lnTo>
                <a:lnTo>
                  <a:pt x="11" y="50"/>
                </a:lnTo>
                <a:lnTo>
                  <a:pt x="24" y="43"/>
                </a:lnTo>
                <a:lnTo>
                  <a:pt x="28" y="41"/>
                </a:lnTo>
                <a:lnTo>
                  <a:pt x="29" y="26"/>
                </a:lnTo>
                <a:lnTo>
                  <a:pt x="29" y="22"/>
                </a:lnTo>
                <a:lnTo>
                  <a:pt x="27" y="21"/>
                </a:lnTo>
                <a:lnTo>
                  <a:pt x="27" y="21"/>
                </a:lnTo>
                <a:lnTo>
                  <a:pt x="27" y="20"/>
                </a:lnTo>
                <a:lnTo>
                  <a:pt x="27" y="20"/>
                </a:lnTo>
                <a:lnTo>
                  <a:pt x="27" y="20"/>
                </a:lnTo>
                <a:lnTo>
                  <a:pt x="28" y="17"/>
                </a:lnTo>
                <a:lnTo>
                  <a:pt x="31" y="15"/>
                </a:lnTo>
                <a:lnTo>
                  <a:pt x="31" y="13"/>
                </a:lnTo>
                <a:lnTo>
                  <a:pt x="32" y="11"/>
                </a:lnTo>
                <a:lnTo>
                  <a:pt x="34" y="9"/>
                </a:lnTo>
                <a:lnTo>
                  <a:pt x="37" y="5"/>
                </a:lnTo>
                <a:lnTo>
                  <a:pt x="41" y="1"/>
                </a:lnTo>
                <a:lnTo>
                  <a:pt x="42" y="0"/>
                </a:lnTo>
                <a:lnTo>
                  <a:pt x="43" y="0"/>
                </a:lnTo>
                <a:lnTo>
                  <a:pt x="44" y="2"/>
                </a:lnTo>
                <a:lnTo>
                  <a:pt x="47" y="6"/>
                </a:lnTo>
                <a:lnTo>
                  <a:pt x="54" y="6"/>
                </a:lnTo>
                <a:lnTo>
                  <a:pt x="57" y="6"/>
                </a:lnTo>
                <a:lnTo>
                  <a:pt x="58" y="6"/>
                </a:lnTo>
                <a:lnTo>
                  <a:pt x="64" y="9"/>
                </a:lnTo>
                <a:lnTo>
                  <a:pt x="65" y="9"/>
                </a:lnTo>
                <a:lnTo>
                  <a:pt x="67" y="11"/>
                </a:lnTo>
                <a:lnTo>
                  <a:pt x="67" y="12"/>
                </a:lnTo>
                <a:lnTo>
                  <a:pt x="68" y="13"/>
                </a:lnTo>
                <a:lnTo>
                  <a:pt x="72" y="16"/>
                </a:lnTo>
                <a:lnTo>
                  <a:pt x="73" y="16"/>
                </a:lnTo>
                <a:lnTo>
                  <a:pt x="73" y="14"/>
                </a:lnTo>
                <a:lnTo>
                  <a:pt x="73" y="11"/>
                </a:lnTo>
                <a:lnTo>
                  <a:pt x="74" y="5"/>
                </a:lnTo>
                <a:lnTo>
                  <a:pt x="74" y="4"/>
                </a:lnTo>
                <a:lnTo>
                  <a:pt x="76" y="4"/>
                </a:lnTo>
                <a:lnTo>
                  <a:pt x="82" y="5"/>
                </a:lnTo>
                <a:lnTo>
                  <a:pt x="87" y="5"/>
                </a:lnTo>
                <a:lnTo>
                  <a:pt x="89" y="5"/>
                </a:lnTo>
                <a:lnTo>
                  <a:pt x="90" y="5"/>
                </a:lnTo>
                <a:lnTo>
                  <a:pt x="93" y="6"/>
                </a:lnTo>
                <a:lnTo>
                  <a:pt x="94" y="9"/>
                </a:lnTo>
                <a:lnTo>
                  <a:pt x="96" y="10"/>
                </a:lnTo>
                <a:lnTo>
                  <a:pt x="102" y="11"/>
                </a:lnTo>
                <a:lnTo>
                  <a:pt x="103" y="13"/>
                </a:lnTo>
                <a:lnTo>
                  <a:pt x="107" y="19"/>
                </a:lnTo>
                <a:lnTo>
                  <a:pt x="112" y="23"/>
                </a:lnTo>
                <a:lnTo>
                  <a:pt x="113" y="24"/>
                </a:lnTo>
                <a:lnTo>
                  <a:pt x="119" y="30"/>
                </a:lnTo>
                <a:lnTo>
                  <a:pt x="123" y="32"/>
                </a:lnTo>
                <a:lnTo>
                  <a:pt x="125" y="33"/>
                </a:lnTo>
                <a:lnTo>
                  <a:pt x="128" y="39"/>
                </a:lnTo>
                <a:lnTo>
                  <a:pt x="129" y="40"/>
                </a:lnTo>
                <a:lnTo>
                  <a:pt x="130" y="41"/>
                </a:lnTo>
                <a:lnTo>
                  <a:pt x="134" y="42"/>
                </a:lnTo>
                <a:lnTo>
                  <a:pt x="136" y="42"/>
                </a:lnTo>
                <a:lnTo>
                  <a:pt x="144" y="43"/>
                </a:lnTo>
                <a:lnTo>
                  <a:pt x="147" y="44"/>
                </a:lnTo>
                <a:lnTo>
                  <a:pt x="149" y="44"/>
                </a:lnTo>
                <a:lnTo>
                  <a:pt x="157" y="50"/>
                </a:lnTo>
                <a:lnTo>
                  <a:pt x="161" y="52"/>
                </a:lnTo>
                <a:lnTo>
                  <a:pt x="167" y="55"/>
                </a:lnTo>
                <a:lnTo>
                  <a:pt x="169" y="58"/>
                </a:lnTo>
                <a:lnTo>
                  <a:pt x="174" y="60"/>
                </a:lnTo>
                <a:lnTo>
                  <a:pt x="176" y="61"/>
                </a:lnTo>
                <a:lnTo>
                  <a:pt x="178" y="64"/>
                </a:lnTo>
                <a:lnTo>
                  <a:pt x="179" y="64"/>
                </a:lnTo>
                <a:lnTo>
                  <a:pt x="179" y="65"/>
                </a:lnTo>
                <a:lnTo>
                  <a:pt x="180" y="68"/>
                </a:lnTo>
                <a:lnTo>
                  <a:pt x="180" y="71"/>
                </a:lnTo>
                <a:lnTo>
                  <a:pt x="179" y="75"/>
                </a:lnTo>
                <a:lnTo>
                  <a:pt x="176" y="82"/>
                </a:lnTo>
                <a:lnTo>
                  <a:pt x="174" y="88"/>
                </a:lnTo>
                <a:lnTo>
                  <a:pt x="173" y="92"/>
                </a:lnTo>
                <a:lnTo>
                  <a:pt x="173" y="94"/>
                </a:lnTo>
                <a:lnTo>
                  <a:pt x="173" y="96"/>
                </a:lnTo>
                <a:lnTo>
                  <a:pt x="174" y="97"/>
                </a:lnTo>
                <a:lnTo>
                  <a:pt x="179" y="97"/>
                </a:lnTo>
                <a:lnTo>
                  <a:pt x="189" y="98"/>
                </a:lnTo>
                <a:lnTo>
                  <a:pt x="190" y="100"/>
                </a:lnTo>
                <a:lnTo>
                  <a:pt x="196" y="103"/>
                </a:lnTo>
                <a:lnTo>
                  <a:pt x="199" y="103"/>
                </a:lnTo>
                <a:lnTo>
                  <a:pt x="201" y="103"/>
                </a:lnTo>
                <a:lnTo>
                  <a:pt x="204" y="104"/>
                </a:lnTo>
                <a:lnTo>
                  <a:pt x="205" y="104"/>
                </a:lnTo>
                <a:lnTo>
                  <a:pt x="207" y="103"/>
                </a:lnTo>
                <a:lnTo>
                  <a:pt x="208" y="102"/>
                </a:lnTo>
                <a:lnTo>
                  <a:pt x="210" y="101"/>
                </a:lnTo>
                <a:lnTo>
                  <a:pt x="215" y="101"/>
                </a:lnTo>
                <a:lnTo>
                  <a:pt x="217" y="101"/>
                </a:lnTo>
                <a:lnTo>
                  <a:pt x="217" y="100"/>
                </a:lnTo>
                <a:lnTo>
                  <a:pt x="218" y="98"/>
                </a:lnTo>
                <a:lnTo>
                  <a:pt x="221" y="95"/>
                </a:lnTo>
                <a:lnTo>
                  <a:pt x="223" y="95"/>
                </a:lnTo>
                <a:lnTo>
                  <a:pt x="223" y="94"/>
                </a:lnTo>
                <a:lnTo>
                  <a:pt x="226" y="91"/>
                </a:lnTo>
                <a:lnTo>
                  <a:pt x="228" y="87"/>
                </a:lnTo>
                <a:lnTo>
                  <a:pt x="230" y="85"/>
                </a:lnTo>
                <a:lnTo>
                  <a:pt x="230" y="83"/>
                </a:lnTo>
                <a:lnTo>
                  <a:pt x="230" y="77"/>
                </a:lnTo>
                <a:lnTo>
                  <a:pt x="230" y="68"/>
                </a:lnTo>
                <a:lnTo>
                  <a:pt x="232" y="68"/>
                </a:lnTo>
                <a:lnTo>
                  <a:pt x="234" y="68"/>
                </a:lnTo>
                <a:lnTo>
                  <a:pt x="238" y="68"/>
                </a:lnTo>
                <a:lnTo>
                  <a:pt x="240" y="71"/>
                </a:lnTo>
                <a:lnTo>
                  <a:pt x="246" y="82"/>
                </a:lnTo>
                <a:lnTo>
                  <a:pt x="247" y="92"/>
                </a:lnTo>
                <a:lnTo>
                  <a:pt x="246" y="95"/>
                </a:lnTo>
                <a:lnTo>
                  <a:pt x="246" y="96"/>
                </a:lnTo>
                <a:lnTo>
                  <a:pt x="245" y="97"/>
                </a:lnTo>
                <a:lnTo>
                  <a:pt x="239" y="102"/>
                </a:lnTo>
                <a:lnTo>
                  <a:pt x="237" y="103"/>
                </a:lnTo>
                <a:lnTo>
                  <a:pt x="234" y="103"/>
                </a:lnTo>
                <a:lnTo>
                  <a:pt x="231" y="104"/>
                </a:lnTo>
                <a:lnTo>
                  <a:pt x="229" y="107"/>
                </a:lnTo>
                <a:lnTo>
                  <a:pt x="227" y="111"/>
                </a:lnTo>
                <a:lnTo>
                  <a:pt x="216" y="122"/>
                </a:lnTo>
                <a:lnTo>
                  <a:pt x="216" y="123"/>
                </a:lnTo>
                <a:lnTo>
                  <a:pt x="215" y="125"/>
                </a:lnTo>
                <a:lnTo>
                  <a:pt x="210" y="133"/>
                </a:lnTo>
                <a:lnTo>
                  <a:pt x="210" y="134"/>
                </a:lnTo>
                <a:lnTo>
                  <a:pt x="206" y="140"/>
                </a:lnTo>
                <a:lnTo>
                  <a:pt x="203" y="144"/>
                </a:lnTo>
                <a:lnTo>
                  <a:pt x="200" y="146"/>
                </a:lnTo>
                <a:lnTo>
                  <a:pt x="198" y="148"/>
                </a:lnTo>
                <a:lnTo>
                  <a:pt x="198" y="149"/>
                </a:lnTo>
                <a:lnTo>
                  <a:pt x="196" y="152"/>
                </a:lnTo>
                <a:lnTo>
                  <a:pt x="194" y="154"/>
                </a:lnTo>
                <a:lnTo>
                  <a:pt x="194" y="155"/>
                </a:lnTo>
                <a:lnTo>
                  <a:pt x="190" y="157"/>
                </a:lnTo>
                <a:lnTo>
                  <a:pt x="190" y="158"/>
                </a:lnTo>
                <a:lnTo>
                  <a:pt x="193" y="165"/>
                </a:lnTo>
                <a:lnTo>
                  <a:pt x="193" y="172"/>
                </a:lnTo>
                <a:lnTo>
                  <a:pt x="193" y="176"/>
                </a:lnTo>
                <a:lnTo>
                  <a:pt x="193" y="178"/>
                </a:lnTo>
                <a:lnTo>
                  <a:pt x="191" y="185"/>
                </a:lnTo>
                <a:lnTo>
                  <a:pt x="194" y="199"/>
                </a:lnTo>
                <a:lnTo>
                  <a:pt x="194" y="203"/>
                </a:lnTo>
                <a:lnTo>
                  <a:pt x="194" y="204"/>
                </a:lnTo>
                <a:lnTo>
                  <a:pt x="193" y="207"/>
                </a:lnTo>
                <a:lnTo>
                  <a:pt x="191" y="211"/>
                </a:lnTo>
                <a:lnTo>
                  <a:pt x="193" y="217"/>
                </a:lnTo>
                <a:lnTo>
                  <a:pt x="193" y="222"/>
                </a:lnTo>
                <a:lnTo>
                  <a:pt x="194" y="225"/>
                </a:lnTo>
                <a:lnTo>
                  <a:pt x="194" y="227"/>
                </a:lnTo>
                <a:lnTo>
                  <a:pt x="193" y="227"/>
                </a:lnTo>
                <a:lnTo>
                  <a:pt x="196" y="233"/>
                </a:lnTo>
                <a:lnTo>
                  <a:pt x="204" y="237"/>
                </a:lnTo>
                <a:lnTo>
                  <a:pt x="207" y="238"/>
                </a:lnTo>
                <a:lnTo>
                  <a:pt x="210" y="242"/>
                </a:lnTo>
                <a:lnTo>
                  <a:pt x="216" y="246"/>
                </a:lnTo>
                <a:lnTo>
                  <a:pt x="217" y="248"/>
                </a:lnTo>
                <a:lnTo>
                  <a:pt x="215" y="256"/>
                </a:lnTo>
                <a:lnTo>
                  <a:pt x="217" y="259"/>
                </a:lnTo>
                <a:lnTo>
                  <a:pt x="220" y="263"/>
                </a:lnTo>
                <a:lnTo>
                  <a:pt x="225" y="265"/>
                </a:lnTo>
                <a:lnTo>
                  <a:pt x="227" y="264"/>
                </a:lnTo>
                <a:lnTo>
                  <a:pt x="228" y="267"/>
                </a:lnTo>
                <a:lnTo>
                  <a:pt x="230" y="274"/>
                </a:lnTo>
                <a:lnTo>
                  <a:pt x="229" y="278"/>
                </a:lnTo>
                <a:lnTo>
                  <a:pt x="225" y="285"/>
                </a:lnTo>
                <a:lnTo>
                  <a:pt x="223" y="288"/>
                </a:lnTo>
                <a:lnTo>
                  <a:pt x="221" y="292"/>
                </a:lnTo>
                <a:lnTo>
                  <a:pt x="221" y="298"/>
                </a:lnTo>
                <a:lnTo>
                  <a:pt x="219" y="300"/>
                </a:lnTo>
                <a:lnTo>
                  <a:pt x="216" y="303"/>
                </a:lnTo>
                <a:lnTo>
                  <a:pt x="209" y="305"/>
                </a:lnTo>
                <a:lnTo>
                  <a:pt x="207" y="305"/>
                </a:lnTo>
                <a:lnTo>
                  <a:pt x="203" y="306"/>
                </a:lnTo>
                <a:lnTo>
                  <a:pt x="197" y="308"/>
                </a:lnTo>
                <a:lnTo>
                  <a:pt x="194" y="309"/>
                </a:lnTo>
                <a:lnTo>
                  <a:pt x="188" y="309"/>
                </a:lnTo>
                <a:lnTo>
                  <a:pt x="183" y="312"/>
                </a:lnTo>
                <a:lnTo>
                  <a:pt x="174" y="313"/>
                </a:lnTo>
                <a:lnTo>
                  <a:pt x="166" y="313"/>
                </a:lnTo>
                <a:lnTo>
                  <a:pt x="158" y="312"/>
                </a:lnTo>
                <a:lnTo>
                  <a:pt x="154" y="308"/>
                </a:lnTo>
                <a:lnTo>
                  <a:pt x="154" y="310"/>
                </a:lnTo>
                <a:lnTo>
                  <a:pt x="156" y="317"/>
                </a:lnTo>
                <a:lnTo>
                  <a:pt x="159" y="319"/>
                </a:lnTo>
                <a:lnTo>
                  <a:pt x="160" y="322"/>
                </a:lnTo>
                <a:lnTo>
                  <a:pt x="160" y="326"/>
                </a:lnTo>
                <a:lnTo>
                  <a:pt x="160" y="327"/>
                </a:lnTo>
                <a:lnTo>
                  <a:pt x="159" y="328"/>
                </a:lnTo>
                <a:lnTo>
                  <a:pt x="159" y="328"/>
                </a:lnTo>
                <a:lnTo>
                  <a:pt x="159" y="332"/>
                </a:lnTo>
                <a:lnTo>
                  <a:pt x="159" y="335"/>
                </a:lnTo>
                <a:lnTo>
                  <a:pt x="163" y="343"/>
                </a:lnTo>
                <a:lnTo>
                  <a:pt x="163" y="344"/>
                </a:lnTo>
                <a:lnTo>
                  <a:pt x="163" y="346"/>
                </a:lnTo>
                <a:lnTo>
                  <a:pt x="161" y="348"/>
                </a:lnTo>
                <a:lnTo>
                  <a:pt x="157" y="349"/>
                </a:lnTo>
                <a:lnTo>
                  <a:pt x="154" y="352"/>
                </a:lnTo>
                <a:lnTo>
                  <a:pt x="143" y="352"/>
                </a:lnTo>
                <a:lnTo>
                  <a:pt x="140" y="350"/>
                </a:lnTo>
                <a:lnTo>
                  <a:pt x="137" y="349"/>
                </a:lnTo>
                <a:lnTo>
                  <a:pt x="132" y="347"/>
                </a:lnTo>
                <a:lnTo>
                  <a:pt x="127" y="346"/>
                </a:lnTo>
                <a:lnTo>
                  <a:pt x="124" y="343"/>
                </a:lnTo>
                <a:lnTo>
                  <a:pt x="122" y="346"/>
                </a:lnTo>
                <a:lnTo>
                  <a:pt x="124" y="352"/>
                </a:lnTo>
                <a:lnTo>
                  <a:pt x="126" y="356"/>
                </a:lnTo>
                <a:lnTo>
                  <a:pt x="128" y="365"/>
                </a:lnTo>
                <a:lnTo>
                  <a:pt x="130" y="368"/>
                </a:lnTo>
                <a:lnTo>
                  <a:pt x="135" y="370"/>
                </a:lnTo>
                <a:lnTo>
                  <a:pt x="138" y="371"/>
                </a:lnTo>
                <a:lnTo>
                  <a:pt x="138" y="374"/>
                </a:lnTo>
                <a:lnTo>
                  <a:pt x="139" y="375"/>
                </a:lnTo>
                <a:lnTo>
                  <a:pt x="145" y="374"/>
                </a:lnTo>
                <a:lnTo>
                  <a:pt x="144" y="371"/>
                </a:lnTo>
                <a:lnTo>
                  <a:pt x="142" y="370"/>
                </a:lnTo>
                <a:lnTo>
                  <a:pt x="146" y="370"/>
                </a:lnTo>
                <a:lnTo>
                  <a:pt x="148" y="368"/>
                </a:lnTo>
                <a:lnTo>
                  <a:pt x="151" y="371"/>
                </a:lnTo>
                <a:lnTo>
                  <a:pt x="154" y="377"/>
                </a:lnTo>
                <a:lnTo>
                  <a:pt x="154" y="380"/>
                </a:lnTo>
                <a:lnTo>
                  <a:pt x="153" y="381"/>
                </a:lnTo>
                <a:lnTo>
                  <a:pt x="149" y="383"/>
                </a:lnTo>
                <a:lnTo>
                  <a:pt x="147" y="383"/>
                </a:lnTo>
                <a:lnTo>
                  <a:pt x="145" y="381"/>
                </a:lnTo>
                <a:lnTo>
                  <a:pt x="144" y="378"/>
                </a:lnTo>
                <a:lnTo>
                  <a:pt x="142" y="377"/>
                </a:lnTo>
                <a:lnTo>
                  <a:pt x="139" y="376"/>
                </a:lnTo>
                <a:lnTo>
                  <a:pt x="137" y="377"/>
                </a:lnTo>
                <a:lnTo>
                  <a:pt x="136" y="378"/>
                </a:lnTo>
                <a:lnTo>
                  <a:pt x="134" y="378"/>
                </a:lnTo>
                <a:lnTo>
                  <a:pt x="134" y="379"/>
                </a:lnTo>
                <a:lnTo>
                  <a:pt x="134" y="381"/>
                </a:lnTo>
                <a:lnTo>
                  <a:pt x="139" y="384"/>
                </a:lnTo>
                <a:lnTo>
                  <a:pt x="142" y="384"/>
                </a:lnTo>
                <a:lnTo>
                  <a:pt x="144" y="384"/>
                </a:lnTo>
                <a:lnTo>
                  <a:pt x="146" y="385"/>
                </a:lnTo>
                <a:lnTo>
                  <a:pt x="146" y="385"/>
                </a:lnTo>
                <a:lnTo>
                  <a:pt x="138" y="389"/>
                </a:lnTo>
                <a:lnTo>
                  <a:pt x="137" y="391"/>
                </a:lnTo>
                <a:lnTo>
                  <a:pt x="137" y="394"/>
                </a:lnTo>
                <a:lnTo>
                  <a:pt x="136" y="396"/>
                </a:lnTo>
                <a:lnTo>
                  <a:pt x="136" y="399"/>
                </a:lnTo>
                <a:lnTo>
                  <a:pt x="138" y="403"/>
                </a:lnTo>
                <a:lnTo>
                  <a:pt x="138" y="406"/>
                </a:lnTo>
                <a:lnTo>
                  <a:pt x="139" y="409"/>
                </a:lnTo>
                <a:lnTo>
                  <a:pt x="139" y="411"/>
                </a:lnTo>
                <a:lnTo>
                  <a:pt x="138" y="413"/>
                </a:lnTo>
                <a:lnTo>
                  <a:pt x="137" y="414"/>
                </a:lnTo>
                <a:lnTo>
                  <a:pt x="136" y="416"/>
                </a:lnTo>
                <a:lnTo>
                  <a:pt x="138" y="419"/>
                </a:lnTo>
                <a:lnTo>
                  <a:pt x="139" y="420"/>
                </a:lnTo>
                <a:lnTo>
                  <a:pt x="138" y="421"/>
                </a:lnTo>
                <a:lnTo>
                  <a:pt x="129" y="421"/>
                </a:lnTo>
                <a:lnTo>
                  <a:pt x="127" y="423"/>
                </a:lnTo>
                <a:lnTo>
                  <a:pt x="126" y="425"/>
                </a:lnTo>
                <a:lnTo>
                  <a:pt x="124" y="425"/>
                </a:lnTo>
                <a:lnTo>
                  <a:pt x="122" y="426"/>
                </a:lnTo>
                <a:lnTo>
                  <a:pt x="118" y="430"/>
                </a:lnTo>
                <a:lnTo>
                  <a:pt x="117" y="433"/>
                </a:lnTo>
                <a:lnTo>
                  <a:pt x="117" y="434"/>
                </a:lnTo>
                <a:lnTo>
                  <a:pt x="116" y="438"/>
                </a:lnTo>
                <a:lnTo>
                  <a:pt x="116" y="441"/>
                </a:lnTo>
                <a:lnTo>
                  <a:pt x="117" y="444"/>
                </a:lnTo>
                <a:lnTo>
                  <a:pt x="120" y="447"/>
                </a:lnTo>
                <a:lnTo>
                  <a:pt x="123" y="449"/>
                </a:lnTo>
                <a:lnTo>
                  <a:pt x="126" y="451"/>
                </a:lnTo>
                <a:lnTo>
                  <a:pt x="133" y="456"/>
                </a:lnTo>
                <a:lnTo>
                  <a:pt x="140" y="458"/>
                </a:lnTo>
                <a:lnTo>
                  <a:pt x="144" y="458"/>
                </a:lnTo>
                <a:lnTo>
                  <a:pt x="147" y="458"/>
                </a:lnTo>
                <a:lnTo>
                  <a:pt x="149" y="460"/>
                </a:lnTo>
                <a:lnTo>
                  <a:pt x="150" y="463"/>
                </a:lnTo>
                <a:lnTo>
                  <a:pt x="151" y="466"/>
                </a:lnTo>
                <a:lnTo>
                  <a:pt x="150" y="468"/>
                </a:lnTo>
                <a:lnTo>
                  <a:pt x="149" y="469"/>
                </a:lnTo>
                <a:lnTo>
                  <a:pt x="151" y="471"/>
                </a:lnTo>
                <a:lnTo>
                  <a:pt x="153" y="474"/>
                </a:lnTo>
                <a:lnTo>
                  <a:pt x="151" y="475"/>
                </a:lnTo>
                <a:lnTo>
                  <a:pt x="151" y="477"/>
                </a:lnTo>
                <a:lnTo>
                  <a:pt x="149" y="477"/>
                </a:lnTo>
                <a:lnTo>
                  <a:pt x="148" y="478"/>
                </a:lnTo>
                <a:lnTo>
                  <a:pt x="145" y="481"/>
                </a:lnTo>
                <a:lnTo>
                  <a:pt x="142" y="485"/>
                </a:lnTo>
                <a:lnTo>
                  <a:pt x="139" y="486"/>
                </a:lnTo>
                <a:lnTo>
                  <a:pt x="137" y="489"/>
                </a:lnTo>
                <a:lnTo>
                  <a:pt x="134" y="492"/>
                </a:lnTo>
                <a:lnTo>
                  <a:pt x="134" y="496"/>
                </a:lnTo>
                <a:lnTo>
                  <a:pt x="134" y="499"/>
                </a:lnTo>
                <a:lnTo>
                  <a:pt x="136" y="497"/>
                </a:lnTo>
                <a:lnTo>
                  <a:pt x="136" y="505"/>
                </a:lnTo>
                <a:lnTo>
                  <a:pt x="136" y="508"/>
                </a:lnTo>
                <a:lnTo>
                  <a:pt x="135" y="510"/>
                </a:lnTo>
                <a:lnTo>
                  <a:pt x="133" y="511"/>
                </a:lnTo>
                <a:lnTo>
                  <a:pt x="129" y="511"/>
                </a:lnTo>
                <a:lnTo>
                  <a:pt x="127" y="509"/>
                </a:lnTo>
                <a:lnTo>
                  <a:pt x="123" y="505"/>
                </a:lnTo>
                <a:lnTo>
                  <a:pt x="125" y="509"/>
                </a:lnTo>
                <a:lnTo>
                  <a:pt x="127" y="510"/>
                </a:lnTo>
                <a:lnTo>
                  <a:pt x="128" y="511"/>
                </a:lnTo>
                <a:lnTo>
                  <a:pt x="129" y="512"/>
                </a:lnTo>
                <a:lnTo>
                  <a:pt x="125" y="516"/>
                </a:lnTo>
                <a:lnTo>
                  <a:pt x="123" y="517"/>
                </a:lnTo>
                <a:lnTo>
                  <a:pt x="123" y="526"/>
                </a:lnTo>
                <a:lnTo>
                  <a:pt x="122" y="528"/>
                </a:lnTo>
                <a:lnTo>
                  <a:pt x="124" y="528"/>
                </a:lnTo>
                <a:lnTo>
                  <a:pt x="125" y="527"/>
                </a:lnTo>
                <a:lnTo>
                  <a:pt x="128" y="532"/>
                </a:lnTo>
                <a:lnTo>
                  <a:pt x="130" y="536"/>
                </a:lnTo>
                <a:lnTo>
                  <a:pt x="130" y="537"/>
                </a:lnTo>
                <a:lnTo>
                  <a:pt x="127" y="537"/>
                </a:lnTo>
                <a:lnTo>
                  <a:pt x="126" y="537"/>
                </a:lnTo>
                <a:lnTo>
                  <a:pt x="128" y="539"/>
                </a:lnTo>
                <a:lnTo>
                  <a:pt x="130" y="538"/>
                </a:lnTo>
                <a:lnTo>
                  <a:pt x="132" y="539"/>
                </a:lnTo>
                <a:lnTo>
                  <a:pt x="138" y="545"/>
                </a:lnTo>
                <a:lnTo>
                  <a:pt x="145" y="549"/>
                </a:lnTo>
                <a:lnTo>
                  <a:pt x="145" y="55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35" name="Freeform 1235"/>
          <p:cNvSpPr>
            <a:spLocks/>
          </p:cNvSpPr>
          <p:nvPr/>
        </p:nvSpPr>
        <p:spPr bwMode="auto">
          <a:xfrm>
            <a:off x="2633662" y="4206840"/>
            <a:ext cx="392112" cy="873125"/>
          </a:xfrm>
          <a:custGeom>
            <a:avLst/>
            <a:gdLst>
              <a:gd name="T0" fmla="*/ 112 w 247"/>
              <a:gd name="T1" fmla="*/ 546 h 550"/>
              <a:gd name="T2" fmla="*/ 82 w 247"/>
              <a:gd name="T3" fmla="*/ 528 h 550"/>
              <a:gd name="T4" fmla="*/ 68 w 247"/>
              <a:gd name="T5" fmla="*/ 522 h 550"/>
              <a:gd name="T6" fmla="*/ 61 w 247"/>
              <a:gd name="T7" fmla="*/ 511 h 550"/>
              <a:gd name="T8" fmla="*/ 63 w 247"/>
              <a:gd name="T9" fmla="*/ 486 h 550"/>
              <a:gd name="T10" fmla="*/ 58 w 247"/>
              <a:gd name="T11" fmla="*/ 472 h 550"/>
              <a:gd name="T12" fmla="*/ 61 w 247"/>
              <a:gd name="T13" fmla="*/ 450 h 550"/>
              <a:gd name="T14" fmla="*/ 55 w 247"/>
              <a:gd name="T15" fmla="*/ 426 h 550"/>
              <a:gd name="T16" fmla="*/ 53 w 247"/>
              <a:gd name="T17" fmla="*/ 415 h 550"/>
              <a:gd name="T18" fmla="*/ 37 w 247"/>
              <a:gd name="T19" fmla="*/ 396 h 550"/>
              <a:gd name="T20" fmla="*/ 31 w 247"/>
              <a:gd name="T21" fmla="*/ 368 h 550"/>
              <a:gd name="T22" fmla="*/ 22 w 247"/>
              <a:gd name="T23" fmla="*/ 337 h 550"/>
              <a:gd name="T24" fmla="*/ 23 w 247"/>
              <a:gd name="T25" fmla="*/ 305 h 550"/>
              <a:gd name="T26" fmla="*/ 15 w 247"/>
              <a:gd name="T27" fmla="*/ 265 h 550"/>
              <a:gd name="T28" fmla="*/ 17 w 247"/>
              <a:gd name="T29" fmla="*/ 254 h 550"/>
              <a:gd name="T30" fmla="*/ 20 w 247"/>
              <a:gd name="T31" fmla="*/ 221 h 550"/>
              <a:gd name="T32" fmla="*/ 3 w 247"/>
              <a:gd name="T33" fmla="*/ 183 h 550"/>
              <a:gd name="T34" fmla="*/ 3 w 247"/>
              <a:gd name="T35" fmla="*/ 158 h 550"/>
              <a:gd name="T36" fmla="*/ 2 w 247"/>
              <a:gd name="T37" fmla="*/ 135 h 550"/>
              <a:gd name="T38" fmla="*/ 15 w 247"/>
              <a:gd name="T39" fmla="*/ 95 h 550"/>
              <a:gd name="T40" fmla="*/ 12 w 247"/>
              <a:gd name="T41" fmla="*/ 67 h 550"/>
              <a:gd name="T42" fmla="*/ 24 w 247"/>
              <a:gd name="T43" fmla="*/ 43 h 550"/>
              <a:gd name="T44" fmla="*/ 27 w 247"/>
              <a:gd name="T45" fmla="*/ 20 h 550"/>
              <a:gd name="T46" fmla="*/ 42 w 247"/>
              <a:gd name="T47" fmla="*/ 0 h 550"/>
              <a:gd name="T48" fmla="*/ 65 w 247"/>
              <a:gd name="T49" fmla="*/ 9 h 550"/>
              <a:gd name="T50" fmla="*/ 74 w 247"/>
              <a:gd name="T51" fmla="*/ 5 h 550"/>
              <a:gd name="T52" fmla="*/ 94 w 247"/>
              <a:gd name="T53" fmla="*/ 9 h 550"/>
              <a:gd name="T54" fmla="*/ 123 w 247"/>
              <a:gd name="T55" fmla="*/ 32 h 550"/>
              <a:gd name="T56" fmla="*/ 147 w 247"/>
              <a:gd name="T57" fmla="*/ 44 h 550"/>
              <a:gd name="T58" fmla="*/ 178 w 247"/>
              <a:gd name="T59" fmla="*/ 64 h 550"/>
              <a:gd name="T60" fmla="*/ 173 w 247"/>
              <a:gd name="T61" fmla="*/ 92 h 550"/>
              <a:gd name="T62" fmla="*/ 199 w 247"/>
              <a:gd name="T63" fmla="*/ 103 h 550"/>
              <a:gd name="T64" fmla="*/ 217 w 247"/>
              <a:gd name="T65" fmla="*/ 101 h 550"/>
              <a:gd name="T66" fmla="*/ 230 w 247"/>
              <a:gd name="T67" fmla="*/ 85 h 550"/>
              <a:gd name="T68" fmla="*/ 246 w 247"/>
              <a:gd name="T69" fmla="*/ 82 h 550"/>
              <a:gd name="T70" fmla="*/ 231 w 247"/>
              <a:gd name="T71" fmla="*/ 104 h 550"/>
              <a:gd name="T72" fmla="*/ 206 w 247"/>
              <a:gd name="T73" fmla="*/ 140 h 550"/>
              <a:gd name="T74" fmla="*/ 190 w 247"/>
              <a:gd name="T75" fmla="*/ 157 h 550"/>
              <a:gd name="T76" fmla="*/ 194 w 247"/>
              <a:gd name="T77" fmla="*/ 203 h 550"/>
              <a:gd name="T78" fmla="*/ 193 w 247"/>
              <a:gd name="T79" fmla="*/ 227 h 550"/>
              <a:gd name="T80" fmla="*/ 217 w 247"/>
              <a:gd name="T81" fmla="*/ 259 h 550"/>
              <a:gd name="T82" fmla="*/ 223 w 247"/>
              <a:gd name="T83" fmla="*/ 288 h 550"/>
              <a:gd name="T84" fmla="*/ 197 w 247"/>
              <a:gd name="T85" fmla="*/ 308 h 550"/>
              <a:gd name="T86" fmla="*/ 154 w 247"/>
              <a:gd name="T87" fmla="*/ 310 h 550"/>
              <a:gd name="T88" fmla="*/ 159 w 247"/>
              <a:gd name="T89" fmla="*/ 332 h 550"/>
              <a:gd name="T90" fmla="*/ 143 w 247"/>
              <a:gd name="T91" fmla="*/ 352 h 550"/>
              <a:gd name="T92" fmla="*/ 126 w 247"/>
              <a:gd name="T93" fmla="*/ 356 h 550"/>
              <a:gd name="T94" fmla="*/ 144 w 247"/>
              <a:gd name="T95" fmla="*/ 371 h 550"/>
              <a:gd name="T96" fmla="*/ 149 w 247"/>
              <a:gd name="T97" fmla="*/ 383 h 550"/>
              <a:gd name="T98" fmla="*/ 134 w 247"/>
              <a:gd name="T99" fmla="*/ 378 h 550"/>
              <a:gd name="T100" fmla="*/ 138 w 247"/>
              <a:gd name="T101" fmla="*/ 389 h 550"/>
              <a:gd name="T102" fmla="*/ 139 w 247"/>
              <a:gd name="T103" fmla="*/ 411 h 550"/>
              <a:gd name="T104" fmla="*/ 127 w 247"/>
              <a:gd name="T105" fmla="*/ 423 h 550"/>
              <a:gd name="T106" fmla="*/ 116 w 247"/>
              <a:gd name="T107" fmla="*/ 441 h 550"/>
              <a:gd name="T108" fmla="*/ 147 w 247"/>
              <a:gd name="T109" fmla="*/ 458 h 550"/>
              <a:gd name="T110" fmla="*/ 151 w 247"/>
              <a:gd name="T111" fmla="*/ 475 h 550"/>
              <a:gd name="T112" fmla="*/ 134 w 247"/>
              <a:gd name="T113" fmla="*/ 492 h 550"/>
              <a:gd name="T114" fmla="*/ 129 w 247"/>
              <a:gd name="T115" fmla="*/ 511 h 550"/>
              <a:gd name="T116" fmla="*/ 123 w 247"/>
              <a:gd name="T117" fmla="*/ 517 h 550"/>
              <a:gd name="T118" fmla="*/ 127 w 247"/>
              <a:gd name="T119" fmla="*/ 537 h 5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47" h="550">
                <a:moveTo>
                  <a:pt x="145" y="550"/>
                </a:moveTo>
                <a:lnTo>
                  <a:pt x="144" y="549"/>
                </a:lnTo>
                <a:lnTo>
                  <a:pt x="139" y="548"/>
                </a:lnTo>
                <a:lnTo>
                  <a:pt x="130" y="547"/>
                </a:lnTo>
                <a:lnTo>
                  <a:pt x="124" y="545"/>
                </a:lnTo>
                <a:lnTo>
                  <a:pt x="122" y="545"/>
                </a:lnTo>
                <a:lnTo>
                  <a:pt x="117" y="546"/>
                </a:lnTo>
                <a:lnTo>
                  <a:pt x="112" y="546"/>
                </a:lnTo>
                <a:lnTo>
                  <a:pt x="110" y="546"/>
                </a:lnTo>
                <a:lnTo>
                  <a:pt x="109" y="546"/>
                </a:lnTo>
                <a:lnTo>
                  <a:pt x="96" y="546"/>
                </a:lnTo>
                <a:lnTo>
                  <a:pt x="92" y="545"/>
                </a:lnTo>
                <a:lnTo>
                  <a:pt x="90" y="544"/>
                </a:lnTo>
                <a:lnTo>
                  <a:pt x="87" y="540"/>
                </a:lnTo>
                <a:lnTo>
                  <a:pt x="87" y="539"/>
                </a:lnTo>
                <a:lnTo>
                  <a:pt x="82" y="528"/>
                </a:lnTo>
                <a:lnTo>
                  <a:pt x="80" y="525"/>
                </a:lnTo>
                <a:lnTo>
                  <a:pt x="78" y="521"/>
                </a:lnTo>
                <a:lnTo>
                  <a:pt x="77" y="521"/>
                </a:lnTo>
                <a:lnTo>
                  <a:pt x="76" y="520"/>
                </a:lnTo>
                <a:lnTo>
                  <a:pt x="76" y="520"/>
                </a:lnTo>
                <a:lnTo>
                  <a:pt x="76" y="522"/>
                </a:lnTo>
                <a:lnTo>
                  <a:pt x="70" y="521"/>
                </a:lnTo>
                <a:lnTo>
                  <a:pt x="68" y="522"/>
                </a:lnTo>
                <a:lnTo>
                  <a:pt x="68" y="524"/>
                </a:lnTo>
                <a:lnTo>
                  <a:pt x="68" y="525"/>
                </a:lnTo>
                <a:lnTo>
                  <a:pt x="67" y="524"/>
                </a:lnTo>
                <a:lnTo>
                  <a:pt x="66" y="522"/>
                </a:lnTo>
                <a:lnTo>
                  <a:pt x="64" y="520"/>
                </a:lnTo>
                <a:lnTo>
                  <a:pt x="63" y="519"/>
                </a:lnTo>
                <a:lnTo>
                  <a:pt x="61" y="512"/>
                </a:lnTo>
                <a:lnTo>
                  <a:pt x="61" y="511"/>
                </a:lnTo>
                <a:lnTo>
                  <a:pt x="59" y="508"/>
                </a:lnTo>
                <a:lnTo>
                  <a:pt x="58" y="501"/>
                </a:lnTo>
                <a:lnTo>
                  <a:pt x="58" y="499"/>
                </a:lnTo>
                <a:lnTo>
                  <a:pt x="59" y="499"/>
                </a:lnTo>
                <a:lnTo>
                  <a:pt x="61" y="492"/>
                </a:lnTo>
                <a:lnTo>
                  <a:pt x="63" y="490"/>
                </a:lnTo>
                <a:lnTo>
                  <a:pt x="63" y="489"/>
                </a:lnTo>
                <a:lnTo>
                  <a:pt x="63" y="486"/>
                </a:lnTo>
                <a:lnTo>
                  <a:pt x="62" y="481"/>
                </a:lnTo>
                <a:lnTo>
                  <a:pt x="62" y="480"/>
                </a:lnTo>
                <a:lnTo>
                  <a:pt x="62" y="480"/>
                </a:lnTo>
                <a:lnTo>
                  <a:pt x="62" y="478"/>
                </a:lnTo>
                <a:lnTo>
                  <a:pt x="61" y="476"/>
                </a:lnTo>
                <a:lnTo>
                  <a:pt x="59" y="475"/>
                </a:lnTo>
                <a:lnTo>
                  <a:pt x="58" y="472"/>
                </a:lnTo>
                <a:lnTo>
                  <a:pt x="58" y="472"/>
                </a:lnTo>
                <a:lnTo>
                  <a:pt x="57" y="469"/>
                </a:lnTo>
                <a:lnTo>
                  <a:pt x="57" y="468"/>
                </a:lnTo>
                <a:lnTo>
                  <a:pt x="57" y="467"/>
                </a:lnTo>
                <a:lnTo>
                  <a:pt x="59" y="463"/>
                </a:lnTo>
                <a:lnTo>
                  <a:pt x="61" y="459"/>
                </a:lnTo>
                <a:lnTo>
                  <a:pt x="59" y="457"/>
                </a:lnTo>
                <a:lnTo>
                  <a:pt x="61" y="454"/>
                </a:lnTo>
                <a:lnTo>
                  <a:pt x="61" y="450"/>
                </a:lnTo>
                <a:lnTo>
                  <a:pt x="58" y="441"/>
                </a:lnTo>
                <a:lnTo>
                  <a:pt x="57" y="440"/>
                </a:lnTo>
                <a:lnTo>
                  <a:pt x="56" y="437"/>
                </a:lnTo>
                <a:lnTo>
                  <a:pt x="56" y="436"/>
                </a:lnTo>
                <a:lnTo>
                  <a:pt x="54" y="430"/>
                </a:lnTo>
                <a:lnTo>
                  <a:pt x="54" y="428"/>
                </a:lnTo>
                <a:lnTo>
                  <a:pt x="54" y="427"/>
                </a:lnTo>
                <a:lnTo>
                  <a:pt x="55" y="426"/>
                </a:lnTo>
                <a:lnTo>
                  <a:pt x="54" y="424"/>
                </a:lnTo>
                <a:lnTo>
                  <a:pt x="51" y="420"/>
                </a:lnTo>
                <a:lnTo>
                  <a:pt x="46" y="419"/>
                </a:lnTo>
                <a:lnTo>
                  <a:pt x="45" y="417"/>
                </a:lnTo>
                <a:lnTo>
                  <a:pt x="45" y="416"/>
                </a:lnTo>
                <a:lnTo>
                  <a:pt x="49" y="417"/>
                </a:lnTo>
                <a:lnTo>
                  <a:pt x="53" y="417"/>
                </a:lnTo>
                <a:lnTo>
                  <a:pt x="53" y="415"/>
                </a:lnTo>
                <a:lnTo>
                  <a:pt x="52" y="413"/>
                </a:lnTo>
                <a:lnTo>
                  <a:pt x="49" y="410"/>
                </a:lnTo>
                <a:lnTo>
                  <a:pt x="45" y="409"/>
                </a:lnTo>
                <a:lnTo>
                  <a:pt x="44" y="409"/>
                </a:lnTo>
                <a:lnTo>
                  <a:pt x="43" y="408"/>
                </a:lnTo>
                <a:lnTo>
                  <a:pt x="42" y="401"/>
                </a:lnTo>
                <a:lnTo>
                  <a:pt x="39" y="398"/>
                </a:lnTo>
                <a:lnTo>
                  <a:pt x="37" y="396"/>
                </a:lnTo>
                <a:lnTo>
                  <a:pt x="37" y="395"/>
                </a:lnTo>
                <a:lnTo>
                  <a:pt x="35" y="388"/>
                </a:lnTo>
                <a:lnTo>
                  <a:pt x="35" y="387"/>
                </a:lnTo>
                <a:lnTo>
                  <a:pt x="33" y="386"/>
                </a:lnTo>
                <a:lnTo>
                  <a:pt x="32" y="385"/>
                </a:lnTo>
                <a:lnTo>
                  <a:pt x="29" y="376"/>
                </a:lnTo>
                <a:lnTo>
                  <a:pt x="29" y="371"/>
                </a:lnTo>
                <a:lnTo>
                  <a:pt x="31" y="368"/>
                </a:lnTo>
                <a:lnTo>
                  <a:pt x="31" y="366"/>
                </a:lnTo>
                <a:lnTo>
                  <a:pt x="31" y="365"/>
                </a:lnTo>
                <a:lnTo>
                  <a:pt x="29" y="361"/>
                </a:lnTo>
                <a:lnTo>
                  <a:pt x="29" y="360"/>
                </a:lnTo>
                <a:lnTo>
                  <a:pt x="26" y="358"/>
                </a:lnTo>
                <a:lnTo>
                  <a:pt x="24" y="355"/>
                </a:lnTo>
                <a:lnTo>
                  <a:pt x="23" y="347"/>
                </a:lnTo>
                <a:lnTo>
                  <a:pt x="22" y="337"/>
                </a:lnTo>
                <a:lnTo>
                  <a:pt x="21" y="334"/>
                </a:lnTo>
                <a:lnTo>
                  <a:pt x="21" y="332"/>
                </a:lnTo>
                <a:lnTo>
                  <a:pt x="21" y="316"/>
                </a:lnTo>
                <a:lnTo>
                  <a:pt x="20" y="313"/>
                </a:lnTo>
                <a:lnTo>
                  <a:pt x="21" y="312"/>
                </a:lnTo>
                <a:lnTo>
                  <a:pt x="21" y="309"/>
                </a:lnTo>
                <a:lnTo>
                  <a:pt x="23" y="308"/>
                </a:lnTo>
                <a:lnTo>
                  <a:pt x="23" y="305"/>
                </a:lnTo>
                <a:lnTo>
                  <a:pt x="22" y="302"/>
                </a:lnTo>
                <a:lnTo>
                  <a:pt x="21" y="299"/>
                </a:lnTo>
                <a:lnTo>
                  <a:pt x="17" y="292"/>
                </a:lnTo>
                <a:lnTo>
                  <a:pt x="14" y="282"/>
                </a:lnTo>
                <a:lnTo>
                  <a:pt x="13" y="272"/>
                </a:lnTo>
                <a:lnTo>
                  <a:pt x="13" y="268"/>
                </a:lnTo>
                <a:lnTo>
                  <a:pt x="14" y="266"/>
                </a:lnTo>
                <a:lnTo>
                  <a:pt x="15" y="265"/>
                </a:lnTo>
                <a:lnTo>
                  <a:pt x="16" y="265"/>
                </a:lnTo>
                <a:lnTo>
                  <a:pt x="17" y="264"/>
                </a:lnTo>
                <a:lnTo>
                  <a:pt x="17" y="263"/>
                </a:lnTo>
                <a:lnTo>
                  <a:pt x="17" y="262"/>
                </a:lnTo>
                <a:lnTo>
                  <a:pt x="18" y="260"/>
                </a:lnTo>
                <a:lnTo>
                  <a:pt x="20" y="259"/>
                </a:lnTo>
                <a:lnTo>
                  <a:pt x="20" y="258"/>
                </a:lnTo>
                <a:lnTo>
                  <a:pt x="17" y="254"/>
                </a:lnTo>
                <a:lnTo>
                  <a:pt x="15" y="245"/>
                </a:lnTo>
                <a:lnTo>
                  <a:pt x="17" y="243"/>
                </a:lnTo>
                <a:lnTo>
                  <a:pt x="17" y="242"/>
                </a:lnTo>
                <a:lnTo>
                  <a:pt x="17" y="236"/>
                </a:lnTo>
                <a:lnTo>
                  <a:pt x="17" y="234"/>
                </a:lnTo>
                <a:lnTo>
                  <a:pt x="18" y="231"/>
                </a:lnTo>
                <a:lnTo>
                  <a:pt x="21" y="225"/>
                </a:lnTo>
                <a:lnTo>
                  <a:pt x="20" y="221"/>
                </a:lnTo>
                <a:lnTo>
                  <a:pt x="17" y="216"/>
                </a:lnTo>
                <a:lnTo>
                  <a:pt x="16" y="211"/>
                </a:lnTo>
                <a:lnTo>
                  <a:pt x="15" y="209"/>
                </a:lnTo>
                <a:lnTo>
                  <a:pt x="12" y="206"/>
                </a:lnTo>
                <a:lnTo>
                  <a:pt x="12" y="204"/>
                </a:lnTo>
                <a:lnTo>
                  <a:pt x="11" y="201"/>
                </a:lnTo>
                <a:lnTo>
                  <a:pt x="5" y="192"/>
                </a:lnTo>
                <a:lnTo>
                  <a:pt x="3" y="183"/>
                </a:lnTo>
                <a:lnTo>
                  <a:pt x="1" y="181"/>
                </a:lnTo>
                <a:lnTo>
                  <a:pt x="0" y="176"/>
                </a:lnTo>
                <a:lnTo>
                  <a:pt x="0" y="172"/>
                </a:lnTo>
                <a:lnTo>
                  <a:pt x="0" y="168"/>
                </a:lnTo>
                <a:lnTo>
                  <a:pt x="0" y="168"/>
                </a:lnTo>
                <a:lnTo>
                  <a:pt x="1" y="164"/>
                </a:lnTo>
                <a:lnTo>
                  <a:pt x="2" y="159"/>
                </a:lnTo>
                <a:lnTo>
                  <a:pt x="3" y="158"/>
                </a:lnTo>
                <a:lnTo>
                  <a:pt x="3" y="156"/>
                </a:lnTo>
                <a:lnTo>
                  <a:pt x="3" y="155"/>
                </a:lnTo>
                <a:lnTo>
                  <a:pt x="4" y="154"/>
                </a:lnTo>
                <a:lnTo>
                  <a:pt x="4" y="151"/>
                </a:lnTo>
                <a:lnTo>
                  <a:pt x="3" y="147"/>
                </a:lnTo>
                <a:lnTo>
                  <a:pt x="3" y="145"/>
                </a:lnTo>
                <a:lnTo>
                  <a:pt x="2" y="137"/>
                </a:lnTo>
                <a:lnTo>
                  <a:pt x="2" y="135"/>
                </a:lnTo>
                <a:lnTo>
                  <a:pt x="3" y="132"/>
                </a:lnTo>
                <a:lnTo>
                  <a:pt x="3" y="130"/>
                </a:lnTo>
                <a:lnTo>
                  <a:pt x="3" y="123"/>
                </a:lnTo>
                <a:lnTo>
                  <a:pt x="4" y="115"/>
                </a:lnTo>
                <a:lnTo>
                  <a:pt x="10" y="107"/>
                </a:lnTo>
                <a:lnTo>
                  <a:pt x="11" y="100"/>
                </a:lnTo>
                <a:lnTo>
                  <a:pt x="11" y="98"/>
                </a:lnTo>
                <a:lnTo>
                  <a:pt x="15" y="95"/>
                </a:lnTo>
                <a:lnTo>
                  <a:pt x="17" y="94"/>
                </a:lnTo>
                <a:lnTo>
                  <a:pt x="18" y="93"/>
                </a:lnTo>
                <a:lnTo>
                  <a:pt x="18" y="92"/>
                </a:lnTo>
                <a:lnTo>
                  <a:pt x="17" y="87"/>
                </a:lnTo>
                <a:lnTo>
                  <a:pt x="15" y="83"/>
                </a:lnTo>
                <a:lnTo>
                  <a:pt x="14" y="80"/>
                </a:lnTo>
                <a:lnTo>
                  <a:pt x="13" y="72"/>
                </a:lnTo>
                <a:lnTo>
                  <a:pt x="12" y="67"/>
                </a:lnTo>
                <a:lnTo>
                  <a:pt x="11" y="63"/>
                </a:lnTo>
                <a:lnTo>
                  <a:pt x="11" y="62"/>
                </a:lnTo>
                <a:lnTo>
                  <a:pt x="12" y="60"/>
                </a:lnTo>
                <a:lnTo>
                  <a:pt x="12" y="56"/>
                </a:lnTo>
                <a:lnTo>
                  <a:pt x="11" y="54"/>
                </a:lnTo>
                <a:lnTo>
                  <a:pt x="11" y="52"/>
                </a:lnTo>
                <a:lnTo>
                  <a:pt x="11" y="50"/>
                </a:lnTo>
                <a:lnTo>
                  <a:pt x="24" y="43"/>
                </a:lnTo>
                <a:lnTo>
                  <a:pt x="28" y="41"/>
                </a:lnTo>
                <a:lnTo>
                  <a:pt x="29" y="26"/>
                </a:lnTo>
                <a:lnTo>
                  <a:pt x="29" y="22"/>
                </a:lnTo>
                <a:lnTo>
                  <a:pt x="27" y="21"/>
                </a:lnTo>
                <a:lnTo>
                  <a:pt x="27" y="21"/>
                </a:lnTo>
                <a:lnTo>
                  <a:pt x="27" y="20"/>
                </a:lnTo>
                <a:lnTo>
                  <a:pt x="27" y="20"/>
                </a:lnTo>
                <a:lnTo>
                  <a:pt x="27" y="20"/>
                </a:lnTo>
                <a:lnTo>
                  <a:pt x="28" y="17"/>
                </a:lnTo>
                <a:lnTo>
                  <a:pt x="31" y="15"/>
                </a:lnTo>
                <a:lnTo>
                  <a:pt x="31" y="13"/>
                </a:lnTo>
                <a:lnTo>
                  <a:pt x="32" y="11"/>
                </a:lnTo>
                <a:lnTo>
                  <a:pt x="34" y="9"/>
                </a:lnTo>
                <a:lnTo>
                  <a:pt x="37" y="5"/>
                </a:lnTo>
                <a:lnTo>
                  <a:pt x="41" y="1"/>
                </a:lnTo>
                <a:lnTo>
                  <a:pt x="42" y="0"/>
                </a:lnTo>
                <a:lnTo>
                  <a:pt x="43" y="0"/>
                </a:lnTo>
                <a:lnTo>
                  <a:pt x="44" y="2"/>
                </a:lnTo>
                <a:lnTo>
                  <a:pt x="47" y="6"/>
                </a:lnTo>
                <a:lnTo>
                  <a:pt x="54" y="6"/>
                </a:lnTo>
                <a:lnTo>
                  <a:pt x="57" y="6"/>
                </a:lnTo>
                <a:lnTo>
                  <a:pt x="58" y="6"/>
                </a:lnTo>
                <a:lnTo>
                  <a:pt x="64" y="9"/>
                </a:lnTo>
                <a:lnTo>
                  <a:pt x="65" y="9"/>
                </a:lnTo>
                <a:lnTo>
                  <a:pt x="67" y="11"/>
                </a:lnTo>
                <a:lnTo>
                  <a:pt x="67" y="12"/>
                </a:lnTo>
                <a:lnTo>
                  <a:pt x="68" y="13"/>
                </a:lnTo>
                <a:lnTo>
                  <a:pt x="72" y="16"/>
                </a:lnTo>
                <a:lnTo>
                  <a:pt x="73" y="16"/>
                </a:lnTo>
                <a:lnTo>
                  <a:pt x="73" y="14"/>
                </a:lnTo>
                <a:lnTo>
                  <a:pt x="73" y="11"/>
                </a:lnTo>
                <a:lnTo>
                  <a:pt x="74" y="5"/>
                </a:lnTo>
                <a:lnTo>
                  <a:pt x="74" y="4"/>
                </a:lnTo>
                <a:lnTo>
                  <a:pt x="76" y="4"/>
                </a:lnTo>
                <a:lnTo>
                  <a:pt x="82" y="5"/>
                </a:lnTo>
                <a:lnTo>
                  <a:pt x="87" y="5"/>
                </a:lnTo>
                <a:lnTo>
                  <a:pt x="89" y="5"/>
                </a:lnTo>
                <a:lnTo>
                  <a:pt x="90" y="5"/>
                </a:lnTo>
                <a:lnTo>
                  <a:pt x="93" y="6"/>
                </a:lnTo>
                <a:lnTo>
                  <a:pt x="94" y="9"/>
                </a:lnTo>
                <a:lnTo>
                  <a:pt x="96" y="10"/>
                </a:lnTo>
                <a:lnTo>
                  <a:pt x="102" y="11"/>
                </a:lnTo>
                <a:lnTo>
                  <a:pt x="103" y="13"/>
                </a:lnTo>
                <a:lnTo>
                  <a:pt x="107" y="19"/>
                </a:lnTo>
                <a:lnTo>
                  <a:pt x="112" y="23"/>
                </a:lnTo>
                <a:lnTo>
                  <a:pt x="113" y="24"/>
                </a:lnTo>
                <a:lnTo>
                  <a:pt x="119" y="30"/>
                </a:lnTo>
                <a:lnTo>
                  <a:pt x="123" y="32"/>
                </a:lnTo>
                <a:lnTo>
                  <a:pt x="125" y="33"/>
                </a:lnTo>
                <a:lnTo>
                  <a:pt x="128" y="39"/>
                </a:lnTo>
                <a:lnTo>
                  <a:pt x="129" y="40"/>
                </a:lnTo>
                <a:lnTo>
                  <a:pt x="130" y="41"/>
                </a:lnTo>
                <a:lnTo>
                  <a:pt x="134" y="42"/>
                </a:lnTo>
                <a:lnTo>
                  <a:pt x="136" y="42"/>
                </a:lnTo>
                <a:lnTo>
                  <a:pt x="144" y="43"/>
                </a:lnTo>
                <a:lnTo>
                  <a:pt x="147" y="44"/>
                </a:lnTo>
                <a:lnTo>
                  <a:pt x="149" y="44"/>
                </a:lnTo>
                <a:lnTo>
                  <a:pt x="157" y="50"/>
                </a:lnTo>
                <a:lnTo>
                  <a:pt x="161" y="52"/>
                </a:lnTo>
                <a:lnTo>
                  <a:pt x="167" y="55"/>
                </a:lnTo>
                <a:lnTo>
                  <a:pt x="169" y="58"/>
                </a:lnTo>
                <a:lnTo>
                  <a:pt x="174" y="60"/>
                </a:lnTo>
                <a:lnTo>
                  <a:pt x="176" y="61"/>
                </a:lnTo>
                <a:lnTo>
                  <a:pt x="178" y="64"/>
                </a:lnTo>
                <a:lnTo>
                  <a:pt x="179" y="64"/>
                </a:lnTo>
                <a:lnTo>
                  <a:pt x="179" y="65"/>
                </a:lnTo>
                <a:lnTo>
                  <a:pt x="180" y="68"/>
                </a:lnTo>
                <a:lnTo>
                  <a:pt x="180" y="71"/>
                </a:lnTo>
                <a:lnTo>
                  <a:pt x="179" y="75"/>
                </a:lnTo>
                <a:lnTo>
                  <a:pt x="176" y="82"/>
                </a:lnTo>
                <a:lnTo>
                  <a:pt x="174" y="88"/>
                </a:lnTo>
                <a:lnTo>
                  <a:pt x="173" y="92"/>
                </a:lnTo>
                <a:lnTo>
                  <a:pt x="173" y="94"/>
                </a:lnTo>
                <a:lnTo>
                  <a:pt x="173" y="96"/>
                </a:lnTo>
                <a:lnTo>
                  <a:pt x="174" y="97"/>
                </a:lnTo>
                <a:lnTo>
                  <a:pt x="179" y="97"/>
                </a:lnTo>
                <a:lnTo>
                  <a:pt x="189" y="98"/>
                </a:lnTo>
                <a:lnTo>
                  <a:pt x="190" y="100"/>
                </a:lnTo>
                <a:lnTo>
                  <a:pt x="196" y="103"/>
                </a:lnTo>
                <a:lnTo>
                  <a:pt x="199" y="103"/>
                </a:lnTo>
                <a:lnTo>
                  <a:pt x="201" y="103"/>
                </a:lnTo>
                <a:lnTo>
                  <a:pt x="204" y="104"/>
                </a:lnTo>
                <a:lnTo>
                  <a:pt x="205" y="104"/>
                </a:lnTo>
                <a:lnTo>
                  <a:pt x="207" y="103"/>
                </a:lnTo>
                <a:lnTo>
                  <a:pt x="208" y="102"/>
                </a:lnTo>
                <a:lnTo>
                  <a:pt x="210" y="101"/>
                </a:lnTo>
                <a:lnTo>
                  <a:pt x="215" y="101"/>
                </a:lnTo>
                <a:lnTo>
                  <a:pt x="217" y="101"/>
                </a:lnTo>
                <a:lnTo>
                  <a:pt x="217" y="100"/>
                </a:lnTo>
                <a:lnTo>
                  <a:pt x="218" y="98"/>
                </a:lnTo>
                <a:lnTo>
                  <a:pt x="221" y="95"/>
                </a:lnTo>
                <a:lnTo>
                  <a:pt x="223" y="95"/>
                </a:lnTo>
                <a:lnTo>
                  <a:pt x="223" y="94"/>
                </a:lnTo>
                <a:lnTo>
                  <a:pt x="226" y="91"/>
                </a:lnTo>
                <a:lnTo>
                  <a:pt x="228" y="87"/>
                </a:lnTo>
                <a:lnTo>
                  <a:pt x="230" y="85"/>
                </a:lnTo>
                <a:lnTo>
                  <a:pt x="230" y="83"/>
                </a:lnTo>
                <a:lnTo>
                  <a:pt x="230" y="77"/>
                </a:lnTo>
                <a:lnTo>
                  <a:pt x="230" y="68"/>
                </a:lnTo>
                <a:lnTo>
                  <a:pt x="232" y="68"/>
                </a:lnTo>
                <a:lnTo>
                  <a:pt x="234" y="68"/>
                </a:lnTo>
                <a:lnTo>
                  <a:pt x="238" y="68"/>
                </a:lnTo>
                <a:lnTo>
                  <a:pt x="240" y="71"/>
                </a:lnTo>
                <a:lnTo>
                  <a:pt x="246" y="82"/>
                </a:lnTo>
                <a:lnTo>
                  <a:pt x="247" y="92"/>
                </a:lnTo>
                <a:lnTo>
                  <a:pt x="246" y="95"/>
                </a:lnTo>
                <a:lnTo>
                  <a:pt x="246" y="96"/>
                </a:lnTo>
                <a:lnTo>
                  <a:pt x="245" y="97"/>
                </a:lnTo>
                <a:lnTo>
                  <a:pt x="239" y="102"/>
                </a:lnTo>
                <a:lnTo>
                  <a:pt x="237" y="103"/>
                </a:lnTo>
                <a:lnTo>
                  <a:pt x="234" y="103"/>
                </a:lnTo>
                <a:lnTo>
                  <a:pt x="231" y="104"/>
                </a:lnTo>
                <a:lnTo>
                  <a:pt x="229" y="107"/>
                </a:lnTo>
                <a:lnTo>
                  <a:pt x="227" y="111"/>
                </a:lnTo>
                <a:lnTo>
                  <a:pt x="216" y="122"/>
                </a:lnTo>
                <a:lnTo>
                  <a:pt x="216" y="123"/>
                </a:lnTo>
                <a:lnTo>
                  <a:pt x="215" y="125"/>
                </a:lnTo>
                <a:lnTo>
                  <a:pt x="210" y="133"/>
                </a:lnTo>
                <a:lnTo>
                  <a:pt x="210" y="134"/>
                </a:lnTo>
                <a:lnTo>
                  <a:pt x="206" y="140"/>
                </a:lnTo>
                <a:lnTo>
                  <a:pt x="203" y="144"/>
                </a:lnTo>
                <a:lnTo>
                  <a:pt x="200" y="146"/>
                </a:lnTo>
                <a:lnTo>
                  <a:pt x="198" y="148"/>
                </a:lnTo>
                <a:lnTo>
                  <a:pt x="198" y="149"/>
                </a:lnTo>
                <a:lnTo>
                  <a:pt x="196" y="152"/>
                </a:lnTo>
                <a:lnTo>
                  <a:pt x="194" y="154"/>
                </a:lnTo>
                <a:lnTo>
                  <a:pt x="194" y="155"/>
                </a:lnTo>
                <a:lnTo>
                  <a:pt x="190" y="157"/>
                </a:lnTo>
                <a:lnTo>
                  <a:pt x="190" y="158"/>
                </a:lnTo>
                <a:lnTo>
                  <a:pt x="193" y="165"/>
                </a:lnTo>
                <a:lnTo>
                  <a:pt x="193" y="172"/>
                </a:lnTo>
                <a:lnTo>
                  <a:pt x="193" y="176"/>
                </a:lnTo>
                <a:lnTo>
                  <a:pt x="193" y="178"/>
                </a:lnTo>
                <a:lnTo>
                  <a:pt x="191" y="185"/>
                </a:lnTo>
                <a:lnTo>
                  <a:pt x="194" y="199"/>
                </a:lnTo>
                <a:lnTo>
                  <a:pt x="194" y="203"/>
                </a:lnTo>
                <a:lnTo>
                  <a:pt x="194" y="204"/>
                </a:lnTo>
                <a:lnTo>
                  <a:pt x="193" y="207"/>
                </a:lnTo>
                <a:lnTo>
                  <a:pt x="191" y="211"/>
                </a:lnTo>
                <a:lnTo>
                  <a:pt x="193" y="217"/>
                </a:lnTo>
                <a:lnTo>
                  <a:pt x="193" y="222"/>
                </a:lnTo>
                <a:lnTo>
                  <a:pt x="194" y="225"/>
                </a:lnTo>
                <a:lnTo>
                  <a:pt x="194" y="227"/>
                </a:lnTo>
                <a:lnTo>
                  <a:pt x="193" y="227"/>
                </a:lnTo>
                <a:lnTo>
                  <a:pt x="196" y="233"/>
                </a:lnTo>
                <a:lnTo>
                  <a:pt x="204" y="237"/>
                </a:lnTo>
                <a:lnTo>
                  <a:pt x="207" y="238"/>
                </a:lnTo>
                <a:lnTo>
                  <a:pt x="210" y="242"/>
                </a:lnTo>
                <a:lnTo>
                  <a:pt x="216" y="246"/>
                </a:lnTo>
                <a:lnTo>
                  <a:pt x="217" y="248"/>
                </a:lnTo>
                <a:lnTo>
                  <a:pt x="215" y="256"/>
                </a:lnTo>
                <a:lnTo>
                  <a:pt x="217" y="259"/>
                </a:lnTo>
                <a:lnTo>
                  <a:pt x="220" y="263"/>
                </a:lnTo>
                <a:lnTo>
                  <a:pt x="225" y="265"/>
                </a:lnTo>
                <a:lnTo>
                  <a:pt x="227" y="264"/>
                </a:lnTo>
                <a:lnTo>
                  <a:pt x="228" y="267"/>
                </a:lnTo>
                <a:lnTo>
                  <a:pt x="230" y="274"/>
                </a:lnTo>
                <a:lnTo>
                  <a:pt x="229" y="278"/>
                </a:lnTo>
                <a:lnTo>
                  <a:pt x="225" y="285"/>
                </a:lnTo>
                <a:lnTo>
                  <a:pt x="223" y="288"/>
                </a:lnTo>
                <a:lnTo>
                  <a:pt x="221" y="292"/>
                </a:lnTo>
                <a:lnTo>
                  <a:pt x="221" y="298"/>
                </a:lnTo>
                <a:lnTo>
                  <a:pt x="219" y="300"/>
                </a:lnTo>
                <a:lnTo>
                  <a:pt x="216" y="303"/>
                </a:lnTo>
                <a:lnTo>
                  <a:pt x="209" y="305"/>
                </a:lnTo>
                <a:lnTo>
                  <a:pt x="207" y="305"/>
                </a:lnTo>
                <a:lnTo>
                  <a:pt x="203" y="306"/>
                </a:lnTo>
                <a:lnTo>
                  <a:pt x="197" y="308"/>
                </a:lnTo>
                <a:lnTo>
                  <a:pt x="194" y="309"/>
                </a:lnTo>
                <a:lnTo>
                  <a:pt x="188" y="309"/>
                </a:lnTo>
                <a:lnTo>
                  <a:pt x="183" y="312"/>
                </a:lnTo>
                <a:lnTo>
                  <a:pt x="174" y="313"/>
                </a:lnTo>
                <a:lnTo>
                  <a:pt x="166" y="313"/>
                </a:lnTo>
                <a:lnTo>
                  <a:pt x="158" y="312"/>
                </a:lnTo>
                <a:lnTo>
                  <a:pt x="154" y="308"/>
                </a:lnTo>
                <a:lnTo>
                  <a:pt x="154" y="310"/>
                </a:lnTo>
                <a:lnTo>
                  <a:pt x="156" y="317"/>
                </a:lnTo>
                <a:lnTo>
                  <a:pt x="159" y="319"/>
                </a:lnTo>
                <a:lnTo>
                  <a:pt x="160" y="322"/>
                </a:lnTo>
                <a:lnTo>
                  <a:pt x="160" y="326"/>
                </a:lnTo>
                <a:lnTo>
                  <a:pt x="160" y="327"/>
                </a:lnTo>
                <a:lnTo>
                  <a:pt x="159" y="328"/>
                </a:lnTo>
                <a:lnTo>
                  <a:pt x="159" y="328"/>
                </a:lnTo>
                <a:lnTo>
                  <a:pt x="159" y="332"/>
                </a:lnTo>
                <a:lnTo>
                  <a:pt x="159" y="335"/>
                </a:lnTo>
                <a:lnTo>
                  <a:pt x="163" y="343"/>
                </a:lnTo>
                <a:lnTo>
                  <a:pt x="163" y="344"/>
                </a:lnTo>
                <a:lnTo>
                  <a:pt x="163" y="346"/>
                </a:lnTo>
                <a:lnTo>
                  <a:pt x="161" y="348"/>
                </a:lnTo>
                <a:lnTo>
                  <a:pt x="157" y="349"/>
                </a:lnTo>
                <a:lnTo>
                  <a:pt x="154" y="352"/>
                </a:lnTo>
                <a:lnTo>
                  <a:pt x="143" y="352"/>
                </a:lnTo>
                <a:lnTo>
                  <a:pt x="140" y="350"/>
                </a:lnTo>
                <a:lnTo>
                  <a:pt x="137" y="349"/>
                </a:lnTo>
                <a:lnTo>
                  <a:pt x="132" y="347"/>
                </a:lnTo>
                <a:lnTo>
                  <a:pt x="127" y="346"/>
                </a:lnTo>
                <a:lnTo>
                  <a:pt x="124" y="343"/>
                </a:lnTo>
                <a:lnTo>
                  <a:pt x="122" y="346"/>
                </a:lnTo>
                <a:lnTo>
                  <a:pt x="124" y="352"/>
                </a:lnTo>
                <a:lnTo>
                  <a:pt x="126" y="356"/>
                </a:lnTo>
                <a:lnTo>
                  <a:pt x="128" y="365"/>
                </a:lnTo>
                <a:lnTo>
                  <a:pt x="130" y="368"/>
                </a:lnTo>
                <a:lnTo>
                  <a:pt x="135" y="370"/>
                </a:lnTo>
                <a:lnTo>
                  <a:pt x="138" y="371"/>
                </a:lnTo>
                <a:lnTo>
                  <a:pt x="138" y="374"/>
                </a:lnTo>
                <a:lnTo>
                  <a:pt x="139" y="375"/>
                </a:lnTo>
                <a:lnTo>
                  <a:pt x="145" y="374"/>
                </a:lnTo>
                <a:lnTo>
                  <a:pt x="144" y="371"/>
                </a:lnTo>
                <a:lnTo>
                  <a:pt x="142" y="370"/>
                </a:lnTo>
                <a:lnTo>
                  <a:pt x="146" y="370"/>
                </a:lnTo>
                <a:lnTo>
                  <a:pt x="148" y="368"/>
                </a:lnTo>
                <a:lnTo>
                  <a:pt x="151" y="371"/>
                </a:lnTo>
                <a:lnTo>
                  <a:pt x="154" y="377"/>
                </a:lnTo>
                <a:lnTo>
                  <a:pt x="154" y="380"/>
                </a:lnTo>
                <a:lnTo>
                  <a:pt x="153" y="381"/>
                </a:lnTo>
                <a:lnTo>
                  <a:pt x="149" y="383"/>
                </a:lnTo>
                <a:lnTo>
                  <a:pt x="147" y="383"/>
                </a:lnTo>
                <a:lnTo>
                  <a:pt x="145" y="381"/>
                </a:lnTo>
                <a:lnTo>
                  <a:pt x="144" y="378"/>
                </a:lnTo>
                <a:lnTo>
                  <a:pt x="142" y="377"/>
                </a:lnTo>
                <a:lnTo>
                  <a:pt x="139" y="376"/>
                </a:lnTo>
                <a:lnTo>
                  <a:pt x="137" y="377"/>
                </a:lnTo>
                <a:lnTo>
                  <a:pt x="136" y="378"/>
                </a:lnTo>
                <a:lnTo>
                  <a:pt x="134" y="378"/>
                </a:lnTo>
                <a:lnTo>
                  <a:pt x="134" y="379"/>
                </a:lnTo>
                <a:lnTo>
                  <a:pt x="134" y="381"/>
                </a:lnTo>
                <a:lnTo>
                  <a:pt x="139" y="384"/>
                </a:lnTo>
                <a:lnTo>
                  <a:pt x="142" y="384"/>
                </a:lnTo>
                <a:lnTo>
                  <a:pt x="144" y="384"/>
                </a:lnTo>
                <a:lnTo>
                  <a:pt x="146" y="385"/>
                </a:lnTo>
                <a:lnTo>
                  <a:pt x="146" y="385"/>
                </a:lnTo>
                <a:lnTo>
                  <a:pt x="138" y="389"/>
                </a:lnTo>
                <a:lnTo>
                  <a:pt x="137" y="391"/>
                </a:lnTo>
                <a:lnTo>
                  <a:pt x="137" y="394"/>
                </a:lnTo>
                <a:lnTo>
                  <a:pt x="136" y="396"/>
                </a:lnTo>
                <a:lnTo>
                  <a:pt x="136" y="399"/>
                </a:lnTo>
                <a:lnTo>
                  <a:pt x="138" y="403"/>
                </a:lnTo>
                <a:lnTo>
                  <a:pt x="138" y="406"/>
                </a:lnTo>
                <a:lnTo>
                  <a:pt x="139" y="409"/>
                </a:lnTo>
                <a:lnTo>
                  <a:pt x="139" y="411"/>
                </a:lnTo>
                <a:lnTo>
                  <a:pt x="138" y="413"/>
                </a:lnTo>
                <a:lnTo>
                  <a:pt x="137" y="414"/>
                </a:lnTo>
                <a:lnTo>
                  <a:pt x="136" y="416"/>
                </a:lnTo>
                <a:lnTo>
                  <a:pt x="138" y="419"/>
                </a:lnTo>
                <a:lnTo>
                  <a:pt x="139" y="420"/>
                </a:lnTo>
                <a:lnTo>
                  <a:pt x="138" y="421"/>
                </a:lnTo>
                <a:lnTo>
                  <a:pt x="129" y="421"/>
                </a:lnTo>
                <a:lnTo>
                  <a:pt x="127" y="423"/>
                </a:lnTo>
                <a:lnTo>
                  <a:pt x="126" y="425"/>
                </a:lnTo>
                <a:lnTo>
                  <a:pt x="124" y="425"/>
                </a:lnTo>
                <a:lnTo>
                  <a:pt x="122" y="426"/>
                </a:lnTo>
                <a:lnTo>
                  <a:pt x="118" y="430"/>
                </a:lnTo>
                <a:lnTo>
                  <a:pt x="117" y="433"/>
                </a:lnTo>
                <a:lnTo>
                  <a:pt x="117" y="434"/>
                </a:lnTo>
                <a:lnTo>
                  <a:pt x="116" y="438"/>
                </a:lnTo>
                <a:lnTo>
                  <a:pt x="116" y="441"/>
                </a:lnTo>
                <a:lnTo>
                  <a:pt x="117" y="444"/>
                </a:lnTo>
                <a:lnTo>
                  <a:pt x="120" y="447"/>
                </a:lnTo>
                <a:lnTo>
                  <a:pt x="123" y="449"/>
                </a:lnTo>
                <a:lnTo>
                  <a:pt x="126" y="451"/>
                </a:lnTo>
                <a:lnTo>
                  <a:pt x="133" y="456"/>
                </a:lnTo>
                <a:lnTo>
                  <a:pt x="140" y="458"/>
                </a:lnTo>
                <a:lnTo>
                  <a:pt x="144" y="458"/>
                </a:lnTo>
                <a:lnTo>
                  <a:pt x="147" y="458"/>
                </a:lnTo>
                <a:lnTo>
                  <a:pt x="149" y="460"/>
                </a:lnTo>
                <a:lnTo>
                  <a:pt x="150" y="463"/>
                </a:lnTo>
                <a:lnTo>
                  <a:pt x="151" y="466"/>
                </a:lnTo>
                <a:lnTo>
                  <a:pt x="150" y="468"/>
                </a:lnTo>
                <a:lnTo>
                  <a:pt x="149" y="469"/>
                </a:lnTo>
                <a:lnTo>
                  <a:pt x="151" y="471"/>
                </a:lnTo>
                <a:lnTo>
                  <a:pt x="153" y="474"/>
                </a:lnTo>
                <a:lnTo>
                  <a:pt x="151" y="475"/>
                </a:lnTo>
                <a:lnTo>
                  <a:pt x="151" y="477"/>
                </a:lnTo>
                <a:lnTo>
                  <a:pt x="149" y="477"/>
                </a:lnTo>
                <a:lnTo>
                  <a:pt x="148" y="478"/>
                </a:lnTo>
                <a:lnTo>
                  <a:pt x="145" y="481"/>
                </a:lnTo>
                <a:lnTo>
                  <a:pt x="142" y="485"/>
                </a:lnTo>
                <a:lnTo>
                  <a:pt x="139" y="486"/>
                </a:lnTo>
                <a:lnTo>
                  <a:pt x="137" y="489"/>
                </a:lnTo>
                <a:lnTo>
                  <a:pt x="134" y="492"/>
                </a:lnTo>
                <a:lnTo>
                  <a:pt x="134" y="496"/>
                </a:lnTo>
                <a:lnTo>
                  <a:pt x="134" y="499"/>
                </a:lnTo>
                <a:lnTo>
                  <a:pt x="136" y="497"/>
                </a:lnTo>
                <a:lnTo>
                  <a:pt x="136" y="505"/>
                </a:lnTo>
                <a:lnTo>
                  <a:pt x="136" y="508"/>
                </a:lnTo>
                <a:lnTo>
                  <a:pt x="135" y="510"/>
                </a:lnTo>
                <a:lnTo>
                  <a:pt x="133" y="511"/>
                </a:lnTo>
                <a:lnTo>
                  <a:pt x="129" y="511"/>
                </a:lnTo>
                <a:lnTo>
                  <a:pt x="127" y="509"/>
                </a:lnTo>
                <a:lnTo>
                  <a:pt x="123" y="505"/>
                </a:lnTo>
                <a:lnTo>
                  <a:pt x="125" y="509"/>
                </a:lnTo>
                <a:lnTo>
                  <a:pt x="127" y="510"/>
                </a:lnTo>
                <a:lnTo>
                  <a:pt x="128" y="511"/>
                </a:lnTo>
                <a:lnTo>
                  <a:pt x="129" y="512"/>
                </a:lnTo>
                <a:lnTo>
                  <a:pt x="125" y="516"/>
                </a:lnTo>
                <a:lnTo>
                  <a:pt x="123" y="517"/>
                </a:lnTo>
                <a:lnTo>
                  <a:pt x="123" y="526"/>
                </a:lnTo>
                <a:lnTo>
                  <a:pt x="122" y="528"/>
                </a:lnTo>
                <a:lnTo>
                  <a:pt x="124" y="528"/>
                </a:lnTo>
                <a:lnTo>
                  <a:pt x="125" y="527"/>
                </a:lnTo>
                <a:lnTo>
                  <a:pt x="128" y="532"/>
                </a:lnTo>
                <a:lnTo>
                  <a:pt x="130" y="536"/>
                </a:lnTo>
                <a:lnTo>
                  <a:pt x="130" y="537"/>
                </a:lnTo>
                <a:lnTo>
                  <a:pt x="127" y="537"/>
                </a:lnTo>
                <a:lnTo>
                  <a:pt x="126" y="537"/>
                </a:lnTo>
                <a:lnTo>
                  <a:pt x="128" y="539"/>
                </a:lnTo>
                <a:lnTo>
                  <a:pt x="130" y="538"/>
                </a:lnTo>
                <a:lnTo>
                  <a:pt x="132" y="539"/>
                </a:lnTo>
                <a:lnTo>
                  <a:pt x="138" y="545"/>
                </a:lnTo>
                <a:lnTo>
                  <a:pt x="145" y="549"/>
                </a:lnTo>
                <a:lnTo>
                  <a:pt x="145" y="55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36" name="Freeform 1236"/>
          <p:cNvSpPr>
            <a:spLocks/>
          </p:cNvSpPr>
          <p:nvPr/>
        </p:nvSpPr>
        <p:spPr bwMode="auto">
          <a:xfrm>
            <a:off x="2862262" y="5089490"/>
            <a:ext cx="100012" cy="65088"/>
          </a:xfrm>
          <a:custGeom>
            <a:avLst/>
            <a:gdLst>
              <a:gd name="T0" fmla="*/ 17 w 63"/>
              <a:gd name="T1" fmla="*/ 39 h 41"/>
              <a:gd name="T2" fmla="*/ 16 w 63"/>
              <a:gd name="T3" fmla="*/ 36 h 41"/>
              <a:gd name="T4" fmla="*/ 15 w 63"/>
              <a:gd name="T5" fmla="*/ 35 h 41"/>
              <a:gd name="T6" fmla="*/ 0 w 63"/>
              <a:gd name="T7" fmla="*/ 0 h 41"/>
              <a:gd name="T8" fmla="*/ 1 w 63"/>
              <a:gd name="T9" fmla="*/ 1 h 41"/>
              <a:gd name="T10" fmla="*/ 3 w 63"/>
              <a:gd name="T11" fmla="*/ 2 h 41"/>
              <a:gd name="T12" fmla="*/ 10 w 63"/>
              <a:gd name="T13" fmla="*/ 8 h 41"/>
              <a:gd name="T14" fmla="*/ 10 w 63"/>
              <a:gd name="T15" fmla="*/ 9 h 41"/>
              <a:gd name="T16" fmla="*/ 9 w 63"/>
              <a:gd name="T17" fmla="*/ 8 h 41"/>
              <a:gd name="T18" fmla="*/ 6 w 63"/>
              <a:gd name="T19" fmla="*/ 8 h 41"/>
              <a:gd name="T20" fmla="*/ 5 w 63"/>
              <a:gd name="T21" fmla="*/ 8 h 41"/>
              <a:gd name="T22" fmla="*/ 5 w 63"/>
              <a:gd name="T23" fmla="*/ 9 h 41"/>
              <a:gd name="T24" fmla="*/ 7 w 63"/>
              <a:gd name="T25" fmla="*/ 11 h 41"/>
              <a:gd name="T26" fmla="*/ 9 w 63"/>
              <a:gd name="T27" fmla="*/ 11 h 41"/>
              <a:gd name="T28" fmla="*/ 11 w 63"/>
              <a:gd name="T29" fmla="*/ 12 h 41"/>
              <a:gd name="T30" fmla="*/ 13 w 63"/>
              <a:gd name="T31" fmla="*/ 13 h 41"/>
              <a:gd name="T32" fmla="*/ 16 w 63"/>
              <a:gd name="T33" fmla="*/ 17 h 41"/>
              <a:gd name="T34" fmla="*/ 17 w 63"/>
              <a:gd name="T35" fmla="*/ 19 h 41"/>
              <a:gd name="T36" fmla="*/ 23 w 63"/>
              <a:gd name="T37" fmla="*/ 21 h 41"/>
              <a:gd name="T38" fmla="*/ 27 w 63"/>
              <a:gd name="T39" fmla="*/ 24 h 41"/>
              <a:gd name="T40" fmla="*/ 30 w 63"/>
              <a:gd name="T41" fmla="*/ 24 h 41"/>
              <a:gd name="T42" fmla="*/ 32 w 63"/>
              <a:gd name="T43" fmla="*/ 25 h 41"/>
              <a:gd name="T44" fmla="*/ 33 w 63"/>
              <a:gd name="T45" fmla="*/ 25 h 41"/>
              <a:gd name="T46" fmla="*/ 35 w 63"/>
              <a:gd name="T47" fmla="*/ 26 h 41"/>
              <a:gd name="T48" fmla="*/ 37 w 63"/>
              <a:gd name="T49" fmla="*/ 27 h 41"/>
              <a:gd name="T50" fmla="*/ 42 w 63"/>
              <a:gd name="T51" fmla="*/ 30 h 41"/>
              <a:gd name="T52" fmla="*/ 49 w 63"/>
              <a:gd name="T53" fmla="*/ 33 h 41"/>
              <a:gd name="T54" fmla="*/ 53 w 63"/>
              <a:gd name="T55" fmla="*/ 34 h 41"/>
              <a:gd name="T56" fmla="*/ 60 w 63"/>
              <a:gd name="T57" fmla="*/ 35 h 41"/>
              <a:gd name="T58" fmla="*/ 62 w 63"/>
              <a:gd name="T59" fmla="*/ 34 h 41"/>
              <a:gd name="T60" fmla="*/ 62 w 63"/>
              <a:gd name="T61" fmla="*/ 35 h 41"/>
              <a:gd name="T62" fmla="*/ 63 w 63"/>
              <a:gd name="T63" fmla="*/ 37 h 41"/>
              <a:gd name="T64" fmla="*/ 62 w 63"/>
              <a:gd name="T65" fmla="*/ 39 h 41"/>
              <a:gd name="T66" fmla="*/ 60 w 63"/>
              <a:gd name="T67" fmla="*/ 40 h 41"/>
              <a:gd name="T68" fmla="*/ 54 w 63"/>
              <a:gd name="T69" fmla="*/ 39 h 41"/>
              <a:gd name="T70" fmla="*/ 49 w 63"/>
              <a:gd name="T71" fmla="*/ 41 h 41"/>
              <a:gd name="T72" fmla="*/ 49 w 63"/>
              <a:gd name="T73" fmla="*/ 41 h 41"/>
              <a:gd name="T74" fmla="*/ 46 w 63"/>
              <a:gd name="T75" fmla="*/ 41 h 41"/>
              <a:gd name="T76" fmla="*/ 41 w 63"/>
              <a:gd name="T77" fmla="*/ 39 h 41"/>
              <a:gd name="T78" fmla="*/ 34 w 63"/>
              <a:gd name="T79" fmla="*/ 37 h 41"/>
              <a:gd name="T80" fmla="*/ 27 w 63"/>
              <a:gd name="T81" fmla="*/ 37 h 41"/>
              <a:gd name="T82" fmla="*/ 25 w 63"/>
              <a:gd name="T83" fmla="*/ 37 h 41"/>
              <a:gd name="T84" fmla="*/ 23 w 63"/>
              <a:gd name="T85" fmla="*/ 36 h 41"/>
              <a:gd name="T86" fmla="*/ 22 w 63"/>
              <a:gd name="T87" fmla="*/ 36 h 41"/>
              <a:gd name="T88" fmla="*/ 19 w 63"/>
              <a:gd name="T89" fmla="*/ 39 h 41"/>
              <a:gd name="T90" fmla="*/ 17 w 63"/>
              <a:gd name="T91" fmla="*/ 39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63" h="41">
                <a:moveTo>
                  <a:pt x="17" y="39"/>
                </a:moveTo>
                <a:lnTo>
                  <a:pt x="16" y="36"/>
                </a:lnTo>
                <a:lnTo>
                  <a:pt x="15" y="35"/>
                </a:lnTo>
                <a:lnTo>
                  <a:pt x="0" y="0"/>
                </a:lnTo>
                <a:lnTo>
                  <a:pt x="1" y="1"/>
                </a:lnTo>
                <a:lnTo>
                  <a:pt x="3" y="2"/>
                </a:lnTo>
                <a:lnTo>
                  <a:pt x="10" y="8"/>
                </a:lnTo>
                <a:lnTo>
                  <a:pt x="10" y="9"/>
                </a:lnTo>
                <a:lnTo>
                  <a:pt x="9" y="8"/>
                </a:lnTo>
                <a:lnTo>
                  <a:pt x="6" y="8"/>
                </a:lnTo>
                <a:lnTo>
                  <a:pt x="5" y="8"/>
                </a:lnTo>
                <a:lnTo>
                  <a:pt x="5" y="9"/>
                </a:lnTo>
                <a:lnTo>
                  <a:pt x="7" y="11"/>
                </a:lnTo>
                <a:lnTo>
                  <a:pt x="9" y="11"/>
                </a:lnTo>
                <a:lnTo>
                  <a:pt x="11" y="12"/>
                </a:lnTo>
                <a:lnTo>
                  <a:pt x="13" y="13"/>
                </a:lnTo>
                <a:lnTo>
                  <a:pt x="16" y="17"/>
                </a:lnTo>
                <a:lnTo>
                  <a:pt x="17" y="19"/>
                </a:lnTo>
                <a:lnTo>
                  <a:pt x="23" y="21"/>
                </a:lnTo>
                <a:lnTo>
                  <a:pt x="27" y="24"/>
                </a:lnTo>
                <a:lnTo>
                  <a:pt x="30" y="24"/>
                </a:lnTo>
                <a:lnTo>
                  <a:pt x="32" y="25"/>
                </a:lnTo>
                <a:lnTo>
                  <a:pt x="33" y="25"/>
                </a:lnTo>
                <a:lnTo>
                  <a:pt x="35" y="26"/>
                </a:lnTo>
                <a:lnTo>
                  <a:pt x="37" y="27"/>
                </a:lnTo>
                <a:lnTo>
                  <a:pt x="42" y="30"/>
                </a:lnTo>
                <a:lnTo>
                  <a:pt x="49" y="33"/>
                </a:lnTo>
                <a:lnTo>
                  <a:pt x="53" y="34"/>
                </a:lnTo>
                <a:lnTo>
                  <a:pt x="60" y="35"/>
                </a:lnTo>
                <a:lnTo>
                  <a:pt x="62" y="34"/>
                </a:lnTo>
                <a:lnTo>
                  <a:pt x="62" y="35"/>
                </a:lnTo>
                <a:lnTo>
                  <a:pt x="63" y="37"/>
                </a:lnTo>
                <a:lnTo>
                  <a:pt x="62" y="39"/>
                </a:lnTo>
                <a:lnTo>
                  <a:pt x="60" y="40"/>
                </a:lnTo>
                <a:lnTo>
                  <a:pt x="54" y="39"/>
                </a:lnTo>
                <a:lnTo>
                  <a:pt x="49" y="41"/>
                </a:lnTo>
                <a:lnTo>
                  <a:pt x="49" y="41"/>
                </a:lnTo>
                <a:lnTo>
                  <a:pt x="46" y="41"/>
                </a:lnTo>
                <a:lnTo>
                  <a:pt x="41" y="39"/>
                </a:lnTo>
                <a:lnTo>
                  <a:pt x="34" y="37"/>
                </a:lnTo>
                <a:lnTo>
                  <a:pt x="27" y="37"/>
                </a:lnTo>
                <a:lnTo>
                  <a:pt x="25" y="37"/>
                </a:lnTo>
                <a:lnTo>
                  <a:pt x="23" y="36"/>
                </a:lnTo>
                <a:lnTo>
                  <a:pt x="22" y="36"/>
                </a:lnTo>
                <a:lnTo>
                  <a:pt x="19" y="39"/>
                </a:lnTo>
                <a:lnTo>
                  <a:pt x="17" y="39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37" name="Freeform 1237"/>
          <p:cNvSpPr>
            <a:spLocks/>
          </p:cNvSpPr>
          <p:nvPr/>
        </p:nvSpPr>
        <p:spPr bwMode="auto">
          <a:xfrm>
            <a:off x="2862262" y="5089490"/>
            <a:ext cx="100012" cy="65088"/>
          </a:xfrm>
          <a:custGeom>
            <a:avLst/>
            <a:gdLst>
              <a:gd name="T0" fmla="*/ 17 w 63"/>
              <a:gd name="T1" fmla="*/ 39 h 41"/>
              <a:gd name="T2" fmla="*/ 16 w 63"/>
              <a:gd name="T3" fmla="*/ 36 h 41"/>
              <a:gd name="T4" fmla="*/ 15 w 63"/>
              <a:gd name="T5" fmla="*/ 35 h 41"/>
              <a:gd name="T6" fmla="*/ 0 w 63"/>
              <a:gd name="T7" fmla="*/ 0 h 41"/>
              <a:gd name="T8" fmla="*/ 1 w 63"/>
              <a:gd name="T9" fmla="*/ 1 h 41"/>
              <a:gd name="T10" fmla="*/ 3 w 63"/>
              <a:gd name="T11" fmla="*/ 2 h 41"/>
              <a:gd name="T12" fmla="*/ 10 w 63"/>
              <a:gd name="T13" fmla="*/ 8 h 41"/>
              <a:gd name="T14" fmla="*/ 10 w 63"/>
              <a:gd name="T15" fmla="*/ 9 h 41"/>
              <a:gd name="T16" fmla="*/ 9 w 63"/>
              <a:gd name="T17" fmla="*/ 8 h 41"/>
              <a:gd name="T18" fmla="*/ 6 w 63"/>
              <a:gd name="T19" fmla="*/ 8 h 41"/>
              <a:gd name="T20" fmla="*/ 5 w 63"/>
              <a:gd name="T21" fmla="*/ 8 h 41"/>
              <a:gd name="T22" fmla="*/ 5 w 63"/>
              <a:gd name="T23" fmla="*/ 9 h 41"/>
              <a:gd name="T24" fmla="*/ 7 w 63"/>
              <a:gd name="T25" fmla="*/ 11 h 41"/>
              <a:gd name="T26" fmla="*/ 9 w 63"/>
              <a:gd name="T27" fmla="*/ 11 h 41"/>
              <a:gd name="T28" fmla="*/ 11 w 63"/>
              <a:gd name="T29" fmla="*/ 12 h 41"/>
              <a:gd name="T30" fmla="*/ 13 w 63"/>
              <a:gd name="T31" fmla="*/ 13 h 41"/>
              <a:gd name="T32" fmla="*/ 16 w 63"/>
              <a:gd name="T33" fmla="*/ 17 h 41"/>
              <a:gd name="T34" fmla="*/ 17 w 63"/>
              <a:gd name="T35" fmla="*/ 19 h 41"/>
              <a:gd name="T36" fmla="*/ 23 w 63"/>
              <a:gd name="T37" fmla="*/ 21 h 41"/>
              <a:gd name="T38" fmla="*/ 27 w 63"/>
              <a:gd name="T39" fmla="*/ 24 h 41"/>
              <a:gd name="T40" fmla="*/ 30 w 63"/>
              <a:gd name="T41" fmla="*/ 24 h 41"/>
              <a:gd name="T42" fmla="*/ 32 w 63"/>
              <a:gd name="T43" fmla="*/ 25 h 41"/>
              <a:gd name="T44" fmla="*/ 33 w 63"/>
              <a:gd name="T45" fmla="*/ 25 h 41"/>
              <a:gd name="T46" fmla="*/ 35 w 63"/>
              <a:gd name="T47" fmla="*/ 26 h 41"/>
              <a:gd name="T48" fmla="*/ 37 w 63"/>
              <a:gd name="T49" fmla="*/ 27 h 41"/>
              <a:gd name="T50" fmla="*/ 42 w 63"/>
              <a:gd name="T51" fmla="*/ 30 h 41"/>
              <a:gd name="T52" fmla="*/ 49 w 63"/>
              <a:gd name="T53" fmla="*/ 33 h 41"/>
              <a:gd name="T54" fmla="*/ 53 w 63"/>
              <a:gd name="T55" fmla="*/ 34 h 41"/>
              <a:gd name="T56" fmla="*/ 60 w 63"/>
              <a:gd name="T57" fmla="*/ 35 h 41"/>
              <a:gd name="T58" fmla="*/ 62 w 63"/>
              <a:gd name="T59" fmla="*/ 34 h 41"/>
              <a:gd name="T60" fmla="*/ 62 w 63"/>
              <a:gd name="T61" fmla="*/ 35 h 41"/>
              <a:gd name="T62" fmla="*/ 63 w 63"/>
              <a:gd name="T63" fmla="*/ 37 h 41"/>
              <a:gd name="T64" fmla="*/ 62 w 63"/>
              <a:gd name="T65" fmla="*/ 39 h 41"/>
              <a:gd name="T66" fmla="*/ 60 w 63"/>
              <a:gd name="T67" fmla="*/ 40 h 41"/>
              <a:gd name="T68" fmla="*/ 54 w 63"/>
              <a:gd name="T69" fmla="*/ 39 h 41"/>
              <a:gd name="T70" fmla="*/ 49 w 63"/>
              <a:gd name="T71" fmla="*/ 41 h 41"/>
              <a:gd name="T72" fmla="*/ 49 w 63"/>
              <a:gd name="T73" fmla="*/ 41 h 41"/>
              <a:gd name="T74" fmla="*/ 46 w 63"/>
              <a:gd name="T75" fmla="*/ 41 h 41"/>
              <a:gd name="T76" fmla="*/ 41 w 63"/>
              <a:gd name="T77" fmla="*/ 39 h 41"/>
              <a:gd name="T78" fmla="*/ 34 w 63"/>
              <a:gd name="T79" fmla="*/ 37 h 41"/>
              <a:gd name="T80" fmla="*/ 27 w 63"/>
              <a:gd name="T81" fmla="*/ 37 h 41"/>
              <a:gd name="T82" fmla="*/ 25 w 63"/>
              <a:gd name="T83" fmla="*/ 37 h 41"/>
              <a:gd name="T84" fmla="*/ 23 w 63"/>
              <a:gd name="T85" fmla="*/ 36 h 41"/>
              <a:gd name="T86" fmla="*/ 22 w 63"/>
              <a:gd name="T87" fmla="*/ 36 h 41"/>
              <a:gd name="T88" fmla="*/ 19 w 63"/>
              <a:gd name="T89" fmla="*/ 39 h 41"/>
              <a:gd name="T90" fmla="*/ 17 w 63"/>
              <a:gd name="T91" fmla="*/ 39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63" h="41">
                <a:moveTo>
                  <a:pt x="17" y="39"/>
                </a:moveTo>
                <a:lnTo>
                  <a:pt x="16" y="36"/>
                </a:lnTo>
                <a:lnTo>
                  <a:pt x="15" y="35"/>
                </a:lnTo>
                <a:lnTo>
                  <a:pt x="0" y="0"/>
                </a:lnTo>
                <a:lnTo>
                  <a:pt x="1" y="1"/>
                </a:lnTo>
                <a:lnTo>
                  <a:pt x="3" y="2"/>
                </a:lnTo>
                <a:lnTo>
                  <a:pt x="10" y="8"/>
                </a:lnTo>
                <a:lnTo>
                  <a:pt x="10" y="9"/>
                </a:lnTo>
                <a:lnTo>
                  <a:pt x="9" y="8"/>
                </a:lnTo>
                <a:lnTo>
                  <a:pt x="6" y="8"/>
                </a:lnTo>
                <a:lnTo>
                  <a:pt x="5" y="8"/>
                </a:lnTo>
                <a:lnTo>
                  <a:pt x="5" y="9"/>
                </a:lnTo>
                <a:lnTo>
                  <a:pt x="7" y="11"/>
                </a:lnTo>
                <a:lnTo>
                  <a:pt x="9" y="11"/>
                </a:lnTo>
                <a:lnTo>
                  <a:pt x="11" y="12"/>
                </a:lnTo>
                <a:lnTo>
                  <a:pt x="13" y="13"/>
                </a:lnTo>
                <a:lnTo>
                  <a:pt x="16" y="17"/>
                </a:lnTo>
                <a:lnTo>
                  <a:pt x="17" y="19"/>
                </a:lnTo>
                <a:lnTo>
                  <a:pt x="23" y="21"/>
                </a:lnTo>
                <a:lnTo>
                  <a:pt x="27" y="24"/>
                </a:lnTo>
                <a:lnTo>
                  <a:pt x="30" y="24"/>
                </a:lnTo>
                <a:lnTo>
                  <a:pt x="32" y="25"/>
                </a:lnTo>
                <a:lnTo>
                  <a:pt x="33" y="25"/>
                </a:lnTo>
                <a:lnTo>
                  <a:pt x="35" y="26"/>
                </a:lnTo>
                <a:lnTo>
                  <a:pt x="37" y="27"/>
                </a:lnTo>
                <a:lnTo>
                  <a:pt x="42" y="30"/>
                </a:lnTo>
                <a:lnTo>
                  <a:pt x="49" y="33"/>
                </a:lnTo>
                <a:lnTo>
                  <a:pt x="53" y="34"/>
                </a:lnTo>
                <a:lnTo>
                  <a:pt x="60" y="35"/>
                </a:lnTo>
                <a:lnTo>
                  <a:pt x="62" y="34"/>
                </a:lnTo>
                <a:lnTo>
                  <a:pt x="62" y="35"/>
                </a:lnTo>
                <a:lnTo>
                  <a:pt x="63" y="37"/>
                </a:lnTo>
                <a:lnTo>
                  <a:pt x="62" y="39"/>
                </a:lnTo>
                <a:lnTo>
                  <a:pt x="60" y="40"/>
                </a:lnTo>
                <a:lnTo>
                  <a:pt x="54" y="39"/>
                </a:lnTo>
                <a:lnTo>
                  <a:pt x="49" y="41"/>
                </a:lnTo>
                <a:lnTo>
                  <a:pt x="49" y="41"/>
                </a:lnTo>
                <a:lnTo>
                  <a:pt x="46" y="41"/>
                </a:lnTo>
                <a:lnTo>
                  <a:pt x="41" y="39"/>
                </a:lnTo>
                <a:lnTo>
                  <a:pt x="34" y="37"/>
                </a:lnTo>
                <a:lnTo>
                  <a:pt x="27" y="37"/>
                </a:lnTo>
                <a:lnTo>
                  <a:pt x="25" y="37"/>
                </a:lnTo>
                <a:lnTo>
                  <a:pt x="23" y="36"/>
                </a:lnTo>
                <a:lnTo>
                  <a:pt x="22" y="36"/>
                </a:lnTo>
                <a:lnTo>
                  <a:pt x="19" y="39"/>
                </a:lnTo>
                <a:lnTo>
                  <a:pt x="17" y="39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38" name="Freeform 1238"/>
          <p:cNvSpPr>
            <a:spLocks/>
          </p:cNvSpPr>
          <p:nvPr/>
        </p:nvSpPr>
        <p:spPr bwMode="auto">
          <a:xfrm>
            <a:off x="2870200" y="3408328"/>
            <a:ext cx="106362" cy="115888"/>
          </a:xfrm>
          <a:custGeom>
            <a:avLst/>
            <a:gdLst>
              <a:gd name="T0" fmla="*/ 58 w 67"/>
              <a:gd name="T1" fmla="*/ 65 h 73"/>
              <a:gd name="T2" fmla="*/ 50 w 67"/>
              <a:gd name="T3" fmla="*/ 62 h 73"/>
              <a:gd name="T4" fmla="*/ 42 w 67"/>
              <a:gd name="T5" fmla="*/ 64 h 73"/>
              <a:gd name="T6" fmla="*/ 38 w 67"/>
              <a:gd name="T7" fmla="*/ 63 h 73"/>
              <a:gd name="T8" fmla="*/ 36 w 67"/>
              <a:gd name="T9" fmla="*/ 72 h 73"/>
              <a:gd name="T10" fmla="*/ 30 w 67"/>
              <a:gd name="T11" fmla="*/ 73 h 73"/>
              <a:gd name="T12" fmla="*/ 27 w 67"/>
              <a:gd name="T13" fmla="*/ 71 h 73"/>
              <a:gd name="T14" fmla="*/ 24 w 67"/>
              <a:gd name="T15" fmla="*/ 68 h 73"/>
              <a:gd name="T16" fmla="*/ 18 w 67"/>
              <a:gd name="T17" fmla="*/ 59 h 73"/>
              <a:gd name="T18" fmla="*/ 16 w 67"/>
              <a:gd name="T19" fmla="*/ 55 h 73"/>
              <a:gd name="T20" fmla="*/ 14 w 67"/>
              <a:gd name="T21" fmla="*/ 50 h 73"/>
              <a:gd name="T22" fmla="*/ 12 w 67"/>
              <a:gd name="T23" fmla="*/ 46 h 73"/>
              <a:gd name="T24" fmla="*/ 9 w 67"/>
              <a:gd name="T25" fmla="*/ 45 h 73"/>
              <a:gd name="T26" fmla="*/ 8 w 67"/>
              <a:gd name="T27" fmla="*/ 43 h 73"/>
              <a:gd name="T28" fmla="*/ 5 w 67"/>
              <a:gd name="T29" fmla="*/ 40 h 73"/>
              <a:gd name="T30" fmla="*/ 0 w 67"/>
              <a:gd name="T31" fmla="*/ 33 h 73"/>
              <a:gd name="T32" fmla="*/ 1 w 67"/>
              <a:gd name="T33" fmla="*/ 28 h 73"/>
              <a:gd name="T34" fmla="*/ 4 w 67"/>
              <a:gd name="T35" fmla="*/ 20 h 73"/>
              <a:gd name="T36" fmla="*/ 5 w 67"/>
              <a:gd name="T37" fmla="*/ 19 h 73"/>
              <a:gd name="T38" fmla="*/ 8 w 67"/>
              <a:gd name="T39" fmla="*/ 17 h 73"/>
              <a:gd name="T40" fmla="*/ 12 w 67"/>
              <a:gd name="T41" fmla="*/ 17 h 73"/>
              <a:gd name="T42" fmla="*/ 15 w 67"/>
              <a:gd name="T43" fmla="*/ 13 h 73"/>
              <a:gd name="T44" fmla="*/ 14 w 67"/>
              <a:gd name="T45" fmla="*/ 10 h 73"/>
              <a:gd name="T46" fmla="*/ 14 w 67"/>
              <a:gd name="T47" fmla="*/ 9 h 73"/>
              <a:gd name="T48" fmla="*/ 18 w 67"/>
              <a:gd name="T49" fmla="*/ 3 h 73"/>
              <a:gd name="T50" fmla="*/ 19 w 67"/>
              <a:gd name="T51" fmla="*/ 1 h 73"/>
              <a:gd name="T52" fmla="*/ 22 w 67"/>
              <a:gd name="T53" fmla="*/ 0 h 73"/>
              <a:gd name="T54" fmla="*/ 35 w 67"/>
              <a:gd name="T55" fmla="*/ 2 h 73"/>
              <a:gd name="T56" fmla="*/ 46 w 67"/>
              <a:gd name="T57" fmla="*/ 1 h 73"/>
              <a:gd name="T58" fmla="*/ 50 w 67"/>
              <a:gd name="T59" fmla="*/ 0 h 73"/>
              <a:gd name="T60" fmla="*/ 60 w 67"/>
              <a:gd name="T61" fmla="*/ 1 h 73"/>
              <a:gd name="T62" fmla="*/ 67 w 67"/>
              <a:gd name="T63" fmla="*/ 3 h 73"/>
              <a:gd name="T64" fmla="*/ 66 w 67"/>
              <a:gd name="T65" fmla="*/ 8 h 73"/>
              <a:gd name="T66" fmla="*/ 65 w 67"/>
              <a:gd name="T67" fmla="*/ 11 h 73"/>
              <a:gd name="T68" fmla="*/ 61 w 67"/>
              <a:gd name="T69" fmla="*/ 17 h 73"/>
              <a:gd name="T70" fmla="*/ 61 w 67"/>
              <a:gd name="T71" fmla="*/ 30 h 73"/>
              <a:gd name="T72" fmla="*/ 65 w 67"/>
              <a:gd name="T73" fmla="*/ 38 h 73"/>
              <a:gd name="T74" fmla="*/ 66 w 67"/>
              <a:gd name="T75" fmla="*/ 39 h 73"/>
              <a:gd name="T76" fmla="*/ 67 w 67"/>
              <a:gd name="T77" fmla="*/ 46 h 73"/>
              <a:gd name="T78" fmla="*/ 64 w 67"/>
              <a:gd name="T79" fmla="*/ 60 h 73"/>
              <a:gd name="T80" fmla="*/ 59 w 67"/>
              <a:gd name="T81" fmla="*/ 65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67" h="73">
                <a:moveTo>
                  <a:pt x="59" y="65"/>
                </a:moveTo>
                <a:lnTo>
                  <a:pt x="58" y="65"/>
                </a:lnTo>
                <a:lnTo>
                  <a:pt x="57" y="64"/>
                </a:lnTo>
                <a:lnTo>
                  <a:pt x="50" y="62"/>
                </a:lnTo>
                <a:lnTo>
                  <a:pt x="44" y="64"/>
                </a:lnTo>
                <a:lnTo>
                  <a:pt x="42" y="64"/>
                </a:lnTo>
                <a:lnTo>
                  <a:pt x="40" y="63"/>
                </a:lnTo>
                <a:lnTo>
                  <a:pt x="38" y="63"/>
                </a:lnTo>
                <a:lnTo>
                  <a:pt x="36" y="64"/>
                </a:lnTo>
                <a:lnTo>
                  <a:pt x="36" y="72"/>
                </a:lnTo>
                <a:lnTo>
                  <a:pt x="36" y="73"/>
                </a:lnTo>
                <a:lnTo>
                  <a:pt x="30" y="73"/>
                </a:lnTo>
                <a:lnTo>
                  <a:pt x="27" y="72"/>
                </a:lnTo>
                <a:lnTo>
                  <a:pt x="27" y="71"/>
                </a:lnTo>
                <a:lnTo>
                  <a:pt x="26" y="71"/>
                </a:lnTo>
                <a:lnTo>
                  <a:pt x="24" y="68"/>
                </a:lnTo>
                <a:lnTo>
                  <a:pt x="19" y="62"/>
                </a:lnTo>
                <a:lnTo>
                  <a:pt x="18" y="59"/>
                </a:lnTo>
                <a:lnTo>
                  <a:pt x="17" y="58"/>
                </a:lnTo>
                <a:lnTo>
                  <a:pt x="16" y="55"/>
                </a:lnTo>
                <a:lnTo>
                  <a:pt x="16" y="52"/>
                </a:lnTo>
                <a:lnTo>
                  <a:pt x="14" y="50"/>
                </a:lnTo>
                <a:lnTo>
                  <a:pt x="14" y="48"/>
                </a:lnTo>
                <a:lnTo>
                  <a:pt x="12" y="46"/>
                </a:lnTo>
                <a:lnTo>
                  <a:pt x="9" y="46"/>
                </a:lnTo>
                <a:lnTo>
                  <a:pt x="9" y="45"/>
                </a:lnTo>
                <a:lnTo>
                  <a:pt x="8" y="44"/>
                </a:lnTo>
                <a:lnTo>
                  <a:pt x="8" y="43"/>
                </a:lnTo>
                <a:lnTo>
                  <a:pt x="6" y="41"/>
                </a:lnTo>
                <a:lnTo>
                  <a:pt x="5" y="40"/>
                </a:lnTo>
                <a:lnTo>
                  <a:pt x="2" y="35"/>
                </a:lnTo>
                <a:lnTo>
                  <a:pt x="0" y="33"/>
                </a:lnTo>
                <a:lnTo>
                  <a:pt x="0" y="31"/>
                </a:lnTo>
                <a:lnTo>
                  <a:pt x="1" y="28"/>
                </a:lnTo>
                <a:lnTo>
                  <a:pt x="4" y="24"/>
                </a:lnTo>
                <a:lnTo>
                  <a:pt x="4" y="20"/>
                </a:lnTo>
                <a:lnTo>
                  <a:pt x="4" y="19"/>
                </a:lnTo>
                <a:lnTo>
                  <a:pt x="5" y="19"/>
                </a:lnTo>
                <a:lnTo>
                  <a:pt x="6" y="18"/>
                </a:lnTo>
                <a:lnTo>
                  <a:pt x="8" y="17"/>
                </a:lnTo>
                <a:lnTo>
                  <a:pt x="10" y="17"/>
                </a:lnTo>
                <a:lnTo>
                  <a:pt x="12" y="17"/>
                </a:lnTo>
                <a:lnTo>
                  <a:pt x="12" y="14"/>
                </a:lnTo>
                <a:lnTo>
                  <a:pt x="15" y="13"/>
                </a:lnTo>
                <a:lnTo>
                  <a:pt x="15" y="10"/>
                </a:lnTo>
                <a:lnTo>
                  <a:pt x="14" y="10"/>
                </a:lnTo>
                <a:lnTo>
                  <a:pt x="14" y="10"/>
                </a:lnTo>
                <a:lnTo>
                  <a:pt x="14" y="9"/>
                </a:lnTo>
                <a:lnTo>
                  <a:pt x="16" y="4"/>
                </a:lnTo>
                <a:lnTo>
                  <a:pt x="18" y="3"/>
                </a:lnTo>
                <a:lnTo>
                  <a:pt x="18" y="2"/>
                </a:lnTo>
                <a:lnTo>
                  <a:pt x="19" y="1"/>
                </a:lnTo>
                <a:lnTo>
                  <a:pt x="21" y="0"/>
                </a:lnTo>
                <a:lnTo>
                  <a:pt x="22" y="0"/>
                </a:lnTo>
                <a:lnTo>
                  <a:pt x="29" y="2"/>
                </a:lnTo>
                <a:lnTo>
                  <a:pt x="35" y="2"/>
                </a:lnTo>
                <a:lnTo>
                  <a:pt x="42" y="0"/>
                </a:lnTo>
                <a:lnTo>
                  <a:pt x="46" y="1"/>
                </a:lnTo>
                <a:lnTo>
                  <a:pt x="50" y="0"/>
                </a:lnTo>
                <a:lnTo>
                  <a:pt x="50" y="0"/>
                </a:lnTo>
                <a:lnTo>
                  <a:pt x="52" y="0"/>
                </a:lnTo>
                <a:lnTo>
                  <a:pt x="60" y="1"/>
                </a:lnTo>
                <a:lnTo>
                  <a:pt x="67" y="3"/>
                </a:lnTo>
                <a:lnTo>
                  <a:pt x="67" y="3"/>
                </a:lnTo>
                <a:lnTo>
                  <a:pt x="67" y="7"/>
                </a:lnTo>
                <a:lnTo>
                  <a:pt x="66" y="8"/>
                </a:lnTo>
                <a:lnTo>
                  <a:pt x="66" y="9"/>
                </a:lnTo>
                <a:lnTo>
                  <a:pt x="65" y="11"/>
                </a:lnTo>
                <a:lnTo>
                  <a:pt x="62" y="13"/>
                </a:lnTo>
                <a:lnTo>
                  <a:pt x="61" y="17"/>
                </a:lnTo>
                <a:lnTo>
                  <a:pt x="61" y="23"/>
                </a:lnTo>
                <a:lnTo>
                  <a:pt x="61" y="30"/>
                </a:lnTo>
                <a:lnTo>
                  <a:pt x="62" y="33"/>
                </a:lnTo>
                <a:lnTo>
                  <a:pt x="65" y="38"/>
                </a:lnTo>
                <a:lnTo>
                  <a:pt x="65" y="39"/>
                </a:lnTo>
                <a:lnTo>
                  <a:pt x="66" y="39"/>
                </a:lnTo>
                <a:lnTo>
                  <a:pt x="67" y="41"/>
                </a:lnTo>
                <a:lnTo>
                  <a:pt x="67" y="46"/>
                </a:lnTo>
                <a:lnTo>
                  <a:pt x="65" y="54"/>
                </a:lnTo>
                <a:lnTo>
                  <a:pt x="64" y="60"/>
                </a:lnTo>
                <a:lnTo>
                  <a:pt x="64" y="61"/>
                </a:lnTo>
                <a:lnTo>
                  <a:pt x="59" y="6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39" name="Freeform 1239"/>
          <p:cNvSpPr>
            <a:spLocks/>
          </p:cNvSpPr>
          <p:nvPr/>
        </p:nvSpPr>
        <p:spPr bwMode="auto">
          <a:xfrm>
            <a:off x="2870200" y="3408328"/>
            <a:ext cx="106362" cy="115888"/>
          </a:xfrm>
          <a:custGeom>
            <a:avLst/>
            <a:gdLst>
              <a:gd name="T0" fmla="*/ 58 w 67"/>
              <a:gd name="T1" fmla="*/ 65 h 73"/>
              <a:gd name="T2" fmla="*/ 50 w 67"/>
              <a:gd name="T3" fmla="*/ 62 h 73"/>
              <a:gd name="T4" fmla="*/ 42 w 67"/>
              <a:gd name="T5" fmla="*/ 64 h 73"/>
              <a:gd name="T6" fmla="*/ 38 w 67"/>
              <a:gd name="T7" fmla="*/ 63 h 73"/>
              <a:gd name="T8" fmla="*/ 36 w 67"/>
              <a:gd name="T9" fmla="*/ 72 h 73"/>
              <a:gd name="T10" fmla="*/ 30 w 67"/>
              <a:gd name="T11" fmla="*/ 73 h 73"/>
              <a:gd name="T12" fmla="*/ 27 w 67"/>
              <a:gd name="T13" fmla="*/ 71 h 73"/>
              <a:gd name="T14" fmla="*/ 24 w 67"/>
              <a:gd name="T15" fmla="*/ 68 h 73"/>
              <a:gd name="T16" fmla="*/ 18 w 67"/>
              <a:gd name="T17" fmla="*/ 59 h 73"/>
              <a:gd name="T18" fmla="*/ 16 w 67"/>
              <a:gd name="T19" fmla="*/ 55 h 73"/>
              <a:gd name="T20" fmla="*/ 14 w 67"/>
              <a:gd name="T21" fmla="*/ 50 h 73"/>
              <a:gd name="T22" fmla="*/ 12 w 67"/>
              <a:gd name="T23" fmla="*/ 46 h 73"/>
              <a:gd name="T24" fmla="*/ 9 w 67"/>
              <a:gd name="T25" fmla="*/ 45 h 73"/>
              <a:gd name="T26" fmla="*/ 8 w 67"/>
              <a:gd name="T27" fmla="*/ 43 h 73"/>
              <a:gd name="T28" fmla="*/ 5 w 67"/>
              <a:gd name="T29" fmla="*/ 40 h 73"/>
              <a:gd name="T30" fmla="*/ 0 w 67"/>
              <a:gd name="T31" fmla="*/ 33 h 73"/>
              <a:gd name="T32" fmla="*/ 1 w 67"/>
              <a:gd name="T33" fmla="*/ 28 h 73"/>
              <a:gd name="T34" fmla="*/ 4 w 67"/>
              <a:gd name="T35" fmla="*/ 20 h 73"/>
              <a:gd name="T36" fmla="*/ 5 w 67"/>
              <a:gd name="T37" fmla="*/ 19 h 73"/>
              <a:gd name="T38" fmla="*/ 8 w 67"/>
              <a:gd name="T39" fmla="*/ 17 h 73"/>
              <a:gd name="T40" fmla="*/ 12 w 67"/>
              <a:gd name="T41" fmla="*/ 17 h 73"/>
              <a:gd name="T42" fmla="*/ 15 w 67"/>
              <a:gd name="T43" fmla="*/ 13 h 73"/>
              <a:gd name="T44" fmla="*/ 14 w 67"/>
              <a:gd name="T45" fmla="*/ 10 h 73"/>
              <a:gd name="T46" fmla="*/ 14 w 67"/>
              <a:gd name="T47" fmla="*/ 9 h 73"/>
              <a:gd name="T48" fmla="*/ 18 w 67"/>
              <a:gd name="T49" fmla="*/ 3 h 73"/>
              <a:gd name="T50" fmla="*/ 19 w 67"/>
              <a:gd name="T51" fmla="*/ 1 h 73"/>
              <a:gd name="T52" fmla="*/ 22 w 67"/>
              <a:gd name="T53" fmla="*/ 0 h 73"/>
              <a:gd name="T54" fmla="*/ 35 w 67"/>
              <a:gd name="T55" fmla="*/ 2 h 73"/>
              <a:gd name="T56" fmla="*/ 46 w 67"/>
              <a:gd name="T57" fmla="*/ 1 h 73"/>
              <a:gd name="T58" fmla="*/ 50 w 67"/>
              <a:gd name="T59" fmla="*/ 0 h 73"/>
              <a:gd name="T60" fmla="*/ 60 w 67"/>
              <a:gd name="T61" fmla="*/ 1 h 73"/>
              <a:gd name="T62" fmla="*/ 67 w 67"/>
              <a:gd name="T63" fmla="*/ 3 h 73"/>
              <a:gd name="T64" fmla="*/ 66 w 67"/>
              <a:gd name="T65" fmla="*/ 8 h 73"/>
              <a:gd name="T66" fmla="*/ 65 w 67"/>
              <a:gd name="T67" fmla="*/ 11 h 73"/>
              <a:gd name="T68" fmla="*/ 61 w 67"/>
              <a:gd name="T69" fmla="*/ 17 h 73"/>
              <a:gd name="T70" fmla="*/ 61 w 67"/>
              <a:gd name="T71" fmla="*/ 30 h 73"/>
              <a:gd name="T72" fmla="*/ 65 w 67"/>
              <a:gd name="T73" fmla="*/ 38 h 73"/>
              <a:gd name="T74" fmla="*/ 66 w 67"/>
              <a:gd name="T75" fmla="*/ 39 h 73"/>
              <a:gd name="T76" fmla="*/ 67 w 67"/>
              <a:gd name="T77" fmla="*/ 46 h 73"/>
              <a:gd name="T78" fmla="*/ 64 w 67"/>
              <a:gd name="T79" fmla="*/ 60 h 73"/>
              <a:gd name="T80" fmla="*/ 59 w 67"/>
              <a:gd name="T81" fmla="*/ 65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67" h="73">
                <a:moveTo>
                  <a:pt x="59" y="65"/>
                </a:moveTo>
                <a:lnTo>
                  <a:pt x="58" y="65"/>
                </a:lnTo>
                <a:lnTo>
                  <a:pt x="57" y="64"/>
                </a:lnTo>
                <a:lnTo>
                  <a:pt x="50" y="62"/>
                </a:lnTo>
                <a:lnTo>
                  <a:pt x="44" y="64"/>
                </a:lnTo>
                <a:lnTo>
                  <a:pt x="42" y="64"/>
                </a:lnTo>
                <a:lnTo>
                  <a:pt x="40" y="63"/>
                </a:lnTo>
                <a:lnTo>
                  <a:pt x="38" y="63"/>
                </a:lnTo>
                <a:lnTo>
                  <a:pt x="36" y="64"/>
                </a:lnTo>
                <a:lnTo>
                  <a:pt x="36" y="72"/>
                </a:lnTo>
                <a:lnTo>
                  <a:pt x="36" y="73"/>
                </a:lnTo>
                <a:lnTo>
                  <a:pt x="30" y="73"/>
                </a:lnTo>
                <a:lnTo>
                  <a:pt x="27" y="72"/>
                </a:lnTo>
                <a:lnTo>
                  <a:pt x="27" y="71"/>
                </a:lnTo>
                <a:lnTo>
                  <a:pt x="26" y="71"/>
                </a:lnTo>
                <a:lnTo>
                  <a:pt x="24" y="68"/>
                </a:lnTo>
                <a:lnTo>
                  <a:pt x="19" y="62"/>
                </a:lnTo>
                <a:lnTo>
                  <a:pt x="18" y="59"/>
                </a:lnTo>
                <a:lnTo>
                  <a:pt x="17" y="58"/>
                </a:lnTo>
                <a:lnTo>
                  <a:pt x="16" y="55"/>
                </a:lnTo>
                <a:lnTo>
                  <a:pt x="16" y="52"/>
                </a:lnTo>
                <a:lnTo>
                  <a:pt x="14" y="50"/>
                </a:lnTo>
                <a:lnTo>
                  <a:pt x="14" y="48"/>
                </a:lnTo>
                <a:lnTo>
                  <a:pt x="12" y="46"/>
                </a:lnTo>
                <a:lnTo>
                  <a:pt x="9" y="46"/>
                </a:lnTo>
                <a:lnTo>
                  <a:pt x="9" y="45"/>
                </a:lnTo>
                <a:lnTo>
                  <a:pt x="8" y="44"/>
                </a:lnTo>
                <a:lnTo>
                  <a:pt x="8" y="43"/>
                </a:lnTo>
                <a:lnTo>
                  <a:pt x="6" y="41"/>
                </a:lnTo>
                <a:lnTo>
                  <a:pt x="5" y="40"/>
                </a:lnTo>
                <a:lnTo>
                  <a:pt x="2" y="35"/>
                </a:lnTo>
                <a:lnTo>
                  <a:pt x="0" y="33"/>
                </a:lnTo>
                <a:lnTo>
                  <a:pt x="0" y="31"/>
                </a:lnTo>
                <a:lnTo>
                  <a:pt x="1" y="28"/>
                </a:lnTo>
                <a:lnTo>
                  <a:pt x="4" y="24"/>
                </a:lnTo>
                <a:lnTo>
                  <a:pt x="4" y="20"/>
                </a:lnTo>
                <a:lnTo>
                  <a:pt x="4" y="19"/>
                </a:lnTo>
                <a:lnTo>
                  <a:pt x="5" y="19"/>
                </a:lnTo>
                <a:lnTo>
                  <a:pt x="6" y="18"/>
                </a:lnTo>
                <a:lnTo>
                  <a:pt x="8" y="17"/>
                </a:lnTo>
                <a:lnTo>
                  <a:pt x="10" y="17"/>
                </a:lnTo>
                <a:lnTo>
                  <a:pt x="12" y="17"/>
                </a:lnTo>
                <a:lnTo>
                  <a:pt x="12" y="14"/>
                </a:lnTo>
                <a:lnTo>
                  <a:pt x="15" y="13"/>
                </a:lnTo>
                <a:lnTo>
                  <a:pt x="15" y="10"/>
                </a:lnTo>
                <a:lnTo>
                  <a:pt x="14" y="10"/>
                </a:lnTo>
                <a:lnTo>
                  <a:pt x="14" y="10"/>
                </a:lnTo>
                <a:lnTo>
                  <a:pt x="14" y="9"/>
                </a:lnTo>
                <a:lnTo>
                  <a:pt x="16" y="4"/>
                </a:lnTo>
                <a:lnTo>
                  <a:pt x="18" y="3"/>
                </a:lnTo>
                <a:lnTo>
                  <a:pt x="18" y="2"/>
                </a:lnTo>
                <a:lnTo>
                  <a:pt x="19" y="1"/>
                </a:lnTo>
                <a:lnTo>
                  <a:pt x="21" y="0"/>
                </a:lnTo>
                <a:lnTo>
                  <a:pt x="22" y="0"/>
                </a:lnTo>
                <a:lnTo>
                  <a:pt x="29" y="2"/>
                </a:lnTo>
                <a:lnTo>
                  <a:pt x="35" y="2"/>
                </a:lnTo>
                <a:lnTo>
                  <a:pt x="42" y="0"/>
                </a:lnTo>
                <a:lnTo>
                  <a:pt x="46" y="1"/>
                </a:lnTo>
                <a:lnTo>
                  <a:pt x="50" y="0"/>
                </a:lnTo>
                <a:lnTo>
                  <a:pt x="50" y="0"/>
                </a:lnTo>
                <a:lnTo>
                  <a:pt x="52" y="0"/>
                </a:lnTo>
                <a:lnTo>
                  <a:pt x="60" y="1"/>
                </a:lnTo>
                <a:lnTo>
                  <a:pt x="67" y="3"/>
                </a:lnTo>
                <a:lnTo>
                  <a:pt x="67" y="3"/>
                </a:lnTo>
                <a:lnTo>
                  <a:pt x="67" y="7"/>
                </a:lnTo>
                <a:lnTo>
                  <a:pt x="66" y="8"/>
                </a:lnTo>
                <a:lnTo>
                  <a:pt x="66" y="9"/>
                </a:lnTo>
                <a:lnTo>
                  <a:pt x="65" y="11"/>
                </a:lnTo>
                <a:lnTo>
                  <a:pt x="62" y="13"/>
                </a:lnTo>
                <a:lnTo>
                  <a:pt x="61" y="17"/>
                </a:lnTo>
                <a:lnTo>
                  <a:pt x="61" y="23"/>
                </a:lnTo>
                <a:lnTo>
                  <a:pt x="61" y="30"/>
                </a:lnTo>
                <a:lnTo>
                  <a:pt x="62" y="33"/>
                </a:lnTo>
                <a:lnTo>
                  <a:pt x="65" y="38"/>
                </a:lnTo>
                <a:lnTo>
                  <a:pt x="65" y="39"/>
                </a:lnTo>
                <a:lnTo>
                  <a:pt x="66" y="39"/>
                </a:lnTo>
                <a:lnTo>
                  <a:pt x="67" y="41"/>
                </a:lnTo>
                <a:lnTo>
                  <a:pt x="67" y="46"/>
                </a:lnTo>
                <a:lnTo>
                  <a:pt x="65" y="54"/>
                </a:lnTo>
                <a:lnTo>
                  <a:pt x="64" y="60"/>
                </a:lnTo>
                <a:lnTo>
                  <a:pt x="64" y="61"/>
                </a:lnTo>
                <a:lnTo>
                  <a:pt x="59" y="6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40" name="Freeform 1240"/>
          <p:cNvSpPr>
            <a:spLocks/>
          </p:cNvSpPr>
          <p:nvPr/>
        </p:nvSpPr>
        <p:spPr bwMode="auto">
          <a:xfrm>
            <a:off x="4852987" y="1970053"/>
            <a:ext cx="203200" cy="134938"/>
          </a:xfrm>
          <a:custGeom>
            <a:avLst/>
            <a:gdLst>
              <a:gd name="T0" fmla="*/ 1 w 128"/>
              <a:gd name="T1" fmla="*/ 69 h 85"/>
              <a:gd name="T2" fmla="*/ 5 w 128"/>
              <a:gd name="T3" fmla="*/ 63 h 85"/>
              <a:gd name="T4" fmla="*/ 6 w 128"/>
              <a:gd name="T5" fmla="*/ 53 h 85"/>
              <a:gd name="T6" fmla="*/ 3 w 128"/>
              <a:gd name="T7" fmla="*/ 39 h 85"/>
              <a:gd name="T8" fmla="*/ 13 w 128"/>
              <a:gd name="T9" fmla="*/ 38 h 85"/>
              <a:gd name="T10" fmla="*/ 18 w 128"/>
              <a:gd name="T11" fmla="*/ 38 h 85"/>
              <a:gd name="T12" fmla="*/ 21 w 128"/>
              <a:gd name="T13" fmla="*/ 35 h 85"/>
              <a:gd name="T14" fmla="*/ 25 w 128"/>
              <a:gd name="T15" fmla="*/ 32 h 85"/>
              <a:gd name="T16" fmla="*/ 30 w 128"/>
              <a:gd name="T17" fmla="*/ 35 h 85"/>
              <a:gd name="T18" fmla="*/ 27 w 128"/>
              <a:gd name="T19" fmla="*/ 30 h 85"/>
              <a:gd name="T20" fmla="*/ 28 w 128"/>
              <a:gd name="T21" fmla="*/ 25 h 85"/>
              <a:gd name="T22" fmla="*/ 28 w 128"/>
              <a:gd name="T23" fmla="*/ 20 h 85"/>
              <a:gd name="T24" fmla="*/ 34 w 128"/>
              <a:gd name="T25" fmla="*/ 18 h 85"/>
              <a:gd name="T26" fmla="*/ 40 w 128"/>
              <a:gd name="T27" fmla="*/ 15 h 85"/>
              <a:gd name="T28" fmla="*/ 35 w 128"/>
              <a:gd name="T29" fmla="*/ 12 h 85"/>
              <a:gd name="T30" fmla="*/ 38 w 128"/>
              <a:gd name="T31" fmla="*/ 9 h 85"/>
              <a:gd name="T32" fmla="*/ 40 w 128"/>
              <a:gd name="T33" fmla="*/ 9 h 85"/>
              <a:gd name="T34" fmla="*/ 43 w 128"/>
              <a:gd name="T35" fmla="*/ 6 h 85"/>
              <a:gd name="T36" fmla="*/ 51 w 128"/>
              <a:gd name="T37" fmla="*/ 5 h 85"/>
              <a:gd name="T38" fmla="*/ 55 w 128"/>
              <a:gd name="T39" fmla="*/ 0 h 85"/>
              <a:gd name="T40" fmla="*/ 63 w 128"/>
              <a:gd name="T41" fmla="*/ 1 h 85"/>
              <a:gd name="T42" fmla="*/ 69 w 128"/>
              <a:gd name="T43" fmla="*/ 2 h 85"/>
              <a:gd name="T44" fmla="*/ 75 w 128"/>
              <a:gd name="T45" fmla="*/ 8 h 85"/>
              <a:gd name="T46" fmla="*/ 82 w 128"/>
              <a:gd name="T47" fmla="*/ 6 h 85"/>
              <a:gd name="T48" fmla="*/ 88 w 128"/>
              <a:gd name="T49" fmla="*/ 6 h 85"/>
              <a:gd name="T50" fmla="*/ 95 w 128"/>
              <a:gd name="T51" fmla="*/ 10 h 85"/>
              <a:gd name="T52" fmla="*/ 96 w 128"/>
              <a:gd name="T53" fmla="*/ 15 h 85"/>
              <a:gd name="T54" fmla="*/ 98 w 128"/>
              <a:gd name="T55" fmla="*/ 19 h 85"/>
              <a:gd name="T56" fmla="*/ 96 w 128"/>
              <a:gd name="T57" fmla="*/ 22 h 85"/>
              <a:gd name="T58" fmla="*/ 102 w 128"/>
              <a:gd name="T59" fmla="*/ 29 h 85"/>
              <a:gd name="T60" fmla="*/ 111 w 128"/>
              <a:gd name="T61" fmla="*/ 36 h 85"/>
              <a:gd name="T62" fmla="*/ 113 w 128"/>
              <a:gd name="T63" fmla="*/ 39 h 85"/>
              <a:gd name="T64" fmla="*/ 122 w 128"/>
              <a:gd name="T65" fmla="*/ 41 h 85"/>
              <a:gd name="T66" fmla="*/ 125 w 128"/>
              <a:gd name="T67" fmla="*/ 45 h 85"/>
              <a:gd name="T68" fmla="*/ 126 w 128"/>
              <a:gd name="T69" fmla="*/ 48 h 85"/>
              <a:gd name="T70" fmla="*/ 122 w 128"/>
              <a:gd name="T71" fmla="*/ 52 h 85"/>
              <a:gd name="T72" fmla="*/ 112 w 128"/>
              <a:gd name="T73" fmla="*/ 49 h 85"/>
              <a:gd name="T74" fmla="*/ 108 w 128"/>
              <a:gd name="T75" fmla="*/ 52 h 85"/>
              <a:gd name="T76" fmla="*/ 113 w 128"/>
              <a:gd name="T77" fmla="*/ 57 h 85"/>
              <a:gd name="T78" fmla="*/ 114 w 128"/>
              <a:gd name="T79" fmla="*/ 61 h 85"/>
              <a:gd name="T80" fmla="*/ 117 w 128"/>
              <a:gd name="T81" fmla="*/ 66 h 85"/>
              <a:gd name="T82" fmla="*/ 113 w 128"/>
              <a:gd name="T83" fmla="*/ 70 h 85"/>
              <a:gd name="T84" fmla="*/ 105 w 128"/>
              <a:gd name="T85" fmla="*/ 75 h 85"/>
              <a:gd name="T86" fmla="*/ 104 w 128"/>
              <a:gd name="T87" fmla="*/ 80 h 85"/>
              <a:gd name="T88" fmla="*/ 103 w 128"/>
              <a:gd name="T89" fmla="*/ 85 h 85"/>
              <a:gd name="T90" fmla="*/ 97 w 128"/>
              <a:gd name="T91" fmla="*/ 82 h 85"/>
              <a:gd name="T92" fmla="*/ 89 w 128"/>
              <a:gd name="T93" fmla="*/ 85 h 85"/>
              <a:gd name="T94" fmla="*/ 83 w 128"/>
              <a:gd name="T95" fmla="*/ 80 h 85"/>
              <a:gd name="T96" fmla="*/ 76 w 128"/>
              <a:gd name="T97" fmla="*/ 81 h 85"/>
              <a:gd name="T98" fmla="*/ 69 w 128"/>
              <a:gd name="T99" fmla="*/ 80 h 85"/>
              <a:gd name="T100" fmla="*/ 65 w 128"/>
              <a:gd name="T101" fmla="*/ 81 h 85"/>
              <a:gd name="T102" fmla="*/ 61 w 128"/>
              <a:gd name="T103" fmla="*/ 80 h 85"/>
              <a:gd name="T104" fmla="*/ 54 w 128"/>
              <a:gd name="T105" fmla="*/ 78 h 85"/>
              <a:gd name="T106" fmla="*/ 48 w 128"/>
              <a:gd name="T107" fmla="*/ 76 h 85"/>
              <a:gd name="T108" fmla="*/ 41 w 128"/>
              <a:gd name="T109" fmla="*/ 75 h 85"/>
              <a:gd name="T110" fmla="*/ 31 w 128"/>
              <a:gd name="T111" fmla="*/ 73 h 85"/>
              <a:gd name="T112" fmla="*/ 16 w 128"/>
              <a:gd name="T113" fmla="*/ 75 h 85"/>
              <a:gd name="T114" fmla="*/ 11 w 128"/>
              <a:gd name="T115" fmla="*/ 79 h 85"/>
              <a:gd name="T116" fmla="*/ 5 w 128"/>
              <a:gd name="T117" fmla="*/ 80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28" h="85">
                <a:moveTo>
                  <a:pt x="5" y="80"/>
                </a:moveTo>
                <a:lnTo>
                  <a:pt x="5" y="72"/>
                </a:lnTo>
                <a:lnTo>
                  <a:pt x="1" y="69"/>
                </a:lnTo>
                <a:lnTo>
                  <a:pt x="0" y="67"/>
                </a:lnTo>
                <a:lnTo>
                  <a:pt x="2" y="65"/>
                </a:lnTo>
                <a:lnTo>
                  <a:pt x="5" y="63"/>
                </a:lnTo>
                <a:lnTo>
                  <a:pt x="7" y="60"/>
                </a:lnTo>
                <a:lnTo>
                  <a:pt x="7" y="57"/>
                </a:lnTo>
                <a:lnTo>
                  <a:pt x="6" y="53"/>
                </a:lnTo>
                <a:lnTo>
                  <a:pt x="1" y="40"/>
                </a:lnTo>
                <a:lnTo>
                  <a:pt x="0" y="38"/>
                </a:lnTo>
                <a:lnTo>
                  <a:pt x="3" y="39"/>
                </a:lnTo>
                <a:lnTo>
                  <a:pt x="7" y="38"/>
                </a:lnTo>
                <a:lnTo>
                  <a:pt x="11" y="39"/>
                </a:lnTo>
                <a:lnTo>
                  <a:pt x="13" y="38"/>
                </a:lnTo>
                <a:lnTo>
                  <a:pt x="14" y="37"/>
                </a:lnTo>
                <a:lnTo>
                  <a:pt x="16" y="38"/>
                </a:lnTo>
                <a:lnTo>
                  <a:pt x="18" y="38"/>
                </a:lnTo>
                <a:lnTo>
                  <a:pt x="16" y="35"/>
                </a:lnTo>
                <a:lnTo>
                  <a:pt x="18" y="35"/>
                </a:lnTo>
                <a:lnTo>
                  <a:pt x="21" y="35"/>
                </a:lnTo>
                <a:lnTo>
                  <a:pt x="22" y="34"/>
                </a:lnTo>
                <a:lnTo>
                  <a:pt x="23" y="32"/>
                </a:lnTo>
                <a:lnTo>
                  <a:pt x="25" y="32"/>
                </a:lnTo>
                <a:lnTo>
                  <a:pt x="26" y="35"/>
                </a:lnTo>
                <a:lnTo>
                  <a:pt x="28" y="35"/>
                </a:lnTo>
                <a:lnTo>
                  <a:pt x="30" y="35"/>
                </a:lnTo>
                <a:lnTo>
                  <a:pt x="30" y="32"/>
                </a:lnTo>
                <a:lnTo>
                  <a:pt x="28" y="31"/>
                </a:lnTo>
                <a:lnTo>
                  <a:pt x="27" y="30"/>
                </a:lnTo>
                <a:lnTo>
                  <a:pt x="27" y="29"/>
                </a:lnTo>
                <a:lnTo>
                  <a:pt x="28" y="27"/>
                </a:lnTo>
                <a:lnTo>
                  <a:pt x="28" y="25"/>
                </a:lnTo>
                <a:lnTo>
                  <a:pt x="28" y="24"/>
                </a:lnTo>
                <a:lnTo>
                  <a:pt x="28" y="22"/>
                </a:lnTo>
                <a:lnTo>
                  <a:pt x="28" y="20"/>
                </a:lnTo>
                <a:lnTo>
                  <a:pt x="31" y="20"/>
                </a:lnTo>
                <a:lnTo>
                  <a:pt x="32" y="19"/>
                </a:lnTo>
                <a:lnTo>
                  <a:pt x="34" y="18"/>
                </a:lnTo>
                <a:lnTo>
                  <a:pt x="35" y="18"/>
                </a:lnTo>
                <a:lnTo>
                  <a:pt x="38" y="18"/>
                </a:lnTo>
                <a:lnTo>
                  <a:pt x="40" y="15"/>
                </a:lnTo>
                <a:lnTo>
                  <a:pt x="38" y="14"/>
                </a:lnTo>
                <a:lnTo>
                  <a:pt x="36" y="14"/>
                </a:lnTo>
                <a:lnTo>
                  <a:pt x="35" y="12"/>
                </a:lnTo>
                <a:lnTo>
                  <a:pt x="35" y="11"/>
                </a:lnTo>
                <a:lnTo>
                  <a:pt x="37" y="10"/>
                </a:lnTo>
                <a:lnTo>
                  <a:pt x="38" y="9"/>
                </a:lnTo>
                <a:lnTo>
                  <a:pt x="38" y="9"/>
                </a:lnTo>
                <a:lnTo>
                  <a:pt x="38" y="9"/>
                </a:lnTo>
                <a:lnTo>
                  <a:pt x="40" y="9"/>
                </a:lnTo>
                <a:lnTo>
                  <a:pt x="42" y="8"/>
                </a:lnTo>
                <a:lnTo>
                  <a:pt x="42" y="7"/>
                </a:lnTo>
                <a:lnTo>
                  <a:pt x="43" y="6"/>
                </a:lnTo>
                <a:lnTo>
                  <a:pt x="47" y="7"/>
                </a:lnTo>
                <a:lnTo>
                  <a:pt x="49" y="7"/>
                </a:lnTo>
                <a:lnTo>
                  <a:pt x="51" y="5"/>
                </a:lnTo>
                <a:lnTo>
                  <a:pt x="52" y="4"/>
                </a:lnTo>
                <a:lnTo>
                  <a:pt x="54" y="1"/>
                </a:lnTo>
                <a:lnTo>
                  <a:pt x="55" y="0"/>
                </a:lnTo>
                <a:lnTo>
                  <a:pt x="58" y="0"/>
                </a:lnTo>
                <a:lnTo>
                  <a:pt x="58" y="1"/>
                </a:lnTo>
                <a:lnTo>
                  <a:pt x="63" y="1"/>
                </a:lnTo>
                <a:lnTo>
                  <a:pt x="64" y="1"/>
                </a:lnTo>
                <a:lnTo>
                  <a:pt x="66" y="4"/>
                </a:lnTo>
                <a:lnTo>
                  <a:pt x="69" y="2"/>
                </a:lnTo>
                <a:lnTo>
                  <a:pt x="72" y="2"/>
                </a:lnTo>
                <a:lnTo>
                  <a:pt x="75" y="5"/>
                </a:lnTo>
                <a:lnTo>
                  <a:pt x="75" y="8"/>
                </a:lnTo>
                <a:lnTo>
                  <a:pt x="78" y="7"/>
                </a:lnTo>
                <a:lnTo>
                  <a:pt x="79" y="7"/>
                </a:lnTo>
                <a:lnTo>
                  <a:pt x="82" y="6"/>
                </a:lnTo>
                <a:lnTo>
                  <a:pt x="85" y="6"/>
                </a:lnTo>
                <a:lnTo>
                  <a:pt x="87" y="6"/>
                </a:lnTo>
                <a:lnTo>
                  <a:pt x="88" y="6"/>
                </a:lnTo>
                <a:lnTo>
                  <a:pt x="91" y="7"/>
                </a:lnTo>
                <a:lnTo>
                  <a:pt x="93" y="9"/>
                </a:lnTo>
                <a:lnTo>
                  <a:pt x="95" y="10"/>
                </a:lnTo>
                <a:lnTo>
                  <a:pt x="96" y="11"/>
                </a:lnTo>
                <a:lnTo>
                  <a:pt x="95" y="14"/>
                </a:lnTo>
                <a:lnTo>
                  <a:pt x="96" y="15"/>
                </a:lnTo>
                <a:lnTo>
                  <a:pt x="97" y="16"/>
                </a:lnTo>
                <a:lnTo>
                  <a:pt x="98" y="17"/>
                </a:lnTo>
                <a:lnTo>
                  <a:pt x="98" y="19"/>
                </a:lnTo>
                <a:lnTo>
                  <a:pt x="98" y="20"/>
                </a:lnTo>
                <a:lnTo>
                  <a:pt x="96" y="21"/>
                </a:lnTo>
                <a:lnTo>
                  <a:pt x="96" y="22"/>
                </a:lnTo>
                <a:lnTo>
                  <a:pt x="97" y="24"/>
                </a:lnTo>
                <a:lnTo>
                  <a:pt x="101" y="26"/>
                </a:lnTo>
                <a:lnTo>
                  <a:pt x="102" y="29"/>
                </a:lnTo>
                <a:lnTo>
                  <a:pt x="106" y="32"/>
                </a:lnTo>
                <a:lnTo>
                  <a:pt x="107" y="34"/>
                </a:lnTo>
                <a:lnTo>
                  <a:pt x="111" y="36"/>
                </a:lnTo>
                <a:lnTo>
                  <a:pt x="113" y="37"/>
                </a:lnTo>
                <a:lnTo>
                  <a:pt x="113" y="38"/>
                </a:lnTo>
                <a:lnTo>
                  <a:pt x="113" y="39"/>
                </a:lnTo>
                <a:lnTo>
                  <a:pt x="114" y="41"/>
                </a:lnTo>
                <a:lnTo>
                  <a:pt x="119" y="40"/>
                </a:lnTo>
                <a:lnTo>
                  <a:pt x="122" y="41"/>
                </a:lnTo>
                <a:lnTo>
                  <a:pt x="124" y="41"/>
                </a:lnTo>
                <a:lnTo>
                  <a:pt x="123" y="43"/>
                </a:lnTo>
                <a:lnTo>
                  <a:pt x="125" y="45"/>
                </a:lnTo>
                <a:lnTo>
                  <a:pt x="127" y="45"/>
                </a:lnTo>
                <a:lnTo>
                  <a:pt x="128" y="47"/>
                </a:lnTo>
                <a:lnTo>
                  <a:pt x="126" y="48"/>
                </a:lnTo>
                <a:lnTo>
                  <a:pt x="125" y="49"/>
                </a:lnTo>
                <a:lnTo>
                  <a:pt x="123" y="51"/>
                </a:lnTo>
                <a:lnTo>
                  <a:pt x="122" y="52"/>
                </a:lnTo>
                <a:lnTo>
                  <a:pt x="117" y="51"/>
                </a:lnTo>
                <a:lnTo>
                  <a:pt x="114" y="50"/>
                </a:lnTo>
                <a:lnTo>
                  <a:pt x="112" y="49"/>
                </a:lnTo>
                <a:lnTo>
                  <a:pt x="109" y="50"/>
                </a:lnTo>
                <a:lnTo>
                  <a:pt x="111" y="51"/>
                </a:lnTo>
                <a:lnTo>
                  <a:pt x="108" y="52"/>
                </a:lnTo>
                <a:lnTo>
                  <a:pt x="108" y="53"/>
                </a:lnTo>
                <a:lnTo>
                  <a:pt x="112" y="56"/>
                </a:lnTo>
                <a:lnTo>
                  <a:pt x="113" y="57"/>
                </a:lnTo>
                <a:lnTo>
                  <a:pt x="113" y="59"/>
                </a:lnTo>
                <a:lnTo>
                  <a:pt x="114" y="60"/>
                </a:lnTo>
                <a:lnTo>
                  <a:pt x="114" y="61"/>
                </a:lnTo>
                <a:lnTo>
                  <a:pt x="116" y="62"/>
                </a:lnTo>
                <a:lnTo>
                  <a:pt x="117" y="63"/>
                </a:lnTo>
                <a:lnTo>
                  <a:pt x="117" y="66"/>
                </a:lnTo>
                <a:lnTo>
                  <a:pt x="119" y="69"/>
                </a:lnTo>
                <a:lnTo>
                  <a:pt x="114" y="69"/>
                </a:lnTo>
                <a:lnTo>
                  <a:pt x="113" y="70"/>
                </a:lnTo>
                <a:lnTo>
                  <a:pt x="111" y="70"/>
                </a:lnTo>
                <a:lnTo>
                  <a:pt x="108" y="71"/>
                </a:lnTo>
                <a:lnTo>
                  <a:pt x="105" y="75"/>
                </a:lnTo>
                <a:lnTo>
                  <a:pt x="104" y="76"/>
                </a:lnTo>
                <a:lnTo>
                  <a:pt x="104" y="78"/>
                </a:lnTo>
                <a:lnTo>
                  <a:pt x="104" y="80"/>
                </a:lnTo>
                <a:lnTo>
                  <a:pt x="105" y="82"/>
                </a:lnTo>
                <a:lnTo>
                  <a:pt x="105" y="85"/>
                </a:lnTo>
                <a:lnTo>
                  <a:pt x="103" y="85"/>
                </a:lnTo>
                <a:lnTo>
                  <a:pt x="102" y="83"/>
                </a:lnTo>
                <a:lnTo>
                  <a:pt x="99" y="82"/>
                </a:lnTo>
                <a:lnTo>
                  <a:pt x="97" y="82"/>
                </a:lnTo>
                <a:lnTo>
                  <a:pt x="93" y="83"/>
                </a:lnTo>
                <a:lnTo>
                  <a:pt x="91" y="83"/>
                </a:lnTo>
                <a:lnTo>
                  <a:pt x="89" y="85"/>
                </a:lnTo>
                <a:lnTo>
                  <a:pt x="87" y="83"/>
                </a:lnTo>
                <a:lnTo>
                  <a:pt x="86" y="81"/>
                </a:lnTo>
                <a:lnTo>
                  <a:pt x="83" y="80"/>
                </a:lnTo>
                <a:lnTo>
                  <a:pt x="79" y="83"/>
                </a:lnTo>
                <a:lnTo>
                  <a:pt x="77" y="82"/>
                </a:lnTo>
                <a:lnTo>
                  <a:pt x="76" y="81"/>
                </a:lnTo>
                <a:lnTo>
                  <a:pt x="74" y="81"/>
                </a:lnTo>
                <a:lnTo>
                  <a:pt x="72" y="81"/>
                </a:lnTo>
                <a:lnTo>
                  <a:pt x="69" y="80"/>
                </a:lnTo>
                <a:lnTo>
                  <a:pt x="68" y="81"/>
                </a:lnTo>
                <a:lnTo>
                  <a:pt x="66" y="81"/>
                </a:lnTo>
                <a:lnTo>
                  <a:pt x="65" y="81"/>
                </a:lnTo>
                <a:lnTo>
                  <a:pt x="63" y="82"/>
                </a:lnTo>
                <a:lnTo>
                  <a:pt x="62" y="81"/>
                </a:lnTo>
                <a:lnTo>
                  <a:pt x="61" y="80"/>
                </a:lnTo>
                <a:lnTo>
                  <a:pt x="57" y="80"/>
                </a:lnTo>
                <a:lnTo>
                  <a:pt x="55" y="79"/>
                </a:lnTo>
                <a:lnTo>
                  <a:pt x="54" y="78"/>
                </a:lnTo>
                <a:lnTo>
                  <a:pt x="53" y="77"/>
                </a:lnTo>
                <a:lnTo>
                  <a:pt x="51" y="77"/>
                </a:lnTo>
                <a:lnTo>
                  <a:pt x="48" y="76"/>
                </a:lnTo>
                <a:lnTo>
                  <a:pt x="46" y="76"/>
                </a:lnTo>
                <a:lnTo>
                  <a:pt x="44" y="76"/>
                </a:lnTo>
                <a:lnTo>
                  <a:pt x="41" y="75"/>
                </a:lnTo>
                <a:lnTo>
                  <a:pt x="36" y="73"/>
                </a:lnTo>
                <a:lnTo>
                  <a:pt x="34" y="73"/>
                </a:lnTo>
                <a:lnTo>
                  <a:pt x="31" y="73"/>
                </a:lnTo>
                <a:lnTo>
                  <a:pt x="28" y="72"/>
                </a:lnTo>
                <a:lnTo>
                  <a:pt x="18" y="73"/>
                </a:lnTo>
                <a:lnTo>
                  <a:pt x="16" y="75"/>
                </a:lnTo>
                <a:lnTo>
                  <a:pt x="16" y="76"/>
                </a:lnTo>
                <a:lnTo>
                  <a:pt x="14" y="77"/>
                </a:lnTo>
                <a:lnTo>
                  <a:pt x="11" y="79"/>
                </a:lnTo>
                <a:lnTo>
                  <a:pt x="8" y="78"/>
                </a:lnTo>
                <a:lnTo>
                  <a:pt x="6" y="79"/>
                </a:lnTo>
                <a:lnTo>
                  <a:pt x="5" y="8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41" name="Freeform 1241"/>
          <p:cNvSpPr>
            <a:spLocks/>
          </p:cNvSpPr>
          <p:nvPr/>
        </p:nvSpPr>
        <p:spPr bwMode="auto">
          <a:xfrm>
            <a:off x="4852987" y="1970053"/>
            <a:ext cx="203200" cy="134938"/>
          </a:xfrm>
          <a:custGeom>
            <a:avLst/>
            <a:gdLst>
              <a:gd name="T0" fmla="*/ 1 w 128"/>
              <a:gd name="T1" fmla="*/ 69 h 85"/>
              <a:gd name="T2" fmla="*/ 5 w 128"/>
              <a:gd name="T3" fmla="*/ 63 h 85"/>
              <a:gd name="T4" fmla="*/ 6 w 128"/>
              <a:gd name="T5" fmla="*/ 53 h 85"/>
              <a:gd name="T6" fmla="*/ 3 w 128"/>
              <a:gd name="T7" fmla="*/ 39 h 85"/>
              <a:gd name="T8" fmla="*/ 13 w 128"/>
              <a:gd name="T9" fmla="*/ 38 h 85"/>
              <a:gd name="T10" fmla="*/ 18 w 128"/>
              <a:gd name="T11" fmla="*/ 38 h 85"/>
              <a:gd name="T12" fmla="*/ 21 w 128"/>
              <a:gd name="T13" fmla="*/ 35 h 85"/>
              <a:gd name="T14" fmla="*/ 25 w 128"/>
              <a:gd name="T15" fmla="*/ 32 h 85"/>
              <a:gd name="T16" fmla="*/ 30 w 128"/>
              <a:gd name="T17" fmla="*/ 35 h 85"/>
              <a:gd name="T18" fmla="*/ 27 w 128"/>
              <a:gd name="T19" fmla="*/ 30 h 85"/>
              <a:gd name="T20" fmla="*/ 28 w 128"/>
              <a:gd name="T21" fmla="*/ 25 h 85"/>
              <a:gd name="T22" fmla="*/ 28 w 128"/>
              <a:gd name="T23" fmla="*/ 20 h 85"/>
              <a:gd name="T24" fmla="*/ 34 w 128"/>
              <a:gd name="T25" fmla="*/ 18 h 85"/>
              <a:gd name="T26" fmla="*/ 40 w 128"/>
              <a:gd name="T27" fmla="*/ 15 h 85"/>
              <a:gd name="T28" fmla="*/ 35 w 128"/>
              <a:gd name="T29" fmla="*/ 12 h 85"/>
              <a:gd name="T30" fmla="*/ 38 w 128"/>
              <a:gd name="T31" fmla="*/ 9 h 85"/>
              <a:gd name="T32" fmla="*/ 40 w 128"/>
              <a:gd name="T33" fmla="*/ 9 h 85"/>
              <a:gd name="T34" fmla="*/ 43 w 128"/>
              <a:gd name="T35" fmla="*/ 6 h 85"/>
              <a:gd name="T36" fmla="*/ 51 w 128"/>
              <a:gd name="T37" fmla="*/ 5 h 85"/>
              <a:gd name="T38" fmla="*/ 55 w 128"/>
              <a:gd name="T39" fmla="*/ 0 h 85"/>
              <a:gd name="T40" fmla="*/ 63 w 128"/>
              <a:gd name="T41" fmla="*/ 1 h 85"/>
              <a:gd name="T42" fmla="*/ 69 w 128"/>
              <a:gd name="T43" fmla="*/ 2 h 85"/>
              <a:gd name="T44" fmla="*/ 75 w 128"/>
              <a:gd name="T45" fmla="*/ 8 h 85"/>
              <a:gd name="T46" fmla="*/ 82 w 128"/>
              <a:gd name="T47" fmla="*/ 6 h 85"/>
              <a:gd name="T48" fmla="*/ 88 w 128"/>
              <a:gd name="T49" fmla="*/ 6 h 85"/>
              <a:gd name="T50" fmla="*/ 95 w 128"/>
              <a:gd name="T51" fmla="*/ 10 h 85"/>
              <a:gd name="T52" fmla="*/ 96 w 128"/>
              <a:gd name="T53" fmla="*/ 15 h 85"/>
              <a:gd name="T54" fmla="*/ 98 w 128"/>
              <a:gd name="T55" fmla="*/ 19 h 85"/>
              <a:gd name="T56" fmla="*/ 96 w 128"/>
              <a:gd name="T57" fmla="*/ 22 h 85"/>
              <a:gd name="T58" fmla="*/ 102 w 128"/>
              <a:gd name="T59" fmla="*/ 29 h 85"/>
              <a:gd name="T60" fmla="*/ 111 w 128"/>
              <a:gd name="T61" fmla="*/ 36 h 85"/>
              <a:gd name="T62" fmla="*/ 113 w 128"/>
              <a:gd name="T63" fmla="*/ 39 h 85"/>
              <a:gd name="T64" fmla="*/ 122 w 128"/>
              <a:gd name="T65" fmla="*/ 41 h 85"/>
              <a:gd name="T66" fmla="*/ 125 w 128"/>
              <a:gd name="T67" fmla="*/ 45 h 85"/>
              <a:gd name="T68" fmla="*/ 126 w 128"/>
              <a:gd name="T69" fmla="*/ 48 h 85"/>
              <a:gd name="T70" fmla="*/ 122 w 128"/>
              <a:gd name="T71" fmla="*/ 52 h 85"/>
              <a:gd name="T72" fmla="*/ 112 w 128"/>
              <a:gd name="T73" fmla="*/ 49 h 85"/>
              <a:gd name="T74" fmla="*/ 108 w 128"/>
              <a:gd name="T75" fmla="*/ 52 h 85"/>
              <a:gd name="T76" fmla="*/ 113 w 128"/>
              <a:gd name="T77" fmla="*/ 57 h 85"/>
              <a:gd name="T78" fmla="*/ 114 w 128"/>
              <a:gd name="T79" fmla="*/ 61 h 85"/>
              <a:gd name="T80" fmla="*/ 117 w 128"/>
              <a:gd name="T81" fmla="*/ 66 h 85"/>
              <a:gd name="T82" fmla="*/ 113 w 128"/>
              <a:gd name="T83" fmla="*/ 70 h 85"/>
              <a:gd name="T84" fmla="*/ 105 w 128"/>
              <a:gd name="T85" fmla="*/ 75 h 85"/>
              <a:gd name="T86" fmla="*/ 104 w 128"/>
              <a:gd name="T87" fmla="*/ 80 h 85"/>
              <a:gd name="T88" fmla="*/ 103 w 128"/>
              <a:gd name="T89" fmla="*/ 85 h 85"/>
              <a:gd name="T90" fmla="*/ 97 w 128"/>
              <a:gd name="T91" fmla="*/ 82 h 85"/>
              <a:gd name="T92" fmla="*/ 89 w 128"/>
              <a:gd name="T93" fmla="*/ 85 h 85"/>
              <a:gd name="T94" fmla="*/ 83 w 128"/>
              <a:gd name="T95" fmla="*/ 80 h 85"/>
              <a:gd name="T96" fmla="*/ 76 w 128"/>
              <a:gd name="T97" fmla="*/ 81 h 85"/>
              <a:gd name="T98" fmla="*/ 69 w 128"/>
              <a:gd name="T99" fmla="*/ 80 h 85"/>
              <a:gd name="T100" fmla="*/ 65 w 128"/>
              <a:gd name="T101" fmla="*/ 81 h 85"/>
              <a:gd name="T102" fmla="*/ 61 w 128"/>
              <a:gd name="T103" fmla="*/ 80 h 85"/>
              <a:gd name="T104" fmla="*/ 54 w 128"/>
              <a:gd name="T105" fmla="*/ 78 h 85"/>
              <a:gd name="T106" fmla="*/ 48 w 128"/>
              <a:gd name="T107" fmla="*/ 76 h 85"/>
              <a:gd name="T108" fmla="*/ 41 w 128"/>
              <a:gd name="T109" fmla="*/ 75 h 85"/>
              <a:gd name="T110" fmla="*/ 31 w 128"/>
              <a:gd name="T111" fmla="*/ 73 h 85"/>
              <a:gd name="T112" fmla="*/ 16 w 128"/>
              <a:gd name="T113" fmla="*/ 75 h 85"/>
              <a:gd name="T114" fmla="*/ 11 w 128"/>
              <a:gd name="T115" fmla="*/ 79 h 85"/>
              <a:gd name="T116" fmla="*/ 5 w 128"/>
              <a:gd name="T117" fmla="*/ 80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28" h="85">
                <a:moveTo>
                  <a:pt x="5" y="80"/>
                </a:moveTo>
                <a:lnTo>
                  <a:pt x="5" y="72"/>
                </a:lnTo>
                <a:lnTo>
                  <a:pt x="1" y="69"/>
                </a:lnTo>
                <a:lnTo>
                  <a:pt x="0" y="67"/>
                </a:lnTo>
                <a:lnTo>
                  <a:pt x="2" y="65"/>
                </a:lnTo>
                <a:lnTo>
                  <a:pt x="5" y="63"/>
                </a:lnTo>
                <a:lnTo>
                  <a:pt x="7" y="60"/>
                </a:lnTo>
                <a:lnTo>
                  <a:pt x="7" y="57"/>
                </a:lnTo>
                <a:lnTo>
                  <a:pt x="6" y="53"/>
                </a:lnTo>
                <a:lnTo>
                  <a:pt x="1" y="40"/>
                </a:lnTo>
                <a:lnTo>
                  <a:pt x="0" y="38"/>
                </a:lnTo>
                <a:lnTo>
                  <a:pt x="3" y="39"/>
                </a:lnTo>
                <a:lnTo>
                  <a:pt x="7" y="38"/>
                </a:lnTo>
                <a:lnTo>
                  <a:pt x="11" y="39"/>
                </a:lnTo>
                <a:lnTo>
                  <a:pt x="13" y="38"/>
                </a:lnTo>
                <a:lnTo>
                  <a:pt x="14" y="37"/>
                </a:lnTo>
                <a:lnTo>
                  <a:pt x="16" y="38"/>
                </a:lnTo>
                <a:lnTo>
                  <a:pt x="18" y="38"/>
                </a:lnTo>
                <a:lnTo>
                  <a:pt x="16" y="35"/>
                </a:lnTo>
                <a:lnTo>
                  <a:pt x="18" y="35"/>
                </a:lnTo>
                <a:lnTo>
                  <a:pt x="21" y="35"/>
                </a:lnTo>
                <a:lnTo>
                  <a:pt x="22" y="34"/>
                </a:lnTo>
                <a:lnTo>
                  <a:pt x="23" y="32"/>
                </a:lnTo>
                <a:lnTo>
                  <a:pt x="25" y="32"/>
                </a:lnTo>
                <a:lnTo>
                  <a:pt x="26" y="35"/>
                </a:lnTo>
                <a:lnTo>
                  <a:pt x="28" y="35"/>
                </a:lnTo>
                <a:lnTo>
                  <a:pt x="30" y="35"/>
                </a:lnTo>
                <a:lnTo>
                  <a:pt x="30" y="32"/>
                </a:lnTo>
                <a:lnTo>
                  <a:pt x="28" y="31"/>
                </a:lnTo>
                <a:lnTo>
                  <a:pt x="27" y="30"/>
                </a:lnTo>
                <a:lnTo>
                  <a:pt x="27" y="29"/>
                </a:lnTo>
                <a:lnTo>
                  <a:pt x="28" y="27"/>
                </a:lnTo>
                <a:lnTo>
                  <a:pt x="28" y="25"/>
                </a:lnTo>
                <a:lnTo>
                  <a:pt x="28" y="24"/>
                </a:lnTo>
                <a:lnTo>
                  <a:pt x="28" y="22"/>
                </a:lnTo>
                <a:lnTo>
                  <a:pt x="28" y="20"/>
                </a:lnTo>
                <a:lnTo>
                  <a:pt x="31" y="20"/>
                </a:lnTo>
                <a:lnTo>
                  <a:pt x="32" y="19"/>
                </a:lnTo>
                <a:lnTo>
                  <a:pt x="34" y="18"/>
                </a:lnTo>
                <a:lnTo>
                  <a:pt x="35" y="18"/>
                </a:lnTo>
                <a:lnTo>
                  <a:pt x="38" y="18"/>
                </a:lnTo>
                <a:lnTo>
                  <a:pt x="40" y="15"/>
                </a:lnTo>
                <a:lnTo>
                  <a:pt x="38" y="14"/>
                </a:lnTo>
                <a:lnTo>
                  <a:pt x="36" y="14"/>
                </a:lnTo>
                <a:lnTo>
                  <a:pt x="35" y="12"/>
                </a:lnTo>
                <a:lnTo>
                  <a:pt x="35" y="11"/>
                </a:lnTo>
                <a:lnTo>
                  <a:pt x="37" y="10"/>
                </a:lnTo>
                <a:lnTo>
                  <a:pt x="38" y="9"/>
                </a:lnTo>
                <a:lnTo>
                  <a:pt x="38" y="9"/>
                </a:lnTo>
                <a:lnTo>
                  <a:pt x="38" y="9"/>
                </a:lnTo>
                <a:lnTo>
                  <a:pt x="40" y="9"/>
                </a:lnTo>
                <a:lnTo>
                  <a:pt x="42" y="8"/>
                </a:lnTo>
                <a:lnTo>
                  <a:pt x="42" y="7"/>
                </a:lnTo>
                <a:lnTo>
                  <a:pt x="43" y="6"/>
                </a:lnTo>
                <a:lnTo>
                  <a:pt x="47" y="7"/>
                </a:lnTo>
                <a:lnTo>
                  <a:pt x="49" y="7"/>
                </a:lnTo>
                <a:lnTo>
                  <a:pt x="51" y="5"/>
                </a:lnTo>
                <a:lnTo>
                  <a:pt x="52" y="4"/>
                </a:lnTo>
                <a:lnTo>
                  <a:pt x="54" y="1"/>
                </a:lnTo>
                <a:lnTo>
                  <a:pt x="55" y="0"/>
                </a:lnTo>
                <a:lnTo>
                  <a:pt x="58" y="0"/>
                </a:lnTo>
                <a:lnTo>
                  <a:pt x="58" y="1"/>
                </a:lnTo>
                <a:lnTo>
                  <a:pt x="63" y="1"/>
                </a:lnTo>
                <a:lnTo>
                  <a:pt x="64" y="1"/>
                </a:lnTo>
                <a:lnTo>
                  <a:pt x="66" y="4"/>
                </a:lnTo>
                <a:lnTo>
                  <a:pt x="69" y="2"/>
                </a:lnTo>
                <a:lnTo>
                  <a:pt x="72" y="2"/>
                </a:lnTo>
                <a:lnTo>
                  <a:pt x="75" y="5"/>
                </a:lnTo>
                <a:lnTo>
                  <a:pt x="75" y="8"/>
                </a:lnTo>
                <a:lnTo>
                  <a:pt x="78" y="7"/>
                </a:lnTo>
                <a:lnTo>
                  <a:pt x="79" y="7"/>
                </a:lnTo>
                <a:lnTo>
                  <a:pt x="82" y="6"/>
                </a:lnTo>
                <a:lnTo>
                  <a:pt x="85" y="6"/>
                </a:lnTo>
                <a:lnTo>
                  <a:pt x="87" y="6"/>
                </a:lnTo>
                <a:lnTo>
                  <a:pt x="88" y="6"/>
                </a:lnTo>
                <a:lnTo>
                  <a:pt x="91" y="7"/>
                </a:lnTo>
                <a:lnTo>
                  <a:pt x="93" y="9"/>
                </a:lnTo>
                <a:lnTo>
                  <a:pt x="95" y="10"/>
                </a:lnTo>
                <a:lnTo>
                  <a:pt x="96" y="11"/>
                </a:lnTo>
                <a:lnTo>
                  <a:pt x="95" y="14"/>
                </a:lnTo>
                <a:lnTo>
                  <a:pt x="96" y="15"/>
                </a:lnTo>
                <a:lnTo>
                  <a:pt x="97" y="16"/>
                </a:lnTo>
                <a:lnTo>
                  <a:pt x="98" y="17"/>
                </a:lnTo>
                <a:lnTo>
                  <a:pt x="98" y="19"/>
                </a:lnTo>
                <a:lnTo>
                  <a:pt x="98" y="20"/>
                </a:lnTo>
                <a:lnTo>
                  <a:pt x="96" y="21"/>
                </a:lnTo>
                <a:lnTo>
                  <a:pt x="96" y="22"/>
                </a:lnTo>
                <a:lnTo>
                  <a:pt x="97" y="24"/>
                </a:lnTo>
                <a:lnTo>
                  <a:pt x="101" y="26"/>
                </a:lnTo>
                <a:lnTo>
                  <a:pt x="102" y="29"/>
                </a:lnTo>
                <a:lnTo>
                  <a:pt x="106" y="32"/>
                </a:lnTo>
                <a:lnTo>
                  <a:pt x="107" y="34"/>
                </a:lnTo>
                <a:lnTo>
                  <a:pt x="111" y="36"/>
                </a:lnTo>
                <a:lnTo>
                  <a:pt x="113" y="37"/>
                </a:lnTo>
                <a:lnTo>
                  <a:pt x="113" y="38"/>
                </a:lnTo>
                <a:lnTo>
                  <a:pt x="113" y="39"/>
                </a:lnTo>
                <a:lnTo>
                  <a:pt x="114" y="41"/>
                </a:lnTo>
                <a:lnTo>
                  <a:pt x="119" y="40"/>
                </a:lnTo>
                <a:lnTo>
                  <a:pt x="122" y="41"/>
                </a:lnTo>
                <a:lnTo>
                  <a:pt x="124" y="41"/>
                </a:lnTo>
                <a:lnTo>
                  <a:pt x="123" y="43"/>
                </a:lnTo>
                <a:lnTo>
                  <a:pt x="125" y="45"/>
                </a:lnTo>
                <a:lnTo>
                  <a:pt x="127" y="45"/>
                </a:lnTo>
                <a:lnTo>
                  <a:pt x="128" y="47"/>
                </a:lnTo>
                <a:lnTo>
                  <a:pt x="126" y="48"/>
                </a:lnTo>
                <a:lnTo>
                  <a:pt x="125" y="49"/>
                </a:lnTo>
                <a:lnTo>
                  <a:pt x="123" y="51"/>
                </a:lnTo>
                <a:lnTo>
                  <a:pt x="122" y="52"/>
                </a:lnTo>
                <a:lnTo>
                  <a:pt x="117" y="51"/>
                </a:lnTo>
                <a:lnTo>
                  <a:pt x="114" y="50"/>
                </a:lnTo>
                <a:lnTo>
                  <a:pt x="112" y="49"/>
                </a:lnTo>
                <a:lnTo>
                  <a:pt x="109" y="50"/>
                </a:lnTo>
                <a:lnTo>
                  <a:pt x="111" y="51"/>
                </a:lnTo>
                <a:lnTo>
                  <a:pt x="108" y="52"/>
                </a:lnTo>
                <a:lnTo>
                  <a:pt x="108" y="53"/>
                </a:lnTo>
                <a:lnTo>
                  <a:pt x="112" y="56"/>
                </a:lnTo>
                <a:lnTo>
                  <a:pt x="113" y="57"/>
                </a:lnTo>
                <a:lnTo>
                  <a:pt x="113" y="59"/>
                </a:lnTo>
                <a:lnTo>
                  <a:pt x="114" y="60"/>
                </a:lnTo>
                <a:lnTo>
                  <a:pt x="114" y="61"/>
                </a:lnTo>
                <a:lnTo>
                  <a:pt x="116" y="62"/>
                </a:lnTo>
                <a:lnTo>
                  <a:pt x="117" y="63"/>
                </a:lnTo>
                <a:lnTo>
                  <a:pt x="117" y="66"/>
                </a:lnTo>
                <a:lnTo>
                  <a:pt x="119" y="69"/>
                </a:lnTo>
                <a:lnTo>
                  <a:pt x="114" y="69"/>
                </a:lnTo>
                <a:lnTo>
                  <a:pt x="113" y="70"/>
                </a:lnTo>
                <a:lnTo>
                  <a:pt x="111" y="70"/>
                </a:lnTo>
                <a:lnTo>
                  <a:pt x="108" y="71"/>
                </a:lnTo>
                <a:lnTo>
                  <a:pt x="105" y="75"/>
                </a:lnTo>
                <a:lnTo>
                  <a:pt x="104" y="76"/>
                </a:lnTo>
                <a:lnTo>
                  <a:pt x="104" y="78"/>
                </a:lnTo>
                <a:lnTo>
                  <a:pt x="104" y="80"/>
                </a:lnTo>
                <a:lnTo>
                  <a:pt x="105" y="82"/>
                </a:lnTo>
                <a:lnTo>
                  <a:pt x="105" y="85"/>
                </a:lnTo>
                <a:lnTo>
                  <a:pt x="103" y="85"/>
                </a:lnTo>
                <a:lnTo>
                  <a:pt x="102" y="83"/>
                </a:lnTo>
                <a:lnTo>
                  <a:pt x="99" y="82"/>
                </a:lnTo>
                <a:lnTo>
                  <a:pt x="97" y="82"/>
                </a:lnTo>
                <a:lnTo>
                  <a:pt x="93" y="83"/>
                </a:lnTo>
                <a:lnTo>
                  <a:pt x="91" y="83"/>
                </a:lnTo>
                <a:lnTo>
                  <a:pt x="89" y="85"/>
                </a:lnTo>
                <a:lnTo>
                  <a:pt x="87" y="83"/>
                </a:lnTo>
                <a:lnTo>
                  <a:pt x="86" y="81"/>
                </a:lnTo>
                <a:lnTo>
                  <a:pt x="83" y="80"/>
                </a:lnTo>
                <a:lnTo>
                  <a:pt x="79" y="83"/>
                </a:lnTo>
                <a:lnTo>
                  <a:pt x="77" y="82"/>
                </a:lnTo>
                <a:lnTo>
                  <a:pt x="76" y="81"/>
                </a:lnTo>
                <a:lnTo>
                  <a:pt x="74" y="81"/>
                </a:lnTo>
                <a:lnTo>
                  <a:pt x="72" y="81"/>
                </a:lnTo>
                <a:lnTo>
                  <a:pt x="69" y="80"/>
                </a:lnTo>
                <a:lnTo>
                  <a:pt x="68" y="81"/>
                </a:lnTo>
                <a:lnTo>
                  <a:pt x="66" y="81"/>
                </a:lnTo>
                <a:lnTo>
                  <a:pt x="65" y="81"/>
                </a:lnTo>
                <a:lnTo>
                  <a:pt x="63" y="82"/>
                </a:lnTo>
                <a:lnTo>
                  <a:pt x="62" y="81"/>
                </a:lnTo>
                <a:lnTo>
                  <a:pt x="61" y="80"/>
                </a:lnTo>
                <a:lnTo>
                  <a:pt x="57" y="80"/>
                </a:lnTo>
                <a:lnTo>
                  <a:pt x="55" y="79"/>
                </a:lnTo>
                <a:lnTo>
                  <a:pt x="54" y="78"/>
                </a:lnTo>
                <a:lnTo>
                  <a:pt x="53" y="77"/>
                </a:lnTo>
                <a:lnTo>
                  <a:pt x="51" y="77"/>
                </a:lnTo>
                <a:lnTo>
                  <a:pt x="48" y="76"/>
                </a:lnTo>
                <a:lnTo>
                  <a:pt x="46" y="76"/>
                </a:lnTo>
                <a:lnTo>
                  <a:pt x="44" y="76"/>
                </a:lnTo>
                <a:lnTo>
                  <a:pt x="41" y="75"/>
                </a:lnTo>
                <a:lnTo>
                  <a:pt x="36" y="73"/>
                </a:lnTo>
                <a:lnTo>
                  <a:pt x="34" y="73"/>
                </a:lnTo>
                <a:lnTo>
                  <a:pt x="31" y="73"/>
                </a:lnTo>
                <a:lnTo>
                  <a:pt x="28" y="72"/>
                </a:lnTo>
                <a:lnTo>
                  <a:pt x="18" y="73"/>
                </a:lnTo>
                <a:lnTo>
                  <a:pt x="16" y="75"/>
                </a:lnTo>
                <a:lnTo>
                  <a:pt x="16" y="76"/>
                </a:lnTo>
                <a:lnTo>
                  <a:pt x="14" y="77"/>
                </a:lnTo>
                <a:lnTo>
                  <a:pt x="11" y="79"/>
                </a:lnTo>
                <a:lnTo>
                  <a:pt x="8" y="78"/>
                </a:lnTo>
                <a:lnTo>
                  <a:pt x="6" y="79"/>
                </a:lnTo>
                <a:lnTo>
                  <a:pt x="5" y="8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42" name="Freeform 1242"/>
          <p:cNvSpPr>
            <a:spLocks/>
          </p:cNvSpPr>
          <p:nvPr/>
        </p:nvSpPr>
        <p:spPr bwMode="auto">
          <a:xfrm>
            <a:off x="4725987" y="2154203"/>
            <a:ext cx="120650" cy="49213"/>
          </a:xfrm>
          <a:custGeom>
            <a:avLst/>
            <a:gdLst>
              <a:gd name="T0" fmla="*/ 73 w 76"/>
              <a:gd name="T1" fmla="*/ 20 h 31"/>
              <a:gd name="T2" fmla="*/ 70 w 76"/>
              <a:gd name="T3" fmla="*/ 21 h 31"/>
              <a:gd name="T4" fmla="*/ 65 w 76"/>
              <a:gd name="T5" fmla="*/ 19 h 31"/>
              <a:gd name="T6" fmla="*/ 61 w 76"/>
              <a:gd name="T7" fmla="*/ 17 h 31"/>
              <a:gd name="T8" fmla="*/ 58 w 76"/>
              <a:gd name="T9" fmla="*/ 17 h 31"/>
              <a:gd name="T10" fmla="*/ 54 w 76"/>
              <a:gd name="T11" fmla="*/ 17 h 31"/>
              <a:gd name="T12" fmla="*/ 50 w 76"/>
              <a:gd name="T13" fmla="*/ 20 h 31"/>
              <a:gd name="T14" fmla="*/ 48 w 76"/>
              <a:gd name="T15" fmla="*/ 22 h 31"/>
              <a:gd name="T16" fmla="*/ 46 w 76"/>
              <a:gd name="T17" fmla="*/ 23 h 31"/>
              <a:gd name="T18" fmla="*/ 43 w 76"/>
              <a:gd name="T19" fmla="*/ 24 h 31"/>
              <a:gd name="T20" fmla="*/ 39 w 76"/>
              <a:gd name="T21" fmla="*/ 23 h 31"/>
              <a:gd name="T22" fmla="*/ 34 w 76"/>
              <a:gd name="T23" fmla="*/ 25 h 31"/>
              <a:gd name="T24" fmla="*/ 27 w 76"/>
              <a:gd name="T25" fmla="*/ 26 h 31"/>
              <a:gd name="T26" fmla="*/ 24 w 76"/>
              <a:gd name="T27" fmla="*/ 31 h 31"/>
              <a:gd name="T28" fmla="*/ 22 w 76"/>
              <a:gd name="T29" fmla="*/ 31 h 31"/>
              <a:gd name="T30" fmla="*/ 14 w 76"/>
              <a:gd name="T31" fmla="*/ 31 h 31"/>
              <a:gd name="T32" fmla="*/ 7 w 76"/>
              <a:gd name="T33" fmla="*/ 27 h 31"/>
              <a:gd name="T34" fmla="*/ 4 w 76"/>
              <a:gd name="T35" fmla="*/ 25 h 31"/>
              <a:gd name="T36" fmla="*/ 2 w 76"/>
              <a:gd name="T37" fmla="*/ 23 h 31"/>
              <a:gd name="T38" fmla="*/ 0 w 76"/>
              <a:gd name="T39" fmla="*/ 17 h 31"/>
              <a:gd name="T40" fmla="*/ 1 w 76"/>
              <a:gd name="T41" fmla="*/ 15 h 31"/>
              <a:gd name="T42" fmla="*/ 2 w 76"/>
              <a:gd name="T43" fmla="*/ 13 h 31"/>
              <a:gd name="T44" fmla="*/ 4 w 76"/>
              <a:gd name="T45" fmla="*/ 13 h 31"/>
              <a:gd name="T46" fmla="*/ 5 w 76"/>
              <a:gd name="T47" fmla="*/ 14 h 31"/>
              <a:gd name="T48" fmla="*/ 10 w 76"/>
              <a:gd name="T49" fmla="*/ 14 h 31"/>
              <a:gd name="T50" fmla="*/ 13 w 76"/>
              <a:gd name="T51" fmla="*/ 12 h 31"/>
              <a:gd name="T52" fmla="*/ 12 w 76"/>
              <a:gd name="T53" fmla="*/ 11 h 31"/>
              <a:gd name="T54" fmla="*/ 14 w 76"/>
              <a:gd name="T55" fmla="*/ 10 h 31"/>
              <a:gd name="T56" fmla="*/ 16 w 76"/>
              <a:gd name="T57" fmla="*/ 9 h 31"/>
              <a:gd name="T58" fmla="*/ 15 w 76"/>
              <a:gd name="T59" fmla="*/ 5 h 31"/>
              <a:gd name="T60" fmla="*/ 16 w 76"/>
              <a:gd name="T61" fmla="*/ 4 h 31"/>
              <a:gd name="T62" fmla="*/ 19 w 76"/>
              <a:gd name="T63" fmla="*/ 4 h 31"/>
              <a:gd name="T64" fmla="*/ 20 w 76"/>
              <a:gd name="T65" fmla="*/ 3 h 31"/>
              <a:gd name="T66" fmla="*/ 21 w 76"/>
              <a:gd name="T67" fmla="*/ 1 h 31"/>
              <a:gd name="T68" fmla="*/ 24 w 76"/>
              <a:gd name="T69" fmla="*/ 1 h 31"/>
              <a:gd name="T70" fmla="*/ 25 w 76"/>
              <a:gd name="T71" fmla="*/ 0 h 31"/>
              <a:gd name="T72" fmla="*/ 29 w 76"/>
              <a:gd name="T73" fmla="*/ 1 h 31"/>
              <a:gd name="T74" fmla="*/ 31 w 76"/>
              <a:gd name="T75" fmla="*/ 1 h 31"/>
              <a:gd name="T76" fmla="*/ 33 w 76"/>
              <a:gd name="T77" fmla="*/ 0 h 31"/>
              <a:gd name="T78" fmla="*/ 36 w 76"/>
              <a:gd name="T79" fmla="*/ 1 h 31"/>
              <a:gd name="T80" fmla="*/ 39 w 76"/>
              <a:gd name="T81" fmla="*/ 3 h 31"/>
              <a:gd name="T82" fmla="*/ 41 w 76"/>
              <a:gd name="T83" fmla="*/ 5 h 31"/>
              <a:gd name="T84" fmla="*/ 43 w 76"/>
              <a:gd name="T85" fmla="*/ 5 h 31"/>
              <a:gd name="T86" fmla="*/ 45 w 76"/>
              <a:gd name="T87" fmla="*/ 4 h 31"/>
              <a:gd name="T88" fmla="*/ 47 w 76"/>
              <a:gd name="T89" fmla="*/ 2 h 31"/>
              <a:gd name="T90" fmla="*/ 52 w 76"/>
              <a:gd name="T91" fmla="*/ 2 h 31"/>
              <a:gd name="T92" fmla="*/ 54 w 76"/>
              <a:gd name="T93" fmla="*/ 4 h 31"/>
              <a:gd name="T94" fmla="*/ 56 w 76"/>
              <a:gd name="T95" fmla="*/ 3 h 31"/>
              <a:gd name="T96" fmla="*/ 58 w 76"/>
              <a:gd name="T97" fmla="*/ 2 h 31"/>
              <a:gd name="T98" fmla="*/ 62 w 76"/>
              <a:gd name="T99" fmla="*/ 1 h 31"/>
              <a:gd name="T100" fmla="*/ 65 w 76"/>
              <a:gd name="T101" fmla="*/ 2 h 31"/>
              <a:gd name="T102" fmla="*/ 68 w 76"/>
              <a:gd name="T103" fmla="*/ 3 h 31"/>
              <a:gd name="T104" fmla="*/ 71 w 76"/>
              <a:gd name="T105" fmla="*/ 5 h 31"/>
              <a:gd name="T106" fmla="*/ 74 w 76"/>
              <a:gd name="T107" fmla="*/ 6 h 31"/>
              <a:gd name="T108" fmla="*/ 76 w 76"/>
              <a:gd name="T109" fmla="*/ 7 h 31"/>
              <a:gd name="T110" fmla="*/ 76 w 76"/>
              <a:gd name="T111" fmla="*/ 9 h 31"/>
              <a:gd name="T112" fmla="*/ 74 w 76"/>
              <a:gd name="T113" fmla="*/ 15 h 31"/>
              <a:gd name="T114" fmla="*/ 73 w 76"/>
              <a:gd name="T115" fmla="*/ 2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6" h="31">
                <a:moveTo>
                  <a:pt x="73" y="20"/>
                </a:moveTo>
                <a:lnTo>
                  <a:pt x="70" y="21"/>
                </a:lnTo>
                <a:lnTo>
                  <a:pt x="65" y="19"/>
                </a:lnTo>
                <a:lnTo>
                  <a:pt x="61" y="17"/>
                </a:lnTo>
                <a:lnTo>
                  <a:pt x="58" y="17"/>
                </a:lnTo>
                <a:lnTo>
                  <a:pt x="54" y="17"/>
                </a:lnTo>
                <a:lnTo>
                  <a:pt x="50" y="20"/>
                </a:lnTo>
                <a:lnTo>
                  <a:pt x="48" y="22"/>
                </a:lnTo>
                <a:lnTo>
                  <a:pt x="46" y="23"/>
                </a:lnTo>
                <a:lnTo>
                  <a:pt x="43" y="24"/>
                </a:lnTo>
                <a:lnTo>
                  <a:pt x="39" y="23"/>
                </a:lnTo>
                <a:lnTo>
                  <a:pt x="34" y="25"/>
                </a:lnTo>
                <a:lnTo>
                  <a:pt x="27" y="26"/>
                </a:lnTo>
                <a:lnTo>
                  <a:pt x="24" y="31"/>
                </a:lnTo>
                <a:lnTo>
                  <a:pt x="22" y="31"/>
                </a:lnTo>
                <a:lnTo>
                  <a:pt x="14" y="31"/>
                </a:lnTo>
                <a:lnTo>
                  <a:pt x="7" y="27"/>
                </a:lnTo>
                <a:lnTo>
                  <a:pt x="4" y="25"/>
                </a:lnTo>
                <a:lnTo>
                  <a:pt x="2" y="23"/>
                </a:lnTo>
                <a:lnTo>
                  <a:pt x="0" y="17"/>
                </a:lnTo>
                <a:lnTo>
                  <a:pt x="1" y="15"/>
                </a:lnTo>
                <a:lnTo>
                  <a:pt x="2" y="13"/>
                </a:lnTo>
                <a:lnTo>
                  <a:pt x="4" y="13"/>
                </a:lnTo>
                <a:lnTo>
                  <a:pt x="5" y="14"/>
                </a:lnTo>
                <a:lnTo>
                  <a:pt x="10" y="14"/>
                </a:lnTo>
                <a:lnTo>
                  <a:pt x="13" y="12"/>
                </a:lnTo>
                <a:lnTo>
                  <a:pt x="12" y="11"/>
                </a:lnTo>
                <a:lnTo>
                  <a:pt x="14" y="10"/>
                </a:lnTo>
                <a:lnTo>
                  <a:pt x="16" y="9"/>
                </a:lnTo>
                <a:lnTo>
                  <a:pt x="15" y="5"/>
                </a:lnTo>
                <a:lnTo>
                  <a:pt x="16" y="4"/>
                </a:lnTo>
                <a:lnTo>
                  <a:pt x="19" y="4"/>
                </a:lnTo>
                <a:lnTo>
                  <a:pt x="20" y="3"/>
                </a:lnTo>
                <a:lnTo>
                  <a:pt x="21" y="1"/>
                </a:lnTo>
                <a:lnTo>
                  <a:pt x="24" y="1"/>
                </a:lnTo>
                <a:lnTo>
                  <a:pt x="25" y="0"/>
                </a:lnTo>
                <a:lnTo>
                  <a:pt x="29" y="1"/>
                </a:lnTo>
                <a:lnTo>
                  <a:pt x="31" y="1"/>
                </a:lnTo>
                <a:lnTo>
                  <a:pt x="33" y="0"/>
                </a:lnTo>
                <a:lnTo>
                  <a:pt x="36" y="1"/>
                </a:lnTo>
                <a:lnTo>
                  <a:pt x="39" y="3"/>
                </a:lnTo>
                <a:lnTo>
                  <a:pt x="41" y="5"/>
                </a:lnTo>
                <a:lnTo>
                  <a:pt x="43" y="5"/>
                </a:lnTo>
                <a:lnTo>
                  <a:pt x="45" y="4"/>
                </a:lnTo>
                <a:lnTo>
                  <a:pt x="47" y="2"/>
                </a:lnTo>
                <a:lnTo>
                  <a:pt x="52" y="2"/>
                </a:lnTo>
                <a:lnTo>
                  <a:pt x="54" y="4"/>
                </a:lnTo>
                <a:lnTo>
                  <a:pt x="56" y="3"/>
                </a:lnTo>
                <a:lnTo>
                  <a:pt x="58" y="2"/>
                </a:lnTo>
                <a:lnTo>
                  <a:pt x="62" y="1"/>
                </a:lnTo>
                <a:lnTo>
                  <a:pt x="65" y="2"/>
                </a:lnTo>
                <a:lnTo>
                  <a:pt x="68" y="3"/>
                </a:lnTo>
                <a:lnTo>
                  <a:pt x="71" y="5"/>
                </a:lnTo>
                <a:lnTo>
                  <a:pt x="74" y="6"/>
                </a:lnTo>
                <a:lnTo>
                  <a:pt x="76" y="7"/>
                </a:lnTo>
                <a:lnTo>
                  <a:pt x="76" y="9"/>
                </a:lnTo>
                <a:lnTo>
                  <a:pt x="74" y="15"/>
                </a:lnTo>
                <a:lnTo>
                  <a:pt x="73" y="2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43" name="Freeform 1243"/>
          <p:cNvSpPr>
            <a:spLocks/>
          </p:cNvSpPr>
          <p:nvPr/>
        </p:nvSpPr>
        <p:spPr bwMode="auto">
          <a:xfrm>
            <a:off x="4725987" y="2154203"/>
            <a:ext cx="120650" cy="49213"/>
          </a:xfrm>
          <a:custGeom>
            <a:avLst/>
            <a:gdLst>
              <a:gd name="T0" fmla="*/ 73 w 76"/>
              <a:gd name="T1" fmla="*/ 20 h 31"/>
              <a:gd name="T2" fmla="*/ 70 w 76"/>
              <a:gd name="T3" fmla="*/ 21 h 31"/>
              <a:gd name="T4" fmla="*/ 65 w 76"/>
              <a:gd name="T5" fmla="*/ 19 h 31"/>
              <a:gd name="T6" fmla="*/ 61 w 76"/>
              <a:gd name="T7" fmla="*/ 17 h 31"/>
              <a:gd name="T8" fmla="*/ 58 w 76"/>
              <a:gd name="T9" fmla="*/ 17 h 31"/>
              <a:gd name="T10" fmla="*/ 54 w 76"/>
              <a:gd name="T11" fmla="*/ 17 h 31"/>
              <a:gd name="T12" fmla="*/ 50 w 76"/>
              <a:gd name="T13" fmla="*/ 20 h 31"/>
              <a:gd name="T14" fmla="*/ 48 w 76"/>
              <a:gd name="T15" fmla="*/ 22 h 31"/>
              <a:gd name="T16" fmla="*/ 46 w 76"/>
              <a:gd name="T17" fmla="*/ 23 h 31"/>
              <a:gd name="T18" fmla="*/ 43 w 76"/>
              <a:gd name="T19" fmla="*/ 24 h 31"/>
              <a:gd name="T20" fmla="*/ 39 w 76"/>
              <a:gd name="T21" fmla="*/ 23 h 31"/>
              <a:gd name="T22" fmla="*/ 34 w 76"/>
              <a:gd name="T23" fmla="*/ 25 h 31"/>
              <a:gd name="T24" fmla="*/ 27 w 76"/>
              <a:gd name="T25" fmla="*/ 26 h 31"/>
              <a:gd name="T26" fmla="*/ 24 w 76"/>
              <a:gd name="T27" fmla="*/ 31 h 31"/>
              <a:gd name="T28" fmla="*/ 22 w 76"/>
              <a:gd name="T29" fmla="*/ 31 h 31"/>
              <a:gd name="T30" fmla="*/ 14 w 76"/>
              <a:gd name="T31" fmla="*/ 31 h 31"/>
              <a:gd name="T32" fmla="*/ 7 w 76"/>
              <a:gd name="T33" fmla="*/ 27 h 31"/>
              <a:gd name="T34" fmla="*/ 4 w 76"/>
              <a:gd name="T35" fmla="*/ 25 h 31"/>
              <a:gd name="T36" fmla="*/ 2 w 76"/>
              <a:gd name="T37" fmla="*/ 23 h 31"/>
              <a:gd name="T38" fmla="*/ 0 w 76"/>
              <a:gd name="T39" fmla="*/ 17 h 31"/>
              <a:gd name="T40" fmla="*/ 1 w 76"/>
              <a:gd name="T41" fmla="*/ 15 h 31"/>
              <a:gd name="T42" fmla="*/ 2 w 76"/>
              <a:gd name="T43" fmla="*/ 13 h 31"/>
              <a:gd name="T44" fmla="*/ 4 w 76"/>
              <a:gd name="T45" fmla="*/ 13 h 31"/>
              <a:gd name="T46" fmla="*/ 5 w 76"/>
              <a:gd name="T47" fmla="*/ 14 h 31"/>
              <a:gd name="T48" fmla="*/ 10 w 76"/>
              <a:gd name="T49" fmla="*/ 14 h 31"/>
              <a:gd name="T50" fmla="*/ 13 w 76"/>
              <a:gd name="T51" fmla="*/ 12 h 31"/>
              <a:gd name="T52" fmla="*/ 12 w 76"/>
              <a:gd name="T53" fmla="*/ 11 h 31"/>
              <a:gd name="T54" fmla="*/ 14 w 76"/>
              <a:gd name="T55" fmla="*/ 10 h 31"/>
              <a:gd name="T56" fmla="*/ 16 w 76"/>
              <a:gd name="T57" fmla="*/ 9 h 31"/>
              <a:gd name="T58" fmla="*/ 15 w 76"/>
              <a:gd name="T59" fmla="*/ 5 h 31"/>
              <a:gd name="T60" fmla="*/ 16 w 76"/>
              <a:gd name="T61" fmla="*/ 4 h 31"/>
              <a:gd name="T62" fmla="*/ 19 w 76"/>
              <a:gd name="T63" fmla="*/ 4 h 31"/>
              <a:gd name="T64" fmla="*/ 20 w 76"/>
              <a:gd name="T65" fmla="*/ 3 h 31"/>
              <a:gd name="T66" fmla="*/ 21 w 76"/>
              <a:gd name="T67" fmla="*/ 1 h 31"/>
              <a:gd name="T68" fmla="*/ 24 w 76"/>
              <a:gd name="T69" fmla="*/ 1 h 31"/>
              <a:gd name="T70" fmla="*/ 25 w 76"/>
              <a:gd name="T71" fmla="*/ 0 h 31"/>
              <a:gd name="T72" fmla="*/ 29 w 76"/>
              <a:gd name="T73" fmla="*/ 1 h 31"/>
              <a:gd name="T74" fmla="*/ 31 w 76"/>
              <a:gd name="T75" fmla="*/ 1 h 31"/>
              <a:gd name="T76" fmla="*/ 33 w 76"/>
              <a:gd name="T77" fmla="*/ 0 h 31"/>
              <a:gd name="T78" fmla="*/ 36 w 76"/>
              <a:gd name="T79" fmla="*/ 1 h 31"/>
              <a:gd name="T80" fmla="*/ 39 w 76"/>
              <a:gd name="T81" fmla="*/ 3 h 31"/>
              <a:gd name="T82" fmla="*/ 41 w 76"/>
              <a:gd name="T83" fmla="*/ 5 h 31"/>
              <a:gd name="T84" fmla="*/ 43 w 76"/>
              <a:gd name="T85" fmla="*/ 5 h 31"/>
              <a:gd name="T86" fmla="*/ 45 w 76"/>
              <a:gd name="T87" fmla="*/ 4 h 31"/>
              <a:gd name="T88" fmla="*/ 47 w 76"/>
              <a:gd name="T89" fmla="*/ 2 h 31"/>
              <a:gd name="T90" fmla="*/ 52 w 76"/>
              <a:gd name="T91" fmla="*/ 2 h 31"/>
              <a:gd name="T92" fmla="*/ 54 w 76"/>
              <a:gd name="T93" fmla="*/ 4 h 31"/>
              <a:gd name="T94" fmla="*/ 56 w 76"/>
              <a:gd name="T95" fmla="*/ 3 h 31"/>
              <a:gd name="T96" fmla="*/ 58 w 76"/>
              <a:gd name="T97" fmla="*/ 2 h 31"/>
              <a:gd name="T98" fmla="*/ 62 w 76"/>
              <a:gd name="T99" fmla="*/ 1 h 31"/>
              <a:gd name="T100" fmla="*/ 65 w 76"/>
              <a:gd name="T101" fmla="*/ 2 h 31"/>
              <a:gd name="T102" fmla="*/ 68 w 76"/>
              <a:gd name="T103" fmla="*/ 3 h 31"/>
              <a:gd name="T104" fmla="*/ 71 w 76"/>
              <a:gd name="T105" fmla="*/ 5 h 31"/>
              <a:gd name="T106" fmla="*/ 74 w 76"/>
              <a:gd name="T107" fmla="*/ 6 h 31"/>
              <a:gd name="T108" fmla="*/ 76 w 76"/>
              <a:gd name="T109" fmla="*/ 7 h 31"/>
              <a:gd name="T110" fmla="*/ 76 w 76"/>
              <a:gd name="T111" fmla="*/ 9 h 31"/>
              <a:gd name="T112" fmla="*/ 74 w 76"/>
              <a:gd name="T113" fmla="*/ 15 h 31"/>
              <a:gd name="T114" fmla="*/ 73 w 76"/>
              <a:gd name="T115" fmla="*/ 2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76" h="31">
                <a:moveTo>
                  <a:pt x="73" y="20"/>
                </a:moveTo>
                <a:lnTo>
                  <a:pt x="70" y="21"/>
                </a:lnTo>
                <a:lnTo>
                  <a:pt x="65" y="19"/>
                </a:lnTo>
                <a:lnTo>
                  <a:pt x="61" y="17"/>
                </a:lnTo>
                <a:lnTo>
                  <a:pt x="58" y="17"/>
                </a:lnTo>
                <a:lnTo>
                  <a:pt x="54" y="17"/>
                </a:lnTo>
                <a:lnTo>
                  <a:pt x="50" y="20"/>
                </a:lnTo>
                <a:lnTo>
                  <a:pt x="48" y="22"/>
                </a:lnTo>
                <a:lnTo>
                  <a:pt x="46" y="23"/>
                </a:lnTo>
                <a:lnTo>
                  <a:pt x="43" y="24"/>
                </a:lnTo>
                <a:lnTo>
                  <a:pt x="39" y="23"/>
                </a:lnTo>
                <a:lnTo>
                  <a:pt x="34" y="25"/>
                </a:lnTo>
                <a:lnTo>
                  <a:pt x="27" y="26"/>
                </a:lnTo>
                <a:lnTo>
                  <a:pt x="24" y="31"/>
                </a:lnTo>
                <a:lnTo>
                  <a:pt x="22" y="31"/>
                </a:lnTo>
                <a:lnTo>
                  <a:pt x="14" y="31"/>
                </a:lnTo>
                <a:lnTo>
                  <a:pt x="7" y="27"/>
                </a:lnTo>
                <a:lnTo>
                  <a:pt x="4" y="25"/>
                </a:lnTo>
                <a:lnTo>
                  <a:pt x="2" y="23"/>
                </a:lnTo>
                <a:lnTo>
                  <a:pt x="0" y="17"/>
                </a:lnTo>
                <a:lnTo>
                  <a:pt x="1" y="15"/>
                </a:lnTo>
                <a:lnTo>
                  <a:pt x="2" y="13"/>
                </a:lnTo>
                <a:lnTo>
                  <a:pt x="4" y="13"/>
                </a:lnTo>
                <a:lnTo>
                  <a:pt x="5" y="14"/>
                </a:lnTo>
                <a:lnTo>
                  <a:pt x="10" y="14"/>
                </a:lnTo>
                <a:lnTo>
                  <a:pt x="13" y="12"/>
                </a:lnTo>
                <a:lnTo>
                  <a:pt x="12" y="11"/>
                </a:lnTo>
                <a:lnTo>
                  <a:pt x="14" y="10"/>
                </a:lnTo>
                <a:lnTo>
                  <a:pt x="16" y="9"/>
                </a:lnTo>
                <a:lnTo>
                  <a:pt x="15" y="5"/>
                </a:lnTo>
                <a:lnTo>
                  <a:pt x="16" y="4"/>
                </a:lnTo>
                <a:lnTo>
                  <a:pt x="19" y="4"/>
                </a:lnTo>
                <a:lnTo>
                  <a:pt x="20" y="3"/>
                </a:lnTo>
                <a:lnTo>
                  <a:pt x="21" y="1"/>
                </a:lnTo>
                <a:lnTo>
                  <a:pt x="24" y="1"/>
                </a:lnTo>
                <a:lnTo>
                  <a:pt x="25" y="0"/>
                </a:lnTo>
                <a:lnTo>
                  <a:pt x="29" y="1"/>
                </a:lnTo>
                <a:lnTo>
                  <a:pt x="31" y="1"/>
                </a:lnTo>
                <a:lnTo>
                  <a:pt x="33" y="0"/>
                </a:lnTo>
                <a:lnTo>
                  <a:pt x="36" y="1"/>
                </a:lnTo>
                <a:lnTo>
                  <a:pt x="39" y="3"/>
                </a:lnTo>
                <a:lnTo>
                  <a:pt x="41" y="5"/>
                </a:lnTo>
                <a:lnTo>
                  <a:pt x="43" y="5"/>
                </a:lnTo>
                <a:lnTo>
                  <a:pt x="45" y="4"/>
                </a:lnTo>
                <a:lnTo>
                  <a:pt x="47" y="2"/>
                </a:lnTo>
                <a:lnTo>
                  <a:pt x="52" y="2"/>
                </a:lnTo>
                <a:lnTo>
                  <a:pt x="54" y="4"/>
                </a:lnTo>
                <a:lnTo>
                  <a:pt x="56" y="3"/>
                </a:lnTo>
                <a:lnTo>
                  <a:pt x="58" y="2"/>
                </a:lnTo>
                <a:lnTo>
                  <a:pt x="62" y="1"/>
                </a:lnTo>
                <a:lnTo>
                  <a:pt x="65" y="2"/>
                </a:lnTo>
                <a:lnTo>
                  <a:pt x="68" y="3"/>
                </a:lnTo>
                <a:lnTo>
                  <a:pt x="71" y="5"/>
                </a:lnTo>
                <a:lnTo>
                  <a:pt x="74" y="6"/>
                </a:lnTo>
                <a:lnTo>
                  <a:pt x="76" y="7"/>
                </a:lnTo>
                <a:lnTo>
                  <a:pt x="76" y="9"/>
                </a:lnTo>
                <a:lnTo>
                  <a:pt x="74" y="15"/>
                </a:lnTo>
                <a:lnTo>
                  <a:pt x="73" y="2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44" name="Freeform 1244"/>
          <p:cNvSpPr>
            <a:spLocks/>
          </p:cNvSpPr>
          <p:nvPr/>
        </p:nvSpPr>
        <p:spPr bwMode="auto">
          <a:xfrm>
            <a:off x="4564062" y="2212940"/>
            <a:ext cx="4762" cy="12700"/>
          </a:xfrm>
          <a:custGeom>
            <a:avLst/>
            <a:gdLst>
              <a:gd name="T0" fmla="*/ 2 w 3"/>
              <a:gd name="T1" fmla="*/ 8 h 8"/>
              <a:gd name="T2" fmla="*/ 3 w 3"/>
              <a:gd name="T3" fmla="*/ 6 h 8"/>
              <a:gd name="T4" fmla="*/ 3 w 3"/>
              <a:gd name="T5" fmla="*/ 4 h 8"/>
              <a:gd name="T6" fmla="*/ 3 w 3"/>
              <a:gd name="T7" fmla="*/ 1 h 8"/>
              <a:gd name="T8" fmla="*/ 1 w 3"/>
              <a:gd name="T9" fmla="*/ 0 h 8"/>
              <a:gd name="T10" fmla="*/ 0 w 3"/>
              <a:gd name="T11" fmla="*/ 3 h 8"/>
              <a:gd name="T12" fmla="*/ 0 w 3"/>
              <a:gd name="T13" fmla="*/ 5 h 8"/>
              <a:gd name="T14" fmla="*/ 2 w 3"/>
              <a:gd name="T15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8">
                <a:moveTo>
                  <a:pt x="2" y="8"/>
                </a:moveTo>
                <a:lnTo>
                  <a:pt x="3" y="6"/>
                </a:lnTo>
                <a:lnTo>
                  <a:pt x="3" y="4"/>
                </a:lnTo>
                <a:lnTo>
                  <a:pt x="3" y="1"/>
                </a:lnTo>
                <a:lnTo>
                  <a:pt x="1" y="0"/>
                </a:lnTo>
                <a:lnTo>
                  <a:pt x="0" y="3"/>
                </a:lnTo>
                <a:lnTo>
                  <a:pt x="0" y="5"/>
                </a:lnTo>
                <a:lnTo>
                  <a:pt x="2" y="8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45" name="Freeform 1245"/>
          <p:cNvSpPr>
            <a:spLocks/>
          </p:cNvSpPr>
          <p:nvPr/>
        </p:nvSpPr>
        <p:spPr bwMode="auto">
          <a:xfrm>
            <a:off x="4564062" y="2212940"/>
            <a:ext cx="4762" cy="12700"/>
          </a:xfrm>
          <a:custGeom>
            <a:avLst/>
            <a:gdLst>
              <a:gd name="T0" fmla="*/ 2 w 3"/>
              <a:gd name="T1" fmla="*/ 8 h 8"/>
              <a:gd name="T2" fmla="*/ 3 w 3"/>
              <a:gd name="T3" fmla="*/ 6 h 8"/>
              <a:gd name="T4" fmla="*/ 3 w 3"/>
              <a:gd name="T5" fmla="*/ 4 h 8"/>
              <a:gd name="T6" fmla="*/ 3 w 3"/>
              <a:gd name="T7" fmla="*/ 1 h 8"/>
              <a:gd name="T8" fmla="*/ 1 w 3"/>
              <a:gd name="T9" fmla="*/ 0 h 8"/>
              <a:gd name="T10" fmla="*/ 0 w 3"/>
              <a:gd name="T11" fmla="*/ 3 h 8"/>
              <a:gd name="T12" fmla="*/ 0 w 3"/>
              <a:gd name="T13" fmla="*/ 5 h 8"/>
              <a:gd name="T14" fmla="*/ 2 w 3"/>
              <a:gd name="T15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" h="8">
                <a:moveTo>
                  <a:pt x="2" y="8"/>
                </a:moveTo>
                <a:lnTo>
                  <a:pt x="3" y="6"/>
                </a:lnTo>
                <a:lnTo>
                  <a:pt x="3" y="4"/>
                </a:lnTo>
                <a:lnTo>
                  <a:pt x="3" y="1"/>
                </a:lnTo>
                <a:lnTo>
                  <a:pt x="1" y="0"/>
                </a:lnTo>
                <a:lnTo>
                  <a:pt x="0" y="3"/>
                </a:lnTo>
                <a:lnTo>
                  <a:pt x="0" y="5"/>
                </a:lnTo>
                <a:lnTo>
                  <a:pt x="2" y="8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46" name="Freeform 1246"/>
          <p:cNvSpPr>
            <a:spLocks/>
          </p:cNvSpPr>
          <p:nvPr/>
        </p:nvSpPr>
        <p:spPr bwMode="auto">
          <a:xfrm>
            <a:off x="5208587" y="2500278"/>
            <a:ext cx="152400" cy="146050"/>
          </a:xfrm>
          <a:custGeom>
            <a:avLst/>
            <a:gdLst>
              <a:gd name="T0" fmla="*/ 64 w 96"/>
              <a:gd name="T1" fmla="*/ 61 h 92"/>
              <a:gd name="T2" fmla="*/ 76 w 96"/>
              <a:gd name="T3" fmla="*/ 55 h 92"/>
              <a:gd name="T4" fmla="*/ 83 w 96"/>
              <a:gd name="T5" fmla="*/ 46 h 92"/>
              <a:gd name="T6" fmla="*/ 88 w 96"/>
              <a:gd name="T7" fmla="*/ 14 h 92"/>
              <a:gd name="T8" fmla="*/ 93 w 96"/>
              <a:gd name="T9" fmla="*/ 4 h 92"/>
              <a:gd name="T10" fmla="*/ 92 w 96"/>
              <a:gd name="T11" fmla="*/ 0 h 92"/>
              <a:gd name="T12" fmla="*/ 84 w 96"/>
              <a:gd name="T13" fmla="*/ 4 h 92"/>
              <a:gd name="T14" fmla="*/ 70 w 96"/>
              <a:gd name="T15" fmla="*/ 4 h 92"/>
              <a:gd name="T16" fmla="*/ 61 w 96"/>
              <a:gd name="T17" fmla="*/ 8 h 92"/>
              <a:gd name="T18" fmla="*/ 47 w 96"/>
              <a:gd name="T19" fmla="*/ 11 h 92"/>
              <a:gd name="T20" fmla="*/ 34 w 96"/>
              <a:gd name="T21" fmla="*/ 7 h 92"/>
              <a:gd name="T22" fmla="*/ 25 w 96"/>
              <a:gd name="T23" fmla="*/ 10 h 92"/>
              <a:gd name="T24" fmla="*/ 17 w 96"/>
              <a:gd name="T25" fmla="*/ 11 h 92"/>
              <a:gd name="T26" fmla="*/ 15 w 96"/>
              <a:gd name="T27" fmla="*/ 11 h 92"/>
              <a:gd name="T28" fmla="*/ 13 w 96"/>
              <a:gd name="T29" fmla="*/ 10 h 92"/>
              <a:gd name="T30" fmla="*/ 9 w 96"/>
              <a:gd name="T31" fmla="*/ 11 h 92"/>
              <a:gd name="T32" fmla="*/ 7 w 96"/>
              <a:gd name="T33" fmla="*/ 16 h 92"/>
              <a:gd name="T34" fmla="*/ 11 w 96"/>
              <a:gd name="T35" fmla="*/ 20 h 92"/>
              <a:gd name="T36" fmla="*/ 6 w 96"/>
              <a:gd name="T37" fmla="*/ 21 h 92"/>
              <a:gd name="T38" fmla="*/ 4 w 96"/>
              <a:gd name="T39" fmla="*/ 26 h 92"/>
              <a:gd name="T40" fmla="*/ 1 w 96"/>
              <a:gd name="T41" fmla="*/ 25 h 92"/>
              <a:gd name="T42" fmla="*/ 0 w 96"/>
              <a:gd name="T43" fmla="*/ 31 h 92"/>
              <a:gd name="T44" fmla="*/ 3 w 96"/>
              <a:gd name="T45" fmla="*/ 41 h 92"/>
              <a:gd name="T46" fmla="*/ 9 w 96"/>
              <a:gd name="T47" fmla="*/ 48 h 92"/>
              <a:gd name="T48" fmla="*/ 10 w 96"/>
              <a:gd name="T49" fmla="*/ 48 h 92"/>
              <a:gd name="T50" fmla="*/ 12 w 96"/>
              <a:gd name="T51" fmla="*/ 49 h 92"/>
              <a:gd name="T52" fmla="*/ 10 w 96"/>
              <a:gd name="T53" fmla="*/ 50 h 92"/>
              <a:gd name="T54" fmla="*/ 12 w 96"/>
              <a:gd name="T55" fmla="*/ 52 h 92"/>
              <a:gd name="T56" fmla="*/ 14 w 96"/>
              <a:gd name="T57" fmla="*/ 55 h 92"/>
              <a:gd name="T58" fmla="*/ 14 w 96"/>
              <a:gd name="T59" fmla="*/ 57 h 92"/>
              <a:gd name="T60" fmla="*/ 12 w 96"/>
              <a:gd name="T61" fmla="*/ 59 h 92"/>
              <a:gd name="T62" fmla="*/ 11 w 96"/>
              <a:gd name="T63" fmla="*/ 61 h 92"/>
              <a:gd name="T64" fmla="*/ 12 w 96"/>
              <a:gd name="T65" fmla="*/ 64 h 92"/>
              <a:gd name="T66" fmla="*/ 11 w 96"/>
              <a:gd name="T67" fmla="*/ 64 h 92"/>
              <a:gd name="T68" fmla="*/ 5 w 96"/>
              <a:gd name="T69" fmla="*/ 66 h 92"/>
              <a:gd name="T70" fmla="*/ 6 w 96"/>
              <a:gd name="T71" fmla="*/ 68 h 92"/>
              <a:gd name="T72" fmla="*/ 5 w 96"/>
              <a:gd name="T73" fmla="*/ 71 h 92"/>
              <a:gd name="T74" fmla="*/ 2 w 96"/>
              <a:gd name="T75" fmla="*/ 73 h 92"/>
              <a:gd name="T76" fmla="*/ 0 w 96"/>
              <a:gd name="T77" fmla="*/ 79 h 92"/>
              <a:gd name="T78" fmla="*/ 1 w 96"/>
              <a:gd name="T79" fmla="*/ 83 h 92"/>
              <a:gd name="T80" fmla="*/ 4 w 96"/>
              <a:gd name="T81" fmla="*/ 85 h 92"/>
              <a:gd name="T82" fmla="*/ 11 w 96"/>
              <a:gd name="T83" fmla="*/ 90 h 92"/>
              <a:gd name="T84" fmla="*/ 19 w 96"/>
              <a:gd name="T85" fmla="*/ 91 h 92"/>
              <a:gd name="T86" fmla="*/ 50 w 96"/>
              <a:gd name="T87" fmla="*/ 72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96" h="92">
                <a:moveTo>
                  <a:pt x="50" y="72"/>
                </a:moveTo>
                <a:lnTo>
                  <a:pt x="61" y="65"/>
                </a:lnTo>
                <a:lnTo>
                  <a:pt x="64" y="61"/>
                </a:lnTo>
                <a:lnTo>
                  <a:pt x="67" y="60"/>
                </a:lnTo>
                <a:lnTo>
                  <a:pt x="74" y="57"/>
                </a:lnTo>
                <a:lnTo>
                  <a:pt x="76" y="55"/>
                </a:lnTo>
                <a:lnTo>
                  <a:pt x="77" y="54"/>
                </a:lnTo>
                <a:lnTo>
                  <a:pt x="81" y="52"/>
                </a:lnTo>
                <a:lnTo>
                  <a:pt x="83" y="46"/>
                </a:lnTo>
                <a:lnTo>
                  <a:pt x="82" y="36"/>
                </a:lnTo>
                <a:lnTo>
                  <a:pt x="81" y="17"/>
                </a:lnTo>
                <a:lnTo>
                  <a:pt x="88" y="14"/>
                </a:lnTo>
                <a:lnTo>
                  <a:pt x="92" y="6"/>
                </a:lnTo>
                <a:lnTo>
                  <a:pt x="96" y="2"/>
                </a:lnTo>
                <a:lnTo>
                  <a:pt x="93" y="4"/>
                </a:lnTo>
                <a:lnTo>
                  <a:pt x="93" y="2"/>
                </a:lnTo>
                <a:lnTo>
                  <a:pt x="93" y="1"/>
                </a:lnTo>
                <a:lnTo>
                  <a:pt x="92" y="0"/>
                </a:lnTo>
                <a:lnTo>
                  <a:pt x="91" y="0"/>
                </a:lnTo>
                <a:lnTo>
                  <a:pt x="88" y="2"/>
                </a:lnTo>
                <a:lnTo>
                  <a:pt x="84" y="4"/>
                </a:lnTo>
                <a:lnTo>
                  <a:pt x="75" y="5"/>
                </a:lnTo>
                <a:lnTo>
                  <a:pt x="72" y="4"/>
                </a:lnTo>
                <a:lnTo>
                  <a:pt x="70" y="4"/>
                </a:lnTo>
                <a:lnTo>
                  <a:pt x="65" y="5"/>
                </a:lnTo>
                <a:lnTo>
                  <a:pt x="63" y="7"/>
                </a:lnTo>
                <a:lnTo>
                  <a:pt x="61" y="8"/>
                </a:lnTo>
                <a:lnTo>
                  <a:pt x="57" y="9"/>
                </a:lnTo>
                <a:lnTo>
                  <a:pt x="56" y="10"/>
                </a:lnTo>
                <a:lnTo>
                  <a:pt x="47" y="11"/>
                </a:lnTo>
                <a:lnTo>
                  <a:pt x="40" y="10"/>
                </a:lnTo>
                <a:lnTo>
                  <a:pt x="36" y="8"/>
                </a:lnTo>
                <a:lnTo>
                  <a:pt x="34" y="7"/>
                </a:lnTo>
                <a:lnTo>
                  <a:pt x="31" y="8"/>
                </a:lnTo>
                <a:lnTo>
                  <a:pt x="29" y="9"/>
                </a:lnTo>
                <a:lnTo>
                  <a:pt x="25" y="10"/>
                </a:lnTo>
                <a:lnTo>
                  <a:pt x="23" y="11"/>
                </a:lnTo>
                <a:lnTo>
                  <a:pt x="22" y="12"/>
                </a:lnTo>
                <a:lnTo>
                  <a:pt x="17" y="11"/>
                </a:lnTo>
                <a:lnTo>
                  <a:pt x="15" y="12"/>
                </a:lnTo>
                <a:lnTo>
                  <a:pt x="15" y="11"/>
                </a:lnTo>
                <a:lnTo>
                  <a:pt x="15" y="11"/>
                </a:lnTo>
                <a:lnTo>
                  <a:pt x="15" y="11"/>
                </a:lnTo>
                <a:lnTo>
                  <a:pt x="15" y="10"/>
                </a:lnTo>
                <a:lnTo>
                  <a:pt x="13" y="10"/>
                </a:lnTo>
                <a:lnTo>
                  <a:pt x="11" y="9"/>
                </a:lnTo>
                <a:lnTo>
                  <a:pt x="10" y="9"/>
                </a:lnTo>
                <a:lnTo>
                  <a:pt x="9" y="11"/>
                </a:lnTo>
                <a:lnTo>
                  <a:pt x="7" y="12"/>
                </a:lnTo>
                <a:lnTo>
                  <a:pt x="9" y="14"/>
                </a:lnTo>
                <a:lnTo>
                  <a:pt x="7" y="16"/>
                </a:lnTo>
                <a:lnTo>
                  <a:pt x="11" y="19"/>
                </a:lnTo>
                <a:lnTo>
                  <a:pt x="11" y="19"/>
                </a:lnTo>
                <a:lnTo>
                  <a:pt x="11" y="20"/>
                </a:lnTo>
                <a:lnTo>
                  <a:pt x="9" y="20"/>
                </a:lnTo>
                <a:lnTo>
                  <a:pt x="6" y="20"/>
                </a:lnTo>
                <a:lnTo>
                  <a:pt x="6" y="21"/>
                </a:lnTo>
                <a:lnTo>
                  <a:pt x="6" y="24"/>
                </a:lnTo>
                <a:lnTo>
                  <a:pt x="5" y="26"/>
                </a:lnTo>
                <a:lnTo>
                  <a:pt x="4" y="26"/>
                </a:lnTo>
                <a:lnTo>
                  <a:pt x="4" y="27"/>
                </a:lnTo>
                <a:lnTo>
                  <a:pt x="2" y="26"/>
                </a:lnTo>
                <a:lnTo>
                  <a:pt x="1" y="25"/>
                </a:lnTo>
                <a:lnTo>
                  <a:pt x="0" y="25"/>
                </a:lnTo>
                <a:lnTo>
                  <a:pt x="0" y="28"/>
                </a:lnTo>
                <a:lnTo>
                  <a:pt x="0" y="31"/>
                </a:lnTo>
                <a:lnTo>
                  <a:pt x="1" y="32"/>
                </a:lnTo>
                <a:lnTo>
                  <a:pt x="2" y="37"/>
                </a:lnTo>
                <a:lnTo>
                  <a:pt x="3" y="41"/>
                </a:lnTo>
                <a:lnTo>
                  <a:pt x="2" y="45"/>
                </a:lnTo>
                <a:lnTo>
                  <a:pt x="3" y="48"/>
                </a:lnTo>
                <a:lnTo>
                  <a:pt x="9" y="48"/>
                </a:lnTo>
                <a:lnTo>
                  <a:pt x="9" y="47"/>
                </a:lnTo>
                <a:lnTo>
                  <a:pt x="10" y="47"/>
                </a:lnTo>
                <a:lnTo>
                  <a:pt x="10" y="48"/>
                </a:lnTo>
                <a:lnTo>
                  <a:pt x="11" y="48"/>
                </a:lnTo>
                <a:lnTo>
                  <a:pt x="12" y="48"/>
                </a:lnTo>
                <a:lnTo>
                  <a:pt x="12" y="49"/>
                </a:lnTo>
                <a:lnTo>
                  <a:pt x="11" y="49"/>
                </a:lnTo>
                <a:lnTo>
                  <a:pt x="11" y="49"/>
                </a:lnTo>
                <a:lnTo>
                  <a:pt x="10" y="50"/>
                </a:lnTo>
                <a:lnTo>
                  <a:pt x="10" y="50"/>
                </a:lnTo>
                <a:lnTo>
                  <a:pt x="12" y="50"/>
                </a:lnTo>
                <a:lnTo>
                  <a:pt x="12" y="52"/>
                </a:lnTo>
                <a:lnTo>
                  <a:pt x="14" y="52"/>
                </a:lnTo>
                <a:lnTo>
                  <a:pt x="13" y="54"/>
                </a:lnTo>
                <a:lnTo>
                  <a:pt x="14" y="55"/>
                </a:lnTo>
                <a:lnTo>
                  <a:pt x="14" y="56"/>
                </a:lnTo>
                <a:lnTo>
                  <a:pt x="15" y="57"/>
                </a:lnTo>
                <a:lnTo>
                  <a:pt x="14" y="57"/>
                </a:lnTo>
                <a:lnTo>
                  <a:pt x="14" y="58"/>
                </a:lnTo>
                <a:lnTo>
                  <a:pt x="14" y="58"/>
                </a:lnTo>
                <a:lnTo>
                  <a:pt x="12" y="59"/>
                </a:lnTo>
                <a:lnTo>
                  <a:pt x="11" y="60"/>
                </a:lnTo>
                <a:lnTo>
                  <a:pt x="11" y="61"/>
                </a:lnTo>
                <a:lnTo>
                  <a:pt x="11" y="61"/>
                </a:lnTo>
                <a:lnTo>
                  <a:pt x="10" y="62"/>
                </a:lnTo>
                <a:lnTo>
                  <a:pt x="12" y="62"/>
                </a:lnTo>
                <a:lnTo>
                  <a:pt x="12" y="64"/>
                </a:lnTo>
                <a:lnTo>
                  <a:pt x="12" y="64"/>
                </a:lnTo>
                <a:lnTo>
                  <a:pt x="12" y="64"/>
                </a:lnTo>
                <a:lnTo>
                  <a:pt x="11" y="64"/>
                </a:lnTo>
                <a:lnTo>
                  <a:pt x="6" y="64"/>
                </a:lnTo>
                <a:lnTo>
                  <a:pt x="6" y="65"/>
                </a:lnTo>
                <a:lnTo>
                  <a:pt x="5" y="66"/>
                </a:lnTo>
                <a:lnTo>
                  <a:pt x="5" y="67"/>
                </a:lnTo>
                <a:lnTo>
                  <a:pt x="5" y="68"/>
                </a:lnTo>
                <a:lnTo>
                  <a:pt x="6" y="68"/>
                </a:lnTo>
                <a:lnTo>
                  <a:pt x="6" y="69"/>
                </a:lnTo>
                <a:lnTo>
                  <a:pt x="6" y="69"/>
                </a:lnTo>
                <a:lnTo>
                  <a:pt x="5" y="71"/>
                </a:lnTo>
                <a:lnTo>
                  <a:pt x="4" y="72"/>
                </a:lnTo>
                <a:lnTo>
                  <a:pt x="3" y="73"/>
                </a:lnTo>
                <a:lnTo>
                  <a:pt x="2" y="73"/>
                </a:lnTo>
                <a:lnTo>
                  <a:pt x="0" y="75"/>
                </a:lnTo>
                <a:lnTo>
                  <a:pt x="1" y="78"/>
                </a:lnTo>
                <a:lnTo>
                  <a:pt x="0" y="79"/>
                </a:lnTo>
                <a:lnTo>
                  <a:pt x="1" y="80"/>
                </a:lnTo>
                <a:lnTo>
                  <a:pt x="1" y="81"/>
                </a:lnTo>
                <a:lnTo>
                  <a:pt x="1" y="83"/>
                </a:lnTo>
                <a:lnTo>
                  <a:pt x="0" y="85"/>
                </a:lnTo>
                <a:lnTo>
                  <a:pt x="3" y="83"/>
                </a:lnTo>
                <a:lnTo>
                  <a:pt x="4" y="85"/>
                </a:lnTo>
                <a:lnTo>
                  <a:pt x="6" y="87"/>
                </a:lnTo>
                <a:lnTo>
                  <a:pt x="9" y="88"/>
                </a:lnTo>
                <a:lnTo>
                  <a:pt x="11" y="90"/>
                </a:lnTo>
                <a:lnTo>
                  <a:pt x="13" y="91"/>
                </a:lnTo>
                <a:lnTo>
                  <a:pt x="16" y="92"/>
                </a:lnTo>
                <a:lnTo>
                  <a:pt x="19" y="91"/>
                </a:lnTo>
                <a:lnTo>
                  <a:pt x="31" y="83"/>
                </a:lnTo>
                <a:lnTo>
                  <a:pt x="36" y="80"/>
                </a:lnTo>
                <a:lnTo>
                  <a:pt x="50" y="7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47" name="Freeform 1247"/>
          <p:cNvSpPr>
            <a:spLocks/>
          </p:cNvSpPr>
          <p:nvPr/>
        </p:nvSpPr>
        <p:spPr bwMode="auto">
          <a:xfrm>
            <a:off x="5208587" y="2500278"/>
            <a:ext cx="152400" cy="146050"/>
          </a:xfrm>
          <a:custGeom>
            <a:avLst/>
            <a:gdLst>
              <a:gd name="T0" fmla="*/ 64 w 96"/>
              <a:gd name="T1" fmla="*/ 61 h 92"/>
              <a:gd name="T2" fmla="*/ 76 w 96"/>
              <a:gd name="T3" fmla="*/ 55 h 92"/>
              <a:gd name="T4" fmla="*/ 83 w 96"/>
              <a:gd name="T5" fmla="*/ 46 h 92"/>
              <a:gd name="T6" fmla="*/ 88 w 96"/>
              <a:gd name="T7" fmla="*/ 14 h 92"/>
              <a:gd name="T8" fmla="*/ 93 w 96"/>
              <a:gd name="T9" fmla="*/ 4 h 92"/>
              <a:gd name="T10" fmla="*/ 92 w 96"/>
              <a:gd name="T11" fmla="*/ 0 h 92"/>
              <a:gd name="T12" fmla="*/ 84 w 96"/>
              <a:gd name="T13" fmla="*/ 4 h 92"/>
              <a:gd name="T14" fmla="*/ 70 w 96"/>
              <a:gd name="T15" fmla="*/ 4 h 92"/>
              <a:gd name="T16" fmla="*/ 61 w 96"/>
              <a:gd name="T17" fmla="*/ 8 h 92"/>
              <a:gd name="T18" fmla="*/ 47 w 96"/>
              <a:gd name="T19" fmla="*/ 11 h 92"/>
              <a:gd name="T20" fmla="*/ 34 w 96"/>
              <a:gd name="T21" fmla="*/ 7 h 92"/>
              <a:gd name="T22" fmla="*/ 25 w 96"/>
              <a:gd name="T23" fmla="*/ 10 h 92"/>
              <a:gd name="T24" fmla="*/ 17 w 96"/>
              <a:gd name="T25" fmla="*/ 11 h 92"/>
              <a:gd name="T26" fmla="*/ 15 w 96"/>
              <a:gd name="T27" fmla="*/ 11 h 92"/>
              <a:gd name="T28" fmla="*/ 13 w 96"/>
              <a:gd name="T29" fmla="*/ 10 h 92"/>
              <a:gd name="T30" fmla="*/ 9 w 96"/>
              <a:gd name="T31" fmla="*/ 11 h 92"/>
              <a:gd name="T32" fmla="*/ 7 w 96"/>
              <a:gd name="T33" fmla="*/ 16 h 92"/>
              <a:gd name="T34" fmla="*/ 11 w 96"/>
              <a:gd name="T35" fmla="*/ 20 h 92"/>
              <a:gd name="T36" fmla="*/ 6 w 96"/>
              <a:gd name="T37" fmla="*/ 21 h 92"/>
              <a:gd name="T38" fmla="*/ 4 w 96"/>
              <a:gd name="T39" fmla="*/ 26 h 92"/>
              <a:gd name="T40" fmla="*/ 1 w 96"/>
              <a:gd name="T41" fmla="*/ 25 h 92"/>
              <a:gd name="T42" fmla="*/ 0 w 96"/>
              <a:gd name="T43" fmla="*/ 31 h 92"/>
              <a:gd name="T44" fmla="*/ 3 w 96"/>
              <a:gd name="T45" fmla="*/ 41 h 92"/>
              <a:gd name="T46" fmla="*/ 9 w 96"/>
              <a:gd name="T47" fmla="*/ 48 h 92"/>
              <a:gd name="T48" fmla="*/ 10 w 96"/>
              <a:gd name="T49" fmla="*/ 48 h 92"/>
              <a:gd name="T50" fmla="*/ 12 w 96"/>
              <a:gd name="T51" fmla="*/ 49 h 92"/>
              <a:gd name="T52" fmla="*/ 10 w 96"/>
              <a:gd name="T53" fmla="*/ 50 h 92"/>
              <a:gd name="T54" fmla="*/ 12 w 96"/>
              <a:gd name="T55" fmla="*/ 52 h 92"/>
              <a:gd name="T56" fmla="*/ 14 w 96"/>
              <a:gd name="T57" fmla="*/ 55 h 92"/>
              <a:gd name="T58" fmla="*/ 14 w 96"/>
              <a:gd name="T59" fmla="*/ 57 h 92"/>
              <a:gd name="T60" fmla="*/ 12 w 96"/>
              <a:gd name="T61" fmla="*/ 59 h 92"/>
              <a:gd name="T62" fmla="*/ 11 w 96"/>
              <a:gd name="T63" fmla="*/ 61 h 92"/>
              <a:gd name="T64" fmla="*/ 12 w 96"/>
              <a:gd name="T65" fmla="*/ 64 h 92"/>
              <a:gd name="T66" fmla="*/ 11 w 96"/>
              <a:gd name="T67" fmla="*/ 64 h 92"/>
              <a:gd name="T68" fmla="*/ 5 w 96"/>
              <a:gd name="T69" fmla="*/ 66 h 92"/>
              <a:gd name="T70" fmla="*/ 6 w 96"/>
              <a:gd name="T71" fmla="*/ 68 h 92"/>
              <a:gd name="T72" fmla="*/ 5 w 96"/>
              <a:gd name="T73" fmla="*/ 71 h 92"/>
              <a:gd name="T74" fmla="*/ 2 w 96"/>
              <a:gd name="T75" fmla="*/ 73 h 92"/>
              <a:gd name="T76" fmla="*/ 0 w 96"/>
              <a:gd name="T77" fmla="*/ 79 h 92"/>
              <a:gd name="T78" fmla="*/ 1 w 96"/>
              <a:gd name="T79" fmla="*/ 83 h 92"/>
              <a:gd name="T80" fmla="*/ 4 w 96"/>
              <a:gd name="T81" fmla="*/ 85 h 92"/>
              <a:gd name="T82" fmla="*/ 11 w 96"/>
              <a:gd name="T83" fmla="*/ 90 h 92"/>
              <a:gd name="T84" fmla="*/ 19 w 96"/>
              <a:gd name="T85" fmla="*/ 91 h 92"/>
              <a:gd name="T86" fmla="*/ 50 w 96"/>
              <a:gd name="T87" fmla="*/ 72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96" h="92">
                <a:moveTo>
                  <a:pt x="50" y="72"/>
                </a:moveTo>
                <a:lnTo>
                  <a:pt x="61" y="65"/>
                </a:lnTo>
                <a:lnTo>
                  <a:pt x="64" y="61"/>
                </a:lnTo>
                <a:lnTo>
                  <a:pt x="67" y="60"/>
                </a:lnTo>
                <a:lnTo>
                  <a:pt x="74" y="57"/>
                </a:lnTo>
                <a:lnTo>
                  <a:pt x="76" y="55"/>
                </a:lnTo>
                <a:lnTo>
                  <a:pt x="77" y="54"/>
                </a:lnTo>
                <a:lnTo>
                  <a:pt x="81" y="52"/>
                </a:lnTo>
                <a:lnTo>
                  <a:pt x="83" y="46"/>
                </a:lnTo>
                <a:lnTo>
                  <a:pt x="82" y="36"/>
                </a:lnTo>
                <a:lnTo>
                  <a:pt x="81" y="17"/>
                </a:lnTo>
                <a:lnTo>
                  <a:pt x="88" y="14"/>
                </a:lnTo>
                <a:lnTo>
                  <a:pt x="92" y="6"/>
                </a:lnTo>
                <a:lnTo>
                  <a:pt x="96" y="2"/>
                </a:lnTo>
                <a:lnTo>
                  <a:pt x="93" y="4"/>
                </a:lnTo>
                <a:lnTo>
                  <a:pt x="93" y="2"/>
                </a:lnTo>
                <a:lnTo>
                  <a:pt x="93" y="1"/>
                </a:lnTo>
                <a:lnTo>
                  <a:pt x="92" y="0"/>
                </a:lnTo>
                <a:lnTo>
                  <a:pt x="91" y="0"/>
                </a:lnTo>
                <a:lnTo>
                  <a:pt x="88" y="2"/>
                </a:lnTo>
                <a:lnTo>
                  <a:pt x="84" y="4"/>
                </a:lnTo>
                <a:lnTo>
                  <a:pt x="75" y="5"/>
                </a:lnTo>
                <a:lnTo>
                  <a:pt x="72" y="4"/>
                </a:lnTo>
                <a:lnTo>
                  <a:pt x="70" y="4"/>
                </a:lnTo>
                <a:lnTo>
                  <a:pt x="65" y="5"/>
                </a:lnTo>
                <a:lnTo>
                  <a:pt x="63" y="7"/>
                </a:lnTo>
                <a:lnTo>
                  <a:pt x="61" y="8"/>
                </a:lnTo>
                <a:lnTo>
                  <a:pt x="57" y="9"/>
                </a:lnTo>
                <a:lnTo>
                  <a:pt x="56" y="10"/>
                </a:lnTo>
                <a:lnTo>
                  <a:pt x="47" y="11"/>
                </a:lnTo>
                <a:lnTo>
                  <a:pt x="40" y="10"/>
                </a:lnTo>
                <a:lnTo>
                  <a:pt x="36" y="8"/>
                </a:lnTo>
                <a:lnTo>
                  <a:pt x="34" y="7"/>
                </a:lnTo>
                <a:lnTo>
                  <a:pt x="31" y="8"/>
                </a:lnTo>
                <a:lnTo>
                  <a:pt x="29" y="9"/>
                </a:lnTo>
                <a:lnTo>
                  <a:pt x="25" y="10"/>
                </a:lnTo>
                <a:lnTo>
                  <a:pt x="23" y="11"/>
                </a:lnTo>
                <a:lnTo>
                  <a:pt x="22" y="12"/>
                </a:lnTo>
                <a:lnTo>
                  <a:pt x="17" y="11"/>
                </a:lnTo>
                <a:lnTo>
                  <a:pt x="15" y="12"/>
                </a:lnTo>
                <a:lnTo>
                  <a:pt x="15" y="11"/>
                </a:lnTo>
                <a:lnTo>
                  <a:pt x="15" y="11"/>
                </a:lnTo>
                <a:lnTo>
                  <a:pt x="15" y="11"/>
                </a:lnTo>
                <a:lnTo>
                  <a:pt x="15" y="10"/>
                </a:lnTo>
                <a:lnTo>
                  <a:pt x="13" y="10"/>
                </a:lnTo>
                <a:lnTo>
                  <a:pt x="11" y="9"/>
                </a:lnTo>
                <a:lnTo>
                  <a:pt x="10" y="9"/>
                </a:lnTo>
                <a:lnTo>
                  <a:pt x="9" y="11"/>
                </a:lnTo>
                <a:lnTo>
                  <a:pt x="7" y="12"/>
                </a:lnTo>
                <a:lnTo>
                  <a:pt x="9" y="14"/>
                </a:lnTo>
                <a:lnTo>
                  <a:pt x="7" y="16"/>
                </a:lnTo>
                <a:lnTo>
                  <a:pt x="11" y="19"/>
                </a:lnTo>
                <a:lnTo>
                  <a:pt x="11" y="19"/>
                </a:lnTo>
                <a:lnTo>
                  <a:pt x="11" y="20"/>
                </a:lnTo>
                <a:lnTo>
                  <a:pt x="9" y="20"/>
                </a:lnTo>
                <a:lnTo>
                  <a:pt x="6" y="20"/>
                </a:lnTo>
                <a:lnTo>
                  <a:pt x="6" y="21"/>
                </a:lnTo>
                <a:lnTo>
                  <a:pt x="6" y="24"/>
                </a:lnTo>
                <a:lnTo>
                  <a:pt x="5" y="26"/>
                </a:lnTo>
                <a:lnTo>
                  <a:pt x="4" y="26"/>
                </a:lnTo>
                <a:lnTo>
                  <a:pt x="4" y="27"/>
                </a:lnTo>
                <a:lnTo>
                  <a:pt x="2" y="26"/>
                </a:lnTo>
                <a:lnTo>
                  <a:pt x="1" y="25"/>
                </a:lnTo>
                <a:lnTo>
                  <a:pt x="0" y="25"/>
                </a:lnTo>
                <a:lnTo>
                  <a:pt x="0" y="28"/>
                </a:lnTo>
                <a:lnTo>
                  <a:pt x="0" y="31"/>
                </a:lnTo>
                <a:lnTo>
                  <a:pt x="1" y="32"/>
                </a:lnTo>
                <a:lnTo>
                  <a:pt x="2" y="37"/>
                </a:lnTo>
                <a:lnTo>
                  <a:pt x="3" y="41"/>
                </a:lnTo>
                <a:lnTo>
                  <a:pt x="2" y="45"/>
                </a:lnTo>
                <a:lnTo>
                  <a:pt x="3" y="48"/>
                </a:lnTo>
                <a:lnTo>
                  <a:pt x="9" y="48"/>
                </a:lnTo>
                <a:lnTo>
                  <a:pt x="9" y="47"/>
                </a:lnTo>
                <a:lnTo>
                  <a:pt x="10" y="47"/>
                </a:lnTo>
                <a:lnTo>
                  <a:pt x="10" y="48"/>
                </a:lnTo>
                <a:lnTo>
                  <a:pt x="11" y="48"/>
                </a:lnTo>
                <a:lnTo>
                  <a:pt x="12" y="48"/>
                </a:lnTo>
                <a:lnTo>
                  <a:pt x="12" y="49"/>
                </a:lnTo>
                <a:lnTo>
                  <a:pt x="11" y="49"/>
                </a:lnTo>
                <a:lnTo>
                  <a:pt x="11" y="49"/>
                </a:lnTo>
                <a:lnTo>
                  <a:pt x="10" y="50"/>
                </a:lnTo>
                <a:lnTo>
                  <a:pt x="10" y="50"/>
                </a:lnTo>
                <a:lnTo>
                  <a:pt x="12" y="50"/>
                </a:lnTo>
                <a:lnTo>
                  <a:pt x="12" y="52"/>
                </a:lnTo>
                <a:lnTo>
                  <a:pt x="14" y="52"/>
                </a:lnTo>
                <a:lnTo>
                  <a:pt x="13" y="54"/>
                </a:lnTo>
                <a:lnTo>
                  <a:pt x="14" y="55"/>
                </a:lnTo>
                <a:lnTo>
                  <a:pt x="14" y="56"/>
                </a:lnTo>
                <a:lnTo>
                  <a:pt x="15" y="57"/>
                </a:lnTo>
                <a:lnTo>
                  <a:pt x="14" y="57"/>
                </a:lnTo>
                <a:lnTo>
                  <a:pt x="14" y="58"/>
                </a:lnTo>
                <a:lnTo>
                  <a:pt x="14" y="58"/>
                </a:lnTo>
                <a:lnTo>
                  <a:pt x="12" y="59"/>
                </a:lnTo>
                <a:lnTo>
                  <a:pt x="11" y="60"/>
                </a:lnTo>
                <a:lnTo>
                  <a:pt x="11" y="61"/>
                </a:lnTo>
                <a:lnTo>
                  <a:pt x="11" y="61"/>
                </a:lnTo>
                <a:lnTo>
                  <a:pt x="10" y="62"/>
                </a:lnTo>
                <a:lnTo>
                  <a:pt x="12" y="62"/>
                </a:lnTo>
                <a:lnTo>
                  <a:pt x="12" y="64"/>
                </a:lnTo>
                <a:lnTo>
                  <a:pt x="12" y="64"/>
                </a:lnTo>
                <a:lnTo>
                  <a:pt x="12" y="64"/>
                </a:lnTo>
                <a:lnTo>
                  <a:pt x="11" y="64"/>
                </a:lnTo>
                <a:lnTo>
                  <a:pt x="6" y="64"/>
                </a:lnTo>
                <a:lnTo>
                  <a:pt x="6" y="65"/>
                </a:lnTo>
                <a:lnTo>
                  <a:pt x="5" y="66"/>
                </a:lnTo>
                <a:lnTo>
                  <a:pt x="5" y="67"/>
                </a:lnTo>
                <a:lnTo>
                  <a:pt x="5" y="68"/>
                </a:lnTo>
                <a:lnTo>
                  <a:pt x="6" y="68"/>
                </a:lnTo>
                <a:lnTo>
                  <a:pt x="6" y="69"/>
                </a:lnTo>
                <a:lnTo>
                  <a:pt x="6" y="69"/>
                </a:lnTo>
                <a:lnTo>
                  <a:pt x="5" y="71"/>
                </a:lnTo>
                <a:lnTo>
                  <a:pt x="4" y="72"/>
                </a:lnTo>
                <a:lnTo>
                  <a:pt x="3" y="73"/>
                </a:lnTo>
                <a:lnTo>
                  <a:pt x="2" y="73"/>
                </a:lnTo>
                <a:lnTo>
                  <a:pt x="0" y="75"/>
                </a:lnTo>
                <a:lnTo>
                  <a:pt x="1" y="78"/>
                </a:lnTo>
                <a:lnTo>
                  <a:pt x="0" y="79"/>
                </a:lnTo>
                <a:lnTo>
                  <a:pt x="1" y="80"/>
                </a:lnTo>
                <a:lnTo>
                  <a:pt x="1" y="81"/>
                </a:lnTo>
                <a:lnTo>
                  <a:pt x="1" y="83"/>
                </a:lnTo>
                <a:lnTo>
                  <a:pt x="0" y="85"/>
                </a:lnTo>
                <a:lnTo>
                  <a:pt x="3" y="83"/>
                </a:lnTo>
                <a:lnTo>
                  <a:pt x="4" y="85"/>
                </a:lnTo>
                <a:lnTo>
                  <a:pt x="6" y="87"/>
                </a:lnTo>
                <a:lnTo>
                  <a:pt x="9" y="88"/>
                </a:lnTo>
                <a:lnTo>
                  <a:pt x="11" y="90"/>
                </a:lnTo>
                <a:lnTo>
                  <a:pt x="13" y="91"/>
                </a:lnTo>
                <a:lnTo>
                  <a:pt x="16" y="92"/>
                </a:lnTo>
                <a:lnTo>
                  <a:pt x="19" y="91"/>
                </a:lnTo>
                <a:lnTo>
                  <a:pt x="31" y="83"/>
                </a:lnTo>
                <a:lnTo>
                  <a:pt x="36" y="80"/>
                </a:lnTo>
                <a:lnTo>
                  <a:pt x="50" y="7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48" name="Freeform 1248"/>
          <p:cNvSpPr>
            <a:spLocks/>
          </p:cNvSpPr>
          <p:nvPr/>
        </p:nvSpPr>
        <p:spPr bwMode="auto">
          <a:xfrm>
            <a:off x="5199062" y="2647915"/>
            <a:ext cx="538162" cy="479425"/>
          </a:xfrm>
          <a:custGeom>
            <a:avLst/>
            <a:gdLst>
              <a:gd name="T0" fmla="*/ 191 w 339"/>
              <a:gd name="T1" fmla="*/ 58 h 302"/>
              <a:gd name="T2" fmla="*/ 203 w 339"/>
              <a:gd name="T3" fmla="*/ 67 h 302"/>
              <a:gd name="T4" fmla="*/ 215 w 339"/>
              <a:gd name="T5" fmla="*/ 72 h 302"/>
              <a:gd name="T6" fmla="*/ 220 w 339"/>
              <a:gd name="T7" fmla="*/ 79 h 302"/>
              <a:gd name="T8" fmla="*/ 229 w 339"/>
              <a:gd name="T9" fmla="*/ 87 h 302"/>
              <a:gd name="T10" fmla="*/ 229 w 339"/>
              <a:gd name="T11" fmla="*/ 89 h 302"/>
              <a:gd name="T12" fmla="*/ 234 w 339"/>
              <a:gd name="T13" fmla="*/ 95 h 302"/>
              <a:gd name="T14" fmla="*/ 242 w 339"/>
              <a:gd name="T15" fmla="*/ 100 h 302"/>
              <a:gd name="T16" fmla="*/ 245 w 339"/>
              <a:gd name="T17" fmla="*/ 107 h 302"/>
              <a:gd name="T18" fmla="*/ 244 w 339"/>
              <a:gd name="T19" fmla="*/ 113 h 302"/>
              <a:gd name="T20" fmla="*/ 252 w 339"/>
              <a:gd name="T21" fmla="*/ 125 h 302"/>
              <a:gd name="T22" fmla="*/ 255 w 339"/>
              <a:gd name="T23" fmla="*/ 134 h 302"/>
              <a:gd name="T24" fmla="*/ 258 w 339"/>
              <a:gd name="T25" fmla="*/ 136 h 302"/>
              <a:gd name="T26" fmla="*/ 263 w 339"/>
              <a:gd name="T27" fmla="*/ 145 h 302"/>
              <a:gd name="T28" fmla="*/ 327 w 339"/>
              <a:gd name="T29" fmla="*/ 177 h 302"/>
              <a:gd name="T30" fmla="*/ 331 w 339"/>
              <a:gd name="T31" fmla="*/ 222 h 302"/>
              <a:gd name="T32" fmla="*/ 199 w 339"/>
              <a:gd name="T33" fmla="*/ 302 h 302"/>
              <a:gd name="T34" fmla="*/ 159 w 339"/>
              <a:gd name="T35" fmla="*/ 276 h 302"/>
              <a:gd name="T36" fmla="*/ 150 w 339"/>
              <a:gd name="T37" fmla="*/ 280 h 302"/>
              <a:gd name="T38" fmla="*/ 146 w 339"/>
              <a:gd name="T39" fmla="*/ 285 h 302"/>
              <a:gd name="T40" fmla="*/ 140 w 339"/>
              <a:gd name="T41" fmla="*/ 286 h 302"/>
              <a:gd name="T42" fmla="*/ 136 w 339"/>
              <a:gd name="T43" fmla="*/ 275 h 302"/>
              <a:gd name="T44" fmla="*/ 127 w 339"/>
              <a:gd name="T45" fmla="*/ 262 h 302"/>
              <a:gd name="T46" fmla="*/ 119 w 339"/>
              <a:gd name="T47" fmla="*/ 254 h 302"/>
              <a:gd name="T48" fmla="*/ 114 w 339"/>
              <a:gd name="T49" fmla="*/ 245 h 302"/>
              <a:gd name="T50" fmla="*/ 111 w 339"/>
              <a:gd name="T51" fmla="*/ 235 h 302"/>
              <a:gd name="T52" fmla="*/ 106 w 339"/>
              <a:gd name="T53" fmla="*/ 228 h 302"/>
              <a:gd name="T54" fmla="*/ 100 w 339"/>
              <a:gd name="T55" fmla="*/ 221 h 302"/>
              <a:gd name="T56" fmla="*/ 93 w 339"/>
              <a:gd name="T57" fmla="*/ 217 h 302"/>
              <a:gd name="T58" fmla="*/ 84 w 339"/>
              <a:gd name="T59" fmla="*/ 211 h 302"/>
              <a:gd name="T60" fmla="*/ 80 w 339"/>
              <a:gd name="T61" fmla="*/ 202 h 302"/>
              <a:gd name="T62" fmla="*/ 76 w 339"/>
              <a:gd name="T63" fmla="*/ 186 h 302"/>
              <a:gd name="T64" fmla="*/ 78 w 339"/>
              <a:gd name="T65" fmla="*/ 179 h 302"/>
              <a:gd name="T66" fmla="*/ 73 w 339"/>
              <a:gd name="T67" fmla="*/ 171 h 302"/>
              <a:gd name="T68" fmla="*/ 70 w 339"/>
              <a:gd name="T69" fmla="*/ 164 h 302"/>
              <a:gd name="T70" fmla="*/ 60 w 339"/>
              <a:gd name="T71" fmla="*/ 149 h 302"/>
              <a:gd name="T72" fmla="*/ 56 w 339"/>
              <a:gd name="T73" fmla="*/ 146 h 302"/>
              <a:gd name="T74" fmla="*/ 51 w 339"/>
              <a:gd name="T75" fmla="*/ 144 h 302"/>
              <a:gd name="T76" fmla="*/ 49 w 339"/>
              <a:gd name="T77" fmla="*/ 141 h 302"/>
              <a:gd name="T78" fmla="*/ 45 w 339"/>
              <a:gd name="T79" fmla="*/ 134 h 302"/>
              <a:gd name="T80" fmla="*/ 40 w 339"/>
              <a:gd name="T81" fmla="*/ 121 h 302"/>
              <a:gd name="T82" fmla="*/ 35 w 339"/>
              <a:gd name="T83" fmla="*/ 116 h 302"/>
              <a:gd name="T84" fmla="*/ 27 w 339"/>
              <a:gd name="T85" fmla="*/ 101 h 302"/>
              <a:gd name="T86" fmla="*/ 19 w 339"/>
              <a:gd name="T87" fmla="*/ 93 h 302"/>
              <a:gd name="T88" fmla="*/ 13 w 339"/>
              <a:gd name="T89" fmla="*/ 84 h 302"/>
              <a:gd name="T90" fmla="*/ 5 w 339"/>
              <a:gd name="T91" fmla="*/ 75 h 302"/>
              <a:gd name="T92" fmla="*/ 1 w 339"/>
              <a:gd name="T93" fmla="*/ 75 h 302"/>
              <a:gd name="T94" fmla="*/ 2 w 339"/>
              <a:gd name="T95" fmla="*/ 62 h 302"/>
              <a:gd name="T96" fmla="*/ 3 w 339"/>
              <a:gd name="T97" fmla="*/ 52 h 302"/>
              <a:gd name="T98" fmla="*/ 26 w 339"/>
              <a:gd name="T99" fmla="*/ 52 h 302"/>
              <a:gd name="T100" fmla="*/ 41 w 339"/>
              <a:gd name="T101" fmla="*/ 40 h 302"/>
              <a:gd name="T102" fmla="*/ 48 w 339"/>
              <a:gd name="T103" fmla="*/ 30 h 302"/>
              <a:gd name="T104" fmla="*/ 29 w 339"/>
              <a:gd name="T105" fmla="*/ 13 h 302"/>
              <a:gd name="T106" fmla="*/ 62 w 339"/>
              <a:gd name="T107" fmla="*/ 0 h 302"/>
              <a:gd name="T108" fmla="*/ 122 w 339"/>
              <a:gd name="T109" fmla="*/ 26 h 302"/>
              <a:gd name="T110" fmla="*/ 134 w 339"/>
              <a:gd name="T111" fmla="*/ 34 h 302"/>
              <a:gd name="T112" fmla="*/ 138 w 339"/>
              <a:gd name="T113" fmla="*/ 46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39" h="302">
                <a:moveTo>
                  <a:pt x="184" y="57"/>
                </a:moveTo>
                <a:lnTo>
                  <a:pt x="185" y="57"/>
                </a:lnTo>
                <a:lnTo>
                  <a:pt x="191" y="58"/>
                </a:lnTo>
                <a:lnTo>
                  <a:pt x="198" y="60"/>
                </a:lnTo>
                <a:lnTo>
                  <a:pt x="200" y="63"/>
                </a:lnTo>
                <a:lnTo>
                  <a:pt x="203" y="67"/>
                </a:lnTo>
                <a:lnTo>
                  <a:pt x="212" y="67"/>
                </a:lnTo>
                <a:lnTo>
                  <a:pt x="213" y="68"/>
                </a:lnTo>
                <a:lnTo>
                  <a:pt x="215" y="72"/>
                </a:lnTo>
                <a:lnTo>
                  <a:pt x="215" y="73"/>
                </a:lnTo>
                <a:lnTo>
                  <a:pt x="217" y="75"/>
                </a:lnTo>
                <a:lnTo>
                  <a:pt x="220" y="79"/>
                </a:lnTo>
                <a:lnTo>
                  <a:pt x="222" y="80"/>
                </a:lnTo>
                <a:lnTo>
                  <a:pt x="224" y="84"/>
                </a:lnTo>
                <a:lnTo>
                  <a:pt x="229" y="87"/>
                </a:lnTo>
                <a:lnTo>
                  <a:pt x="229" y="87"/>
                </a:lnTo>
                <a:lnTo>
                  <a:pt x="229" y="88"/>
                </a:lnTo>
                <a:lnTo>
                  <a:pt x="229" y="89"/>
                </a:lnTo>
                <a:lnTo>
                  <a:pt x="230" y="93"/>
                </a:lnTo>
                <a:lnTo>
                  <a:pt x="233" y="94"/>
                </a:lnTo>
                <a:lnTo>
                  <a:pt x="234" y="95"/>
                </a:lnTo>
                <a:lnTo>
                  <a:pt x="239" y="97"/>
                </a:lnTo>
                <a:lnTo>
                  <a:pt x="241" y="99"/>
                </a:lnTo>
                <a:lnTo>
                  <a:pt x="242" y="100"/>
                </a:lnTo>
                <a:lnTo>
                  <a:pt x="242" y="101"/>
                </a:lnTo>
                <a:lnTo>
                  <a:pt x="242" y="104"/>
                </a:lnTo>
                <a:lnTo>
                  <a:pt x="245" y="107"/>
                </a:lnTo>
                <a:lnTo>
                  <a:pt x="245" y="109"/>
                </a:lnTo>
                <a:lnTo>
                  <a:pt x="245" y="111"/>
                </a:lnTo>
                <a:lnTo>
                  <a:pt x="244" y="113"/>
                </a:lnTo>
                <a:lnTo>
                  <a:pt x="244" y="116"/>
                </a:lnTo>
                <a:lnTo>
                  <a:pt x="248" y="119"/>
                </a:lnTo>
                <a:lnTo>
                  <a:pt x="252" y="125"/>
                </a:lnTo>
                <a:lnTo>
                  <a:pt x="253" y="130"/>
                </a:lnTo>
                <a:lnTo>
                  <a:pt x="255" y="131"/>
                </a:lnTo>
                <a:lnTo>
                  <a:pt x="255" y="134"/>
                </a:lnTo>
                <a:lnTo>
                  <a:pt x="256" y="135"/>
                </a:lnTo>
                <a:lnTo>
                  <a:pt x="256" y="136"/>
                </a:lnTo>
                <a:lnTo>
                  <a:pt x="258" y="136"/>
                </a:lnTo>
                <a:lnTo>
                  <a:pt x="260" y="139"/>
                </a:lnTo>
                <a:lnTo>
                  <a:pt x="262" y="140"/>
                </a:lnTo>
                <a:lnTo>
                  <a:pt x="263" y="145"/>
                </a:lnTo>
                <a:lnTo>
                  <a:pt x="273" y="154"/>
                </a:lnTo>
                <a:lnTo>
                  <a:pt x="280" y="168"/>
                </a:lnTo>
                <a:lnTo>
                  <a:pt x="327" y="177"/>
                </a:lnTo>
                <a:lnTo>
                  <a:pt x="330" y="174"/>
                </a:lnTo>
                <a:lnTo>
                  <a:pt x="339" y="186"/>
                </a:lnTo>
                <a:lnTo>
                  <a:pt x="331" y="222"/>
                </a:lnTo>
                <a:lnTo>
                  <a:pt x="285" y="240"/>
                </a:lnTo>
                <a:lnTo>
                  <a:pt x="235" y="254"/>
                </a:lnTo>
                <a:lnTo>
                  <a:pt x="199" y="302"/>
                </a:lnTo>
                <a:lnTo>
                  <a:pt x="198" y="282"/>
                </a:lnTo>
                <a:lnTo>
                  <a:pt x="169" y="271"/>
                </a:lnTo>
                <a:lnTo>
                  <a:pt x="159" y="276"/>
                </a:lnTo>
                <a:lnTo>
                  <a:pt x="152" y="276"/>
                </a:lnTo>
                <a:lnTo>
                  <a:pt x="151" y="278"/>
                </a:lnTo>
                <a:lnTo>
                  <a:pt x="150" y="280"/>
                </a:lnTo>
                <a:lnTo>
                  <a:pt x="148" y="281"/>
                </a:lnTo>
                <a:lnTo>
                  <a:pt x="146" y="282"/>
                </a:lnTo>
                <a:lnTo>
                  <a:pt x="146" y="285"/>
                </a:lnTo>
                <a:lnTo>
                  <a:pt x="144" y="287"/>
                </a:lnTo>
                <a:lnTo>
                  <a:pt x="141" y="288"/>
                </a:lnTo>
                <a:lnTo>
                  <a:pt x="140" y="286"/>
                </a:lnTo>
                <a:lnTo>
                  <a:pt x="140" y="282"/>
                </a:lnTo>
                <a:lnTo>
                  <a:pt x="137" y="276"/>
                </a:lnTo>
                <a:lnTo>
                  <a:pt x="136" y="275"/>
                </a:lnTo>
                <a:lnTo>
                  <a:pt x="134" y="274"/>
                </a:lnTo>
                <a:lnTo>
                  <a:pt x="132" y="268"/>
                </a:lnTo>
                <a:lnTo>
                  <a:pt x="127" y="262"/>
                </a:lnTo>
                <a:lnTo>
                  <a:pt x="124" y="260"/>
                </a:lnTo>
                <a:lnTo>
                  <a:pt x="123" y="259"/>
                </a:lnTo>
                <a:lnTo>
                  <a:pt x="119" y="254"/>
                </a:lnTo>
                <a:lnTo>
                  <a:pt x="116" y="247"/>
                </a:lnTo>
                <a:lnTo>
                  <a:pt x="114" y="246"/>
                </a:lnTo>
                <a:lnTo>
                  <a:pt x="114" y="245"/>
                </a:lnTo>
                <a:lnTo>
                  <a:pt x="113" y="241"/>
                </a:lnTo>
                <a:lnTo>
                  <a:pt x="112" y="238"/>
                </a:lnTo>
                <a:lnTo>
                  <a:pt x="111" y="235"/>
                </a:lnTo>
                <a:lnTo>
                  <a:pt x="109" y="231"/>
                </a:lnTo>
                <a:lnTo>
                  <a:pt x="107" y="229"/>
                </a:lnTo>
                <a:lnTo>
                  <a:pt x="106" y="228"/>
                </a:lnTo>
                <a:lnTo>
                  <a:pt x="104" y="227"/>
                </a:lnTo>
                <a:lnTo>
                  <a:pt x="102" y="222"/>
                </a:lnTo>
                <a:lnTo>
                  <a:pt x="100" y="221"/>
                </a:lnTo>
                <a:lnTo>
                  <a:pt x="96" y="218"/>
                </a:lnTo>
                <a:lnTo>
                  <a:pt x="93" y="217"/>
                </a:lnTo>
                <a:lnTo>
                  <a:pt x="93" y="217"/>
                </a:lnTo>
                <a:lnTo>
                  <a:pt x="91" y="216"/>
                </a:lnTo>
                <a:lnTo>
                  <a:pt x="87" y="214"/>
                </a:lnTo>
                <a:lnTo>
                  <a:pt x="84" y="211"/>
                </a:lnTo>
                <a:lnTo>
                  <a:pt x="83" y="210"/>
                </a:lnTo>
                <a:lnTo>
                  <a:pt x="81" y="206"/>
                </a:lnTo>
                <a:lnTo>
                  <a:pt x="80" y="202"/>
                </a:lnTo>
                <a:lnTo>
                  <a:pt x="78" y="189"/>
                </a:lnTo>
                <a:lnTo>
                  <a:pt x="77" y="188"/>
                </a:lnTo>
                <a:lnTo>
                  <a:pt x="76" y="186"/>
                </a:lnTo>
                <a:lnTo>
                  <a:pt x="77" y="185"/>
                </a:lnTo>
                <a:lnTo>
                  <a:pt x="77" y="183"/>
                </a:lnTo>
                <a:lnTo>
                  <a:pt x="78" y="179"/>
                </a:lnTo>
                <a:lnTo>
                  <a:pt x="76" y="175"/>
                </a:lnTo>
                <a:lnTo>
                  <a:pt x="74" y="173"/>
                </a:lnTo>
                <a:lnTo>
                  <a:pt x="73" y="171"/>
                </a:lnTo>
                <a:lnTo>
                  <a:pt x="72" y="168"/>
                </a:lnTo>
                <a:lnTo>
                  <a:pt x="71" y="165"/>
                </a:lnTo>
                <a:lnTo>
                  <a:pt x="70" y="164"/>
                </a:lnTo>
                <a:lnTo>
                  <a:pt x="69" y="160"/>
                </a:lnTo>
                <a:lnTo>
                  <a:pt x="65" y="154"/>
                </a:lnTo>
                <a:lnTo>
                  <a:pt x="60" y="149"/>
                </a:lnTo>
                <a:lnTo>
                  <a:pt x="58" y="147"/>
                </a:lnTo>
                <a:lnTo>
                  <a:pt x="57" y="146"/>
                </a:lnTo>
                <a:lnTo>
                  <a:pt x="56" y="146"/>
                </a:lnTo>
                <a:lnTo>
                  <a:pt x="56" y="145"/>
                </a:lnTo>
                <a:lnTo>
                  <a:pt x="53" y="144"/>
                </a:lnTo>
                <a:lnTo>
                  <a:pt x="51" y="144"/>
                </a:lnTo>
                <a:lnTo>
                  <a:pt x="50" y="144"/>
                </a:lnTo>
                <a:lnTo>
                  <a:pt x="49" y="144"/>
                </a:lnTo>
                <a:lnTo>
                  <a:pt x="49" y="141"/>
                </a:lnTo>
                <a:lnTo>
                  <a:pt x="47" y="139"/>
                </a:lnTo>
                <a:lnTo>
                  <a:pt x="45" y="136"/>
                </a:lnTo>
                <a:lnTo>
                  <a:pt x="45" y="134"/>
                </a:lnTo>
                <a:lnTo>
                  <a:pt x="45" y="133"/>
                </a:lnTo>
                <a:lnTo>
                  <a:pt x="41" y="124"/>
                </a:lnTo>
                <a:lnTo>
                  <a:pt x="40" y="121"/>
                </a:lnTo>
                <a:lnTo>
                  <a:pt x="38" y="118"/>
                </a:lnTo>
                <a:lnTo>
                  <a:pt x="36" y="117"/>
                </a:lnTo>
                <a:lnTo>
                  <a:pt x="35" y="116"/>
                </a:lnTo>
                <a:lnTo>
                  <a:pt x="33" y="114"/>
                </a:lnTo>
                <a:lnTo>
                  <a:pt x="30" y="109"/>
                </a:lnTo>
                <a:lnTo>
                  <a:pt x="27" y="101"/>
                </a:lnTo>
                <a:lnTo>
                  <a:pt x="25" y="99"/>
                </a:lnTo>
                <a:lnTo>
                  <a:pt x="22" y="98"/>
                </a:lnTo>
                <a:lnTo>
                  <a:pt x="19" y="93"/>
                </a:lnTo>
                <a:lnTo>
                  <a:pt x="18" y="91"/>
                </a:lnTo>
                <a:lnTo>
                  <a:pt x="16" y="88"/>
                </a:lnTo>
                <a:lnTo>
                  <a:pt x="13" y="84"/>
                </a:lnTo>
                <a:lnTo>
                  <a:pt x="9" y="76"/>
                </a:lnTo>
                <a:lnTo>
                  <a:pt x="8" y="75"/>
                </a:lnTo>
                <a:lnTo>
                  <a:pt x="5" y="75"/>
                </a:lnTo>
                <a:lnTo>
                  <a:pt x="2" y="75"/>
                </a:lnTo>
                <a:lnTo>
                  <a:pt x="2" y="74"/>
                </a:lnTo>
                <a:lnTo>
                  <a:pt x="1" y="75"/>
                </a:lnTo>
                <a:lnTo>
                  <a:pt x="0" y="76"/>
                </a:lnTo>
                <a:lnTo>
                  <a:pt x="2" y="67"/>
                </a:lnTo>
                <a:lnTo>
                  <a:pt x="2" y="62"/>
                </a:lnTo>
                <a:lnTo>
                  <a:pt x="2" y="58"/>
                </a:lnTo>
                <a:lnTo>
                  <a:pt x="3" y="56"/>
                </a:lnTo>
                <a:lnTo>
                  <a:pt x="3" y="52"/>
                </a:lnTo>
                <a:lnTo>
                  <a:pt x="3" y="54"/>
                </a:lnTo>
                <a:lnTo>
                  <a:pt x="21" y="56"/>
                </a:lnTo>
                <a:lnTo>
                  <a:pt x="26" y="52"/>
                </a:lnTo>
                <a:lnTo>
                  <a:pt x="26" y="50"/>
                </a:lnTo>
                <a:lnTo>
                  <a:pt x="29" y="43"/>
                </a:lnTo>
                <a:lnTo>
                  <a:pt x="41" y="40"/>
                </a:lnTo>
                <a:lnTo>
                  <a:pt x="41" y="38"/>
                </a:lnTo>
                <a:lnTo>
                  <a:pt x="42" y="34"/>
                </a:lnTo>
                <a:lnTo>
                  <a:pt x="48" y="30"/>
                </a:lnTo>
                <a:lnTo>
                  <a:pt x="48" y="29"/>
                </a:lnTo>
                <a:lnTo>
                  <a:pt x="32" y="15"/>
                </a:lnTo>
                <a:lnTo>
                  <a:pt x="29" y="13"/>
                </a:lnTo>
                <a:lnTo>
                  <a:pt x="40" y="9"/>
                </a:lnTo>
                <a:lnTo>
                  <a:pt x="59" y="6"/>
                </a:lnTo>
                <a:lnTo>
                  <a:pt x="62" y="0"/>
                </a:lnTo>
                <a:lnTo>
                  <a:pt x="87" y="7"/>
                </a:lnTo>
                <a:lnTo>
                  <a:pt x="106" y="20"/>
                </a:lnTo>
                <a:lnTo>
                  <a:pt x="122" y="26"/>
                </a:lnTo>
                <a:lnTo>
                  <a:pt x="123" y="27"/>
                </a:lnTo>
                <a:lnTo>
                  <a:pt x="127" y="33"/>
                </a:lnTo>
                <a:lnTo>
                  <a:pt x="134" y="34"/>
                </a:lnTo>
                <a:lnTo>
                  <a:pt x="136" y="35"/>
                </a:lnTo>
                <a:lnTo>
                  <a:pt x="137" y="46"/>
                </a:lnTo>
                <a:lnTo>
                  <a:pt x="138" y="46"/>
                </a:lnTo>
                <a:lnTo>
                  <a:pt x="157" y="55"/>
                </a:lnTo>
                <a:lnTo>
                  <a:pt x="184" y="57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49" name="Freeform 1249"/>
          <p:cNvSpPr>
            <a:spLocks/>
          </p:cNvSpPr>
          <p:nvPr/>
        </p:nvSpPr>
        <p:spPr bwMode="auto">
          <a:xfrm>
            <a:off x="5199062" y="2647915"/>
            <a:ext cx="538162" cy="479425"/>
          </a:xfrm>
          <a:custGeom>
            <a:avLst/>
            <a:gdLst>
              <a:gd name="T0" fmla="*/ 191 w 339"/>
              <a:gd name="T1" fmla="*/ 58 h 302"/>
              <a:gd name="T2" fmla="*/ 203 w 339"/>
              <a:gd name="T3" fmla="*/ 67 h 302"/>
              <a:gd name="T4" fmla="*/ 215 w 339"/>
              <a:gd name="T5" fmla="*/ 72 h 302"/>
              <a:gd name="T6" fmla="*/ 220 w 339"/>
              <a:gd name="T7" fmla="*/ 79 h 302"/>
              <a:gd name="T8" fmla="*/ 229 w 339"/>
              <a:gd name="T9" fmla="*/ 87 h 302"/>
              <a:gd name="T10" fmla="*/ 229 w 339"/>
              <a:gd name="T11" fmla="*/ 89 h 302"/>
              <a:gd name="T12" fmla="*/ 234 w 339"/>
              <a:gd name="T13" fmla="*/ 95 h 302"/>
              <a:gd name="T14" fmla="*/ 242 w 339"/>
              <a:gd name="T15" fmla="*/ 100 h 302"/>
              <a:gd name="T16" fmla="*/ 245 w 339"/>
              <a:gd name="T17" fmla="*/ 107 h 302"/>
              <a:gd name="T18" fmla="*/ 244 w 339"/>
              <a:gd name="T19" fmla="*/ 113 h 302"/>
              <a:gd name="T20" fmla="*/ 252 w 339"/>
              <a:gd name="T21" fmla="*/ 125 h 302"/>
              <a:gd name="T22" fmla="*/ 255 w 339"/>
              <a:gd name="T23" fmla="*/ 134 h 302"/>
              <a:gd name="T24" fmla="*/ 258 w 339"/>
              <a:gd name="T25" fmla="*/ 136 h 302"/>
              <a:gd name="T26" fmla="*/ 263 w 339"/>
              <a:gd name="T27" fmla="*/ 145 h 302"/>
              <a:gd name="T28" fmla="*/ 327 w 339"/>
              <a:gd name="T29" fmla="*/ 177 h 302"/>
              <a:gd name="T30" fmla="*/ 331 w 339"/>
              <a:gd name="T31" fmla="*/ 222 h 302"/>
              <a:gd name="T32" fmla="*/ 199 w 339"/>
              <a:gd name="T33" fmla="*/ 302 h 302"/>
              <a:gd name="T34" fmla="*/ 159 w 339"/>
              <a:gd name="T35" fmla="*/ 276 h 302"/>
              <a:gd name="T36" fmla="*/ 150 w 339"/>
              <a:gd name="T37" fmla="*/ 280 h 302"/>
              <a:gd name="T38" fmla="*/ 146 w 339"/>
              <a:gd name="T39" fmla="*/ 285 h 302"/>
              <a:gd name="T40" fmla="*/ 140 w 339"/>
              <a:gd name="T41" fmla="*/ 286 h 302"/>
              <a:gd name="T42" fmla="*/ 136 w 339"/>
              <a:gd name="T43" fmla="*/ 275 h 302"/>
              <a:gd name="T44" fmla="*/ 127 w 339"/>
              <a:gd name="T45" fmla="*/ 262 h 302"/>
              <a:gd name="T46" fmla="*/ 119 w 339"/>
              <a:gd name="T47" fmla="*/ 254 h 302"/>
              <a:gd name="T48" fmla="*/ 114 w 339"/>
              <a:gd name="T49" fmla="*/ 245 h 302"/>
              <a:gd name="T50" fmla="*/ 111 w 339"/>
              <a:gd name="T51" fmla="*/ 235 h 302"/>
              <a:gd name="T52" fmla="*/ 106 w 339"/>
              <a:gd name="T53" fmla="*/ 228 h 302"/>
              <a:gd name="T54" fmla="*/ 100 w 339"/>
              <a:gd name="T55" fmla="*/ 221 h 302"/>
              <a:gd name="T56" fmla="*/ 93 w 339"/>
              <a:gd name="T57" fmla="*/ 217 h 302"/>
              <a:gd name="T58" fmla="*/ 84 w 339"/>
              <a:gd name="T59" fmla="*/ 211 h 302"/>
              <a:gd name="T60" fmla="*/ 80 w 339"/>
              <a:gd name="T61" fmla="*/ 202 h 302"/>
              <a:gd name="T62" fmla="*/ 76 w 339"/>
              <a:gd name="T63" fmla="*/ 186 h 302"/>
              <a:gd name="T64" fmla="*/ 78 w 339"/>
              <a:gd name="T65" fmla="*/ 179 h 302"/>
              <a:gd name="T66" fmla="*/ 73 w 339"/>
              <a:gd name="T67" fmla="*/ 171 h 302"/>
              <a:gd name="T68" fmla="*/ 70 w 339"/>
              <a:gd name="T69" fmla="*/ 164 h 302"/>
              <a:gd name="T70" fmla="*/ 60 w 339"/>
              <a:gd name="T71" fmla="*/ 149 h 302"/>
              <a:gd name="T72" fmla="*/ 56 w 339"/>
              <a:gd name="T73" fmla="*/ 146 h 302"/>
              <a:gd name="T74" fmla="*/ 51 w 339"/>
              <a:gd name="T75" fmla="*/ 144 h 302"/>
              <a:gd name="T76" fmla="*/ 49 w 339"/>
              <a:gd name="T77" fmla="*/ 141 h 302"/>
              <a:gd name="T78" fmla="*/ 45 w 339"/>
              <a:gd name="T79" fmla="*/ 134 h 302"/>
              <a:gd name="T80" fmla="*/ 40 w 339"/>
              <a:gd name="T81" fmla="*/ 121 h 302"/>
              <a:gd name="T82" fmla="*/ 35 w 339"/>
              <a:gd name="T83" fmla="*/ 116 h 302"/>
              <a:gd name="T84" fmla="*/ 27 w 339"/>
              <a:gd name="T85" fmla="*/ 101 h 302"/>
              <a:gd name="T86" fmla="*/ 19 w 339"/>
              <a:gd name="T87" fmla="*/ 93 h 302"/>
              <a:gd name="T88" fmla="*/ 13 w 339"/>
              <a:gd name="T89" fmla="*/ 84 h 302"/>
              <a:gd name="T90" fmla="*/ 5 w 339"/>
              <a:gd name="T91" fmla="*/ 75 h 302"/>
              <a:gd name="T92" fmla="*/ 1 w 339"/>
              <a:gd name="T93" fmla="*/ 75 h 302"/>
              <a:gd name="T94" fmla="*/ 2 w 339"/>
              <a:gd name="T95" fmla="*/ 62 h 302"/>
              <a:gd name="T96" fmla="*/ 3 w 339"/>
              <a:gd name="T97" fmla="*/ 52 h 302"/>
              <a:gd name="T98" fmla="*/ 26 w 339"/>
              <a:gd name="T99" fmla="*/ 52 h 302"/>
              <a:gd name="T100" fmla="*/ 41 w 339"/>
              <a:gd name="T101" fmla="*/ 40 h 302"/>
              <a:gd name="T102" fmla="*/ 48 w 339"/>
              <a:gd name="T103" fmla="*/ 30 h 302"/>
              <a:gd name="T104" fmla="*/ 29 w 339"/>
              <a:gd name="T105" fmla="*/ 13 h 302"/>
              <a:gd name="T106" fmla="*/ 62 w 339"/>
              <a:gd name="T107" fmla="*/ 0 h 302"/>
              <a:gd name="T108" fmla="*/ 122 w 339"/>
              <a:gd name="T109" fmla="*/ 26 h 302"/>
              <a:gd name="T110" fmla="*/ 134 w 339"/>
              <a:gd name="T111" fmla="*/ 34 h 302"/>
              <a:gd name="T112" fmla="*/ 138 w 339"/>
              <a:gd name="T113" fmla="*/ 46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39" h="302">
                <a:moveTo>
                  <a:pt x="184" y="57"/>
                </a:moveTo>
                <a:lnTo>
                  <a:pt x="185" y="57"/>
                </a:lnTo>
                <a:lnTo>
                  <a:pt x="191" y="58"/>
                </a:lnTo>
                <a:lnTo>
                  <a:pt x="198" y="60"/>
                </a:lnTo>
                <a:lnTo>
                  <a:pt x="200" y="63"/>
                </a:lnTo>
                <a:lnTo>
                  <a:pt x="203" y="67"/>
                </a:lnTo>
                <a:lnTo>
                  <a:pt x="212" y="67"/>
                </a:lnTo>
                <a:lnTo>
                  <a:pt x="213" y="68"/>
                </a:lnTo>
                <a:lnTo>
                  <a:pt x="215" y="72"/>
                </a:lnTo>
                <a:lnTo>
                  <a:pt x="215" y="73"/>
                </a:lnTo>
                <a:lnTo>
                  <a:pt x="217" y="75"/>
                </a:lnTo>
                <a:lnTo>
                  <a:pt x="220" y="79"/>
                </a:lnTo>
                <a:lnTo>
                  <a:pt x="222" y="80"/>
                </a:lnTo>
                <a:lnTo>
                  <a:pt x="224" y="84"/>
                </a:lnTo>
                <a:lnTo>
                  <a:pt x="229" y="87"/>
                </a:lnTo>
                <a:lnTo>
                  <a:pt x="229" y="87"/>
                </a:lnTo>
                <a:lnTo>
                  <a:pt x="229" y="88"/>
                </a:lnTo>
                <a:lnTo>
                  <a:pt x="229" y="89"/>
                </a:lnTo>
                <a:lnTo>
                  <a:pt x="230" y="93"/>
                </a:lnTo>
                <a:lnTo>
                  <a:pt x="233" y="94"/>
                </a:lnTo>
                <a:lnTo>
                  <a:pt x="234" y="95"/>
                </a:lnTo>
                <a:lnTo>
                  <a:pt x="239" y="97"/>
                </a:lnTo>
                <a:lnTo>
                  <a:pt x="241" y="99"/>
                </a:lnTo>
                <a:lnTo>
                  <a:pt x="242" y="100"/>
                </a:lnTo>
                <a:lnTo>
                  <a:pt x="242" y="101"/>
                </a:lnTo>
                <a:lnTo>
                  <a:pt x="242" y="104"/>
                </a:lnTo>
                <a:lnTo>
                  <a:pt x="245" y="107"/>
                </a:lnTo>
                <a:lnTo>
                  <a:pt x="245" y="109"/>
                </a:lnTo>
                <a:lnTo>
                  <a:pt x="245" y="111"/>
                </a:lnTo>
                <a:lnTo>
                  <a:pt x="244" y="113"/>
                </a:lnTo>
                <a:lnTo>
                  <a:pt x="244" y="116"/>
                </a:lnTo>
                <a:lnTo>
                  <a:pt x="248" y="119"/>
                </a:lnTo>
                <a:lnTo>
                  <a:pt x="252" y="125"/>
                </a:lnTo>
                <a:lnTo>
                  <a:pt x="253" y="130"/>
                </a:lnTo>
                <a:lnTo>
                  <a:pt x="255" y="131"/>
                </a:lnTo>
                <a:lnTo>
                  <a:pt x="255" y="134"/>
                </a:lnTo>
                <a:lnTo>
                  <a:pt x="256" y="135"/>
                </a:lnTo>
                <a:lnTo>
                  <a:pt x="256" y="136"/>
                </a:lnTo>
                <a:lnTo>
                  <a:pt x="258" y="136"/>
                </a:lnTo>
                <a:lnTo>
                  <a:pt x="260" y="139"/>
                </a:lnTo>
                <a:lnTo>
                  <a:pt x="262" y="140"/>
                </a:lnTo>
                <a:lnTo>
                  <a:pt x="263" y="145"/>
                </a:lnTo>
                <a:lnTo>
                  <a:pt x="273" y="154"/>
                </a:lnTo>
                <a:lnTo>
                  <a:pt x="280" y="168"/>
                </a:lnTo>
                <a:lnTo>
                  <a:pt x="327" y="177"/>
                </a:lnTo>
                <a:lnTo>
                  <a:pt x="330" y="174"/>
                </a:lnTo>
                <a:lnTo>
                  <a:pt x="339" y="186"/>
                </a:lnTo>
                <a:lnTo>
                  <a:pt x="331" y="222"/>
                </a:lnTo>
                <a:lnTo>
                  <a:pt x="285" y="240"/>
                </a:lnTo>
                <a:lnTo>
                  <a:pt x="235" y="254"/>
                </a:lnTo>
                <a:lnTo>
                  <a:pt x="199" y="302"/>
                </a:lnTo>
                <a:lnTo>
                  <a:pt x="198" y="282"/>
                </a:lnTo>
                <a:lnTo>
                  <a:pt x="169" y="271"/>
                </a:lnTo>
                <a:lnTo>
                  <a:pt x="159" y="276"/>
                </a:lnTo>
                <a:lnTo>
                  <a:pt x="152" y="276"/>
                </a:lnTo>
                <a:lnTo>
                  <a:pt x="151" y="278"/>
                </a:lnTo>
                <a:lnTo>
                  <a:pt x="150" y="280"/>
                </a:lnTo>
                <a:lnTo>
                  <a:pt x="148" y="281"/>
                </a:lnTo>
                <a:lnTo>
                  <a:pt x="146" y="282"/>
                </a:lnTo>
                <a:lnTo>
                  <a:pt x="146" y="285"/>
                </a:lnTo>
                <a:lnTo>
                  <a:pt x="144" y="287"/>
                </a:lnTo>
                <a:lnTo>
                  <a:pt x="141" y="288"/>
                </a:lnTo>
                <a:lnTo>
                  <a:pt x="140" y="286"/>
                </a:lnTo>
                <a:lnTo>
                  <a:pt x="140" y="282"/>
                </a:lnTo>
                <a:lnTo>
                  <a:pt x="137" y="276"/>
                </a:lnTo>
                <a:lnTo>
                  <a:pt x="136" y="275"/>
                </a:lnTo>
                <a:lnTo>
                  <a:pt x="134" y="274"/>
                </a:lnTo>
                <a:lnTo>
                  <a:pt x="132" y="268"/>
                </a:lnTo>
                <a:lnTo>
                  <a:pt x="127" y="262"/>
                </a:lnTo>
                <a:lnTo>
                  <a:pt x="124" y="260"/>
                </a:lnTo>
                <a:lnTo>
                  <a:pt x="123" y="259"/>
                </a:lnTo>
                <a:lnTo>
                  <a:pt x="119" y="254"/>
                </a:lnTo>
                <a:lnTo>
                  <a:pt x="116" y="247"/>
                </a:lnTo>
                <a:lnTo>
                  <a:pt x="114" y="246"/>
                </a:lnTo>
                <a:lnTo>
                  <a:pt x="114" y="245"/>
                </a:lnTo>
                <a:lnTo>
                  <a:pt x="113" y="241"/>
                </a:lnTo>
                <a:lnTo>
                  <a:pt x="112" y="238"/>
                </a:lnTo>
                <a:lnTo>
                  <a:pt x="111" y="235"/>
                </a:lnTo>
                <a:lnTo>
                  <a:pt x="109" y="231"/>
                </a:lnTo>
                <a:lnTo>
                  <a:pt x="107" y="229"/>
                </a:lnTo>
                <a:lnTo>
                  <a:pt x="106" y="228"/>
                </a:lnTo>
                <a:lnTo>
                  <a:pt x="104" y="227"/>
                </a:lnTo>
                <a:lnTo>
                  <a:pt x="102" y="222"/>
                </a:lnTo>
                <a:lnTo>
                  <a:pt x="100" y="221"/>
                </a:lnTo>
                <a:lnTo>
                  <a:pt x="96" y="218"/>
                </a:lnTo>
                <a:lnTo>
                  <a:pt x="93" y="217"/>
                </a:lnTo>
                <a:lnTo>
                  <a:pt x="93" y="217"/>
                </a:lnTo>
                <a:lnTo>
                  <a:pt x="91" y="216"/>
                </a:lnTo>
                <a:lnTo>
                  <a:pt x="87" y="214"/>
                </a:lnTo>
                <a:lnTo>
                  <a:pt x="84" y="211"/>
                </a:lnTo>
                <a:lnTo>
                  <a:pt x="83" y="210"/>
                </a:lnTo>
                <a:lnTo>
                  <a:pt x="81" y="206"/>
                </a:lnTo>
                <a:lnTo>
                  <a:pt x="80" y="202"/>
                </a:lnTo>
                <a:lnTo>
                  <a:pt x="78" y="189"/>
                </a:lnTo>
                <a:lnTo>
                  <a:pt x="77" y="188"/>
                </a:lnTo>
                <a:lnTo>
                  <a:pt x="76" y="186"/>
                </a:lnTo>
                <a:lnTo>
                  <a:pt x="77" y="185"/>
                </a:lnTo>
                <a:lnTo>
                  <a:pt x="77" y="183"/>
                </a:lnTo>
                <a:lnTo>
                  <a:pt x="78" y="179"/>
                </a:lnTo>
                <a:lnTo>
                  <a:pt x="76" y="175"/>
                </a:lnTo>
                <a:lnTo>
                  <a:pt x="74" y="173"/>
                </a:lnTo>
                <a:lnTo>
                  <a:pt x="73" y="171"/>
                </a:lnTo>
                <a:lnTo>
                  <a:pt x="72" y="168"/>
                </a:lnTo>
                <a:lnTo>
                  <a:pt x="71" y="165"/>
                </a:lnTo>
                <a:lnTo>
                  <a:pt x="70" y="164"/>
                </a:lnTo>
                <a:lnTo>
                  <a:pt x="69" y="160"/>
                </a:lnTo>
                <a:lnTo>
                  <a:pt x="65" y="154"/>
                </a:lnTo>
                <a:lnTo>
                  <a:pt x="60" y="149"/>
                </a:lnTo>
                <a:lnTo>
                  <a:pt x="58" y="147"/>
                </a:lnTo>
                <a:lnTo>
                  <a:pt x="57" y="146"/>
                </a:lnTo>
                <a:lnTo>
                  <a:pt x="56" y="146"/>
                </a:lnTo>
                <a:lnTo>
                  <a:pt x="56" y="145"/>
                </a:lnTo>
                <a:lnTo>
                  <a:pt x="53" y="144"/>
                </a:lnTo>
                <a:lnTo>
                  <a:pt x="51" y="144"/>
                </a:lnTo>
                <a:lnTo>
                  <a:pt x="50" y="144"/>
                </a:lnTo>
                <a:lnTo>
                  <a:pt x="49" y="144"/>
                </a:lnTo>
                <a:lnTo>
                  <a:pt x="49" y="141"/>
                </a:lnTo>
                <a:lnTo>
                  <a:pt x="47" y="139"/>
                </a:lnTo>
                <a:lnTo>
                  <a:pt x="45" y="136"/>
                </a:lnTo>
                <a:lnTo>
                  <a:pt x="45" y="134"/>
                </a:lnTo>
                <a:lnTo>
                  <a:pt x="45" y="133"/>
                </a:lnTo>
                <a:lnTo>
                  <a:pt x="41" y="124"/>
                </a:lnTo>
                <a:lnTo>
                  <a:pt x="40" y="121"/>
                </a:lnTo>
                <a:lnTo>
                  <a:pt x="38" y="118"/>
                </a:lnTo>
                <a:lnTo>
                  <a:pt x="36" y="117"/>
                </a:lnTo>
                <a:lnTo>
                  <a:pt x="35" y="116"/>
                </a:lnTo>
                <a:lnTo>
                  <a:pt x="33" y="114"/>
                </a:lnTo>
                <a:lnTo>
                  <a:pt x="30" y="109"/>
                </a:lnTo>
                <a:lnTo>
                  <a:pt x="27" y="101"/>
                </a:lnTo>
                <a:lnTo>
                  <a:pt x="25" y="99"/>
                </a:lnTo>
                <a:lnTo>
                  <a:pt x="22" y="98"/>
                </a:lnTo>
                <a:lnTo>
                  <a:pt x="19" y="93"/>
                </a:lnTo>
                <a:lnTo>
                  <a:pt x="18" y="91"/>
                </a:lnTo>
                <a:lnTo>
                  <a:pt x="16" y="88"/>
                </a:lnTo>
                <a:lnTo>
                  <a:pt x="13" y="84"/>
                </a:lnTo>
                <a:lnTo>
                  <a:pt x="9" y="76"/>
                </a:lnTo>
                <a:lnTo>
                  <a:pt x="8" y="75"/>
                </a:lnTo>
                <a:lnTo>
                  <a:pt x="5" y="75"/>
                </a:lnTo>
                <a:lnTo>
                  <a:pt x="2" y="75"/>
                </a:lnTo>
                <a:lnTo>
                  <a:pt x="2" y="74"/>
                </a:lnTo>
                <a:lnTo>
                  <a:pt x="1" y="75"/>
                </a:lnTo>
                <a:lnTo>
                  <a:pt x="0" y="76"/>
                </a:lnTo>
                <a:lnTo>
                  <a:pt x="2" y="67"/>
                </a:lnTo>
                <a:lnTo>
                  <a:pt x="2" y="62"/>
                </a:lnTo>
                <a:lnTo>
                  <a:pt x="2" y="58"/>
                </a:lnTo>
                <a:lnTo>
                  <a:pt x="3" y="56"/>
                </a:lnTo>
                <a:lnTo>
                  <a:pt x="3" y="52"/>
                </a:lnTo>
                <a:lnTo>
                  <a:pt x="3" y="54"/>
                </a:lnTo>
                <a:lnTo>
                  <a:pt x="21" y="56"/>
                </a:lnTo>
                <a:lnTo>
                  <a:pt x="26" y="52"/>
                </a:lnTo>
                <a:lnTo>
                  <a:pt x="26" y="50"/>
                </a:lnTo>
                <a:lnTo>
                  <a:pt x="29" y="43"/>
                </a:lnTo>
                <a:lnTo>
                  <a:pt x="41" y="40"/>
                </a:lnTo>
                <a:lnTo>
                  <a:pt x="41" y="38"/>
                </a:lnTo>
                <a:lnTo>
                  <a:pt x="42" y="34"/>
                </a:lnTo>
                <a:lnTo>
                  <a:pt x="48" y="30"/>
                </a:lnTo>
                <a:lnTo>
                  <a:pt x="48" y="29"/>
                </a:lnTo>
                <a:lnTo>
                  <a:pt x="32" y="15"/>
                </a:lnTo>
                <a:lnTo>
                  <a:pt x="29" y="13"/>
                </a:lnTo>
                <a:lnTo>
                  <a:pt x="40" y="9"/>
                </a:lnTo>
                <a:lnTo>
                  <a:pt x="59" y="6"/>
                </a:lnTo>
                <a:lnTo>
                  <a:pt x="62" y="0"/>
                </a:lnTo>
                <a:lnTo>
                  <a:pt x="87" y="7"/>
                </a:lnTo>
                <a:lnTo>
                  <a:pt x="106" y="20"/>
                </a:lnTo>
                <a:lnTo>
                  <a:pt x="122" y="26"/>
                </a:lnTo>
                <a:lnTo>
                  <a:pt x="123" y="27"/>
                </a:lnTo>
                <a:lnTo>
                  <a:pt x="127" y="33"/>
                </a:lnTo>
                <a:lnTo>
                  <a:pt x="134" y="34"/>
                </a:lnTo>
                <a:lnTo>
                  <a:pt x="136" y="35"/>
                </a:lnTo>
                <a:lnTo>
                  <a:pt x="137" y="46"/>
                </a:lnTo>
                <a:lnTo>
                  <a:pt x="138" y="46"/>
                </a:lnTo>
                <a:lnTo>
                  <a:pt x="157" y="55"/>
                </a:lnTo>
                <a:lnTo>
                  <a:pt x="184" y="57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50" name="Freeform 1250"/>
          <p:cNvSpPr>
            <a:spLocks/>
          </p:cNvSpPr>
          <p:nvPr/>
        </p:nvSpPr>
        <p:spPr bwMode="auto">
          <a:xfrm>
            <a:off x="5805487" y="2466940"/>
            <a:ext cx="323850" cy="263525"/>
          </a:xfrm>
          <a:custGeom>
            <a:avLst/>
            <a:gdLst>
              <a:gd name="T0" fmla="*/ 29 w 204"/>
              <a:gd name="T1" fmla="*/ 133 h 166"/>
              <a:gd name="T2" fmla="*/ 12 w 204"/>
              <a:gd name="T3" fmla="*/ 122 h 166"/>
              <a:gd name="T4" fmla="*/ 5 w 204"/>
              <a:gd name="T5" fmla="*/ 101 h 166"/>
              <a:gd name="T6" fmla="*/ 1 w 204"/>
              <a:gd name="T7" fmla="*/ 81 h 166"/>
              <a:gd name="T8" fmla="*/ 8 w 204"/>
              <a:gd name="T9" fmla="*/ 60 h 166"/>
              <a:gd name="T10" fmla="*/ 11 w 204"/>
              <a:gd name="T11" fmla="*/ 56 h 166"/>
              <a:gd name="T12" fmla="*/ 24 w 204"/>
              <a:gd name="T13" fmla="*/ 59 h 166"/>
              <a:gd name="T14" fmla="*/ 34 w 204"/>
              <a:gd name="T15" fmla="*/ 57 h 166"/>
              <a:gd name="T16" fmla="*/ 34 w 204"/>
              <a:gd name="T17" fmla="*/ 49 h 166"/>
              <a:gd name="T18" fmla="*/ 44 w 204"/>
              <a:gd name="T19" fmla="*/ 45 h 166"/>
              <a:gd name="T20" fmla="*/ 53 w 204"/>
              <a:gd name="T21" fmla="*/ 38 h 166"/>
              <a:gd name="T22" fmla="*/ 53 w 204"/>
              <a:gd name="T23" fmla="*/ 26 h 166"/>
              <a:gd name="T24" fmla="*/ 60 w 204"/>
              <a:gd name="T25" fmla="*/ 22 h 166"/>
              <a:gd name="T26" fmla="*/ 64 w 204"/>
              <a:gd name="T27" fmla="*/ 18 h 166"/>
              <a:gd name="T28" fmla="*/ 79 w 204"/>
              <a:gd name="T29" fmla="*/ 21 h 166"/>
              <a:gd name="T30" fmla="*/ 96 w 204"/>
              <a:gd name="T31" fmla="*/ 22 h 166"/>
              <a:gd name="T32" fmla="*/ 106 w 204"/>
              <a:gd name="T33" fmla="*/ 26 h 166"/>
              <a:gd name="T34" fmla="*/ 114 w 204"/>
              <a:gd name="T35" fmla="*/ 22 h 166"/>
              <a:gd name="T36" fmla="*/ 123 w 204"/>
              <a:gd name="T37" fmla="*/ 23 h 166"/>
              <a:gd name="T38" fmla="*/ 123 w 204"/>
              <a:gd name="T39" fmla="*/ 16 h 166"/>
              <a:gd name="T40" fmla="*/ 132 w 204"/>
              <a:gd name="T41" fmla="*/ 18 h 166"/>
              <a:gd name="T42" fmla="*/ 133 w 204"/>
              <a:gd name="T43" fmla="*/ 8 h 166"/>
              <a:gd name="T44" fmla="*/ 137 w 204"/>
              <a:gd name="T45" fmla="*/ 1 h 166"/>
              <a:gd name="T46" fmla="*/ 146 w 204"/>
              <a:gd name="T47" fmla="*/ 8 h 166"/>
              <a:gd name="T48" fmla="*/ 151 w 204"/>
              <a:gd name="T49" fmla="*/ 11 h 166"/>
              <a:gd name="T50" fmla="*/ 152 w 204"/>
              <a:gd name="T51" fmla="*/ 17 h 166"/>
              <a:gd name="T52" fmla="*/ 154 w 204"/>
              <a:gd name="T53" fmla="*/ 27 h 166"/>
              <a:gd name="T54" fmla="*/ 162 w 204"/>
              <a:gd name="T55" fmla="*/ 33 h 166"/>
              <a:gd name="T56" fmla="*/ 174 w 204"/>
              <a:gd name="T57" fmla="*/ 25 h 166"/>
              <a:gd name="T58" fmla="*/ 181 w 204"/>
              <a:gd name="T59" fmla="*/ 20 h 166"/>
              <a:gd name="T60" fmla="*/ 186 w 204"/>
              <a:gd name="T61" fmla="*/ 20 h 166"/>
              <a:gd name="T62" fmla="*/ 191 w 204"/>
              <a:gd name="T63" fmla="*/ 22 h 166"/>
              <a:gd name="T64" fmla="*/ 201 w 204"/>
              <a:gd name="T65" fmla="*/ 21 h 166"/>
              <a:gd name="T66" fmla="*/ 203 w 204"/>
              <a:gd name="T67" fmla="*/ 22 h 166"/>
              <a:gd name="T68" fmla="*/ 200 w 204"/>
              <a:gd name="T69" fmla="*/ 26 h 166"/>
              <a:gd name="T70" fmla="*/ 198 w 204"/>
              <a:gd name="T71" fmla="*/ 29 h 166"/>
              <a:gd name="T72" fmla="*/ 188 w 204"/>
              <a:gd name="T73" fmla="*/ 29 h 166"/>
              <a:gd name="T74" fmla="*/ 173 w 204"/>
              <a:gd name="T75" fmla="*/ 31 h 166"/>
              <a:gd name="T76" fmla="*/ 166 w 204"/>
              <a:gd name="T77" fmla="*/ 35 h 166"/>
              <a:gd name="T78" fmla="*/ 162 w 204"/>
              <a:gd name="T79" fmla="*/ 38 h 166"/>
              <a:gd name="T80" fmla="*/ 156 w 204"/>
              <a:gd name="T81" fmla="*/ 42 h 166"/>
              <a:gd name="T82" fmla="*/ 161 w 204"/>
              <a:gd name="T83" fmla="*/ 49 h 166"/>
              <a:gd name="T84" fmla="*/ 164 w 204"/>
              <a:gd name="T85" fmla="*/ 59 h 166"/>
              <a:gd name="T86" fmla="*/ 162 w 204"/>
              <a:gd name="T87" fmla="*/ 67 h 166"/>
              <a:gd name="T88" fmla="*/ 161 w 204"/>
              <a:gd name="T89" fmla="*/ 75 h 166"/>
              <a:gd name="T90" fmla="*/ 159 w 204"/>
              <a:gd name="T91" fmla="*/ 82 h 166"/>
              <a:gd name="T92" fmla="*/ 145 w 204"/>
              <a:gd name="T93" fmla="*/ 81 h 166"/>
              <a:gd name="T94" fmla="*/ 151 w 204"/>
              <a:gd name="T95" fmla="*/ 91 h 166"/>
              <a:gd name="T96" fmla="*/ 149 w 204"/>
              <a:gd name="T97" fmla="*/ 98 h 166"/>
              <a:gd name="T98" fmla="*/ 142 w 204"/>
              <a:gd name="T99" fmla="*/ 104 h 166"/>
              <a:gd name="T100" fmla="*/ 141 w 204"/>
              <a:gd name="T101" fmla="*/ 110 h 166"/>
              <a:gd name="T102" fmla="*/ 139 w 204"/>
              <a:gd name="T103" fmla="*/ 126 h 166"/>
              <a:gd name="T104" fmla="*/ 133 w 204"/>
              <a:gd name="T105" fmla="*/ 122 h 166"/>
              <a:gd name="T106" fmla="*/ 127 w 204"/>
              <a:gd name="T107" fmla="*/ 122 h 166"/>
              <a:gd name="T108" fmla="*/ 119 w 204"/>
              <a:gd name="T109" fmla="*/ 128 h 166"/>
              <a:gd name="T110" fmla="*/ 119 w 204"/>
              <a:gd name="T111" fmla="*/ 131 h 166"/>
              <a:gd name="T112" fmla="*/ 109 w 204"/>
              <a:gd name="T113" fmla="*/ 130 h 166"/>
              <a:gd name="T114" fmla="*/ 102 w 204"/>
              <a:gd name="T115" fmla="*/ 143 h 166"/>
              <a:gd name="T116" fmla="*/ 105 w 204"/>
              <a:gd name="T117" fmla="*/ 156 h 166"/>
              <a:gd name="T118" fmla="*/ 79 w 204"/>
              <a:gd name="T119" fmla="*/ 162 h 166"/>
              <a:gd name="T120" fmla="*/ 72 w 204"/>
              <a:gd name="T121" fmla="*/ 166 h 166"/>
              <a:gd name="T122" fmla="*/ 52 w 204"/>
              <a:gd name="T123" fmla="*/ 164 h 166"/>
              <a:gd name="T124" fmla="*/ 44 w 204"/>
              <a:gd name="T125" fmla="*/ 166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04" h="166">
                <a:moveTo>
                  <a:pt x="21" y="158"/>
                </a:moveTo>
                <a:lnTo>
                  <a:pt x="23" y="151"/>
                </a:lnTo>
                <a:lnTo>
                  <a:pt x="29" y="142"/>
                </a:lnTo>
                <a:lnTo>
                  <a:pt x="30" y="138"/>
                </a:lnTo>
                <a:lnTo>
                  <a:pt x="29" y="133"/>
                </a:lnTo>
                <a:lnTo>
                  <a:pt x="26" y="129"/>
                </a:lnTo>
                <a:lnTo>
                  <a:pt x="23" y="127"/>
                </a:lnTo>
                <a:lnTo>
                  <a:pt x="20" y="127"/>
                </a:lnTo>
                <a:lnTo>
                  <a:pt x="15" y="126"/>
                </a:lnTo>
                <a:lnTo>
                  <a:pt x="12" y="122"/>
                </a:lnTo>
                <a:lnTo>
                  <a:pt x="12" y="119"/>
                </a:lnTo>
                <a:lnTo>
                  <a:pt x="11" y="113"/>
                </a:lnTo>
                <a:lnTo>
                  <a:pt x="10" y="109"/>
                </a:lnTo>
                <a:lnTo>
                  <a:pt x="8" y="104"/>
                </a:lnTo>
                <a:lnTo>
                  <a:pt x="5" y="101"/>
                </a:lnTo>
                <a:lnTo>
                  <a:pt x="5" y="96"/>
                </a:lnTo>
                <a:lnTo>
                  <a:pt x="7" y="90"/>
                </a:lnTo>
                <a:lnTo>
                  <a:pt x="7" y="88"/>
                </a:lnTo>
                <a:lnTo>
                  <a:pt x="2" y="87"/>
                </a:lnTo>
                <a:lnTo>
                  <a:pt x="1" y="81"/>
                </a:lnTo>
                <a:lnTo>
                  <a:pt x="0" y="78"/>
                </a:lnTo>
                <a:lnTo>
                  <a:pt x="5" y="76"/>
                </a:lnTo>
                <a:lnTo>
                  <a:pt x="5" y="71"/>
                </a:lnTo>
                <a:lnTo>
                  <a:pt x="8" y="66"/>
                </a:lnTo>
                <a:lnTo>
                  <a:pt x="8" y="60"/>
                </a:lnTo>
                <a:lnTo>
                  <a:pt x="7" y="56"/>
                </a:lnTo>
                <a:lnTo>
                  <a:pt x="7" y="51"/>
                </a:lnTo>
                <a:lnTo>
                  <a:pt x="9" y="52"/>
                </a:lnTo>
                <a:lnTo>
                  <a:pt x="11" y="55"/>
                </a:lnTo>
                <a:lnTo>
                  <a:pt x="11" y="56"/>
                </a:lnTo>
                <a:lnTo>
                  <a:pt x="14" y="56"/>
                </a:lnTo>
                <a:lnTo>
                  <a:pt x="18" y="56"/>
                </a:lnTo>
                <a:lnTo>
                  <a:pt x="20" y="57"/>
                </a:lnTo>
                <a:lnTo>
                  <a:pt x="22" y="58"/>
                </a:lnTo>
                <a:lnTo>
                  <a:pt x="24" y="59"/>
                </a:lnTo>
                <a:lnTo>
                  <a:pt x="25" y="59"/>
                </a:lnTo>
                <a:lnTo>
                  <a:pt x="26" y="59"/>
                </a:lnTo>
                <a:lnTo>
                  <a:pt x="31" y="59"/>
                </a:lnTo>
                <a:lnTo>
                  <a:pt x="32" y="57"/>
                </a:lnTo>
                <a:lnTo>
                  <a:pt x="34" y="57"/>
                </a:lnTo>
                <a:lnTo>
                  <a:pt x="35" y="56"/>
                </a:lnTo>
                <a:lnTo>
                  <a:pt x="35" y="52"/>
                </a:lnTo>
                <a:lnTo>
                  <a:pt x="36" y="52"/>
                </a:lnTo>
                <a:lnTo>
                  <a:pt x="36" y="51"/>
                </a:lnTo>
                <a:lnTo>
                  <a:pt x="34" y="49"/>
                </a:lnTo>
                <a:lnTo>
                  <a:pt x="34" y="48"/>
                </a:lnTo>
                <a:lnTo>
                  <a:pt x="36" y="48"/>
                </a:lnTo>
                <a:lnTo>
                  <a:pt x="38" y="47"/>
                </a:lnTo>
                <a:lnTo>
                  <a:pt x="43" y="47"/>
                </a:lnTo>
                <a:lnTo>
                  <a:pt x="44" y="45"/>
                </a:lnTo>
                <a:lnTo>
                  <a:pt x="46" y="45"/>
                </a:lnTo>
                <a:lnTo>
                  <a:pt x="48" y="42"/>
                </a:lnTo>
                <a:lnTo>
                  <a:pt x="50" y="42"/>
                </a:lnTo>
                <a:lnTo>
                  <a:pt x="53" y="39"/>
                </a:lnTo>
                <a:lnTo>
                  <a:pt x="53" y="38"/>
                </a:lnTo>
                <a:lnTo>
                  <a:pt x="53" y="36"/>
                </a:lnTo>
                <a:lnTo>
                  <a:pt x="53" y="33"/>
                </a:lnTo>
                <a:lnTo>
                  <a:pt x="53" y="32"/>
                </a:lnTo>
                <a:lnTo>
                  <a:pt x="54" y="27"/>
                </a:lnTo>
                <a:lnTo>
                  <a:pt x="53" y="26"/>
                </a:lnTo>
                <a:lnTo>
                  <a:pt x="53" y="25"/>
                </a:lnTo>
                <a:lnTo>
                  <a:pt x="54" y="25"/>
                </a:lnTo>
                <a:lnTo>
                  <a:pt x="55" y="22"/>
                </a:lnTo>
                <a:lnTo>
                  <a:pt x="58" y="22"/>
                </a:lnTo>
                <a:lnTo>
                  <a:pt x="60" y="22"/>
                </a:lnTo>
                <a:lnTo>
                  <a:pt x="63" y="22"/>
                </a:lnTo>
                <a:lnTo>
                  <a:pt x="64" y="22"/>
                </a:lnTo>
                <a:lnTo>
                  <a:pt x="64" y="21"/>
                </a:lnTo>
                <a:lnTo>
                  <a:pt x="64" y="19"/>
                </a:lnTo>
                <a:lnTo>
                  <a:pt x="64" y="18"/>
                </a:lnTo>
                <a:lnTo>
                  <a:pt x="65" y="18"/>
                </a:lnTo>
                <a:lnTo>
                  <a:pt x="68" y="18"/>
                </a:lnTo>
                <a:lnTo>
                  <a:pt x="72" y="20"/>
                </a:lnTo>
                <a:lnTo>
                  <a:pt x="74" y="21"/>
                </a:lnTo>
                <a:lnTo>
                  <a:pt x="79" y="21"/>
                </a:lnTo>
                <a:lnTo>
                  <a:pt x="86" y="20"/>
                </a:lnTo>
                <a:lnTo>
                  <a:pt x="89" y="21"/>
                </a:lnTo>
                <a:lnTo>
                  <a:pt x="91" y="22"/>
                </a:lnTo>
                <a:lnTo>
                  <a:pt x="93" y="22"/>
                </a:lnTo>
                <a:lnTo>
                  <a:pt x="96" y="22"/>
                </a:lnTo>
                <a:lnTo>
                  <a:pt x="99" y="23"/>
                </a:lnTo>
                <a:lnTo>
                  <a:pt x="103" y="28"/>
                </a:lnTo>
                <a:lnTo>
                  <a:pt x="105" y="27"/>
                </a:lnTo>
                <a:lnTo>
                  <a:pt x="106" y="27"/>
                </a:lnTo>
                <a:lnTo>
                  <a:pt x="106" y="26"/>
                </a:lnTo>
                <a:lnTo>
                  <a:pt x="110" y="23"/>
                </a:lnTo>
                <a:lnTo>
                  <a:pt x="111" y="23"/>
                </a:lnTo>
                <a:lnTo>
                  <a:pt x="113" y="23"/>
                </a:lnTo>
                <a:lnTo>
                  <a:pt x="113" y="22"/>
                </a:lnTo>
                <a:lnTo>
                  <a:pt x="114" y="22"/>
                </a:lnTo>
                <a:lnTo>
                  <a:pt x="115" y="22"/>
                </a:lnTo>
                <a:lnTo>
                  <a:pt x="117" y="23"/>
                </a:lnTo>
                <a:lnTo>
                  <a:pt x="122" y="25"/>
                </a:lnTo>
                <a:lnTo>
                  <a:pt x="122" y="25"/>
                </a:lnTo>
                <a:lnTo>
                  <a:pt x="123" y="23"/>
                </a:lnTo>
                <a:lnTo>
                  <a:pt x="122" y="22"/>
                </a:lnTo>
                <a:lnTo>
                  <a:pt x="121" y="21"/>
                </a:lnTo>
                <a:lnTo>
                  <a:pt x="121" y="19"/>
                </a:lnTo>
                <a:lnTo>
                  <a:pt x="122" y="16"/>
                </a:lnTo>
                <a:lnTo>
                  <a:pt x="123" y="16"/>
                </a:lnTo>
                <a:lnTo>
                  <a:pt x="125" y="17"/>
                </a:lnTo>
                <a:lnTo>
                  <a:pt x="127" y="16"/>
                </a:lnTo>
                <a:lnTo>
                  <a:pt x="130" y="18"/>
                </a:lnTo>
                <a:lnTo>
                  <a:pt x="131" y="18"/>
                </a:lnTo>
                <a:lnTo>
                  <a:pt x="132" y="18"/>
                </a:lnTo>
                <a:lnTo>
                  <a:pt x="133" y="16"/>
                </a:lnTo>
                <a:lnTo>
                  <a:pt x="133" y="15"/>
                </a:lnTo>
                <a:lnTo>
                  <a:pt x="131" y="12"/>
                </a:lnTo>
                <a:lnTo>
                  <a:pt x="131" y="11"/>
                </a:lnTo>
                <a:lnTo>
                  <a:pt x="133" y="8"/>
                </a:lnTo>
                <a:lnTo>
                  <a:pt x="134" y="3"/>
                </a:lnTo>
                <a:lnTo>
                  <a:pt x="135" y="3"/>
                </a:lnTo>
                <a:lnTo>
                  <a:pt x="135" y="1"/>
                </a:lnTo>
                <a:lnTo>
                  <a:pt x="136" y="1"/>
                </a:lnTo>
                <a:lnTo>
                  <a:pt x="137" y="1"/>
                </a:lnTo>
                <a:lnTo>
                  <a:pt x="139" y="0"/>
                </a:lnTo>
                <a:lnTo>
                  <a:pt x="142" y="1"/>
                </a:lnTo>
                <a:lnTo>
                  <a:pt x="146" y="5"/>
                </a:lnTo>
                <a:lnTo>
                  <a:pt x="146" y="6"/>
                </a:lnTo>
                <a:lnTo>
                  <a:pt x="146" y="8"/>
                </a:lnTo>
                <a:lnTo>
                  <a:pt x="146" y="9"/>
                </a:lnTo>
                <a:lnTo>
                  <a:pt x="146" y="10"/>
                </a:lnTo>
                <a:lnTo>
                  <a:pt x="149" y="11"/>
                </a:lnTo>
                <a:lnTo>
                  <a:pt x="150" y="10"/>
                </a:lnTo>
                <a:lnTo>
                  <a:pt x="151" y="11"/>
                </a:lnTo>
                <a:lnTo>
                  <a:pt x="151" y="11"/>
                </a:lnTo>
                <a:lnTo>
                  <a:pt x="152" y="12"/>
                </a:lnTo>
                <a:lnTo>
                  <a:pt x="151" y="12"/>
                </a:lnTo>
                <a:lnTo>
                  <a:pt x="151" y="15"/>
                </a:lnTo>
                <a:lnTo>
                  <a:pt x="152" y="17"/>
                </a:lnTo>
                <a:lnTo>
                  <a:pt x="152" y="18"/>
                </a:lnTo>
                <a:lnTo>
                  <a:pt x="152" y="20"/>
                </a:lnTo>
                <a:lnTo>
                  <a:pt x="153" y="22"/>
                </a:lnTo>
                <a:lnTo>
                  <a:pt x="153" y="25"/>
                </a:lnTo>
                <a:lnTo>
                  <a:pt x="154" y="27"/>
                </a:lnTo>
                <a:lnTo>
                  <a:pt x="156" y="30"/>
                </a:lnTo>
                <a:lnTo>
                  <a:pt x="159" y="32"/>
                </a:lnTo>
                <a:lnTo>
                  <a:pt x="159" y="33"/>
                </a:lnTo>
                <a:lnTo>
                  <a:pt x="160" y="33"/>
                </a:lnTo>
                <a:lnTo>
                  <a:pt x="162" y="33"/>
                </a:lnTo>
                <a:lnTo>
                  <a:pt x="164" y="31"/>
                </a:lnTo>
                <a:lnTo>
                  <a:pt x="167" y="28"/>
                </a:lnTo>
                <a:lnTo>
                  <a:pt x="173" y="27"/>
                </a:lnTo>
                <a:lnTo>
                  <a:pt x="173" y="27"/>
                </a:lnTo>
                <a:lnTo>
                  <a:pt x="174" y="25"/>
                </a:lnTo>
                <a:lnTo>
                  <a:pt x="175" y="23"/>
                </a:lnTo>
                <a:lnTo>
                  <a:pt x="176" y="22"/>
                </a:lnTo>
                <a:lnTo>
                  <a:pt x="177" y="22"/>
                </a:lnTo>
                <a:lnTo>
                  <a:pt x="178" y="21"/>
                </a:lnTo>
                <a:lnTo>
                  <a:pt x="181" y="20"/>
                </a:lnTo>
                <a:lnTo>
                  <a:pt x="182" y="19"/>
                </a:lnTo>
                <a:lnTo>
                  <a:pt x="183" y="19"/>
                </a:lnTo>
                <a:lnTo>
                  <a:pt x="184" y="20"/>
                </a:lnTo>
                <a:lnTo>
                  <a:pt x="185" y="20"/>
                </a:lnTo>
                <a:lnTo>
                  <a:pt x="186" y="20"/>
                </a:lnTo>
                <a:lnTo>
                  <a:pt x="187" y="22"/>
                </a:lnTo>
                <a:lnTo>
                  <a:pt x="188" y="23"/>
                </a:lnTo>
                <a:lnTo>
                  <a:pt x="190" y="23"/>
                </a:lnTo>
                <a:lnTo>
                  <a:pt x="191" y="21"/>
                </a:lnTo>
                <a:lnTo>
                  <a:pt x="191" y="22"/>
                </a:lnTo>
                <a:lnTo>
                  <a:pt x="192" y="22"/>
                </a:lnTo>
                <a:lnTo>
                  <a:pt x="194" y="20"/>
                </a:lnTo>
                <a:lnTo>
                  <a:pt x="197" y="20"/>
                </a:lnTo>
                <a:lnTo>
                  <a:pt x="200" y="20"/>
                </a:lnTo>
                <a:lnTo>
                  <a:pt x="201" y="21"/>
                </a:lnTo>
                <a:lnTo>
                  <a:pt x="203" y="21"/>
                </a:lnTo>
                <a:lnTo>
                  <a:pt x="204" y="22"/>
                </a:lnTo>
                <a:lnTo>
                  <a:pt x="204" y="22"/>
                </a:lnTo>
                <a:lnTo>
                  <a:pt x="203" y="22"/>
                </a:lnTo>
                <a:lnTo>
                  <a:pt x="203" y="22"/>
                </a:lnTo>
                <a:lnTo>
                  <a:pt x="203" y="22"/>
                </a:lnTo>
                <a:lnTo>
                  <a:pt x="201" y="22"/>
                </a:lnTo>
                <a:lnTo>
                  <a:pt x="200" y="22"/>
                </a:lnTo>
                <a:lnTo>
                  <a:pt x="198" y="25"/>
                </a:lnTo>
                <a:lnTo>
                  <a:pt x="200" y="26"/>
                </a:lnTo>
                <a:lnTo>
                  <a:pt x="201" y="26"/>
                </a:lnTo>
                <a:lnTo>
                  <a:pt x="202" y="27"/>
                </a:lnTo>
                <a:lnTo>
                  <a:pt x="202" y="29"/>
                </a:lnTo>
                <a:lnTo>
                  <a:pt x="200" y="28"/>
                </a:lnTo>
                <a:lnTo>
                  <a:pt x="198" y="29"/>
                </a:lnTo>
                <a:lnTo>
                  <a:pt x="197" y="29"/>
                </a:lnTo>
                <a:lnTo>
                  <a:pt x="196" y="30"/>
                </a:lnTo>
                <a:lnTo>
                  <a:pt x="194" y="30"/>
                </a:lnTo>
                <a:lnTo>
                  <a:pt x="191" y="29"/>
                </a:lnTo>
                <a:lnTo>
                  <a:pt x="188" y="29"/>
                </a:lnTo>
                <a:lnTo>
                  <a:pt x="187" y="29"/>
                </a:lnTo>
                <a:lnTo>
                  <a:pt x="177" y="30"/>
                </a:lnTo>
                <a:lnTo>
                  <a:pt x="176" y="29"/>
                </a:lnTo>
                <a:lnTo>
                  <a:pt x="174" y="30"/>
                </a:lnTo>
                <a:lnTo>
                  <a:pt x="173" y="31"/>
                </a:lnTo>
                <a:lnTo>
                  <a:pt x="171" y="32"/>
                </a:lnTo>
                <a:lnTo>
                  <a:pt x="169" y="32"/>
                </a:lnTo>
                <a:lnTo>
                  <a:pt x="167" y="33"/>
                </a:lnTo>
                <a:lnTo>
                  <a:pt x="166" y="33"/>
                </a:lnTo>
                <a:lnTo>
                  <a:pt x="166" y="35"/>
                </a:lnTo>
                <a:lnTo>
                  <a:pt x="165" y="36"/>
                </a:lnTo>
                <a:lnTo>
                  <a:pt x="163" y="36"/>
                </a:lnTo>
                <a:lnTo>
                  <a:pt x="163" y="37"/>
                </a:lnTo>
                <a:lnTo>
                  <a:pt x="163" y="38"/>
                </a:lnTo>
                <a:lnTo>
                  <a:pt x="162" y="38"/>
                </a:lnTo>
                <a:lnTo>
                  <a:pt x="161" y="37"/>
                </a:lnTo>
                <a:lnTo>
                  <a:pt x="160" y="37"/>
                </a:lnTo>
                <a:lnTo>
                  <a:pt x="160" y="38"/>
                </a:lnTo>
                <a:lnTo>
                  <a:pt x="160" y="39"/>
                </a:lnTo>
                <a:lnTo>
                  <a:pt x="156" y="42"/>
                </a:lnTo>
                <a:lnTo>
                  <a:pt x="155" y="43"/>
                </a:lnTo>
                <a:lnTo>
                  <a:pt x="155" y="45"/>
                </a:lnTo>
                <a:lnTo>
                  <a:pt x="155" y="46"/>
                </a:lnTo>
                <a:lnTo>
                  <a:pt x="159" y="47"/>
                </a:lnTo>
                <a:lnTo>
                  <a:pt x="161" y="49"/>
                </a:lnTo>
                <a:lnTo>
                  <a:pt x="163" y="52"/>
                </a:lnTo>
                <a:lnTo>
                  <a:pt x="164" y="56"/>
                </a:lnTo>
                <a:lnTo>
                  <a:pt x="164" y="56"/>
                </a:lnTo>
                <a:lnTo>
                  <a:pt x="164" y="58"/>
                </a:lnTo>
                <a:lnTo>
                  <a:pt x="164" y="59"/>
                </a:lnTo>
                <a:lnTo>
                  <a:pt x="165" y="60"/>
                </a:lnTo>
                <a:lnTo>
                  <a:pt x="165" y="61"/>
                </a:lnTo>
                <a:lnTo>
                  <a:pt x="164" y="63"/>
                </a:lnTo>
                <a:lnTo>
                  <a:pt x="163" y="66"/>
                </a:lnTo>
                <a:lnTo>
                  <a:pt x="162" y="67"/>
                </a:lnTo>
                <a:lnTo>
                  <a:pt x="161" y="69"/>
                </a:lnTo>
                <a:lnTo>
                  <a:pt x="160" y="71"/>
                </a:lnTo>
                <a:lnTo>
                  <a:pt x="159" y="72"/>
                </a:lnTo>
                <a:lnTo>
                  <a:pt x="160" y="75"/>
                </a:lnTo>
                <a:lnTo>
                  <a:pt x="161" y="75"/>
                </a:lnTo>
                <a:lnTo>
                  <a:pt x="162" y="76"/>
                </a:lnTo>
                <a:lnTo>
                  <a:pt x="162" y="77"/>
                </a:lnTo>
                <a:lnTo>
                  <a:pt x="162" y="78"/>
                </a:lnTo>
                <a:lnTo>
                  <a:pt x="161" y="81"/>
                </a:lnTo>
                <a:lnTo>
                  <a:pt x="159" y="82"/>
                </a:lnTo>
                <a:lnTo>
                  <a:pt x="156" y="82"/>
                </a:lnTo>
                <a:lnTo>
                  <a:pt x="153" y="82"/>
                </a:lnTo>
                <a:lnTo>
                  <a:pt x="147" y="81"/>
                </a:lnTo>
                <a:lnTo>
                  <a:pt x="146" y="81"/>
                </a:lnTo>
                <a:lnTo>
                  <a:pt x="145" y="81"/>
                </a:lnTo>
                <a:lnTo>
                  <a:pt x="145" y="83"/>
                </a:lnTo>
                <a:lnTo>
                  <a:pt x="145" y="85"/>
                </a:lnTo>
                <a:lnTo>
                  <a:pt x="147" y="87"/>
                </a:lnTo>
                <a:lnTo>
                  <a:pt x="149" y="87"/>
                </a:lnTo>
                <a:lnTo>
                  <a:pt x="151" y="91"/>
                </a:lnTo>
                <a:lnTo>
                  <a:pt x="153" y="92"/>
                </a:lnTo>
                <a:lnTo>
                  <a:pt x="153" y="93"/>
                </a:lnTo>
                <a:lnTo>
                  <a:pt x="152" y="94"/>
                </a:lnTo>
                <a:lnTo>
                  <a:pt x="151" y="96"/>
                </a:lnTo>
                <a:lnTo>
                  <a:pt x="149" y="98"/>
                </a:lnTo>
                <a:lnTo>
                  <a:pt x="145" y="98"/>
                </a:lnTo>
                <a:lnTo>
                  <a:pt x="143" y="99"/>
                </a:lnTo>
                <a:lnTo>
                  <a:pt x="143" y="102"/>
                </a:lnTo>
                <a:lnTo>
                  <a:pt x="142" y="103"/>
                </a:lnTo>
                <a:lnTo>
                  <a:pt x="142" y="104"/>
                </a:lnTo>
                <a:lnTo>
                  <a:pt x="142" y="106"/>
                </a:lnTo>
                <a:lnTo>
                  <a:pt x="142" y="107"/>
                </a:lnTo>
                <a:lnTo>
                  <a:pt x="142" y="107"/>
                </a:lnTo>
                <a:lnTo>
                  <a:pt x="141" y="109"/>
                </a:lnTo>
                <a:lnTo>
                  <a:pt x="141" y="110"/>
                </a:lnTo>
                <a:lnTo>
                  <a:pt x="141" y="111"/>
                </a:lnTo>
                <a:lnTo>
                  <a:pt x="142" y="116"/>
                </a:lnTo>
                <a:lnTo>
                  <a:pt x="143" y="119"/>
                </a:lnTo>
                <a:lnTo>
                  <a:pt x="143" y="120"/>
                </a:lnTo>
                <a:lnTo>
                  <a:pt x="139" y="126"/>
                </a:lnTo>
                <a:lnTo>
                  <a:pt x="137" y="126"/>
                </a:lnTo>
                <a:lnTo>
                  <a:pt x="136" y="126"/>
                </a:lnTo>
                <a:lnTo>
                  <a:pt x="135" y="124"/>
                </a:lnTo>
                <a:lnTo>
                  <a:pt x="135" y="123"/>
                </a:lnTo>
                <a:lnTo>
                  <a:pt x="133" y="122"/>
                </a:lnTo>
                <a:lnTo>
                  <a:pt x="132" y="122"/>
                </a:lnTo>
                <a:lnTo>
                  <a:pt x="131" y="122"/>
                </a:lnTo>
                <a:lnTo>
                  <a:pt x="132" y="123"/>
                </a:lnTo>
                <a:lnTo>
                  <a:pt x="132" y="123"/>
                </a:lnTo>
                <a:lnTo>
                  <a:pt x="127" y="122"/>
                </a:lnTo>
                <a:lnTo>
                  <a:pt x="125" y="122"/>
                </a:lnTo>
                <a:lnTo>
                  <a:pt x="124" y="123"/>
                </a:lnTo>
                <a:lnTo>
                  <a:pt x="124" y="124"/>
                </a:lnTo>
                <a:lnTo>
                  <a:pt x="120" y="127"/>
                </a:lnTo>
                <a:lnTo>
                  <a:pt x="119" y="128"/>
                </a:lnTo>
                <a:lnTo>
                  <a:pt x="120" y="129"/>
                </a:lnTo>
                <a:lnTo>
                  <a:pt x="122" y="129"/>
                </a:lnTo>
                <a:lnTo>
                  <a:pt x="122" y="130"/>
                </a:lnTo>
                <a:lnTo>
                  <a:pt x="122" y="131"/>
                </a:lnTo>
                <a:lnTo>
                  <a:pt x="119" y="131"/>
                </a:lnTo>
                <a:lnTo>
                  <a:pt x="116" y="132"/>
                </a:lnTo>
                <a:lnTo>
                  <a:pt x="113" y="132"/>
                </a:lnTo>
                <a:lnTo>
                  <a:pt x="111" y="132"/>
                </a:lnTo>
                <a:lnTo>
                  <a:pt x="110" y="131"/>
                </a:lnTo>
                <a:lnTo>
                  <a:pt x="109" y="130"/>
                </a:lnTo>
                <a:lnTo>
                  <a:pt x="107" y="131"/>
                </a:lnTo>
                <a:lnTo>
                  <a:pt x="106" y="134"/>
                </a:lnTo>
                <a:lnTo>
                  <a:pt x="103" y="137"/>
                </a:lnTo>
                <a:lnTo>
                  <a:pt x="102" y="139"/>
                </a:lnTo>
                <a:lnTo>
                  <a:pt x="102" y="143"/>
                </a:lnTo>
                <a:lnTo>
                  <a:pt x="103" y="147"/>
                </a:lnTo>
                <a:lnTo>
                  <a:pt x="103" y="152"/>
                </a:lnTo>
                <a:lnTo>
                  <a:pt x="103" y="153"/>
                </a:lnTo>
                <a:lnTo>
                  <a:pt x="104" y="154"/>
                </a:lnTo>
                <a:lnTo>
                  <a:pt x="105" y="156"/>
                </a:lnTo>
                <a:lnTo>
                  <a:pt x="103" y="158"/>
                </a:lnTo>
                <a:lnTo>
                  <a:pt x="96" y="159"/>
                </a:lnTo>
                <a:lnTo>
                  <a:pt x="91" y="161"/>
                </a:lnTo>
                <a:lnTo>
                  <a:pt x="86" y="162"/>
                </a:lnTo>
                <a:lnTo>
                  <a:pt x="79" y="162"/>
                </a:lnTo>
                <a:lnTo>
                  <a:pt x="75" y="162"/>
                </a:lnTo>
                <a:lnTo>
                  <a:pt x="73" y="163"/>
                </a:lnTo>
                <a:lnTo>
                  <a:pt x="73" y="163"/>
                </a:lnTo>
                <a:lnTo>
                  <a:pt x="72" y="164"/>
                </a:lnTo>
                <a:lnTo>
                  <a:pt x="72" y="166"/>
                </a:lnTo>
                <a:lnTo>
                  <a:pt x="66" y="163"/>
                </a:lnTo>
                <a:lnTo>
                  <a:pt x="62" y="163"/>
                </a:lnTo>
                <a:lnTo>
                  <a:pt x="58" y="164"/>
                </a:lnTo>
                <a:lnTo>
                  <a:pt x="54" y="164"/>
                </a:lnTo>
                <a:lnTo>
                  <a:pt x="52" y="164"/>
                </a:lnTo>
                <a:lnTo>
                  <a:pt x="50" y="164"/>
                </a:lnTo>
                <a:lnTo>
                  <a:pt x="49" y="164"/>
                </a:lnTo>
                <a:lnTo>
                  <a:pt x="48" y="166"/>
                </a:lnTo>
                <a:lnTo>
                  <a:pt x="46" y="166"/>
                </a:lnTo>
                <a:lnTo>
                  <a:pt x="44" y="166"/>
                </a:lnTo>
                <a:lnTo>
                  <a:pt x="39" y="162"/>
                </a:lnTo>
                <a:lnTo>
                  <a:pt x="21" y="158"/>
                </a:lnTo>
                <a:lnTo>
                  <a:pt x="21" y="158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51" name="Freeform 1251"/>
          <p:cNvSpPr>
            <a:spLocks/>
          </p:cNvSpPr>
          <p:nvPr/>
        </p:nvSpPr>
        <p:spPr bwMode="auto">
          <a:xfrm>
            <a:off x="5805487" y="2466940"/>
            <a:ext cx="323850" cy="263525"/>
          </a:xfrm>
          <a:custGeom>
            <a:avLst/>
            <a:gdLst>
              <a:gd name="T0" fmla="*/ 29 w 204"/>
              <a:gd name="T1" fmla="*/ 133 h 166"/>
              <a:gd name="T2" fmla="*/ 12 w 204"/>
              <a:gd name="T3" fmla="*/ 122 h 166"/>
              <a:gd name="T4" fmla="*/ 5 w 204"/>
              <a:gd name="T5" fmla="*/ 101 h 166"/>
              <a:gd name="T6" fmla="*/ 1 w 204"/>
              <a:gd name="T7" fmla="*/ 81 h 166"/>
              <a:gd name="T8" fmla="*/ 8 w 204"/>
              <a:gd name="T9" fmla="*/ 60 h 166"/>
              <a:gd name="T10" fmla="*/ 11 w 204"/>
              <a:gd name="T11" fmla="*/ 56 h 166"/>
              <a:gd name="T12" fmla="*/ 24 w 204"/>
              <a:gd name="T13" fmla="*/ 59 h 166"/>
              <a:gd name="T14" fmla="*/ 34 w 204"/>
              <a:gd name="T15" fmla="*/ 57 h 166"/>
              <a:gd name="T16" fmla="*/ 34 w 204"/>
              <a:gd name="T17" fmla="*/ 49 h 166"/>
              <a:gd name="T18" fmla="*/ 44 w 204"/>
              <a:gd name="T19" fmla="*/ 45 h 166"/>
              <a:gd name="T20" fmla="*/ 53 w 204"/>
              <a:gd name="T21" fmla="*/ 38 h 166"/>
              <a:gd name="T22" fmla="*/ 53 w 204"/>
              <a:gd name="T23" fmla="*/ 26 h 166"/>
              <a:gd name="T24" fmla="*/ 60 w 204"/>
              <a:gd name="T25" fmla="*/ 22 h 166"/>
              <a:gd name="T26" fmla="*/ 64 w 204"/>
              <a:gd name="T27" fmla="*/ 18 h 166"/>
              <a:gd name="T28" fmla="*/ 79 w 204"/>
              <a:gd name="T29" fmla="*/ 21 h 166"/>
              <a:gd name="T30" fmla="*/ 96 w 204"/>
              <a:gd name="T31" fmla="*/ 22 h 166"/>
              <a:gd name="T32" fmla="*/ 106 w 204"/>
              <a:gd name="T33" fmla="*/ 26 h 166"/>
              <a:gd name="T34" fmla="*/ 114 w 204"/>
              <a:gd name="T35" fmla="*/ 22 h 166"/>
              <a:gd name="T36" fmla="*/ 123 w 204"/>
              <a:gd name="T37" fmla="*/ 23 h 166"/>
              <a:gd name="T38" fmla="*/ 123 w 204"/>
              <a:gd name="T39" fmla="*/ 16 h 166"/>
              <a:gd name="T40" fmla="*/ 132 w 204"/>
              <a:gd name="T41" fmla="*/ 18 h 166"/>
              <a:gd name="T42" fmla="*/ 133 w 204"/>
              <a:gd name="T43" fmla="*/ 8 h 166"/>
              <a:gd name="T44" fmla="*/ 137 w 204"/>
              <a:gd name="T45" fmla="*/ 1 h 166"/>
              <a:gd name="T46" fmla="*/ 146 w 204"/>
              <a:gd name="T47" fmla="*/ 8 h 166"/>
              <a:gd name="T48" fmla="*/ 151 w 204"/>
              <a:gd name="T49" fmla="*/ 11 h 166"/>
              <a:gd name="T50" fmla="*/ 152 w 204"/>
              <a:gd name="T51" fmla="*/ 17 h 166"/>
              <a:gd name="T52" fmla="*/ 154 w 204"/>
              <a:gd name="T53" fmla="*/ 27 h 166"/>
              <a:gd name="T54" fmla="*/ 162 w 204"/>
              <a:gd name="T55" fmla="*/ 33 h 166"/>
              <a:gd name="T56" fmla="*/ 174 w 204"/>
              <a:gd name="T57" fmla="*/ 25 h 166"/>
              <a:gd name="T58" fmla="*/ 181 w 204"/>
              <a:gd name="T59" fmla="*/ 20 h 166"/>
              <a:gd name="T60" fmla="*/ 186 w 204"/>
              <a:gd name="T61" fmla="*/ 20 h 166"/>
              <a:gd name="T62" fmla="*/ 191 w 204"/>
              <a:gd name="T63" fmla="*/ 22 h 166"/>
              <a:gd name="T64" fmla="*/ 201 w 204"/>
              <a:gd name="T65" fmla="*/ 21 h 166"/>
              <a:gd name="T66" fmla="*/ 203 w 204"/>
              <a:gd name="T67" fmla="*/ 22 h 166"/>
              <a:gd name="T68" fmla="*/ 200 w 204"/>
              <a:gd name="T69" fmla="*/ 26 h 166"/>
              <a:gd name="T70" fmla="*/ 198 w 204"/>
              <a:gd name="T71" fmla="*/ 29 h 166"/>
              <a:gd name="T72" fmla="*/ 188 w 204"/>
              <a:gd name="T73" fmla="*/ 29 h 166"/>
              <a:gd name="T74" fmla="*/ 173 w 204"/>
              <a:gd name="T75" fmla="*/ 31 h 166"/>
              <a:gd name="T76" fmla="*/ 166 w 204"/>
              <a:gd name="T77" fmla="*/ 35 h 166"/>
              <a:gd name="T78" fmla="*/ 162 w 204"/>
              <a:gd name="T79" fmla="*/ 38 h 166"/>
              <a:gd name="T80" fmla="*/ 156 w 204"/>
              <a:gd name="T81" fmla="*/ 42 h 166"/>
              <a:gd name="T82" fmla="*/ 161 w 204"/>
              <a:gd name="T83" fmla="*/ 49 h 166"/>
              <a:gd name="T84" fmla="*/ 164 w 204"/>
              <a:gd name="T85" fmla="*/ 59 h 166"/>
              <a:gd name="T86" fmla="*/ 162 w 204"/>
              <a:gd name="T87" fmla="*/ 67 h 166"/>
              <a:gd name="T88" fmla="*/ 161 w 204"/>
              <a:gd name="T89" fmla="*/ 75 h 166"/>
              <a:gd name="T90" fmla="*/ 159 w 204"/>
              <a:gd name="T91" fmla="*/ 82 h 166"/>
              <a:gd name="T92" fmla="*/ 145 w 204"/>
              <a:gd name="T93" fmla="*/ 81 h 166"/>
              <a:gd name="T94" fmla="*/ 151 w 204"/>
              <a:gd name="T95" fmla="*/ 91 h 166"/>
              <a:gd name="T96" fmla="*/ 149 w 204"/>
              <a:gd name="T97" fmla="*/ 98 h 166"/>
              <a:gd name="T98" fmla="*/ 142 w 204"/>
              <a:gd name="T99" fmla="*/ 104 h 166"/>
              <a:gd name="T100" fmla="*/ 141 w 204"/>
              <a:gd name="T101" fmla="*/ 110 h 166"/>
              <a:gd name="T102" fmla="*/ 139 w 204"/>
              <a:gd name="T103" fmla="*/ 126 h 166"/>
              <a:gd name="T104" fmla="*/ 133 w 204"/>
              <a:gd name="T105" fmla="*/ 122 h 166"/>
              <a:gd name="T106" fmla="*/ 127 w 204"/>
              <a:gd name="T107" fmla="*/ 122 h 166"/>
              <a:gd name="T108" fmla="*/ 119 w 204"/>
              <a:gd name="T109" fmla="*/ 128 h 166"/>
              <a:gd name="T110" fmla="*/ 119 w 204"/>
              <a:gd name="T111" fmla="*/ 131 h 166"/>
              <a:gd name="T112" fmla="*/ 109 w 204"/>
              <a:gd name="T113" fmla="*/ 130 h 166"/>
              <a:gd name="T114" fmla="*/ 102 w 204"/>
              <a:gd name="T115" fmla="*/ 143 h 166"/>
              <a:gd name="T116" fmla="*/ 105 w 204"/>
              <a:gd name="T117" fmla="*/ 156 h 166"/>
              <a:gd name="T118" fmla="*/ 79 w 204"/>
              <a:gd name="T119" fmla="*/ 162 h 166"/>
              <a:gd name="T120" fmla="*/ 72 w 204"/>
              <a:gd name="T121" fmla="*/ 166 h 166"/>
              <a:gd name="T122" fmla="*/ 52 w 204"/>
              <a:gd name="T123" fmla="*/ 164 h 166"/>
              <a:gd name="T124" fmla="*/ 44 w 204"/>
              <a:gd name="T125" fmla="*/ 166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04" h="166">
                <a:moveTo>
                  <a:pt x="21" y="158"/>
                </a:moveTo>
                <a:lnTo>
                  <a:pt x="23" y="151"/>
                </a:lnTo>
                <a:lnTo>
                  <a:pt x="29" y="142"/>
                </a:lnTo>
                <a:lnTo>
                  <a:pt x="30" y="138"/>
                </a:lnTo>
                <a:lnTo>
                  <a:pt x="29" y="133"/>
                </a:lnTo>
                <a:lnTo>
                  <a:pt x="26" y="129"/>
                </a:lnTo>
                <a:lnTo>
                  <a:pt x="23" y="127"/>
                </a:lnTo>
                <a:lnTo>
                  <a:pt x="20" y="127"/>
                </a:lnTo>
                <a:lnTo>
                  <a:pt x="15" y="126"/>
                </a:lnTo>
                <a:lnTo>
                  <a:pt x="12" y="122"/>
                </a:lnTo>
                <a:lnTo>
                  <a:pt x="12" y="119"/>
                </a:lnTo>
                <a:lnTo>
                  <a:pt x="11" y="113"/>
                </a:lnTo>
                <a:lnTo>
                  <a:pt x="10" y="109"/>
                </a:lnTo>
                <a:lnTo>
                  <a:pt x="8" y="104"/>
                </a:lnTo>
                <a:lnTo>
                  <a:pt x="5" y="101"/>
                </a:lnTo>
                <a:lnTo>
                  <a:pt x="5" y="96"/>
                </a:lnTo>
                <a:lnTo>
                  <a:pt x="7" y="90"/>
                </a:lnTo>
                <a:lnTo>
                  <a:pt x="7" y="88"/>
                </a:lnTo>
                <a:lnTo>
                  <a:pt x="2" y="87"/>
                </a:lnTo>
                <a:lnTo>
                  <a:pt x="1" y="81"/>
                </a:lnTo>
                <a:lnTo>
                  <a:pt x="0" y="78"/>
                </a:lnTo>
                <a:lnTo>
                  <a:pt x="5" y="76"/>
                </a:lnTo>
                <a:lnTo>
                  <a:pt x="5" y="71"/>
                </a:lnTo>
                <a:lnTo>
                  <a:pt x="8" y="66"/>
                </a:lnTo>
                <a:lnTo>
                  <a:pt x="8" y="60"/>
                </a:lnTo>
                <a:lnTo>
                  <a:pt x="7" y="56"/>
                </a:lnTo>
                <a:lnTo>
                  <a:pt x="7" y="51"/>
                </a:lnTo>
                <a:lnTo>
                  <a:pt x="9" y="52"/>
                </a:lnTo>
                <a:lnTo>
                  <a:pt x="11" y="55"/>
                </a:lnTo>
                <a:lnTo>
                  <a:pt x="11" y="56"/>
                </a:lnTo>
                <a:lnTo>
                  <a:pt x="14" y="56"/>
                </a:lnTo>
                <a:lnTo>
                  <a:pt x="18" y="56"/>
                </a:lnTo>
                <a:lnTo>
                  <a:pt x="20" y="57"/>
                </a:lnTo>
                <a:lnTo>
                  <a:pt x="22" y="58"/>
                </a:lnTo>
                <a:lnTo>
                  <a:pt x="24" y="59"/>
                </a:lnTo>
                <a:lnTo>
                  <a:pt x="25" y="59"/>
                </a:lnTo>
                <a:lnTo>
                  <a:pt x="26" y="59"/>
                </a:lnTo>
                <a:lnTo>
                  <a:pt x="31" y="59"/>
                </a:lnTo>
                <a:lnTo>
                  <a:pt x="32" y="57"/>
                </a:lnTo>
                <a:lnTo>
                  <a:pt x="34" y="57"/>
                </a:lnTo>
                <a:lnTo>
                  <a:pt x="35" y="56"/>
                </a:lnTo>
                <a:lnTo>
                  <a:pt x="35" y="52"/>
                </a:lnTo>
                <a:lnTo>
                  <a:pt x="36" y="52"/>
                </a:lnTo>
                <a:lnTo>
                  <a:pt x="36" y="51"/>
                </a:lnTo>
                <a:lnTo>
                  <a:pt x="34" y="49"/>
                </a:lnTo>
                <a:lnTo>
                  <a:pt x="34" y="48"/>
                </a:lnTo>
                <a:lnTo>
                  <a:pt x="36" y="48"/>
                </a:lnTo>
                <a:lnTo>
                  <a:pt x="38" y="47"/>
                </a:lnTo>
                <a:lnTo>
                  <a:pt x="43" y="47"/>
                </a:lnTo>
                <a:lnTo>
                  <a:pt x="44" y="45"/>
                </a:lnTo>
                <a:lnTo>
                  <a:pt x="46" y="45"/>
                </a:lnTo>
                <a:lnTo>
                  <a:pt x="48" y="42"/>
                </a:lnTo>
                <a:lnTo>
                  <a:pt x="50" y="42"/>
                </a:lnTo>
                <a:lnTo>
                  <a:pt x="53" y="39"/>
                </a:lnTo>
                <a:lnTo>
                  <a:pt x="53" y="38"/>
                </a:lnTo>
                <a:lnTo>
                  <a:pt x="53" y="36"/>
                </a:lnTo>
                <a:lnTo>
                  <a:pt x="53" y="33"/>
                </a:lnTo>
                <a:lnTo>
                  <a:pt x="53" y="32"/>
                </a:lnTo>
                <a:lnTo>
                  <a:pt x="54" y="27"/>
                </a:lnTo>
                <a:lnTo>
                  <a:pt x="53" y="26"/>
                </a:lnTo>
                <a:lnTo>
                  <a:pt x="53" y="25"/>
                </a:lnTo>
                <a:lnTo>
                  <a:pt x="54" y="25"/>
                </a:lnTo>
                <a:lnTo>
                  <a:pt x="55" y="22"/>
                </a:lnTo>
                <a:lnTo>
                  <a:pt x="58" y="22"/>
                </a:lnTo>
                <a:lnTo>
                  <a:pt x="60" y="22"/>
                </a:lnTo>
                <a:lnTo>
                  <a:pt x="63" y="22"/>
                </a:lnTo>
                <a:lnTo>
                  <a:pt x="64" y="22"/>
                </a:lnTo>
                <a:lnTo>
                  <a:pt x="64" y="21"/>
                </a:lnTo>
                <a:lnTo>
                  <a:pt x="64" y="19"/>
                </a:lnTo>
                <a:lnTo>
                  <a:pt x="64" y="18"/>
                </a:lnTo>
                <a:lnTo>
                  <a:pt x="65" y="18"/>
                </a:lnTo>
                <a:lnTo>
                  <a:pt x="68" y="18"/>
                </a:lnTo>
                <a:lnTo>
                  <a:pt x="72" y="20"/>
                </a:lnTo>
                <a:lnTo>
                  <a:pt x="74" y="21"/>
                </a:lnTo>
                <a:lnTo>
                  <a:pt x="79" y="21"/>
                </a:lnTo>
                <a:lnTo>
                  <a:pt x="86" y="20"/>
                </a:lnTo>
                <a:lnTo>
                  <a:pt x="89" y="21"/>
                </a:lnTo>
                <a:lnTo>
                  <a:pt x="91" y="22"/>
                </a:lnTo>
                <a:lnTo>
                  <a:pt x="93" y="22"/>
                </a:lnTo>
                <a:lnTo>
                  <a:pt x="96" y="22"/>
                </a:lnTo>
                <a:lnTo>
                  <a:pt x="99" y="23"/>
                </a:lnTo>
                <a:lnTo>
                  <a:pt x="103" y="28"/>
                </a:lnTo>
                <a:lnTo>
                  <a:pt x="105" y="27"/>
                </a:lnTo>
                <a:lnTo>
                  <a:pt x="106" y="27"/>
                </a:lnTo>
                <a:lnTo>
                  <a:pt x="106" y="26"/>
                </a:lnTo>
                <a:lnTo>
                  <a:pt x="110" y="23"/>
                </a:lnTo>
                <a:lnTo>
                  <a:pt x="111" y="23"/>
                </a:lnTo>
                <a:lnTo>
                  <a:pt x="113" y="23"/>
                </a:lnTo>
                <a:lnTo>
                  <a:pt x="113" y="22"/>
                </a:lnTo>
                <a:lnTo>
                  <a:pt x="114" y="22"/>
                </a:lnTo>
                <a:lnTo>
                  <a:pt x="115" y="22"/>
                </a:lnTo>
                <a:lnTo>
                  <a:pt x="117" y="23"/>
                </a:lnTo>
                <a:lnTo>
                  <a:pt x="122" y="25"/>
                </a:lnTo>
                <a:lnTo>
                  <a:pt x="122" y="25"/>
                </a:lnTo>
                <a:lnTo>
                  <a:pt x="123" y="23"/>
                </a:lnTo>
                <a:lnTo>
                  <a:pt x="122" y="22"/>
                </a:lnTo>
                <a:lnTo>
                  <a:pt x="121" y="21"/>
                </a:lnTo>
                <a:lnTo>
                  <a:pt x="121" y="19"/>
                </a:lnTo>
                <a:lnTo>
                  <a:pt x="122" y="16"/>
                </a:lnTo>
                <a:lnTo>
                  <a:pt x="123" y="16"/>
                </a:lnTo>
                <a:lnTo>
                  <a:pt x="125" y="17"/>
                </a:lnTo>
                <a:lnTo>
                  <a:pt x="127" y="16"/>
                </a:lnTo>
                <a:lnTo>
                  <a:pt x="130" y="18"/>
                </a:lnTo>
                <a:lnTo>
                  <a:pt x="131" y="18"/>
                </a:lnTo>
                <a:lnTo>
                  <a:pt x="132" y="18"/>
                </a:lnTo>
                <a:lnTo>
                  <a:pt x="133" y="16"/>
                </a:lnTo>
                <a:lnTo>
                  <a:pt x="133" y="15"/>
                </a:lnTo>
                <a:lnTo>
                  <a:pt x="131" y="12"/>
                </a:lnTo>
                <a:lnTo>
                  <a:pt x="131" y="11"/>
                </a:lnTo>
                <a:lnTo>
                  <a:pt x="133" y="8"/>
                </a:lnTo>
                <a:lnTo>
                  <a:pt x="134" y="3"/>
                </a:lnTo>
                <a:lnTo>
                  <a:pt x="135" y="3"/>
                </a:lnTo>
                <a:lnTo>
                  <a:pt x="135" y="1"/>
                </a:lnTo>
                <a:lnTo>
                  <a:pt x="136" y="1"/>
                </a:lnTo>
                <a:lnTo>
                  <a:pt x="137" y="1"/>
                </a:lnTo>
                <a:lnTo>
                  <a:pt x="139" y="0"/>
                </a:lnTo>
                <a:lnTo>
                  <a:pt x="142" y="1"/>
                </a:lnTo>
                <a:lnTo>
                  <a:pt x="146" y="5"/>
                </a:lnTo>
                <a:lnTo>
                  <a:pt x="146" y="6"/>
                </a:lnTo>
                <a:lnTo>
                  <a:pt x="146" y="8"/>
                </a:lnTo>
                <a:lnTo>
                  <a:pt x="146" y="9"/>
                </a:lnTo>
                <a:lnTo>
                  <a:pt x="146" y="10"/>
                </a:lnTo>
                <a:lnTo>
                  <a:pt x="149" y="11"/>
                </a:lnTo>
                <a:lnTo>
                  <a:pt x="150" y="10"/>
                </a:lnTo>
                <a:lnTo>
                  <a:pt x="151" y="11"/>
                </a:lnTo>
                <a:lnTo>
                  <a:pt x="151" y="11"/>
                </a:lnTo>
                <a:lnTo>
                  <a:pt x="152" y="12"/>
                </a:lnTo>
                <a:lnTo>
                  <a:pt x="151" y="12"/>
                </a:lnTo>
                <a:lnTo>
                  <a:pt x="151" y="15"/>
                </a:lnTo>
                <a:lnTo>
                  <a:pt x="152" y="17"/>
                </a:lnTo>
                <a:lnTo>
                  <a:pt x="152" y="18"/>
                </a:lnTo>
                <a:lnTo>
                  <a:pt x="152" y="20"/>
                </a:lnTo>
                <a:lnTo>
                  <a:pt x="153" y="22"/>
                </a:lnTo>
                <a:lnTo>
                  <a:pt x="153" y="25"/>
                </a:lnTo>
                <a:lnTo>
                  <a:pt x="154" y="27"/>
                </a:lnTo>
                <a:lnTo>
                  <a:pt x="156" y="30"/>
                </a:lnTo>
                <a:lnTo>
                  <a:pt x="159" y="32"/>
                </a:lnTo>
                <a:lnTo>
                  <a:pt x="159" y="33"/>
                </a:lnTo>
                <a:lnTo>
                  <a:pt x="160" y="33"/>
                </a:lnTo>
                <a:lnTo>
                  <a:pt x="162" y="33"/>
                </a:lnTo>
                <a:lnTo>
                  <a:pt x="164" y="31"/>
                </a:lnTo>
                <a:lnTo>
                  <a:pt x="167" y="28"/>
                </a:lnTo>
                <a:lnTo>
                  <a:pt x="173" y="27"/>
                </a:lnTo>
                <a:lnTo>
                  <a:pt x="173" y="27"/>
                </a:lnTo>
                <a:lnTo>
                  <a:pt x="174" y="25"/>
                </a:lnTo>
                <a:lnTo>
                  <a:pt x="175" y="23"/>
                </a:lnTo>
                <a:lnTo>
                  <a:pt x="176" y="22"/>
                </a:lnTo>
                <a:lnTo>
                  <a:pt x="177" y="22"/>
                </a:lnTo>
                <a:lnTo>
                  <a:pt x="178" y="21"/>
                </a:lnTo>
                <a:lnTo>
                  <a:pt x="181" y="20"/>
                </a:lnTo>
                <a:lnTo>
                  <a:pt x="182" y="19"/>
                </a:lnTo>
                <a:lnTo>
                  <a:pt x="183" y="19"/>
                </a:lnTo>
                <a:lnTo>
                  <a:pt x="184" y="20"/>
                </a:lnTo>
                <a:lnTo>
                  <a:pt x="185" y="20"/>
                </a:lnTo>
                <a:lnTo>
                  <a:pt x="186" y="20"/>
                </a:lnTo>
                <a:lnTo>
                  <a:pt x="187" y="22"/>
                </a:lnTo>
                <a:lnTo>
                  <a:pt x="188" y="23"/>
                </a:lnTo>
                <a:lnTo>
                  <a:pt x="190" y="23"/>
                </a:lnTo>
                <a:lnTo>
                  <a:pt x="191" y="21"/>
                </a:lnTo>
                <a:lnTo>
                  <a:pt x="191" y="22"/>
                </a:lnTo>
                <a:lnTo>
                  <a:pt x="192" y="22"/>
                </a:lnTo>
                <a:lnTo>
                  <a:pt x="194" y="20"/>
                </a:lnTo>
                <a:lnTo>
                  <a:pt x="197" y="20"/>
                </a:lnTo>
                <a:lnTo>
                  <a:pt x="200" y="20"/>
                </a:lnTo>
                <a:lnTo>
                  <a:pt x="201" y="21"/>
                </a:lnTo>
                <a:lnTo>
                  <a:pt x="203" y="21"/>
                </a:lnTo>
                <a:lnTo>
                  <a:pt x="204" y="22"/>
                </a:lnTo>
                <a:lnTo>
                  <a:pt x="204" y="22"/>
                </a:lnTo>
                <a:lnTo>
                  <a:pt x="203" y="22"/>
                </a:lnTo>
                <a:lnTo>
                  <a:pt x="203" y="22"/>
                </a:lnTo>
                <a:lnTo>
                  <a:pt x="203" y="22"/>
                </a:lnTo>
                <a:lnTo>
                  <a:pt x="201" y="22"/>
                </a:lnTo>
                <a:lnTo>
                  <a:pt x="200" y="22"/>
                </a:lnTo>
                <a:lnTo>
                  <a:pt x="198" y="25"/>
                </a:lnTo>
                <a:lnTo>
                  <a:pt x="200" y="26"/>
                </a:lnTo>
                <a:lnTo>
                  <a:pt x="201" y="26"/>
                </a:lnTo>
                <a:lnTo>
                  <a:pt x="202" y="27"/>
                </a:lnTo>
                <a:lnTo>
                  <a:pt x="202" y="29"/>
                </a:lnTo>
                <a:lnTo>
                  <a:pt x="200" y="28"/>
                </a:lnTo>
                <a:lnTo>
                  <a:pt x="198" y="29"/>
                </a:lnTo>
                <a:lnTo>
                  <a:pt x="197" y="29"/>
                </a:lnTo>
                <a:lnTo>
                  <a:pt x="196" y="30"/>
                </a:lnTo>
                <a:lnTo>
                  <a:pt x="194" y="30"/>
                </a:lnTo>
                <a:lnTo>
                  <a:pt x="191" y="29"/>
                </a:lnTo>
                <a:lnTo>
                  <a:pt x="188" y="29"/>
                </a:lnTo>
                <a:lnTo>
                  <a:pt x="187" y="29"/>
                </a:lnTo>
                <a:lnTo>
                  <a:pt x="177" y="30"/>
                </a:lnTo>
                <a:lnTo>
                  <a:pt x="176" y="29"/>
                </a:lnTo>
                <a:lnTo>
                  <a:pt x="174" y="30"/>
                </a:lnTo>
                <a:lnTo>
                  <a:pt x="173" y="31"/>
                </a:lnTo>
                <a:lnTo>
                  <a:pt x="171" y="32"/>
                </a:lnTo>
                <a:lnTo>
                  <a:pt x="169" y="32"/>
                </a:lnTo>
                <a:lnTo>
                  <a:pt x="167" y="33"/>
                </a:lnTo>
                <a:lnTo>
                  <a:pt x="166" y="33"/>
                </a:lnTo>
                <a:lnTo>
                  <a:pt x="166" y="35"/>
                </a:lnTo>
                <a:lnTo>
                  <a:pt x="165" y="36"/>
                </a:lnTo>
                <a:lnTo>
                  <a:pt x="163" y="36"/>
                </a:lnTo>
                <a:lnTo>
                  <a:pt x="163" y="37"/>
                </a:lnTo>
                <a:lnTo>
                  <a:pt x="163" y="38"/>
                </a:lnTo>
                <a:lnTo>
                  <a:pt x="162" y="38"/>
                </a:lnTo>
                <a:lnTo>
                  <a:pt x="161" y="37"/>
                </a:lnTo>
                <a:lnTo>
                  <a:pt x="160" y="37"/>
                </a:lnTo>
                <a:lnTo>
                  <a:pt x="160" y="38"/>
                </a:lnTo>
                <a:lnTo>
                  <a:pt x="160" y="39"/>
                </a:lnTo>
                <a:lnTo>
                  <a:pt x="156" y="42"/>
                </a:lnTo>
                <a:lnTo>
                  <a:pt x="155" y="43"/>
                </a:lnTo>
                <a:lnTo>
                  <a:pt x="155" y="45"/>
                </a:lnTo>
                <a:lnTo>
                  <a:pt x="155" y="46"/>
                </a:lnTo>
                <a:lnTo>
                  <a:pt x="159" y="47"/>
                </a:lnTo>
                <a:lnTo>
                  <a:pt x="161" y="49"/>
                </a:lnTo>
                <a:lnTo>
                  <a:pt x="163" y="52"/>
                </a:lnTo>
                <a:lnTo>
                  <a:pt x="164" y="56"/>
                </a:lnTo>
                <a:lnTo>
                  <a:pt x="164" y="56"/>
                </a:lnTo>
                <a:lnTo>
                  <a:pt x="164" y="58"/>
                </a:lnTo>
                <a:lnTo>
                  <a:pt x="164" y="59"/>
                </a:lnTo>
                <a:lnTo>
                  <a:pt x="165" y="60"/>
                </a:lnTo>
                <a:lnTo>
                  <a:pt x="165" y="61"/>
                </a:lnTo>
                <a:lnTo>
                  <a:pt x="164" y="63"/>
                </a:lnTo>
                <a:lnTo>
                  <a:pt x="163" y="66"/>
                </a:lnTo>
                <a:lnTo>
                  <a:pt x="162" y="67"/>
                </a:lnTo>
                <a:lnTo>
                  <a:pt x="161" y="69"/>
                </a:lnTo>
                <a:lnTo>
                  <a:pt x="160" y="71"/>
                </a:lnTo>
                <a:lnTo>
                  <a:pt x="159" y="72"/>
                </a:lnTo>
                <a:lnTo>
                  <a:pt x="160" y="75"/>
                </a:lnTo>
                <a:lnTo>
                  <a:pt x="161" y="75"/>
                </a:lnTo>
                <a:lnTo>
                  <a:pt x="162" y="76"/>
                </a:lnTo>
                <a:lnTo>
                  <a:pt x="162" y="77"/>
                </a:lnTo>
                <a:lnTo>
                  <a:pt x="162" y="78"/>
                </a:lnTo>
                <a:lnTo>
                  <a:pt x="161" y="81"/>
                </a:lnTo>
                <a:lnTo>
                  <a:pt x="159" y="82"/>
                </a:lnTo>
                <a:lnTo>
                  <a:pt x="156" y="82"/>
                </a:lnTo>
                <a:lnTo>
                  <a:pt x="153" y="82"/>
                </a:lnTo>
                <a:lnTo>
                  <a:pt x="147" y="81"/>
                </a:lnTo>
                <a:lnTo>
                  <a:pt x="146" y="81"/>
                </a:lnTo>
                <a:lnTo>
                  <a:pt x="145" y="81"/>
                </a:lnTo>
                <a:lnTo>
                  <a:pt x="145" y="83"/>
                </a:lnTo>
                <a:lnTo>
                  <a:pt x="145" y="85"/>
                </a:lnTo>
                <a:lnTo>
                  <a:pt x="147" y="87"/>
                </a:lnTo>
                <a:lnTo>
                  <a:pt x="149" y="87"/>
                </a:lnTo>
                <a:lnTo>
                  <a:pt x="151" y="91"/>
                </a:lnTo>
                <a:lnTo>
                  <a:pt x="153" y="92"/>
                </a:lnTo>
                <a:lnTo>
                  <a:pt x="153" y="93"/>
                </a:lnTo>
                <a:lnTo>
                  <a:pt x="152" y="94"/>
                </a:lnTo>
                <a:lnTo>
                  <a:pt x="151" y="96"/>
                </a:lnTo>
                <a:lnTo>
                  <a:pt x="149" y="98"/>
                </a:lnTo>
                <a:lnTo>
                  <a:pt x="145" y="98"/>
                </a:lnTo>
                <a:lnTo>
                  <a:pt x="143" y="99"/>
                </a:lnTo>
                <a:lnTo>
                  <a:pt x="143" y="102"/>
                </a:lnTo>
                <a:lnTo>
                  <a:pt x="142" y="103"/>
                </a:lnTo>
                <a:lnTo>
                  <a:pt x="142" y="104"/>
                </a:lnTo>
                <a:lnTo>
                  <a:pt x="142" y="106"/>
                </a:lnTo>
                <a:lnTo>
                  <a:pt x="142" y="107"/>
                </a:lnTo>
                <a:lnTo>
                  <a:pt x="142" y="107"/>
                </a:lnTo>
                <a:lnTo>
                  <a:pt x="141" y="109"/>
                </a:lnTo>
                <a:lnTo>
                  <a:pt x="141" y="110"/>
                </a:lnTo>
                <a:lnTo>
                  <a:pt x="141" y="111"/>
                </a:lnTo>
                <a:lnTo>
                  <a:pt x="142" y="116"/>
                </a:lnTo>
                <a:lnTo>
                  <a:pt x="143" y="119"/>
                </a:lnTo>
                <a:lnTo>
                  <a:pt x="143" y="120"/>
                </a:lnTo>
                <a:lnTo>
                  <a:pt x="139" y="126"/>
                </a:lnTo>
                <a:lnTo>
                  <a:pt x="137" y="126"/>
                </a:lnTo>
                <a:lnTo>
                  <a:pt x="136" y="126"/>
                </a:lnTo>
                <a:lnTo>
                  <a:pt x="135" y="124"/>
                </a:lnTo>
                <a:lnTo>
                  <a:pt x="135" y="123"/>
                </a:lnTo>
                <a:lnTo>
                  <a:pt x="133" y="122"/>
                </a:lnTo>
                <a:lnTo>
                  <a:pt x="132" y="122"/>
                </a:lnTo>
                <a:lnTo>
                  <a:pt x="131" y="122"/>
                </a:lnTo>
                <a:lnTo>
                  <a:pt x="132" y="123"/>
                </a:lnTo>
                <a:lnTo>
                  <a:pt x="132" y="123"/>
                </a:lnTo>
                <a:lnTo>
                  <a:pt x="127" y="122"/>
                </a:lnTo>
                <a:lnTo>
                  <a:pt x="125" y="122"/>
                </a:lnTo>
                <a:lnTo>
                  <a:pt x="124" y="123"/>
                </a:lnTo>
                <a:lnTo>
                  <a:pt x="124" y="124"/>
                </a:lnTo>
                <a:lnTo>
                  <a:pt x="120" y="127"/>
                </a:lnTo>
                <a:lnTo>
                  <a:pt x="119" y="128"/>
                </a:lnTo>
                <a:lnTo>
                  <a:pt x="120" y="129"/>
                </a:lnTo>
                <a:lnTo>
                  <a:pt x="122" y="129"/>
                </a:lnTo>
                <a:lnTo>
                  <a:pt x="122" y="130"/>
                </a:lnTo>
                <a:lnTo>
                  <a:pt x="122" y="131"/>
                </a:lnTo>
                <a:lnTo>
                  <a:pt x="119" y="131"/>
                </a:lnTo>
                <a:lnTo>
                  <a:pt x="116" y="132"/>
                </a:lnTo>
                <a:lnTo>
                  <a:pt x="113" y="132"/>
                </a:lnTo>
                <a:lnTo>
                  <a:pt x="111" y="132"/>
                </a:lnTo>
                <a:lnTo>
                  <a:pt x="110" y="131"/>
                </a:lnTo>
                <a:lnTo>
                  <a:pt x="109" y="130"/>
                </a:lnTo>
                <a:lnTo>
                  <a:pt x="107" y="131"/>
                </a:lnTo>
                <a:lnTo>
                  <a:pt x="106" y="134"/>
                </a:lnTo>
                <a:lnTo>
                  <a:pt x="103" y="137"/>
                </a:lnTo>
                <a:lnTo>
                  <a:pt x="102" y="139"/>
                </a:lnTo>
                <a:lnTo>
                  <a:pt x="102" y="143"/>
                </a:lnTo>
                <a:lnTo>
                  <a:pt x="103" y="147"/>
                </a:lnTo>
                <a:lnTo>
                  <a:pt x="103" y="152"/>
                </a:lnTo>
                <a:lnTo>
                  <a:pt x="103" y="153"/>
                </a:lnTo>
                <a:lnTo>
                  <a:pt x="104" y="154"/>
                </a:lnTo>
                <a:lnTo>
                  <a:pt x="105" y="156"/>
                </a:lnTo>
                <a:lnTo>
                  <a:pt x="103" y="158"/>
                </a:lnTo>
                <a:lnTo>
                  <a:pt x="96" y="159"/>
                </a:lnTo>
                <a:lnTo>
                  <a:pt x="91" y="161"/>
                </a:lnTo>
                <a:lnTo>
                  <a:pt x="86" y="162"/>
                </a:lnTo>
                <a:lnTo>
                  <a:pt x="79" y="162"/>
                </a:lnTo>
                <a:lnTo>
                  <a:pt x="75" y="162"/>
                </a:lnTo>
                <a:lnTo>
                  <a:pt x="73" y="163"/>
                </a:lnTo>
                <a:lnTo>
                  <a:pt x="73" y="163"/>
                </a:lnTo>
                <a:lnTo>
                  <a:pt x="72" y="164"/>
                </a:lnTo>
                <a:lnTo>
                  <a:pt x="72" y="166"/>
                </a:lnTo>
                <a:lnTo>
                  <a:pt x="66" y="163"/>
                </a:lnTo>
                <a:lnTo>
                  <a:pt x="62" y="163"/>
                </a:lnTo>
                <a:lnTo>
                  <a:pt x="58" y="164"/>
                </a:lnTo>
                <a:lnTo>
                  <a:pt x="54" y="164"/>
                </a:lnTo>
                <a:lnTo>
                  <a:pt x="52" y="164"/>
                </a:lnTo>
                <a:lnTo>
                  <a:pt x="50" y="164"/>
                </a:lnTo>
                <a:lnTo>
                  <a:pt x="49" y="164"/>
                </a:lnTo>
                <a:lnTo>
                  <a:pt x="48" y="166"/>
                </a:lnTo>
                <a:lnTo>
                  <a:pt x="46" y="166"/>
                </a:lnTo>
                <a:lnTo>
                  <a:pt x="44" y="166"/>
                </a:lnTo>
                <a:lnTo>
                  <a:pt x="39" y="162"/>
                </a:lnTo>
                <a:lnTo>
                  <a:pt x="21" y="158"/>
                </a:lnTo>
                <a:lnTo>
                  <a:pt x="21" y="158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52" name="Freeform 1252"/>
          <p:cNvSpPr>
            <a:spLocks/>
          </p:cNvSpPr>
          <p:nvPr/>
        </p:nvSpPr>
        <p:spPr bwMode="auto">
          <a:xfrm>
            <a:off x="6311900" y="2705065"/>
            <a:ext cx="212725" cy="112713"/>
          </a:xfrm>
          <a:custGeom>
            <a:avLst/>
            <a:gdLst>
              <a:gd name="T0" fmla="*/ 128 w 134"/>
              <a:gd name="T1" fmla="*/ 49 h 71"/>
              <a:gd name="T2" fmla="*/ 128 w 134"/>
              <a:gd name="T3" fmla="*/ 59 h 71"/>
              <a:gd name="T4" fmla="*/ 134 w 134"/>
              <a:gd name="T5" fmla="*/ 64 h 71"/>
              <a:gd name="T6" fmla="*/ 132 w 134"/>
              <a:gd name="T7" fmla="*/ 70 h 71"/>
              <a:gd name="T8" fmla="*/ 121 w 134"/>
              <a:gd name="T9" fmla="*/ 70 h 71"/>
              <a:gd name="T10" fmla="*/ 114 w 134"/>
              <a:gd name="T11" fmla="*/ 69 h 71"/>
              <a:gd name="T12" fmla="*/ 96 w 134"/>
              <a:gd name="T13" fmla="*/ 65 h 71"/>
              <a:gd name="T14" fmla="*/ 84 w 134"/>
              <a:gd name="T15" fmla="*/ 63 h 71"/>
              <a:gd name="T16" fmla="*/ 74 w 134"/>
              <a:gd name="T17" fmla="*/ 55 h 71"/>
              <a:gd name="T18" fmla="*/ 66 w 134"/>
              <a:gd name="T19" fmla="*/ 53 h 71"/>
              <a:gd name="T20" fmla="*/ 60 w 134"/>
              <a:gd name="T21" fmla="*/ 53 h 71"/>
              <a:gd name="T22" fmla="*/ 54 w 134"/>
              <a:gd name="T23" fmla="*/ 54 h 71"/>
              <a:gd name="T24" fmla="*/ 44 w 134"/>
              <a:gd name="T25" fmla="*/ 49 h 71"/>
              <a:gd name="T26" fmla="*/ 37 w 134"/>
              <a:gd name="T27" fmla="*/ 46 h 71"/>
              <a:gd name="T28" fmla="*/ 28 w 134"/>
              <a:gd name="T29" fmla="*/ 43 h 71"/>
              <a:gd name="T30" fmla="*/ 19 w 134"/>
              <a:gd name="T31" fmla="*/ 36 h 71"/>
              <a:gd name="T32" fmla="*/ 10 w 134"/>
              <a:gd name="T33" fmla="*/ 31 h 71"/>
              <a:gd name="T34" fmla="*/ 9 w 134"/>
              <a:gd name="T35" fmla="*/ 32 h 71"/>
              <a:gd name="T36" fmla="*/ 5 w 134"/>
              <a:gd name="T37" fmla="*/ 28 h 71"/>
              <a:gd name="T38" fmla="*/ 0 w 134"/>
              <a:gd name="T39" fmla="*/ 24 h 71"/>
              <a:gd name="T40" fmla="*/ 3 w 134"/>
              <a:gd name="T41" fmla="*/ 20 h 71"/>
              <a:gd name="T42" fmla="*/ 3 w 134"/>
              <a:gd name="T43" fmla="*/ 14 h 71"/>
              <a:gd name="T44" fmla="*/ 3 w 134"/>
              <a:gd name="T45" fmla="*/ 9 h 71"/>
              <a:gd name="T46" fmla="*/ 5 w 134"/>
              <a:gd name="T47" fmla="*/ 6 h 71"/>
              <a:gd name="T48" fmla="*/ 8 w 134"/>
              <a:gd name="T49" fmla="*/ 1 h 71"/>
              <a:gd name="T50" fmla="*/ 10 w 134"/>
              <a:gd name="T51" fmla="*/ 1 h 71"/>
              <a:gd name="T52" fmla="*/ 16 w 134"/>
              <a:gd name="T53" fmla="*/ 4 h 71"/>
              <a:gd name="T54" fmla="*/ 16 w 134"/>
              <a:gd name="T55" fmla="*/ 1 h 71"/>
              <a:gd name="T56" fmla="*/ 16 w 134"/>
              <a:gd name="T57" fmla="*/ 0 h 71"/>
              <a:gd name="T58" fmla="*/ 27 w 134"/>
              <a:gd name="T59" fmla="*/ 1 h 71"/>
              <a:gd name="T60" fmla="*/ 37 w 134"/>
              <a:gd name="T61" fmla="*/ 7 h 71"/>
              <a:gd name="T62" fmla="*/ 47 w 134"/>
              <a:gd name="T63" fmla="*/ 13 h 71"/>
              <a:gd name="T64" fmla="*/ 53 w 134"/>
              <a:gd name="T65" fmla="*/ 21 h 71"/>
              <a:gd name="T66" fmla="*/ 57 w 134"/>
              <a:gd name="T67" fmla="*/ 21 h 71"/>
              <a:gd name="T68" fmla="*/ 58 w 134"/>
              <a:gd name="T69" fmla="*/ 19 h 71"/>
              <a:gd name="T70" fmla="*/ 61 w 134"/>
              <a:gd name="T71" fmla="*/ 18 h 71"/>
              <a:gd name="T72" fmla="*/ 64 w 134"/>
              <a:gd name="T73" fmla="*/ 21 h 71"/>
              <a:gd name="T74" fmla="*/ 65 w 134"/>
              <a:gd name="T75" fmla="*/ 28 h 71"/>
              <a:gd name="T76" fmla="*/ 68 w 134"/>
              <a:gd name="T77" fmla="*/ 29 h 71"/>
              <a:gd name="T78" fmla="*/ 73 w 134"/>
              <a:gd name="T79" fmla="*/ 30 h 71"/>
              <a:gd name="T80" fmla="*/ 79 w 134"/>
              <a:gd name="T81" fmla="*/ 31 h 71"/>
              <a:gd name="T82" fmla="*/ 80 w 134"/>
              <a:gd name="T83" fmla="*/ 33 h 71"/>
              <a:gd name="T84" fmla="*/ 88 w 134"/>
              <a:gd name="T85" fmla="*/ 38 h 71"/>
              <a:gd name="T86" fmla="*/ 93 w 134"/>
              <a:gd name="T87" fmla="*/ 41 h 71"/>
              <a:gd name="T88" fmla="*/ 97 w 134"/>
              <a:gd name="T89" fmla="*/ 43 h 71"/>
              <a:gd name="T90" fmla="*/ 101 w 134"/>
              <a:gd name="T91" fmla="*/ 43 h 71"/>
              <a:gd name="T92" fmla="*/ 105 w 134"/>
              <a:gd name="T93" fmla="*/ 41 h 71"/>
              <a:gd name="T94" fmla="*/ 111 w 134"/>
              <a:gd name="T95" fmla="*/ 43 h 71"/>
              <a:gd name="T96" fmla="*/ 117 w 134"/>
              <a:gd name="T97" fmla="*/ 46 h 71"/>
              <a:gd name="T98" fmla="*/ 125 w 134"/>
              <a:gd name="T99" fmla="*/ 46 h 71"/>
              <a:gd name="T100" fmla="*/ 129 w 134"/>
              <a:gd name="T101" fmla="*/ 43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34" h="71">
                <a:moveTo>
                  <a:pt x="129" y="43"/>
                </a:moveTo>
                <a:lnTo>
                  <a:pt x="128" y="46"/>
                </a:lnTo>
                <a:lnTo>
                  <a:pt x="128" y="49"/>
                </a:lnTo>
                <a:lnTo>
                  <a:pt x="129" y="53"/>
                </a:lnTo>
                <a:lnTo>
                  <a:pt x="129" y="58"/>
                </a:lnTo>
                <a:lnTo>
                  <a:pt x="128" y="59"/>
                </a:lnTo>
                <a:lnTo>
                  <a:pt x="129" y="60"/>
                </a:lnTo>
                <a:lnTo>
                  <a:pt x="131" y="61"/>
                </a:lnTo>
                <a:lnTo>
                  <a:pt x="134" y="64"/>
                </a:lnTo>
                <a:lnTo>
                  <a:pt x="134" y="67"/>
                </a:lnTo>
                <a:lnTo>
                  <a:pt x="132" y="70"/>
                </a:lnTo>
                <a:lnTo>
                  <a:pt x="132" y="70"/>
                </a:lnTo>
                <a:lnTo>
                  <a:pt x="129" y="70"/>
                </a:lnTo>
                <a:lnTo>
                  <a:pt x="126" y="71"/>
                </a:lnTo>
                <a:lnTo>
                  <a:pt x="121" y="70"/>
                </a:lnTo>
                <a:lnTo>
                  <a:pt x="119" y="71"/>
                </a:lnTo>
                <a:lnTo>
                  <a:pt x="117" y="70"/>
                </a:lnTo>
                <a:lnTo>
                  <a:pt x="114" y="69"/>
                </a:lnTo>
                <a:lnTo>
                  <a:pt x="111" y="69"/>
                </a:lnTo>
                <a:lnTo>
                  <a:pt x="98" y="67"/>
                </a:lnTo>
                <a:lnTo>
                  <a:pt x="96" y="65"/>
                </a:lnTo>
                <a:lnTo>
                  <a:pt x="94" y="64"/>
                </a:lnTo>
                <a:lnTo>
                  <a:pt x="89" y="64"/>
                </a:lnTo>
                <a:lnTo>
                  <a:pt x="84" y="63"/>
                </a:lnTo>
                <a:lnTo>
                  <a:pt x="80" y="61"/>
                </a:lnTo>
                <a:lnTo>
                  <a:pt x="78" y="59"/>
                </a:lnTo>
                <a:lnTo>
                  <a:pt x="74" y="55"/>
                </a:lnTo>
                <a:lnTo>
                  <a:pt x="73" y="54"/>
                </a:lnTo>
                <a:lnTo>
                  <a:pt x="67" y="53"/>
                </a:lnTo>
                <a:lnTo>
                  <a:pt x="66" y="53"/>
                </a:lnTo>
                <a:lnTo>
                  <a:pt x="65" y="54"/>
                </a:lnTo>
                <a:lnTo>
                  <a:pt x="64" y="54"/>
                </a:lnTo>
                <a:lnTo>
                  <a:pt x="60" y="53"/>
                </a:lnTo>
                <a:lnTo>
                  <a:pt x="58" y="52"/>
                </a:lnTo>
                <a:lnTo>
                  <a:pt x="56" y="54"/>
                </a:lnTo>
                <a:lnTo>
                  <a:pt x="54" y="54"/>
                </a:lnTo>
                <a:lnTo>
                  <a:pt x="48" y="52"/>
                </a:lnTo>
                <a:lnTo>
                  <a:pt x="45" y="49"/>
                </a:lnTo>
                <a:lnTo>
                  <a:pt x="44" y="49"/>
                </a:lnTo>
                <a:lnTo>
                  <a:pt x="41" y="48"/>
                </a:lnTo>
                <a:lnTo>
                  <a:pt x="40" y="48"/>
                </a:lnTo>
                <a:lnTo>
                  <a:pt x="37" y="46"/>
                </a:lnTo>
                <a:lnTo>
                  <a:pt x="34" y="44"/>
                </a:lnTo>
                <a:lnTo>
                  <a:pt x="30" y="44"/>
                </a:lnTo>
                <a:lnTo>
                  <a:pt x="28" y="43"/>
                </a:lnTo>
                <a:lnTo>
                  <a:pt x="26" y="41"/>
                </a:lnTo>
                <a:lnTo>
                  <a:pt x="21" y="38"/>
                </a:lnTo>
                <a:lnTo>
                  <a:pt x="19" y="36"/>
                </a:lnTo>
                <a:lnTo>
                  <a:pt x="16" y="34"/>
                </a:lnTo>
                <a:lnTo>
                  <a:pt x="15" y="33"/>
                </a:lnTo>
                <a:lnTo>
                  <a:pt x="10" y="31"/>
                </a:lnTo>
                <a:lnTo>
                  <a:pt x="10" y="31"/>
                </a:lnTo>
                <a:lnTo>
                  <a:pt x="10" y="32"/>
                </a:lnTo>
                <a:lnTo>
                  <a:pt x="9" y="32"/>
                </a:lnTo>
                <a:lnTo>
                  <a:pt x="7" y="31"/>
                </a:lnTo>
                <a:lnTo>
                  <a:pt x="6" y="30"/>
                </a:lnTo>
                <a:lnTo>
                  <a:pt x="5" y="28"/>
                </a:lnTo>
                <a:lnTo>
                  <a:pt x="2" y="28"/>
                </a:lnTo>
                <a:lnTo>
                  <a:pt x="2" y="27"/>
                </a:lnTo>
                <a:lnTo>
                  <a:pt x="0" y="24"/>
                </a:lnTo>
                <a:lnTo>
                  <a:pt x="2" y="22"/>
                </a:lnTo>
                <a:lnTo>
                  <a:pt x="3" y="22"/>
                </a:lnTo>
                <a:lnTo>
                  <a:pt x="3" y="20"/>
                </a:lnTo>
                <a:lnTo>
                  <a:pt x="4" y="19"/>
                </a:lnTo>
                <a:lnTo>
                  <a:pt x="3" y="17"/>
                </a:lnTo>
                <a:lnTo>
                  <a:pt x="3" y="14"/>
                </a:lnTo>
                <a:lnTo>
                  <a:pt x="4" y="12"/>
                </a:lnTo>
                <a:lnTo>
                  <a:pt x="3" y="10"/>
                </a:lnTo>
                <a:lnTo>
                  <a:pt x="3" y="9"/>
                </a:lnTo>
                <a:lnTo>
                  <a:pt x="3" y="8"/>
                </a:lnTo>
                <a:lnTo>
                  <a:pt x="5" y="8"/>
                </a:lnTo>
                <a:lnTo>
                  <a:pt x="5" y="6"/>
                </a:lnTo>
                <a:lnTo>
                  <a:pt x="7" y="4"/>
                </a:lnTo>
                <a:lnTo>
                  <a:pt x="8" y="2"/>
                </a:lnTo>
                <a:lnTo>
                  <a:pt x="8" y="1"/>
                </a:lnTo>
                <a:lnTo>
                  <a:pt x="8" y="1"/>
                </a:lnTo>
                <a:lnTo>
                  <a:pt x="9" y="1"/>
                </a:lnTo>
                <a:lnTo>
                  <a:pt x="10" y="1"/>
                </a:lnTo>
                <a:lnTo>
                  <a:pt x="12" y="1"/>
                </a:lnTo>
                <a:lnTo>
                  <a:pt x="13" y="2"/>
                </a:lnTo>
                <a:lnTo>
                  <a:pt x="16" y="4"/>
                </a:lnTo>
                <a:lnTo>
                  <a:pt x="16" y="3"/>
                </a:lnTo>
                <a:lnTo>
                  <a:pt x="15" y="3"/>
                </a:lnTo>
                <a:lnTo>
                  <a:pt x="16" y="1"/>
                </a:lnTo>
                <a:lnTo>
                  <a:pt x="16" y="0"/>
                </a:lnTo>
                <a:lnTo>
                  <a:pt x="16" y="0"/>
                </a:lnTo>
                <a:lnTo>
                  <a:pt x="16" y="0"/>
                </a:lnTo>
                <a:lnTo>
                  <a:pt x="20" y="0"/>
                </a:lnTo>
                <a:lnTo>
                  <a:pt x="21" y="0"/>
                </a:lnTo>
                <a:lnTo>
                  <a:pt x="27" y="1"/>
                </a:lnTo>
                <a:lnTo>
                  <a:pt x="33" y="3"/>
                </a:lnTo>
                <a:lnTo>
                  <a:pt x="34" y="4"/>
                </a:lnTo>
                <a:lnTo>
                  <a:pt x="37" y="7"/>
                </a:lnTo>
                <a:lnTo>
                  <a:pt x="39" y="9"/>
                </a:lnTo>
                <a:lnTo>
                  <a:pt x="44" y="10"/>
                </a:lnTo>
                <a:lnTo>
                  <a:pt x="47" y="13"/>
                </a:lnTo>
                <a:lnTo>
                  <a:pt x="50" y="16"/>
                </a:lnTo>
                <a:lnTo>
                  <a:pt x="51" y="20"/>
                </a:lnTo>
                <a:lnTo>
                  <a:pt x="53" y="21"/>
                </a:lnTo>
                <a:lnTo>
                  <a:pt x="55" y="22"/>
                </a:lnTo>
                <a:lnTo>
                  <a:pt x="56" y="22"/>
                </a:lnTo>
                <a:lnTo>
                  <a:pt x="57" y="21"/>
                </a:lnTo>
                <a:lnTo>
                  <a:pt x="57" y="21"/>
                </a:lnTo>
                <a:lnTo>
                  <a:pt x="58" y="20"/>
                </a:lnTo>
                <a:lnTo>
                  <a:pt x="58" y="19"/>
                </a:lnTo>
                <a:lnTo>
                  <a:pt x="59" y="18"/>
                </a:lnTo>
                <a:lnTo>
                  <a:pt x="60" y="18"/>
                </a:lnTo>
                <a:lnTo>
                  <a:pt x="61" y="18"/>
                </a:lnTo>
                <a:lnTo>
                  <a:pt x="64" y="19"/>
                </a:lnTo>
                <a:lnTo>
                  <a:pt x="65" y="19"/>
                </a:lnTo>
                <a:lnTo>
                  <a:pt x="64" y="21"/>
                </a:lnTo>
                <a:lnTo>
                  <a:pt x="65" y="22"/>
                </a:lnTo>
                <a:lnTo>
                  <a:pt x="65" y="27"/>
                </a:lnTo>
                <a:lnTo>
                  <a:pt x="65" y="28"/>
                </a:lnTo>
                <a:lnTo>
                  <a:pt x="66" y="27"/>
                </a:lnTo>
                <a:lnTo>
                  <a:pt x="67" y="28"/>
                </a:lnTo>
                <a:lnTo>
                  <a:pt x="68" y="29"/>
                </a:lnTo>
                <a:lnTo>
                  <a:pt x="69" y="29"/>
                </a:lnTo>
                <a:lnTo>
                  <a:pt x="71" y="30"/>
                </a:lnTo>
                <a:lnTo>
                  <a:pt x="73" y="30"/>
                </a:lnTo>
                <a:lnTo>
                  <a:pt x="75" y="31"/>
                </a:lnTo>
                <a:lnTo>
                  <a:pt x="77" y="31"/>
                </a:lnTo>
                <a:lnTo>
                  <a:pt x="79" y="31"/>
                </a:lnTo>
                <a:lnTo>
                  <a:pt x="80" y="30"/>
                </a:lnTo>
                <a:lnTo>
                  <a:pt x="80" y="30"/>
                </a:lnTo>
                <a:lnTo>
                  <a:pt x="80" y="33"/>
                </a:lnTo>
                <a:lnTo>
                  <a:pt x="81" y="36"/>
                </a:lnTo>
                <a:lnTo>
                  <a:pt x="86" y="38"/>
                </a:lnTo>
                <a:lnTo>
                  <a:pt x="88" y="38"/>
                </a:lnTo>
                <a:lnTo>
                  <a:pt x="90" y="38"/>
                </a:lnTo>
                <a:lnTo>
                  <a:pt x="93" y="40"/>
                </a:lnTo>
                <a:lnTo>
                  <a:pt x="93" y="41"/>
                </a:lnTo>
                <a:lnTo>
                  <a:pt x="95" y="42"/>
                </a:lnTo>
                <a:lnTo>
                  <a:pt x="96" y="43"/>
                </a:lnTo>
                <a:lnTo>
                  <a:pt x="97" y="43"/>
                </a:lnTo>
                <a:lnTo>
                  <a:pt x="98" y="42"/>
                </a:lnTo>
                <a:lnTo>
                  <a:pt x="100" y="43"/>
                </a:lnTo>
                <a:lnTo>
                  <a:pt x="101" y="43"/>
                </a:lnTo>
                <a:lnTo>
                  <a:pt x="104" y="43"/>
                </a:lnTo>
                <a:lnTo>
                  <a:pt x="104" y="43"/>
                </a:lnTo>
                <a:lnTo>
                  <a:pt x="105" y="41"/>
                </a:lnTo>
                <a:lnTo>
                  <a:pt x="106" y="41"/>
                </a:lnTo>
                <a:lnTo>
                  <a:pt x="108" y="41"/>
                </a:lnTo>
                <a:lnTo>
                  <a:pt x="111" y="43"/>
                </a:lnTo>
                <a:lnTo>
                  <a:pt x="114" y="44"/>
                </a:lnTo>
                <a:lnTo>
                  <a:pt x="116" y="46"/>
                </a:lnTo>
                <a:lnTo>
                  <a:pt x="117" y="46"/>
                </a:lnTo>
                <a:lnTo>
                  <a:pt x="119" y="44"/>
                </a:lnTo>
                <a:lnTo>
                  <a:pt x="124" y="46"/>
                </a:lnTo>
                <a:lnTo>
                  <a:pt x="125" y="46"/>
                </a:lnTo>
                <a:lnTo>
                  <a:pt x="126" y="43"/>
                </a:lnTo>
                <a:lnTo>
                  <a:pt x="127" y="43"/>
                </a:lnTo>
                <a:lnTo>
                  <a:pt x="129" y="4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53" name="Freeform 1253"/>
          <p:cNvSpPr>
            <a:spLocks/>
          </p:cNvSpPr>
          <p:nvPr/>
        </p:nvSpPr>
        <p:spPr bwMode="auto">
          <a:xfrm>
            <a:off x="6311900" y="2705065"/>
            <a:ext cx="212725" cy="112713"/>
          </a:xfrm>
          <a:custGeom>
            <a:avLst/>
            <a:gdLst>
              <a:gd name="T0" fmla="*/ 128 w 134"/>
              <a:gd name="T1" fmla="*/ 49 h 71"/>
              <a:gd name="T2" fmla="*/ 128 w 134"/>
              <a:gd name="T3" fmla="*/ 59 h 71"/>
              <a:gd name="T4" fmla="*/ 134 w 134"/>
              <a:gd name="T5" fmla="*/ 64 h 71"/>
              <a:gd name="T6" fmla="*/ 132 w 134"/>
              <a:gd name="T7" fmla="*/ 70 h 71"/>
              <a:gd name="T8" fmla="*/ 121 w 134"/>
              <a:gd name="T9" fmla="*/ 70 h 71"/>
              <a:gd name="T10" fmla="*/ 114 w 134"/>
              <a:gd name="T11" fmla="*/ 69 h 71"/>
              <a:gd name="T12" fmla="*/ 96 w 134"/>
              <a:gd name="T13" fmla="*/ 65 h 71"/>
              <a:gd name="T14" fmla="*/ 84 w 134"/>
              <a:gd name="T15" fmla="*/ 63 h 71"/>
              <a:gd name="T16" fmla="*/ 74 w 134"/>
              <a:gd name="T17" fmla="*/ 55 h 71"/>
              <a:gd name="T18" fmla="*/ 66 w 134"/>
              <a:gd name="T19" fmla="*/ 53 h 71"/>
              <a:gd name="T20" fmla="*/ 60 w 134"/>
              <a:gd name="T21" fmla="*/ 53 h 71"/>
              <a:gd name="T22" fmla="*/ 54 w 134"/>
              <a:gd name="T23" fmla="*/ 54 h 71"/>
              <a:gd name="T24" fmla="*/ 44 w 134"/>
              <a:gd name="T25" fmla="*/ 49 h 71"/>
              <a:gd name="T26" fmla="*/ 37 w 134"/>
              <a:gd name="T27" fmla="*/ 46 h 71"/>
              <a:gd name="T28" fmla="*/ 28 w 134"/>
              <a:gd name="T29" fmla="*/ 43 h 71"/>
              <a:gd name="T30" fmla="*/ 19 w 134"/>
              <a:gd name="T31" fmla="*/ 36 h 71"/>
              <a:gd name="T32" fmla="*/ 10 w 134"/>
              <a:gd name="T33" fmla="*/ 31 h 71"/>
              <a:gd name="T34" fmla="*/ 9 w 134"/>
              <a:gd name="T35" fmla="*/ 32 h 71"/>
              <a:gd name="T36" fmla="*/ 5 w 134"/>
              <a:gd name="T37" fmla="*/ 28 h 71"/>
              <a:gd name="T38" fmla="*/ 0 w 134"/>
              <a:gd name="T39" fmla="*/ 24 h 71"/>
              <a:gd name="T40" fmla="*/ 3 w 134"/>
              <a:gd name="T41" fmla="*/ 20 h 71"/>
              <a:gd name="T42" fmla="*/ 3 w 134"/>
              <a:gd name="T43" fmla="*/ 14 h 71"/>
              <a:gd name="T44" fmla="*/ 3 w 134"/>
              <a:gd name="T45" fmla="*/ 9 h 71"/>
              <a:gd name="T46" fmla="*/ 5 w 134"/>
              <a:gd name="T47" fmla="*/ 6 h 71"/>
              <a:gd name="T48" fmla="*/ 8 w 134"/>
              <a:gd name="T49" fmla="*/ 1 h 71"/>
              <a:gd name="T50" fmla="*/ 10 w 134"/>
              <a:gd name="T51" fmla="*/ 1 h 71"/>
              <a:gd name="T52" fmla="*/ 16 w 134"/>
              <a:gd name="T53" fmla="*/ 4 h 71"/>
              <a:gd name="T54" fmla="*/ 16 w 134"/>
              <a:gd name="T55" fmla="*/ 1 h 71"/>
              <a:gd name="T56" fmla="*/ 16 w 134"/>
              <a:gd name="T57" fmla="*/ 0 h 71"/>
              <a:gd name="T58" fmla="*/ 27 w 134"/>
              <a:gd name="T59" fmla="*/ 1 h 71"/>
              <a:gd name="T60" fmla="*/ 37 w 134"/>
              <a:gd name="T61" fmla="*/ 7 h 71"/>
              <a:gd name="T62" fmla="*/ 47 w 134"/>
              <a:gd name="T63" fmla="*/ 13 h 71"/>
              <a:gd name="T64" fmla="*/ 53 w 134"/>
              <a:gd name="T65" fmla="*/ 21 h 71"/>
              <a:gd name="T66" fmla="*/ 57 w 134"/>
              <a:gd name="T67" fmla="*/ 21 h 71"/>
              <a:gd name="T68" fmla="*/ 58 w 134"/>
              <a:gd name="T69" fmla="*/ 19 h 71"/>
              <a:gd name="T70" fmla="*/ 61 w 134"/>
              <a:gd name="T71" fmla="*/ 18 h 71"/>
              <a:gd name="T72" fmla="*/ 64 w 134"/>
              <a:gd name="T73" fmla="*/ 21 h 71"/>
              <a:gd name="T74" fmla="*/ 65 w 134"/>
              <a:gd name="T75" fmla="*/ 28 h 71"/>
              <a:gd name="T76" fmla="*/ 68 w 134"/>
              <a:gd name="T77" fmla="*/ 29 h 71"/>
              <a:gd name="T78" fmla="*/ 73 w 134"/>
              <a:gd name="T79" fmla="*/ 30 h 71"/>
              <a:gd name="T80" fmla="*/ 79 w 134"/>
              <a:gd name="T81" fmla="*/ 31 h 71"/>
              <a:gd name="T82" fmla="*/ 80 w 134"/>
              <a:gd name="T83" fmla="*/ 33 h 71"/>
              <a:gd name="T84" fmla="*/ 88 w 134"/>
              <a:gd name="T85" fmla="*/ 38 h 71"/>
              <a:gd name="T86" fmla="*/ 93 w 134"/>
              <a:gd name="T87" fmla="*/ 41 h 71"/>
              <a:gd name="T88" fmla="*/ 97 w 134"/>
              <a:gd name="T89" fmla="*/ 43 h 71"/>
              <a:gd name="T90" fmla="*/ 101 w 134"/>
              <a:gd name="T91" fmla="*/ 43 h 71"/>
              <a:gd name="T92" fmla="*/ 105 w 134"/>
              <a:gd name="T93" fmla="*/ 41 h 71"/>
              <a:gd name="T94" fmla="*/ 111 w 134"/>
              <a:gd name="T95" fmla="*/ 43 h 71"/>
              <a:gd name="T96" fmla="*/ 117 w 134"/>
              <a:gd name="T97" fmla="*/ 46 h 71"/>
              <a:gd name="T98" fmla="*/ 125 w 134"/>
              <a:gd name="T99" fmla="*/ 46 h 71"/>
              <a:gd name="T100" fmla="*/ 129 w 134"/>
              <a:gd name="T101" fmla="*/ 43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34" h="71">
                <a:moveTo>
                  <a:pt x="129" y="43"/>
                </a:moveTo>
                <a:lnTo>
                  <a:pt x="128" y="46"/>
                </a:lnTo>
                <a:lnTo>
                  <a:pt x="128" y="49"/>
                </a:lnTo>
                <a:lnTo>
                  <a:pt x="129" y="53"/>
                </a:lnTo>
                <a:lnTo>
                  <a:pt x="129" y="58"/>
                </a:lnTo>
                <a:lnTo>
                  <a:pt x="128" y="59"/>
                </a:lnTo>
                <a:lnTo>
                  <a:pt x="129" y="60"/>
                </a:lnTo>
                <a:lnTo>
                  <a:pt x="131" y="61"/>
                </a:lnTo>
                <a:lnTo>
                  <a:pt x="134" y="64"/>
                </a:lnTo>
                <a:lnTo>
                  <a:pt x="134" y="67"/>
                </a:lnTo>
                <a:lnTo>
                  <a:pt x="132" y="70"/>
                </a:lnTo>
                <a:lnTo>
                  <a:pt x="132" y="70"/>
                </a:lnTo>
                <a:lnTo>
                  <a:pt x="129" y="70"/>
                </a:lnTo>
                <a:lnTo>
                  <a:pt x="126" y="71"/>
                </a:lnTo>
                <a:lnTo>
                  <a:pt x="121" y="70"/>
                </a:lnTo>
                <a:lnTo>
                  <a:pt x="119" y="71"/>
                </a:lnTo>
                <a:lnTo>
                  <a:pt x="117" y="70"/>
                </a:lnTo>
                <a:lnTo>
                  <a:pt x="114" y="69"/>
                </a:lnTo>
                <a:lnTo>
                  <a:pt x="111" y="69"/>
                </a:lnTo>
                <a:lnTo>
                  <a:pt x="98" y="67"/>
                </a:lnTo>
                <a:lnTo>
                  <a:pt x="96" y="65"/>
                </a:lnTo>
                <a:lnTo>
                  <a:pt x="94" y="64"/>
                </a:lnTo>
                <a:lnTo>
                  <a:pt x="89" y="64"/>
                </a:lnTo>
                <a:lnTo>
                  <a:pt x="84" y="63"/>
                </a:lnTo>
                <a:lnTo>
                  <a:pt x="80" y="61"/>
                </a:lnTo>
                <a:lnTo>
                  <a:pt x="78" y="59"/>
                </a:lnTo>
                <a:lnTo>
                  <a:pt x="74" y="55"/>
                </a:lnTo>
                <a:lnTo>
                  <a:pt x="73" y="54"/>
                </a:lnTo>
                <a:lnTo>
                  <a:pt x="67" y="53"/>
                </a:lnTo>
                <a:lnTo>
                  <a:pt x="66" y="53"/>
                </a:lnTo>
                <a:lnTo>
                  <a:pt x="65" y="54"/>
                </a:lnTo>
                <a:lnTo>
                  <a:pt x="64" y="54"/>
                </a:lnTo>
                <a:lnTo>
                  <a:pt x="60" y="53"/>
                </a:lnTo>
                <a:lnTo>
                  <a:pt x="58" y="52"/>
                </a:lnTo>
                <a:lnTo>
                  <a:pt x="56" y="54"/>
                </a:lnTo>
                <a:lnTo>
                  <a:pt x="54" y="54"/>
                </a:lnTo>
                <a:lnTo>
                  <a:pt x="48" y="52"/>
                </a:lnTo>
                <a:lnTo>
                  <a:pt x="45" y="49"/>
                </a:lnTo>
                <a:lnTo>
                  <a:pt x="44" y="49"/>
                </a:lnTo>
                <a:lnTo>
                  <a:pt x="41" y="48"/>
                </a:lnTo>
                <a:lnTo>
                  <a:pt x="40" y="48"/>
                </a:lnTo>
                <a:lnTo>
                  <a:pt x="37" y="46"/>
                </a:lnTo>
                <a:lnTo>
                  <a:pt x="34" y="44"/>
                </a:lnTo>
                <a:lnTo>
                  <a:pt x="30" y="44"/>
                </a:lnTo>
                <a:lnTo>
                  <a:pt x="28" y="43"/>
                </a:lnTo>
                <a:lnTo>
                  <a:pt x="26" y="41"/>
                </a:lnTo>
                <a:lnTo>
                  <a:pt x="21" y="38"/>
                </a:lnTo>
                <a:lnTo>
                  <a:pt x="19" y="36"/>
                </a:lnTo>
                <a:lnTo>
                  <a:pt x="16" y="34"/>
                </a:lnTo>
                <a:lnTo>
                  <a:pt x="15" y="33"/>
                </a:lnTo>
                <a:lnTo>
                  <a:pt x="10" y="31"/>
                </a:lnTo>
                <a:lnTo>
                  <a:pt x="10" y="31"/>
                </a:lnTo>
                <a:lnTo>
                  <a:pt x="10" y="32"/>
                </a:lnTo>
                <a:lnTo>
                  <a:pt x="9" y="32"/>
                </a:lnTo>
                <a:lnTo>
                  <a:pt x="7" y="31"/>
                </a:lnTo>
                <a:lnTo>
                  <a:pt x="6" y="30"/>
                </a:lnTo>
                <a:lnTo>
                  <a:pt x="5" y="28"/>
                </a:lnTo>
                <a:lnTo>
                  <a:pt x="2" y="28"/>
                </a:lnTo>
                <a:lnTo>
                  <a:pt x="2" y="27"/>
                </a:lnTo>
                <a:lnTo>
                  <a:pt x="0" y="24"/>
                </a:lnTo>
                <a:lnTo>
                  <a:pt x="2" y="22"/>
                </a:lnTo>
                <a:lnTo>
                  <a:pt x="3" y="22"/>
                </a:lnTo>
                <a:lnTo>
                  <a:pt x="3" y="20"/>
                </a:lnTo>
                <a:lnTo>
                  <a:pt x="4" y="19"/>
                </a:lnTo>
                <a:lnTo>
                  <a:pt x="3" y="17"/>
                </a:lnTo>
                <a:lnTo>
                  <a:pt x="3" y="14"/>
                </a:lnTo>
                <a:lnTo>
                  <a:pt x="4" y="12"/>
                </a:lnTo>
                <a:lnTo>
                  <a:pt x="3" y="10"/>
                </a:lnTo>
                <a:lnTo>
                  <a:pt x="3" y="9"/>
                </a:lnTo>
                <a:lnTo>
                  <a:pt x="3" y="8"/>
                </a:lnTo>
                <a:lnTo>
                  <a:pt x="5" y="8"/>
                </a:lnTo>
                <a:lnTo>
                  <a:pt x="5" y="6"/>
                </a:lnTo>
                <a:lnTo>
                  <a:pt x="7" y="4"/>
                </a:lnTo>
                <a:lnTo>
                  <a:pt x="8" y="2"/>
                </a:lnTo>
                <a:lnTo>
                  <a:pt x="8" y="1"/>
                </a:lnTo>
                <a:lnTo>
                  <a:pt x="8" y="1"/>
                </a:lnTo>
                <a:lnTo>
                  <a:pt x="9" y="1"/>
                </a:lnTo>
                <a:lnTo>
                  <a:pt x="10" y="1"/>
                </a:lnTo>
                <a:lnTo>
                  <a:pt x="12" y="1"/>
                </a:lnTo>
                <a:lnTo>
                  <a:pt x="13" y="2"/>
                </a:lnTo>
                <a:lnTo>
                  <a:pt x="16" y="4"/>
                </a:lnTo>
                <a:lnTo>
                  <a:pt x="16" y="3"/>
                </a:lnTo>
                <a:lnTo>
                  <a:pt x="15" y="3"/>
                </a:lnTo>
                <a:lnTo>
                  <a:pt x="16" y="1"/>
                </a:lnTo>
                <a:lnTo>
                  <a:pt x="16" y="0"/>
                </a:lnTo>
                <a:lnTo>
                  <a:pt x="16" y="0"/>
                </a:lnTo>
                <a:lnTo>
                  <a:pt x="16" y="0"/>
                </a:lnTo>
                <a:lnTo>
                  <a:pt x="20" y="0"/>
                </a:lnTo>
                <a:lnTo>
                  <a:pt x="21" y="0"/>
                </a:lnTo>
                <a:lnTo>
                  <a:pt x="27" y="1"/>
                </a:lnTo>
                <a:lnTo>
                  <a:pt x="33" y="3"/>
                </a:lnTo>
                <a:lnTo>
                  <a:pt x="34" y="4"/>
                </a:lnTo>
                <a:lnTo>
                  <a:pt x="37" y="7"/>
                </a:lnTo>
                <a:lnTo>
                  <a:pt x="39" y="9"/>
                </a:lnTo>
                <a:lnTo>
                  <a:pt x="44" y="10"/>
                </a:lnTo>
                <a:lnTo>
                  <a:pt x="47" y="13"/>
                </a:lnTo>
                <a:lnTo>
                  <a:pt x="50" y="16"/>
                </a:lnTo>
                <a:lnTo>
                  <a:pt x="51" y="20"/>
                </a:lnTo>
                <a:lnTo>
                  <a:pt x="53" y="21"/>
                </a:lnTo>
                <a:lnTo>
                  <a:pt x="55" y="22"/>
                </a:lnTo>
                <a:lnTo>
                  <a:pt x="56" y="22"/>
                </a:lnTo>
                <a:lnTo>
                  <a:pt x="57" y="21"/>
                </a:lnTo>
                <a:lnTo>
                  <a:pt x="57" y="21"/>
                </a:lnTo>
                <a:lnTo>
                  <a:pt x="58" y="20"/>
                </a:lnTo>
                <a:lnTo>
                  <a:pt x="58" y="19"/>
                </a:lnTo>
                <a:lnTo>
                  <a:pt x="59" y="18"/>
                </a:lnTo>
                <a:lnTo>
                  <a:pt x="60" y="18"/>
                </a:lnTo>
                <a:lnTo>
                  <a:pt x="61" y="18"/>
                </a:lnTo>
                <a:lnTo>
                  <a:pt x="64" y="19"/>
                </a:lnTo>
                <a:lnTo>
                  <a:pt x="65" y="19"/>
                </a:lnTo>
                <a:lnTo>
                  <a:pt x="64" y="21"/>
                </a:lnTo>
                <a:lnTo>
                  <a:pt x="65" y="22"/>
                </a:lnTo>
                <a:lnTo>
                  <a:pt x="65" y="27"/>
                </a:lnTo>
                <a:lnTo>
                  <a:pt x="65" y="28"/>
                </a:lnTo>
                <a:lnTo>
                  <a:pt x="66" y="27"/>
                </a:lnTo>
                <a:lnTo>
                  <a:pt x="67" y="28"/>
                </a:lnTo>
                <a:lnTo>
                  <a:pt x="68" y="29"/>
                </a:lnTo>
                <a:lnTo>
                  <a:pt x="69" y="29"/>
                </a:lnTo>
                <a:lnTo>
                  <a:pt x="71" y="30"/>
                </a:lnTo>
                <a:lnTo>
                  <a:pt x="73" y="30"/>
                </a:lnTo>
                <a:lnTo>
                  <a:pt x="75" y="31"/>
                </a:lnTo>
                <a:lnTo>
                  <a:pt x="77" y="31"/>
                </a:lnTo>
                <a:lnTo>
                  <a:pt x="79" y="31"/>
                </a:lnTo>
                <a:lnTo>
                  <a:pt x="80" y="30"/>
                </a:lnTo>
                <a:lnTo>
                  <a:pt x="80" y="30"/>
                </a:lnTo>
                <a:lnTo>
                  <a:pt x="80" y="33"/>
                </a:lnTo>
                <a:lnTo>
                  <a:pt x="81" y="36"/>
                </a:lnTo>
                <a:lnTo>
                  <a:pt x="86" y="38"/>
                </a:lnTo>
                <a:lnTo>
                  <a:pt x="88" y="38"/>
                </a:lnTo>
                <a:lnTo>
                  <a:pt x="90" y="38"/>
                </a:lnTo>
                <a:lnTo>
                  <a:pt x="93" y="40"/>
                </a:lnTo>
                <a:lnTo>
                  <a:pt x="93" y="41"/>
                </a:lnTo>
                <a:lnTo>
                  <a:pt x="95" y="42"/>
                </a:lnTo>
                <a:lnTo>
                  <a:pt x="96" y="43"/>
                </a:lnTo>
                <a:lnTo>
                  <a:pt x="97" y="43"/>
                </a:lnTo>
                <a:lnTo>
                  <a:pt x="98" y="42"/>
                </a:lnTo>
                <a:lnTo>
                  <a:pt x="100" y="43"/>
                </a:lnTo>
                <a:lnTo>
                  <a:pt x="101" y="43"/>
                </a:lnTo>
                <a:lnTo>
                  <a:pt x="104" y="43"/>
                </a:lnTo>
                <a:lnTo>
                  <a:pt x="104" y="43"/>
                </a:lnTo>
                <a:lnTo>
                  <a:pt x="105" y="41"/>
                </a:lnTo>
                <a:lnTo>
                  <a:pt x="106" y="41"/>
                </a:lnTo>
                <a:lnTo>
                  <a:pt x="108" y="41"/>
                </a:lnTo>
                <a:lnTo>
                  <a:pt x="111" y="43"/>
                </a:lnTo>
                <a:lnTo>
                  <a:pt x="114" y="44"/>
                </a:lnTo>
                <a:lnTo>
                  <a:pt x="116" y="46"/>
                </a:lnTo>
                <a:lnTo>
                  <a:pt x="117" y="46"/>
                </a:lnTo>
                <a:lnTo>
                  <a:pt x="119" y="44"/>
                </a:lnTo>
                <a:lnTo>
                  <a:pt x="124" y="46"/>
                </a:lnTo>
                <a:lnTo>
                  <a:pt x="125" y="46"/>
                </a:lnTo>
                <a:lnTo>
                  <a:pt x="126" y="43"/>
                </a:lnTo>
                <a:lnTo>
                  <a:pt x="127" y="43"/>
                </a:lnTo>
                <a:lnTo>
                  <a:pt x="129" y="43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54" name="Freeform 1254"/>
          <p:cNvSpPr>
            <a:spLocks/>
          </p:cNvSpPr>
          <p:nvPr/>
        </p:nvSpPr>
        <p:spPr bwMode="auto">
          <a:xfrm>
            <a:off x="6526212" y="2813015"/>
            <a:ext cx="133350" cy="163513"/>
          </a:xfrm>
          <a:custGeom>
            <a:avLst/>
            <a:gdLst>
              <a:gd name="T0" fmla="*/ 80 w 84"/>
              <a:gd name="T1" fmla="*/ 103 h 103"/>
              <a:gd name="T2" fmla="*/ 73 w 84"/>
              <a:gd name="T3" fmla="*/ 88 h 103"/>
              <a:gd name="T4" fmla="*/ 71 w 84"/>
              <a:gd name="T5" fmla="*/ 79 h 103"/>
              <a:gd name="T6" fmla="*/ 62 w 84"/>
              <a:gd name="T7" fmla="*/ 69 h 103"/>
              <a:gd name="T8" fmla="*/ 55 w 84"/>
              <a:gd name="T9" fmla="*/ 70 h 103"/>
              <a:gd name="T10" fmla="*/ 51 w 84"/>
              <a:gd name="T11" fmla="*/ 65 h 103"/>
              <a:gd name="T12" fmla="*/ 50 w 84"/>
              <a:gd name="T13" fmla="*/ 69 h 103"/>
              <a:gd name="T14" fmla="*/ 48 w 84"/>
              <a:gd name="T15" fmla="*/ 74 h 103"/>
              <a:gd name="T16" fmla="*/ 45 w 84"/>
              <a:gd name="T17" fmla="*/ 86 h 103"/>
              <a:gd name="T18" fmla="*/ 41 w 84"/>
              <a:gd name="T19" fmla="*/ 81 h 103"/>
              <a:gd name="T20" fmla="*/ 40 w 84"/>
              <a:gd name="T21" fmla="*/ 85 h 103"/>
              <a:gd name="T22" fmla="*/ 35 w 84"/>
              <a:gd name="T23" fmla="*/ 85 h 103"/>
              <a:gd name="T24" fmla="*/ 31 w 84"/>
              <a:gd name="T25" fmla="*/ 86 h 103"/>
              <a:gd name="T26" fmla="*/ 30 w 84"/>
              <a:gd name="T27" fmla="*/ 87 h 103"/>
              <a:gd name="T28" fmla="*/ 29 w 84"/>
              <a:gd name="T29" fmla="*/ 88 h 103"/>
              <a:gd name="T30" fmla="*/ 25 w 84"/>
              <a:gd name="T31" fmla="*/ 88 h 103"/>
              <a:gd name="T32" fmla="*/ 23 w 84"/>
              <a:gd name="T33" fmla="*/ 83 h 103"/>
              <a:gd name="T34" fmla="*/ 21 w 84"/>
              <a:gd name="T35" fmla="*/ 79 h 103"/>
              <a:gd name="T36" fmla="*/ 20 w 84"/>
              <a:gd name="T37" fmla="*/ 73 h 103"/>
              <a:gd name="T38" fmla="*/ 17 w 84"/>
              <a:gd name="T39" fmla="*/ 69 h 103"/>
              <a:gd name="T40" fmla="*/ 17 w 84"/>
              <a:gd name="T41" fmla="*/ 65 h 103"/>
              <a:gd name="T42" fmla="*/ 16 w 84"/>
              <a:gd name="T43" fmla="*/ 60 h 103"/>
              <a:gd name="T44" fmla="*/ 14 w 84"/>
              <a:gd name="T45" fmla="*/ 54 h 103"/>
              <a:gd name="T46" fmla="*/ 12 w 84"/>
              <a:gd name="T47" fmla="*/ 50 h 103"/>
              <a:gd name="T48" fmla="*/ 12 w 84"/>
              <a:gd name="T49" fmla="*/ 40 h 103"/>
              <a:gd name="T50" fmla="*/ 6 w 84"/>
              <a:gd name="T51" fmla="*/ 35 h 103"/>
              <a:gd name="T52" fmla="*/ 1 w 84"/>
              <a:gd name="T53" fmla="*/ 33 h 103"/>
              <a:gd name="T54" fmla="*/ 1 w 84"/>
              <a:gd name="T55" fmla="*/ 30 h 103"/>
              <a:gd name="T56" fmla="*/ 3 w 84"/>
              <a:gd name="T57" fmla="*/ 26 h 103"/>
              <a:gd name="T58" fmla="*/ 5 w 84"/>
              <a:gd name="T59" fmla="*/ 23 h 103"/>
              <a:gd name="T60" fmla="*/ 10 w 84"/>
              <a:gd name="T61" fmla="*/ 21 h 103"/>
              <a:gd name="T62" fmla="*/ 10 w 84"/>
              <a:gd name="T63" fmla="*/ 19 h 103"/>
              <a:gd name="T64" fmla="*/ 3 w 84"/>
              <a:gd name="T65" fmla="*/ 16 h 103"/>
              <a:gd name="T66" fmla="*/ 0 w 84"/>
              <a:gd name="T67" fmla="*/ 12 h 103"/>
              <a:gd name="T68" fmla="*/ 3 w 84"/>
              <a:gd name="T69" fmla="*/ 1 h 103"/>
              <a:gd name="T70" fmla="*/ 7 w 84"/>
              <a:gd name="T71" fmla="*/ 5 h 103"/>
              <a:gd name="T72" fmla="*/ 10 w 84"/>
              <a:gd name="T73" fmla="*/ 5 h 103"/>
              <a:gd name="T74" fmla="*/ 12 w 84"/>
              <a:gd name="T75" fmla="*/ 2 h 103"/>
              <a:gd name="T76" fmla="*/ 16 w 84"/>
              <a:gd name="T77" fmla="*/ 10 h 103"/>
              <a:gd name="T78" fmla="*/ 20 w 84"/>
              <a:gd name="T79" fmla="*/ 10 h 103"/>
              <a:gd name="T80" fmla="*/ 22 w 84"/>
              <a:gd name="T81" fmla="*/ 7 h 103"/>
              <a:gd name="T82" fmla="*/ 26 w 84"/>
              <a:gd name="T83" fmla="*/ 19 h 103"/>
              <a:gd name="T84" fmla="*/ 33 w 84"/>
              <a:gd name="T85" fmla="*/ 23 h 103"/>
              <a:gd name="T86" fmla="*/ 46 w 84"/>
              <a:gd name="T87" fmla="*/ 23 h 103"/>
              <a:gd name="T88" fmla="*/ 56 w 84"/>
              <a:gd name="T89" fmla="*/ 23 h 103"/>
              <a:gd name="T90" fmla="*/ 68 w 84"/>
              <a:gd name="T91" fmla="*/ 26 h 103"/>
              <a:gd name="T92" fmla="*/ 65 w 84"/>
              <a:gd name="T93" fmla="*/ 29 h 103"/>
              <a:gd name="T94" fmla="*/ 62 w 84"/>
              <a:gd name="T95" fmla="*/ 37 h 103"/>
              <a:gd name="T96" fmla="*/ 56 w 84"/>
              <a:gd name="T97" fmla="*/ 42 h 103"/>
              <a:gd name="T98" fmla="*/ 53 w 84"/>
              <a:gd name="T99" fmla="*/ 47 h 103"/>
              <a:gd name="T100" fmla="*/ 56 w 84"/>
              <a:gd name="T101" fmla="*/ 59 h 103"/>
              <a:gd name="T102" fmla="*/ 62 w 84"/>
              <a:gd name="T103" fmla="*/ 62 h 103"/>
              <a:gd name="T104" fmla="*/ 65 w 84"/>
              <a:gd name="T105" fmla="*/ 61 h 103"/>
              <a:gd name="T106" fmla="*/ 68 w 84"/>
              <a:gd name="T107" fmla="*/ 50 h 103"/>
              <a:gd name="T108" fmla="*/ 73 w 84"/>
              <a:gd name="T109" fmla="*/ 54 h 103"/>
              <a:gd name="T110" fmla="*/ 76 w 84"/>
              <a:gd name="T111" fmla="*/ 62 h 103"/>
              <a:gd name="T112" fmla="*/ 81 w 84"/>
              <a:gd name="T113" fmla="*/ 74 h 103"/>
              <a:gd name="T114" fmla="*/ 83 w 84"/>
              <a:gd name="T115" fmla="*/ 85 h 103"/>
              <a:gd name="T116" fmla="*/ 81 w 84"/>
              <a:gd name="T117" fmla="*/ 93 h 103"/>
              <a:gd name="T118" fmla="*/ 80 w 84"/>
              <a:gd name="T119" fmla="*/ 96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4" h="103">
                <a:moveTo>
                  <a:pt x="81" y="103"/>
                </a:moveTo>
                <a:lnTo>
                  <a:pt x="80" y="103"/>
                </a:lnTo>
                <a:lnTo>
                  <a:pt x="76" y="97"/>
                </a:lnTo>
                <a:lnTo>
                  <a:pt x="73" y="88"/>
                </a:lnTo>
                <a:lnTo>
                  <a:pt x="73" y="84"/>
                </a:lnTo>
                <a:lnTo>
                  <a:pt x="71" y="79"/>
                </a:lnTo>
                <a:lnTo>
                  <a:pt x="64" y="70"/>
                </a:lnTo>
                <a:lnTo>
                  <a:pt x="62" y="69"/>
                </a:lnTo>
                <a:lnTo>
                  <a:pt x="60" y="70"/>
                </a:lnTo>
                <a:lnTo>
                  <a:pt x="55" y="70"/>
                </a:lnTo>
                <a:lnTo>
                  <a:pt x="53" y="69"/>
                </a:lnTo>
                <a:lnTo>
                  <a:pt x="51" y="65"/>
                </a:lnTo>
                <a:lnTo>
                  <a:pt x="50" y="66"/>
                </a:lnTo>
                <a:lnTo>
                  <a:pt x="50" y="69"/>
                </a:lnTo>
                <a:lnTo>
                  <a:pt x="47" y="71"/>
                </a:lnTo>
                <a:lnTo>
                  <a:pt x="48" y="74"/>
                </a:lnTo>
                <a:lnTo>
                  <a:pt x="50" y="79"/>
                </a:lnTo>
                <a:lnTo>
                  <a:pt x="45" y="86"/>
                </a:lnTo>
                <a:lnTo>
                  <a:pt x="44" y="85"/>
                </a:lnTo>
                <a:lnTo>
                  <a:pt x="41" y="81"/>
                </a:lnTo>
                <a:lnTo>
                  <a:pt x="40" y="83"/>
                </a:lnTo>
                <a:lnTo>
                  <a:pt x="40" y="85"/>
                </a:lnTo>
                <a:lnTo>
                  <a:pt x="36" y="87"/>
                </a:lnTo>
                <a:lnTo>
                  <a:pt x="35" y="85"/>
                </a:lnTo>
                <a:lnTo>
                  <a:pt x="34" y="86"/>
                </a:lnTo>
                <a:lnTo>
                  <a:pt x="31" y="86"/>
                </a:lnTo>
                <a:lnTo>
                  <a:pt x="31" y="87"/>
                </a:lnTo>
                <a:lnTo>
                  <a:pt x="30" y="87"/>
                </a:lnTo>
                <a:lnTo>
                  <a:pt x="29" y="87"/>
                </a:lnTo>
                <a:lnTo>
                  <a:pt x="29" y="88"/>
                </a:lnTo>
                <a:lnTo>
                  <a:pt x="27" y="90"/>
                </a:lnTo>
                <a:lnTo>
                  <a:pt x="25" y="88"/>
                </a:lnTo>
                <a:lnTo>
                  <a:pt x="23" y="85"/>
                </a:lnTo>
                <a:lnTo>
                  <a:pt x="23" y="83"/>
                </a:lnTo>
                <a:lnTo>
                  <a:pt x="22" y="82"/>
                </a:lnTo>
                <a:lnTo>
                  <a:pt x="21" y="79"/>
                </a:lnTo>
                <a:lnTo>
                  <a:pt x="21" y="76"/>
                </a:lnTo>
                <a:lnTo>
                  <a:pt x="20" y="73"/>
                </a:lnTo>
                <a:lnTo>
                  <a:pt x="19" y="72"/>
                </a:lnTo>
                <a:lnTo>
                  <a:pt x="17" y="69"/>
                </a:lnTo>
                <a:lnTo>
                  <a:pt x="16" y="65"/>
                </a:lnTo>
                <a:lnTo>
                  <a:pt x="17" y="65"/>
                </a:lnTo>
                <a:lnTo>
                  <a:pt x="17" y="61"/>
                </a:lnTo>
                <a:lnTo>
                  <a:pt x="16" y="60"/>
                </a:lnTo>
                <a:lnTo>
                  <a:pt x="15" y="59"/>
                </a:lnTo>
                <a:lnTo>
                  <a:pt x="14" y="54"/>
                </a:lnTo>
                <a:lnTo>
                  <a:pt x="12" y="52"/>
                </a:lnTo>
                <a:lnTo>
                  <a:pt x="12" y="50"/>
                </a:lnTo>
                <a:lnTo>
                  <a:pt x="12" y="46"/>
                </a:lnTo>
                <a:lnTo>
                  <a:pt x="12" y="40"/>
                </a:lnTo>
                <a:lnTo>
                  <a:pt x="9" y="37"/>
                </a:lnTo>
                <a:lnTo>
                  <a:pt x="6" y="35"/>
                </a:lnTo>
                <a:lnTo>
                  <a:pt x="3" y="34"/>
                </a:lnTo>
                <a:lnTo>
                  <a:pt x="1" y="33"/>
                </a:lnTo>
                <a:lnTo>
                  <a:pt x="1" y="31"/>
                </a:lnTo>
                <a:lnTo>
                  <a:pt x="1" y="30"/>
                </a:lnTo>
                <a:lnTo>
                  <a:pt x="1" y="26"/>
                </a:lnTo>
                <a:lnTo>
                  <a:pt x="3" y="26"/>
                </a:lnTo>
                <a:lnTo>
                  <a:pt x="5" y="25"/>
                </a:lnTo>
                <a:lnTo>
                  <a:pt x="5" y="23"/>
                </a:lnTo>
                <a:lnTo>
                  <a:pt x="11" y="23"/>
                </a:lnTo>
                <a:lnTo>
                  <a:pt x="10" y="21"/>
                </a:lnTo>
                <a:lnTo>
                  <a:pt x="10" y="20"/>
                </a:lnTo>
                <a:lnTo>
                  <a:pt x="10" y="19"/>
                </a:lnTo>
                <a:lnTo>
                  <a:pt x="5" y="19"/>
                </a:lnTo>
                <a:lnTo>
                  <a:pt x="3" y="16"/>
                </a:lnTo>
                <a:lnTo>
                  <a:pt x="1" y="13"/>
                </a:lnTo>
                <a:lnTo>
                  <a:pt x="0" y="12"/>
                </a:lnTo>
                <a:lnTo>
                  <a:pt x="3" y="4"/>
                </a:lnTo>
                <a:lnTo>
                  <a:pt x="3" y="1"/>
                </a:lnTo>
                <a:lnTo>
                  <a:pt x="4" y="0"/>
                </a:lnTo>
                <a:lnTo>
                  <a:pt x="7" y="5"/>
                </a:lnTo>
                <a:lnTo>
                  <a:pt x="10" y="7"/>
                </a:lnTo>
                <a:lnTo>
                  <a:pt x="10" y="5"/>
                </a:lnTo>
                <a:lnTo>
                  <a:pt x="10" y="2"/>
                </a:lnTo>
                <a:lnTo>
                  <a:pt x="12" y="2"/>
                </a:lnTo>
                <a:lnTo>
                  <a:pt x="13" y="6"/>
                </a:lnTo>
                <a:lnTo>
                  <a:pt x="16" y="10"/>
                </a:lnTo>
                <a:lnTo>
                  <a:pt x="17" y="9"/>
                </a:lnTo>
                <a:lnTo>
                  <a:pt x="20" y="10"/>
                </a:lnTo>
                <a:lnTo>
                  <a:pt x="22" y="5"/>
                </a:lnTo>
                <a:lnTo>
                  <a:pt x="22" y="7"/>
                </a:lnTo>
                <a:lnTo>
                  <a:pt x="24" y="13"/>
                </a:lnTo>
                <a:lnTo>
                  <a:pt x="26" y="19"/>
                </a:lnTo>
                <a:lnTo>
                  <a:pt x="30" y="21"/>
                </a:lnTo>
                <a:lnTo>
                  <a:pt x="33" y="23"/>
                </a:lnTo>
                <a:lnTo>
                  <a:pt x="45" y="23"/>
                </a:lnTo>
                <a:lnTo>
                  <a:pt x="46" y="23"/>
                </a:lnTo>
                <a:lnTo>
                  <a:pt x="50" y="22"/>
                </a:lnTo>
                <a:lnTo>
                  <a:pt x="56" y="23"/>
                </a:lnTo>
                <a:lnTo>
                  <a:pt x="64" y="24"/>
                </a:lnTo>
                <a:lnTo>
                  <a:pt x="68" y="26"/>
                </a:lnTo>
                <a:lnTo>
                  <a:pt x="68" y="27"/>
                </a:lnTo>
                <a:lnTo>
                  <a:pt x="65" y="29"/>
                </a:lnTo>
                <a:lnTo>
                  <a:pt x="65" y="33"/>
                </a:lnTo>
                <a:lnTo>
                  <a:pt x="62" y="37"/>
                </a:lnTo>
                <a:lnTo>
                  <a:pt x="60" y="41"/>
                </a:lnTo>
                <a:lnTo>
                  <a:pt x="56" y="42"/>
                </a:lnTo>
                <a:lnTo>
                  <a:pt x="53" y="45"/>
                </a:lnTo>
                <a:lnTo>
                  <a:pt x="53" y="47"/>
                </a:lnTo>
                <a:lnTo>
                  <a:pt x="54" y="52"/>
                </a:lnTo>
                <a:lnTo>
                  <a:pt x="56" y="59"/>
                </a:lnTo>
                <a:lnTo>
                  <a:pt x="60" y="59"/>
                </a:lnTo>
                <a:lnTo>
                  <a:pt x="62" y="62"/>
                </a:lnTo>
                <a:lnTo>
                  <a:pt x="64" y="63"/>
                </a:lnTo>
                <a:lnTo>
                  <a:pt x="65" y="61"/>
                </a:lnTo>
                <a:lnTo>
                  <a:pt x="66" y="54"/>
                </a:lnTo>
                <a:lnTo>
                  <a:pt x="68" y="50"/>
                </a:lnTo>
                <a:lnTo>
                  <a:pt x="70" y="51"/>
                </a:lnTo>
                <a:lnTo>
                  <a:pt x="73" y="54"/>
                </a:lnTo>
                <a:lnTo>
                  <a:pt x="75" y="60"/>
                </a:lnTo>
                <a:lnTo>
                  <a:pt x="76" y="62"/>
                </a:lnTo>
                <a:lnTo>
                  <a:pt x="77" y="65"/>
                </a:lnTo>
                <a:lnTo>
                  <a:pt x="81" y="74"/>
                </a:lnTo>
                <a:lnTo>
                  <a:pt x="83" y="84"/>
                </a:lnTo>
                <a:lnTo>
                  <a:pt x="83" y="85"/>
                </a:lnTo>
                <a:lnTo>
                  <a:pt x="84" y="94"/>
                </a:lnTo>
                <a:lnTo>
                  <a:pt x="81" y="93"/>
                </a:lnTo>
                <a:lnTo>
                  <a:pt x="80" y="94"/>
                </a:lnTo>
                <a:lnTo>
                  <a:pt x="80" y="96"/>
                </a:lnTo>
                <a:lnTo>
                  <a:pt x="81" y="10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55" name="Freeform 1255"/>
          <p:cNvSpPr>
            <a:spLocks/>
          </p:cNvSpPr>
          <p:nvPr/>
        </p:nvSpPr>
        <p:spPr bwMode="auto">
          <a:xfrm>
            <a:off x="6526212" y="2813015"/>
            <a:ext cx="133350" cy="163513"/>
          </a:xfrm>
          <a:custGeom>
            <a:avLst/>
            <a:gdLst>
              <a:gd name="T0" fmla="*/ 80 w 84"/>
              <a:gd name="T1" fmla="*/ 103 h 103"/>
              <a:gd name="T2" fmla="*/ 73 w 84"/>
              <a:gd name="T3" fmla="*/ 88 h 103"/>
              <a:gd name="T4" fmla="*/ 71 w 84"/>
              <a:gd name="T5" fmla="*/ 79 h 103"/>
              <a:gd name="T6" fmla="*/ 62 w 84"/>
              <a:gd name="T7" fmla="*/ 69 h 103"/>
              <a:gd name="T8" fmla="*/ 55 w 84"/>
              <a:gd name="T9" fmla="*/ 70 h 103"/>
              <a:gd name="T10" fmla="*/ 51 w 84"/>
              <a:gd name="T11" fmla="*/ 65 h 103"/>
              <a:gd name="T12" fmla="*/ 50 w 84"/>
              <a:gd name="T13" fmla="*/ 69 h 103"/>
              <a:gd name="T14" fmla="*/ 48 w 84"/>
              <a:gd name="T15" fmla="*/ 74 h 103"/>
              <a:gd name="T16" fmla="*/ 45 w 84"/>
              <a:gd name="T17" fmla="*/ 86 h 103"/>
              <a:gd name="T18" fmla="*/ 41 w 84"/>
              <a:gd name="T19" fmla="*/ 81 h 103"/>
              <a:gd name="T20" fmla="*/ 40 w 84"/>
              <a:gd name="T21" fmla="*/ 85 h 103"/>
              <a:gd name="T22" fmla="*/ 35 w 84"/>
              <a:gd name="T23" fmla="*/ 85 h 103"/>
              <a:gd name="T24" fmla="*/ 31 w 84"/>
              <a:gd name="T25" fmla="*/ 86 h 103"/>
              <a:gd name="T26" fmla="*/ 30 w 84"/>
              <a:gd name="T27" fmla="*/ 87 h 103"/>
              <a:gd name="T28" fmla="*/ 29 w 84"/>
              <a:gd name="T29" fmla="*/ 88 h 103"/>
              <a:gd name="T30" fmla="*/ 25 w 84"/>
              <a:gd name="T31" fmla="*/ 88 h 103"/>
              <a:gd name="T32" fmla="*/ 23 w 84"/>
              <a:gd name="T33" fmla="*/ 83 h 103"/>
              <a:gd name="T34" fmla="*/ 21 w 84"/>
              <a:gd name="T35" fmla="*/ 79 h 103"/>
              <a:gd name="T36" fmla="*/ 20 w 84"/>
              <a:gd name="T37" fmla="*/ 73 h 103"/>
              <a:gd name="T38" fmla="*/ 17 w 84"/>
              <a:gd name="T39" fmla="*/ 69 h 103"/>
              <a:gd name="T40" fmla="*/ 17 w 84"/>
              <a:gd name="T41" fmla="*/ 65 h 103"/>
              <a:gd name="T42" fmla="*/ 16 w 84"/>
              <a:gd name="T43" fmla="*/ 60 h 103"/>
              <a:gd name="T44" fmla="*/ 14 w 84"/>
              <a:gd name="T45" fmla="*/ 54 h 103"/>
              <a:gd name="T46" fmla="*/ 12 w 84"/>
              <a:gd name="T47" fmla="*/ 50 h 103"/>
              <a:gd name="T48" fmla="*/ 12 w 84"/>
              <a:gd name="T49" fmla="*/ 40 h 103"/>
              <a:gd name="T50" fmla="*/ 6 w 84"/>
              <a:gd name="T51" fmla="*/ 35 h 103"/>
              <a:gd name="T52" fmla="*/ 1 w 84"/>
              <a:gd name="T53" fmla="*/ 33 h 103"/>
              <a:gd name="T54" fmla="*/ 1 w 84"/>
              <a:gd name="T55" fmla="*/ 30 h 103"/>
              <a:gd name="T56" fmla="*/ 3 w 84"/>
              <a:gd name="T57" fmla="*/ 26 h 103"/>
              <a:gd name="T58" fmla="*/ 5 w 84"/>
              <a:gd name="T59" fmla="*/ 23 h 103"/>
              <a:gd name="T60" fmla="*/ 10 w 84"/>
              <a:gd name="T61" fmla="*/ 21 h 103"/>
              <a:gd name="T62" fmla="*/ 10 w 84"/>
              <a:gd name="T63" fmla="*/ 19 h 103"/>
              <a:gd name="T64" fmla="*/ 3 w 84"/>
              <a:gd name="T65" fmla="*/ 16 h 103"/>
              <a:gd name="T66" fmla="*/ 0 w 84"/>
              <a:gd name="T67" fmla="*/ 12 h 103"/>
              <a:gd name="T68" fmla="*/ 3 w 84"/>
              <a:gd name="T69" fmla="*/ 1 h 103"/>
              <a:gd name="T70" fmla="*/ 7 w 84"/>
              <a:gd name="T71" fmla="*/ 5 h 103"/>
              <a:gd name="T72" fmla="*/ 10 w 84"/>
              <a:gd name="T73" fmla="*/ 5 h 103"/>
              <a:gd name="T74" fmla="*/ 12 w 84"/>
              <a:gd name="T75" fmla="*/ 2 h 103"/>
              <a:gd name="T76" fmla="*/ 16 w 84"/>
              <a:gd name="T77" fmla="*/ 10 h 103"/>
              <a:gd name="T78" fmla="*/ 20 w 84"/>
              <a:gd name="T79" fmla="*/ 10 h 103"/>
              <a:gd name="T80" fmla="*/ 22 w 84"/>
              <a:gd name="T81" fmla="*/ 7 h 103"/>
              <a:gd name="T82" fmla="*/ 26 w 84"/>
              <a:gd name="T83" fmla="*/ 19 h 103"/>
              <a:gd name="T84" fmla="*/ 33 w 84"/>
              <a:gd name="T85" fmla="*/ 23 h 103"/>
              <a:gd name="T86" fmla="*/ 46 w 84"/>
              <a:gd name="T87" fmla="*/ 23 h 103"/>
              <a:gd name="T88" fmla="*/ 56 w 84"/>
              <a:gd name="T89" fmla="*/ 23 h 103"/>
              <a:gd name="T90" fmla="*/ 68 w 84"/>
              <a:gd name="T91" fmla="*/ 26 h 103"/>
              <a:gd name="T92" fmla="*/ 65 w 84"/>
              <a:gd name="T93" fmla="*/ 29 h 103"/>
              <a:gd name="T94" fmla="*/ 62 w 84"/>
              <a:gd name="T95" fmla="*/ 37 h 103"/>
              <a:gd name="T96" fmla="*/ 56 w 84"/>
              <a:gd name="T97" fmla="*/ 42 h 103"/>
              <a:gd name="T98" fmla="*/ 53 w 84"/>
              <a:gd name="T99" fmla="*/ 47 h 103"/>
              <a:gd name="T100" fmla="*/ 56 w 84"/>
              <a:gd name="T101" fmla="*/ 59 h 103"/>
              <a:gd name="T102" fmla="*/ 62 w 84"/>
              <a:gd name="T103" fmla="*/ 62 h 103"/>
              <a:gd name="T104" fmla="*/ 65 w 84"/>
              <a:gd name="T105" fmla="*/ 61 h 103"/>
              <a:gd name="T106" fmla="*/ 68 w 84"/>
              <a:gd name="T107" fmla="*/ 50 h 103"/>
              <a:gd name="T108" fmla="*/ 73 w 84"/>
              <a:gd name="T109" fmla="*/ 54 h 103"/>
              <a:gd name="T110" fmla="*/ 76 w 84"/>
              <a:gd name="T111" fmla="*/ 62 h 103"/>
              <a:gd name="T112" fmla="*/ 81 w 84"/>
              <a:gd name="T113" fmla="*/ 74 h 103"/>
              <a:gd name="T114" fmla="*/ 83 w 84"/>
              <a:gd name="T115" fmla="*/ 85 h 103"/>
              <a:gd name="T116" fmla="*/ 81 w 84"/>
              <a:gd name="T117" fmla="*/ 93 h 103"/>
              <a:gd name="T118" fmla="*/ 80 w 84"/>
              <a:gd name="T119" fmla="*/ 96 h 1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4" h="103">
                <a:moveTo>
                  <a:pt x="81" y="103"/>
                </a:moveTo>
                <a:lnTo>
                  <a:pt x="80" y="103"/>
                </a:lnTo>
                <a:lnTo>
                  <a:pt x="76" y="97"/>
                </a:lnTo>
                <a:lnTo>
                  <a:pt x="73" y="88"/>
                </a:lnTo>
                <a:lnTo>
                  <a:pt x="73" y="84"/>
                </a:lnTo>
                <a:lnTo>
                  <a:pt x="71" y="79"/>
                </a:lnTo>
                <a:lnTo>
                  <a:pt x="64" y="70"/>
                </a:lnTo>
                <a:lnTo>
                  <a:pt x="62" y="69"/>
                </a:lnTo>
                <a:lnTo>
                  <a:pt x="60" y="70"/>
                </a:lnTo>
                <a:lnTo>
                  <a:pt x="55" y="70"/>
                </a:lnTo>
                <a:lnTo>
                  <a:pt x="53" y="69"/>
                </a:lnTo>
                <a:lnTo>
                  <a:pt x="51" y="65"/>
                </a:lnTo>
                <a:lnTo>
                  <a:pt x="50" y="66"/>
                </a:lnTo>
                <a:lnTo>
                  <a:pt x="50" y="69"/>
                </a:lnTo>
                <a:lnTo>
                  <a:pt x="47" y="71"/>
                </a:lnTo>
                <a:lnTo>
                  <a:pt x="48" y="74"/>
                </a:lnTo>
                <a:lnTo>
                  <a:pt x="50" y="79"/>
                </a:lnTo>
                <a:lnTo>
                  <a:pt x="45" y="86"/>
                </a:lnTo>
                <a:lnTo>
                  <a:pt x="44" y="85"/>
                </a:lnTo>
                <a:lnTo>
                  <a:pt x="41" y="81"/>
                </a:lnTo>
                <a:lnTo>
                  <a:pt x="40" y="83"/>
                </a:lnTo>
                <a:lnTo>
                  <a:pt x="40" y="85"/>
                </a:lnTo>
                <a:lnTo>
                  <a:pt x="36" y="87"/>
                </a:lnTo>
                <a:lnTo>
                  <a:pt x="35" y="85"/>
                </a:lnTo>
                <a:lnTo>
                  <a:pt x="34" y="86"/>
                </a:lnTo>
                <a:lnTo>
                  <a:pt x="31" y="86"/>
                </a:lnTo>
                <a:lnTo>
                  <a:pt x="31" y="87"/>
                </a:lnTo>
                <a:lnTo>
                  <a:pt x="30" y="87"/>
                </a:lnTo>
                <a:lnTo>
                  <a:pt x="29" y="87"/>
                </a:lnTo>
                <a:lnTo>
                  <a:pt x="29" y="88"/>
                </a:lnTo>
                <a:lnTo>
                  <a:pt x="27" y="90"/>
                </a:lnTo>
                <a:lnTo>
                  <a:pt x="25" y="88"/>
                </a:lnTo>
                <a:lnTo>
                  <a:pt x="23" y="85"/>
                </a:lnTo>
                <a:lnTo>
                  <a:pt x="23" y="83"/>
                </a:lnTo>
                <a:lnTo>
                  <a:pt x="22" y="82"/>
                </a:lnTo>
                <a:lnTo>
                  <a:pt x="21" y="79"/>
                </a:lnTo>
                <a:lnTo>
                  <a:pt x="21" y="76"/>
                </a:lnTo>
                <a:lnTo>
                  <a:pt x="20" y="73"/>
                </a:lnTo>
                <a:lnTo>
                  <a:pt x="19" y="72"/>
                </a:lnTo>
                <a:lnTo>
                  <a:pt x="17" y="69"/>
                </a:lnTo>
                <a:lnTo>
                  <a:pt x="16" y="65"/>
                </a:lnTo>
                <a:lnTo>
                  <a:pt x="17" y="65"/>
                </a:lnTo>
                <a:lnTo>
                  <a:pt x="17" y="61"/>
                </a:lnTo>
                <a:lnTo>
                  <a:pt x="16" y="60"/>
                </a:lnTo>
                <a:lnTo>
                  <a:pt x="15" y="59"/>
                </a:lnTo>
                <a:lnTo>
                  <a:pt x="14" y="54"/>
                </a:lnTo>
                <a:lnTo>
                  <a:pt x="12" y="52"/>
                </a:lnTo>
                <a:lnTo>
                  <a:pt x="12" y="50"/>
                </a:lnTo>
                <a:lnTo>
                  <a:pt x="12" y="46"/>
                </a:lnTo>
                <a:lnTo>
                  <a:pt x="12" y="40"/>
                </a:lnTo>
                <a:lnTo>
                  <a:pt x="9" y="37"/>
                </a:lnTo>
                <a:lnTo>
                  <a:pt x="6" y="35"/>
                </a:lnTo>
                <a:lnTo>
                  <a:pt x="3" y="34"/>
                </a:lnTo>
                <a:lnTo>
                  <a:pt x="1" y="33"/>
                </a:lnTo>
                <a:lnTo>
                  <a:pt x="1" y="31"/>
                </a:lnTo>
                <a:lnTo>
                  <a:pt x="1" y="30"/>
                </a:lnTo>
                <a:lnTo>
                  <a:pt x="1" y="26"/>
                </a:lnTo>
                <a:lnTo>
                  <a:pt x="3" y="26"/>
                </a:lnTo>
                <a:lnTo>
                  <a:pt x="5" y="25"/>
                </a:lnTo>
                <a:lnTo>
                  <a:pt x="5" y="23"/>
                </a:lnTo>
                <a:lnTo>
                  <a:pt x="11" y="23"/>
                </a:lnTo>
                <a:lnTo>
                  <a:pt x="10" y="21"/>
                </a:lnTo>
                <a:lnTo>
                  <a:pt x="10" y="20"/>
                </a:lnTo>
                <a:lnTo>
                  <a:pt x="10" y="19"/>
                </a:lnTo>
                <a:lnTo>
                  <a:pt x="5" y="19"/>
                </a:lnTo>
                <a:lnTo>
                  <a:pt x="3" y="16"/>
                </a:lnTo>
                <a:lnTo>
                  <a:pt x="1" y="13"/>
                </a:lnTo>
                <a:lnTo>
                  <a:pt x="0" y="12"/>
                </a:lnTo>
                <a:lnTo>
                  <a:pt x="3" y="4"/>
                </a:lnTo>
                <a:lnTo>
                  <a:pt x="3" y="1"/>
                </a:lnTo>
                <a:lnTo>
                  <a:pt x="4" y="0"/>
                </a:lnTo>
                <a:lnTo>
                  <a:pt x="7" y="5"/>
                </a:lnTo>
                <a:lnTo>
                  <a:pt x="10" y="7"/>
                </a:lnTo>
                <a:lnTo>
                  <a:pt x="10" y="5"/>
                </a:lnTo>
                <a:lnTo>
                  <a:pt x="10" y="2"/>
                </a:lnTo>
                <a:lnTo>
                  <a:pt x="12" y="2"/>
                </a:lnTo>
                <a:lnTo>
                  <a:pt x="13" y="6"/>
                </a:lnTo>
                <a:lnTo>
                  <a:pt x="16" y="10"/>
                </a:lnTo>
                <a:lnTo>
                  <a:pt x="17" y="9"/>
                </a:lnTo>
                <a:lnTo>
                  <a:pt x="20" y="10"/>
                </a:lnTo>
                <a:lnTo>
                  <a:pt x="22" y="5"/>
                </a:lnTo>
                <a:lnTo>
                  <a:pt x="22" y="7"/>
                </a:lnTo>
                <a:lnTo>
                  <a:pt x="24" y="13"/>
                </a:lnTo>
                <a:lnTo>
                  <a:pt x="26" y="19"/>
                </a:lnTo>
                <a:lnTo>
                  <a:pt x="30" y="21"/>
                </a:lnTo>
                <a:lnTo>
                  <a:pt x="33" y="23"/>
                </a:lnTo>
                <a:lnTo>
                  <a:pt x="45" y="23"/>
                </a:lnTo>
                <a:lnTo>
                  <a:pt x="46" y="23"/>
                </a:lnTo>
                <a:lnTo>
                  <a:pt x="50" y="22"/>
                </a:lnTo>
                <a:lnTo>
                  <a:pt x="56" y="23"/>
                </a:lnTo>
                <a:lnTo>
                  <a:pt x="64" y="24"/>
                </a:lnTo>
                <a:lnTo>
                  <a:pt x="68" y="26"/>
                </a:lnTo>
                <a:lnTo>
                  <a:pt x="68" y="27"/>
                </a:lnTo>
                <a:lnTo>
                  <a:pt x="65" y="29"/>
                </a:lnTo>
                <a:lnTo>
                  <a:pt x="65" y="33"/>
                </a:lnTo>
                <a:lnTo>
                  <a:pt x="62" y="37"/>
                </a:lnTo>
                <a:lnTo>
                  <a:pt x="60" y="41"/>
                </a:lnTo>
                <a:lnTo>
                  <a:pt x="56" y="42"/>
                </a:lnTo>
                <a:lnTo>
                  <a:pt x="53" y="45"/>
                </a:lnTo>
                <a:lnTo>
                  <a:pt x="53" y="47"/>
                </a:lnTo>
                <a:lnTo>
                  <a:pt x="54" y="52"/>
                </a:lnTo>
                <a:lnTo>
                  <a:pt x="56" y="59"/>
                </a:lnTo>
                <a:lnTo>
                  <a:pt x="60" y="59"/>
                </a:lnTo>
                <a:lnTo>
                  <a:pt x="62" y="62"/>
                </a:lnTo>
                <a:lnTo>
                  <a:pt x="64" y="63"/>
                </a:lnTo>
                <a:lnTo>
                  <a:pt x="65" y="61"/>
                </a:lnTo>
                <a:lnTo>
                  <a:pt x="66" y="54"/>
                </a:lnTo>
                <a:lnTo>
                  <a:pt x="68" y="50"/>
                </a:lnTo>
                <a:lnTo>
                  <a:pt x="70" y="51"/>
                </a:lnTo>
                <a:lnTo>
                  <a:pt x="73" y="54"/>
                </a:lnTo>
                <a:lnTo>
                  <a:pt x="75" y="60"/>
                </a:lnTo>
                <a:lnTo>
                  <a:pt x="76" y="62"/>
                </a:lnTo>
                <a:lnTo>
                  <a:pt x="77" y="65"/>
                </a:lnTo>
                <a:lnTo>
                  <a:pt x="81" y="74"/>
                </a:lnTo>
                <a:lnTo>
                  <a:pt x="83" y="84"/>
                </a:lnTo>
                <a:lnTo>
                  <a:pt x="83" y="85"/>
                </a:lnTo>
                <a:lnTo>
                  <a:pt x="84" y="94"/>
                </a:lnTo>
                <a:lnTo>
                  <a:pt x="81" y="93"/>
                </a:lnTo>
                <a:lnTo>
                  <a:pt x="80" y="94"/>
                </a:lnTo>
                <a:lnTo>
                  <a:pt x="80" y="96"/>
                </a:lnTo>
                <a:lnTo>
                  <a:pt x="81" y="10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56" name="Freeform 1256"/>
          <p:cNvSpPr>
            <a:spLocks/>
          </p:cNvSpPr>
          <p:nvPr/>
        </p:nvSpPr>
        <p:spPr bwMode="auto">
          <a:xfrm>
            <a:off x="4367212" y="3219415"/>
            <a:ext cx="77787" cy="177800"/>
          </a:xfrm>
          <a:custGeom>
            <a:avLst/>
            <a:gdLst>
              <a:gd name="T0" fmla="*/ 44 w 49"/>
              <a:gd name="T1" fmla="*/ 10 h 112"/>
              <a:gd name="T2" fmla="*/ 38 w 49"/>
              <a:gd name="T3" fmla="*/ 5 h 112"/>
              <a:gd name="T4" fmla="*/ 34 w 49"/>
              <a:gd name="T5" fmla="*/ 0 h 112"/>
              <a:gd name="T6" fmla="*/ 30 w 49"/>
              <a:gd name="T7" fmla="*/ 2 h 112"/>
              <a:gd name="T8" fmla="*/ 27 w 49"/>
              <a:gd name="T9" fmla="*/ 5 h 112"/>
              <a:gd name="T10" fmla="*/ 27 w 49"/>
              <a:gd name="T11" fmla="*/ 9 h 112"/>
              <a:gd name="T12" fmla="*/ 27 w 49"/>
              <a:gd name="T13" fmla="*/ 9 h 112"/>
              <a:gd name="T14" fmla="*/ 25 w 49"/>
              <a:gd name="T15" fmla="*/ 11 h 112"/>
              <a:gd name="T16" fmla="*/ 25 w 49"/>
              <a:gd name="T17" fmla="*/ 13 h 112"/>
              <a:gd name="T18" fmla="*/ 20 w 49"/>
              <a:gd name="T19" fmla="*/ 18 h 112"/>
              <a:gd name="T20" fmla="*/ 16 w 49"/>
              <a:gd name="T21" fmla="*/ 18 h 112"/>
              <a:gd name="T22" fmla="*/ 12 w 49"/>
              <a:gd name="T23" fmla="*/ 17 h 112"/>
              <a:gd name="T24" fmla="*/ 8 w 49"/>
              <a:gd name="T25" fmla="*/ 21 h 112"/>
              <a:gd name="T26" fmla="*/ 7 w 49"/>
              <a:gd name="T27" fmla="*/ 21 h 112"/>
              <a:gd name="T28" fmla="*/ 6 w 49"/>
              <a:gd name="T29" fmla="*/ 22 h 112"/>
              <a:gd name="T30" fmla="*/ 4 w 49"/>
              <a:gd name="T31" fmla="*/ 25 h 112"/>
              <a:gd name="T32" fmla="*/ 3 w 49"/>
              <a:gd name="T33" fmla="*/ 27 h 112"/>
              <a:gd name="T34" fmla="*/ 0 w 49"/>
              <a:gd name="T35" fmla="*/ 31 h 112"/>
              <a:gd name="T36" fmla="*/ 0 w 49"/>
              <a:gd name="T37" fmla="*/ 38 h 112"/>
              <a:gd name="T38" fmla="*/ 4 w 49"/>
              <a:gd name="T39" fmla="*/ 40 h 112"/>
              <a:gd name="T40" fmla="*/ 6 w 49"/>
              <a:gd name="T41" fmla="*/ 41 h 112"/>
              <a:gd name="T42" fmla="*/ 13 w 49"/>
              <a:gd name="T43" fmla="*/ 52 h 112"/>
              <a:gd name="T44" fmla="*/ 15 w 49"/>
              <a:gd name="T45" fmla="*/ 62 h 112"/>
              <a:gd name="T46" fmla="*/ 16 w 49"/>
              <a:gd name="T47" fmla="*/ 68 h 112"/>
              <a:gd name="T48" fmla="*/ 17 w 49"/>
              <a:gd name="T49" fmla="*/ 77 h 112"/>
              <a:gd name="T50" fmla="*/ 16 w 49"/>
              <a:gd name="T51" fmla="*/ 102 h 112"/>
              <a:gd name="T52" fmla="*/ 17 w 49"/>
              <a:gd name="T53" fmla="*/ 109 h 112"/>
              <a:gd name="T54" fmla="*/ 18 w 49"/>
              <a:gd name="T55" fmla="*/ 112 h 112"/>
              <a:gd name="T56" fmla="*/ 34 w 49"/>
              <a:gd name="T57" fmla="*/ 111 h 112"/>
              <a:gd name="T58" fmla="*/ 31 w 49"/>
              <a:gd name="T59" fmla="*/ 98 h 112"/>
              <a:gd name="T60" fmla="*/ 34 w 49"/>
              <a:gd name="T61" fmla="*/ 88 h 112"/>
              <a:gd name="T62" fmla="*/ 34 w 49"/>
              <a:gd name="T63" fmla="*/ 71 h 112"/>
              <a:gd name="T64" fmla="*/ 38 w 49"/>
              <a:gd name="T65" fmla="*/ 60 h 112"/>
              <a:gd name="T66" fmla="*/ 39 w 49"/>
              <a:gd name="T67" fmla="*/ 52 h 112"/>
              <a:gd name="T68" fmla="*/ 46 w 49"/>
              <a:gd name="T69" fmla="*/ 46 h 112"/>
              <a:gd name="T70" fmla="*/ 47 w 49"/>
              <a:gd name="T71" fmla="*/ 42 h 112"/>
              <a:gd name="T72" fmla="*/ 47 w 49"/>
              <a:gd name="T73" fmla="*/ 41 h 112"/>
              <a:gd name="T74" fmla="*/ 46 w 49"/>
              <a:gd name="T75" fmla="*/ 39 h 112"/>
              <a:gd name="T76" fmla="*/ 47 w 49"/>
              <a:gd name="T77" fmla="*/ 36 h 112"/>
              <a:gd name="T78" fmla="*/ 49 w 49"/>
              <a:gd name="T79" fmla="*/ 36 h 112"/>
              <a:gd name="T80" fmla="*/ 48 w 49"/>
              <a:gd name="T81" fmla="*/ 25 h 112"/>
              <a:gd name="T82" fmla="*/ 45 w 49"/>
              <a:gd name="T83" fmla="*/ 20 h 112"/>
              <a:gd name="T84" fmla="*/ 45 w 49"/>
              <a:gd name="T85" fmla="*/ 15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49" h="112">
                <a:moveTo>
                  <a:pt x="46" y="12"/>
                </a:moveTo>
                <a:lnTo>
                  <a:pt x="44" y="10"/>
                </a:lnTo>
                <a:lnTo>
                  <a:pt x="41" y="9"/>
                </a:lnTo>
                <a:lnTo>
                  <a:pt x="38" y="5"/>
                </a:lnTo>
                <a:lnTo>
                  <a:pt x="35" y="1"/>
                </a:lnTo>
                <a:lnTo>
                  <a:pt x="34" y="0"/>
                </a:lnTo>
                <a:lnTo>
                  <a:pt x="31" y="1"/>
                </a:lnTo>
                <a:lnTo>
                  <a:pt x="30" y="2"/>
                </a:lnTo>
                <a:lnTo>
                  <a:pt x="27" y="2"/>
                </a:lnTo>
                <a:lnTo>
                  <a:pt x="27" y="5"/>
                </a:lnTo>
                <a:lnTo>
                  <a:pt x="28" y="7"/>
                </a:lnTo>
                <a:lnTo>
                  <a:pt x="27" y="9"/>
                </a:lnTo>
                <a:lnTo>
                  <a:pt x="27" y="8"/>
                </a:lnTo>
                <a:lnTo>
                  <a:pt x="27" y="9"/>
                </a:lnTo>
                <a:lnTo>
                  <a:pt x="26" y="10"/>
                </a:lnTo>
                <a:lnTo>
                  <a:pt x="25" y="11"/>
                </a:lnTo>
                <a:lnTo>
                  <a:pt x="25" y="12"/>
                </a:lnTo>
                <a:lnTo>
                  <a:pt x="25" y="13"/>
                </a:lnTo>
                <a:lnTo>
                  <a:pt x="22" y="17"/>
                </a:lnTo>
                <a:lnTo>
                  <a:pt x="20" y="18"/>
                </a:lnTo>
                <a:lnTo>
                  <a:pt x="18" y="17"/>
                </a:lnTo>
                <a:lnTo>
                  <a:pt x="16" y="18"/>
                </a:lnTo>
                <a:lnTo>
                  <a:pt x="14" y="17"/>
                </a:lnTo>
                <a:lnTo>
                  <a:pt x="12" y="17"/>
                </a:lnTo>
                <a:lnTo>
                  <a:pt x="10" y="17"/>
                </a:lnTo>
                <a:lnTo>
                  <a:pt x="8" y="21"/>
                </a:lnTo>
                <a:lnTo>
                  <a:pt x="7" y="20"/>
                </a:lnTo>
                <a:lnTo>
                  <a:pt x="7" y="21"/>
                </a:lnTo>
                <a:lnTo>
                  <a:pt x="6" y="22"/>
                </a:lnTo>
                <a:lnTo>
                  <a:pt x="6" y="22"/>
                </a:lnTo>
                <a:lnTo>
                  <a:pt x="5" y="25"/>
                </a:lnTo>
                <a:lnTo>
                  <a:pt x="4" y="25"/>
                </a:lnTo>
                <a:lnTo>
                  <a:pt x="3" y="26"/>
                </a:lnTo>
                <a:lnTo>
                  <a:pt x="3" y="27"/>
                </a:lnTo>
                <a:lnTo>
                  <a:pt x="2" y="29"/>
                </a:lnTo>
                <a:lnTo>
                  <a:pt x="0" y="31"/>
                </a:lnTo>
                <a:lnTo>
                  <a:pt x="0" y="35"/>
                </a:lnTo>
                <a:lnTo>
                  <a:pt x="0" y="38"/>
                </a:lnTo>
                <a:lnTo>
                  <a:pt x="2" y="39"/>
                </a:lnTo>
                <a:lnTo>
                  <a:pt x="4" y="40"/>
                </a:lnTo>
                <a:lnTo>
                  <a:pt x="5" y="40"/>
                </a:lnTo>
                <a:lnTo>
                  <a:pt x="6" y="41"/>
                </a:lnTo>
                <a:lnTo>
                  <a:pt x="10" y="46"/>
                </a:lnTo>
                <a:lnTo>
                  <a:pt x="13" y="52"/>
                </a:lnTo>
                <a:lnTo>
                  <a:pt x="14" y="59"/>
                </a:lnTo>
                <a:lnTo>
                  <a:pt x="15" y="62"/>
                </a:lnTo>
                <a:lnTo>
                  <a:pt x="16" y="64"/>
                </a:lnTo>
                <a:lnTo>
                  <a:pt x="16" y="68"/>
                </a:lnTo>
                <a:lnTo>
                  <a:pt x="17" y="71"/>
                </a:lnTo>
                <a:lnTo>
                  <a:pt x="17" y="77"/>
                </a:lnTo>
                <a:lnTo>
                  <a:pt x="17" y="94"/>
                </a:lnTo>
                <a:lnTo>
                  <a:pt x="16" y="102"/>
                </a:lnTo>
                <a:lnTo>
                  <a:pt x="16" y="104"/>
                </a:lnTo>
                <a:lnTo>
                  <a:pt x="17" y="109"/>
                </a:lnTo>
                <a:lnTo>
                  <a:pt x="18" y="111"/>
                </a:lnTo>
                <a:lnTo>
                  <a:pt x="18" y="112"/>
                </a:lnTo>
                <a:lnTo>
                  <a:pt x="20" y="112"/>
                </a:lnTo>
                <a:lnTo>
                  <a:pt x="34" y="111"/>
                </a:lnTo>
                <a:lnTo>
                  <a:pt x="33" y="110"/>
                </a:lnTo>
                <a:lnTo>
                  <a:pt x="31" y="98"/>
                </a:lnTo>
                <a:lnTo>
                  <a:pt x="33" y="94"/>
                </a:lnTo>
                <a:lnTo>
                  <a:pt x="34" y="88"/>
                </a:lnTo>
                <a:lnTo>
                  <a:pt x="33" y="78"/>
                </a:lnTo>
                <a:lnTo>
                  <a:pt x="34" y="71"/>
                </a:lnTo>
                <a:lnTo>
                  <a:pt x="35" y="67"/>
                </a:lnTo>
                <a:lnTo>
                  <a:pt x="38" y="60"/>
                </a:lnTo>
                <a:lnTo>
                  <a:pt x="38" y="56"/>
                </a:lnTo>
                <a:lnTo>
                  <a:pt x="39" y="52"/>
                </a:lnTo>
                <a:lnTo>
                  <a:pt x="41" y="49"/>
                </a:lnTo>
                <a:lnTo>
                  <a:pt x="46" y="46"/>
                </a:lnTo>
                <a:lnTo>
                  <a:pt x="46" y="43"/>
                </a:lnTo>
                <a:lnTo>
                  <a:pt x="47" y="42"/>
                </a:lnTo>
                <a:lnTo>
                  <a:pt x="47" y="42"/>
                </a:lnTo>
                <a:lnTo>
                  <a:pt x="47" y="41"/>
                </a:lnTo>
                <a:lnTo>
                  <a:pt x="46" y="40"/>
                </a:lnTo>
                <a:lnTo>
                  <a:pt x="46" y="39"/>
                </a:lnTo>
                <a:lnTo>
                  <a:pt x="46" y="37"/>
                </a:lnTo>
                <a:lnTo>
                  <a:pt x="47" y="36"/>
                </a:lnTo>
                <a:lnTo>
                  <a:pt x="48" y="36"/>
                </a:lnTo>
                <a:lnTo>
                  <a:pt x="49" y="36"/>
                </a:lnTo>
                <a:lnTo>
                  <a:pt x="49" y="29"/>
                </a:lnTo>
                <a:lnTo>
                  <a:pt x="48" y="25"/>
                </a:lnTo>
                <a:lnTo>
                  <a:pt x="47" y="23"/>
                </a:lnTo>
                <a:lnTo>
                  <a:pt x="45" y="20"/>
                </a:lnTo>
                <a:lnTo>
                  <a:pt x="44" y="18"/>
                </a:lnTo>
                <a:lnTo>
                  <a:pt x="45" y="15"/>
                </a:lnTo>
                <a:lnTo>
                  <a:pt x="46" y="1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57" name="Freeform 1257"/>
          <p:cNvSpPr>
            <a:spLocks/>
          </p:cNvSpPr>
          <p:nvPr/>
        </p:nvSpPr>
        <p:spPr bwMode="auto">
          <a:xfrm>
            <a:off x="4367212" y="3219415"/>
            <a:ext cx="77787" cy="177800"/>
          </a:xfrm>
          <a:custGeom>
            <a:avLst/>
            <a:gdLst>
              <a:gd name="T0" fmla="*/ 44 w 49"/>
              <a:gd name="T1" fmla="*/ 10 h 112"/>
              <a:gd name="T2" fmla="*/ 38 w 49"/>
              <a:gd name="T3" fmla="*/ 5 h 112"/>
              <a:gd name="T4" fmla="*/ 34 w 49"/>
              <a:gd name="T5" fmla="*/ 0 h 112"/>
              <a:gd name="T6" fmla="*/ 30 w 49"/>
              <a:gd name="T7" fmla="*/ 2 h 112"/>
              <a:gd name="T8" fmla="*/ 27 w 49"/>
              <a:gd name="T9" fmla="*/ 5 h 112"/>
              <a:gd name="T10" fmla="*/ 27 w 49"/>
              <a:gd name="T11" fmla="*/ 9 h 112"/>
              <a:gd name="T12" fmla="*/ 27 w 49"/>
              <a:gd name="T13" fmla="*/ 9 h 112"/>
              <a:gd name="T14" fmla="*/ 25 w 49"/>
              <a:gd name="T15" fmla="*/ 11 h 112"/>
              <a:gd name="T16" fmla="*/ 25 w 49"/>
              <a:gd name="T17" fmla="*/ 13 h 112"/>
              <a:gd name="T18" fmla="*/ 20 w 49"/>
              <a:gd name="T19" fmla="*/ 18 h 112"/>
              <a:gd name="T20" fmla="*/ 16 w 49"/>
              <a:gd name="T21" fmla="*/ 18 h 112"/>
              <a:gd name="T22" fmla="*/ 12 w 49"/>
              <a:gd name="T23" fmla="*/ 17 h 112"/>
              <a:gd name="T24" fmla="*/ 8 w 49"/>
              <a:gd name="T25" fmla="*/ 21 h 112"/>
              <a:gd name="T26" fmla="*/ 7 w 49"/>
              <a:gd name="T27" fmla="*/ 21 h 112"/>
              <a:gd name="T28" fmla="*/ 6 w 49"/>
              <a:gd name="T29" fmla="*/ 22 h 112"/>
              <a:gd name="T30" fmla="*/ 4 w 49"/>
              <a:gd name="T31" fmla="*/ 25 h 112"/>
              <a:gd name="T32" fmla="*/ 3 w 49"/>
              <a:gd name="T33" fmla="*/ 27 h 112"/>
              <a:gd name="T34" fmla="*/ 0 w 49"/>
              <a:gd name="T35" fmla="*/ 31 h 112"/>
              <a:gd name="T36" fmla="*/ 0 w 49"/>
              <a:gd name="T37" fmla="*/ 38 h 112"/>
              <a:gd name="T38" fmla="*/ 4 w 49"/>
              <a:gd name="T39" fmla="*/ 40 h 112"/>
              <a:gd name="T40" fmla="*/ 6 w 49"/>
              <a:gd name="T41" fmla="*/ 41 h 112"/>
              <a:gd name="T42" fmla="*/ 13 w 49"/>
              <a:gd name="T43" fmla="*/ 52 h 112"/>
              <a:gd name="T44" fmla="*/ 15 w 49"/>
              <a:gd name="T45" fmla="*/ 62 h 112"/>
              <a:gd name="T46" fmla="*/ 16 w 49"/>
              <a:gd name="T47" fmla="*/ 68 h 112"/>
              <a:gd name="T48" fmla="*/ 17 w 49"/>
              <a:gd name="T49" fmla="*/ 77 h 112"/>
              <a:gd name="T50" fmla="*/ 16 w 49"/>
              <a:gd name="T51" fmla="*/ 102 h 112"/>
              <a:gd name="T52" fmla="*/ 17 w 49"/>
              <a:gd name="T53" fmla="*/ 109 h 112"/>
              <a:gd name="T54" fmla="*/ 18 w 49"/>
              <a:gd name="T55" fmla="*/ 112 h 112"/>
              <a:gd name="T56" fmla="*/ 34 w 49"/>
              <a:gd name="T57" fmla="*/ 111 h 112"/>
              <a:gd name="T58" fmla="*/ 31 w 49"/>
              <a:gd name="T59" fmla="*/ 98 h 112"/>
              <a:gd name="T60" fmla="*/ 34 w 49"/>
              <a:gd name="T61" fmla="*/ 88 h 112"/>
              <a:gd name="T62" fmla="*/ 34 w 49"/>
              <a:gd name="T63" fmla="*/ 71 h 112"/>
              <a:gd name="T64" fmla="*/ 38 w 49"/>
              <a:gd name="T65" fmla="*/ 60 h 112"/>
              <a:gd name="T66" fmla="*/ 39 w 49"/>
              <a:gd name="T67" fmla="*/ 52 h 112"/>
              <a:gd name="T68" fmla="*/ 46 w 49"/>
              <a:gd name="T69" fmla="*/ 46 h 112"/>
              <a:gd name="T70" fmla="*/ 47 w 49"/>
              <a:gd name="T71" fmla="*/ 42 h 112"/>
              <a:gd name="T72" fmla="*/ 47 w 49"/>
              <a:gd name="T73" fmla="*/ 41 h 112"/>
              <a:gd name="T74" fmla="*/ 46 w 49"/>
              <a:gd name="T75" fmla="*/ 39 h 112"/>
              <a:gd name="T76" fmla="*/ 47 w 49"/>
              <a:gd name="T77" fmla="*/ 36 h 112"/>
              <a:gd name="T78" fmla="*/ 49 w 49"/>
              <a:gd name="T79" fmla="*/ 36 h 112"/>
              <a:gd name="T80" fmla="*/ 48 w 49"/>
              <a:gd name="T81" fmla="*/ 25 h 112"/>
              <a:gd name="T82" fmla="*/ 45 w 49"/>
              <a:gd name="T83" fmla="*/ 20 h 112"/>
              <a:gd name="T84" fmla="*/ 45 w 49"/>
              <a:gd name="T85" fmla="*/ 15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49" h="112">
                <a:moveTo>
                  <a:pt x="46" y="12"/>
                </a:moveTo>
                <a:lnTo>
                  <a:pt x="44" y="10"/>
                </a:lnTo>
                <a:lnTo>
                  <a:pt x="41" y="9"/>
                </a:lnTo>
                <a:lnTo>
                  <a:pt x="38" y="5"/>
                </a:lnTo>
                <a:lnTo>
                  <a:pt x="35" y="1"/>
                </a:lnTo>
                <a:lnTo>
                  <a:pt x="34" y="0"/>
                </a:lnTo>
                <a:lnTo>
                  <a:pt x="31" y="1"/>
                </a:lnTo>
                <a:lnTo>
                  <a:pt x="30" y="2"/>
                </a:lnTo>
                <a:lnTo>
                  <a:pt x="27" y="2"/>
                </a:lnTo>
                <a:lnTo>
                  <a:pt x="27" y="5"/>
                </a:lnTo>
                <a:lnTo>
                  <a:pt x="28" y="7"/>
                </a:lnTo>
                <a:lnTo>
                  <a:pt x="27" y="9"/>
                </a:lnTo>
                <a:lnTo>
                  <a:pt x="27" y="8"/>
                </a:lnTo>
                <a:lnTo>
                  <a:pt x="27" y="9"/>
                </a:lnTo>
                <a:lnTo>
                  <a:pt x="26" y="10"/>
                </a:lnTo>
                <a:lnTo>
                  <a:pt x="25" y="11"/>
                </a:lnTo>
                <a:lnTo>
                  <a:pt x="25" y="12"/>
                </a:lnTo>
                <a:lnTo>
                  <a:pt x="25" y="13"/>
                </a:lnTo>
                <a:lnTo>
                  <a:pt x="22" y="17"/>
                </a:lnTo>
                <a:lnTo>
                  <a:pt x="20" y="18"/>
                </a:lnTo>
                <a:lnTo>
                  <a:pt x="18" y="17"/>
                </a:lnTo>
                <a:lnTo>
                  <a:pt x="16" y="18"/>
                </a:lnTo>
                <a:lnTo>
                  <a:pt x="14" y="17"/>
                </a:lnTo>
                <a:lnTo>
                  <a:pt x="12" y="17"/>
                </a:lnTo>
                <a:lnTo>
                  <a:pt x="10" y="17"/>
                </a:lnTo>
                <a:lnTo>
                  <a:pt x="8" y="21"/>
                </a:lnTo>
                <a:lnTo>
                  <a:pt x="7" y="20"/>
                </a:lnTo>
                <a:lnTo>
                  <a:pt x="7" y="21"/>
                </a:lnTo>
                <a:lnTo>
                  <a:pt x="6" y="22"/>
                </a:lnTo>
                <a:lnTo>
                  <a:pt x="6" y="22"/>
                </a:lnTo>
                <a:lnTo>
                  <a:pt x="5" y="25"/>
                </a:lnTo>
                <a:lnTo>
                  <a:pt x="4" y="25"/>
                </a:lnTo>
                <a:lnTo>
                  <a:pt x="3" y="26"/>
                </a:lnTo>
                <a:lnTo>
                  <a:pt x="3" y="27"/>
                </a:lnTo>
                <a:lnTo>
                  <a:pt x="2" y="29"/>
                </a:lnTo>
                <a:lnTo>
                  <a:pt x="0" y="31"/>
                </a:lnTo>
                <a:lnTo>
                  <a:pt x="0" y="35"/>
                </a:lnTo>
                <a:lnTo>
                  <a:pt x="0" y="38"/>
                </a:lnTo>
                <a:lnTo>
                  <a:pt x="2" y="39"/>
                </a:lnTo>
                <a:lnTo>
                  <a:pt x="4" y="40"/>
                </a:lnTo>
                <a:lnTo>
                  <a:pt x="5" y="40"/>
                </a:lnTo>
                <a:lnTo>
                  <a:pt x="6" y="41"/>
                </a:lnTo>
                <a:lnTo>
                  <a:pt x="10" y="46"/>
                </a:lnTo>
                <a:lnTo>
                  <a:pt x="13" y="52"/>
                </a:lnTo>
                <a:lnTo>
                  <a:pt x="14" y="59"/>
                </a:lnTo>
                <a:lnTo>
                  <a:pt x="15" y="62"/>
                </a:lnTo>
                <a:lnTo>
                  <a:pt x="16" y="64"/>
                </a:lnTo>
                <a:lnTo>
                  <a:pt x="16" y="68"/>
                </a:lnTo>
                <a:lnTo>
                  <a:pt x="17" y="71"/>
                </a:lnTo>
                <a:lnTo>
                  <a:pt x="17" y="77"/>
                </a:lnTo>
                <a:lnTo>
                  <a:pt x="17" y="94"/>
                </a:lnTo>
                <a:lnTo>
                  <a:pt x="16" y="102"/>
                </a:lnTo>
                <a:lnTo>
                  <a:pt x="16" y="104"/>
                </a:lnTo>
                <a:lnTo>
                  <a:pt x="17" y="109"/>
                </a:lnTo>
                <a:lnTo>
                  <a:pt x="18" y="111"/>
                </a:lnTo>
                <a:lnTo>
                  <a:pt x="18" y="112"/>
                </a:lnTo>
                <a:lnTo>
                  <a:pt x="20" y="112"/>
                </a:lnTo>
                <a:lnTo>
                  <a:pt x="34" y="111"/>
                </a:lnTo>
                <a:lnTo>
                  <a:pt x="33" y="110"/>
                </a:lnTo>
                <a:lnTo>
                  <a:pt x="31" y="98"/>
                </a:lnTo>
                <a:lnTo>
                  <a:pt x="33" y="94"/>
                </a:lnTo>
                <a:lnTo>
                  <a:pt x="34" y="88"/>
                </a:lnTo>
                <a:lnTo>
                  <a:pt x="33" y="78"/>
                </a:lnTo>
                <a:lnTo>
                  <a:pt x="34" y="71"/>
                </a:lnTo>
                <a:lnTo>
                  <a:pt x="35" y="67"/>
                </a:lnTo>
                <a:lnTo>
                  <a:pt x="38" y="60"/>
                </a:lnTo>
                <a:lnTo>
                  <a:pt x="38" y="56"/>
                </a:lnTo>
                <a:lnTo>
                  <a:pt x="39" y="52"/>
                </a:lnTo>
                <a:lnTo>
                  <a:pt x="41" y="49"/>
                </a:lnTo>
                <a:lnTo>
                  <a:pt x="46" y="46"/>
                </a:lnTo>
                <a:lnTo>
                  <a:pt x="46" y="43"/>
                </a:lnTo>
                <a:lnTo>
                  <a:pt x="47" y="42"/>
                </a:lnTo>
                <a:lnTo>
                  <a:pt x="47" y="42"/>
                </a:lnTo>
                <a:lnTo>
                  <a:pt x="47" y="41"/>
                </a:lnTo>
                <a:lnTo>
                  <a:pt x="46" y="40"/>
                </a:lnTo>
                <a:lnTo>
                  <a:pt x="46" y="39"/>
                </a:lnTo>
                <a:lnTo>
                  <a:pt x="46" y="37"/>
                </a:lnTo>
                <a:lnTo>
                  <a:pt x="47" y="36"/>
                </a:lnTo>
                <a:lnTo>
                  <a:pt x="48" y="36"/>
                </a:lnTo>
                <a:lnTo>
                  <a:pt x="49" y="36"/>
                </a:lnTo>
                <a:lnTo>
                  <a:pt x="49" y="29"/>
                </a:lnTo>
                <a:lnTo>
                  <a:pt x="48" y="25"/>
                </a:lnTo>
                <a:lnTo>
                  <a:pt x="47" y="23"/>
                </a:lnTo>
                <a:lnTo>
                  <a:pt x="45" y="20"/>
                </a:lnTo>
                <a:lnTo>
                  <a:pt x="44" y="18"/>
                </a:lnTo>
                <a:lnTo>
                  <a:pt x="45" y="15"/>
                </a:lnTo>
                <a:lnTo>
                  <a:pt x="46" y="1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58" name="Freeform 1258"/>
          <p:cNvSpPr>
            <a:spLocks/>
          </p:cNvSpPr>
          <p:nvPr/>
        </p:nvSpPr>
        <p:spPr bwMode="auto">
          <a:xfrm>
            <a:off x="4572000" y="3511515"/>
            <a:ext cx="141287" cy="182563"/>
          </a:xfrm>
          <a:custGeom>
            <a:avLst/>
            <a:gdLst>
              <a:gd name="T0" fmla="*/ 36 w 89"/>
              <a:gd name="T1" fmla="*/ 109 h 115"/>
              <a:gd name="T2" fmla="*/ 28 w 89"/>
              <a:gd name="T3" fmla="*/ 101 h 115"/>
              <a:gd name="T4" fmla="*/ 16 w 89"/>
              <a:gd name="T5" fmla="*/ 87 h 115"/>
              <a:gd name="T6" fmla="*/ 10 w 89"/>
              <a:gd name="T7" fmla="*/ 79 h 115"/>
              <a:gd name="T8" fmla="*/ 5 w 89"/>
              <a:gd name="T9" fmla="*/ 69 h 115"/>
              <a:gd name="T10" fmla="*/ 1 w 89"/>
              <a:gd name="T11" fmla="*/ 59 h 115"/>
              <a:gd name="T12" fmla="*/ 1 w 89"/>
              <a:gd name="T13" fmla="*/ 56 h 115"/>
              <a:gd name="T14" fmla="*/ 5 w 89"/>
              <a:gd name="T15" fmla="*/ 51 h 115"/>
              <a:gd name="T16" fmla="*/ 8 w 89"/>
              <a:gd name="T17" fmla="*/ 46 h 115"/>
              <a:gd name="T18" fmla="*/ 9 w 89"/>
              <a:gd name="T19" fmla="*/ 38 h 115"/>
              <a:gd name="T20" fmla="*/ 13 w 89"/>
              <a:gd name="T21" fmla="*/ 40 h 115"/>
              <a:gd name="T22" fmla="*/ 18 w 89"/>
              <a:gd name="T23" fmla="*/ 39 h 115"/>
              <a:gd name="T24" fmla="*/ 13 w 89"/>
              <a:gd name="T25" fmla="*/ 38 h 115"/>
              <a:gd name="T26" fmla="*/ 10 w 89"/>
              <a:gd name="T27" fmla="*/ 35 h 115"/>
              <a:gd name="T28" fmla="*/ 9 w 89"/>
              <a:gd name="T29" fmla="*/ 31 h 115"/>
              <a:gd name="T30" fmla="*/ 12 w 89"/>
              <a:gd name="T31" fmla="*/ 29 h 115"/>
              <a:gd name="T32" fmla="*/ 19 w 89"/>
              <a:gd name="T33" fmla="*/ 23 h 115"/>
              <a:gd name="T34" fmla="*/ 40 w 89"/>
              <a:gd name="T35" fmla="*/ 20 h 115"/>
              <a:gd name="T36" fmla="*/ 38 w 89"/>
              <a:gd name="T37" fmla="*/ 6 h 115"/>
              <a:gd name="T38" fmla="*/ 45 w 89"/>
              <a:gd name="T39" fmla="*/ 0 h 115"/>
              <a:gd name="T40" fmla="*/ 55 w 89"/>
              <a:gd name="T41" fmla="*/ 0 h 115"/>
              <a:gd name="T42" fmla="*/ 69 w 89"/>
              <a:gd name="T43" fmla="*/ 1 h 115"/>
              <a:gd name="T44" fmla="*/ 70 w 89"/>
              <a:gd name="T45" fmla="*/ 7 h 115"/>
              <a:gd name="T46" fmla="*/ 70 w 89"/>
              <a:gd name="T47" fmla="*/ 19 h 115"/>
              <a:gd name="T48" fmla="*/ 77 w 89"/>
              <a:gd name="T49" fmla="*/ 14 h 115"/>
              <a:gd name="T50" fmla="*/ 89 w 89"/>
              <a:gd name="T51" fmla="*/ 19 h 115"/>
              <a:gd name="T52" fmla="*/ 83 w 89"/>
              <a:gd name="T53" fmla="*/ 37 h 115"/>
              <a:gd name="T54" fmla="*/ 84 w 89"/>
              <a:gd name="T55" fmla="*/ 47 h 115"/>
              <a:gd name="T56" fmla="*/ 88 w 89"/>
              <a:gd name="T57" fmla="*/ 61 h 115"/>
              <a:gd name="T58" fmla="*/ 86 w 89"/>
              <a:gd name="T59" fmla="*/ 78 h 115"/>
              <a:gd name="T60" fmla="*/ 80 w 89"/>
              <a:gd name="T61" fmla="*/ 86 h 115"/>
              <a:gd name="T62" fmla="*/ 67 w 89"/>
              <a:gd name="T63" fmla="*/ 81 h 115"/>
              <a:gd name="T64" fmla="*/ 62 w 89"/>
              <a:gd name="T65" fmla="*/ 76 h 115"/>
              <a:gd name="T66" fmla="*/ 57 w 89"/>
              <a:gd name="T67" fmla="*/ 82 h 115"/>
              <a:gd name="T68" fmla="*/ 47 w 89"/>
              <a:gd name="T69" fmla="*/ 88 h 115"/>
              <a:gd name="T70" fmla="*/ 45 w 89"/>
              <a:gd name="T71" fmla="*/ 95 h 115"/>
              <a:gd name="T72" fmla="*/ 47 w 89"/>
              <a:gd name="T73" fmla="*/ 105 h 115"/>
              <a:gd name="T74" fmla="*/ 42 w 89"/>
              <a:gd name="T75" fmla="*/ 106 h 115"/>
              <a:gd name="T76" fmla="*/ 38 w 89"/>
              <a:gd name="T77" fmla="*/ 109 h 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9" h="115">
                <a:moveTo>
                  <a:pt x="37" y="115"/>
                </a:moveTo>
                <a:lnTo>
                  <a:pt x="36" y="109"/>
                </a:lnTo>
                <a:lnTo>
                  <a:pt x="32" y="107"/>
                </a:lnTo>
                <a:lnTo>
                  <a:pt x="28" y="101"/>
                </a:lnTo>
                <a:lnTo>
                  <a:pt x="18" y="91"/>
                </a:lnTo>
                <a:lnTo>
                  <a:pt x="16" y="87"/>
                </a:lnTo>
                <a:lnTo>
                  <a:pt x="13" y="84"/>
                </a:lnTo>
                <a:lnTo>
                  <a:pt x="10" y="79"/>
                </a:lnTo>
                <a:lnTo>
                  <a:pt x="8" y="77"/>
                </a:lnTo>
                <a:lnTo>
                  <a:pt x="5" y="69"/>
                </a:lnTo>
                <a:lnTo>
                  <a:pt x="3" y="65"/>
                </a:lnTo>
                <a:lnTo>
                  <a:pt x="1" y="59"/>
                </a:lnTo>
                <a:lnTo>
                  <a:pt x="0" y="56"/>
                </a:lnTo>
                <a:lnTo>
                  <a:pt x="1" y="56"/>
                </a:lnTo>
                <a:lnTo>
                  <a:pt x="3" y="55"/>
                </a:lnTo>
                <a:lnTo>
                  <a:pt x="5" y="51"/>
                </a:lnTo>
                <a:lnTo>
                  <a:pt x="7" y="50"/>
                </a:lnTo>
                <a:lnTo>
                  <a:pt x="8" y="46"/>
                </a:lnTo>
                <a:lnTo>
                  <a:pt x="8" y="37"/>
                </a:lnTo>
                <a:lnTo>
                  <a:pt x="9" y="38"/>
                </a:lnTo>
                <a:lnTo>
                  <a:pt x="11" y="39"/>
                </a:lnTo>
                <a:lnTo>
                  <a:pt x="13" y="40"/>
                </a:lnTo>
                <a:lnTo>
                  <a:pt x="17" y="40"/>
                </a:lnTo>
                <a:lnTo>
                  <a:pt x="18" y="39"/>
                </a:lnTo>
                <a:lnTo>
                  <a:pt x="17" y="39"/>
                </a:lnTo>
                <a:lnTo>
                  <a:pt x="13" y="38"/>
                </a:lnTo>
                <a:lnTo>
                  <a:pt x="11" y="36"/>
                </a:lnTo>
                <a:lnTo>
                  <a:pt x="10" y="35"/>
                </a:lnTo>
                <a:lnTo>
                  <a:pt x="9" y="33"/>
                </a:lnTo>
                <a:lnTo>
                  <a:pt x="9" y="31"/>
                </a:lnTo>
                <a:lnTo>
                  <a:pt x="11" y="31"/>
                </a:lnTo>
                <a:lnTo>
                  <a:pt x="12" y="29"/>
                </a:lnTo>
                <a:lnTo>
                  <a:pt x="12" y="24"/>
                </a:lnTo>
                <a:lnTo>
                  <a:pt x="19" y="23"/>
                </a:lnTo>
                <a:lnTo>
                  <a:pt x="40" y="21"/>
                </a:lnTo>
                <a:lnTo>
                  <a:pt x="40" y="20"/>
                </a:lnTo>
                <a:lnTo>
                  <a:pt x="39" y="15"/>
                </a:lnTo>
                <a:lnTo>
                  <a:pt x="38" y="6"/>
                </a:lnTo>
                <a:lnTo>
                  <a:pt x="40" y="1"/>
                </a:lnTo>
                <a:lnTo>
                  <a:pt x="45" y="0"/>
                </a:lnTo>
                <a:lnTo>
                  <a:pt x="49" y="1"/>
                </a:lnTo>
                <a:lnTo>
                  <a:pt x="55" y="0"/>
                </a:lnTo>
                <a:lnTo>
                  <a:pt x="59" y="1"/>
                </a:lnTo>
                <a:lnTo>
                  <a:pt x="69" y="1"/>
                </a:lnTo>
                <a:lnTo>
                  <a:pt x="72" y="3"/>
                </a:lnTo>
                <a:lnTo>
                  <a:pt x="70" y="7"/>
                </a:lnTo>
                <a:lnTo>
                  <a:pt x="70" y="14"/>
                </a:lnTo>
                <a:lnTo>
                  <a:pt x="70" y="19"/>
                </a:lnTo>
                <a:lnTo>
                  <a:pt x="72" y="21"/>
                </a:lnTo>
                <a:lnTo>
                  <a:pt x="77" y="14"/>
                </a:lnTo>
                <a:lnTo>
                  <a:pt x="86" y="16"/>
                </a:lnTo>
                <a:lnTo>
                  <a:pt x="89" y="19"/>
                </a:lnTo>
                <a:lnTo>
                  <a:pt x="89" y="27"/>
                </a:lnTo>
                <a:lnTo>
                  <a:pt x="83" y="37"/>
                </a:lnTo>
                <a:lnTo>
                  <a:pt x="83" y="43"/>
                </a:lnTo>
                <a:lnTo>
                  <a:pt x="84" y="47"/>
                </a:lnTo>
                <a:lnTo>
                  <a:pt x="88" y="57"/>
                </a:lnTo>
                <a:lnTo>
                  <a:pt x="88" y="61"/>
                </a:lnTo>
                <a:lnTo>
                  <a:pt x="87" y="66"/>
                </a:lnTo>
                <a:lnTo>
                  <a:pt x="86" y="78"/>
                </a:lnTo>
                <a:lnTo>
                  <a:pt x="84" y="84"/>
                </a:lnTo>
                <a:lnTo>
                  <a:pt x="80" y="86"/>
                </a:lnTo>
                <a:lnTo>
                  <a:pt x="74" y="80"/>
                </a:lnTo>
                <a:lnTo>
                  <a:pt x="67" y="81"/>
                </a:lnTo>
                <a:lnTo>
                  <a:pt x="64" y="78"/>
                </a:lnTo>
                <a:lnTo>
                  <a:pt x="62" y="76"/>
                </a:lnTo>
                <a:lnTo>
                  <a:pt x="59" y="79"/>
                </a:lnTo>
                <a:lnTo>
                  <a:pt x="57" y="82"/>
                </a:lnTo>
                <a:lnTo>
                  <a:pt x="50" y="86"/>
                </a:lnTo>
                <a:lnTo>
                  <a:pt x="47" y="88"/>
                </a:lnTo>
                <a:lnTo>
                  <a:pt x="45" y="91"/>
                </a:lnTo>
                <a:lnTo>
                  <a:pt x="45" y="95"/>
                </a:lnTo>
                <a:lnTo>
                  <a:pt x="46" y="99"/>
                </a:lnTo>
                <a:lnTo>
                  <a:pt x="47" y="105"/>
                </a:lnTo>
                <a:lnTo>
                  <a:pt x="46" y="106"/>
                </a:lnTo>
                <a:lnTo>
                  <a:pt x="42" y="106"/>
                </a:lnTo>
                <a:lnTo>
                  <a:pt x="39" y="107"/>
                </a:lnTo>
                <a:lnTo>
                  <a:pt x="38" y="109"/>
                </a:lnTo>
                <a:lnTo>
                  <a:pt x="37" y="11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59" name="Freeform 1259"/>
          <p:cNvSpPr>
            <a:spLocks/>
          </p:cNvSpPr>
          <p:nvPr/>
        </p:nvSpPr>
        <p:spPr bwMode="auto">
          <a:xfrm>
            <a:off x="4572000" y="3511515"/>
            <a:ext cx="141287" cy="182563"/>
          </a:xfrm>
          <a:custGeom>
            <a:avLst/>
            <a:gdLst>
              <a:gd name="T0" fmla="*/ 36 w 89"/>
              <a:gd name="T1" fmla="*/ 109 h 115"/>
              <a:gd name="T2" fmla="*/ 28 w 89"/>
              <a:gd name="T3" fmla="*/ 101 h 115"/>
              <a:gd name="T4" fmla="*/ 16 w 89"/>
              <a:gd name="T5" fmla="*/ 87 h 115"/>
              <a:gd name="T6" fmla="*/ 10 w 89"/>
              <a:gd name="T7" fmla="*/ 79 h 115"/>
              <a:gd name="T8" fmla="*/ 5 w 89"/>
              <a:gd name="T9" fmla="*/ 69 h 115"/>
              <a:gd name="T10" fmla="*/ 1 w 89"/>
              <a:gd name="T11" fmla="*/ 59 h 115"/>
              <a:gd name="T12" fmla="*/ 1 w 89"/>
              <a:gd name="T13" fmla="*/ 56 h 115"/>
              <a:gd name="T14" fmla="*/ 5 w 89"/>
              <a:gd name="T15" fmla="*/ 51 h 115"/>
              <a:gd name="T16" fmla="*/ 8 w 89"/>
              <a:gd name="T17" fmla="*/ 46 h 115"/>
              <a:gd name="T18" fmla="*/ 9 w 89"/>
              <a:gd name="T19" fmla="*/ 38 h 115"/>
              <a:gd name="T20" fmla="*/ 13 w 89"/>
              <a:gd name="T21" fmla="*/ 40 h 115"/>
              <a:gd name="T22" fmla="*/ 18 w 89"/>
              <a:gd name="T23" fmla="*/ 39 h 115"/>
              <a:gd name="T24" fmla="*/ 13 w 89"/>
              <a:gd name="T25" fmla="*/ 38 h 115"/>
              <a:gd name="T26" fmla="*/ 10 w 89"/>
              <a:gd name="T27" fmla="*/ 35 h 115"/>
              <a:gd name="T28" fmla="*/ 9 w 89"/>
              <a:gd name="T29" fmla="*/ 31 h 115"/>
              <a:gd name="T30" fmla="*/ 12 w 89"/>
              <a:gd name="T31" fmla="*/ 29 h 115"/>
              <a:gd name="T32" fmla="*/ 19 w 89"/>
              <a:gd name="T33" fmla="*/ 23 h 115"/>
              <a:gd name="T34" fmla="*/ 40 w 89"/>
              <a:gd name="T35" fmla="*/ 20 h 115"/>
              <a:gd name="T36" fmla="*/ 38 w 89"/>
              <a:gd name="T37" fmla="*/ 6 h 115"/>
              <a:gd name="T38" fmla="*/ 45 w 89"/>
              <a:gd name="T39" fmla="*/ 0 h 115"/>
              <a:gd name="T40" fmla="*/ 55 w 89"/>
              <a:gd name="T41" fmla="*/ 0 h 115"/>
              <a:gd name="T42" fmla="*/ 69 w 89"/>
              <a:gd name="T43" fmla="*/ 1 h 115"/>
              <a:gd name="T44" fmla="*/ 70 w 89"/>
              <a:gd name="T45" fmla="*/ 7 h 115"/>
              <a:gd name="T46" fmla="*/ 70 w 89"/>
              <a:gd name="T47" fmla="*/ 19 h 115"/>
              <a:gd name="T48" fmla="*/ 77 w 89"/>
              <a:gd name="T49" fmla="*/ 14 h 115"/>
              <a:gd name="T50" fmla="*/ 89 w 89"/>
              <a:gd name="T51" fmla="*/ 19 h 115"/>
              <a:gd name="T52" fmla="*/ 83 w 89"/>
              <a:gd name="T53" fmla="*/ 37 h 115"/>
              <a:gd name="T54" fmla="*/ 84 w 89"/>
              <a:gd name="T55" fmla="*/ 47 h 115"/>
              <a:gd name="T56" fmla="*/ 88 w 89"/>
              <a:gd name="T57" fmla="*/ 61 h 115"/>
              <a:gd name="T58" fmla="*/ 86 w 89"/>
              <a:gd name="T59" fmla="*/ 78 h 115"/>
              <a:gd name="T60" fmla="*/ 80 w 89"/>
              <a:gd name="T61" fmla="*/ 86 h 115"/>
              <a:gd name="T62" fmla="*/ 67 w 89"/>
              <a:gd name="T63" fmla="*/ 81 h 115"/>
              <a:gd name="T64" fmla="*/ 62 w 89"/>
              <a:gd name="T65" fmla="*/ 76 h 115"/>
              <a:gd name="T66" fmla="*/ 57 w 89"/>
              <a:gd name="T67" fmla="*/ 82 h 115"/>
              <a:gd name="T68" fmla="*/ 47 w 89"/>
              <a:gd name="T69" fmla="*/ 88 h 115"/>
              <a:gd name="T70" fmla="*/ 45 w 89"/>
              <a:gd name="T71" fmla="*/ 95 h 115"/>
              <a:gd name="T72" fmla="*/ 47 w 89"/>
              <a:gd name="T73" fmla="*/ 105 h 115"/>
              <a:gd name="T74" fmla="*/ 42 w 89"/>
              <a:gd name="T75" fmla="*/ 106 h 115"/>
              <a:gd name="T76" fmla="*/ 38 w 89"/>
              <a:gd name="T77" fmla="*/ 109 h 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9" h="115">
                <a:moveTo>
                  <a:pt x="37" y="115"/>
                </a:moveTo>
                <a:lnTo>
                  <a:pt x="36" y="109"/>
                </a:lnTo>
                <a:lnTo>
                  <a:pt x="32" y="107"/>
                </a:lnTo>
                <a:lnTo>
                  <a:pt x="28" y="101"/>
                </a:lnTo>
                <a:lnTo>
                  <a:pt x="18" y="91"/>
                </a:lnTo>
                <a:lnTo>
                  <a:pt x="16" y="87"/>
                </a:lnTo>
                <a:lnTo>
                  <a:pt x="13" y="84"/>
                </a:lnTo>
                <a:lnTo>
                  <a:pt x="10" y="79"/>
                </a:lnTo>
                <a:lnTo>
                  <a:pt x="8" y="77"/>
                </a:lnTo>
                <a:lnTo>
                  <a:pt x="5" y="69"/>
                </a:lnTo>
                <a:lnTo>
                  <a:pt x="3" y="65"/>
                </a:lnTo>
                <a:lnTo>
                  <a:pt x="1" y="59"/>
                </a:lnTo>
                <a:lnTo>
                  <a:pt x="0" y="56"/>
                </a:lnTo>
                <a:lnTo>
                  <a:pt x="1" y="56"/>
                </a:lnTo>
                <a:lnTo>
                  <a:pt x="3" y="55"/>
                </a:lnTo>
                <a:lnTo>
                  <a:pt x="5" y="51"/>
                </a:lnTo>
                <a:lnTo>
                  <a:pt x="7" y="50"/>
                </a:lnTo>
                <a:lnTo>
                  <a:pt x="8" y="46"/>
                </a:lnTo>
                <a:lnTo>
                  <a:pt x="8" y="37"/>
                </a:lnTo>
                <a:lnTo>
                  <a:pt x="9" y="38"/>
                </a:lnTo>
                <a:lnTo>
                  <a:pt x="11" y="39"/>
                </a:lnTo>
                <a:lnTo>
                  <a:pt x="13" y="40"/>
                </a:lnTo>
                <a:lnTo>
                  <a:pt x="17" y="40"/>
                </a:lnTo>
                <a:lnTo>
                  <a:pt x="18" y="39"/>
                </a:lnTo>
                <a:lnTo>
                  <a:pt x="17" y="39"/>
                </a:lnTo>
                <a:lnTo>
                  <a:pt x="13" y="38"/>
                </a:lnTo>
                <a:lnTo>
                  <a:pt x="11" y="36"/>
                </a:lnTo>
                <a:lnTo>
                  <a:pt x="10" y="35"/>
                </a:lnTo>
                <a:lnTo>
                  <a:pt x="9" y="33"/>
                </a:lnTo>
                <a:lnTo>
                  <a:pt x="9" y="31"/>
                </a:lnTo>
                <a:lnTo>
                  <a:pt x="11" y="31"/>
                </a:lnTo>
                <a:lnTo>
                  <a:pt x="12" y="29"/>
                </a:lnTo>
                <a:lnTo>
                  <a:pt x="12" y="24"/>
                </a:lnTo>
                <a:lnTo>
                  <a:pt x="19" y="23"/>
                </a:lnTo>
                <a:lnTo>
                  <a:pt x="40" y="21"/>
                </a:lnTo>
                <a:lnTo>
                  <a:pt x="40" y="20"/>
                </a:lnTo>
                <a:lnTo>
                  <a:pt x="39" y="15"/>
                </a:lnTo>
                <a:lnTo>
                  <a:pt x="38" y="6"/>
                </a:lnTo>
                <a:lnTo>
                  <a:pt x="40" y="1"/>
                </a:lnTo>
                <a:lnTo>
                  <a:pt x="45" y="0"/>
                </a:lnTo>
                <a:lnTo>
                  <a:pt x="49" y="1"/>
                </a:lnTo>
                <a:lnTo>
                  <a:pt x="55" y="0"/>
                </a:lnTo>
                <a:lnTo>
                  <a:pt x="59" y="1"/>
                </a:lnTo>
                <a:lnTo>
                  <a:pt x="69" y="1"/>
                </a:lnTo>
                <a:lnTo>
                  <a:pt x="72" y="3"/>
                </a:lnTo>
                <a:lnTo>
                  <a:pt x="70" y="7"/>
                </a:lnTo>
                <a:lnTo>
                  <a:pt x="70" y="14"/>
                </a:lnTo>
                <a:lnTo>
                  <a:pt x="70" y="19"/>
                </a:lnTo>
                <a:lnTo>
                  <a:pt x="72" y="21"/>
                </a:lnTo>
                <a:lnTo>
                  <a:pt x="77" y="14"/>
                </a:lnTo>
                <a:lnTo>
                  <a:pt x="86" y="16"/>
                </a:lnTo>
                <a:lnTo>
                  <a:pt x="89" y="19"/>
                </a:lnTo>
                <a:lnTo>
                  <a:pt x="89" y="27"/>
                </a:lnTo>
                <a:lnTo>
                  <a:pt x="83" y="37"/>
                </a:lnTo>
                <a:lnTo>
                  <a:pt x="83" y="43"/>
                </a:lnTo>
                <a:lnTo>
                  <a:pt x="84" y="47"/>
                </a:lnTo>
                <a:lnTo>
                  <a:pt x="88" y="57"/>
                </a:lnTo>
                <a:lnTo>
                  <a:pt x="88" y="61"/>
                </a:lnTo>
                <a:lnTo>
                  <a:pt x="87" y="66"/>
                </a:lnTo>
                <a:lnTo>
                  <a:pt x="86" y="78"/>
                </a:lnTo>
                <a:lnTo>
                  <a:pt x="84" y="84"/>
                </a:lnTo>
                <a:lnTo>
                  <a:pt x="80" y="86"/>
                </a:lnTo>
                <a:lnTo>
                  <a:pt x="74" y="80"/>
                </a:lnTo>
                <a:lnTo>
                  <a:pt x="67" y="81"/>
                </a:lnTo>
                <a:lnTo>
                  <a:pt x="64" y="78"/>
                </a:lnTo>
                <a:lnTo>
                  <a:pt x="62" y="76"/>
                </a:lnTo>
                <a:lnTo>
                  <a:pt x="59" y="79"/>
                </a:lnTo>
                <a:lnTo>
                  <a:pt x="57" y="82"/>
                </a:lnTo>
                <a:lnTo>
                  <a:pt x="50" y="86"/>
                </a:lnTo>
                <a:lnTo>
                  <a:pt x="47" y="88"/>
                </a:lnTo>
                <a:lnTo>
                  <a:pt x="45" y="91"/>
                </a:lnTo>
                <a:lnTo>
                  <a:pt x="45" y="95"/>
                </a:lnTo>
                <a:lnTo>
                  <a:pt x="46" y="99"/>
                </a:lnTo>
                <a:lnTo>
                  <a:pt x="47" y="105"/>
                </a:lnTo>
                <a:lnTo>
                  <a:pt x="46" y="106"/>
                </a:lnTo>
                <a:lnTo>
                  <a:pt x="42" y="106"/>
                </a:lnTo>
                <a:lnTo>
                  <a:pt x="39" y="107"/>
                </a:lnTo>
                <a:lnTo>
                  <a:pt x="38" y="109"/>
                </a:lnTo>
                <a:lnTo>
                  <a:pt x="37" y="11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60" name="Freeform 1260"/>
          <p:cNvSpPr>
            <a:spLocks/>
          </p:cNvSpPr>
          <p:nvPr/>
        </p:nvSpPr>
        <p:spPr bwMode="auto">
          <a:xfrm>
            <a:off x="5186362" y="3151153"/>
            <a:ext cx="382587" cy="325438"/>
          </a:xfrm>
          <a:custGeom>
            <a:avLst/>
            <a:gdLst>
              <a:gd name="T0" fmla="*/ 49 w 241"/>
              <a:gd name="T1" fmla="*/ 33 h 205"/>
              <a:gd name="T2" fmla="*/ 41 w 241"/>
              <a:gd name="T3" fmla="*/ 40 h 205"/>
              <a:gd name="T4" fmla="*/ 29 w 241"/>
              <a:gd name="T5" fmla="*/ 69 h 205"/>
              <a:gd name="T6" fmla="*/ 23 w 241"/>
              <a:gd name="T7" fmla="*/ 72 h 205"/>
              <a:gd name="T8" fmla="*/ 19 w 241"/>
              <a:gd name="T9" fmla="*/ 78 h 205"/>
              <a:gd name="T10" fmla="*/ 19 w 241"/>
              <a:gd name="T11" fmla="*/ 87 h 205"/>
              <a:gd name="T12" fmla="*/ 18 w 241"/>
              <a:gd name="T13" fmla="*/ 112 h 205"/>
              <a:gd name="T14" fmla="*/ 6 w 241"/>
              <a:gd name="T15" fmla="*/ 115 h 205"/>
              <a:gd name="T16" fmla="*/ 1 w 241"/>
              <a:gd name="T17" fmla="*/ 123 h 205"/>
              <a:gd name="T18" fmla="*/ 4 w 241"/>
              <a:gd name="T19" fmla="*/ 127 h 205"/>
              <a:gd name="T20" fmla="*/ 13 w 241"/>
              <a:gd name="T21" fmla="*/ 130 h 205"/>
              <a:gd name="T22" fmla="*/ 18 w 241"/>
              <a:gd name="T23" fmla="*/ 137 h 205"/>
              <a:gd name="T24" fmla="*/ 28 w 241"/>
              <a:gd name="T25" fmla="*/ 147 h 205"/>
              <a:gd name="T26" fmla="*/ 35 w 241"/>
              <a:gd name="T27" fmla="*/ 164 h 205"/>
              <a:gd name="T28" fmla="*/ 45 w 241"/>
              <a:gd name="T29" fmla="*/ 171 h 205"/>
              <a:gd name="T30" fmla="*/ 47 w 241"/>
              <a:gd name="T31" fmla="*/ 177 h 205"/>
              <a:gd name="T32" fmla="*/ 56 w 241"/>
              <a:gd name="T33" fmla="*/ 186 h 205"/>
              <a:gd name="T34" fmla="*/ 76 w 241"/>
              <a:gd name="T35" fmla="*/ 196 h 205"/>
              <a:gd name="T36" fmla="*/ 90 w 241"/>
              <a:gd name="T37" fmla="*/ 203 h 205"/>
              <a:gd name="T38" fmla="*/ 111 w 241"/>
              <a:gd name="T39" fmla="*/ 201 h 205"/>
              <a:gd name="T40" fmla="*/ 127 w 241"/>
              <a:gd name="T41" fmla="*/ 192 h 205"/>
              <a:gd name="T42" fmla="*/ 142 w 241"/>
              <a:gd name="T43" fmla="*/ 197 h 205"/>
              <a:gd name="T44" fmla="*/ 149 w 241"/>
              <a:gd name="T45" fmla="*/ 194 h 205"/>
              <a:gd name="T46" fmla="*/ 167 w 241"/>
              <a:gd name="T47" fmla="*/ 183 h 205"/>
              <a:gd name="T48" fmla="*/ 195 w 241"/>
              <a:gd name="T49" fmla="*/ 179 h 205"/>
              <a:gd name="T50" fmla="*/ 241 w 241"/>
              <a:gd name="T51" fmla="*/ 124 h 205"/>
              <a:gd name="T52" fmla="*/ 200 w 241"/>
              <a:gd name="T53" fmla="*/ 113 h 205"/>
              <a:gd name="T54" fmla="*/ 169 w 241"/>
              <a:gd name="T55" fmla="*/ 96 h 205"/>
              <a:gd name="T56" fmla="*/ 163 w 241"/>
              <a:gd name="T57" fmla="*/ 90 h 205"/>
              <a:gd name="T58" fmla="*/ 160 w 241"/>
              <a:gd name="T59" fmla="*/ 84 h 205"/>
              <a:gd name="T60" fmla="*/ 156 w 241"/>
              <a:gd name="T61" fmla="*/ 73 h 205"/>
              <a:gd name="T62" fmla="*/ 155 w 241"/>
              <a:gd name="T63" fmla="*/ 69 h 205"/>
              <a:gd name="T64" fmla="*/ 149 w 241"/>
              <a:gd name="T65" fmla="*/ 71 h 205"/>
              <a:gd name="T66" fmla="*/ 146 w 241"/>
              <a:gd name="T67" fmla="*/ 71 h 205"/>
              <a:gd name="T68" fmla="*/ 140 w 241"/>
              <a:gd name="T69" fmla="*/ 65 h 205"/>
              <a:gd name="T70" fmla="*/ 144 w 241"/>
              <a:gd name="T71" fmla="*/ 56 h 205"/>
              <a:gd name="T72" fmla="*/ 148 w 241"/>
              <a:gd name="T73" fmla="*/ 44 h 205"/>
              <a:gd name="T74" fmla="*/ 142 w 241"/>
              <a:gd name="T75" fmla="*/ 38 h 205"/>
              <a:gd name="T76" fmla="*/ 138 w 241"/>
              <a:gd name="T77" fmla="*/ 32 h 205"/>
              <a:gd name="T78" fmla="*/ 127 w 241"/>
              <a:gd name="T79" fmla="*/ 22 h 205"/>
              <a:gd name="T80" fmla="*/ 119 w 241"/>
              <a:gd name="T81" fmla="*/ 12 h 205"/>
              <a:gd name="T82" fmla="*/ 110 w 241"/>
              <a:gd name="T83" fmla="*/ 6 h 205"/>
              <a:gd name="T84" fmla="*/ 106 w 241"/>
              <a:gd name="T85" fmla="*/ 8 h 205"/>
              <a:gd name="T86" fmla="*/ 100 w 241"/>
              <a:gd name="T87" fmla="*/ 5 h 205"/>
              <a:gd name="T88" fmla="*/ 96 w 241"/>
              <a:gd name="T89" fmla="*/ 6 h 205"/>
              <a:gd name="T90" fmla="*/ 94 w 241"/>
              <a:gd name="T91" fmla="*/ 5 h 205"/>
              <a:gd name="T92" fmla="*/ 91 w 241"/>
              <a:gd name="T93" fmla="*/ 5 h 205"/>
              <a:gd name="T94" fmla="*/ 85 w 241"/>
              <a:gd name="T95" fmla="*/ 8 h 205"/>
              <a:gd name="T96" fmla="*/ 79 w 241"/>
              <a:gd name="T97" fmla="*/ 3 h 205"/>
              <a:gd name="T98" fmla="*/ 75 w 241"/>
              <a:gd name="T99" fmla="*/ 1 h 205"/>
              <a:gd name="T100" fmla="*/ 66 w 241"/>
              <a:gd name="T101" fmla="*/ 10 h 205"/>
              <a:gd name="T102" fmla="*/ 63 w 241"/>
              <a:gd name="T103" fmla="*/ 8 h 205"/>
              <a:gd name="T104" fmla="*/ 60 w 241"/>
              <a:gd name="T105" fmla="*/ 11 h 205"/>
              <a:gd name="T106" fmla="*/ 54 w 241"/>
              <a:gd name="T107" fmla="*/ 10 h 2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41" h="205">
                <a:moveTo>
                  <a:pt x="53" y="10"/>
                </a:moveTo>
                <a:lnTo>
                  <a:pt x="53" y="14"/>
                </a:lnTo>
                <a:lnTo>
                  <a:pt x="49" y="33"/>
                </a:lnTo>
                <a:lnTo>
                  <a:pt x="47" y="35"/>
                </a:lnTo>
                <a:lnTo>
                  <a:pt x="45" y="36"/>
                </a:lnTo>
                <a:lnTo>
                  <a:pt x="41" y="40"/>
                </a:lnTo>
                <a:lnTo>
                  <a:pt x="31" y="56"/>
                </a:lnTo>
                <a:lnTo>
                  <a:pt x="31" y="60"/>
                </a:lnTo>
                <a:lnTo>
                  <a:pt x="29" y="69"/>
                </a:lnTo>
                <a:lnTo>
                  <a:pt x="28" y="71"/>
                </a:lnTo>
                <a:lnTo>
                  <a:pt x="25" y="71"/>
                </a:lnTo>
                <a:lnTo>
                  <a:pt x="23" y="72"/>
                </a:lnTo>
                <a:lnTo>
                  <a:pt x="21" y="76"/>
                </a:lnTo>
                <a:lnTo>
                  <a:pt x="20" y="79"/>
                </a:lnTo>
                <a:lnTo>
                  <a:pt x="19" y="78"/>
                </a:lnTo>
                <a:lnTo>
                  <a:pt x="19" y="82"/>
                </a:lnTo>
                <a:lnTo>
                  <a:pt x="19" y="83"/>
                </a:lnTo>
                <a:lnTo>
                  <a:pt x="19" y="87"/>
                </a:lnTo>
                <a:lnTo>
                  <a:pt x="18" y="92"/>
                </a:lnTo>
                <a:lnTo>
                  <a:pt x="18" y="107"/>
                </a:lnTo>
                <a:lnTo>
                  <a:pt x="18" y="112"/>
                </a:lnTo>
                <a:lnTo>
                  <a:pt x="16" y="114"/>
                </a:lnTo>
                <a:lnTo>
                  <a:pt x="13" y="116"/>
                </a:lnTo>
                <a:lnTo>
                  <a:pt x="6" y="115"/>
                </a:lnTo>
                <a:lnTo>
                  <a:pt x="4" y="116"/>
                </a:lnTo>
                <a:lnTo>
                  <a:pt x="4" y="122"/>
                </a:lnTo>
                <a:lnTo>
                  <a:pt x="1" y="123"/>
                </a:lnTo>
                <a:lnTo>
                  <a:pt x="0" y="125"/>
                </a:lnTo>
                <a:lnTo>
                  <a:pt x="3" y="126"/>
                </a:lnTo>
                <a:lnTo>
                  <a:pt x="4" y="127"/>
                </a:lnTo>
                <a:lnTo>
                  <a:pt x="7" y="129"/>
                </a:lnTo>
                <a:lnTo>
                  <a:pt x="9" y="129"/>
                </a:lnTo>
                <a:lnTo>
                  <a:pt x="13" y="130"/>
                </a:lnTo>
                <a:lnTo>
                  <a:pt x="15" y="132"/>
                </a:lnTo>
                <a:lnTo>
                  <a:pt x="17" y="134"/>
                </a:lnTo>
                <a:lnTo>
                  <a:pt x="18" y="137"/>
                </a:lnTo>
                <a:lnTo>
                  <a:pt x="19" y="141"/>
                </a:lnTo>
                <a:lnTo>
                  <a:pt x="21" y="143"/>
                </a:lnTo>
                <a:lnTo>
                  <a:pt x="28" y="147"/>
                </a:lnTo>
                <a:lnTo>
                  <a:pt x="30" y="151"/>
                </a:lnTo>
                <a:lnTo>
                  <a:pt x="31" y="155"/>
                </a:lnTo>
                <a:lnTo>
                  <a:pt x="35" y="164"/>
                </a:lnTo>
                <a:lnTo>
                  <a:pt x="36" y="167"/>
                </a:lnTo>
                <a:lnTo>
                  <a:pt x="38" y="169"/>
                </a:lnTo>
                <a:lnTo>
                  <a:pt x="45" y="171"/>
                </a:lnTo>
                <a:lnTo>
                  <a:pt x="47" y="172"/>
                </a:lnTo>
                <a:lnTo>
                  <a:pt x="48" y="174"/>
                </a:lnTo>
                <a:lnTo>
                  <a:pt x="47" y="177"/>
                </a:lnTo>
                <a:lnTo>
                  <a:pt x="47" y="185"/>
                </a:lnTo>
                <a:lnTo>
                  <a:pt x="51" y="186"/>
                </a:lnTo>
                <a:lnTo>
                  <a:pt x="56" y="186"/>
                </a:lnTo>
                <a:lnTo>
                  <a:pt x="60" y="186"/>
                </a:lnTo>
                <a:lnTo>
                  <a:pt x="65" y="188"/>
                </a:lnTo>
                <a:lnTo>
                  <a:pt x="76" y="196"/>
                </a:lnTo>
                <a:lnTo>
                  <a:pt x="79" y="201"/>
                </a:lnTo>
                <a:lnTo>
                  <a:pt x="86" y="203"/>
                </a:lnTo>
                <a:lnTo>
                  <a:pt x="90" y="203"/>
                </a:lnTo>
                <a:lnTo>
                  <a:pt x="97" y="205"/>
                </a:lnTo>
                <a:lnTo>
                  <a:pt x="104" y="205"/>
                </a:lnTo>
                <a:lnTo>
                  <a:pt x="111" y="201"/>
                </a:lnTo>
                <a:lnTo>
                  <a:pt x="116" y="195"/>
                </a:lnTo>
                <a:lnTo>
                  <a:pt x="121" y="194"/>
                </a:lnTo>
                <a:lnTo>
                  <a:pt x="127" y="192"/>
                </a:lnTo>
                <a:lnTo>
                  <a:pt x="136" y="197"/>
                </a:lnTo>
                <a:lnTo>
                  <a:pt x="140" y="197"/>
                </a:lnTo>
                <a:lnTo>
                  <a:pt x="142" y="197"/>
                </a:lnTo>
                <a:lnTo>
                  <a:pt x="145" y="197"/>
                </a:lnTo>
                <a:lnTo>
                  <a:pt x="146" y="196"/>
                </a:lnTo>
                <a:lnTo>
                  <a:pt x="149" y="194"/>
                </a:lnTo>
                <a:lnTo>
                  <a:pt x="160" y="190"/>
                </a:lnTo>
                <a:lnTo>
                  <a:pt x="163" y="185"/>
                </a:lnTo>
                <a:lnTo>
                  <a:pt x="167" y="183"/>
                </a:lnTo>
                <a:lnTo>
                  <a:pt x="173" y="180"/>
                </a:lnTo>
                <a:lnTo>
                  <a:pt x="176" y="179"/>
                </a:lnTo>
                <a:lnTo>
                  <a:pt x="195" y="179"/>
                </a:lnTo>
                <a:lnTo>
                  <a:pt x="218" y="151"/>
                </a:lnTo>
                <a:lnTo>
                  <a:pt x="238" y="127"/>
                </a:lnTo>
                <a:lnTo>
                  <a:pt x="241" y="124"/>
                </a:lnTo>
                <a:lnTo>
                  <a:pt x="241" y="123"/>
                </a:lnTo>
                <a:lnTo>
                  <a:pt x="226" y="123"/>
                </a:lnTo>
                <a:lnTo>
                  <a:pt x="200" y="113"/>
                </a:lnTo>
                <a:lnTo>
                  <a:pt x="177" y="104"/>
                </a:lnTo>
                <a:lnTo>
                  <a:pt x="175" y="101"/>
                </a:lnTo>
                <a:lnTo>
                  <a:pt x="169" y="96"/>
                </a:lnTo>
                <a:lnTo>
                  <a:pt x="167" y="93"/>
                </a:lnTo>
                <a:lnTo>
                  <a:pt x="165" y="91"/>
                </a:lnTo>
                <a:lnTo>
                  <a:pt x="163" y="90"/>
                </a:lnTo>
                <a:lnTo>
                  <a:pt x="162" y="87"/>
                </a:lnTo>
                <a:lnTo>
                  <a:pt x="161" y="86"/>
                </a:lnTo>
                <a:lnTo>
                  <a:pt x="160" y="84"/>
                </a:lnTo>
                <a:lnTo>
                  <a:pt x="158" y="82"/>
                </a:lnTo>
                <a:lnTo>
                  <a:pt x="156" y="74"/>
                </a:lnTo>
                <a:lnTo>
                  <a:pt x="156" y="73"/>
                </a:lnTo>
                <a:lnTo>
                  <a:pt x="158" y="71"/>
                </a:lnTo>
                <a:lnTo>
                  <a:pt x="158" y="71"/>
                </a:lnTo>
                <a:lnTo>
                  <a:pt x="155" y="69"/>
                </a:lnTo>
                <a:lnTo>
                  <a:pt x="154" y="68"/>
                </a:lnTo>
                <a:lnTo>
                  <a:pt x="150" y="70"/>
                </a:lnTo>
                <a:lnTo>
                  <a:pt x="149" y="71"/>
                </a:lnTo>
                <a:lnTo>
                  <a:pt x="149" y="71"/>
                </a:lnTo>
                <a:lnTo>
                  <a:pt x="147" y="70"/>
                </a:lnTo>
                <a:lnTo>
                  <a:pt x="146" y="71"/>
                </a:lnTo>
                <a:lnTo>
                  <a:pt x="142" y="70"/>
                </a:lnTo>
                <a:lnTo>
                  <a:pt x="140" y="69"/>
                </a:lnTo>
                <a:lnTo>
                  <a:pt x="140" y="65"/>
                </a:lnTo>
                <a:lnTo>
                  <a:pt x="140" y="64"/>
                </a:lnTo>
                <a:lnTo>
                  <a:pt x="142" y="61"/>
                </a:lnTo>
                <a:lnTo>
                  <a:pt x="144" y="56"/>
                </a:lnTo>
                <a:lnTo>
                  <a:pt x="145" y="53"/>
                </a:lnTo>
                <a:lnTo>
                  <a:pt x="146" y="46"/>
                </a:lnTo>
                <a:lnTo>
                  <a:pt x="148" y="44"/>
                </a:lnTo>
                <a:lnTo>
                  <a:pt x="146" y="42"/>
                </a:lnTo>
                <a:lnTo>
                  <a:pt x="145" y="40"/>
                </a:lnTo>
                <a:lnTo>
                  <a:pt x="142" y="38"/>
                </a:lnTo>
                <a:lnTo>
                  <a:pt x="140" y="36"/>
                </a:lnTo>
                <a:lnTo>
                  <a:pt x="139" y="34"/>
                </a:lnTo>
                <a:lnTo>
                  <a:pt x="138" y="32"/>
                </a:lnTo>
                <a:lnTo>
                  <a:pt x="136" y="30"/>
                </a:lnTo>
                <a:lnTo>
                  <a:pt x="132" y="26"/>
                </a:lnTo>
                <a:lnTo>
                  <a:pt x="127" y="22"/>
                </a:lnTo>
                <a:lnTo>
                  <a:pt x="126" y="20"/>
                </a:lnTo>
                <a:lnTo>
                  <a:pt x="124" y="16"/>
                </a:lnTo>
                <a:lnTo>
                  <a:pt x="119" y="12"/>
                </a:lnTo>
                <a:lnTo>
                  <a:pt x="117" y="12"/>
                </a:lnTo>
                <a:lnTo>
                  <a:pt x="115" y="10"/>
                </a:lnTo>
                <a:lnTo>
                  <a:pt x="110" y="6"/>
                </a:lnTo>
                <a:lnTo>
                  <a:pt x="107" y="6"/>
                </a:lnTo>
                <a:lnTo>
                  <a:pt x="107" y="8"/>
                </a:lnTo>
                <a:lnTo>
                  <a:pt x="106" y="8"/>
                </a:lnTo>
                <a:lnTo>
                  <a:pt x="105" y="6"/>
                </a:lnTo>
                <a:lnTo>
                  <a:pt x="101" y="6"/>
                </a:lnTo>
                <a:lnTo>
                  <a:pt x="100" y="5"/>
                </a:lnTo>
                <a:lnTo>
                  <a:pt x="99" y="5"/>
                </a:lnTo>
                <a:lnTo>
                  <a:pt x="98" y="6"/>
                </a:lnTo>
                <a:lnTo>
                  <a:pt x="96" y="6"/>
                </a:lnTo>
                <a:lnTo>
                  <a:pt x="96" y="8"/>
                </a:lnTo>
                <a:lnTo>
                  <a:pt x="95" y="8"/>
                </a:lnTo>
                <a:lnTo>
                  <a:pt x="94" y="5"/>
                </a:lnTo>
                <a:lnTo>
                  <a:pt x="92" y="3"/>
                </a:lnTo>
                <a:lnTo>
                  <a:pt x="91" y="3"/>
                </a:lnTo>
                <a:lnTo>
                  <a:pt x="91" y="5"/>
                </a:lnTo>
                <a:lnTo>
                  <a:pt x="89" y="6"/>
                </a:lnTo>
                <a:lnTo>
                  <a:pt x="86" y="8"/>
                </a:lnTo>
                <a:lnTo>
                  <a:pt x="85" y="8"/>
                </a:lnTo>
                <a:lnTo>
                  <a:pt x="82" y="8"/>
                </a:lnTo>
                <a:lnTo>
                  <a:pt x="79" y="4"/>
                </a:lnTo>
                <a:lnTo>
                  <a:pt x="79" y="3"/>
                </a:lnTo>
                <a:lnTo>
                  <a:pt x="78" y="3"/>
                </a:lnTo>
                <a:lnTo>
                  <a:pt x="77" y="3"/>
                </a:lnTo>
                <a:lnTo>
                  <a:pt x="75" y="1"/>
                </a:lnTo>
                <a:lnTo>
                  <a:pt x="74" y="0"/>
                </a:lnTo>
                <a:lnTo>
                  <a:pt x="68" y="13"/>
                </a:lnTo>
                <a:lnTo>
                  <a:pt x="66" y="10"/>
                </a:lnTo>
                <a:lnTo>
                  <a:pt x="66" y="9"/>
                </a:lnTo>
                <a:lnTo>
                  <a:pt x="65" y="8"/>
                </a:lnTo>
                <a:lnTo>
                  <a:pt x="63" y="8"/>
                </a:lnTo>
                <a:lnTo>
                  <a:pt x="61" y="9"/>
                </a:lnTo>
                <a:lnTo>
                  <a:pt x="60" y="10"/>
                </a:lnTo>
                <a:lnTo>
                  <a:pt x="60" y="11"/>
                </a:lnTo>
                <a:lnTo>
                  <a:pt x="59" y="11"/>
                </a:lnTo>
                <a:lnTo>
                  <a:pt x="58" y="10"/>
                </a:lnTo>
                <a:lnTo>
                  <a:pt x="54" y="10"/>
                </a:lnTo>
                <a:lnTo>
                  <a:pt x="53" y="1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61" name="Freeform 1261"/>
          <p:cNvSpPr>
            <a:spLocks/>
          </p:cNvSpPr>
          <p:nvPr/>
        </p:nvSpPr>
        <p:spPr bwMode="auto">
          <a:xfrm>
            <a:off x="5186362" y="3151153"/>
            <a:ext cx="382587" cy="325438"/>
          </a:xfrm>
          <a:custGeom>
            <a:avLst/>
            <a:gdLst>
              <a:gd name="T0" fmla="*/ 49 w 241"/>
              <a:gd name="T1" fmla="*/ 33 h 205"/>
              <a:gd name="T2" fmla="*/ 41 w 241"/>
              <a:gd name="T3" fmla="*/ 40 h 205"/>
              <a:gd name="T4" fmla="*/ 29 w 241"/>
              <a:gd name="T5" fmla="*/ 69 h 205"/>
              <a:gd name="T6" fmla="*/ 23 w 241"/>
              <a:gd name="T7" fmla="*/ 72 h 205"/>
              <a:gd name="T8" fmla="*/ 19 w 241"/>
              <a:gd name="T9" fmla="*/ 78 h 205"/>
              <a:gd name="T10" fmla="*/ 19 w 241"/>
              <a:gd name="T11" fmla="*/ 87 h 205"/>
              <a:gd name="T12" fmla="*/ 18 w 241"/>
              <a:gd name="T13" fmla="*/ 112 h 205"/>
              <a:gd name="T14" fmla="*/ 6 w 241"/>
              <a:gd name="T15" fmla="*/ 115 h 205"/>
              <a:gd name="T16" fmla="*/ 1 w 241"/>
              <a:gd name="T17" fmla="*/ 123 h 205"/>
              <a:gd name="T18" fmla="*/ 4 w 241"/>
              <a:gd name="T19" fmla="*/ 127 h 205"/>
              <a:gd name="T20" fmla="*/ 13 w 241"/>
              <a:gd name="T21" fmla="*/ 130 h 205"/>
              <a:gd name="T22" fmla="*/ 18 w 241"/>
              <a:gd name="T23" fmla="*/ 137 h 205"/>
              <a:gd name="T24" fmla="*/ 28 w 241"/>
              <a:gd name="T25" fmla="*/ 147 h 205"/>
              <a:gd name="T26" fmla="*/ 35 w 241"/>
              <a:gd name="T27" fmla="*/ 164 h 205"/>
              <a:gd name="T28" fmla="*/ 45 w 241"/>
              <a:gd name="T29" fmla="*/ 171 h 205"/>
              <a:gd name="T30" fmla="*/ 47 w 241"/>
              <a:gd name="T31" fmla="*/ 177 h 205"/>
              <a:gd name="T32" fmla="*/ 56 w 241"/>
              <a:gd name="T33" fmla="*/ 186 h 205"/>
              <a:gd name="T34" fmla="*/ 76 w 241"/>
              <a:gd name="T35" fmla="*/ 196 h 205"/>
              <a:gd name="T36" fmla="*/ 90 w 241"/>
              <a:gd name="T37" fmla="*/ 203 h 205"/>
              <a:gd name="T38" fmla="*/ 111 w 241"/>
              <a:gd name="T39" fmla="*/ 201 h 205"/>
              <a:gd name="T40" fmla="*/ 127 w 241"/>
              <a:gd name="T41" fmla="*/ 192 h 205"/>
              <a:gd name="T42" fmla="*/ 142 w 241"/>
              <a:gd name="T43" fmla="*/ 197 h 205"/>
              <a:gd name="T44" fmla="*/ 149 w 241"/>
              <a:gd name="T45" fmla="*/ 194 h 205"/>
              <a:gd name="T46" fmla="*/ 167 w 241"/>
              <a:gd name="T47" fmla="*/ 183 h 205"/>
              <a:gd name="T48" fmla="*/ 195 w 241"/>
              <a:gd name="T49" fmla="*/ 179 h 205"/>
              <a:gd name="T50" fmla="*/ 241 w 241"/>
              <a:gd name="T51" fmla="*/ 124 h 205"/>
              <a:gd name="T52" fmla="*/ 200 w 241"/>
              <a:gd name="T53" fmla="*/ 113 h 205"/>
              <a:gd name="T54" fmla="*/ 169 w 241"/>
              <a:gd name="T55" fmla="*/ 96 h 205"/>
              <a:gd name="T56" fmla="*/ 163 w 241"/>
              <a:gd name="T57" fmla="*/ 90 h 205"/>
              <a:gd name="T58" fmla="*/ 160 w 241"/>
              <a:gd name="T59" fmla="*/ 84 h 205"/>
              <a:gd name="T60" fmla="*/ 156 w 241"/>
              <a:gd name="T61" fmla="*/ 73 h 205"/>
              <a:gd name="T62" fmla="*/ 155 w 241"/>
              <a:gd name="T63" fmla="*/ 69 h 205"/>
              <a:gd name="T64" fmla="*/ 149 w 241"/>
              <a:gd name="T65" fmla="*/ 71 h 205"/>
              <a:gd name="T66" fmla="*/ 146 w 241"/>
              <a:gd name="T67" fmla="*/ 71 h 205"/>
              <a:gd name="T68" fmla="*/ 140 w 241"/>
              <a:gd name="T69" fmla="*/ 65 h 205"/>
              <a:gd name="T70" fmla="*/ 144 w 241"/>
              <a:gd name="T71" fmla="*/ 56 h 205"/>
              <a:gd name="T72" fmla="*/ 148 w 241"/>
              <a:gd name="T73" fmla="*/ 44 h 205"/>
              <a:gd name="T74" fmla="*/ 142 w 241"/>
              <a:gd name="T75" fmla="*/ 38 h 205"/>
              <a:gd name="T76" fmla="*/ 138 w 241"/>
              <a:gd name="T77" fmla="*/ 32 h 205"/>
              <a:gd name="T78" fmla="*/ 127 w 241"/>
              <a:gd name="T79" fmla="*/ 22 h 205"/>
              <a:gd name="T80" fmla="*/ 119 w 241"/>
              <a:gd name="T81" fmla="*/ 12 h 205"/>
              <a:gd name="T82" fmla="*/ 110 w 241"/>
              <a:gd name="T83" fmla="*/ 6 h 205"/>
              <a:gd name="T84" fmla="*/ 106 w 241"/>
              <a:gd name="T85" fmla="*/ 8 h 205"/>
              <a:gd name="T86" fmla="*/ 100 w 241"/>
              <a:gd name="T87" fmla="*/ 5 h 205"/>
              <a:gd name="T88" fmla="*/ 96 w 241"/>
              <a:gd name="T89" fmla="*/ 6 h 205"/>
              <a:gd name="T90" fmla="*/ 94 w 241"/>
              <a:gd name="T91" fmla="*/ 5 h 205"/>
              <a:gd name="T92" fmla="*/ 91 w 241"/>
              <a:gd name="T93" fmla="*/ 5 h 205"/>
              <a:gd name="T94" fmla="*/ 85 w 241"/>
              <a:gd name="T95" fmla="*/ 8 h 205"/>
              <a:gd name="T96" fmla="*/ 79 w 241"/>
              <a:gd name="T97" fmla="*/ 3 h 205"/>
              <a:gd name="T98" fmla="*/ 75 w 241"/>
              <a:gd name="T99" fmla="*/ 1 h 205"/>
              <a:gd name="T100" fmla="*/ 66 w 241"/>
              <a:gd name="T101" fmla="*/ 10 h 205"/>
              <a:gd name="T102" fmla="*/ 63 w 241"/>
              <a:gd name="T103" fmla="*/ 8 h 205"/>
              <a:gd name="T104" fmla="*/ 60 w 241"/>
              <a:gd name="T105" fmla="*/ 11 h 205"/>
              <a:gd name="T106" fmla="*/ 54 w 241"/>
              <a:gd name="T107" fmla="*/ 10 h 2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41" h="205">
                <a:moveTo>
                  <a:pt x="53" y="10"/>
                </a:moveTo>
                <a:lnTo>
                  <a:pt x="53" y="14"/>
                </a:lnTo>
                <a:lnTo>
                  <a:pt x="49" y="33"/>
                </a:lnTo>
                <a:lnTo>
                  <a:pt x="47" y="35"/>
                </a:lnTo>
                <a:lnTo>
                  <a:pt x="45" y="36"/>
                </a:lnTo>
                <a:lnTo>
                  <a:pt x="41" y="40"/>
                </a:lnTo>
                <a:lnTo>
                  <a:pt x="31" y="56"/>
                </a:lnTo>
                <a:lnTo>
                  <a:pt x="31" y="60"/>
                </a:lnTo>
                <a:lnTo>
                  <a:pt x="29" y="69"/>
                </a:lnTo>
                <a:lnTo>
                  <a:pt x="28" y="71"/>
                </a:lnTo>
                <a:lnTo>
                  <a:pt x="25" y="71"/>
                </a:lnTo>
                <a:lnTo>
                  <a:pt x="23" y="72"/>
                </a:lnTo>
                <a:lnTo>
                  <a:pt x="21" y="76"/>
                </a:lnTo>
                <a:lnTo>
                  <a:pt x="20" y="79"/>
                </a:lnTo>
                <a:lnTo>
                  <a:pt x="19" y="78"/>
                </a:lnTo>
                <a:lnTo>
                  <a:pt x="19" y="82"/>
                </a:lnTo>
                <a:lnTo>
                  <a:pt x="19" y="83"/>
                </a:lnTo>
                <a:lnTo>
                  <a:pt x="19" y="87"/>
                </a:lnTo>
                <a:lnTo>
                  <a:pt x="18" y="92"/>
                </a:lnTo>
                <a:lnTo>
                  <a:pt x="18" y="107"/>
                </a:lnTo>
                <a:lnTo>
                  <a:pt x="18" y="112"/>
                </a:lnTo>
                <a:lnTo>
                  <a:pt x="16" y="114"/>
                </a:lnTo>
                <a:lnTo>
                  <a:pt x="13" y="116"/>
                </a:lnTo>
                <a:lnTo>
                  <a:pt x="6" y="115"/>
                </a:lnTo>
                <a:lnTo>
                  <a:pt x="4" y="116"/>
                </a:lnTo>
                <a:lnTo>
                  <a:pt x="4" y="122"/>
                </a:lnTo>
                <a:lnTo>
                  <a:pt x="1" y="123"/>
                </a:lnTo>
                <a:lnTo>
                  <a:pt x="0" y="125"/>
                </a:lnTo>
                <a:lnTo>
                  <a:pt x="3" y="126"/>
                </a:lnTo>
                <a:lnTo>
                  <a:pt x="4" y="127"/>
                </a:lnTo>
                <a:lnTo>
                  <a:pt x="7" y="129"/>
                </a:lnTo>
                <a:lnTo>
                  <a:pt x="9" y="129"/>
                </a:lnTo>
                <a:lnTo>
                  <a:pt x="13" y="130"/>
                </a:lnTo>
                <a:lnTo>
                  <a:pt x="15" y="132"/>
                </a:lnTo>
                <a:lnTo>
                  <a:pt x="17" y="134"/>
                </a:lnTo>
                <a:lnTo>
                  <a:pt x="18" y="137"/>
                </a:lnTo>
                <a:lnTo>
                  <a:pt x="19" y="141"/>
                </a:lnTo>
                <a:lnTo>
                  <a:pt x="21" y="143"/>
                </a:lnTo>
                <a:lnTo>
                  <a:pt x="28" y="147"/>
                </a:lnTo>
                <a:lnTo>
                  <a:pt x="30" y="151"/>
                </a:lnTo>
                <a:lnTo>
                  <a:pt x="31" y="155"/>
                </a:lnTo>
                <a:lnTo>
                  <a:pt x="35" y="164"/>
                </a:lnTo>
                <a:lnTo>
                  <a:pt x="36" y="167"/>
                </a:lnTo>
                <a:lnTo>
                  <a:pt x="38" y="169"/>
                </a:lnTo>
                <a:lnTo>
                  <a:pt x="45" y="171"/>
                </a:lnTo>
                <a:lnTo>
                  <a:pt x="47" y="172"/>
                </a:lnTo>
                <a:lnTo>
                  <a:pt x="48" y="174"/>
                </a:lnTo>
                <a:lnTo>
                  <a:pt x="47" y="177"/>
                </a:lnTo>
                <a:lnTo>
                  <a:pt x="47" y="185"/>
                </a:lnTo>
                <a:lnTo>
                  <a:pt x="51" y="186"/>
                </a:lnTo>
                <a:lnTo>
                  <a:pt x="56" y="186"/>
                </a:lnTo>
                <a:lnTo>
                  <a:pt x="60" y="186"/>
                </a:lnTo>
                <a:lnTo>
                  <a:pt x="65" y="188"/>
                </a:lnTo>
                <a:lnTo>
                  <a:pt x="76" y="196"/>
                </a:lnTo>
                <a:lnTo>
                  <a:pt x="79" y="201"/>
                </a:lnTo>
                <a:lnTo>
                  <a:pt x="86" y="203"/>
                </a:lnTo>
                <a:lnTo>
                  <a:pt x="90" y="203"/>
                </a:lnTo>
                <a:lnTo>
                  <a:pt x="97" y="205"/>
                </a:lnTo>
                <a:lnTo>
                  <a:pt x="104" y="205"/>
                </a:lnTo>
                <a:lnTo>
                  <a:pt x="111" y="201"/>
                </a:lnTo>
                <a:lnTo>
                  <a:pt x="116" y="195"/>
                </a:lnTo>
                <a:lnTo>
                  <a:pt x="121" y="194"/>
                </a:lnTo>
                <a:lnTo>
                  <a:pt x="127" y="192"/>
                </a:lnTo>
                <a:lnTo>
                  <a:pt x="136" y="197"/>
                </a:lnTo>
                <a:lnTo>
                  <a:pt x="140" y="197"/>
                </a:lnTo>
                <a:lnTo>
                  <a:pt x="142" y="197"/>
                </a:lnTo>
                <a:lnTo>
                  <a:pt x="145" y="197"/>
                </a:lnTo>
                <a:lnTo>
                  <a:pt x="146" y="196"/>
                </a:lnTo>
                <a:lnTo>
                  <a:pt x="149" y="194"/>
                </a:lnTo>
                <a:lnTo>
                  <a:pt x="160" y="190"/>
                </a:lnTo>
                <a:lnTo>
                  <a:pt x="163" y="185"/>
                </a:lnTo>
                <a:lnTo>
                  <a:pt x="167" y="183"/>
                </a:lnTo>
                <a:lnTo>
                  <a:pt x="173" y="180"/>
                </a:lnTo>
                <a:lnTo>
                  <a:pt x="176" y="179"/>
                </a:lnTo>
                <a:lnTo>
                  <a:pt x="195" y="179"/>
                </a:lnTo>
                <a:lnTo>
                  <a:pt x="218" y="151"/>
                </a:lnTo>
                <a:lnTo>
                  <a:pt x="238" y="127"/>
                </a:lnTo>
                <a:lnTo>
                  <a:pt x="241" y="124"/>
                </a:lnTo>
                <a:lnTo>
                  <a:pt x="241" y="123"/>
                </a:lnTo>
                <a:lnTo>
                  <a:pt x="226" y="123"/>
                </a:lnTo>
                <a:lnTo>
                  <a:pt x="200" y="113"/>
                </a:lnTo>
                <a:lnTo>
                  <a:pt x="177" y="104"/>
                </a:lnTo>
                <a:lnTo>
                  <a:pt x="175" y="101"/>
                </a:lnTo>
                <a:lnTo>
                  <a:pt x="169" y="96"/>
                </a:lnTo>
                <a:lnTo>
                  <a:pt x="167" y="93"/>
                </a:lnTo>
                <a:lnTo>
                  <a:pt x="165" y="91"/>
                </a:lnTo>
                <a:lnTo>
                  <a:pt x="163" y="90"/>
                </a:lnTo>
                <a:lnTo>
                  <a:pt x="162" y="87"/>
                </a:lnTo>
                <a:lnTo>
                  <a:pt x="161" y="86"/>
                </a:lnTo>
                <a:lnTo>
                  <a:pt x="160" y="84"/>
                </a:lnTo>
                <a:lnTo>
                  <a:pt x="158" y="82"/>
                </a:lnTo>
                <a:lnTo>
                  <a:pt x="156" y="74"/>
                </a:lnTo>
                <a:lnTo>
                  <a:pt x="156" y="73"/>
                </a:lnTo>
                <a:lnTo>
                  <a:pt x="158" y="71"/>
                </a:lnTo>
                <a:lnTo>
                  <a:pt x="158" y="71"/>
                </a:lnTo>
                <a:lnTo>
                  <a:pt x="155" y="69"/>
                </a:lnTo>
                <a:lnTo>
                  <a:pt x="154" y="68"/>
                </a:lnTo>
                <a:lnTo>
                  <a:pt x="150" y="70"/>
                </a:lnTo>
                <a:lnTo>
                  <a:pt x="149" y="71"/>
                </a:lnTo>
                <a:lnTo>
                  <a:pt x="149" y="71"/>
                </a:lnTo>
                <a:lnTo>
                  <a:pt x="147" y="70"/>
                </a:lnTo>
                <a:lnTo>
                  <a:pt x="146" y="71"/>
                </a:lnTo>
                <a:lnTo>
                  <a:pt x="142" y="70"/>
                </a:lnTo>
                <a:lnTo>
                  <a:pt x="140" y="69"/>
                </a:lnTo>
                <a:lnTo>
                  <a:pt x="140" y="65"/>
                </a:lnTo>
                <a:lnTo>
                  <a:pt x="140" y="64"/>
                </a:lnTo>
                <a:lnTo>
                  <a:pt x="142" y="61"/>
                </a:lnTo>
                <a:lnTo>
                  <a:pt x="144" y="56"/>
                </a:lnTo>
                <a:lnTo>
                  <a:pt x="145" y="53"/>
                </a:lnTo>
                <a:lnTo>
                  <a:pt x="146" y="46"/>
                </a:lnTo>
                <a:lnTo>
                  <a:pt x="148" y="44"/>
                </a:lnTo>
                <a:lnTo>
                  <a:pt x="146" y="42"/>
                </a:lnTo>
                <a:lnTo>
                  <a:pt x="145" y="40"/>
                </a:lnTo>
                <a:lnTo>
                  <a:pt x="142" y="38"/>
                </a:lnTo>
                <a:lnTo>
                  <a:pt x="140" y="36"/>
                </a:lnTo>
                <a:lnTo>
                  <a:pt x="139" y="34"/>
                </a:lnTo>
                <a:lnTo>
                  <a:pt x="138" y="32"/>
                </a:lnTo>
                <a:lnTo>
                  <a:pt x="136" y="30"/>
                </a:lnTo>
                <a:lnTo>
                  <a:pt x="132" y="26"/>
                </a:lnTo>
                <a:lnTo>
                  <a:pt x="127" y="22"/>
                </a:lnTo>
                <a:lnTo>
                  <a:pt x="126" y="20"/>
                </a:lnTo>
                <a:lnTo>
                  <a:pt x="124" y="16"/>
                </a:lnTo>
                <a:lnTo>
                  <a:pt x="119" y="12"/>
                </a:lnTo>
                <a:lnTo>
                  <a:pt x="117" y="12"/>
                </a:lnTo>
                <a:lnTo>
                  <a:pt x="115" y="10"/>
                </a:lnTo>
                <a:lnTo>
                  <a:pt x="110" y="6"/>
                </a:lnTo>
                <a:lnTo>
                  <a:pt x="107" y="6"/>
                </a:lnTo>
                <a:lnTo>
                  <a:pt x="107" y="8"/>
                </a:lnTo>
                <a:lnTo>
                  <a:pt x="106" y="8"/>
                </a:lnTo>
                <a:lnTo>
                  <a:pt x="105" y="6"/>
                </a:lnTo>
                <a:lnTo>
                  <a:pt x="101" y="6"/>
                </a:lnTo>
                <a:lnTo>
                  <a:pt x="100" y="5"/>
                </a:lnTo>
                <a:lnTo>
                  <a:pt x="99" y="5"/>
                </a:lnTo>
                <a:lnTo>
                  <a:pt x="98" y="6"/>
                </a:lnTo>
                <a:lnTo>
                  <a:pt x="96" y="6"/>
                </a:lnTo>
                <a:lnTo>
                  <a:pt x="96" y="8"/>
                </a:lnTo>
                <a:lnTo>
                  <a:pt x="95" y="8"/>
                </a:lnTo>
                <a:lnTo>
                  <a:pt x="94" y="5"/>
                </a:lnTo>
                <a:lnTo>
                  <a:pt x="92" y="3"/>
                </a:lnTo>
                <a:lnTo>
                  <a:pt x="91" y="3"/>
                </a:lnTo>
                <a:lnTo>
                  <a:pt x="91" y="5"/>
                </a:lnTo>
                <a:lnTo>
                  <a:pt x="89" y="6"/>
                </a:lnTo>
                <a:lnTo>
                  <a:pt x="86" y="8"/>
                </a:lnTo>
                <a:lnTo>
                  <a:pt x="85" y="8"/>
                </a:lnTo>
                <a:lnTo>
                  <a:pt x="82" y="8"/>
                </a:lnTo>
                <a:lnTo>
                  <a:pt x="79" y="4"/>
                </a:lnTo>
                <a:lnTo>
                  <a:pt x="79" y="3"/>
                </a:lnTo>
                <a:lnTo>
                  <a:pt x="78" y="3"/>
                </a:lnTo>
                <a:lnTo>
                  <a:pt x="77" y="3"/>
                </a:lnTo>
                <a:lnTo>
                  <a:pt x="75" y="1"/>
                </a:lnTo>
                <a:lnTo>
                  <a:pt x="74" y="0"/>
                </a:lnTo>
                <a:lnTo>
                  <a:pt x="68" y="13"/>
                </a:lnTo>
                <a:lnTo>
                  <a:pt x="66" y="10"/>
                </a:lnTo>
                <a:lnTo>
                  <a:pt x="66" y="9"/>
                </a:lnTo>
                <a:lnTo>
                  <a:pt x="65" y="8"/>
                </a:lnTo>
                <a:lnTo>
                  <a:pt x="63" y="8"/>
                </a:lnTo>
                <a:lnTo>
                  <a:pt x="61" y="9"/>
                </a:lnTo>
                <a:lnTo>
                  <a:pt x="60" y="10"/>
                </a:lnTo>
                <a:lnTo>
                  <a:pt x="60" y="11"/>
                </a:lnTo>
                <a:lnTo>
                  <a:pt x="59" y="11"/>
                </a:lnTo>
                <a:lnTo>
                  <a:pt x="58" y="10"/>
                </a:lnTo>
                <a:lnTo>
                  <a:pt x="54" y="10"/>
                </a:lnTo>
                <a:lnTo>
                  <a:pt x="53" y="1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62" name="Freeform 1262"/>
          <p:cNvSpPr>
            <a:spLocks/>
          </p:cNvSpPr>
          <p:nvPr/>
        </p:nvSpPr>
        <p:spPr bwMode="auto">
          <a:xfrm>
            <a:off x="5105400" y="3881403"/>
            <a:ext cx="274637" cy="468313"/>
          </a:xfrm>
          <a:custGeom>
            <a:avLst/>
            <a:gdLst>
              <a:gd name="T0" fmla="*/ 172 w 173"/>
              <a:gd name="T1" fmla="*/ 4 h 295"/>
              <a:gd name="T2" fmla="*/ 168 w 173"/>
              <a:gd name="T3" fmla="*/ 18 h 295"/>
              <a:gd name="T4" fmla="*/ 167 w 173"/>
              <a:gd name="T5" fmla="*/ 41 h 295"/>
              <a:gd name="T6" fmla="*/ 166 w 173"/>
              <a:gd name="T7" fmla="*/ 57 h 295"/>
              <a:gd name="T8" fmla="*/ 168 w 173"/>
              <a:gd name="T9" fmla="*/ 67 h 295"/>
              <a:gd name="T10" fmla="*/ 170 w 173"/>
              <a:gd name="T11" fmla="*/ 73 h 295"/>
              <a:gd name="T12" fmla="*/ 165 w 173"/>
              <a:gd name="T13" fmla="*/ 86 h 295"/>
              <a:gd name="T14" fmla="*/ 162 w 173"/>
              <a:gd name="T15" fmla="*/ 93 h 295"/>
              <a:gd name="T16" fmla="*/ 153 w 173"/>
              <a:gd name="T17" fmla="*/ 106 h 295"/>
              <a:gd name="T18" fmla="*/ 142 w 173"/>
              <a:gd name="T19" fmla="*/ 115 h 295"/>
              <a:gd name="T20" fmla="*/ 128 w 173"/>
              <a:gd name="T21" fmla="*/ 123 h 295"/>
              <a:gd name="T22" fmla="*/ 104 w 173"/>
              <a:gd name="T23" fmla="*/ 140 h 295"/>
              <a:gd name="T24" fmla="*/ 97 w 173"/>
              <a:gd name="T25" fmla="*/ 149 h 295"/>
              <a:gd name="T26" fmla="*/ 90 w 173"/>
              <a:gd name="T27" fmla="*/ 154 h 295"/>
              <a:gd name="T28" fmla="*/ 75 w 173"/>
              <a:gd name="T29" fmla="*/ 167 h 295"/>
              <a:gd name="T30" fmla="*/ 68 w 173"/>
              <a:gd name="T31" fmla="*/ 184 h 295"/>
              <a:gd name="T32" fmla="*/ 74 w 173"/>
              <a:gd name="T33" fmla="*/ 191 h 295"/>
              <a:gd name="T34" fmla="*/ 77 w 173"/>
              <a:gd name="T35" fmla="*/ 212 h 295"/>
              <a:gd name="T36" fmla="*/ 78 w 173"/>
              <a:gd name="T37" fmla="*/ 231 h 295"/>
              <a:gd name="T38" fmla="*/ 77 w 173"/>
              <a:gd name="T39" fmla="*/ 242 h 295"/>
              <a:gd name="T40" fmla="*/ 70 w 173"/>
              <a:gd name="T41" fmla="*/ 257 h 295"/>
              <a:gd name="T42" fmla="*/ 47 w 173"/>
              <a:gd name="T43" fmla="*/ 267 h 295"/>
              <a:gd name="T44" fmla="*/ 36 w 173"/>
              <a:gd name="T45" fmla="*/ 272 h 295"/>
              <a:gd name="T46" fmla="*/ 29 w 173"/>
              <a:gd name="T47" fmla="*/ 281 h 295"/>
              <a:gd name="T48" fmla="*/ 36 w 173"/>
              <a:gd name="T49" fmla="*/ 283 h 295"/>
              <a:gd name="T50" fmla="*/ 21 w 173"/>
              <a:gd name="T51" fmla="*/ 286 h 295"/>
              <a:gd name="T52" fmla="*/ 19 w 173"/>
              <a:gd name="T53" fmla="*/ 236 h 295"/>
              <a:gd name="T54" fmla="*/ 18 w 173"/>
              <a:gd name="T55" fmla="*/ 215 h 295"/>
              <a:gd name="T56" fmla="*/ 27 w 173"/>
              <a:gd name="T57" fmla="*/ 204 h 295"/>
              <a:gd name="T58" fmla="*/ 40 w 173"/>
              <a:gd name="T59" fmla="*/ 164 h 295"/>
              <a:gd name="T60" fmla="*/ 43 w 173"/>
              <a:gd name="T61" fmla="*/ 146 h 295"/>
              <a:gd name="T62" fmla="*/ 45 w 173"/>
              <a:gd name="T63" fmla="*/ 119 h 295"/>
              <a:gd name="T64" fmla="*/ 33 w 173"/>
              <a:gd name="T65" fmla="*/ 105 h 295"/>
              <a:gd name="T66" fmla="*/ 9 w 173"/>
              <a:gd name="T67" fmla="*/ 99 h 295"/>
              <a:gd name="T68" fmla="*/ 3 w 173"/>
              <a:gd name="T69" fmla="*/ 87 h 295"/>
              <a:gd name="T70" fmla="*/ 51 w 173"/>
              <a:gd name="T71" fmla="*/ 65 h 295"/>
              <a:gd name="T72" fmla="*/ 59 w 173"/>
              <a:gd name="T73" fmla="*/ 74 h 295"/>
              <a:gd name="T74" fmla="*/ 72 w 173"/>
              <a:gd name="T75" fmla="*/ 74 h 295"/>
              <a:gd name="T76" fmla="*/ 72 w 173"/>
              <a:gd name="T77" fmla="*/ 88 h 295"/>
              <a:gd name="T78" fmla="*/ 68 w 173"/>
              <a:gd name="T79" fmla="*/ 98 h 295"/>
              <a:gd name="T80" fmla="*/ 71 w 173"/>
              <a:gd name="T81" fmla="*/ 106 h 295"/>
              <a:gd name="T82" fmla="*/ 78 w 173"/>
              <a:gd name="T83" fmla="*/ 114 h 295"/>
              <a:gd name="T84" fmla="*/ 79 w 173"/>
              <a:gd name="T85" fmla="*/ 119 h 295"/>
              <a:gd name="T86" fmla="*/ 82 w 173"/>
              <a:gd name="T87" fmla="*/ 116 h 295"/>
              <a:gd name="T88" fmla="*/ 81 w 173"/>
              <a:gd name="T89" fmla="*/ 109 h 295"/>
              <a:gd name="T90" fmla="*/ 87 w 173"/>
              <a:gd name="T91" fmla="*/ 103 h 295"/>
              <a:gd name="T92" fmla="*/ 92 w 173"/>
              <a:gd name="T93" fmla="*/ 93 h 295"/>
              <a:gd name="T94" fmla="*/ 95 w 173"/>
              <a:gd name="T95" fmla="*/ 79 h 295"/>
              <a:gd name="T96" fmla="*/ 87 w 173"/>
              <a:gd name="T97" fmla="*/ 66 h 295"/>
              <a:gd name="T98" fmla="*/ 78 w 173"/>
              <a:gd name="T99" fmla="*/ 55 h 295"/>
              <a:gd name="T100" fmla="*/ 77 w 173"/>
              <a:gd name="T101" fmla="*/ 40 h 295"/>
              <a:gd name="T102" fmla="*/ 80 w 173"/>
              <a:gd name="T103" fmla="*/ 25 h 295"/>
              <a:gd name="T104" fmla="*/ 96 w 173"/>
              <a:gd name="T105" fmla="*/ 17 h 295"/>
              <a:gd name="T106" fmla="*/ 104 w 173"/>
              <a:gd name="T107" fmla="*/ 22 h 295"/>
              <a:gd name="T108" fmla="*/ 112 w 173"/>
              <a:gd name="T109" fmla="*/ 18 h 295"/>
              <a:gd name="T110" fmla="*/ 129 w 173"/>
              <a:gd name="T111" fmla="*/ 14 h 295"/>
              <a:gd name="T112" fmla="*/ 142 w 173"/>
              <a:gd name="T113" fmla="*/ 15 h 295"/>
              <a:gd name="T114" fmla="*/ 161 w 173"/>
              <a:gd name="T115" fmla="*/ 8 h 2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73" h="295">
                <a:moveTo>
                  <a:pt x="171" y="0"/>
                </a:moveTo>
                <a:lnTo>
                  <a:pt x="172" y="0"/>
                </a:lnTo>
                <a:lnTo>
                  <a:pt x="173" y="3"/>
                </a:lnTo>
                <a:lnTo>
                  <a:pt x="172" y="4"/>
                </a:lnTo>
                <a:lnTo>
                  <a:pt x="172" y="9"/>
                </a:lnTo>
                <a:lnTo>
                  <a:pt x="172" y="10"/>
                </a:lnTo>
                <a:lnTo>
                  <a:pt x="170" y="14"/>
                </a:lnTo>
                <a:lnTo>
                  <a:pt x="168" y="18"/>
                </a:lnTo>
                <a:lnTo>
                  <a:pt x="167" y="23"/>
                </a:lnTo>
                <a:lnTo>
                  <a:pt x="167" y="30"/>
                </a:lnTo>
                <a:lnTo>
                  <a:pt x="167" y="37"/>
                </a:lnTo>
                <a:lnTo>
                  <a:pt x="167" y="41"/>
                </a:lnTo>
                <a:lnTo>
                  <a:pt x="166" y="44"/>
                </a:lnTo>
                <a:lnTo>
                  <a:pt x="166" y="47"/>
                </a:lnTo>
                <a:lnTo>
                  <a:pt x="167" y="47"/>
                </a:lnTo>
                <a:lnTo>
                  <a:pt x="166" y="57"/>
                </a:lnTo>
                <a:lnTo>
                  <a:pt x="167" y="64"/>
                </a:lnTo>
                <a:lnTo>
                  <a:pt x="166" y="67"/>
                </a:lnTo>
                <a:lnTo>
                  <a:pt x="167" y="68"/>
                </a:lnTo>
                <a:lnTo>
                  <a:pt x="168" y="67"/>
                </a:lnTo>
                <a:lnTo>
                  <a:pt x="169" y="69"/>
                </a:lnTo>
                <a:lnTo>
                  <a:pt x="167" y="71"/>
                </a:lnTo>
                <a:lnTo>
                  <a:pt x="169" y="71"/>
                </a:lnTo>
                <a:lnTo>
                  <a:pt x="170" y="73"/>
                </a:lnTo>
                <a:lnTo>
                  <a:pt x="170" y="76"/>
                </a:lnTo>
                <a:lnTo>
                  <a:pt x="168" y="79"/>
                </a:lnTo>
                <a:lnTo>
                  <a:pt x="167" y="83"/>
                </a:lnTo>
                <a:lnTo>
                  <a:pt x="165" y="86"/>
                </a:lnTo>
                <a:lnTo>
                  <a:pt x="167" y="86"/>
                </a:lnTo>
                <a:lnTo>
                  <a:pt x="166" y="89"/>
                </a:lnTo>
                <a:lnTo>
                  <a:pt x="166" y="91"/>
                </a:lnTo>
                <a:lnTo>
                  <a:pt x="162" y="93"/>
                </a:lnTo>
                <a:lnTo>
                  <a:pt x="158" y="99"/>
                </a:lnTo>
                <a:lnTo>
                  <a:pt x="157" y="101"/>
                </a:lnTo>
                <a:lnTo>
                  <a:pt x="151" y="105"/>
                </a:lnTo>
                <a:lnTo>
                  <a:pt x="153" y="106"/>
                </a:lnTo>
                <a:lnTo>
                  <a:pt x="151" y="109"/>
                </a:lnTo>
                <a:lnTo>
                  <a:pt x="149" y="111"/>
                </a:lnTo>
                <a:lnTo>
                  <a:pt x="145" y="114"/>
                </a:lnTo>
                <a:lnTo>
                  <a:pt x="142" y="115"/>
                </a:lnTo>
                <a:lnTo>
                  <a:pt x="140" y="118"/>
                </a:lnTo>
                <a:lnTo>
                  <a:pt x="137" y="120"/>
                </a:lnTo>
                <a:lnTo>
                  <a:pt x="131" y="120"/>
                </a:lnTo>
                <a:lnTo>
                  <a:pt x="128" y="123"/>
                </a:lnTo>
                <a:lnTo>
                  <a:pt x="115" y="129"/>
                </a:lnTo>
                <a:lnTo>
                  <a:pt x="106" y="136"/>
                </a:lnTo>
                <a:lnTo>
                  <a:pt x="106" y="139"/>
                </a:lnTo>
                <a:lnTo>
                  <a:pt x="104" y="140"/>
                </a:lnTo>
                <a:lnTo>
                  <a:pt x="101" y="140"/>
                </a:lnTo>
                <a:lnTo>
                  <a:pt x="100" y="141"/>
                </a:lnTo>
                <a:lnTo>
                  <a:pt x="102" y="143"/>
                </a:lnTo>
                <a:lnTo>
                  <a:pt x="97" y="149"/>
                </a:lnTo>
                <a:lnTo>
                  <a:pt x="95" y="152"/>
                </a:lnTo>
                <a:lnTo>
                  <a:pt x="94" y="151"/>
                </a:lnTo>
                <a:lnTo>
                  <a:pt x="92" y="148"/>
                </a:lnTo>
                <a:lnTo>
                  <a:pt x="90" y="154"/>
                </a:lnTo>
                <a:lnTo>
                  <a:pt x="88" y="155"/>
                </a:lnTo>
                <a:lnTo>
                  <a:pt x="85" y="159"/>
                </a:lnTo>
                <a:lnTo>
                  <a:pt x="79" y="165"/>
                </a:lnTo>
                <a:lnTo>
                  <a:pt x="75" y="167"/>
                </a:lnTo>
                <a:lnTo>
                  <a:pt x="72" y="170"/>
                </a:lnTo>
                <a:lnTo>
                  <a:pt x="69" y="171"/>
                </a:lnTo>
                <a:lnTo>
                  <a:pt x="68" y="180"/>
                </a:lnTo>
                <a:lnTo>
                  <a:pt x="68" y="184"/>
                </a:lnTo>
                <a:lnTo>
                  <a:pt x="72" y="187"/>
                </a:lnTo>
                <a:lnTo>
                  <a:pt x="74" y="189"/>
                </a:lnTo>
                <a:lnTo>
                  <a:pt x="74" y="191"/>
                </a:lnTo>
                <a:lnTo>
                  <a:pt x="74" y="191"/>
                </a:lnTo>
                <a:lnTo>
                  <a:pt x="74" y="195"/>
                </a:lnTo>
                <a:lnTo>
                  <a:pt x="77" y="206"/>
                </a:lnTo>
                <a:lnTo>
                  <a:pt x="77" y="211"/>
                </a:lnTo>
                <a:lnTo>
                  <a:pt x="77" y="212"/>
                </a:lnTo>
                <a:lnTo>
                  <a:pt x="79" y="211"/>
                </a:lnTo>
                <a:lnTo>
                  <a:pt x="80" y="212"/>
                </a:lnTo>
                <a:lnTo>
                  <a:pt x="79" y="219"/>
                </a:lnTo>
                <a:lnTo>
                  <a:pt x="78" y="231"/>
                </a:lnTo>
                <a:lnTo>
                  <a:pt x="74" y="245"/>
                </a:lnTo>
                <a:lnTo>
                  <a:pt x="74" y="248"/>
                </a:lnTo>
                <a:lnTo>
                  <a:pt x="75" y="246"/>
                </a:lnTo>
                <a:lnTo>
                  <a:pt x="77" y="242"/>
                </a:lnTo>
                <a:lnTo>
                  <a:pt x="77" y="244"/>
                </a:lnTo>
                <a:lnTo>
                  <a:pt x="76" y="248"/>
                </a:lnTo>
                <a:lnTo>
                  <a:pt x="75" y="251"/>
                </a:lnTo>
                <a:lnTo>
                  <a:pt x="70" y="257"/>
                </a:lnTo>
                <a:lnTo>
                  <a:pt x="66" y="260"/>
                </a:lnTo>
                <a:lnTo>
                  <a:pt x="60" y="262"/>
                </a:lnTo>
                <a:lnTo>
                  <a:pt x="57" y="262"/>
                </a:lnTo>
                <a:lnTo>
                  <a:pt x="47" y="267"/>
                </a:lnTo>
                <a:lnTo>
                  <a:pt x="44" y="269"/>
                </a:lnTo>
                <a:lnTo>
                  <a:pt x="41" y="270"/>
                </a:lnTo>
                <a:lnTo>
                  <a:pt x="38" y="272"/>
                </a:lnTo>
                <a:lnTo>
                  <a:pt x="36" y="272"/>
                </a:lnTo>
                <a:lnTo>
                  <a:pt x="35" y="275"/>
                </a:lnTo>
                <a:lnTo>
                  <a:pt x="33" y="278"/>
                </a:lnTo>
                <a:lnTo>
                  <a:pt x="29" y="281"/>
                </a:lnTo>
                <a:lnTo>
                  <a:pt x="29" y="281"/>
                </a:lnTo>
                <a:lnTo>
                  <a:pt x="30" y="283"/>
                </a:lnTo>
                <a:lnTo>
                  <a:pt x="33" y="287"/>
                </a:lnTo>
                <a:lnTo>
                  <a:pt x="35" y="286"/>
                </a:lnTo>
                <a:lnTo>
                  <a:pt x="36" y="283"/>
                </a:lnTo>
                <a:lnTo>
                  <a:pt x="34" y="295"/>
                </a:lnTo>
                <a:lnTo>
                  <a:pt x="31" y="295"/>
                </a:lnTo>
                <a:lnTo>
                  <a:pt x="21" y="295"/>
                </a:lnTo>
                <a:lnTo>
                  <a:pt x="21" y="286"/>
                </a:lnTo>
                <a:lnTo>
                  <a:pt x="23" y="280"/>
                </a:lnTo>
                <a:lnTo>
                  <a:pt x="21" y="278"/>
                </a:lnTo>
                <a:lnTo>
                  <a:pt x="23" y="250"/>
                </a:lnTo>
                <a:lnTo>
                  <a:pt x="19" y="236"/>
                </a:lnTo>
                <a:lnTo>
                  <a:pt x="18" y="226"/>
                </a:lnTo>
                <a:lnTo>
                  <a:pt x="18" y="220"/>
                </a:lnTo>
                <a:lnTo>
                  <a:pt x="18" y="219"/>
                </a:lnTo>
                <a:lnTo>
                  <a:pt x="18" y="215"/>
                </a:lnTo>
                <a:lnTo>
                  <a:pt x="20" y="211"/>
                </a:lnTo>
                <a:lnTo>
                  <a:pt x="21" y="208"/>
                </a:lnTo>
                <a:lnTo>
                  <a:pt x="25" y="206"/>
                </a:lnTo>
                <a:lnTo>
                  <a:pt x="27" y="204"/>
                </a:lnTo>
                <a:lnTo>
                  <a:pt x="33" y="192"/>
                </a:lnTo>
                <a:lnTo>
                  <a:pt x="36" y="184"/>
                </a:lnTo>
                <a:lnTo>
                  <a:pt x="41" y="172"/>
                </a:lnTo>
                <a:lnTo>
                  <a:pt x="40" y="164"/>
                </a:lnTo>
                <a:lnTo>
                  <a:pt x="39" y="159"/>
                </a:lnTo>
                <a:lnTo>
                  <a:pt x="39" y="154"/>
                </a:lnTo>
                <a:lnTo>
                  <a:pt x="43" y="148"/>
                </a:lnTo>
                <a:lnTo>
                  <a:pt x="43" y="146"/>
                </a:lnTo>
                <a:lnTo>
                  <a:pt x="45" y="140"/>
                </a:lnTo>
                <a:lnTo>
                  <a:pt x="45" y="137"/>
                </a:lnTo>
                <a:lnTo>
                  <a:pt x="46" y="126"/>
                </a:lnTo>
                <a:lnTo>
                  <a:pt x="45" y="119"/>
                </a:lnTo>
                <a:lnTo>
                  <a:pt x="44" y="116"/>
                </a:lnTo>
                <a:lnTo>
                  <a:pt x="44" y="111"/>
                </a:lnTo>
                <a:lnTo>
                  <a:pt x="40" y="108"/>
                </a:lnTo>
                <a:lnTo>
                  <a:pt x="33" y="105"/>
                </a:lnTo>
                <a:lnTo>
                  <a:pt x="24" y="101"/>
                </a:lnTo>
                <a:lnTo>
                  <a:pt x="20" y="99"/>
                </a:lnTo>
                <a:lnTo>
                  <a:pt x="16" y="98"/>
                </a:lnTo>
                <a:lnTo>
                  <a:pt x="9" y="99"/>
                </a:lnTo>
                <a:lnTo>
                  <a:pt x="4" y="98"/>
                </a:lnTo>
                <a:lnTo>
                  <a:pt x="4" y="93"/>
                </a:lnTo>
                <a:lnTo>
                  <a:pt x="3" y="91"/>
                </a:lnTo>
                <a:lnTo>
                  <a:pt x="3" y="87"/>
                </a:lnTo>
                <a:lnTo>
                  <a:pt x="0" y="83"/>
                </a:lnTo>
                <a:lnTo>
                  <a:pt x="48" y="64"/>
                </a:lnTo>
                <a:lnTo>
                  <a:pt x="51" y="64"/>
                </a:lnTo>
                <a:lnTo>
                  <a:pt x="51" y="65"/>
                </a:lnTo>
                <a:lnTo>
                  <a:pt x="52" y="66"/>
                </a:lnTo>
                <a:lnTo>
                  <a:pt x="55" y="70"/>
                </a:lnTo>
                <a:lnTo>
                  <a:pt x="58" y="74"/>
                </a:lnTo>
                <a:lnTo>
                  <a:pt x="59" y="74"/>
                </a:lnTo>
                <a:lnTo>
                  <a:pt x="61" y="73"/>
                </a:lnTo>
                <a:lnTo>
                  <a:pt x="70" y="71"/>
                </a:lnTo>
                <a:lnTo>
                  <a:pt x="71" y="73"/>
                </a:lnTo>
                <a:lnTo>
                  <a:pt x="72" y="74"/>
                </a:lnTo>
                <a:lnTo>
                  <a:pt x="72" y="78"/>
                </a:lnTo>
                <a:lnTo>
                  <a:pt x="74" y="80"/>
                </a:lnTo>
                <a:lnTo>
                  <a:pt x="74" y="86"/>
                </a:lnTo>
                <a:lnTo>
                  <a:pt x="72" y="88"/>
                </a:lnTo>
                <a:lnTo>
                  <a:pt x="70" y="90"/>
                </a:lnTo>
                <a:lnTo>
                  <a:pt x="70" y="94"/>
                </a:lnTo>
                <a:lnTo>
                  <a:pt x="69" y="95"/>
                </a:lnTo>
                <a:lnTo>
                  <a:pt x="68" y="98"/>
                </a:lnTo>
                <a:lnTo>
                  <a:pt x="69" y="99"/>
                </a:lnTo>
                <a:lnTo>
                  <a:pt x="70" y="105"/>
                </a:lnTo>
                <a:lnTo>
                  <a:pt x="71" y="106"/>
                </a:lnTo>
                <a:lnTo>
                  <a:pt x="71" y="106"/>
                </a:lnTo>
                <a:lnTo>
                  <a:pt x="72" y="108"/>
                </a:lnTo>
                <a:lnTo>
                  <a:pt x="75" y="110"/>
                </a:lnTo>
                <a:lnTo>
                  <a:pt x="76" y="113"/>
                </a:lnTo>
                <a:lnTo>
                  <a:pt x="78" y="114"/>
                </a:lnTo>
                <a:lnTo>
                  <a:pt x="79" y="114"/>
                </a:lnTo>
                <a:lnTo>
                  <a:pt x="80" y="116"/>
                </a:lnTo>
                <a:lnTo>
                  <a:pt x="80" y="117"/>
                </a:lnTo>
                <a:lnTo>
                  <a:pt x="79" y="119"/>
                </a:lnTo>
                <a:lnTo>
                  <a:pt x="79" y="119"/>
                </a:lnTo>
                <a:lnTo>
                  <a:pt x="82" y="119"/>
                </a:lnTo>
                <a:lnTo>
                  <a:pt x="84" y="119"/>
                </a:lnTo>
                <a:lnTo>
                  <a:pt x="82" y="116"/>
                </a:lnTo>
                <a:lnTo>
                  <a:pt x="84" y="114"/>
                </a:lnTo>
                <a:lnTo>
                  <a:pt x="82" y="113"/>
                </a:lnTo>
                <a:lnTo>
                  <a:pt x="82" y="111"/>
                </a:lnTo>
                <a:lnTo>
                  <a:pt x="81" y="109"/>
                </a:lnTo>
                <a:lnTo>
                  <a:pt x="82" y="107"/>
                </a:lnTo>
                <a:lnTo>
                  <a:pt x="82" y="106"/>
                </a:lnTo>
                <a:lnTo>
                  <a:pt x="84" y="105"/>
                </a:lnTo>
                <a:lnTo>
                  <a:pt x="87" y="103"/>
                </a:lnTo>
                <a:lnTo>
                  <a:pt x="89" y="101"/>
                </a:lnTo>
                <a:lnTo>
                  <a:pt x="91" y="100"/>
                </a:lnTo>
                <a:lnTo>
                  <a:pt x="91" y="99"/>
                </a:lnTo>
                <a:lnTo>
                  <a:pt x="92" y="93"/>
                </a:lnTo>
                <a:lnTo>
                  <a:pt x="94" y="89"/>
                </a:lnTo>
                <a:lnTo>
                  <a:pt x="92" y="85"/>
                </a:lnTo>
                <a:lnTo>
                  <a:pt x="94" y="81"/>
                </a:lnTo>
                <a:lnTo>
                  <a:pt x="95" y="79"/>
                </a:lnTo>
                <a:lnTo>
                  <a:pt x="94" y="76"/>
                </a:lnTo>
                <a:lnTo>
                  <a:pt x="92" y="74"/>
                </a:lnTo>
                <a:lnTo>
                  <a:pt x="89" y="69"/>
                </a:lnTo>
                <a:lnTo>
                  <a:pt x="87" y="66"/>
                </a:lnTo>
                <a:lnTo>
                  <a:pt x="84" y="60"/>
                </a:lnTo>
                <a:lnTo>
                  <a:pt x="80" y="58"/>
                </a:lnTo>
                <a:lnTo>
                  <a:pt x="78" y="55"/>
                </a:lnTo>
                <a:lnTo>
                  <a:pt x="78" y="55"/>
                </a:lnTo>
                <a:lnTo>
                  <a:pt x="78" y="51"/>
                </a:lnTo>
                <a:lnTo>
                  <a:pt x="78" y="48"/>
                </a:lnTo>
                <a:lnTo>
                  <a:pt x="77" y="45"/>
                </a:lnTo>
                <a:lnTo>
                  <a:pt x="77" y="40"/>
                </a:lnTo>
                <a:lnTo>
                  <a:pt x="77" y="38"/>
                </a:lnTo>
                <a:lnTo>
                  <a:pt x="77" y="35"/>
                </a:lnTo>
                <a:lnTo>
                  <a:pt x="78" y="30"/>
                </a:lnTo>
                <a:lnTo>
                  <a:pt x="80" y="25"/>
                </a:lnTo>
                <a:lnTo>
                  <a:pt x="81" y="19"/>
                </a:lnTo>
                <a:lnTo>
                  <a:pt x="94" y="19"/>
                </a:lnTo>
                <a:lnTo>
                  <a:pt x="95" y="19"/>
                </a:lnTo>
                <a:lnTo>
                  <a:pt x="96" y="17"/>
                </a:lnTo>
                <a:lnTo>
                  <a:pt x="98" y="17"/>
                </a:lnTo>
                <a:lnTo>
                  <a:pt x="100" y="18"/>
                </a:lnTo>
                <a:lnTo>
                  <a:pt x="102" y="20"/>
                </a:lnTo>
                <a:lnTo>
                  <a:pt x="104" y="22"/>
                </a:lnTo>
                <a:lnTo>
                  <a:pt x="105" y="22"/>
                </a:lnTo>
                <a:lnTo>
                  <a:pt x="107" y="20"/>
                </a:lnTo>
                <a:lnTo>
                  <a:pt x="109" y="20"/>
                </a:lnTo>
                <a:lnTo>
                  <a:pt x="112" y="18"/>
                </a:lnTo>
                <a:lnTo>
                  <a:pt x="122" y="19"/>
                </a:lnTo>
                <a:lnTo>
                  <a:pt x="124" y="19"/>
                </a:lnTo>
                <a:lnTo>
                  <a:pt x="125" y="18"/>
                </a:lnTo>
                <a:lnTo>
                  <a:pt x="129" y="14"/>
                </a:lnTo>
                <a:lnTo>
                  <a:pt x="133" y="14"/>
                </a:lnTo>
                <a:lnTo>
                  <a:pt x="136" y="13"/>
                </a:lnTo>
                <a:lnTo>
                  <a:pt x="139" y="15"/>
                </a:lnTo>
                <a:lnTo>
                  <a:pt x="142" y="15"/>
                </a:lnTo>
                <a:lnTo>
                  <a:pt x="145" y="15"/>
                </a:lnTo>
                <a:lnTo>
                  <a:pt x="155" y="10"/>
                </a:lnTo>
                <a:lnTo>
                  <a:pt x="160" y="8"/>
                </a:lnTo>
                <a:lnTo>
                  <a:pt x="161" y="8"/>
                </a:lnTo>
                <a:lnTo>
                  <a:pt x="166" y="4"/>
                </a:lnTo>
                <a:lnTo>
                  <a:pt x="170" y="0"/>
                </a:lnTo>
                <a:lnTo>
                  <a:pt x="17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63" name="Freeform 1263"/>
          <p:cNvSpPr>
            <a:spLocks/>
          </p:cNvSpPr>
          <p:nvPr/>
        </p:nvSpPr>
        <p:spPr bwMode="auto">
          <a:xfrm>
            <a:off x="5105400" y="3881403"/>
            <a:ext cx="274637" cy="468313"/>
          </a:xfrm>
          <a:custGeom>
            <a:avLst/>
            <a:gdLst>
              <a:gd name="T0" fmla="*/ 172 w 173"/>
              <a:gd name="T1" fmla="*/ 4 h 295"/>
              <a:gd name="T2" fmla="*/ 168 w 173"/>
              <a:gd name="T3" fmla="*/ 18 h 295"/>
              <a:gd name="T4" fmla="*/ 167 w 173"/>
              <a:gd name="T5" fmla="*/ 41 h 295"/>
              <a:gd name="T6" fmla="*/ 166 w 173"/>
              <a:gd name="T7" fmla="*/ 57 h 295"/>
              <a:gd name="T8" fmla="*/ 168 w 173"/>
              <a:gd name="T9" fmla="*/ 67 h 295"/>
              <a:gd name="T10" fmla="*/ 170 w 173"/>
              <a:gd name="T11" fmla="*/ 73 h 295"/>
              <a:gd name="T12" fmla="*/ 165 w 173"/>
              <a:gd name="T13" fmla="*/ 86 h 295"/>
              <a:gd name="T14" fmla="*/ 162 w 173"/>
              <a:gd name="T15" fmla="*/ 93 h 295"/>
              <a:gd name="T16" fmla="*/ 153 w 173"/>
              <a:gd name="T17" fmla="*/ 106 h 295"/>
              <a:gd name="T18" fmla="*/ 142 w 173"/>
              <a:gd name="T19" fmla="*/ 115 h 295"/>
              <a:gd name="T20" fmla="*/ 128 w 173"/>
              <a:gd name="T21" fmla="*/ 123 h 295"/>
              <a:gd name="T22" fmla="*/ 104 w 173"/>
              <a:gd name="T23" fmla="*/ 140 h 295"/>
              <a:gd name="T24" fmla="*/ 97 w 173"/>
              <a:gd name="T25" fmla="*/ 149 h 295"/>
              <a:gd name="T26" fmla="*/ 90 w 173"/>
              <a:gd name="T27" fmla="*/ 154 h 295"/>
              <a:gd name="T28" fmla="*/ 75 w 173"/>
              <a:gd name="T29" fmla="*/ 167 h 295"/>
              <a:gd name="T30" fmla="*/ 68 w 173"/>
              <a:gd name="T31" fmla="*/ 184 h 295"/>
              <a:gd name="T32" fmla="*/ 74 w 173"/>
              <a:gd name="T33" fmla="*/ 191 h 295"/>
              <a:gd name="T34" fmla="*/ 77 w 173"/>
              <a:gd name="T35" fmla="*/ 212 h 295"/>
              <a:gd name="T36" fmla="*/ 78 w 173"/>
              <a:gd name="T37" fmla="*/ 231 h 295"/>
              <a:gd name="T38" fmla="*/ 77 w 173"/>
              <a:gd name="T39" fmla="*/ 242 h 295"/>
              <a:gd name="T40" fmla="*/ 70 w 173"/>
              <a:gd name="T41" fmla="*/ 257 h 295"/>
              <a:gd name="T42" fmla="*/ 47 w 173"/>
              <a:gd name="T43" fmla="*/ 267 h 295"/>
              <a:gd name="T44" fmla="*/ 36 w 173"/>
              <a:gd name="T45" fmla="*/ 272 h 295"/>
              <a:gd name="T46" fmla="*/ 29 w 173"/>
              <a:gd name="T47" fmla="*/ 281 h 295"/>
              <a:gd name="T48" fmla="*/ 36 w 173"/>
              <a:gd name="T49" fmla="*/ 283 h 295"/>
              <a:gd name="T50" fmla="*/ 21 w 173"/>
              <a:gd name="T51" fmla="*/ 286 h 295"/>
              <a:gd name="T52" fmla="*/ 19 w 173"/>
              <a:gd name="T53" fmla="*/ 236 h 295"/>
              <a:gd name="T54" fmla="*/ 18 w 173"/>
              <a:gd name="T55" fmla="*/ 215 h 295"/>
              <a:gd name="T56" fmla="*/ 27 w 173"/>
              <a:gd name="T57" fmla="*/ 204 h 295"/>
              <a:gd name="T58" fmla="*/ 40 w 173"/>
              <a:gd name="T59" fmla="*/ 164 h 295"/>
              <a:gd name="T60" fmla="*/ 43 w 173"/>
              <a:gd name="T61" fmla="*/ 146 h 295"/>
              <a:gd name="T62" fmla="*/ 45 w 173"/>
              <a:gd name="T63" fmla="*/ 119 h 295"/>
              <a:gd name="T64" fmla="*/ 33 w 173"/>
              <a:gd name="T65" fmla="*/ 105 h 295"/>
              <a:gd name="T66" fmla="*/ 9 w 173"/>
              <a:gd name="T67" fmla="*/ 99 h 295"/>
              <a:gd name="T68" fmla="*/ 3 w 173"/>
              <a:gd name="T69" fmla="*/ 87 h 295"/>
              <a:gd name="T70" fmla="*/ 51 w 173"/>
              <a:gd name="T71" fmla="*/ 65 h 295"/>
              <a:gd name="T72" fmla="*/ 59 w 173"/>
              <a:gd name="T73" fmla="*/ 74 h 295"/>
              <a:gd name="T74" fmla="*/ 72 w 173"/>
              <a:gd name="T75" fmla="*/ 74 h 295"/>
              <a:gd name="T76" fmla="*/ 72 w 173"/>
              <a:gd name="T77" fmla="*/ 88 h 295"/>
              <a:gd name="T78" fmla="*/ 68 w 173"/>
              <a:gd name="T79" fmla="*/ 98 h 295"/>
              <a:gd name="T80" fmla="*/ 71 w 173"/>
              <a:gd name="T81" fmla="*/ 106 h 295"/>
              <a:gd name="T82" fmla="*/ 78 w 173"/>
              <a:gd name="T83" fmla="*/ 114 h 295"/>
              <a:gd name="T84" fmla="*/ 79 w 173"/>
              <a:gd name="T85" fmla="*/ 119 h 295"/>
              <a:gd name="T86" fmla="*/ 82 w 173"/>
              <a:gd name="T87" fmla="*/ 116 h 295"/>
              <a:gd name="T88" fmla="*/ 81 w 173"/>
              <a:gd name="T89" fmla="*/ 109 h 295"/>
              <a:gd name="T90" fmla="*/ 87 w 173"/>
              <a:gd name="T91" fmla="*/ 103 h 295"/>
              <a:gd name="T92" fmla="*/ 92 w 173"/>
              <a:gd name="T93" fmla="*/ 93 h 295"/>
              <a:gd name="T94" fmla="*/ 95 w 173"/>
              <a:gd name="T95" fmla="*/ 79 h 295"/>
              <a:gd name="T96" fmla="*/ 87 w 173"/>
              <a:gd name="T97" fmla="*/ 66 h 295"/>
              <a:gd name="T98" fmla="*/ 78 w 173"/>
              <a:gd name="T99" fmla="*/ 55 h 295"/>
              <a:gd name="T100" fmla="*/ 77 w 173"/>
              <a:gd name="T101" fmla="*/ 40 h 295"/>
              <a:gd name="T102" fmla="*/ 80 w 173"/>
              <a:gd name="T103" fmla="*/ 25 h 295"/>
              <a:gd name="T104" fmla="*/ 96 w 173"/>
              <a:gd name="T105" fmla="*/ 17 h 295"/>
              <a:gd name="T106" fmla="*/ 104 w 173"/>
              <a:gd name="T107" fmla="*/ 22 h 295"/>
              <a:gd name="T108" fmla="*/ 112 w 173"/>
              <a:gd name="T109" fmla="*/ 18 h 295"/>
              <a:gd name="T110" fmla="*/ 129 w 173"/>
              <a:gd name="T111" fmla="*/ 14 h 295"/>
              <a:gd name="T112" fmla="*/ 142 w 173"/>
              <a:gd name="T113" fmla="*/ 15 h 295"/>
              <a:gd name="T114" fmla="*/ 161 w 173"/>
              <a:gd name="T115" fmla="*/ 8 h 2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73" h="295">
                <a:moveTo>
                  <a:pt x="171" y="0"/>
                </a:moveTo>
                <a:lnTo>
                  <a:pt x="172" y="0"/>
                </a:lnTo>
                <a:lnTo>
                  <a:pt x="173" y="3"/>
                </a:lnTo>
                <a:lnTo>
                  <a:pt x="172" y="4"/>
                </a:lnTo>
                <a:lnTo>
                  <a:pt x="172" y="9"/>
                </a:lnTo>
                <a:lnTo>
                  <a:pt x="172" y="10"/>
                </a:lnTo>
                <a:lnTo>
                  <a:pt x="170" y="14"/>
                </a:lnTo>
                <a:lnTo>
                  <a:pt x="168" y="18"/>
                </a:lnTo>
                <a:lnTo>
                  <a:pt x="167" y="23"/>
                </a:lnTo>
                <a:lnTo>
                  <a:pt x="167" y="30"/>
                </a:lnTo>
                <a:lnTo>
                  <a:pt x="167" y="37"/>
                </a:lnTo>
                <a:lnTo>
                  <a:pt x="167" y="41"/>
                </a:lnTo>
                <a:lnTo>
                  <a:pt x="166" y="44"/>
                </a:lnTo>
                <a:lnTo>
                  <a:pt x="166" y="47"/>
                </a:lnTo>
                <a:lnTo>
                  <a:pt x="167" y="47"/>
                </a:lnTo>
                <a:lnTo>
                  <a:pt x="166" y="57"/>
                </a:lnTo>
                <a:lnTo>
                  <a:pt x="167" y="64"/>
                </a:lnTo>
                <a:lnTo>
                  <a:pt x="166" y="67"/>
                </a:lnTo>
                <a:lnTo>
                  <a:pt x="167" y="68"/>
                </a:lnTo>
                <a:lnTo>
                  <a:pt x="168" y="67"/>
                </a:lnTo>
                <a:lnTo>
                  <a:pt x="169" y="69"/>
                </a:lnTo>
                <a:lnTo>
                  <a:pt x="167" y="71"/>
                </a:lnTo>
                <a:lnTo>
                  <a:pt x="169" y="71"/>
                </a:lnTo>
                <a:lnTo>
                  <a:pt x="170" y="73"/>
                </a:lnTo>
                <a:lnTo>
                  <a:pt x="170" y="76"/>
                </a:lnTo>
                <a:lnTo>
                  <a:pt x="168" y="79"/>
                </a:lnTo>
                <a:lnTo>
                  <a:pt x="167" y="83"/>
                </a:lnTo>
                <a:lnTo>
                  <a:pt x="165" y="86"/>
                </a:lnTo>
                <a:lnTo>
                  <a:pt x="167" y="86"/>
                </a:lnTo>
                <a:lnTo>
                  <a:pt x="166" y="89"/>
                </a:lnTo>
                <a:lnTo>
                  <a:pt x="166" y="91"/>
                </a:lnTo>
                <a:lnTo>
                  <a:pt x="162" y="93"/>
                </a:lnTo>
                <a:lnTo>
                  <a:pt x="158" y="99"/>
                </a:lnTo>
                <a:lnTo>
                  <a:pt x="157" y="101"/>
                </a:lnTo>
                <a:lnTo>
                  <a:pt x="151" y="105"/>
                </a:lnTo>
                <a:lnTo>
                  <a:pt x="153" y="106"/>
                </a:lnTo>
                <a:lnTo>
                  <a:pt x="151" y="109"/>
                </a:lnTo>
                <a:lnTo>
                  <a:pt x="149" y="111"/>
                </a:lnTo>
                <a:lnTo>
                  <a:pt x="145" y="114"/>
                </a:lnTo>
                <a:lnTo>
                  <a:pt x="142" y="115"/>
                </a:lnTo>
                <a:lnTo>
                  <a:pt x="140" y="118"/>
                </a:lnTo>
                <a:lnTo>
                  <a:pt x="137" y="120"/>
                </a:lnTo>
                <a:lnTo>
                  <a:pt x="131" y="120"/>
                </a:lnTo>
                <a:lnTo>
                  <a:pt x="128" y="123"/>
                </a:lnTo>
                <a:lnTo>
                  <a:pt x="115" y="129"/>
                </a:lnTo>
                <a:lnTo>
                  <a:pt x="106" y="136"/>
                </a:lnTo>
                <a:lnTo>
                  <a:pt x="106" y="139"/>
                </a:lnTo>
                <a:lnTo>
                  <a:pt x="104" y="140"/>
                </a:lnTo>
                <a:lnTo>
                  <a:pt x="101" y="140"/>
                </a:lnTo>
                <a:lnTo>
                  <a:pt x="100" y="141"/>
                </a:lnTo>
                <a:lnTo>
                  <a:pt x="102" y="143"/>
                </a:lnTo>
                <a:lnTo>
                  <a:pt x="97" y="149"/>
                </a:lnTo>
                <a:lnTo>
                  <a:pt x="95" y="152"/>
                </a:lnTo>
                <a:lnTo>
                  <a:pt x="94" y="151"/>
                </a:lnTo>
                <a:lnTo>
                  <a:pt x="92" y="148"/>
                </a:lnTo>
                <a:lnTo>
                  <a:pt x="90" y="154"/>
                </a:lnTo>
                <a:lnTo>
                  <a:pt x="88" y="155"/>
                </a:lnTo>
                <a:lnTo>
                  <a:pt x="85" y="159"/>
                </a:lnTo>
                <a:lnTo>
                  <a:pt x="79" y="165"/>
                </a:lnTo>
                <a:lnTo>
                  <a:pt x="75" y="167"/>
                </a:lnTo>
                <a:lnTo>
                  <a:pt x="72" y="170"/>
                </a:lnTo>
                <a:lnTo>
                  <a:pt x="69" y="171"/>
                </a:lnTo>
                <a:lnTo>
                  <a:pt x="68" y="180"/>
                </a:lnTo>
                <a:lnTo>
                  <a:pt x="68" y="184"/>
                </a:lnTo>
                <a:lnTo>
                  <a:pt x="72" y="187"/>
                </a:lnTo>
                <a:lnTo>
                  <a:pt x="74" y="189"/>
                </a:lnTo>
                <a:lnTo>
                  <a:pt x="74" y="191"/>
                </a:lnTo>
                <a:lnTo>
                  <a:pt x="74" y="191"/>
                </a:lnTo>
                <a:lnTo>
                  <a:pt x="74" y="195"/>
                </a:lnTo>
                <a:lnTo>
                  <a:pt x="77" y="206"/>
                </a:lnTo>
                <a:lnTo>
                  <a:pt x="77" y="211"/>
                </a:lnTo>
                <a:lnTo>
                  <a:pt x="77" y="212"/>
                </a:lnTo>
                <a:lnTo>
                  <a:pt x="79" y="211"/>
                </a:lnTo>
                <a:lnTo>
                  <a:pt x="80" y="212"/>
                </a:lnTo>
                <a:lnTo>
                  <a:pt x="79" y="219"/>
                </a:lnTo>
                <a:lnTo>
                  <a:pt x="78" y="231"/>
                </a:lnTo>
                <a:lnTo>
                  <a:pt x="74" y="245"/>
                </a:lnTo>
                <a:lnTo>
                  <a:pt x="74" y="248"/>
                </a:lnTo>
                <a:lnTo>
                  <a:pt x="75" y="246"/>
                </a:lnTo>
                <a:lnTo>
                  <a:pt x="77" y="242"/>
                </a:lnTo>
                <a:lnTo>
                  <a:pt x="77" y="244"/>
                </a:lnTo>
                <a:lnTo>
                  <a:pt x="76" y="248"/>
                </a:lnTo>
                <a:lnTo>
                  <a:pt x="75" y="251"/>
                </a:lnTo>
                <a:lnTo>
                  <a:pt x="70" y="257"/>
                </a:lnTo>
                <a:lnTo>
                  <a:pt x="66" y="260"/>
                </a:lnTo>
                <a:lnTo>
                  <a:pt x="60" y="262"/>
                </a:lnTo>
                <a:lnTo>
                  <a:pt x="57" y="262"/>
                </a:lnTo>
                <a:lnTo>
                  <a:pt x="47" y="267"/>
                </a:lnTo>
                <a:lnTo>
                  <a:pt x="44" y="269"/>
                </a:lnTo>
                <a:lnTo>
                  <a:pt x="41" y="270"/>
                </a:lnTo>
                <a:lnTo>
                  <a:pt x="38" y="272"/>
                </a:lnTo>
                <a:lnTo>
                  <a:pt x="36" y="272"/>
                </a:lnTo>
                <a:lnTo>
                  <a:pt x="35" y="275"/>
                </a:lnTo>
                <a:lnTo>
                  <a:pt x="33" y="278"/>
                </a:lnTo>
                <a:lnTo>
                  <a:pt x="29" y="281"/>
                </a:lnTo>
                <a:lnTo>
                  <a:pt x="29" y="281"/>
                </a:lnTo>
                <a:lnTo>
                  <a:pt x="30" y="283"/>
                </a:lnTo>
                <a:lnTo>
                  <a:pt x="33" y="287"/>
                </a:lnTo>
                <a:lnTo>
                  <a:pt x="35" y="286"/>
                </a:lnTo>
                <a:lnTo>
                  <a:pt x="36" y="283"/>
                </a:lnTo>
                <a:lnTo>
                  <a:pt x="34" y="295"/>
                </a:lnTo>
                <a:lnTo>
                  <a:pt x="31" y="295"/>
                </a:lnTo>
                <a:lnTo>
                  <a:pt x="21" y="295"/>
                </a:lnTo>
                <a:lnTo>
                  <a:pt x="21" y="286"/>
                </a:lnTo>
                <a:lnTo>
                  <a:pt x="23" y="280"/>
                </a:lnTo>
                <a:lnTo>
                  <a:pt x="21" y="278"/>
                </a:lnTo>
                <a:lnTo>
                  <a:pt x="23" y="250"/>
                </a:lnTo>
                <a:lnTo>
                  <a:pt x="19" y="236"/>
                </a:lnTo>
                <a:lnTo>
                  <a:pt x="18" y="226"/>
                </a:lnTo>
                <a:lnTo>
                  <a:pt x="18" y="220"/>
                </a:lnTo>
                <a:lnTo>
                  <a:pt x="18" y="219"/>
                </a:lnTo>
                <a:lnTo>
                  <a:pt x="18" y="215"/>
                </a:lnTo>
                <a:lnTo>
                  <a:pt x="20" y="211"/>
                </a:lnTo>
                <a:lnTo>
                  <a:pt x="21" y="208"/>
                </a:lnTo>
                <a:lnTo>
                  <a:pt x="25" y="206"/>
                </a:lnTo>
                <a:lnTo>
                  <a:pt x="27" y="204"/>
                </a:lnTo>
                <a:lnTo>
                  <a:pt x="33" y="192"/>
                </a:lnTo>
                <a:lnTo>
                  <a:pt x="36" y="184"/>
                </a:lnTo>
                <a:lnTo>
                  <a:pt x="41" y="172"/>
                </a:lnTo>
                <a:lnTo>
                  <a:pt x="40" y="164"/>
                </a:lnTo>
                <a:lnTo>
                  <a:pt x="39" y="159"/>
                </a:lnTo>
                <a:lnTo>
                  <a:pt x="39" y="154"/>
                </a:lnTo>
                <a:lnTo>
                  <a:pt x="43" y="148"/>
                </a:lnTo>
                <a:lnTo>
                  <a:pt x="43" y="146"/>
                </a:lnTo>
                <a:lnTo>
                  <a:pt x="45" y="140"/>
                </a:lnTo>
                <a:lnTo>
                  <a:pt x="45" y="137"/>
                </a:lnTo>
                <a:lnTo>
                  <a:pt x="46" y="126"/>
                </a:lnTo>
                <a:lnTo>
                  <a:pt x="45" y="119"/>
                </a:lnTo>
                <a:lnTo>
                  <a:pt x="44" y="116"/>
                </a:lnTo>
                <a:lnTo>
                  <a:pt x="44" y="111"/>
                </a:lnTo>
                <a:lnTo>
                  <a:pt x="40" y="108"/>
                </a:lnTo>
                <a:lnTo>
                  <a:pt x="33" y="105"/>
                </a:lnTo>
                <a:lnTo>
                  <a:pt x="24" y="101"/>
                </a:lnTo>
                <a:lnTo>
                  <a:pt x="20" y="99"/>
                </a:lnTo>
                <a:lnTo>
                  <a:pt x="16" y="98"/>
                </a:lnTo>
                <a:lnTo>
                  <a:pt x="9" y="99"/>
                </a:lnTo>
                <a:lnTo>
                  <a:pt x="4" y="98"/>
                </a:lnTo>
                <a:lnTo>
                  <a:pt x="4" y="93"/>
                </a:lnTo>
                <a:lnTo>
                  <a:pt x="3" y="91"/>
                </a:lnTo>
                <a:lnTo>
                  <a:pt x="3" y="87"/>
                </a:lnTo>
                <a:lnTo>
                  <a:pt x="0" y="83"/>
                </a:lnTo>
                <a:lnTo>
                  <a:pt x="48" y="64"/>
                </a:lnTo>
                <a:lnTo>
                  <a:pt x="51" y="64"/>
                </a:lnTo>
                <a:lnTo>
                  <a:pt x="51" y="65"/>
                </a:lnTo>
                <a:lnTo>
                  <a:pt x="52" y="66"/>
                </a:lnTo>
                <a:lnTo>
                  <a:pt x="55" y="70"/>
                </a:lnTo>
                <a:lnTo>
                  <a:pt x="58" y="74"/>
                </a:lnTo>
                <a:lnTo>
                  <a:pt x="59" y="74"/>
                </a:lnTo>
                <a:lnTo>
                  <a:pt x="61" y="73"/>
                </a:lnTo>
                <a:lnTo>
                  <a:pt x="70" y="71"/>
                </a:lnTo>
                <a:lnTo>
                  <a:pt x="71" y="73"/>
                </a:lnTo>
                <a:lnTo>
                  <a:pt x="72" y="74"/>
                </a:lnTo>
                <a:lnTo>
                  <a:pt x="72" y="78"/>
                </a:lnTo>
                <a:lnTo>
                  <a:pt x="74" y="80"/>
                </a:lnTo>
                <a:lnTo>
                  <a:pt x="74" y="86"/>
                </a:lnTo>
                <a:lnTo>
                  <a:pt x="72" y="88"/>
                </a:lnTo>
                <a:lnTo>
                  <a:pt x="70" y="90"/>
                </a:lnTo>
                <a:lnTo>
                  <a:pt x="70" y="94"/>
                </a:lnTo>
                <a:lnTo>
                  <a:pt x="69" y="95"/>
                </a:lnTo>
                <a:lnTo>
                  <a:pt x="68" y="98"/>
                </a:lnTo>
                <a:lnTo>
                  <a:pt x="69" y="99"/>
                </a:lnTo>
                <a:lnTo>
                  <a:pt x="70" y="105"/>
                </a:lnTo>
                <a:lnTo>
                  <a:pt x="71" y="106"/>
                </a:lnTo>
                <a:lnTo>
                  <a:pt x="71" y="106"/>
                </a:lnTo>
                <a:lnTo>
                  <a:pt x="72" y="108"/>
                </a:lnTo>
                <a:lnTo>
                  <a:pt x="75" y="110"/>
                </a:lnTo>
                <a:lnTo>
                  <a:pt x="76" y="113"/>
                </a:lnTo>
                <a:lnTo>
                  <a:pt x="78" y="114"/>
                </a:lnTo>
                <a:lnTo>
                  <a:pt x="79" y="114"/>
                </a:lnTo>
                <a:lnTo>
                  <a:pt x="80" y="116"/>
                </a:lnTo>
                <a:lnTo>
                  <a:pt x="80" y="117"/>
                </a:lnTo>
                <a:lnTo>
                  <a:pt x="79" y="119"/>
                </a:lnTo>
                <a:lnTo>
                  <a:pt x="79" y="119"/>
                </a:lnTo>
                <a:lnTo>
                  <a:pt x="82" y="119"/>
                </a:lnTo>
                <a:lnTo>
                  <a:pt x="84" y="119"/>
                </a:lnTo>
                <a:lnTo>
                  <a:pt x="82" y="116"/>
                </a:lnTo>
                <a:lnTo>
                  <a:pt x="84" y="114"/>
                </a:lnTo>
                <a:lnTo>
                  <a:pt x="82" y="113"/>
                </a:lnTo>
                <a:lnTo>
                  <a:pt x="82" y="111"/>
                </a:lnTo>
                <a:lnTo>
                  <a:pt x="81" y="109"/>
                </a:lnTo>
                <a:lnTo>
                  <a:pt x="82" y="107"/>
                </a:lnTo>
                <a:lnTo>
                  <a:pt x="82" y="106"/>
                </a:lnTo>
                <a:lnTo>
                  <a:pt x="84" y="105"/>
                </a:lnTo>
                <a:lnTo>
                  <a:pt x="87" y="103"/>
                </a:lnTo>
                <a:lnTo>
                  <a:pt x="89" y="101"/>
                </a:lnTo>
                <a:lnTo>
                  <a:pt x="91" y="100"/>
                </a:lnTo>
                <a:lnTo>
                  <a:pt x="91" y="99"/>
                </a:lnTo>
                <a:lnTo>
                  <a:pt x="92" y="93"/>
                </a:lnTo>
                <a:lnTo>
                  <a:pt x="94" y="89"/>
                </a:lnTo>
                <a:lnTo>
                  <a:pt x="92" y="85"/>
                </a:lnTo>
                <a:lnTo>
                  <a:pt x="94" y="81"/>
                </a:lnTo>
                <a:lnTo>
                  <a:pt x="95" y="79"/>
                </a:lnTo>
                <a:lnTo>
                  <a:pt x="94" y="76"/>
                </a:lnTo>
                <a:lnTo>
                  <a:pt x="92" y="74"/>
                </a:lnTo>
                <a:lnTo>
                  <a:pt x="89" y="69"/>
                </a:lnTo>
                <a:lnTo>
                  <a:pt x="87" y="66"/>
                </a:lnTo>
                <a:lnTo>
                  <a:pt x="84" y="60"/>
                </a:lnTo>
                <a:lnTo>
                  <a:pt x="80" y="58"/>
                </a:lnTo>
                <a:lnTo>
                  <a:pt x="78" y="55"/>
                </a:lnTo>
                <a:lnTo>
                  <a:pt x="78" y="55"/>
                </a:lnTo>
                <a:lnTo>
                  <a:pt x="78" y="51"/>
                </a:lnTo>
                <a:lnTo>
                  <a:pt x="78" y="48"/>
                </a:lnTo>
                <a:lnTo>
                  <a:pt x="77" y="45"/>
                </a:lnTo>
                <a:lnTo>
                  <a:pt x="77" y="40"/>
                </a:lnTo>
                <a:lnTo>
                  <a:pt x="77" y="38"/>
                </a:lnTo>
                <a:lnTo>
                  <a:pt x="77" y="35"/>
                </a:lnTo>
                <a:lnTo>
                  <a:pt x="78" y="30"/>
                </a:lnTo>
                <a:lnTo>
                  <a:pt x="80" y="25"/>
                </a:lnTo>
                <a:lnTo>
                  <a:pt x="81" y="19"/>
                </a:lnTo>
                <a:lnTo>
                  <a:pt x="94" y="19"/>
                </a:lnTo>
                <a:lnTo>
                  <a:pt x="95" y="19"/>
                </a:lnTo>
                <a:lnTo>
                  <a:pt x="96" y="17"/>
                </a:lnTo>
                <a:lnTo>
                  <a:pt x="98" y="17"/>
                </a:lnTo>
                <a:lnTo>
                  <a:pt x="100" y="18"/>
                </a:lnTo>
                <a:lnTo>
                  <a:pt x="102" y="20"/>
                </a:lnTo>
                <a:lnTo>
                  <a:pt x="104" y="22"/>
                </a:lnTo>
                <a:lnTo>
                  <a:pt x="105" y="22"/>
                </a:lnTo>
                <a:lnTo>
                  <a:pt x="107" y="20"/>
                </a:lnTo>
                <a:lnTo>
                  <a:pt x="109" y="20"/>
                </a:lnTo>
                <a:lnTo>
                  <a:pt x="112" y="18"/>
                </a:lnTo>
                <a:lnTo>
                  <a:pt x="122" y="19"/>
                </a:lnTo>
                <a:lnTo>
                  <a:pt x="124" y="19"/>
                </a:lnTo>
                <a:lnTo>
                  <a:pt x="125" y="18"/>
                </a:lnTo>
                <a:lnTo>
                  <a:pt x="129" y="14"/>
                </a:lnTo>
                <a:lnTo>
                  <a:pt x="133" y="14"/>
                </a:lnTo>
                <a:lnTo>
                  <a:pt x="136" y="13"/>
                </a:lnTo>
                <a:lnTo>
                  <a:pt x="139" y="15"/>
                </a:lnTo>
                <a:lnTo>
                  <a:pt x="142" y="15"/>
                </a:lnTo>
                <a:lnTo>
                  <a:pt x="145" y="15"/>
                </a:lnTo>
                <a:lnTo>
                  <a:pt x="155" y="10"/>
                </a:lnTo>
                <a:lnTo>
                  <a:pt x="160" y="8"/>
                </a:lnTo>
                <a:lnTo>
                  <a:pt x="161" y="8"/>
                </a:lnTo>
                <a:lnTo>
                  <a:pt x="166" y="4"/>
                </a:lnTo>
                <a:lnTo>
                  <a:pt x="170" y="0"/>
                </a:lnTo>
                <a:lnTo>
                  <a:pt x="17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64" name="Freeform 1264"/>
          <p:cNvSpPr>
            <a:spLocks/>
          </p:cNvSpPr>
          <p:nvPr/>
        </p:nvSpPr>
        <p:spPr bwMode="auto">
          <a:xfrm>
            <a:off x="5402262" y="2432015"/>
            <a:ext cx="31750" cy="22225"/>
          </a:xfrm>
          <a:custGeom>
            <a:avLst/>
            <a:gdLst>
              <a:gd name="T0" fmla="*/ 20 w 20"/>
              <a:gd name="T1" fmla="*/ 14 h 14"/>
              <a:gd name="T2" fmla="*/ 16 w 20"/>
              <a:gd name="T3" fmla="*/ 14 h 14"/>
              <a:gd name="T4" fmla="*/ 12 w 20"/>
              <a:gd name="T5" fmla="*/ 13 h 14"/>
              <a:gd name="T6" fmla="*/ 1 w 20"/>
              <a:gd name="T7" fmla="*/ 1 h 14"/>
              <a:gd name="T8" fmla="*/ 0 w 20"/>
              <a:gd name="T9" fmla="*/ 0 h 14"/>
              <a:gd name="T10" fmla="*/ 2 w 20"/>
              <a:gd name="T11" fmla="*/ 0 h 14"/>
              <a:gd name="T12" fmla="*/ 4 w 20"/>
              <a:gd name="T13" fmla="*/ 0 h 14"/>
              <a:gd name="T14" fmla="*/ 6 w 20"/>
              <a:gd name="T15" fmla="*/ 2 h 14"/>
              <a:gd name="T16" fmla="*/ 9 w 20"/>
              <a:gd name="T17" fmla="*/ 2 h 14"/>
              <a:gd name="T18" fmla="*/ 11 w 20"/>
              <a:gd name="T19" fmla="*/ 3 h 14"/>
              <a:gd name="T20" fmla="*/ 12 w 20"/>
              <a:gd name="T21" fmla="*/ 2 h 14"/>
              <a:gd name="T22" fmla="*/ 14 w 20"/>
              <a:gd name="T23" fmla="*/ 3 h 14"/>
              <a:gd name="T24" fmla="*/ 15 w 20"/>
              <a:gd name="T25" fmla="*/ 4 h 14"/>
              <a:gd name="T26" fmla="*/ 18 w 20"/>
              <a:gd name="T27" fmla="*/ 7 h 14"/>
              <a:gd name="T28" fmla="*/ 19 w 20"/>
              <a:gd name="T29" fmla="*/ 9 h 14"/>
              <a:gd name="T30" fmla="*/ 20 w 20"/>
              <a:gd name="T31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0" h="14">
                <a:moveTo>
                  <a:pt x="20" y="14"/>
                </a:moveTo>
                <a:lnTo>
                  <a:pt x="16" y="14"/>
                </a:lnTo>
                <a:lnTo>
                  <a:pt x="12" y="13"/>
                </a:lnTo>
                <a:lnTo>
                  <a:pt x="1" y="1"/>
                </a:lnTo>
                <a:lnTo>
                  <a:pt x="0" y="0"/>
                </a:lnTo>
                <a:lnTo>
                  <a:pt x="2" y="0"/>
                </a:lnTo>
                <a:lnTo>
                  <a:pt x="4" y="0"/>
                </a:lnTo>
                <a:lnTo>
                  <a:pt x="6" y="2"/>
                </a:lnTo>
                <a:lnTo>
                  <a:pt x="9" y="2"/>
                </a:lnTo>
                <a:lnTo>
                  <a:pt x="11" y="3"/>
                </a:lnTo>
                <a:lnTo>
                  <a:pt x="12" y="2"/>
                </a:lnTo>
                <a:lnTo>
                  <a:pt x="14" y="3"/>
                </a:lnTo>
                <a:lnTo>
                  <a:pt x="15" y="4"/>
                </a:lnTo>
                <a:lnTo>
                  <a:pt x="18" y="7"/>
                </a:lnTo>
                <a:lnTo>
                  <a:pt x="19" y="9"/>
                </a:lnTo>
                <a:lnTo>
                  <a:pt x="20" y="1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65" name="Freeform 1265"/>
          <p:cNvSpPr>
            <a:spLocks/>
          </p:cNvSpPr>
          <p:nvPr/>
        </p:nvSpPr>
        <p:spPr bwMode="auto">
          <a:xfrm>
            <a:off x="5402262" y="2432015"/>
            <a:ext cx="31750" cy="22225"/>
          </a:xfrm>
          <a:custGeom>
            <a:avLst/>
            <a:gdLst>
              <a:gd name="T0" fmla="*/ 20 w 20"/>
              <a:gd name="T1" fmla="*/ 14 h 14"/>
              <a:gd name="T2" fmla="*/ 16 w 20"/>
              <a:gd name="T3" fmla="*/ 14 h 14"/>
              <a:gd name="T4" fmla="*/ 12 w 20"/>
              <a:gd name="T5" fmla="*/ 13 h 14"/>
              <a:gd name="T6" fmla="*/ 1 w 20"/>
              <a:gd name="T7" fmla="*/ 1 h 14"/>
              <a:gd name="T8" fmla="*/ 0 w 20"/>
              <a:gd name="T9" fmla="*/ 0 h 14"/>
              <a:gd name="T10" fmla="*/ 2 w 20"/>
              <a:gd name="T11" fmla="*/ 0 h 14"/>
              <a:gd name="T12" fmla="*/ 4 w 20"/>
              <a:gd name="T13" fmla="*/ 0 h 14"/>
              <a:gd name="T14" fmla="*/ 6 w 20"/>
              <a:gd name="T15" fmla="*/ 2 h 14"/>
              <a:gd name="T16" fmla="*/ 9 w 20"/>
              <a:gd name="T17" fmla="*/ 2 h 14"/>
              <a:gd name="T18" fmla="*/ 11 w 20"/>
              <a:gd name="T19" fmla="*/ 3 h 14"/>
              <a:gd name="T20" fmla="*/ 12 w 20"/>
              <a:gd name="T21" fmla="*/ 2 h 14"/>
              <a:gd name="T22" fmla="*/ 14 w 20"/>
              <a:gd name="T23" fmla="*/ 3 h 14"/>
              <a:gd name="T24" fmla="*/ 15 w 20"/>
              <a:gd name="T25" fmla="*/ 4 h 14"/>
              <a:gd name="T26" fmla="*/ 18 w 20"/>
              <a:gd name="T27" fmla="*/ 7 h 14"/>
              <a:gd name="T28" fmla="*/ 19 w 20"/>
              <a:gd name="T29" fmla="*/ 9 h 14"/>
              <a:gd name="T30" fmla="*/ 20 w 20"/>
              <a:gd name="T31" fmla="*/ 14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0" h="14">
                <a:moveTo>
                  <a:pt x="20" y="14"/>
                </a:moveTo>
                <a:lnTo>
                  <a:pt x="16" y="14"/>
                </a:lnTo>
                <a:lnTo>
                  <a:pt x="12" y="13"/>
                </a:lnTo>
                <a:lnTo>
                  <a:pt x="1" y="1"/>
                </a:lnTo>
                <a:lnTo>
                  <a:pt x="0" y="0"/>
                </a:lnTo>
                <a:lnTo>
                  <a:pt x="2" y="0"/>
                </a:lnTo>
                <a:lnTo>
                  <a:pt x="4" y="0"/>
                </a:lnTo>
                <a:lnTo>
                  <a:pt x="6" y="2"/>
                </a:lnTo>
                <a:lnTo>
                  <a:pt x="9" y="2"/>
                </a:lnTo>
                <a:lnTo>
                  <a:pt x="11" y="3"/>
                </a:lnTo>
                <a:lnTo>
                  <a:pt x="12" y="2"/>
                </a:lnTo>
                <a:lnTo>
                  <a:pt x="14" y="3"/>
                </a:lnTo>
                <a:lnTo>
                  <a:pt x="15" y="4"/>
                </a:lnTo>
                <a:lnTo>
                  <a:pt x="18" y="7"/>
                </a:lnTo>
                <a:lnTo>
                  <a:pt x="19" y="9"/>
                </a:lnTo>
                <a:lnTo>
                  <a:pt x="20" y="1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66" name="Freeform 1266"/>
          <p:cNvSpPr>
            <a:spLocks/>
          </p:cNvSpPr>
          <p:nvPr/>
        </p:nvSpPr>
        <p:spPr bwMode="auto">
          <a:xfrm>
            <a:off x="5395912" y="2368515"/>
            <a:ext cx="133350" cy="98425"/>
          </a:xfrm>
          <a:custGeom>
            <a:avLst/>
            <a:gdLst>
              <a:gd name="T0" fmla="*/ 23 w 84"/>
              <a:gd name="T1" fmla="*/ 1 h 62"/>
              <a:gd name="T2" fmla="*/ 28 w 84"/>
              <a:gd name="T3" fmla="*/ 4 h 62"/>
              <a:gd name="T4" fmla="*/ 31 w 84"/>
              <a:gd name="T5" fmla="*/ 6 h 62"/>
              <a:gd name="T6" fmla="*/ 35 w 84"/>
              <a:gd name="T7" fmla="*/ 11 h 62"/>
              <a:gd name="T8" fmla="*/ 41 w 84"/>
              <a:gd name="T9" fmla="*/ 12 h 62"/>
              <a:gd name="T10" fmla="*/ 45 w 84"/>
              <a:gd name="T11" fmla="*/ 11 h 62"/>
              <a:gd name="T12" fmla="*/ 47 w 84"/>
              <a:gd name="T13" fmla="*/ 6 h 62"/>
              <a:gd name="T14" fmla="*/ 49 w 84"/>
              <a:gd name="T15" fmla="*/ 3 h 62"/>
              <a:gd name="T16" fmla="*/ 59 w 84"/>
              <a:gd name="T17" fmla="*/ 8 h 62"/>
              <a:gd name="T18" fmla="*/ 68 w 84"/>
              <a:gd name="T19" fmla="*/ 20 h 62"/>
              <a:gd name="T20" fmla="*/ 74 w 84"/>
              <a:gd name="T21" fmla="*/ 24 h 62"/>
              <a:gd name="T22" fmla="*/ 79 w 84"/>
              <a:gd name="T23" fmla="*/ 24 h 62"/>
              <a:gd name="T24" fmla="*/ 83 w 84"/>
              <a:gd name="T25" fmla="*/ 27 h 62"/>
              <a:gd name="T26" fmla="*/ 80 w 84"/>
              <a:gd name="T27" fmla="*/ 27 h 62"/>
              <a:gd name="T28" fmla="*/ 74 w 84"/>
              <a:gd name="T29" fmla="*/ 29 h 62"/>
              <a:gd name="T30" fmla="*/ 73 w 84"/>
              <a:gd name="T31" fmla="*/ 37 h 62"/>
              <a:gd name="T32" fmla="*/ 71 w 84"/>
              <a:gd name="T33" fmla="*/ 46 h 62"/>
              <a:gd name="T34" fmla="*/ 68 w 84"/>
              <a:gd name="T35" fmla="*/ 48 h 62"/>
              <a:gd name="T36" fmla="*/ 66 w 84"/>
              <a:gd name="T37" fmla="*/ 51 h 62"/>
              <a:gd name="T38" fmla="*/ 68 w 84"/>
              <a:gd name="T39" fmla="*/ 61 h 62"/>
              <a:gd name="T40" fmla="*/ 67 w 84"/>
              <a:gd name="T41" fmla="*/ 62 h 62"/>
              <a:gd name="T42" fmla="*/ 64 w 84"/>
              <a:gd name="T43" fmla="*/ 61 h 62"/>
              <a:gd name="T44" fmla="*/ 58 w 84"/>
              <a:gd name="T45" fmla="*/ 59 h 62"/>
              <a:gd name="T46" fmla="*/ 54 w 84"/>
              <a:gd name="T47" fmla="*/ 55 h 62"/>
              <a:gd name="T48" fmla="*/ 58 w 84"/>
              <a:gd name="T49" fmla="*/ 52 h 62"/>
              <a:gd name="T50" fmla="*/ 55 w 84"/>
              <a:gd name="T51" fmla="*/ 43 h 62"/>
              <a:gd name="T52" fmla="*/ 43 w 84"/>
              <a:gd name="T53" fmla="*/ 42 h 62"/>
              <a:gd name="T54" fmla="*/ 38 w 84"/>
              <a:gd name="T55" fmla="*/ 47 h 62"/>
              <a:gd name="T56" fmla="*/ 35 w 84"/>
              <a:gd name="T57" fmla="*/ 54 h 62"/>
              <a:gd name="T58" fmla="*/ 31 w 84"/>
              <a:gd name="T59" fmla="*/ 53 h 62"/>
              <a:gd name="T60" fmla="*/ 28 w 84"/>
              <a:gd name="T61" fmla="*/ 50 h 62"/>
              <a:gd name="T62" fmla="*/ 30 w 84"/>
              <a:gd name="T63" fmla="*/ 47 h 62"/>
              <a:gd name="T64" fmla="*/ 28 w 84"/>
              <a:gd name="T65" fmla="*/ 43 h 62"/>
              <a:gd name="T66" fmla="*/ 26 w 84"/>
              <a:gd name="T67" fmla="*/ 41 h 62"/>
              <a:gd name="T68" fmla="*/ 20 w 84"/>
              <a:gd name="T69" fmla="*/ 39 h 62"/>
              <a:gd name="T70" fmla="*/ 16 w 84"/>
              <a:gd name="T71" fmla="*/ 34 h 62"/>
              <a:gd name="T72" fmla="*/ 18 w 84"/>
              <a:gd name="T73" fmla="*/ 32 h 62"/>
              <a:gd name="T74" fmla="*/ 14 w 84"/>
              <a:gd name="T75" fmla="*/ 28 h 62"/>
              <a:gd name="T76" fmla="*/ 10 w 84"/>
              <a:gd name="T77" fmla="*/ 24 h 62"/>
              <a:gd name="T78" fmla="*/ 9 w 84"/>
              <a:gd name="T79" fmla="*/ 21 h 62"/>
              <a:gd name="T80" fmla="*/ 9 w 84"/>
              <a:gd name="T81" fmla="*/ 17 h 62"/>
              <a:gd name="T82" fmla="*/ 5 w 84"/>
              <a:gd name="T83" fmla="*/ 16 h 62"/>
              <a:gd name="T84" fmla="*/ 0 w 84"/>
              <a:gd name="T85" fmla="*/ 11 h 62"/>
              <a:gd name="T86" fmla="*/ 2 w 84"/>
              <a:gd name="T87" fmla="*/ 10 h 62"/>
              <a:gd name="T88" fmla="*/ 7 w 84"/>
              <a:gd name="T89" fmla="*/ 8 h 62"/>
              <a:gd name="T90" fmla="*/ 12 w 84"/>
              <a:gd name="T91" fmla="*/ 10 h 62"/>
              <a:gd name="T92" fmla="*/ 18 w 84"/>
              <a:gd name="T93" fmla="*/ 12 h 62"/>
              <a:gd name="T94" fmla="*/ 25 w 84"/>
              <a:gd name="T95" fmla="*/ 13 h 62"/>
              <a:gd name="T96" fmla="*/ 24 w 84"/>
              <a:gd name="T97" fmla="*/ 10 h 62"/>
              <a:gd name="T98" fmla="*/ 19 w 84"/>
              <a:gd name="T99" fmla="*/ 6 h 62"/>
              <a:gd name="T100" fmla="*/ 17 w 84"/>
              <a:gd name="T101" fmla="*/ 2 h 62"/>
              <a:gd name="T102" fmla="*/ 19 w 84"/>
              <a:gd name="T103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4" h="62">
                <a:moveTo>
                  <a:pt x="19" y="0"/>
                </a:moveTo>
                <a:lnTo>
                  <a:pt x="23" y="1"/>
                </a:lnTo>
                <a:lnTo>
                  <a:pt x="24" y="1"/>
                </a:lnTo>
                <a:lnTo>
                  <a:pt x="28" y="4"/>
                </a:lnTo>
                <a:lnTo>
                  <a:pt x="29" y="6"/>
                </a:lnTo>
                <a:lnTo>
                  <a:pt x="31" y="6"/>
                </a:lnTo>
                <a:lnTo>
                  <a:pt x="34" y="10"/>
                </a:lnTo>
                <a:lnTo>
                  <a:pt x="35" y="11"/>
                </a:lnTo>
                <a:lnTo>
                  <a:pt x="37" y="11"/>
                </a:lnTo>
                <a:lnTo>
                  <a:pt x="41" y="12"/>
                </a:lnTo>
                <a:lnTo>
                  <a:pt x="44" y="12"/>
                </a:lnTo>
                <a:lnTo>
                  <a:pt x="45" y="11"/>
                </a:lnTo>
                <a:lnTo>
                  <a:pt x="46" y="7"/>
                </a:lnTo>
                <a:lnTo>
                  <a:pt x="47" y="6"/>
                </a:lnTo>
                <a:lnTo>
                  <a:pt x="49" y="4"/>
                </a:lnTo>
                <a:lnTo>
                  <a:pt x="49" y="3"/>
                </a:lnTo>
                <a:lnTo>
                  <a:pt x="50" y="1"/>
                </a:lnTo>
                <a:lnTo>
                  <a:pt x="59" y="8"/>
                </a:lnTo>
                <a:lnTo>
                  <a:pt x="65" y="17"/>
                </a:lnTo>
                <a:lnTo>
                  <a:pt x="68" y="20"/>
                </a:lnTo>
                <a:lnTo>
                  <a:pt x="71" y="23"/>
                </a:lnTo>
                <a:lnTo>
                  <a:pt x="74" y="24"/>
                </a:lnTo>
                <a:lnTo>
                  <a:pt x="77" y="23"/>
                </a:lnTo>
                <a:lnTo>
                  <a:pt x="79" y="24"/>
                </a:lnTo>
                <a:lnTo>
                  <a:pt x="80" y="24"/>
                </a:lnTo>
                <a:lnTo>
                  <a:pt x="83" y="27"/>
                </a:lnTo>
                <a:lnTo>
                  <a:pt x="84" y="29"/>
                </a:lnTo>
                <a:lnTo>
                  <a:pt x="80" y="27"/>
                </a:lnTo>
                <a:lnTo>
                  <a:pt x="76" y="27"/>
                </a:lnTo>
                <a:lnTo>
                  <a:pt x="74" y="29"/>
                </a:lnTo>
                <a:lnTo>
                  <a:pt x="73" y="31"/>
                </a:lnTo>
                <a:lnTo>
                  <a:pt x="73" y="37"/>
                </a:lnTo>
                <a:lnTo>
                  <a:pt x="73" y="41"/>
                </a:lnTo>
                <a:lnTo>
                  <a:pt x="71" y="46"/>
                </a:lnTo>
                <a:lnTo>
                  <a:pt x="73" y="51"/>
                </a:lnTo>
                <a:lnTo>
                  <a:pt x="68" y="48"/>
                </a:lnTo>
                <a:lnTo>
                  <a:pt x="66" y="50"/>
                </a:lnTo>
                <a:lnTo>
                  <a:pt x="66" y="51"/>
                </a:lnTo>
                <a:lnTo>
                  <a:pt x="67" y="57"/>
                </a:lnTo>
                <a:lnTo>
                  <a:pt x="68" y="61"/>
                </a:lnTo>
                <a:lnTo>
                  <a:pt x="68" y="61"/>
                </a:lnTo>
                <a:lnTo>
                  <a:pt x="67" y="62"/>
                </a:lnTo>
                <a:lnTo>
                  <a:pt x="65" y="62"/>
                </a:lnTo>
                <a:lnTo>
                  <a:pt x="64" y="61"/>
                </a:lnTo>
                <a:lnTo>
                  <a:pt x="61" y="59"/>
                </a:lnTo>
                <a:lnTo>
                  <a:pt x="58" y="59"/>
                </a:lnTo>
                <a:lnTo>
                  <a:pt x="57" y="57"/>
                </a:lnTo>
                <a:lnTo>
                  <a:pt x="54" y="55"/>
                </a:lnTo>
                <a:lnTo>
                  <a:pt x="55" y="54"/>
                </a:lnTo>
                <a:lnTo>
                  <a:pt x="58" y="52"/>
                </a:lnTo>
                <a:lnTo>
                  <a:pt x="55" y="47"/>
                </a:lnTo>
                <a:lnTo>
                  <a:pt x="55" y="43"/>
                </a:lnTo>
                <a:lnTo>
                  <a:pt x="49" y="41"/>
                </a:lnTo>
                <a:lnTo>
                  <a:pt x="43" y="42"/>
                </a:lnTo>
                <a:lnTo>
                  <a:pt x="40" y="44"/>
                </a:lnTo>
                <a:lnTo>
                  <a:pt x="38" y="47"/>
                </a:lnTo>
                <a:lnTo>
                  <a:pt x="37" y="51"/>
                </a:lnTo>
                <a:lnTo>
                  <a:pt x="35" y="54"/>
                </a:lnTo>
                <a:lnTo>
                  <a:pt x="31" y="54"/>
                </a:lnTo>
                <a:lnTo>
                  <a:pt x="31" y="53"/>
                </a:lnTo>
                <a:lnTo>
                  <a:pt x="29" y="51"/>
                </a:lnTo>
                <a:lnTo>
                  <a:pt x="28" y="50"/>
                </a:lnTo>
                <a:lnTo>
                  <a:pt x="30" y="49"/>
                </a:lnTo>
                <a:lnTo>
                  <a:pt x="30" y="47"/>
                </a:lnTo>
                <a:lnTo>
                  <a:pt x="28" y="46"/>
                </a:lnTo>
                <a:lnTo>
                  <a:pt x="28" y="43"/>
                </a:lnTo>
                <a:lnTo>
                  <a:pt x="28" y="42"/>
                </a:lnTo>
                <a:lnTo>
                  <a:pt x="26" y="41"/>
                </a:lnTo>
                <a:lnTo>
                  <a:pt x="25" y="41"/>
                </a:lnTo>
                <a:lnTo>
                  <a:pt x="20" y="39"/>
                </a:lnTo>
                <a:lnTo>
                  <a:pt x="17" y="36"/>
                </a:lnTo>
                <a:lnTo>
                  <a:pt x="16" y="34"/>
                </a:lnTo>
                <a:lnTo>
                  <a:pt x="18" y="33"/>
                </a:lnTo>
                <a:lnTo>
                  <a:pt x="18" y="32"/>
                </a:lnTo>
                <a:lnTo>
                  <a:pt x="18" y="30"/>
                </a:lnTo>
                <a:lnTo>
                  <a:pt x="14" y="28"/>
                </a:lnTo>
                <a:lnTo>
                  <a:pt x="12" y="27"/>
                </a:lnTo>
                <a:lnTo>
                  <a:pt x="10" y="24"/>
                </a:lnTo>
                <a:lnTo>
                  <a:pt x="9" y="22"/>
                </a:lnTo>
                <a:lnTo>
                  <a:pt x="9" y="21"/>
                </a:lnTo>
                <a:lnTo>
                  <a:pt x="10" y="19"/>
                </a:lnTo>
                <a:lnTo>
                  <a:pt x="9" y="17"/>
                </a:lnTo>
                <a:lnTo>
                  <a:pt x="7" y="16"/>
                </a:lnTo>
                <a:lnTo>
                  <a:pt x="5" y="16"/>
                </a:lnTo>
                <a:lnTo>
                  <a:pt x="2" y="12"/>
                </a:lnTo>
                <a:lnTo>
                  <a:pt x="0" y="11"/>
                </a:lnTo>
                <a:lnTo>
                  <a:pt x="0" y="11"/>
                </a:lnTo>
                <a:lnTo>
                  <a:pt x="2" y="10"/>
                </a:lnTo>
                <a:lnTo>
                  <a:pt x="5" y="8"/>
                </a:lnTo>
                <a:lnTo>
                  <a:pt x="7" y="8"/>
                </a:lnTo>
                <a:lnTo>
                  <a:pt x="9" y="9"/>
                </a:lnTo>
                <a:lnTo>
                  <a:pt x="12" y="10"/>
                </a:lnTo>
                <a:lnTo>
                  <a:pt x="16" y="12"/>
                </a:lnTo>
                <a:lnTo>
                  <a:pt x="18" y="12"/>
                </a:lnTo>
                <a:lnTo>
                  <a:pt x="23" y="13"/>
                </a:lnTo>
                <a:lnTo>
                  <a:pt x="25" y="13"/>
                </a:lnTo>
                <a:lnTo>
                  <a:pt x="25" y="12"/>
                </a:lnTo>
                <a:lnTo>
                  <a:pt x="24" y="10"/>
                </a:lnTo>
                <a:lnTo>
                  <a:pt x="20" y="8"/>
                </a:lnTo>
                <a:lnTo>
                  <a:pt x="19" y="6"/>
                </a:lnTo>
                <a:lnTo>
                  <a:pt x="17" y="4"/>
                </a:lnTo>
                <a:lnTo>
                  <a:pt x="17" y="2"/>
                </a:lnTo>
                <a:lnTo>
                  <a:pt x="19" y="0"/>
                </a:lnTo>
                <a:lnTo>
                  <a:pt x="19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67" name="Freeform 1267"/>
          <p:cNvSpPr>
            <a:spLocks/>
          </p:cNvSpPr>
          <p:nvPr/>
        </p:nvSpPr>
        <p:spPr bwMode="auto">
          <a:xfrm>
            <a:off x="5395912" y="2368515"/>
            <a:ext cx="133350" cy="98425"/>
          </a:xfrm>
          <a:custGeom>
            <a:avLst/>
            <a:gdLst>
              <a:gd name="T0" fmla="*/ 23 w 84"/>
              <a:gd name="T1" fmla="*/ 1 h 62"/>
              <a:gd name="T2" fmla="*/ 28 w 84"/>
              <a:gd name="T3" fmla="*/ 4 h 62"/>
              <a:gd name="T4" fmla="*/ 31 w 84"/>
              <a:gd name="T5" fmla="*/ 6 h 62"/>
              <a:gd name="T6" fmla="*/ 35 w 84"/>
              <a:gd name="T7" fmla="*/ 11 h 62"/>
              <a:gd name="T8" fmla="*/ 41 w 84"/>
              <a:gd name="T9" fmla="*/ 12 h 62"/>
              <a:gd name="T10" fmla="*/ 45 w 84"/>
              <a:gd name="T11" fmla="*/ 11 h 62"/>
              <a:gd name="T12" fmla="*/ 47 w 84"/>
              <a:gd name="T13" fmla="*/ 6 h 62"/>
              <a:gd name="T14" fmla="*/ 49 w 84"/>
              <a:gd name="T15" fmla="*/ 3 h 62"/>
              <a:gd name="T16" fmla="*/ 59 w 84"/>
              <a:gd name="T17" fmla="*/ 8 h 62"/>
              <a:gd name="T18" fmla="*/ 68 w 84"/>
              <a:gd name="T19" fmla="*/ 20 h 62"/>
              <a:gd name="T20" fmla="*/ 74 w 84"/>
              <a:gd name="T21" fmla="*/ 24 h 62"/>
              <a:gd name="T22" fmla="*/ 79 w 84"/>
              <a:gd name="T23" fmla="*/ 24 h 62"/>
              <a:gd name="T24" fmla="*/ 83 w 84"/>
              <a:gd name="T25" fmla="*/ 27 h 62"/>
              <a:gd name="T26" fmla="*/ 80 w 84"/>
              <a:gd name="T27" fmla="*/ 27 h 62"/>
              <a:gd name="T28" fmla="*/ 74 w 84"/>
              <a:gd name="T29" fmla="*/ 29 h 62"/>
              <a:gd name="T30" fmla="*/ 73 w 84"/>
              <a:gd name="T31" fmla="*/ 37 h 62"/>
              <a:gd name="T32" fmla="*/ 71 w 84"/>
              <a:gd name="T33" fmla="*/ 46 h 62"/>
              <a:gd name="T34" fmla="*/ 68 w 84"/>
              <a:gd name="T35" fmla="*/ 48 h 62"/>
              <a:gd name="T36" fmla="*/ 66 w 84"/>
              <a:gd name="T37" fmla="*/ 51 h 62"/>
              <a:gd name="T38" fmla="*/ 68 w 84"/>
              <a:gd name="T39" fmla="*/ 61 h 62"/>
              <a:gd name="T40" fmla="*/ 67 w 84"/>
              <a:gd name="T41" fmla="*/ 62 h 62"/>
              <a:gd name="T42" fmla="*/ 64 w 84"/>
              <a:gd name="T43" fmla="*/ 61 h 62"/>
              <a:gd name="T44" fmla="*/ 58 w 84"/>
              <a:gd name="T45" fmla="*/ 59 h 62"/>
              <a:gd name="T46" fmla="*/ 54 w 84"/>
              <a:gd name="T47" fmla="*/ 55 h 62"/>
              <a:gd name="T48" fmla="*/ 58 w 84"/>
              <a:gd name="T49" fmla="*/ 52 h 62"/>
              <a:gd name="T50" fmla="*/ 55 w 84"/>
              <a:gd name="T51" fmla="*/ 43 h 62"/>
              <a:gd name="T52" fmla="*/ 43 w 84"/>
              <a:gd name="T53" fmla="*/ 42 h 62"/>
              <a:gd name="T54" fmla="*/ 38 w 84"/>
              <a:gd name="T55" fmla="*/ 47 h 62"/>
              <a:gd name="T56" fmla="*/ 35 w 84"/>
              <a:gd name="T57" fmla="*/ 54 h 62"/>
              <a:gd name="T58" fmla="*/ 31 w 84"/>
              <a:gd name="T59" fmla="*/ 53 h 62"/>
              <a:gd name="T60" fmla="*/ 28 w 84"/>
              <a:gd name="T61" fmla="*/ 50 h 62"/>
              <a:gd name="T62" fmla="*/ 30 w 84"/>
              <a:gd name="T63" fmla="*/ 47 h 62"/>
              <a:gd name="T64" fmla="*/ 28 w 84"/>
              <a:gd name="T65" fmla="*/ 43 h 62"/>
              <a:gd name="T66" fmla="*/ 26 w 84"/>
              <a:gd name="T67" fmla="*/ 41 h 62"/>
              <a:gd name="T68" fmla="*/ 20 w 84"/>
              <a:gd name="T69" fmla="*/ 39 h 62"/>
              <a:gd name="T70" fmla="*/ 16 w 84"/>
              <a:gd name="T71" fmla="*/ 34 h 62"/>
              <a:gd name="T72" fmla="*/ 18 w 84"/>
              <a:gd name="T73" fmla="*/ 32 h 62"/>
              <a:gd name="T74" fmla="*/ 14 w 84"/>
              <a:gd name="T75" fmla="*/ 28 h 62"/>
              <a:gd name="T76" fmla="*/ 10 w 84"/>
              <a:gd name="T77" fmla="*/ 24 h 62"/>
              <a:gd name="T78" fmla="*/ 9 w 84"/>
              <a:gd name="T79" fmla="*/ 21 h 62"/>
              <a:gd name="T80" fmla="*/ 9 w 84"/>
              <a:gd name="T81" fmla="*/ 17 h 62"/>
              <a:gd name="T82" fmla="*/ 5 w 84"/>
              <a:gd name="T83" fmla="*/ 16 h 62"/>
              <a:gd name="T84" fmla="*/ 0 w 84"/>
              <a:gd name="T85" fmla="*/ 11 h 62"/>
              <a:gd name="T86" fmla="*/ 2 w 84"/>
              <a:gd name="T87" fmla="*/ 10 h 62"/>
              <a:gd name="T88" fmla="*/ 7 w 84"/>
              <a:gd name="T89" fmla="*/ 8 h 62"/>
              <a:gd name="T90" fmla="*/ 12 w 84"/>
              <a:gd name="T91" fmla="*/ 10 h 62"/>
              <a:gd name="T92" fmla="*/ 18 w 84"/>
              <a:gd name="T93" fmla="*/ 12 h 62"/>
              <a:gd name="T94" fmla="*/ 25 w 84"/>
              <a:gd name="T95" fmla="*/ 13 h 62"/>
              <a:gd name="T96" fmla="*/ 24 w 84"/>
              <a:gd name="T97" fmla="*/ 10 h 62"/>
              <a:gd name="T98" fmla="*/ 19 w 84"/>
              <a:gd name="T99" fmla="*/ 6 h 62"/>
              <a:gd name="T100" fmla="*/ 17 w 84"/>
              <a:gd name="T101" fmla="*/ 2 h 62"/>
              <a:gd name="T102" fmla="*/ 19 w 84"/>
              <a:gd name="T103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4" h="62">
                <a:moveTo>
                  <a:pt x="19" y="0"/>
                </a:moveTo>
                <a:lnTo>
                  <a:pt x="23" y="1"/>
                </a:lnTo>
                <a:lnTo>
                  <a:pt x="24" y="1"/>
                </a:lnTo>
                <a:lnTo>
                  <a:pt x="28" y="4"/>
                </a:lnTo>
                <a:lnTo>
                  <a:pt x="29" y="6"/>
                </a:lnTo>
                <a:lnTo>
                  <a:pt x="31" y="6"/>
                </a:lnTo>
                <a:lnTo>
                  <a:pt x="34" y="10"/>
                </a:lnTo>
                <a:lnTo>
                  <a:pt x="35" y="11"/>
                </a:lnTo>
                <a:lnTo>
                  <a:pt x="37" y="11"/>
                </a:lnTo>
                <a:lnTo>
                  <a:pt x="41" y="12"/>
                </a:lnTo>
                <a:lnTo>
                  <a:pt x="44" y="12"/>
                </a:lnTo>
                <a:lnTo>
                  <a:pt x="45" y="11"/>
                </a:lnTo>
                <a:lnTo>
                  <a:pt x="46" y="7"/>
                </a:lnTo>
                <a:lnTo>
                  <a:pt x="47" y="6"/>
                </a:lnTo>
                <a:lnTo>
                  <a:pt x="49" y="4"/>
                </a:lnTo>
                <a:lnTo>
                  <a:pt x="49" y="3"/>
                </a:lnTo>
                <a:lnTo>
                  <a:pt x="50" y="1"/>
                </a:lnTo>
                <a:lnTo>
                  <a:pt x="59" y="8"/>
                </a:lnTo>
                <a:lnTo>
                  <a:pt x="65" y="17"/>
                </a:lnTo>
                <a:lnTo>
                  <a:pt x="68" y="20"/>
                </a:lnTo>
                <a:lnTo>
                  <a:pt x="71" y="23"/>
                </a:lnTo>
                <a:lnTo>
                  <a:pt x="74" y="24"/>
                </a:lnTo>
                <a:lnTo>
                  <a:pt x="77" y="23"/>
                </a:lnTo>
                <a:lnTo>
                  <a:pt x="79" y="24"/>
                </a:lnTo>
                <a:lnTo>
                  <a:pt x="80" y="24"/>
                </a:lnTo>
                <a:lnTo>
                  <a:pt x="83" y="27"/>
                </a:lnTo>
                <a:lnTo>
                  <a:pt x="84" y="29"/>
                </a:lnTo>
                <a:lnTo>
                  <a:pt x="80" y="27"/>
                </a:lnTo>
                <a:lnTo>
                  <a:pt x="76" y="27"/>
                </a:lnTo>
                <a:lnTo>
                  <a:pt x="74" y="29"/>
                </a:lnTo>
                <a:lnTo>
                  <a:pt x="73" y="31"/>
                </a:lnTo>
                <a:lnTo>
                  <a:pt x="73" y="37"/>
                </a:lnTo>
                <a:lnTo>
                  <a:pt x="73" y="41"/>
                </a:lnTo>
                <a:lnTo>
                  <a:pt x="71" y="46"/>
                </a:lnTo>
                <a:lnTo>
                  <a:pt x="73" y="51"/>
                </a:lnTo>
                <a:lnTo>
                  <a:pt x="68" y="48"/>
                </a:lnTo>
                <a:lnTo>
                  <a:pt x="66" y="50"/>
                </a:lnTo>
                <a:lnTo>
                  <a:pt x="66" y="51"/>
                </a:lnTo>
                <a:lnTo>
                  <a:pt x="67" y="57"/>
                </a:lnTo>
                <a:lnTo>
                  <a:pt x="68" y="61"/>
                </a:lnTo>
                <a:lnTo>
                  <a:pt x="68" y="61"/>
                </a:lnTo>
                <a:lnTo>
                  <a:pt x="67" y="62"/>
                </a:lnTo>
                <a:lnTo>
                  <a:pt x="65" y="62"/>
                </a:lnTo>
                <a:lnTo>
                  <a:pt x="64" y="61"/>
                </a:lnTo>
                <a:lnTo>
                  <a:pt x="61" y="59"/>
                </a:lnTo>
                <a:lnTo>
                  <a:pt x="58" y="59"/>
                </a:lnTo>
                <a:lnTo>
                  <a:pt x="57" y="57"/>
                </a:lnTo>
                <a:lnTo>
                  <a:pt x="54" y="55"/>
                </a:lnTo>
                <a:lnTo>
                  <a:pt x="55" y="54"/>
                </a:lnTo>
                <a:lnTo>
                  <a:pt x="58" y="52"/>
                </a:lnTo>
                <a:lnTo>
                  <a:pt x="55" y="47"/>
                </a:lnTo>
                <a:lnTo>
                  <a:pt x="55" y="43"/>
                </a:lnTo>
                <a:lnTo>
                  <a:pt x="49" y="41"/>
                </a:lnTo>
                <a:lnTo>
                  <a:pt x="43" y="42"/>
                </a:lnTo>
                <a:lnTo>
                  <a:pt x="40" y="44"/>
                </a:lnTo>
                <a:lnTo>
                  <a:pt x="38" y="47"/>
                </a:lnTo>
                <a:lnTo>
                  <a:pt x="37" y="51"/>
                </a:lnTo>
                <a:lnTo>
                  <a:pt x="35" y="54"/>
                </a:lnTo>
                <a:lnTo>
                  <a:pt x="31" y="54"/>
                </a:lnTo>
                <a:lnTo>
                  <a:pt x="31" y="53"/>
                </a:lnTo>
                <a:lnTo>
                  <a:pt x="29" y="51"/>
                </a:lnTo>
                <a:lnTo>
                  <a:pt x="28" y="50"/>
                </a:lnTo>
                <a:lnTo>
                  <a:pt x="30" y="49"/>
                </a:lnTo>
                <a:lnTo>
                  <a:pt x="30" y="47"/>
                </a:lnTo>
                <a:lnTo>
                  <a:pt x="28" y="46"/>
                </a:lnTo>
                <a:lnTo>
                  <a:pt x="28" y="43"/>
                </a:lnTo>
                <a:lnTo>
                  <a:pt x="28" y="42"/>
                </a:lnTo>
                <a:lnTo>
                  <a:pt x="26" y="41"/>
                </a:lnTo>
                <a:lnTo>
                  <a:pt x="25" y="41"/>
                </a:lnTo>
                <a:lnTo>
                  <a:pt x="20" y="39"/>
                </a:lnTo>
                <a:lnTo>
                  <a:pt x="17" y="36"/>
                </a:lnTo>
                <a:lnTo>
                  <a:pt x="16" y="34"/>
                </a:lnTo>
                <a:lnTo>
                  <a:pt x="18" y="33"/>
                </a:lnTo>
                <a:lnTo>
                  <a:pt x="18" y="32"/>
                </a:lnTo>
                <a:lnTo>
                  <a:pt x="18" y="30"/>
                </a:lnTo>
                <a:lnTo>
                  <a:pt x="14" y="28"/>
                </a:lnTo>
                <a:lnTo>
                  <a:pt x="12" y="27"/>
                </a:lnTo>
                <a:lnTo>
                  <a:pt x="10" y="24"/>
                </a:lnTo>
                <a:lnTo>
                  <a:pt x="9" y="22"/>
                </a:lnTo>
                <a:lnTo>
                  <a:pt x="9" y="21"/>
                </a:lnTo>
                <a:lnTo>
                  <a:pt x="10" y="19"/>
                </a:lnTo>
                <a:lnTo>
                  <a:pt x="9" y="17"/>
                </a:lnTo>
                <a:lnTo>
                  <a:pt x="7" y="16"/>
                </a:lnTo>
                <a:lnTo>
                  <a:pt x="5" y="16"/>
                </a:lnTo>
                <a:lnTo>
                  <a:pt x="2" y="12"/>
                </a:lnTo>
                <a:lnTo>
                  <a:pt x="0" y="11"/>
                </a:lnTo>
                <a:lnTo>
                  <a:pt x="0" y="11"/>
                </a:lnTo>
                <a:lnTo>
                  <a:pt x="2" y="10"/>
                </a:lnTo>
                <a:lnTo>
                  <a:pt x="5" y="8"/>
                </a:lnTo>
                <a:lnTo>
                  <a:pt x="7" y="8"/>
                </a:lnTo>
                <a:lnTo>
                  <a:pt x="9" y="9"/>
                </a:lnTo>
                <a:lnTo>
                  <a:pt x="12" y="10"/>
                </a:lnTo>
                <a:lnTo>
                  <a:pt x="16" y="12"/>
                </a:lnTo>
                <a:lnTo>
                  <a:pt x="18" y="12"/>
                </a:lnTo>
                <a:lnTo>
                  <a:pt x="23" y="13"/>
                </a:lnTo>
                <a:lnTo>
                  <a:pt x="25" y="13"/>
                </a:lnTo>
                <a:lnTo>
                  <a:pt x="25" y="12"/>
                </a:lnTo>
                <a:lnTo>
                  <a:pt x="24" y="10"/>
                </a:lnTo>
                <a:lnTo>
                  <a:pt x="20" y="8"/>
                </a:lnTo>
                <a:lnTo>
                  <a:pt x="19" y="6"/>
                </a:lnTo>
                <a:lnTo>
                  <a:pt x="17" y="4"/>
                </a:lnTo>
                <a:lnTo>
                  <a:pt x="17" y="2"/>
                </a:lnTo>
                <a:lnTo>
                  <a:pt x="19" y="0"/>
                </a:lnTo>
                <a:lnTo>
                  <a:pt x="19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68" name="Freeform 1268"/>
          <p:cNvSpPr>
            <a:spLocks/>
          </p:cNvSpPr>
          <p:nvPr/>
        </p:nvSpPr>
        <p:spPr bwMode="auto">
          <a:xfrm>
            <a:off x="4572000" y="2622515"/>
            <a:ext cx="403225" cy="392113"/>
          </a:xfrm>
          <a:custGeom>
            <a:avLst/>
            <a:gdLst>
              <a:gd name="T0" fmla="*/ 41 w 254"/>
              <a:gd name="T1" fmla="*/ 169 h 247"/>
              <a:gd name="T2" fmla="*/ 25 w 254"/>
              <a:gd name="T3" fmla="*/ 155 h 247"/>
              <a:gd name="T4" fmla="*/ 15 w 254"/>
              <a:gd name="T5" fmla="*/ 147 h 247"/>
              <a:gd name="T6" fmla="*/ 5 w 254"/>
              <a:gd name="T7" fmla="*/ 130 h 247"/>
              <a:gd name="T8" fmla="*/ 7 w 254"/>
              <a:gd name="T9" fmla="*/ 122 h 247"/>
              <a:gd name="T10" fmla="*/ 10 w 254"/>
              <a:gd name="T11" fmla="*/ 98 h 247"/>
              <a:gd name="T12" fmla="*/ 9 w 254"/>
              <a:gd name="T13" fmla="*/ 82 h 247"/>
              <a:gd name="T14" fmla="*/ 3 w 254"/>
              <a:gd name="T15" fmla="*/ 62 h 247"/>
              <a:gd name="T16" fmla="*/ 3 w 254"/>
              <a:gd name="T17" fmla="*/ 52 h 247"/>
              <a:gd name="T18" fmla="*/ 10 w 254"/>
              <a:gd name="T19" fmla="*/ 49 h 247"/>
              <a:gd name="T20" fmla="*/ 15 w 254"/>
              <a:gd name="T21" fmla="*/ 40 h 247"/>
              <a:gd name="T22" fmla="*/ 15 w 254"/>
              <a:gd name="T23" fmla="*/ 28 h 247"/>
              <a:gd name="T24" fmla="*/ 21 w 254"/>
              <a:gd name="T25" fmla="*/ 21 h 247"/>
              <a:gd name="T26" fmla="*/ 32 w 254"/>
              <a:gd name="T27" fmla="*/ 11 h 247"/>
              <a:gd name="T28" fmla="*/ 35 w 254"/>
              <a:gd name="T29" fmla="*/ 0 h 247"/>
              <a:gd name="T30" fmla="*/ 52 w 254"/>
              <a:gd name="T31" fmla="*/ 5 h 247"/>
              <a:gd name="T32" fmla="*/ 66 w 254"/>
              <a:gd name="T33" fmla="*/ 6 h 247"/>
              <a:gd name="T34" fmla="*/ 76 w 254"/>
              <a:gd name="T35" fmla="*/ 10 h 247"/>
              <a:gd name="T36" fmla="*/ 90 w 254"/>
              <a:gd name="T37" fmla="*/ 14 h 247"/>
              <a:gd name="T38" fmla="*/ 92 w 254"/>
              <a:gd name="T39" fmla="*/ 23 h 247"/>
              <a:gd name="T40" fmla="*/ 103 w 254"/>
              <a:gd name="T41" fmla="*/ 33 h 247"/>
              <a:gd name="T42" fmla="*/ 121 w 254"/>
              <a:gd name="T43" fmla="*/ 36 h 247"/>
              <a:gd name="T44" fmla="*/ 136 w 254"/>
              <a:gd name="T45" fmla="*/ 42 h 247"/>
              <a:gd name="T46" fmla="*/ 144 w 254"/>
              <a:gd name="T47" fmla="*/ 50 h 247"/>
              <a:gd name="T48" fmla="*/ 158 w 254"/>
              <a:gd name="T49" fmla="*/ 50 h 247"/>
              <a:gd name="T50" fmla="*/ 164 w 254"/>
              <a:gd name="T51" fmla="*/ 42 h 247"/>
              <a:gd name="T52" fmla="*/ 164 w 254"/>
              <a:gd name="T53" fmla="*/ 33 h 247"/>
              <a:gd name="T54" fmla="*/ 162 w 254"/>
              <a:gd name="T55" fmla="*/ 23 h 247"/>
              <a:gd name="T56" fmla="*/ 169 w 254"/>
              <a:gd name="T57" fmla="*/ 13 h 247"/>
              <a:gd name="T58" fmla="*/ 182 w 254"/>
              <a:gd name="T59" fmla="*/ 5 h 247"/>
              <a:gd name="T60" fmla="*/ 202 w 254"/>
              <a:gd name="T61" fmla="*/ 6 h 247"/>
              <a:gd name="T62" fmla="*/ 210 w 254"/>
              <a:gd name="T63" fmla="*/ 10 h 247"/>
              <a:gd name="T64" fmla="*/ 209 w 254"/>
              <a:gd name="T65" fmla="*/ 13 h 247"/>
              <a:gd name="T66" fmla="*/ 213 w 254"/>
              <a:gd name="T67" fmla="*/ 18 h 247"/>
              <a:gd name="T68" fmla="*/ 222 w 254"/>
              <a:gd name="T69" fmla="*/ 19 h 247"/>
              <a:gd name="T70" fmla="*/ 232 w 254"/>
              <a:gd name="T71" fmla="*/ 21 h 247"/>
              <a:gd name="T72" fmla="*/ 242 w 254"/>
              <a:gd name="T73" fmla="*/ 26 h 247"/>
              <a:gd name="T74" fmla="*/ 240 w 254"/>
              <a:gd name="T75" fmla="*/ 30 h 247"/>
              <a:gd name="T76" fmla="*/ 240 w 254"/>
              <a:gd name="T77" fmla="*/ 35 h 247"/>
              <a:gd name="T78" fmla="*/ 241 w 254"/>
              <a:gd name="T79" fmla="*/ 51 h 247"/>
              <a:gd name="T80" fmla="*/ 238 w 254"/>
              <a:gd name="T81" fmla="*/ 54 h 247"/>
              <a:gd name="T82" fmla="*/ 241 w 254"/>
              <a:gd name="T83" fmla="*/ 64 h 247"/>
              <a:gd name="T84" fmla="*/ 245 w 254"/>
              <a:gd name="T85" fmla="*/ 74 h 247"/>
              <a:gd name="T86" fmla="*/ 249 w 254"/>
              <a:gd name="T87" fmla="*/ 121 h 247"/>
              <a:gd name="T88" fmla="*/ 251 w 254"/>
              <a:gd name="T89" fmla="*/ 173 h 247"/>
              <a:gd name="T90" fmla="*/ 253 w 254"/>
              <a:gd name="T91" fmla="*/ 218 h 247"/>
              <a:gd name="T92" fmla="*/ 239 w 254"/>
              <a:gd name="T93" fmla="*/ 247 h 247"/>
              <a:gd name="T94" fmla="*/ 209 w 254"/>
              <a:gd name="T95" fmla="*/ 232 h 247"/>
              <a:gd name="T96" fmla="*/ 168 w 254"/>
              <a:gd name="T97" fmla="*/ 208 h 247"/>
              <a:gd name="T98" fmla="*/ 127 w 254"/>
              <a:gd name="T99" fmla="*/ 186 h 247"/>
              <a:gd name="T100" fmla="*/ 97 w 254"/>
              <a:gd name="T101" fmla="*/ 182 h 247"/>
              <a:gd name="T102" fmla="*/ 88 w 254"/>
              <a:gd name="T103" fmla="*/ 182 h 247"/>
              <a:gd name="T104" fmla="*/ 81 w 254"/>
              <a:gd name="T105" fmla="*/ 176 h 247"/>
              <a:gd name="T106" fmla="*/ 67 w 254"/>
              <a:gd name="T107" fmla="*/ 174 h 247"/>
              <a:gd name="T108" fmla="*/ 45 w 254"/>
              <a:gd name="T109" fmla="*/ 174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54" h="247">
                <a:moveTo>
                  <a:pt x="43" y="174"/>
                </a:moveTo>
                <a:lnTo>
                  <a:pt x="42" y="173"/>
                </a:lnTo>
                <a:lnTo>
                  <a:pt x="41" y="169"/>
                </a:lnTo>
                <a:lnTo>
                  <a:pt x="36" y="160"/>
                </a:lnTo>
                <a:lnTo>
                  <a:pt x="27" y="155"/>
                </a:lnTo>
                <a:lnTo>
                  <a:pt x="25" y="155"/>
                </a:lnTo>
                <a:lnTo>
                  <a:pt x="19" y="155"/>
                </a:lnTo>
                <a:lnTo>
                  <a:pt x="15" y="151"/>
                </a:lnTo>
                <a:lnTo>
                  <a:pt x="15" y="147"/>
                </a:lnTo>
                <a:lnTo>
                  <a:pt x="13" y="141"/>
                </a:lnTo>
                <a:lnTo>
                  <a:pt x="10" y="136"/>
                </a:lnTo>
                <a:lnTo>
                  <a:pt x="5" y="130"/>
                </a:lnTo>
                <a:lnTo>
                  <a:pt x="3" y="125"/>
                </a:lnTo>
                <a:lnTo>
                  <a:pt x="5" y="123"/>
                </a:lnTo>
                <a:lnTo>
                  <a:pt x="7" y="122"/>
                </a:lnTo>
                <a:lnTo>
                  <a:pt x="10" y="121"/>
                </a:lnTo>
                <a:lnTo>
                  <a:pt x="9" y="104"/>
                </a:lnTo>
                <a:lnTo>
                  <a:pt x="10" y="98"/>
                </a:lnTo>
                <a:lnTo>
                  <a:pt x="10" y="93"/>
                </a:lnTo>
                <a:lnTo>
                  <a:pt x="9" y="91"/>
                </a:lnTo>
                <a:lnTo>
                  <a:pt x="9" y="82"/>
                </a:lnTo>
                <a:lnTo>
                  <a:pt x="9" y="75"/>
                </a:lnTo>
                <a:lnTo>
                  <a:pt x="7" y="69"/>
                </a:lnTo>
                <a:lnTo>
                  <a:pt x="3" y="62"/>
                </a:lnTo>
                <a:lnTo>
                  <a:pt x="0" y="59"/>
                </a:lnTo>
                <a:lnTo>
                  <a:pt x="1" y="54"/>
                </a:lnTo>
                <a:lnTo>
                  <a:pt x="3" y="52"/>
                </a:lnTo>
                <a:lnTo>
                  <a:pt x="3" y="51"/>
                </a:lnTo>
                <a:lnTo>
                  <a:pt x="7" y="51"/>
                </a:lnTo>
                <a:lnTo>
                  <a:pt x="10" y="49"/>
                </a:lnTo>
                <a:lnTo>
                  <a:pt x="13" y="45"/>
                </a:lnTo>
                <a:lnTo>
                  <a:pt x="15" y="43"/>
                </a:lnTo>
                <a:lnTo>
                  <a:pt x="15" y="40"/>
                </a:lnTo>
                <a:lnTo>
                  <a:pt x="13" y="32"/>
                </a:lnTo>
                <a:lnTo>
                  <a:pt x="13" y="30"/>
                </a:lnTo>
                <a:lnTo>
                  <a:pt x="15" y="28"/>
                </a:lnTo>
                <a:lnTo>
                  <a:pt x="18" y="25"/>
                </a:lnTo>
                <a:lnTo>
                  <a:pt x="20" y="23"/>
                </a:lnTo>
                <a:lnTo>
                  <a:pt x="21" y="21"/>
                </a:lnTo>
                <a:lnTo>
                  <a:pt x="30" y="15"/>
                </a:lnTo>
                <a:lnTo>
                  <a:pt x="31" y="13"/>
                </a:lnTo>
                <a:lnTo>
                  <a:pt x="32" y="11"/>
                </a:lnTo>
                <a:lnTo>
                  <a:pt x="32" y="1"/>
                </a:lnTo>
                <a:lnTo>
                  <a:pt x="32" y="0"/>
                </a:lnTo>
                <a:lnTo>
                  <a:pt x="35" y="0"/>
                </a:lnTo>
                <a:lnTo>
                  <a:pt x="39" y="2"/>
                </a:lnTo>
                <a:lnTo>
                  <a:pt x="47" y="5"/>
                </a:lnTo>
                <a:lnTo>
                  <a:pt x="52" y="5"/>
                </a:lnTo>
                <a:lnTo>
                  <a:pt x="58" y="4"/>
                </a:lnTo>
                <a:lnTo>
                  <a:pt x="62" y="4"/>
                </a:lnTo>
                <a:lnTo>
                  <a:pt x="66" y="6"/>
                </a:lnTo>
                <a:lnTo>
                  <a:pt x="69" y="6"/>
                </a:lnTo>
                <a:lnTo>
                  <a:pt x="73" y="8"/>
                </a:lnTo>
                <a:lnTo>
                  <a:pt x="76" y="10"/>
                </a:lnTo>
                <a:lnTo>
                  <a:pt x="82" y="12"/>
                </a:lnTo>
                <a:lnTo>
                  <a:pt x="86" y="13"/>
                </a:lnTo>
                <a:lnTo>
                  <a:pt x="90" y="14"/>
                </a:lnTo>
                <a:lnTo>
                  <a:pt x="91" y="16"/>
                </a:lnTo>
                <a:lnTo>
                  <a:pt x="92" y="20"/>
                </a:lnTo>
                <a:lnTo>
                  <a:pt x="92" y="23"/>
                </a:lnTo>
                <a:lnTo>
                  <a:pt x="96" y="28"/>
                </a:lnTo>
                <a:lnTo>
                  <a:pt x="100" y="32"/>
                </a:lnTo>
                <a:lnTo>
                  <a:pt x="103" y="33"/>
                </a:lnTo>
                <a:lnTo>
                  <a:pt x="107" y="34"/>
                </a:lnTo>
                <a:lnTo>
                  <a:pt x="116" y="35"/>
                </a:lnTo>
                <a:lnTo>
                  <a:pt x="121" y="36"/>
                </a:lnTo>
                <a:lnTo>
                  <a:pt x="129" y="39"/>
                </a:lnTo>
                <a:lnTo>
                  <a:pt x="133" y="42"/>
                </a:lnTo>
                <a:lnTo>
                  <a:pt x="136" y="42"/>
                </a:lnTo>
                <a:lnTo>
                  <a:pt x="138" y="43"/>
                </a:lnTo>
                <a:lnTo>
                  <a:pt x="140" y="45"/>
                </a:lnTo>
                <a:lnTo>
                  <a:pt x="144" y="50"/>
                </a:lnTo>
                <a:lnTo>
                  <a:pt x="149" y="52"/>
                </a:lnTo>
                <a:lnTo>
                  <a:pt x="152" y="52"/>
                </a:lnTo>
                <a:lnTo>
                  <a:pt x="158" y="50"/>
                </a:lnTo>
                <a:lnTo>
                  <a:pt x="160" y="48"/>
                </a:lnTo>
                <a:lnTo>
                  <a:pt x="163" y="44"/>
                </a:lnTo>
                <a:lnTo>
                  <a:pt x="164" y="42"/>
                </a:lnTo>
                <a:lnTo>
                  <a:pt x="167" y="39"/>
                </a:lnTo>
                <a:lnTo>
                  <a:pt x="167" y="36"/>
                </a:lnTo>
                <a:lnTo>
                  <a:pt x="164" y="33"/>
                </a:lnTo>
                <a:lnTo>
                  <a:pt x="164" y="30"/>
                </a:lnTo>
                <a:lnTo>
                  <a:pt x="162" y="28"/>
                </a:lnTo>
                <a:lnTo>
                  <a:pt x="162" y="23"/>
                </a:lnTo>
                <a:lnTo>
                  <a:pt x="163" y="20"/>
                </a:lnTo>
                <a:lnTo>
                  <a:pt x="167" y="15"/>
                </a:lnTo>
                <a:lnTo>
                  <a:pt x="169" y="13"/>
                </a:lnTo>
                <a:lnTo>
                  <a:pt x="173" y="9"/>
                </a:lnTo>
                <a:lnTo>
                  <a:pt x="178" y="6"/>
                </a:lnTo>
                <a:lnTo>
                  <a:pt x="182" y="5"/>
                </a:lnTo>
                <a:lnTo>
                  <a:pt x="185" y="4"/>
                </a:lnTo>
                <a:lnTo>
                  <a:pt x="194" y="4"/>
                </a:lnTo>
                <a:lnTo>
                  <a:pt x="202" y="6"/>
                </a:lnTo>
                <a:lnTo>
                  <a:pt x="204" y="8"/>
                </a:lnTo>
                <a:lnTo>
                  <a:pt x="207" y="8"/>
                </a:lnTo>
                <a:lnTo>
                  <a:pt x="210" y="10"/>
                </a:lnTo>
                <a:lnTo>
                  <a:pt x="210" y="12"/>
                </a:lnTo>
                <a:lnTo>
                  <a:pt x="210" y="13"/>
                </a:lnTo>
                <a:lnTo>
                  <a:pt x="209" y="13"/>
                </a:lnTo>
                <a:lnTo>
                  <a:pt x="210" y="14"/>
                </a:lnTo>
                <a:lnTo>
                  <a:pt x="212" y="16"/>
                </a:lnTo>
                <a:lnTo>
                  <a:pt x="213" y="18"/>
                </a:lnTo>
                <a:lnTo>
                  <a:pt x="215" y="18"/>
                </a:lnTo>
                <a:lnTo>
                  <a:pt x="219" y="18"/>
                </a:lnTo>
                <a:lnTo>
                  <a:pt x="222" y="19"/>
                </a:lnTo>
                <a:lnTo>
                  <a:pt x="223" y="19"/>
                </a:lnTo>
                <a:lnTo>
                  <a:pt x="228" y="21"/>
                </a:lnTo>
                <a:lnTo>
                  <a:pt x="232" y="21"/>
                </a:lnTo>
                <a:lnTo>
                  <a:pt x="239" y="22"/>
                </a:lnTo>
                <a:lnTo>
                  <a:pt x="241" y="23"/>
                </a:lnTo>
                <a:lnTo>
                  <a:pt x="242" y="26"/>
                </a:lnTo>
                <a:lnTo>
                  <a:pt x="243" y="26"/>
                </a:lnTo>
                <a:lnTo>
                  <a:pt x="241" y="28"/>
                </a:lnTo>
                <a:lnTo>
                  <a:pt x="240" y="30"/>
                </a:lnTo>
                <a:lnTo>
                  <a:pt x="239" y="32"/>
                </a:lnTo>
                <a:lnTo>
                  <a:pt x="239" y="33"/>
                </a:lnTo>
                <a:lnTo>
                  <a:pt x="240" y="35"/>
                </a:lnTo>
                <a:lnTo>
                  <a:pt x="241" y="43"/>
                </a:lnTo>
                <a:lnTo>
                  <a:pt x="241" y="49"/>
                </a:lnTo>
                <a:lnTo>
                  <a:pt x="241" y="51"/>
                </a:lnTo>
                <a:lnTo>
                  <a:pt x="241" y="51"/>
                </a:lnTo>
                <a:lnTo>
                  <a:pt x="239" y="53"/>
                </a:lnTo>
                <a:lnTo>
                  <a:pt x="238" y="54"/>
                </a:lnTo>
                <a:lnTo>
                  <a:pt x="238" y="55"/>
                </a:lnTo>
                <a:lnTo>
                  <a:pt x="239" y="61"/>
                </a:lnTo>
                <a:lnTo>
                  <a:pt x="241" y="64"/>
                </a:lnTo>
                <a:lnTo>
                  <a:pt x="241" y="65"/>
                </a:lnTo>
                <a:lnTo>
                  <a:pt x="241" y="69"/>
                </a:lnTo>
                <a:lnTo>
                  <a:pt x="245" y="74"/>
                </a:lnTo>
                <a:lnTo>
                  <a:pt x="246" y="86"/>
                </a:lnTo>
                <a:lnTo>
                  <a:pt x="248" y="104"/>
                </a:lnTo>
                <a:lnTo>
                  <a:pt x="249" y="121"/>
                </a:lnTo>
                <a:lnTo>
                  <a:pt x="250" y="139"/>
                </a:lnTo>
                <a:lnTo>
                  <a:pt x="251" y="155"/>
                </a:lnTo>
                <a:lnTo>
                  <a:pt x="251" y="173"/>
                </a:lnTo>
                <a:lnTo>
                  <a:pt x="252" y="191"/>
                </a:lnTo>
                <a:lnTo>
                  <a:pt x="252" y="202"/>
                </a:lnTo>
                <a:lnTo>
                  <a:pt x="253" y="218"/>
                </a:lnTo>
                <a:lnTo>
                  <a:pt x="254" y="237"/>
                </a:lnTo>
                <a:lnTo>
                  <a:pt x="239" y="237"/>
                </a:lnTo>
                <a:lnTo>
                  <a:pt x="239" y="247"/>
                </a:lnTo>
                <a:lnTo>
                  <a:pt x="236" y="247"/>
                </a:lnTo>
                <a:lnTo>
                  <a:pt x="222" y="240"/>
                </a:lnTo>
                <a:lnTo>
                  <a:pt x="209" y="232"/>
                </a:lnTo>
                <a:lnTo>
                  <a:pt x="195" y="224"/>
                </a:lnTo>
                <a:lnTo>
                  <a:pt x="181" y="216"/>
                </a:lnTo>
                <a:lnTo>
                  <a:pt x="168" y="208"/>
                </a:lnTo>
                <a:lnTo>
                  <a:pt x="154" y="201"/>
                </a:lnTo>
                <a:lnTo>
                  <a:pt x="141" y="194"/>
                </a:lnTo>
                <a:lnTo>
                  <a:pt x="127" y="186"/>
                </a:lnTo>
                <a:lnTo>
                  <a:pt x="113" y="179"/>
                </a:lnTo>
                <a:lnTo>
                  <a:pt x="110" y="177"/>
                </a:lnTo>
                <a:lnTo>
                  <a:pt x="97" y="182"/>
                </a:lnTo>
                <a:lnTo>
                  <a:pt x="94" y="183"/>
                </a:lnTo>
                <a:lnTo>
                  <a:pt x="90" y="184"/>
                </a:lnTo>
                <a:lnTo>
                  <a:pt x="88" y="182"/>
                </a:lnTo>
                <a:lnTo>
                  <a:pt x="87" y="181"/>
                </a:lnTo>
                <a:lnTo>
                  <a:pt x="82" y="179"/>
                </a:lnTo>
                <a:lnTo>
                  <a:pt x="81" y="176"/>
                </a:lnTo>
                <a:lnTo>
                  <a:pt x="80" y="175"/>
                </a:lnTo>
                <a:lnTo>
                  <a:pt x="78" y="175"/>
                </a:lnTo>
                <a:lnTo>
                  <a:pt x="67" y="174"/>
                </a:lnTo>
                <a:lnTo>
                  <a:pt x="55" y="174"/>
                </a:lnTo>
                <a:lnTo>
                  <a:pt x="46" y="174"/>
                </a:lnTo>
                <a:lnTo>
                  <a:pt x="45" y="174"/>
                </a:lnTo>
                <a:lnTo>
                  <a:pt x="43" y="17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69" name="Freeform 1269"/>
          <p:cNvSpPr>
            <a:spLocks/>
          </p:cNvSpPr>
          <p:nvPr/>
        </p:nvSpPr>
        <p:spPr bwMode="auto">
          <a:xfrm>
            <a:off x="4572000" y="2622515"/>
            <a:ext cx="403225" cy="392113"/>
          </a:xfrm>
          <a:custGeom>
            <a:avLst/>
            <a:gdLst>
              <a:gd name="T0" fmla="*/ 41 w 254"/>
              <a:gd name="T1" fmla="*/ 169 h 247"/>
              <a:gd name="T2" fmla="*/ 25 w 254"/>
              <a:gd name="T3" fmla="*/ 155 h 247"/>
              <a:gd name="T4" fmla="*/ 15 w 254"/>
              <a:gd name="T5" fmla="*/ 147 h 247"/>
              <a:gd name="T6" fmla="*/ 5 w 254"/>
              <a:gd name="T7" fmla="*/ 130 h 247"/>
              <a:gd name="T8" fmla="*/ 7 w 254"/>
              <a:gd name="T9" fmla="*/ 122 h 247"/>
              <a:gd name="T10" fmla="*/ 10 w 254"/>
              <a:gd name="T11" fmla="*/ 98 h 247"/>
              <a:gd name="T12" fmla="*/ 9 w 254"/>
              <a:gd name="T13" fmla="*/ 82 h 247"/>
              <a:gd name="T14" fmla="*/ 3 w 254"/>
              <a:gd name="T15" fmla="*/ 62 h 247"/>
              <a:gd name="T16" fmla="*/ 3 w 254"/>
              <a:gd name="T17" fmla="*/ 52 h 247"/>
              <a:gd name="T18" fmla="*/ 10 w 254"/>
              <a:gd name="T19" fmla="*/ 49 h 247"/>
              <a:gd name="T20" fmla="*/ 15 w 254"/>
              <a:gd name="T21" fmla="*/ 40 h 247"/>
              <a:gd name="T22" fmla="*/ 15 w 254"/>
              <a:gd name="T23" fmla="*/ 28 h 247"/>
              <a:gd name="T24" fmla="*/ 21 w 254"/>
              <a:gd name="T25" fmla="*/ 21 h 247"/>
              <a:gd name="T26" fmla="*/ 32 w 254"/>
              <a:gd name="T27" fmla="*/ 11 h 247"/>
              <a:gd name="T28" fmla="*/ 35 w 254"/>
              <a:gd name="T29" fmla="*/ 0 h 247"/>
              <a:gd name="T30" fmla="*/ 52 w 254"/>
              <a:gd name="T31" fmla="*/ 5 h 247"/>
              <a:gd name="T32" fmla="*/ 66 w 254"/>
              <a:gd name="T33" fmla="*/ 6 h 247"/>
              <a:gd name="T34" fmla="*/ 76 w 254"/>
              <a:gd name="T35" fmla="*/ 10 h 247"/>
              <a:gd name="T36" fmla="*/ 90 w 254"/>
              <a:gd name="T37" fmla="*/ 14 h 247"/>
              <a:gd name="T38" fmla="*/ 92 w 254"/>
              <a:gd name="T39" fmla="*/ 23 h 247"/>
              <a:gd name="T40" fmla="*/ 103 w 254"/>
              <a:gd name="T41" fmla="*/ 33 h 247"/>
              <a:gd name="T42" fmla="*/ 121 w 254"/>
              <a:gd name="T43" fmla="*/ 36 h 247"/>
              <a:gd name="T44" fmla="*/ 136 w 254"/>
              <a:gd name="T45" fmla="*/ 42 h 247"/>
              <a:gd name="T46" fmla="*/ 144 w 254"/>
              <a:gd name="T47" fmla="*/ 50 h 247"/>
              <a:gd name="T48" fmla="*/ 158 w 254"/>
              <a:gd name="T49" fmla="*/ 50 h 247"/>
              <a:gd name="T50" fmla="*/ 164 w 254"/>
              <a:gd name="T51" fmla="*/ 42 h 247"/>
              <a:gd name="T52" fmla="*/ 164 w 254"/>
              <a:gd name="T53" fmla="*/ 33 h 247"/>
              <a:gd name="T54" fmla="*/ 162 w 254"/>
              <a:gd name="T55" fmla="*/ 23 h 247"/>
              <a:gd name="T56" fmla="*/ 169 w 254"/>
              <a:gd name="T57" fmla="*/ 13 h 247"/>
              <a:gd name="T58" fmla="*/ 182 w 254"/>
              <a:gd name="T59" fmla="*/ 5 h 247"/>
              <a:gd name="T60" fmla="*/ 202 w 254"/>
              <a:gd name="T61" fmla="*/ 6 h 247"/>
              <a:gd name="T62" fmla="*/ 210 w 254"/>
              <a:gd name="T63" fmla="*/ 10 h 247"/>
              <a:gd name="T64" fmla="*/ 209 w 254"/>
              <a:gd name="T65" fmla="*/ 13 h 247"/>
              <a:gd name="T66" fmla="*/ 213 w 254"/>
              <a:gd name="T67" fmla="*/ 18 h 247"/>
              <a:gd name="T68" fmla="*/ 222 w 254"/>
              <a:gd name="T69" fmla="*/ 19 h 247"/>
              <a:gd name="T70" fmla="*/ 232 w 254"/>
              <a:gd name="T71" fmla="*/ 21 h 247"/>
              <a:gd name="T72" fmla="*/ 242 w 254"/>
              <a:gd name="T73" fmla="*/ 26 h 247"/>
              <a:gd name="T74" fmla="*/ 240 w 254"/>
              <a:gd name="T75" fmla="*/ 30 h 247"/>
              <a:gd name="T76" fmla="*/ 240 w 254"/>
              <a:gd name="T77" fmla="*/ 35 h 247"/>
              <a:gd name="T78" fmla="*/ 241 w 254"/>
              <a:gd name="T79" fmla="*/ 51 h 247"/>
              <a:gd name="T80" fmla="*/ 238 w 254"/>
              <a:gd name="T81" fmla="*/ 54 h 247"/>
              <a:gd name="T82" fmla="*/ 241 w 254"/>
              <a:gd name="T83" fmla="*/ 64 h 247"/>
              <a:gd name="T84" fmla="*/ 245 w 254"/>
              <a:gd name="T85" fmla="*/ 74 h 247"/>
              <a:gd name="T86" fmla="*/ 249 w 254"/>
              <a:gd name="T87" fmla="*/ 121 h 247"/>
              <a:gd name="T88" fmla="*/ 251 w 254"/>
              <a:gd name="T89" fmla="*/ 173 h 247"/>
              <a:gd name="T90" fmla="*/ 253 w 254"/>
              <a:gd name="T91" fmla="*/ 218 h 247"/>
              <a:gd name="T92" fmla="*/ 239 w 254"/>
              <a:gd name="T93" fmla="*/ 247 h 247"/>
              <a:gd name="T94" fmla="*/ 209 w 254"/>
              <a:gd name="T95" fmla="*/ 232 h 247"/>
              <a:gd name="T96" fmla="*/ 168 w 254"/>
              <a:gd name="T97" fmla="*/ 208 h 247"/>
              <a:gd name="T98" fmla="*/ 127 w 254"/>
              <a:gd name="T99" fmla="*/ 186 h 247"/>
              <a:gd name="T100" fmla="*/ 97 w 254"/>
              <a:gd name="T101" fmla="*/ 182 h 247"/>
              <a:gd name="T102" fmla="*/ 88 w 254"/>
              <a:gd name="T103" fmla="*/ 182 h 247"/>
              <a:gd name="T104" fmla="*/ 81 w 254"/>
              <a:gd name="T105" fmla="*/ 176 h 247"/>
              <a:gd name="T106" fmla="*/ 67 w 254"/>
              <a:gd name="T107" fmla="*/ 174 h 247"/>
              <a:gd name="T108" fmla="*/ 45 w 254"/>
              <a:gd name="T109" fmla="*/ 174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54" h="247">
                <a:moveTo>
                  <a:pt x="43" y="174"/>
                </a:moveTo>
                <a:lnTo>
                  <a:pt x="42" y="173"/>
                </a:lnTo>
                <a:lnTo>
                  <a:pt x="41" y="169"/>
                </a:lnTo>
                <a:lnTo>
                  <a:pt x="36" y="160"/>
                </a:lnTo>
                <a:lnTo>
                  <a:pt x="27" y="155"/>
                </a:lnTo>
                <a:lnTo>
                  <a:pt x="25" y="155"/>
                </a:lnTo>
                <a:lnTo>
                  <a:pt x="19" y="155"/>
                </a:lnTo>
                <a:lnTo>
                  <a:pt x="15" y="151"/>
                </a:lnTo>
                <a:lnTo>
                  <a:pt x="15" y="147"/>
                </a:lnTo>
                <a:lnTo>
                  <a:pt x="13" y="141"/>
                </a:lnTo>
                <a:lnTo>
                  <a:pt x="10" y="136"/>
                </a:lnTo>
                <a:lnTo>
                  <a:pt x="5" y="130"/>
                </a:lnTo>
                <a:lnTo>
                  <a:pt x="3" y="125"/>
                </a:lnTo>
                <a:lnTo>
                  <a:pt x="5" y="123"/>
                </a:lnTo>
                <a:lnTo>
                  <a:pt x="7" y="122"/>
                </a:lnTo>
                <a:lnTo>
                  <a:pt x="10" y="121"/>
                </a:lnTo>
                <a:lnTo>
                  <a:pt x="9" y="104"/>
                </a:lnTo>
                <a:lnTo>
                  <a:pt x="10" y="98"/>
                </a:lnTo>
                <a:lnTo>
                  <a:pt x="10" y="93"/>
                </a:lnTo>
                <a:lnTo>
                  <a:pt x="9" y="91"/>
                </a:lnTo>
                <a:lnTo>
                  <a:pt x="9" y="82"/>
                </a:lnTo>
                <a:lnTo>
                  <a:pt x="9" y="75"/>
                </a:lnTo>
                <a:lnTo>
                  <a:pt x="7" y="69"/>
                </a:lnTo>
                <a:lnTo>
                  <a:pt x="3" y="62"/>
                </a:lnTo>
                <a:lnTo>
                  <a:pt x="0" y="59"/>
                </a:lnTo>
                <a:lnTo>
                  <a:pt x="1" y="54"/>
                </a:lnTo>
                <a:lnTo>
                  <a:pt x="3" y="52"/>
                </a:lnTo>
                <a:lnTo>
                  <a:pt x="3" y="51"/>
                </a:lnTo>
                <a:lnTo>
                  <a:pt x="7" y="51"/>
                </a:lnTo>
                <a:lnTo>
                  <a:pt x="10" y="49"/>
                </a:lnTo>
                <a:lnTo>
                  <a:pt x="13" y="45"/>
                </a:lnTo>
                <a:lnTo>
                  <a:pt x="15" y="43"/>
                </a:lnTo>
                <a:lnTo>
                  <a:pt x="15" y="40"/>
                </a:lnTo>
                <a:lnTo>
                  <a:pt x="13" y="32"/>
                </a:lnTo>
                <a:lnTo>
                  <a:pt x="13" y="30"/>
                </a:lnTo>
                <a:lnTo>
                  <a:pt x="15" y="28"/>
                </a:lnTo>
                <a:lnTo>
                  <a:pt x="18" y="25"/>
                </a:lnTo>
                <a:lnTo>
                  <a:pt x="20" y="23"/>
                </a:lnTo>
                <a:lnTo>
                  <a:pt x="21" y="21"/>
                </a:lnTo>
                <a:lnTo>
                  <a:pt x="30" y="15"/>
                </a:lnTo>
                <a:lnTo>
                  <a:pt x="31" y="13"/>
                </a:lnTo>
                <a:lnTo>
                  <a:pt x="32" y="11"/>
                </a:lnTo>
                <a:lnTo>
                  <a:pt x="32" y="1"/>
                </a:lnTo>
                <a:lnTo>
                  <a:pt x="32" y="0"/>
                </a:lnTo>
                <a:lnTo>
                  <a:pt x="35" y="0"/>
                </a:lnTo>
                <a:lnTo>
                  <a:pt x="39" y="2"/>
                </a:lnTo>
                <a:lnTo>
                  <a:pt x="47" y="5"/>
                </a:lnTo>
                <a:lnTo>
                  <a:pt x="52" y="5"/>
                </a:lnTo>
                <a:lnTo>
                  <a:pt x="58" y="4"/>
                </a:lnTo>
                <a:lnTo>
                  <a:pt x="62" y="4"/>
                </a:lnTo>
                <a:lnTo>
                  <a:pt x="66" y="6"/>
                </a:lnTo>
                <a:lnTo>
                  <a:pt x="69" y="6"/>
                </a:lnTo>
                <a:lnTo>
                  <a:pt x="73" y="8"/>
                </a:lnTo>
                <a:lnTo>
                  <a:pt x="76" y="10"/>
                </a:lnTo>
                <a:lnTo>
                  <a:pt x="82" y="12"/>
                </a:lnTo>
                <a:lnTo>
                  <a:pt x="86" y="13"/>
                </a:lnTo>
                <a:lnTo>
                  <a:pt x="90" y="14"/>
                </a:lnTo>
                <a:lnTo>
                  <a:pt x="91" y="16"/>
                </a:lnTo>
                <a:lnTo>
                  <a:pt x="92" y="20"/>
                </a:lnTo>
                <a:lnTo>
                  <a:pt x="92" y="23"/>
                </a:lnTo>
                <a:lnTo>
                  <a:pt x="96" y="28"/>
                </a:lnTo>
                <a:lnTo>
                  <a:pt x="100" y="32"/>
                </a:lnTo>
                <a:lnTo>
                  <a:pt x="103" y="33"/>
                </a:lnTo>
                <a:lnTo>
                  <a:pt x="107" y="34"/>
                </a:lnTo>
                <a:lnTo>
                  <a:pt x="116" y="35"/>
                </a:lnTo>
                <a:lnTo>
                  <a:pt x="121" y="36"/>
                </a:lnTo>
                <a:lnTo>
                  <a:pt x="129" y="39"/>
                </a:lnTo>
                <a:lnTo>
                  <a:pt x="133" y="42"/>
                </a:lnTo>
                <a:lnTo>
                  <a:pt x="136" y="42"/>
                </a:lnTo>
                <a:lnTo>
                  <a:pt x="138" y="43"/>
                </a:lnTo>
                <a:lnTo>
                  <a:pt x="140" y="45"/>
                </a:lnTo>
                <a:lnTo>
                  <a:pt x="144" y="50"/>
                </a:lnTo>
                <a:lnTo>
                  <a:pt x="149" y="52"/>
                </a:lnTo>
                <a:lnTo>
                  <a:pt x="152" y="52"/>
                </a:lnTo>
                <a:lnTo>
                  <a:pt x="158" y="50"/>
                </a:lnTo>
                <a:lnTo>
                  <a:pt x="160" y="48"/>
                </a:lnTo>
                <a:lnTo>
                  <a:pt x="163" y="44"/>
                </a:lnTo>
                <a:lnTo>
                  <a:pt x="164" y="42"/>
                </a:lnTo>
                <a:lnTo>
                  <a:pt x="167" y="39"/>
                </a:lnTo>
                <a:lnTo>
                  <a:pt x="167" y="36"/>
                </a:lnTo>
                <a:lnTo>
                  <a:pt x="164" y="33"/>
                </a:lnTo>
                <a:lnTo>
                  <a:pt x="164" y="30"/>
                </a:lnTo>
                <a:lnTo>
                  <a:pt x="162" y="28"/>
                </a:lnTo>
                <a:lnTo>
                  <a:pt x="162" y="23"/>
                </a:lnTo>
                <a:lnTo>
                  <a:pt x="163" y="20"/>
                </a:lnTo>
                <a:lnTo>
                  <a:pt x="167" y="15"/>
                </a:lnTo>
                <a:lnTo>
                  <a:pt x="169" y="13"/>
                </a:lnTo>
                <a:lnTo>
                  <a:pt x="173" y="9"/>
                </a:lnTo>
                <a:lnTo>
                  <a:pt x="178" y="6"/>
                </a:lnTo>
                <a:lnTo>
                  <a:pt x="182" y="5"/>
                </a:lnTo>
                <a:lnTo>
                  <a:pt x="185" y="4"/>
                </a:lnTo>
                <a:lnTo>
                  <a:pt x="194" y="4"/>
                </a:lnTo>
                <a:lnTo>
                  <a:pt x="202" y="6"/>
                </a:lnTo>
                <a:lnTo>
                  <a:pt x="204" y="8"/>
                </a:lnTo>
                <a:lnTo>
                  <a:pt x="207" y="8"/>
                </a:lnTo>
                <a:lnTo>
                  <a:pt x="210" y="10"/>
                </a:lnTo>
                <a:lnTo>
                  <a:pt x="210" y="12"/>
                </a:lnTo>
                <a:lnTo>
                  <a:pt x="210" y="13"/>
                </a:lnTo>
                <a:lnTo>
                  <a:pt x="209" y="13"/>
                </a:lnTo>
                <a:lnTo>
                  <a:pt x="210" y="14"/>
                </a:lnTo>
                <a:lnTo>
                  <a:pt x="212" y="16"/>
                </a:lnTo>
                <a:lnTo>
                  <a:pt x="213" y="18"/>
                </a:lnTo>
                <a:lnTo>
                  <a:pt x="215" y="18"/>
                </a:lnTo>
                <a:lnTo>
                  <a:pt x="219" y="18"/>
                </a:lnTo>
                <a:lnTo>
                  <a:pt x="222" y="19"/>
                </a:lnTo>
                <a:lnTo>
                  <a:pt x="223" y="19"/>
                </a:lnTo>
                <a:lnTo>
                  <a:pt x="228" y="21"/>
                </a:lnTo>
                <a:lnTo>
                  <a:pt x="232" y="21"/>
                </a:lnTo>
                <a:lnTo>
                  <a:pt x="239" y="22"/>
                </a:lnTo>
                <a:lnTo>
                  <a:pt x="241" y="23"/>
                </a:lnTo>
                <a:lnTo>
                  <a:pt x="242" y="26"/>
                </a:lnTo>
                <a:lnTo>
                  <a:pt x="243" y="26"/>
                </a:lnTo>
                <a:lnTo>
                  <a:pt x="241" y="28"/>
                </a:lnTo>
                <a:lnTo>
                  <a:pt x="240" y="30"/>
                </a:lnTo>
                <a:lnTo>
                  <a:pt x="239" y="32"/>
                </a:lnTo>
                <a:lnTo>
                  <a:pt x="239" y="33"/>
                </a:lnTo>
                <a:lnTo>
                  <a:pt x="240" y="35"/>
                </a:lnTo>
                <a:lnTo>
                  <a:pt x="241" y="43"/>
                </a:lnTo>
                <a:lnTo>
                  <a:pt x="241" y="49"/>
                </a:lnTo>
                <a:lnTo>
                  <a:pt x="241" y="51"/>
                </a:lnTo>
                <a:lnTo>
                  <a:pt x="241" y="51"/>
                </a:lnTo>
                <a:lnTo>
                  <a:pt x="239" y="53"/>
                </a:lnTo>
                <a:lnTo>
                  <a:pt x="238" y="54"/>
                </a:lnTo>
                <a:lnTo>
                  <a:pt x="238" y="55"/>
                </a:lnTo>
                <a:lnTo>
                  <a:pt x="239" y="61"/>
                </a:lnTo>
                <a:lnTo>
                  <a:pt x="241" y="64"/>
                </a:lnTo>
                <a:lnTo>
                  <a:pt x="241" y="65"/>
                </a:lnTo>
                <a:lnTo>
                  <a:pt x="241" y="69"/>
                </a:lnTo>
                <a:lnTo>
                  <a:pt x="245" y="74"/>
                </a:lnTo>
                <a:lnTo>
                  <a:pt x="246" y="86"/>
                </a:lnTo>
                <a:lnTo>
                  <a:pt x="248" y="104"/>
                </a:lnTo>
                <a:lnTo>
                  <a:pt x="249" y="121"/>
                </a:lnTo>
                <a:lnTo>
                  <a:pt x="250" y="139"/>
                </a:lnTo>
                <a:lnTo>
                  <a:pt x="251" y="155"/>
                </a:lnTo>
                <a:lnTo>
                  <a:pt x="251" y="173"/>
                </a:lnTo>
                <a:lnTo>
                  <a:pt x="252" y="191"/>
                </a:lnTo>
                <a:lnTo>
                  <a:pt x="252" y="202"/>
                </a:lnTo>
                <a:lnTo>
                  <a:pt x="253" y="218"/>
                </a:lnTo>
                <a:lnTo>
                  <a:pt x="254" y="237"/>
                </a:lnTo>
                <a:lnTo>
                  <a:pt x="239" y="237"/>
                </a:lnTo>
                <a:lnTo>
                  <a:pt x="239" y="247"/>
                </a:lnTo>
                <a:lnTo>
                  <a:pt x="236" y="247"/>
                </a:lnTo>
                <a:lnTo>
                  <a:pt x="222" y="240"/>
                </a:lnTo>
                <a:lnTo>
                  <a:pt x="209" y="232"/>
                </a:lnTo>
                <a:lnTo>
                  <a:pt x="195" y="224"/>
                </a:lnTo>
                <a:lnTo>
                  <a:pt x="181" y="216"/>
                </a:lnTo>
                <a:lnTo>
                  <a:pt x="168" y="208"/>
                </a:lnTo>
                <a:lnTo>
                  <a:pt x="154" y="201"/>
                </a:lnTo>
                <a:lnTo>
                  <a:pt x="141" y="194"/>
                </a:lnTo>
                <a:lnTo>
                  <a:pt x="127" y="186"/>
                </a:lnTo>
                <a:lnTo>
                  <a:pt x="113" y="179"/>
                </a:lnTo>
                <a:lnTo>
                  <a:pt x="110" y="177"/>
                </a:lnTo>
                <a:lnTo>
                  <a:pt x="97" y="182"/>
                </a:lnTo>
                <a:lnTo>
                  <a:pt x="94" y="183"/>
                </a:lnTo>
                <a:lnTo>
                  <a:pt x="90" y="184"/>
                </a:lnTo>
                <a:lnTo>
                  <a:pt x="88" y="182"/>
                </a:lnTo>
                <a:lnTo>
                  <a:pt x="87" y="181"/>
                </a:lnTo>
                <a:lnTo>
                  <a:pt x="82" y="179"/>
                </a:lnTo>
                <a:lnTo>
                  <a:pt x="81" y="176"/>
                </a:lnTo>
                <a:lnTo>
                  <a:pt x="80" y="175"/>
                </a:lnTo>
                <a:lnTo>
                  <a:pt x="78" y="175"/>
                </a:lnTo>
                <a:lnTo>
                  <a:pt x="67" y="174"/>
                </a:lnTo>
                <a:lnTo>
                  <a:pt x="55" y="174"/>
                </a:lnTo>
                <a:lnTo>
                  <a:pt x="46" y="174"/>
                </a:lnTo>
                <a:lnTo>
                  <a:pt x="45" y="174"/>
                </a:lnTo>
                <a:lnTo>
                  <a:pt x="43" y="17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70" name="Freeform 1270"/>
          <p:cNvSpPr>
            <a:spLocks/>
          </p:cNvSpPr>
          <p:nvPr/>
        </p:nvSpPr>
        <p:spPr bwMode="auto">
          <a:xfrm>
            <a:off x="4043362" y="2855878"/>
            <a:ext cx="411162" cy="427038"/>
          </a:xfrm>
          <a:custGeom>
            <a:avLst/>
            <a:gdLst>
              <a:gd name="T0" fmla="*/ 210 w 259"/>
              <a:gd name="T1" fmla="*/ 75 h 269"/>
              <a:gd name="T2" fmla="*/ 219 w 259"/>
              <a:gd name="T3" fmla="*/ 79 h 269"/>
              <a:gd name="T4" fmla="*/ 226 w 259"/>
              <a:gd name="T5" fmla="*/ 86 h 269"/>
              <a:gd name="T6" fmla="*/ 234 w 259"/>
              <a:gd name="T7" fmla="*/ 89 h 269"/>
              <a:gd name="T8" fmla="*/ 242 w 259"/>
              <a:gd name="T9" fmla="*/ 94 h 269"/>
              <a:gd name="T10" fmla="*/ 243 w 259"/>
              <a:gd name="T11" fmla="*/ 98 h 269"/>
              <a:gd name="T12" fmla="*/ 243 w 259"/>
              <a:gd name="T13" fmla="*/ 104 h 269"/>
              <a:gd name="T14" fmla="*/ 248 w 259"/>
              <a:gd name="T15" fmla="*/ 110 h 269"/>
              <a:gd name="T16" fmla="*/ 258 w 259"/>
              <a:gd name="T17" fmla="*/ 107 h 269"/>
              <a:gd name="T18" fmla="*/ 259 w 259"/>
              <a:gd name="T19" fmla="*/ 162 h 269"/>
              <a:gd name="T20" fmla="*/ 249 w 259"/>
              <a:gd name="T21" fmla="*/ 171 h 269"/>
              <a:gd name="T22" fmla="*/ 240 w 259"/>
              <a:gd name="T23" fmla="*/ 175 h 269"/>
              <a:gd name="T24" fmla="*/ 196 w 259"/>
              <a:gd name="T25" fmla="*/ 182 h 269"/>
              <a:gd name="T26" fmla="*/ 162 w 259"/>
              <a:gd name="T27" fmla="*/ 198 h 269"/>
              <a:gd name="T28" fmla="*/ 136 w 259"/>
              <a:gd name="T29" fmla="*/ 212 h 269"/>
              <a:gd name="T30" fmla="*/ 127 w 259"/>
              <a:gd name="T31" fmla="*/ 226 h 269"/>
              <a:gd name="T32" fmla="*/ 115 w 259"/>
              <a:gd name="T33" fmla="*/ 242 h 269"/>
              <a:gd name="T34" fmla="*/ 109 w 259"/>
              <a:gd name="T35" fmla="*/ 262 h 269"/>
              <a:gd name="T36" fmla="*/ 103 w 259"/>
              <a:gd name="T37" fmla="*/ 265 h 269"/>
              <a:gd name="T38" fmla="*/ 97 w 259"/>
              <a:gd name="T39" fmla="*/ 268 h 269"/>
              <a:gd name="T40" fmla="*/ 93 w 259"/>
              <a:gd name="T41" fmla="*/ 262 h 269"/>
              <a:gd name="T42" fmla="*/ 90 w 259"/>
              <a:gd name="T43" fmla="*/ 262 h 269"/>
              <a:gd name="T44" fmla="*/ 87 w 259"/>
              <a:gd name="T45" fmla="*/ 264 h 269"/>
              <a:gd name="T46" fmla="*/ 81 w 259"/>
              <a:gd name="T47" fmla="*/ 268 h 269"/>
              <a:gd name="T48" fmla="*/ 77 w 259"/>
              <a:gd name="T49" fmla="*/ 267 h 269"/>
              <a:gd name="T50" fmla="*/ 73 w 259"/>
              <a:gd name="T51" fmla="*/ 265 h 269"/>
              <a:gd name="T52" fmla="*/ 69 w 259"/>
              <a:gd name="T53" fmla="*/ 266 h 269"/>
              <a:gd name="T54" fmla="*/ 65 w 259"/>
              <a:gd name="T55" fmla="*/ 267 h 269"/>
              <a:gd name="T56" fmla="*/ 60 w 259"/>
              <a:gd name="T57" fmla="*/ 255 h 269"/>
              <a:gd name="T58" fmla="*/ 55 w 259"/>
              <a:gd name="T59" fmla="*/ 256 h 269"/>
              <a:gd name="T60" fmla="*/ 58 w 259"/>
              <a:gd name="T61" fmla="*/ 250 h 269"/>
              <a:gd name="T62" fmla="*/ 58 w 259"/>
              <a:gd name="T63" fmla="*/ 247 h 269"/>
              <a:gd name="T64" fmla="*/ 52 w 259"/>
              <a:gd name="T65" fmla="*/ 242 h 269"/>
              <a:gd name="T66" fmla="*/ 51 w 259"/>
              <a:gd name="T67" fmla="*/ 232 h 269"/>
              <a:gd name="T68" fmla="*/ 49 w 259"/>
              <a:gd name="T69" fmla="*/ 227 h 269"/>
              <a:gd name="T70" fmla="*/ 44 w 259"/>
              <a:gd name="T71" fmla="*/ 227 h 269"/>
              <a:gd name="T72" fmla="*/ 39 w 259"/>
              <a:gd name="T73" fmla="*/ 234 h 269"/>
              <a:gd name="T74" fmla="*/ 28 w 259"/>
              <a:gd name="T75" fmla="*/ 231 h 269"/>
              <a:gd name="T76" fmla="*/ 22 w 259"/>
              <a:gd name="T77" fmla="*/ 237 h 269"/>
              <a:gd name="T78" fmla="*/ 15 w 259"/>
              <a:gd name="T79" fmla="*/ 236 h 269"/>
              <a:gd name="T80" fmla="*/ 11 w 259"/>
              <a:gd name="T81" fmla="*/ 230 h 269"/>
              <a:gd name="T82" fmla="*/ 12 w 259"/>
              <a:gd name="T83" fmla="*/ 226 h 269"/>
              <a:gd name="T84" fmla="*/ 12 w 259"/>
              <a:gd name="T85" fmla="*/ 219 h 269"/>
              <a:gd name="T86" fmla="*/ 10 w 259"/>
              <a:gd name="T87" fmla="*/ 215 h 269"/>
              <a:gd name="T88" fmla="*/ 7 w 259"/>
              <a:gd name="T89" fmla="*/ 211 h 269"/>
              <a:gd name="T90" fmla="*/ 2 w 259"/>
              <a:gd name="T91" fmla="*/ 205 h 269"/>
              <a:gd name="T92" fmla="*/ 2 w 259"/>
              <a:gd name="T93" fmla="*/ 195 h 269"/>
              <a:gd name="T94" fmla="*/ 0 w 259"/>
              <a:gd name="T95" fmla="*/ 190 h 269"/>
              <a:gd name="T96" fmla="*/ 9 w 259"/>
              <a:gd name="T97" fmla="*/ 174 h 269"/>
              <a:gd name="T98" fmla="*/ 14 w 259"/>
              <a:gd name="T99" fmla="*/ 166 h 269"/>
              <a:gd name="T100" fmla="*/ 25 w 259"/>
              <a:gd name="T101" fmla="*/ 179 h 269"/>
              <a:gd name="T102" fmla="*/ 100 w 259"/>
              <a:gd name="T103" fmla="*/ 174 h 269"/>
              <a:gd name="T104" fmla="*/ 99 w 259"/>
              <a:gd name="T105" fmla="*/ 120 h 269"/>
              <a:gd name="T106" fmla="*/ 92 w 259"/>
              <a:gd name="T107" fmla="*/ 35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59" h="269">
                <a:moveTo>
                  <a:pt x="135" y="14"/>
                </a:moveTo>
                <a:lnTo>
                  <a:pt x="210" y="69"/>
                </a:lnTo>
                <a:lnTo>
                  <a:pt x="210" y="70"/>
                </a:lnTo>
                <a:lnTo>
                  <a:pt x="211" y="71"/>
                </a:lnTo>
                <a:lnTo>
                  <a:pt x="210" y="75"/>
                </a:lnTo>
                <a:lnTo>
                  <a:pt x="211" y="76"/>
                </a:lnTo>
                <a:lnTo>
                  <a:pt x="212" y="77"/>
                </a:lnTo>
                <a:lnTo>
                  <a:pt x="214" y="77"/>
                </a:lnTo>
                <a:lnTo>
                  <a:pt x="218" y="79"/>
                </a:lnTo>
                <a:lnTo>
                  <a:pt x="219" y="79"/>
                </a:lnTo>
                <a:lnTo>
                  <a:pt x="219" y="81"/>
                </a:lnTo>
                <a:lnTo>
                  <a:pt x="219" y="83"/>
                </a:lnTo>
                <a:lnTo>
                  <a:pt x="221" y="85"/>
                </a:lnTo>
                <a:lnTo>
                  <a:pt x="223" y="86"/>
                </a:lnTo>
                <a:lnTo>
                  <a:pt x="226" y="86"/>
                </a:lnTo>
                <a:lnTo>
                  <a:pt x="228" y="86"/>
                </a:lnTo>
                <a:lnTo>
                  <a:pt x="229" y="86"/>
                </a:lnTo>
                <a:lnTo>
                  <a:pt x="230" y="89"/>
                </a:lnTo>
                <a:lnTo>
                  <a:pt x="231" y="89"/>
                </a:lnTo>
                <a:lnTo>
                  <a:pt x="234" y="89"/>
                </a:lnTo>
                <a:lnTo>
                  <a:pt x="235" y="90"/>
                </a:lnTo>
                <a:lnTo>
                  <a:pt x="237" y="90"/>
                </a:lnTo>
                <a:lnTo>
                  <a:pt x="239" y="91"/>
                </a:lnTo>
                <a:lnTo>
                  <a:pt x="241" y="93"/>
                </a:lnTo>
                <a:lnTo>
                  <a:pt x="242" y="94"/>
                </a:lnTo>
                <a:lnTo>
                  <a:pt x="243" y="95"/>
                </a:lnTo>
                <a:lnTo>
                  <a:pt x="243" y="95"/>
                </a:lnTo>
                <a:lnTo>
                  <a:pt x="243" y="96"/>
                </a:lnTo>
                <a:lnTo>
                  <a:pt x="243" y="97"/>
                </a:lnTo>
                <a:lnTo>
                  <a:pt x="243" y="98"/>
                </a:lnTo>
                <a:lnTo>
                  <a:pt x="244" y="99"/>
                </a:lnTo>
                <a:lnTo>
                  <a:pt x="244" y="100"/>
                </a:lnTo>
                <a:lnTo>
                  <a:pt x="243" y="101"/>
                </a:lnTo>
                <a:lnTo>
                  <a:pt x="242" y="101"/>
                </a:lnTo>
                <a:lnTo>
                  <a:pt x="243" y="104"/>
                </a:lnTo>
                <a:lnTo>
                  <a:pt x="242" y="106"/>
                </a:lnTo>
                <a:lnTo>
                  <a:pt x="242" y="107"/>
                </a:lnTo>
                <a:lnTo>
                  <a:pt x="244" y="109"/>
                </a:lnTo>
                <a:lnTo>
                  <a:pt x="245" y="110"/>
                </a:lnTo>
                <a:lnTo>
                  <a:pt x="248" y="110"/>
                </a:lnTo>
                <a:lnTo>
                  <a:pt x="251" y="108"/>
                </a:lnTo>
                <a:lnTo>
                  <a:pt x="253" y="108"/>
                </a:lnTo>
                <a:lnTo>
                  <a:pt x="255" y="107"/>
                </a:lnTo>
                <a:lnTo>
                  <a:pt x="258" y="106"/>
                </a:lnTo>
                <a:lnTo>
                  <a:pt x="258" y="107"/>
                </a:lnTo>
                <a:lnTo>
                  <a:pt x="258" y="107"/>
                </a:lnTo>
                <a:lnTo>
                  <a:pt x="258" y="111"/>
                </a:lnTo>
                <a:lnTo>
                  <a:pt x="258" y="128"/>
                </a:lnTo>
                <a:lnTo>
                  <a:pt x="258" y="146"/>
                </a:lnTo>
                <a:lnTo>
                  <a:pt x="259" y="162"/>
                </a:lnTo>
                <a:lnTo>
                  <a:pt x="257" y="164"/>
                </a:lnTo>
                <a:lnTo>
                  <a:pt x="254" y="165"/>
                </a:lnTo>
                <a:lnTo>
                  <a:pt x="253" y="167"/>
                </a:lnTo>
                <a:lnTo>
                  <a:pt x="253" y="169"/>
                </a:lnTo>
                <a:lnTo>
                  <a:pt x="249" y="171"/>
                </a:lnTo>
                <a:lnTo>
                  <a:pt x="248" y="172"/>
                </a:lnTo>
                <a:lnTo>
                  <a:pt x="248" y="174"/>
                </a:lnTo>
                <a:lnTo>
                  <a:pt x="248" y="176"/>
                </a:lnTo>
                <a:lnTo>
                  <a:pt x="244" y="175"/>
                </a:lnTo>
                <a:lnTo>
                  <a:pt x="240" y="175"/>
                </a:lnTo>
                <a:lnTo>
                  <a:pt x="240" y="176"/>
                </a:lnTo>
                <a:lnTo>
                  <a:pt x="239" y="176"/>
                </a:lnTo>
                <a:lnTo>
                  <a:pt x="213" y="176"/>
                </a:lnTo>
                <a:lnTo>
                  <a:pt x="206" y="182"/>
                </a:lnTo>
                <a:lnTo>
                  <a:pt x="196" y="182"/>
                </a:lnTo>
                <a:lnTo>
                  <a:pt x="186" y="182"/>
                </a:lnTo>
                <a:lnTo>
                  <a:pt x="180" y="185"/>
                </a:lnTo>
                <a:lnTo>
                  <a:pt x="178" y="186"/>
                </a:lnTo>
                <a:lnTo>
                  <a:pt x="173" y="190"/>
                </a:lnTo>
                <a:lnTo>
                  <a:pt x="162" y="198"/>
                </a:lnTo>
                <a:lnTo>
                  <a:pt x="159" y="204"/>
                </a:lnTo>
                <a:lnTo>
                  <a:pt x="153" y="207"/>
                </a:lnTo>
                <a:lnTo>
                  <a:pt x="142" y="211"/>
                </a:lnTo>
                <a:lnTo>
                  <a:pt x="139" y="212"/>
                </a:lnTo>
                <a:lnTo>
                  <a:pt x="136" y="212"/>
                </a:lnTo>
                <a:lnTo>
                  <a:pt x="133" y="214"/>
                </a:lnTo>
                <a:lnTo>
                  <a:pt x="131" y="215"/>
                </a:lnTo>
                <a:lnTo>
                  <a:pt x="130" y="217"/>
                </a:lnTo>
                <a:lnTo>
                  <a:pt x="128" y="220"/>
                </a:lnTo>
                <a:lnTo>
                  <a:pt x="127" y="226"/>
                </a:lnTo>
                <a:lnTo>
                  <a:pt x="125" y="231"/>
                </a:lnTo>
                <a:lnTo>
                  <a:pt x="123" y="235"/>
                </a:lnTo>
                <a:lnTo>
                  <a:pt x="118" y="238"/>
                </a:lnTo>
                <a:lnTo>
                  <a:pt x="116" y="241"/>
                </a:lnTo>
                <a:lnTo>
                  <a:pt x="115" y="242"/>
                </a:lnTo>
                <a:lnTo>
                  <a:pt x="112" y="246"/>
                </a:lnTo>
                <a:lnTo>
                  <a:pt x="112" y="249"/>
                </a:lnTo>
                <a:lnTo>
                  <a:pt x="110" y="255"/>
                </a:lnTo>
                <a:lnTo>
                  <a:pt x="109" y="258"/>
                </a:lnTo>
                <a:lnTo>
                  <a:pt x="109" y="262"/>
                </a:lnTo>
                <a:lnTo>
                  <a:pt x="110" y="267"/>
                </a:lnTo>
                <a:lnTo>
                  <a:pt x="107" y="267"/>
                </a:lnTo>
                <a:lnTo>
                  <a:pt x="106" y="267"/>
                </a:lnTo>
                <a:lnTo>
                  <a:pt x="105" y="265"/>
                </a:lnTo>
                <a:lnTo>
                  <a:pt x="103" y="265"/>
                </a:lnTo>
                <a:lnTo>
                  <a:pt x="101" y="265"/>
                </a:lnTo>
                <a:lnTo>
                  <a:pt x="100" y="265"/>
                </a:lnTo>
                <a:lnTo>
                  <a:pt x="99" y="267"/>
                </a:lnTo>
                <a:lnTo>
                  <a:pt x="98" y="267"/>
                </a:lnTo>
                <a:lnTo>
                  <a:pt x="97" y="268"/>
                </a:lnTo>
                <a:lnTo>
                  <a:pt x="95" y="268"/>
                </a:lnTo>
                <a:lnTo>
                  <a:pt x="95" y="267"/>
                </a:lnTo>
                <a:lnTo>
                  <a:pt x="95" y="264"/>
                </a:lnTo>
                <a:lnTo>
                  <a:pt x="93" y="262"/>
                </a:lnTo>
                <a:lnTo>
                  <a:pt x="93" y="262"/>
                </a:lnTo>
                <a:lnTo>
                  <a:pt x="93" y="260"/>
                </a:lnTo>
                <a:lnTo>
                  <a:pt x="93" y="259"/>
                </a:lnTo>
                <a:lnTo>
                  <a:pt x="92" y="260"/>
                </a:lnTo>
                <a:lnTo>
                  <a:pt x="90" y="260"/>
                </a:lnTo>
                <a:lnTo>
                  <a:pt x="90" y="262"/>
                </a:lnTo>
                <a:lnTo>
                  <a:pt x="89" y="262"/>
                </a:lnTo>
                <a:lnTo>
                  <a:pt x="88" y="261"/>
                </a:lnTo>
                <a:lnTo>
                  <a:pt x="87" y="261"/>
                </a:lnTo>
                <a:lnTo>
                  <a:pt x="87" y="261"/>
                </a:lnTo>
                <a:lnTo>
                  <a:pt x="87" y="264"/>
                </a:lnTo>
                <a:lnTo>
                  <a:pt x="87" y="265"/>
                </a:lnTo>
                <a:lnTo>
                  <a:pt x="86" y="266"/>
                </a:lnTo>
                <a:lnTo>
                  <a:pt x="82" y="266"/>
                </a:lnTo>
                <a:lnTo>
                  <a:pt x="81" y="267"/>
                </a:lnTo>
                <a:lnTo>
                  <a:pt x="81" y="268"/>
                </a:lnTo>
                <a:lnTo>
                  <a:pt x="80" y="269"/>
                </a:lnTo>
                <a:lnTo>
                  <a:pt x="79" y="269"/>
                </a:lnTo>
                <a:lnTo>
                  <a:pt x="78" y="269"/>
                </a:lnTo>
                <a:lnTo>
                  <a:pt x="77" y="267"/>
                </a:lnTo>
                <a:lnTo>
                  <a:pt x="77" y="267"/>
                </a:lnTo>
                <a:lnTo>
                  <a:pt x="76" y="268"/>
                </a:lnTo>
                <a:lnTo>
                  <a:pt x="76" y="268"/>
                </a:lnTo>
                <a:lnTo>
                  <a:pt x="75" y="268"/>
                </a:lnTo>
                <a:lnTo>
                  <a:pt x="75" y="266"/>
                </a:lnTo>
                <a:lnTo>
                  <a:pt x="73" y="265"/>
                </a:lnTo>
                <a:lnTo>
                  <a:pt x="72" y="264"/>
                </a:lnTo>
                <a:lnTo>
                  <a:pt x="71" y="265"/>
                </a:lnTo>
                <a:lnTo>
                  <a:pt x="70" y="265"/>
                </a:lnTo>
                <a:lnTo>
                  <a:pt x="69" y="265"/>
                </a:lnTo>
                <a:lnTo>
                  <a:pt x="69" y="266"/>
                </a:lnTo>
                <a:lnTo>
                  <a:pt x="68" y="267"/>
                </a:lnTo>
                <a:lnTo>
                  <a:pt x="67" y="268"/>
                </a:lnTo>
                <a:lnTo>
                  <a:pt x="66" y="269"/>
                </a:lnTo>
                <a:lnTo>
                  <a:pt x="66" y="268"/>
                </a:lnTo>
                <a:lnTo>
                  <a:pt x="65" y="267"/>
                </a:lnTo>
                <a:lnTo>
                  <a:pt x="64" y="266"/>
                </a:lnTo>
                <a:lnTo>
                  <a:pt x="64" y="265"/>
                </a:lnTo>
                <a:lnTo>
                  <a:pt x="61" y="265"/>
                </a:lnTo>
                <a:lnTo>
                  <a:pt x="60" y="262"/>
                </a:lnTo>
                <a:lnTo>
                  <a:pt x="60" y="255"/>
                </a:lnTo>
                <a:lnTo>
                  <a:pt x="60" y="254"/>
                </a:lnTo>
                <a:lnTo>
                  <a:pt x="59" y="254"/>
                </a:lnTo>
                <a:lnTo>
                  <a:pt x="57" y="254"/>
                </a:lnTo>
                <a:lnTo>
                  <a:pt x="56" y="256"/>
                </a:lnTo>
                <a:lnTo>
                  <a:pt x="55" y="256"/>
                </a:lnTo>
                <a:lnTo>
                  <a:pt x="55" y="254"/>
                </a:lnTo>
                <a:lnTo>
                  <a:pt x="55" y="252"/>
                </a:lnTo>
                <a:lnTo>
                  <a:pt x="57" y="251"/>
                </a:lnTo>
                <a:lnTo>
                  <a:pt x="57" y="250"/>
                </a:lnTo>
                <a:lnTo>
                  <a:pt x="58" y="250"/>
                </a:lnTo>
                <a:lnTo>
                  <a:pt x="58" y="249"/>
                </a:lnTo>
                <a:lnTo>
                  <a:pt x="59" y="249"/>
                </a:lnTo>
                <a:lnTo>
                  <a:pt x="59" y="247"/>
                </a:lnTo>
                <a:lnTo>
                  <a:pt x="59" y="247"/>
                </a:lnTo>
                <a:lnTo>
                  <a:pt x="58" y="247"/>
                </a:lnTo>
                <a:lnTo>
                  <a:pt x="57" y="246"/>
                </a:lnTo>
                <a:lnTo>
                  <a:pt x="56" y="245"/>
                </a:lnTo>
                <a:lnTo>
                  <a:pt x="55" y="242"/>
                </a:lnTo>
                <a:lnTo>
                  <a:pt x="52" y="242"/>
                </a:lnTo>
                <a:lnTo>
                  <a:pt x="52" y="242"/>
                </a:lnTo>
                <a:lnTo>
                  <a:pt x="52" y="237"/>
                </a:lnTo>
                <a:lnTo>
                  <a:pt x="52" y="235"/>
                </a:lnTo>
                <a:lnTo>
                  <a:pt x="51" y="235"/>
                </a:lnTo>
                <a:lnTo>
                  <a:pt x="51" y="232"/>
                </a:lnTo>
                <a:lnTo>
                  <a:pt x="51" y="232"/>
                </a:lnTo>
                <a:lnTo>
                  <a:pt x="50" y="232"/>
                </a:lnTo>
                <a:lnTo>
                  <a:pt x="49" y="232"/>
                </a:lnTo>
                <a:lnTo>
                  <a:pt x="50" y="228"/>
                </a:lnTo>
                <a:lnTo>
                  <a:pt x="50" y="228"/>
                </a:lnTo>
                <a:lnTo>
                  <a:pt x="49" y="227"/>
                </a:lnTo>
                <a:lnTo>
                  <a:pt x="48" y="227"/>
                </a:lnTo>
                <a:lnTo>
                  <a:pt x="47" y="228"/>
                </a:lnTo>
                <a:lnTo>
                  <a:pt x="47" y="228"/>
                </a:lnTo>
                <a:lnTo>
                  <a:pt x="45" y="227"/>
                </a:lnTo>
                <a:lnTo>
                  <a:pt x="44" y="227"/>
                </a:lnTo>
                <a:lnTo>
                  <a:pt x="44" y="227"/>
                </a:lnTo>
                <a:lnTo>
                  <a:pt x="44" y="230"/>
                </a:lnTo>
                <a:lnTo>
                  <a:pt x="42" y="231"/>
                </a:lnTo>
                <a:lnTo>
                  <a:pt x="39" y="232"/>
                </a:lnTo>
                <a:lnTo>
                  <a:pt x="39" y="234"/>
                </a:lnTo>
                <a:lnTo>
                  <a:pt x="38" y="236"/>
                </a:lnTo>
                <a:lnTo>
                  <a:pt x="34" y="234"/>
                </a:lnTo>
                <a:lnTo>
                  <a:pt x="31" y="232"/>
                </a:lnTo>
                <a:lnTo>
                  <a:pt x="29" y="231"/>
                </a:lnTo>
                <a:lnTo>
                  <a:pt x="28" y="231"/>
                </a:lnTo>
                <a:lnTo>
                  <a:pt x="27" y="234"/>
                </a:lnTo>
                <a:lnTo>
                  <a:pt x="26" y="235"/>
                </a:lnTo>
                <a:lnTo>
                  <a:pt x="25" y="236"/>
                </a:lnTo>
                <a:lnTo>
                  <a:pt x="24" y="237"/>
                </a:lnTo>
                <a:lnTo>
                  <a:pt x="22" y="237"/>
                </a:lnTo>
                <a:lnTo>
                  <a:pt x="20" y="232"/>
                </a:lnTo>
                <a:lnTo>
                  <a:pt x="19" y="232"/>
                </a:lnTo>
                <a:lnTo>
                  <a:pt x="17" y="232"/>
                </a:lnTo>
                <a:lnTo>
                  <a:pt x="16" y="235"/>
                </a:lnTo>
                <a:lnTo>
                  <a:pt x="15" y="236"/>
                </a:lnTo>
                <a:lnTo>
                  <a:pt x="14" y="236"/>
                </a:lnTo>
                <a:lnTo>
                  <a:pt x="11" y="235"/>
                </a:lnTo>
                <a:lnTo>
                  <a:pt x="10" y="234"/>
                </a:lnTo>
                <a:lnTo>
                  <a:pt x="10" y="232"/>
                </a:lnTo>
                <a:lnTo>
                  <a:pt x="11" y="230"/>
                </a:lnTo>
                <a:lnTo>
                  <a:pt x="11" y="229"/>
                </a:lnTo>
                <a:lnTo>
                  <a:pt x="12" y="228"/>
                </a:lnTo>
                <a:lnTo>
                  <a:pt x="14" y="228"/>
                </a:lnTo>
                <a:lnTo>
                  <a:pt x="14" y="227"/>
                </a:lnTo>
                <a:lnTo>
                  <a:pt x="12" y="226"/>
                </a:lnTo>
                <a:lnTo>
                  <a:pt x="12" y="224"/>
                </a:lnTo>
                <a:lnTo>
                  <a:pt x="12" y="222"/>
                </a:lnTo>
                <a:lnTo>
                  <a:pt x="12" y="221"/>
                </a:lnTo>
                <a:lnTo>
                  <a:pt x="12" y="220"/>
                </a:lnTo>
                <a:lnTo>
                  <a:pt x="12" y="219"/>
                </a:lnTo>
                <a:lnTo>
                  <a:pt x="12" y="219"/>
                </a:lnTo>
                <a:lnTo>
                  <a:pt x="12" y="218"/>
                </a:lnTo>
                <a:lnTo>
                  <a:pt x="11" y="217"/>
                </a:lnTo>
                <a:lnTo>
                  <a:pt x="11" y="215"/>
                </a:lnTo>
                <a:lnTo>
                  <a:pt x="10" y="215"/>
                </a:lnTo>
                <a:lnTo>
                  <a:pt x="10" y="212"/>
                </a:lnTo>
                <a:lnTo>
                  <a:pt x="9" y="212"/>
                </a:lnTo>
                <a:lnTo>
                  <a:pt x="9" y="211"/>
                </a:lnTo>
                <a:lnTo>
                  <a:pt x="7" y="210"/>
                </a:lnTo>
                <a:lnTo>
                  <a:pt x="7" y="211"/>
                </a:lnTo>
                <a:lnTo>
                  <a:pt x="6" y="211"/>
                </a:lnTo>
                <a:lnTo>
                  <a:pt x="5" y="211"/>
                </a:lnTo>
                <a:lnTo>
                  <a:pt x="5" y="209"/>
                </a:lnTo>
                <a:lnTo>
                  <a:pt x="2" y="206"/>
                </a:lnTo>
                <a:lnTo>
                  <a:pt x="2" y="205"/>
                </a:lnTo>
                <a:lnTo>
                  <a:pt x="4" y="202"/>
                </a:lnTo>
                <a:lnTo>
                  <a:pt x="4" y="201"/>
                </a:lnTo>
                <a:lnTo>
                  <a:pt x="2" y="199"/>
                </a:lnTo>
                <a:lnTo>
                  <a:pt x="2" y="197"/>
                </a:lnTo>
                <a:lnTo>
                  <a:pt x="2" y="195"/>
                </a:lnTo>
                <a:lnTo>
                  <a:pt x="1" y="194"/>
                </a:lnTo>
                <a:lnTo>
                  <a:pt x="1" y="194"/>
                </a:lnTo>
                <a:lnTo>
                  <a:pt x="0" y="192"/>
                </a:lnTo>
                <a:lnTo>
                  <a:pt x="0" y="192"/>
                </a:lnTo>
                <a:lnTo>
                  <a:pt x="0" y="190"/>
                </a:lnTo>
                <a:lnTo>
                  <a:pt x="0" y="188"/>
                </a:lnTo>
                <a:lnTo>
                  <a:pt x="0" y="187"/>
                </a:lnTo>
                <a:lnTo>
                  <a:pt x="0" y="186"/>
                </a:lnTo>
                <a:lnTo>
                  <a:pt x="7" y="179"/>
                </a:lnTo>
                <a:lnTo>
                  <a:pt x="9" y="174"/>
                </a:lnTo>
                <a:lnTo>
                  <a:pt x="10" y="169"/>
                </a:lnTo>
                <a:lnTo>
                  <a:pt x="11" y="166"/>
                </a:lnTo>
                <a:lnTo>
                  <a:pt x="12" y="166"/>
                </a:lnTo>
                <a:lnTo>
                  <a:pt x="14" y="166"/>
                </a:lnTo>
                <a:lnTo>
                  <a:pt x="14" y="166"/>
                </a:lnTo>
                <a:lnTo>
                  <a:pt x="15" y="167"/>
                </a:lnTo>
                <a:lnTo>
                  <a:pt x="16" y="167"/>
                </a:lnTo>
                <a:lnTo>
                  <a:pt x="17" y="171"/>
                </a:lnTo>
                <a:lnTo>
                  <a:pt x="20" y="178"/>
                </a:lnTo>
                <a:lnTo>
                  <a:pt x="25" y="179"/>
                </a:lnTo>
                <a:lnTo>
                  <a:pt x="25" y="179"/>
                </a:lnTo>
                <a:lnTo>
                  <a:pt x="32" y="171"/>
                </a:lnTo>
                <a:lnTo>
                  <a:pt x="58" y="172"/>
                </a:lnTo>
                <a:lnTo>
                  <a:pt x="79" y="172"/>
                </a:lnTo>
                <a:lnTo>
                  <a:pt x="100" y="174"/>
                </a:lnTo>
                <a:lnTo>
                  <a:pt x="105" y="174"/>
                </a:lnTo>
                <a:lnTo>
                  <a:pt x="109" y="158"/>
                </a:lnTo>
                <a:lnTo>
                  <a:pt x="102" y="156"/>
                </a:lnTo>
                <a:lnTo>
                  <a:pt x="100" y="138"/>
                </a:lnTo>
                <a:lnTo>
                  <a:pt x="99" y="120"/>
                </a:lnTo>
                <a:lnTo>
                  <a:pt x="98" y="104"/>
                </a:lnTo>
                <a:lnTo>
                  <a:pt x="96" y="86"/>
                </a:lnTo>
                <a:lnTo>
                  <a:pt x="95" y="69"/>
                </a:lnTo>
                <a:lnTo>
                  <a:pt x="93" y="52"/>
                </a:lnTo>
                <a:lnTo>
                  <a:pt x="92" y="35"/>
                </a:lnTo>
                <a:lnTo>
                  <a:pt x="90" y="17"/>
                </a:lnTo>
                <a:lnTo>
                  <a:pt x="89" y="0"/>
                </a:lnTo>
                <a:lnTo>
                  <a:pt x="117" y="0"/>
                </a:lnTo>
                <a:lnTo>
                  <a:pt x="135" y="1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71" name="Freeform 1271"/>
          <p:cNvSpPr>
            <a:spLocks/>
          </p:cNvSpPr>
          <p:nvPr/>
        </p:nvSpPr>
        <p:spPr bwMode="auto">
          <a:xfrm>
            <a:off x="4043362" y="2855878"/>
            <a:ext cx="411162" cy="427038"/>
          </a:xfrm>
          <a:custGeom>
            <a:avLst/>
            <a:gdLst>
              <a:gd name="T0" fmla="*/ 210 w 259"/>
              <a:gd name="T1" fmla="*/ 75 h 269"/>
              <a:gd name="T2" fmla="*/ 219 w 259"/>
              <a:gd name="T3" fmla="*/ 79 h 269"/>
              <a:gd name="T4" fmla="*/ 226 w 259"/>
              <a:gd name="T5" fmla="*/ 86 h 269"/>
              <a:gd name="T6" fmla="*/ 234 w 259"/>
              <a:gd name="T7" fmla="*/ 89 h 269"/>
              <a:gd name="T8" fmla="*/ 242 w 259"/>
              <a:gd name="T9" fmla="*/ 94 h 269"/>
              <a:gd name="T10" fmla="*/ 243 w 259"/>
              <a:gd name="T11" fmla="*/ 98 h 269"/>
              <a:gd name="T12" fmla="*/ 243 w 259"/>
              <a:gd name="T13" fmla="*/ 104 h 269"/>
              <a:gd name="T14" fmla="*/ 248 w 259"/>
              <a:gd name="T15" fmla="*/ 110 h 269"/>
              <a:gd name="T16" fmla="*/ 258 w 259"/>
              <a:gd name="T17" fmla="*/ 107 h 269"/>
              <a:gd name="T18" fmla="*/ 259 w 259"/>
              <a:gd name="T19" fmla="*/ 162 h 269"/>
              <a:gd name="T20" fmla="*/ 249 w 259"/>
              <a:gd name="T21" fmla="*/ 171 h 269"/>
              <a:gd name="T22" fmla="*/ 240 w 259"/>
              <a:gd name="T23" fmla="*/ 175 h 269"/>
              <a:gd name="T24" fmla="*/ 196 w 259"/>
              <a:gd name="T25" fmla="*/ 182 h 269"/>
              <a:gd name="T26" fmla="*/ 162 w 259"/>
              <a:gd name="T27" fmla="*/ 198 h 269"/>
              <a:gd name="T28" fmla="*/ 136 w 259"/>
              <a:gd name="T29" fmla="*/ 212 h 269"/>
              <a:gd name="T30" fmla="*/ 127 w 259"/>
              <a:gd name="T31" fmla="*/ 226 h 269"/>
              <a:gd name="T32" fmla="*/ 115 w 259"/>
              <a:gd name="T33" fmla="*/ 242 h 269"/>
              <a:gd name="T34" fmla="*/ 109 w 259"/>
              <a:gd name="T35" fmla="*/ 262 h 269"/>
              <a:gd name="T36" fmla="*/ 103 w 259"/>
              <a:gd name="T37" fmla="*/ 265 h 269"/>
              <a:gd name="T38" fmla="*/ 97 w 259"/>
              <a:gd name="T39" fmla="*/ 268 h 269"/>
              <a:gd name="T40" fmla="*/ 93 w 259"/>
              <a:gd name="T41" fmla="*/ 262 h 269"/>
              <a:gd name="T42" fmla="*/ 90 w 259"/>
              <a:gd name="T43" fmla="*/ 262 h 269"/>
              <a:gd name="T44" fmla="*/ 87 w 259"/>
              <a:gd name="T45" fmla="*/ 264 h 269"/>
              <a:gd name="T46" fmla="*/ 81 w 259"/>
              <a:gd name="T47" fmla="*/ 268 h 269"/>
              <a:gd name="T48" fmla="*/ 77 w 259"/>
              <a:gd name="T49" fmla="*/ 267 h 269"/>
              <a:gd name="T50" fmla="*/ 73 w 259"/>
              <a:gd name="T51" fmla="*/ 265 h 269"/>
              <a:gd name="T52" fmla="*/ 69 w 259"/>
              <a:gd name="T53" fmla="*/ 266 h 269"/>
              <a:gd name="T54" fmla="*/ 65 w 259"/>
              <a:gd name="T55" fmla="*/ 267 h 269"/>
              <a:gd name="T56" fmla="*/ 60 w 259"/>
              <a:gd name="T57" fmla="*/ 255 h 269"/>
              <a:gd name="T58" fmla="*/ 55 w 259"/>
              <a:gd name="T59" fmla="*/ 256 h 269"/>
              <a:gd name="T60" fmla="*/ 58 w 259"/>
              <a:gd name="T61" fmla="*/ 250 h 269"/>
              <a:gd name="T62" fmla="*/ 58 w 259"/>
              <a:gd name="T63" fmla="*/ 247 h 269"/>
              <a:gd name="T64" fmla="*/ 52 w 259"/>
              <a:gd name="T65" fmla="*/ 242 h 269"/>
              <a:gd name="T66" fmla="*/ 51 w 259"/>
              <a:gd name="T67" fmla="*/ 232 h 269"/>
              <a:gd name="T68" fmla="*/ 49 w 259"/>
              <a:gd name="T69" fmla="*/ 227 h 269"/>
              <a:gd name="T70" fmla="*/ 44 w 259"/>
              <a:gd name="T71" fmla="*/ 227 h 269"/>
              <a:gd name="T72" fmla="*/ 39 w 259"/>
              <a:gd name="T73" fmla="*/ 234 h 269"/>
              <a:gd name="T74" fmla="*/ 28 w 259"/>
              <a:gd name="T75" fmla="*/ 231 h 269"/>
              <a:gd name="T76" fmla="*/ 22 w 259"/>
              <a:gd name="T77" fmla="*/ 237 h 269"/>
              <a:gd name="T78" fmla="*/ 15 w 259"/>
              <a:gd name="T79" fmla="*/ 236 h 269"/>
              <a:gd name="T80" fmla="*/ 11 w 259"/>
              <a:gd name="T81" fmla="*/ 230 h 269"/>
              <a:gd name="T82" fmla="*/ 12 w 259"/>
              <a:gd name="T83" fmla="*/ 226 h 269"/>
              <a:gd name="T84" fmla="*/ 12 w 259"/>
              <a:gd name="T85" fmla="*/ 219 h 269"/>
              <a:gd name="T86" fmla="*/ 10 w 259"/>
              <a:gd name="T87" fmla="*/ 215 h 269"/>
              <a:gd name="T88" fmla="*/ 7 w 259"/>
              <a:gd name="T89" fmla="*/ 211 h 269"/>
              <a:gd name="T90" fmla="*/ 2 w 259"/>
              <a:gd name="T91" fmla="*/ 205 h 269"/>
              <a:gd name="T92" fmla="*/ 2 w 259"/>
              <a:gd name="T93" fmla="*/ 195 h 269"/>
              <a:gd name="T94" fmla="*/ 0 w 259"/>
              <a:gd name="T95" fmla="*/ 190 h 269"/>
              <a:gd name="T96" fmla="*/ 9 w 259"/>
              <a:gd name="T97" fmla="*/ 174 h 269"/>
              <a:gd name="T98" fmla="*/ 14 w 259"/>
              <a:gd name="T99" fmla="*/ 166 h 269"/>
              <a:gd name="T100" fmla="*/ 25 w 259"/>
              <a:gd name="T101" fmla="*/ 179 h 269"/>
              <a:gd name="T102" fmla="*/ 100 w 259"/>
              <a:gd name="T103" fmla="*/ 174 h 269"/>
              <a:gd name="T104" fmla="*/ 99 w 259"/>
              <a:gd name="T105" fmla="*/ 120 h 269"/>
              <a:gd name="T106" fmla="*/ 92 w 259"/>
              <a:gd name="T107" fmla="*/ 35 h 2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59" h="269">
                <a:moveTo>
                  <a:pt x="135" y="14"/>
                </a:moveTo>
                <a:lnTo>
                  <a:pt x="210" y="69"/>
                </a:lnTo>
                <a:lnTo>
                  <a:pt x="210" y="70"/>
                </a:lnTo>
                <a:lnTo>
                  <a:pt x="211" y="71"/>
                </a:lnTo>
                <a:lnTo>
                  <a:pt x="210" y="75"/>
                </a:lnTo>
                <a:lnTo>
                  <a:pt x="211" y="76"/>
                </a:lnTo>
                <a:lnTo>
                  <a:pt x="212" y="77"/>
                </a:lnTo>
                <a:lnTo>
                  <a:pt x="214" y="77"/>
                </a:lnTo>
                <a:lnTo>
                  <a:pt x="218" y="79"/>
                </a:lnTo>
                <a:lnTo>
                  <a:pt x="219" y="79"/>
                </a:lnTo>
                <a:lnTo>
                  <a:pt x="219" y="81"/>
                </a:lnTo>
                <a:lnTo>
                  <a:pt x="219" y="83"/>
                </a:lnTo>
                <a:lnTo>
                  <a:pt x="221" y="85"/>
                </a:lnTo>
                <a:lnTo>
                  <a:pt x="223" y="86"/>
                </a:lnTo>
                <a:lnTo>
                  <a:pt x="226" y="86"/>
                </a:lnTo>
                <a:lnTo>
                  <a:pt x="228" y="86"/>
                </a:lnTo>
                <a:lnTo>
                  <a:pt x="229" y="86"/>
                </a:lnTo>
                <a:lnTo>
                  <a:pt x="230" y="89"/>
                </a:lnTo>
                <a:lnTo>
                  <a:pt x="231" y="89"/>
                </a:lnTo>
                <a:lnTo>
                  <a:pt x="234" y="89"/>
                </a:lnTo>
                <a:lnTo>
                  <a:pt x="235" y="90"/>
                </a:lnTo>
                <a:lnTo>
                  <a:pt x="237" y="90"/>
                </a:lnTo>
                <a:lnTo>
                  <a:pt x="239" y="91"/>
                </a:lnTo>
                <a:lnTo>
                  <a:pt x="241" y="93"/>
                </a:lnTo>
                <a:lnTo>
                  <a:pt x="242" y="94"/>
                </a:lnTo>
                <a:lnTo>
                  <a:pt x="243" y="95"/>
                </a:lnTo>
                <a:lnTo>
                  <a:pt x="243" y="95"/>
                </a:lnTo>
                <a:lnTo>
                  <a:pt x="243" y="96"/>
                </a:lnTo>
                <a:lnTo>
                  <a:pt x="243" y="97"/>
                </a:lnTo>
                <a:lnTo>
                  <a:pt x="243" y="98"/>
                </a:lnTo>
                <a:lnTo>
                  <a:pt x="244" y="99"/>
                </a:lnTo>
                <a:lnTo>
                  <a:pt x="244" y="100"/>
                </a:lnTo>
                <a:lnTo>
                  <a:pt x="243" y="101"/>
                </a:lnTo>
                <a:lnTo>
                  <a:pt x="242" y="101"/>
                </a:lnTo>
                <a:lnTo>
                  <a:pt x="243" y="104"/>
                </a:lnTo>
                <a:lnTo>
                  <a:pt x="242" y="106"/>
                </a:lnTo>
                <a:lnTo>
                  <a:pt x="242" y="107"/>
                </a:lnTo>
                <a:lnTo>
                  <a:pt x="244" y="109"/>
                </a:lnTo>
                <a:lnTo>
                  <a:pt x="245" y="110"/>
                </a:lnTo>
                <a:lnTo>
                  <a:pt x="248" y="110"/>
                </a:lnTo>
                <a:lnTo>
                  <a:pt x="251" y="108"/>
                </a:lnTo>
                <a:lnTo>
                  <a:pt x="253" y="108"/>
                </a:lnTo>
                <a:lnTo>
                  <a:pt x="255" y="107"/>
                </a:lnTo>
                <a:lnTo>
                  <a:pt x="258" y="106"/>
                </a:lnTo>
                <a:lnTo>
                  <a:pt x="258" y="107"/>
                </a:lnTo>
                <a:lnTo>
                  <a:pt x="258" y="107"/>
                </a:lnTo>
                <a:lnTo>
                  <a:pt x="258" y="111"/>
                </a:lnTo>
                <a:lnTo>
                  <a:pt x="258" y="128"/>
                </a:lnTo>
                <a:lnTo>
                  <a:pt x="258" y="146"/>
                </a:lnTo>
                <a:lnTo>
                  <a:pt x="259" y="162"/>
                </a:lnTo>
                <a:lnTo>
                  <a:pt x="257" y="164"/>
                </a:lnTo>
                <a:lnTo>
                  <a:pt x="254" y="165"/>
                </a:lnTo>
                <a:lnTo>
                  <a:pt x="253" y="167"/>
                </a:lnTo>
                <a:lnTo>
                  <a:pt x="253" y="169"/>
                </a:lnTo>
                <a:lnTo>
                  <a:pt x="249" y="171"/>
                </a:lnTo>
                <a:lnTo>
                  <a:pt x="248" y="172"/>
                </a:lnTo>
                <a:lnTo>
                  <a:pt x="248" y="174"/>
                </a:lnTo>
                <a:lnTo>
                  <a:pt x="248" y="176"/>
                </a:lnTo>
                <a:lnTo>
                  <a:pt x="244" y="175"/>
                </a:lnTo>
                <a:lnTo>
                  <a:pt x="240" y="175"/>
                </a:lnTo>
                <a:lnTo>
                  <a:pt x="240" y="176"/>
                </a:lnTo>
                <a:lnTo>
                  <a:pt x="239" y="176"/>
                </a:lnTo>
                <a:lnTo>
                  <a:pt x="213" y="176"/>
                </a:lnTo>
                <a:lnTo>
                  <a:pt x="206" y="182"/>
                </a:lnTo>
                <a:lnTo>
                  <a:pt x="196" y="182"/>
                </a:lnTo>
                <a:lnTo>
                  <a:pt x="186" y="182"/>
                </a:lnTo>
                <a:lnTo>
                  <a:pt x="180" y="185"/>
                </a:lnTo>
                <a:lnTo>
                  <a:pt x="178" y="186"/>
                </a:lnTo>
                <a:lnTo>
                  <a:pt x="173" y="190"/>
                </a:lnTo>
                <a:lnTo>
                  <a:pt x="162" y="198"/>
                </a:lnTo>
                <a:lnTo>
                  <a:pt x="159" y="204"/>
                </a:lnTo>
                <a:lnTo>
                  <a:pt x="153" y="207"/>
                </a:lnTo>
                <a:lnTo>
                  <a:pt x="142" y="211"/>
                </a:lnTo>
                <a:lnTo>
                  <a:pt x="139" y="212"/>
                </a:lnTo>
                <a:lnTo>
                  <a:pt x="136" y="212"/>
                </a:lnTo>
                <a:lnTo>
                  <a:pt x="133" y="214"/>
                </a:lnTo>
                <a:lnTo>
                  <a:pt x="131" y="215"/>
                </a:lnTo>
                <a:lnTo>
                  <a:pt x="130" y="217"/>
                </a:lnTo>
                <a:lnTo>
                  <a:pt x="128" y="220"/>
                </a:lnTo>
                <a:lnTo>
                  <a:pt x="127" y="226"/>
                </a:lnTo>
                <a:lnTo>
                  <a:pt x="125" y="231"/>
                </a:lnTo>
                <a:lnTo>
                  <a:pt x="123" y="235"/>
                </a:lnTo>
                <a:lnTo>
                  <a:pt x="118" y="238"/>
                </a:lnTo>
                <a:lnTo>
                  <a:pt x="116" y="241"/>
                </a:lnTo>
                <a:lnTo>
                  <a:pt x="115" y="242"/>
                </a:lnTo>
                <a:lnTo>
                  <a:pt x="112" y="246"/>
                </a:lnTo>
                <a:lnTo>
                  <a:pt x="112" y="249"/>
                </a:lnTo>
                <a:lnTo>
                  <a:pt x="110" y="255"/>
                </a:lnTo>
                <a:lnTo>
                  <a:pt x="109" y="258"/>
                </a:lnTo>
                <a:lnTo>
                  <a:pt x="109" y="262"/>
                </a:lnTo>
                <a:lnTo>
                  <a:pt x="110" y="267"/>
                </a:lnTo>
                <a:lnTo>
                  <a:pt x="107" y="267"/>
                </a:lnTo>
                <a:lnTo>
                  <a:pt x="106" y="267"/>
                </a:lnTo>
                <a:lnTo>
                  <a:pt x="105" y="265"/>
                </a:lnTo>
                <a:lnTo>
                  <a:pt x="103" y="265"/>
                </a:lnTo>
                <a:lnTo>
                  <a:pt x="101" y="265"/>
                </a:lnTo>
                <a:lnTo>
                  <a:pt x="100" y="265"/>
                </a:lnTo>
                <a:lnTo>
                  <a:pt x="99" y="267"/>
                </a:lnTo>
                <a:lnTo>
                  <a:pt x="98" y="267"/>
                </a:lnTo>
                <a:lnTo>
                  <a:pt x="97" y="268"/>
                </a:lnTo>
                <a:lnTo>
                  <a:pt x="95" y="268"/>
                </a:lnTo>
                <a:lnTo>
                  <a:pt x="95" y="267"/>
                </a:lnTo>
                <a:lnTo>
                  <a:pt x="95" y="264"/>
                </a:lnTo>
                <a:lnTo>
                  <a:pt x="93" y="262"/>
                </a:lnTo>
                <a:lnTo>
                  <a:pt x="93" y="262"/>
                </a:lnTo>
                <a:lnTo>
                  <a:pt x="93" y="260"/>
                </a:lnTo>
                <a:lnTo>
                  <a:pt x="93" y="259"/>
                </a:lnTo>
                <a:lnTo>
                  <a:pt x="92" y="260"/>
                </a:lnTo>
                <a:lnTo>
                  <a:pt x="90" y="260"/>
                </a:lnTo>
                <a:lnTo>
                  <a:pt x="90" y="262"/>
                </a:lnTo>
                <a:lnTo>
                  <a:pt x="89" y="262"/>
                </a:lnTo>
                <a:lnTo>
                  <a:pt x="88" y="261"/>
                </a:lnTo>
                <a:lnTo>
                  <a:pt x="87" y="261"/>
                </a:lnTo>
                <a:lnTo>
                  <a:pt x="87" y="261"/>
                </a:lnTo>
                <a:lnTo>
                  <a:pt x="87" y="264"/>
                </a:lnTo>
                <a:lnTo>
                  <a:pt x="87" y="265"/>
                </a:lnTo>
                <a:lnTo>
                  <a:pt x="86" y="266"/>
                </a:lnTo>
                <a:lnTo>
                  <a:pt x="82" y="266"/>
                </a:lnTo>
                <a:lnTo>
                  <a:pt x="81" y="267"/>
                </a:lnTo>
                <a:lnTo>
                  <a:pt x="81" y="268"/>
                </a:lnTo>
                <a:lnTo>
                  <a:pt x="80" y="269"/>
                </a:lnTo>
                <a:lnTo>
                  <a:pt x="79" y="269"/>
                </a:lnTo>
                <a:lnTo>
                  <a:pt x="78" y="269"/>
                </a:lnTo>
                <a:lnTo>
                  <a:pt x="77" y="267"/>
                </a:lnTo>
                <a:lnTo>
                  <a:pt x="77" y="267"/>
                </a:lnTo>
                <a:lnTo>
                  <a:pt x="76" y="268"/>
                </a:lnTo>
                <a:lnTo>
                  <a:pt x="76" y="268"/>
                </a:lnTo>
                <a:lnTo>
                  <a:pt x="75" y="268"/>
                </a:lnTo>
                <a:lnTo>
                  <a:pt x="75" y="266"/>
                </a:lnTo>
                <a:lnTo>
                  <a:pt x="73" y="265"/>
                </a:lnTo>
                <a:lnTo>
                  <a:pt x="72" y="264"/>
                </a:lnTo>
                <a:lnTo>
                  <a:pt x="71" y="265"/>
                </a:lnTo>
                <a:lnTo>
                  <a:pt x="70" y="265"/>
                </a:lnTo>
                <a:lnTo>
                  <a:pt x="69" y="265"/>
                </a:lnTo>
                <a:lnTo>
                  <a:pt x="69" y="266"/>
                </a:lnTo>
                <a:lnTo>
                  <a:pt x="68" y="267"/>
                </a:lnTo>
                <a:lnTo>
                  <a:pt x="67" y="268"/>
                </a:lnTo>
                <a:lnTo>
                  <a:pt x="66" y="269"/>
                </a:lnTo>
                <a:lnTo>
                  <a:pt x="66" y="268"/>
                </a:lnTo>
                <a:lnTo>
                  <a:pt x="65" y="267"/>
                </a:lnTo>
                <a:lnTo>
                  <a:pt x="64" y="266"/>
                </a:lnTo>
                <a:lnTo>
                  <a:pt x="64" y="265"/>
                </a:lnTo>
                <a:lnTo>
                  <a:pt x="61" y="265"/>
                </a:lnTo>
                <a:lnTo>
                  <a:pt x="60" y="262"/>
                </a:lnTo>
                <a:lnTo>
                  <a:pt x="60" y="255"/>
                </a:lnTo>
                <a:lnTo>
                  <a:pt x="60" y="254"/>
                </a:lnTo>
                <a:lnTo>
                  <a:pt x="59" y="254"/>
                </a:lnTo>
                <a:lnTo>
                  <a:pt x="57" y="254"/>
                </a:lnTo>
                <a:lnTo>
                  <a:pt x="56" y="256"/>
                </a:lnTo>
                <a:lnTo>
                  <a:pt x="55" y="256"/>
                </a:lnTo>
                <a:lnTo>
                  <a:pt x="55" y="254"/>
                </a:lnTo>
                <a:lnTo>
                  <a:pt x="55" y="252"/>
                </a:lnTo>
                <a:lnTo>
                  <a:pt x="57" y="251"/>
                </a:lnTo>
                <a:lnTo>
                  <a:pt x="57" y="250"/>
                </a:lnTo>
                <a:lnTo>
                  <a:pt x="58" y="250"/>
                </a:lnTo>
                <a:lnTo>
                  <a:pt x="58" y="249"/>
                </a:lnTo>
                <a:lnTo>
                  <a:pt x="59" y="249"/>
                </a:lnTo>
                <a:lnTo>
                  <a:pt x="59" y="247"/>
                </a:lnTo>
                <a:lnTo>
                  <a:pt x="59" y="247"/>
                </a:lnTo>
                <a:lnTo>
                  <a:pt x="58" y="247"/>
                </a:lnTo>
                <a:lnTo>
                  <a:pt x="57" y="246"/>
                </a:lnTo>
                <a:lnTo>
                  <a:pt x="56" y="245"/>
                </a:lnTo>
                <a:lnTo>
                  <a:pt x="55" y="242"/>
                </a:lnTo>
                <a:lnTo>
                  <a:pt x="52" y="242"/>
                </a:lnTo>
                <a:lnTo>
                  <a:pt x="52" y="242"/>
                </a:lnTo>
                <a:lnTo>
                  <a:pt x="52" y="237"/>
                </a:lnTo>
                <a:lnTo>
                  <a:pt x="52" y="235"/>
                </a:lnTo>
                <a:lnTo>
                  <a:pt x="51" y="235"/>
                </a:lnTo>
                <a:lnTo>
                  <a:pt x="51" y="232"/>
                </a:lnTo>
                <a:lnTo>
                  <a:pt x="51" y="232"/>
                </a:lnTo>
                <a:lnTo>
                  <a:pt x="50" y="232"/>
                </a:lnTo>
                <a:lnTo>
                  <a:pt x="49" y="232"/>
                </a:lnTo>
                <a:lnTo>
                  <a:pt x="50" y="228"/>
                </a:lnTo>
                <a:lnTo>
                  <a:pt x="50" y="228"/>
                </a:lnTo>
                <a:lnTo>
                  <a:pt x="49" y="227"/>
                </a:lnTo>
                <a:lnTo>
                  <a:pt x="48" y="227"/>
                </a:lnTo>
                <a:lnTo>
                  <a:pt x="47" y="228"/>
                </a:lnTo>
                <a:lnTo>
                  <a:pt x="47" y="228"/>
                </a:lnTo>
                <a:lnTo>
                  <a:pt x="45" y="227"/>
                </a:lnTo>
                <a:lnTo>
                  <a:pt x="44" y="227"/>
                </a:lnTo>
                <a:lnTo>
                  <a:pt x="44" y="227"/>
                </a:lnTo>
                <a:lnTo>
                  <a:pt x="44" y="230"/>
                </a:lnTo>
                <a:lnTo>
                  <a:pt x="42" y="231"/>
                </a:lnTo>
                <a:lnTo>
                  <a:pt x="39" y="232"/>
                </a:lnTo>
                <a:lnTo>
                  <a:pt x="39" y="234"/>
                </a:lnTo>
                <a:lnTo>
                  <a:pt x="38" y="236"/>
                </a:lnTo>
                <a:lnTo>
                  <a:pt x="34" y="234"/>
                </a:lnTo>
                <a:lnTo>
                  <a:pt x="31" y="232"/>
                </a:lnTo>
                <a:lnTo>
                  <a:pt x="29" y="231"/>
                </a:lnTo>
                <a:lnTo>
                  <a:pt x="28" y="231"/>
                </a:lnTo>
                <a:lnTo>
                  <a:pt x="27" y="234"/>
                </a:lnTo>
                <a:lnTo>
                  <a:pt x="26" y="235"/>
                </a:lnTo>
                <a:lnTo>
                  <a:pt x="25" y="236"/>
                </a:lnTo>
                <a:lnTo>
                  <a:pt x="24" y="237"/>
                </a:lnTo>
                <a:lnTo>
                  <a:pt x="22" y="237"/>
                </a:lnTo>
                <a:lnTo>
                  <a:pt x="20" y="232"/>
                </a:lnTo>
                <a:lnTo>
                  <a:pt x="19" y="232"/>
                </a:lnTo>
                <a:lnTo>
                  <a:pt x="17" y="232"/>
                </a:lnTo>
                <a:lnTo>
                  <a:pt x="16" y="235"/>
                </a:lnTo>
                <a:lnTo>
                  <a:pt x="15" y="236"/>
                </a:lnTo>
                <a:lnTo>
                  <a:pt x="14" y="236"/>
                </a:lnTo>
                <a:lnTo>
                  <a:pt x="11" y="235"/>
                </a:lnTo>
                <a:lnTo>
                  <a:pt x="10" y="234"/>
                </a:lnTo>
                <a:lnTo>
                  <a:pt x="10" y="232"/>
                </a:lnTo>
                <a:lnTo>
                  <a:pt x="11" y="230"/>
                </a:lnTo>
                <a:lnTo>
                  <a:pt x="11" y="229"/>
                </a:lnTo>
                <a:lnTo>
                  <a:pt x="12" y="228"/>
                </a:lnTo>
                <a:lnTo>
                  <a:pt x="14" y="228"/>
                </a:lnTo>
                <a:lnTo>
                  <a:pt x="14" y="227"/>
                </a:lnTo>
                <a:lnTo>
                  <a:pt x="12" y="226"/>
                </a:lnTo>
                <a:lnTo>
                  <a:pt x="12" y="224"/>
                </a:lnTo>
                <a:lnTo>
                  <a:pt x="12" y="222"/>
                </a:lnTo>
                <a:lnTo>
                  <a:pt x="12" y="221"/>
                </a:lnTo>
                <a:lnTo>
                  <a:pt x="12" y="220"/>
                </a:lnTo>
                <a:lnTo>
                  <a:pt x="12" y="219"/>
                </a:lnTo>
                <a:lnTo>
                  <a:pt x="12" y="219"/>
                </a:lnTo>
                <a:lnTo>
                  <a:pt x="12" y="218"/>
                </a:lnTo>
                <a:lnTo>
                  <a:pt x="11" y="217"/>
                </a:lnTo>
                <a:lnTo>
                  <a:pt x="11" y="215"/>
                </a:lnTo>
                <a:lnTo>
                  <a:pt x="10" y="215"/>
                </a:lnTo>
                <a:lnTo>
                  <a:pt x="10" y="212"/>
                </a:lnTo>
                <a:lnTo>
                  <a:pt x="9" y="212"/>
                </a:lnTo>
                <a:lnTo>
                  <a:pt x="9" y="211"/>
                </a:lnTo>
                <a:lnTo>
                  <a:pt x="7" y="210"/>
                </a:lnTo>
                <a:lnTo>
                  <a:pt x="7" y="211"/>
                </a:lnTo>
                <a:lnTo>
                  <a:pt x="6" y="211"/>
                </a:lnTo>
                <a:lnTo>
                  <a:pt x="5" y="211"/>
                </a:lnTo>
                <a:lnTo>
                  <a:pt x="5" y="209"/>
                </a:lnTo>
                <a:lnTo>
                  <a:pt x="2" y="206"/>
                </a:lnTo>
                <a:lnTo>
                  <a:pt x="2" y="205"/>
                </a:lnTo>
                <a:lnTo>
                  <a:pt x="4" y="202"/>
                </a:lnTo>
                <a:lnTo>
                  <a:pt x="4" y="201"/>
                </a:lnTo>
                <a:lnTo>
                  <a:pt x="2" y="199"/>
                </a:lnTo>
                <a:lnTo>
                  <a:pt x="2" y="197"/>
                </a:lnTo>
                <a:lnTo>
                  <a:pt x="2" y="195"/>
                </a:lnTo>
                <a:lnTo>
                  <a:pt x="1" y="194"/>
                </a:lnTo>
                <a:lnTo>
                  <a:pt x="1" y="194"/>
                </a:lnTo>
                <a:lnTo>
                  <a:pt x="0" y="192"/>
                </a:lnTo>
                <a:lnTo>
                  <a:pt x="0" y="192"/>
                </a:lnTo>
                <a:lnTo>
                  <a:pt x="0" y="190"/>
                </a:lnTo>
                <a:lnTo>
                  <a:pt x="0" y="188"/>
                </a:lnTo>
                <a:lnTo>
                  <a:pt x="0" y="187"/>
                </a:lnTo>
                <a:lnTo>
                  <a:pt x="0" y="186"/>
                </a:lnTo>
                <a:lnTo>
                  <a:pt x="7" y="179"/>
                </a:lnTo>
                <a:lnTo>
                  <a:pt x="9" y="174"/>
                </a:lnTo>
                <a:lnTo>
                  <a:pt x="10" y="169"/>
                </a:lnTo>
                <a:lnTo>
                  <a:pt x="11" y="166"/>
                </a:lnTo>
                <a:lnTo>
                  <a:pt x="12" y="166"/>
                </a:lnTo>
                <a:lnTo>
                  <a:pt x="14" y="166"/>
                </a:lnTo>
                <a:lnTo>
                  <a:pt x="14" y="166"/>
                </a:lnTo>
                <a:lnTo>
                  <a:pt x="15" y="167"/>
                </a:lnTo>
                <a:lnTo>
                  <a:pt x="16" y="167"/>
                </a:lnTo>
                <a:lnTo>
                  <a:pt x="17" y="171"/>
                </a:lnTo>
                <a:lnTo>
                  <a:pt x="20" y="178"/>
                </a:lnTo>
                <a:lnTo>
                  <a:pt x="25" y="179"/>
                </a:lnTo>
                <a:lnTo>
                  <a:pt x="25" y="179"/>
                </a:lnTo>
                <a:lnTo>
                  <a:pt x="32" y="171"/>
                </a:lnTo>
                <a:lnTo>
                  <a:pt x="58" y="172"/>
                </a:lnTo>
                <a:lnTo>
                  <a:pt x="79" y="172"/>
                </a:lnTo>
                <a:lnTo>
                  <a:pt x="100" y="174"/>
                </a:lnTo>
                <a:lnTo>
                  <a:pt x="105" y="174"/>
                </a:lnTo>
                <a:lnTo>
                  <a:pt x="109" y="158"/>
                </a:lnTo>
                <a:lnTo>
                  <a:pt x="102" y="156"/>
                </a:lnTo>
                <a:lnTo>
                  <a:pt x="100" y="138"/>
                </a:lnTo>
                <a:lnTo>
                  <a:pt x="99" y="120"/>
                </a:lnTo>
                <a:lnTo>
                  <a:pt x="98" y="104"/>
                </a:lnTo>
                <a:lnTo>
                  <a:pt x="96" y="86"/>
                </a:lnTo>
                <a:lnTo>
                  <a:pt x="95" y="69"/>
                </a:lnTo>
                <a:lnTo>
                  <a:pt x="93" y="52"/>
                </a:lnTo>
                <a:lnTo>
                  <a:pt x="92" y="35"/>
                </a:lnTo>
                <a:lnTo>
                  <a:pt x="90" y="17"/>
                </a:lnTo>
                <a:lnTo>
                  <a:pt x="89" y="0"/>
                </a:lnTo>
                <a:lnTo>
                  <a:pt x="117" y="0"/>
                </a:lnTo>
                <a:lnTo>
                  <a:pt x="135" y="1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72" name="Freeform 1272"/>
          <p:cNvSpPr>
            <a:spLocks/>
          </p:cNvSpPr>
          <p:nvPr/>
        </p:nvSpPr>
        <p:spPr bwMode="auto">
          <a:xfrm>
            <a:off x="3925887" y="2778090"/>
            <a:ext cx="212725" cy="193675"/>
          </a:xfrm>
          <a:custGeom>
            <a:avLst/>
            <a:gdLst>
              <a:gd name="T0" fmla="*/ 57 w 134"/>
              <a:gd name="T1" fmla="*/ 114 h 122"/>
              <a:gd name="T2" fmla="*/ 43 w 134"/>
              <a:gd name="T3" fmla="*/ 114 h 122"/>
              <a:gd name="T4" fmla="*/ 28 w 134"/>
              <a:gd name="T5" fmla="*/ 114 h 122"/>
              <a:gd name="T6" fmla="*/ 13 w 134"/>
              <a:gd name="T7" fmla="*/ 114 h 122"/>
              <a:gd name="T8" fmla="*/ 5 w 134"/>
              <a:gd name="T9" fmla="*/ 114 h 122"/>
              <a:gd name="T10" fmla="*/ 4 w 134"/>
              <a:gd name="T11" fmla="*/ 116 h 122"/>
              <a:gd name="T12" fmla="*/ 2 w 134"/>
              <a:gd name="T13" fmla="*/ 118 h 122"/>
              <a:gd name="T14" fmla="*/ 1 w 134"/>
              <a:gd name="T15" fmla="*/ 120 h 122"/>
              <a:gd name="T16" fmla="*/ 2 w 134"/>
              <a:gd name="T17" fmla="*/ 120 h 122"/>
              <a:gd name="T18" fmla="*/ 0 w 134"/>
              <a:gd name="T19" fmla="*/ 122 h 122"/>
              <a:gd name="T20" fmla="*/ 0 w 134"/>
              <a:gd name="T21" fmla="*/ 118 h 122"/>
              <a:gd name="T22" fmla="*/ 2 w 134"/>
              <a:gd name="T23" fmla="*/ 107 h 122"/>
              <a:gd name="T24" fmla="*/ 5 w 134"/>
              <a:gd name="T25" fmla="*/ 99 h 122"/>
              <a:gd name="T26" fmla="*/ 9 w 134"/>
              <a:gd name="T27" fmla="*/ 97 h 122"/>
              <a:gd name="T28" fmla="*/ 13 w 134"/>
              <a:gd name="T29" fmla="*/ 89 h 122"/>
              <a:gd name="T30" fmla="*/ 15 w 134"/>
              <a:gd name="T31" fmla="*/ 85 h 122"/>
              <a:gd name="T32" fmla="*/ 14 w 134"/>
              <a:gd name="T33" fmla="*/ 83 h 122"/>
              <a:gd name="T34" fmla="*/ 20 w 134"/>
              <a:gd name="T35" fmla="*/ 74 h 122"/>
              <a:gd name="T36" fmla="*/ 21 w 134"/>
              <a:gd name="T37" fmla="*/ 72 h 122"/>
              <a:gd name="T38" fmla="*/ 22 w 134"/>
              <a:gd name="T39" fmla="*/ 68 h 122"/>
              <a:gd name="T40" fmla="*/ 23 w 134"/>
              <a:gd name="T41" fmla="*/ 66 h 122"/>
              <a:gd name="T42" fmla="*/ 32 w 134"/>
              <a:gd name="T43" fmla="*/ 56 h 122"/>
              <a:gd name="T44" fmla="*/ 37 w 134"/>
              <a:gd name="T45" fmla="*/ 48 h 122"/>
              <a:gd name="T46" fmla="*/ 38 w 134"/>
              <a:gd name="T47" fmla="*/ 43 h 122"/>
              <a:gd name="T48" fmla="*/ 41 w 134"/>
              <a:gd name="T49" fmla="*/ 36 h 122"/>
              <a:gd name="T50" fmla="*/ 42 w 134"/>
              <a:gd name="T51" fmla="*/ 29 h 122"/>
              <a:gd name="T52" fmla="*/ 47 w 134"/>
              <a:gd name="T53" fmla="*/ 24 h 122"/>
              <a:gd name="T54" fmla="*/ 53 w 134"/>
              <a:gd name="T55" fmla="*/ 21 h 122"/>
              <a:gd name="T56" fmla="*/ 58 w 134"/>
              <a:gd name="T57" fmla="*/ 16 h 122"/>
              <a:gd name="T58" fmla="*/ 60 w 134"/>
              <a:gd name="T59" fmla="*/ 12 h 122"/>
              <a:gd name="T60" fmla="*/ 60 w 134"/>
              <a:gd name="T61" fmla="*/ 9 h 122"/>
              <a:gd name="T62" fmla="*/ 62 w 134"/>
              <a:gd name="T63" fmla="*/ 6 h 122"/>
              <a:gd name="T64" fmla="*/ 64 w 134"/>
              <a:gd name="T65" fmla="*/ 2 h 122"/>
              <a:gd name="T66" fmla="*/ 66 w 134"/>
              <a:gd name="T67" fmla="*/ 0 h 122"/>
              <a:gd name="T68" fmla="*/ 69 w 134"/>
              <a:gd name="T69" fmla="*/ 0 h 122"/>
              <a:gd name="T70" fmla="*/ 78 w 134"/>
              <a:gd name="T71" fmla="*/ 0 h 122"/>
              <a:gd name="T72" fmla="*/ 89 w 134"/>
              <a:gd name="T73" fmla="*/ 0 h 122"/>
              <a:gd name="T74" fmla="*/ 100 w 134"/>
              <a:gd name="T75" fmla="*/ 0 h 122"/>
              <a:gd name="T76" fmla="*/ 111 w 134"/>
              <a:gd name="T77" fmla="*/ 0 h 122"/>
              <a:gd name="T78" fmla="*/ 123 w 134"/>
              <a:gd name="T79" fmla="*/ 0 h 122"/>
              <a:gd name="T80" fmla="*/ 134 w 134"/>
              <a:gd name="T81" fmla="*/ 0 h 122"/>
              <a:gd name="T82" fmla="*/ 134 w 134"/>
              <a:gd name="T83" fmla="*/ 9 h 122"/>
              <a:gd name="T84" fmla="*/ 133 w 134"/>
              <a:gd name="T85" fmla="*/ 31 h 122"/>
              <a:gd name="T86" fmla="*/ 119 w 134"/>
              <a:gd name="T87" fmla="*/ 31 h 122"/>
              <a:gd name="T88" fmla="*/ 103 w 134"/>
              <a:gd name="T89" fmla="*/ 31 h 122"/>
              <a:gd name="T90" fmla="*/ 88 w 134"/>
              <a:gd name="T91" fmla="*/ 31 h 122"/>
              <a:gd name="T92" fmla="*/ 83 w 134"/>
              <a:gd name="T93" fmla="*/ 31 h 122"/>
              <a:gd name="T94" fmla="*/ 83 w 134"/>
              <a:gd name="T95" fmla="*/ 47 h 122"/>
              <a:gd name="T96" fmla="*/ 82 w 134"/>
              <a:gd name="T97" fmla="*/ 65 h 122"/>
              <a:gd name="T98" fmla="*/ 82 w 134"/>
              <a:gd name="T99" fmla="*/ 76 h 122"/>
              <a:gd name="T100" fmla="*/ 76 w 134"/>
              <a:gd name="T101" fmla="*/ 78 h 122"/>
              <a:gd name="T102" fmla="*/ 71 w 134"/>
              <a:gd name="T103" fmla="*/ 78 h 122"/>
              <a:gd name="T104" fmla="*/ 66 w 134"/>
              <a:gd name="T105" fmla="*/ 81 h 122"/>
              <a:gd name="T106" fmla="*/ 65 w 134"/>
              <a:gd name="T107" fmla="*/ 82 h 122"/>
              <a:gd name="T108" fmla="*/ 64 w 134"/>
              <a:gd name="T109" fmla="*/ 83 h 122"/>
              <a:gd name="T110" fmla="*/ 63 w 134"/>
              <a:gd name="T111" fmla="*/ 86 h 122"/>
              <a:gd name="T112" fmla="*/ 62 w 134"/>
              <a:gd name="T113" fmla="*/ 89 h 122"/>
              <a:gd name="T114" fmla="*/ 62 w 134"/>
              <a:gd name="T115" fmla="*/ 97 h 122"/>
              <a:gd name="T116" fmla="*/ 63 w 134"/>
              <a:gd name="T117" fmla="*/ 103 h 122"/>
              <a:gd name="T118" fmla="*/ 63 w 134"/>
              <a:gd name="T119" fmla="*/ 109 h 122"/>
              <a:gd name="T120" fmla="*/ 64 w 134"/>
              <a:gd name="T121" fmla="*/ 114 h 122"/>
              <a:gd name="T122" fmla="*/ 57 w 134"/>
              <a:gd name="T123" fmla="*/ 114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34" h="122">
                <a:moveTo>
                  <a:pt x="57" y="114"/>
                </a:moveTo>
                <a:lnTo>
                  <a:pt x="43" y="114"/>
                </a:lnTo>
                <a:lnTo>
                  <a:pt x="28" y="114"/>
                </a:lnTo>
                <a:lnTo>
                  <a:pt x="13" y="114"/>
                </a:lnTo>
                <a:lnTo>
                  <a:pt x="5" y="114"/>
                </a:lnTo>
                <a:lnTo>
                  <a:pt x="4" y="116"/>
                </a:lnTo>
                <a:lnTo>
                  <a:pt x="2" y="118"/>
                </a:lnTo>
                <a:lnTo>
                  <a:pt x="1" y="120"/>
                </a:lnTo>
                <a:lnTo>
                  <a:pt x="2" y="120"/>
                </a:lnTo>
                <a:lnTo>
                  <a:pt x="0" y="122"/>
                </a:lnTo>
                <a:lnTo>
                  <a:pt x="0" y="118"/>
                </a:lnTo>
                <a:lnTo>
                  <a:pt x="2" y="107"/>
                </a:lnTo>
                <a:lnTo>
                  <a:pt x="5" y="99"/>
                </a:lnTo>
                <a:lnTo>
                  <a:pt x="9" y="97"/>
                </a:lnTo>
                <a:lnTo>
                  <a:pt x="13" y="89"/>
                </a:lnTo>
                <a:lnTo>
                  <a:pt x="15" y="85"/>
                </a:lnTo>
                <a:lnTo>
                  <a:pt x="14" y="83"/>
                </a:lnTo>
                <a:lnTo>
                  <a:pt x="20" y="74"/>
                </a:lnTo>
                <a:lnTo>
                  <a:pt x="21" y="72"/>
                </a:lnTo>
                <a:lnTo>
                  <a:pt x="22" y="68"/>
                </a:lnTo>
                <a:lnTo>
                  <a:pt x="23" y="66"/>
                </a:lnTo>
                <a:lnTo>
                  <a:pt x="32" y="56"/>
                </a:lnTo>
                <a:lnTo>
                  <a:pt x="37" y="48"/>
                </a:lnTo>
                <a:lnTo>
                  <a:pt x="38" y="43"/>
                </a:lnTo>
                <a:lnTo>
                  <a:pt x="41" y="36"/>
                </a:lnTo>
                <a:lnTo>
                  <a:pt x="42" y="29"/>
                </a:lnTo>
                <a:lnTo>
                  <a:pt x="47" y="24"/>
                </a:lnTo>
                <a:lnTo>
                  <a:pt x="53" y="21"/>
                </a:lnTo>
                <a:lnTo>
                  <a:pt x="58" y="16"/>
                </a:lnTo>
                <a:lnTo>
                  <a:pt x="60" y="12"/>
                </a:lnTo>
                <a:lnTo>
                  <a:pt x="60" y="9"/>
                </a:lnTo>
                <a:lnTo>
                  <a:pt x="62" y="6"/>
                </a:lnTo>
                <a:lnTo>
                  <a:pt x="64" y="2"/>
                </a:lnTo>
                <a:lnTo>
                  <a:pt x="66" y="0"/>
                </a:lnTo>
                <a:lnTo>
                  <a:pt x="69" y="0"/>
                </a:lnTo>
                <a:lnTo>
                  <a:pt x="78" y="0"/>
                </a:lnTo>
                <a:lnTo>
                  <a:pt x="89" y="0"/>
                </a:lnTo>
                <a:lnTo>
                  <a:pt x="100" y="0"/>
                </a:lnTo>
                <a:lnTo>
                  <a:pt x="111" y="0"/>
                </a:lnTo>
                <a:lnTo>
                  <a:pt x="123" y="0"/>
                </a:lnTo>
                <a:lnTo>
                  <a:pt x="134" y="0"/>
                </a:lnTo>
                <a:lnTo>
                  <a:pt x="134" y="9"/>
                </a:lnTo>
                <a:lnTo>
                  <a:pt x="133" y="31"/>
                </a:lnTo>
                <a:lnTo>
                  <a:pt x="119" y="31"/>
                </a:lnTo>
                <a:lnTo>
                  <a:pt x="103" y="31"/>
                </a:lnTo>
                <a:lnTo>
                  <a:pt x="88" y="31"/>
                </a:lnTo>
                <a:lnTo>
                  <a:pt x="83" y="31"/>
                </a:lnTo>
                <a:lnTo>
                  <a:pt x="83" y="47"/>
                </a:lnTo>
                <a:lnTo>
                  <a:pt x="82" y="65"/>
                </a:lnTo>
                <a:lnTo>
                  <a:pt x="82" y="76"/>
                </a:lnTo>
                <a:lnTo>
                  <a:pt x="76" y="78"/>
                </a:lnTo>
                <a:lnTo>
                  <a:pt x="71" y="78"/>
                </a:lnTo>
                <a:lnTo>
                  <a:pt x="66" y="81"/>
                </a:lnTo>
                <a:lnTo>
                  <a:pt x="65" y="82"/>
                </a:lnTo>
                <a:lnTo>
                  <a:pt x="64" y="83"/>
                </a:lnTo>
                <a:lnTo>
                  <a:pt x="63" y="86"/>
                </a:lnTo>
                <a:lnTo>
                  <a:pt x="62" y="89"/>
                </a:lnTo>
                <a:lnTo>
                  <a:pt x="62" y="97"/>
                </a:lnTo>
                <a:lnTo>
                  <a:pt x="63" y="103"/>
                </a:lnTo>
                <a:lnTo>
                  <a:pt x="63" y="109"/>
                </a:lnTo>
                <a:lnTo>
                  <a:pt x="64" y="114"/>
                </a:lnTo>
                <a:lnTo>
                  <a:pt x="57" y="11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73" name="Freeform 1273"/>
          <p:cNvSpPr>
            <a:spLocks/>
          </p:cNvSpPr>
          <p:nvPr/>
        </p:nvSpPr>
        <p:spPr bwMode="auto">
          <a:xfrm>
            <a:off x="3925887" y="2778090"/>
            <a:ext cx="212725" cy="193675"/>
          </a:xfrm>
          <a:custGeom>
            <a:avLst/>
            <a:gdLst>
              <a:gd name="T0" fmla="*/ 57 w 134"/>
              <a:gd name="T1" fmla="*/ 114 h 122"/>
              <a:gd name="T2" fmla="*/ 43 w 134"/>
              <a:gd name="T3" fmla="*/ 114 h 122"/>
              <a:gd name="T4" fmla="*/ 28 w 134"/>
              <a:gd name="T5" fmla="*/ 114 h 122"/>
              <a:gd name="T6" fmla="*/ 13 w 134"/>
              <a:gd name="T7" fmla="*/ 114 h 122"/>
              <a:gd name="T8" fmla="*/ 5 w 134"/>
              <a:gd name="T9" fmla="*/ 114 h 122"/>
              <a:gd name="T10" fmla="*/ 4 w 134"/>
              <a:gd name="T11" fmla="*/ 116 h 122"/>
              <a:gd name="T12" fmla="*/ 2 w 134"/>
              <a:gd name="T13" fmla="*/ 118 h 122"/>
              <a:gd name="T14" fmla="*/ 1 w 134"/>
              <a:gd name="T15" fmla="*/ 120 h 122"/>
              <a:gd name="T16" fmla="*/ 2 w 134"/>
              <a:gd name="T17" fmla="*/ 120 h 122"/>
              <a:gd name="T18" fmla="*/ 0 w 134"/>
              <a:gd name="T19" fmla="*/ 122 h 122"/>
              <a:gd name="T20" fmla="*/ 0 w 134"/>
              <a:gd name="T21" fmla="*/ 118 h 122"/>
              <a:gd name="T22" fmla="*/ 2 w 134"/>
              <a:gd name="T23" fmla="*/ 107 h 122"/>
              <a:gd name="T24" fmla="*/ 5 w 134"/>
              <a:gd name="T25" fmla="*/ 99 h 122"/>
              <a:gd name="T26" fmla="*/ 9 w 134"/>
              <a:gd name="T27" fmla="*/ 97 h 122"/>
              <a:gd name="T28" fmla="*/ 13 w 134"/>
              <a:gd name="T29" fmla="*/ 89 h 122"/>
              <a:gd name="T30" fmla="*/ 15 w 134"/>
              <a:gd name="T31" fmla="*/ 85 h 122"/>
              <a:gd name="T32" fmla="*/ 14 w 134"/>
              <a:gd name="T33" fmla="*/ 83 h 122"/>
              <a:gd name="T34" fmla="*/ 20 w 134"/>
              <a:gd name="T35" fmla="*/ 74 h 122"/>
              <a:gd name="T36" fmla="*/ 21 w 134"/>
              <a:gd name="T37" fmla="*/ 72 h 122"/>
              <a:gd name="T38" fmla="*/ 22 w 134"/>
              <a:gd name="T39" fmla="*/ 68 h 122"/>
              <a:gd name="T40" fmla="*/ 23 w 134"/>
              <a:gd name="T41" fmla="*/ 66 h 122"/>
              <a:gd name="T42" fmla="*/ 32 w 134"/>
              <a:gd name="T43" fmla="*/ 56 h 122"/>
              <a:gd name="T44" fmla="*/ 37 w 134"/>
              <a:gd name="T45" fmla="*/ 48 h 122"/>
              <a:gd name="T46" fmla="*/ 38 w 134"/>
              <a:gd name="T47" fmla="*/ 43 h 122"/>
              <a:gd name="T48" fmla="*/ 41 w 134"/>
              <a:gd name="T49" fmla="*/ 36 h 122"/>
              <a:gd name="T50" fmla="*/ 42 w 134"/>
              <a:gd name="T51" fmla="*/ 29 h 122"/>
              <a:gd name="T52" fmla="*/ 47 w 134"/>
              <a:gd name="T53" fmla="*/ 24 h 122"/>
              <a:gd name="T54" fmla="*/ 53 w 134"/>
              <a:gd name="T55" fmla="*/ 21 h 122"/>
              <a:gd name="T56" fmla="*/ 58 w 134"/>
              <a:gd name="T57" fmla="*/ 16 h 122"/>
              <a:gd name="T58" fmla="*/ 60 w 134"/>
              <a:gd name="T59" fmla="*/ 12 h 122"/>
              <a:gd name="T60" fmla="*/ 60 w 134"/>
              <a:gd name="T61" fmla="*/ 9 h 122"/>
              <a:gd name="T62" fmla="*/ 62 w 134"/>
              <a:gd name="T63" fmla="*/ 6 h 122"/>
              <a:gd name="T64" fmla="*/ 64 w 134"/>
              <a:gd name="T65" fmla="*/ 2 h 122"/>
              <a:gd name="T66" fmla="*/ 66 w 134"/>
              <a:gd name="T67" fmla="*/ 0 h 122"/>
              <a:gd name="T68" fmla="*/ 69 w 134"/>
              <a:gd name="T69" fmla="*/ 0 h 122"/>
              <a:gd name="T70" fmla="*/ 78 w 134"/>
              <a:gd name="T71" fmla="*/ 0 h 122"/>
              <a:gd name="T72" fmla="*/ 89 w 134"/>
              <a:gd name="T73" fmla="*/ 0 h 122"/>
              <a:gd name="T74" fmla="*/ 100 w 134"/>
              <a:gd name="T75" fmla="*/ 0 h 122"/>
              <a:gd name="T76" fmla="*/ 111 w 134"/>
              <a:gd name="T77" fmla="*/ 0 h 122"/>
              <a:gd name="T78" fmla="*/ 123 w 134"/>
              <a:gd name="T79" fmla="*/ 0 h 122"/>
              <a:gd name="T80" fmla="*/ 134 w 134"/>
              <a:gd name="T81" fmla="*/ 0 h 122"/>
              <a:gd name="T82" fmla="*/ 134 w 134"/>
              <a:gd name="T83" fmla="*/ 9 h 122"/>
              <a:gd name="T84" fmla="*/ 133 w 134"/>
              <a:gd name="T85" fmla="*/ 31 h 122"/>
              <a:gd name="T86" fmla="*/ 119 w 134"/>
              <a:gd name="T87" fmla="*/ 31 h 122"/>
              <a:gd name="T88" fmla="*/ 103 w 134"/>
              <a:gd name="T89" fmla="*/ 31 h 122"/>
              <a:gd name="T90" fmla="*/ 88 w 134"/>
              <a:gd name="T91" fmla="*/ 31 h 122"/>
              <a:gd name="T92" fmla="*/ 83 w 134"/>
              <a:gd name="T93" fmla="*/ 31 h 122"/>
              <a:gd name="T94" fmla="*/ 83 w 134"/>
              <a:gd name="T95" fmla="*/ 47 h 122"/>
              <a:gd name="T96" fmla="*/ 82 w 134"/>
              <a:gd name="T97" fmla="*/ 65 h 122"/>
              <a:gd name="T98" fmla="*/ 82 w 134"/>
              <a:gd name="T99" fmla="*/ 76 h 122"/>
              <a:gd name="T100" fmla="*/ 76 w 134"/>
              <a:gd name="T101" fmla="*/ 78 h 122"/>
              <a:gd name="T102" fmla="*/ 71 w 134"/>
              <a:gd name="T103" fmla="*/ 78 h 122"/>
              <a:gd name="T104" fmla="*/ 66 w 134"/>
              <a:gd name="T105" fmla="*/ 81 h 122"/>
              <a:gd name="T106" fmla="*/ 65 w 134"/>
              <a:gd name="T107" fmla="*/ 82 h 122"/>
              <a:gd name="T108" fmla="*/ 64 w 134"/>
              <a:gd name="T109" fmla="*/ 83 h 122"/>
              <a:gd name="T110" fmla="*/ 63 w 134"/>
              <a:gd name="T111" fmla="*/ 86 h 122"/>
              <a:gd name="T112" fmla="*/ 62 w 134"/>
              <a:gd name="T113" fmla="*/ 89 h 122"/>
              <a:gd name="T114" fmla="*/ 62 w 134"/>
              <a:gd name="T115" fmla="*/ 97 h 122"/>
              <a:gd name="T116" fmla="*/ 63 w 134"/>
              <a:gd name="T117" fmla="*/ 103 h 122"/>
              <a:gd name="T118" fmla="*/ 63 w 134"/>
              <a:gd name="T119" fmla="*/ 109 h 122"/>
              <a:gd name="T120" fmla="*/ 64 w 134"/>
              <a:gd name="T121" fmla="*/ 114 h 122"/>
              <a:gd name="T122" fmla="*/ 57 w 134"/>
              <a:gd name="T123" fmla="*/ 114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34" h="122">
                <a:moveTo>
                  <a:pt x="57" y="114"/>
                </a:moveTo>
                <a:lnTo>
                  <a:pt x="43" y="114"/>
                </a:lnTo>
                <a:lnTo>
                  <a:pt x="28" y="114"/>
                </a:lnTo>
                <a:lnTo>
                  <a:pt x="13" y="114"/>
                </a:lnTo>
                <a:lnTo>
                  <a:pt x="5" y="114"/>
                </a:lnTo>
                <a:lnTo>
                  <a:pt x="4" y="116"/>
                </a:lnTo>
                <a:lnTo>
                  <a:pt x="2" y="118"/>
                </a:lnTo>
                <a:lnTo>
                  <a:pt x="1" y="120"/>
                </a:lnTo>
                <a:lnTo>
                  <a:pt x="2" y="120"/>
                </a:lnTo>
                <a:lnTo>
                  <a:pt x="0" y="122"/>
                </a:lnTo>
                <a:lnTo>
                  <a:pt x="0" y="118"/>
                </a:lnTo>
                <a:lnTo>
                  <a:pt x="2" y="107"/>
                </a:lnTo>
                <a:lnTo>
                  <a:pt x="5" y="99"/>
                </a:lnTo>
                <a:lnTo>
                  <a:pt x="9" y="97"/>
                </a:lnTo>
                <a:lnTo>
                  <a:pt x="13" y="89"/>
                </a:lnTo>
                <a:lnTo>
                  <a:pt x="15" y="85"/>
                </a:lnTo>
                <a:lnTo>
                  <a:pt x="14" y="83"/>
                </a:lnTo>
                <a:lnTo>
                  <a:pt x="20" y="74"/>
                </a:lnTo>
                <a:lnTo>
                  <a:pt x="21" y="72"/>
                </a:lnTo>
                <a:lnTo>
                  <a:pt x="22" y="68"/>
                </a:lnTo>
                <a:lnTo>
                  <a:pt x="23" y="66"/>
                </a:lnTo>
                <a:lnTo>
                  <a:pt x="32" y="56"/>
                </a:lnTo>
                <a:lnTo>
                  <a:pt x="37" y="48"/>
                </a:lnTo>
                <a:lnTo>
                  <a:pt x="38" y="43"/>
                </a:lnTo>
                <a:lnTo>
                  <a:pt x="41" y="36"/>
                </a:lnTo>
                <a:lnTo>
                  <a:pt x="42" y="29"/>
                </a:lnTo>
                <a:lnTo>
                  <a:pt x="47" y="24"/>
                </a:lnTo>
                <a:lnTo>
                  <a:pt x="53" y="21"/>
                </a:lnTo>
                <a:lnTo>
                  <a:pt x="58" y="16"/>
                </a:lnTo>
                <a:lnTo>
                  <a:pt x="60" y="12"/>
                </a:lnTo>
                <a:lnTo>
                  <a:pt x="60" y="9"/>
                </a:lnTo>
                <a:lnTo>
                  <a:pt x="62" y="6"/>
                </a:lnTo>
                <a:lnTo>
                  <a:pt x="64" y="2"/>
                </a:lnTo>
                <a:lnTo>
                  <a:pt x="66" y="0"/>
                </a:lnTo>
                <a:lnTo>
                  <a:pt x="69" y="0"/>
                </a:lnTo>
                <a:lnTo>
                  <a:pt x="78" y="0"/>
                </a:lnTo>
                <a:lnTo>
                  <a:pt x="89" y="0"/>
                </a:lnTo>
                <a:lnTo>
                  <a:pt x="100" y="0"/>
                </a:lnTo>
                <a:lnTo>
                  <a:pt x="111" y="0"/>
                </a:lnTo>
                <a:lnTo>
                  <a:pt x="123" y="0"/>
                </a:lnTo>
                <a:lnTo>
                  <a:pt x="134" y="0"/>
                </a:lnTo>
                <a:lnTo>
                  <a:pt x="134" y="9"/>
                </a:lnTo>
                <a:lnTo>
                  <a:pt x="133" y="31"/>
                </a:lnTo>
                <a:lnTo>
                  <a:pt x="119" y="31"/>
                </a:lnTo>
                <a:lnTo>
                  <a:pt x="103" y="31"/>
                </a:lnTo>
                <a:lnTo>
                  <a:pt x="88" y="31"/>
                </a:lnTo>
                <a:lnTo>
                  <a:pt x="83" y="31"/>
                </a:lnTo>
                <a:lnTo>
                  <a:pt x="83" y="47"/>
                </a:lnTo>
                <a:lnTo>
                  <a:pt x="82" y="65"/>
                </a:lnTo>
                <a:lnTo>
                  <a:pt x="82" y="76"/>
                </a:lnTo>
                <a:lnTo>
                  <a:pt x="76" y="78"/>
                </a:lnTo>
                <a:lnTo>
                  <a:pt x="71" y="78"/>
                </a:lnTo>
                <a:lnTo>
                  <a:pt x="66" y="81"/>
                </a:lnTo>
                <a:lnTo>
                  <a:pt x="65" y="82"/>
                </a:lnTo>
                <a:lnTo>
                  <a:pt x="64" y="83"/>
                </a:lnTo>
                <a:lnTo>
                  <a:pt x="63" y="86"/>
                </a:lnTo>
                <a:lnTo>
                  <a:pt x="62" y="89"/>
                </a:lnTo>
                <a:lnTo>
                  <a:pt x="62" y="97"/>
                </a:lnTo>
                <a:lnTo>
                  <a:pt x="63" y="103"/>
                </a:lnTo>
                <a:lnTo>
                  <a:pt x="63" y="109"/>
                </a:lnTo>
                <a:lnTo>
                  <a:pt x="64" y="114"/>
                </a:lnTo>
                <a:lnTo>
                  <a:pt x="57" y="11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74" name="Freeform 1274"/>
          <p:cNvSpPr>
            <a:spLocks/>
          </p:cNvSpPr>
          <p:nvPr/>
        </p:nvSpPr>
        <p:spPr bwMode="auto">
          <a:xfrm>
            <a:off x="4841875" y="4089365"/>
            <a:ext cx="238125" cy="261938"/>
          </a:xfrm>
          <a:custGeom>
            <a:avLst/>
            <a:gdLst>
              <a:gd name="T0" fmla="*/ 0 w 150"/>
              <a:gd name="T1" fmla="*/ 111 h 165"/>
              <a:gd name="T2" fmla="*/ 1 w 150"/>
              <a:gd name="T3" fmla="*/ 77 h 165"/>
              <a:gd name="T4" fmla="*/ 18 w 150"/>
              <a:gd name="T5" fmla="*/ 65 h 165"/>
              <a:gd name="T6" fmla="*/ 19 w 150"/>
              <a:gd name="T7" fmla="*/ 30 h 165"/>
              <a:gd name="T8" fmla="*/ 21 w 150"/>
              <a:gd name="T9" fmla="*/ 12 h 165"/>
              <a:gd name="T10" fmla="*/ 49 w 150"/>
              <a:gd name="T11" fmla="*/ 6 h 165"/>
              <a:gd name="T12" fmla="*/ 55 w 150"/>
              <a:gd name="T13" fmla="*/ 6 h 165"/>
              <a:gd name="T14" fmla="*/ 61 w 150"/>
              <a:gd name="T15" fmla="*/ 12 h 165"/>
              <a:gd name="T16" fmla="*/ 63 w 150"/>
              <a:gd name="T17" fmla="*/ 14 h 165"/>
              <a:gd name="T18" fmla="*/ 71 w 150"/>
              <a:gd name="T19" fmla="*/ 6 h 165"/>
              <a:gd name="T20" fmla="*/ 80 w 150"/>
              <a:gd name="T21" fmla="*/ 3 h 165"/>
              <a:gd name="T22" fmla="*/ 85 w 150"/>
              <a:gd name="T23" fmla="*/ 0 h 165"/>
              <a:gd name="T24" fmla="*/ 88 w 150"/>
              <a:gd name="T25" fmla="*/ 4 h 165"/>
              <a:gd name="T26" fmla="*/ 92 w 150"/>
              <a:gd name="T27" fmla="*/ 13 h 165"/>
              <a:gd name="T28" fmla="*/ 95 w 150"/>
              <a:gd name="T29" fmla="*/ 19 h 165"/>
              <a:gd name="T30" fmla="*/ 100 w 150"/>
              <a:gd name="T31" fmla="*/ 30 h 165"/>
              <a:gd name="T32" fmla="*/ 113 w 150"/>
              <a:gd name="T33" fmla="*/ 40 h 165"/>
              <a:gd name="T34" fmla="*/ 119 w 150"/>
              <a:gd name="T35" fmla="*/ 48 h 165"/>
              <a:gd name="T36" fmla="*/ 125 w 150"/>
              <a:gd name="T37" fmla="*/ 53 h 165"/>
              <a:gd name="T38" fmla="*/ 126 w 150"/>
              <a:gd name="T39" fmla="*/ 65 h 165"/>
              <a:gd name="T40" fmla="*/ 130 w 150"/>
              <a:gd name="T41" fmla="*/ 71 h 165"/>
              <a:gd name="T42" fmla="*/ 136 w 150"/>
              <a:gd name="T43" fmla="*/ 74 h 165"/>
              <a:gd name="T44" fmla="*/ 144 w 150"/>
              <a:gd name="T45" fmla="*/ 76 h 165"/>
              <a:gd name="T46" fmla="*/ 150 w 150"/>
              <a:gd name="T47" fmla="*/ 79 h 165"/>
              <a:gd name="T48" fmla="*/ 145 w 150"/>
              <a:gd name="T49" fmla="*/ 83 h 165"/>
              <a:gd name="T50" fmla="*/ 131 w 150"/>
              <a:gd name="T51" fmla="*/ 90 h 165"/>
              <a:gd name="T52" fmla="*/ 120 w 150"/>
              <a:gd name="T53" fmla="*/ 99 h 165"/>
              <a:gd name="T54" fmla="*/ 111 w 150"/>
              <a:gd name="T55" fmla="*/ 110 h 165"/>
              <a:gd name="T56" fmla="*/ 98 w 150"/>
              <a:gd name="T57" fmla="*/ 124 h 165"/>
              <a:gd name="T58" fmla="*/ 89 w 150"/>
              <a:gd name="T59" fmla="*/ 139 h 165"/>
              <a:gd name="T60" fmla="*/ 84 w 150"/>
              <a:gd name="T61" fmla="*/ 142 h 165"/>
              <a:gd name="T62" fmla="*/ 74 w 150"/>
              <a:gd name="T63" fmla="*/ 145 h 165"/>
              <a:gd name="T64" fmla="*/ 63 w 150"/>
              <a:gd name="T65" fmla="*/ 140 h 165"/>
              <a:gd name="T66" fmla="*/ 56 w 150"/>
              <a:gd name="T67" fmla="*/ 138 h 165"/>
              <a:gd name="T68" fmla="*/ 48 w 150"/>
              <a:gd name="T69" fmla="*/ 146 h 165"/>
              <a:gd name="T70" fmla="*/ 44 w 150"/>
              <a:gd name="T71" fmla="*/ 150 h 165"/>
              <a:gd name="T72" fmla="*/ 38 w 150"/>
              <a:gd name="T73" fmla="*/ 156 h 165"/>
              <a:gd name="T74" fmla="*/ 33 w 150"/>
              <a:gd name="T75" fmla="*/ 162 h 165"/>
              <a:gd name="T76" fmla="*/ 19 w 150"/>
              <a:gd name="T77" fmla="*/ 165 h 165"/>
              <a:gd name="T78" fmla="*/ 11 w 150"/>
              <a:gd name="T79" fmla="*/ 164 h 165"/>
              <a:gd name="T80" fmla="*/ 12 w 150"/>
              <a:gd name="T81" fmla="*/ 155 h 165"/>
              <a:gd name="T82" fmla="*/ 13 w 150"/>
              <a:gd name="T83" fmla="*/ 148 h 165"/>
              <a:gd name="T84" fmla="*/ 11 w 150"/>
              <a:gd name="T85" fmla="*/ 140 h 165"/>
              <a:gd name="T86" fmla="*/ 7 w 150"/>
              <a:gd name="T87" fmla="*/ 134 h 165"/>
              <a:gd name="T88" fmla="*/ 2 w 150"/>
              <a:gd name="T89" fmla="*/ 129 h 165"/>
              <a:gd name="T90" fmla="*/ 0 w 150"/>
              <a:gd name="T91" fmla="*/ 127 h 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50" h="165">
                <a:moveTo>
                  <a:pt x="0" y="127"/>
                </a:moveTo>
                <a:lnTo>
                  <a:pt x="0" y="111"/>
                </a:lnTo>
                <a:lnTo>
                  <a:pt x="1" y="94"/>
                </a:lnTo>
                <a:lnTo>
                  <a:pt x="1" y="77"/>
                </a:lnTo>
                <a:lnTo>
                  <a:pt x="18" y="77"/>
                </a:lnTo>
                <a:lnTo>
                  <a:pt x="18" y="65"/>
                </a:lnTo>
                <a:lnTo>
                  <a:pt x="18" y="48"/>
                </a:lnTo>
                <a:lnTo>
                  <a:pt x="19" y="30"/>
                </a:lnTo>
                <a:lnTo>
                  <a:pt x="19" y="14"/>
                </a:lnTo>
                <a:lnTo>
                  <a:pt x="21" y="12"/>
                </a:lnTo>
                <a:lnTo>
                  <a:pt x="44" y="7"/>
                </a:lnTo>
                <a:lnTo>
                  <a:pt x="49" y="6"/>
                </a:lnTo>
                <a:lnTo>
                  <a:pt x="51" y="6"/>
                </a:lnTo>
                <a:lnTo>
                  <a:pt x="55" y="6"/>
                </a:lnTo>
                <a:lnTo>
                  <a:pt x="59" y="7"/>
                </a:lnTo>
                <a:lnTo>
                  <a:pt x="61" y="12"/>
                </a:lnTo>
                <a:lnTo>
                  <a:pt x="61" y="16"/>
                </a:lnTo>
                <a:lnTo>
                  <a:pt x="63" y="14"/>
                </a:lnTo>
                <a:lnTo>
                  <a:pt x="65" y="10"/>
                </a:lnTo>
                <a:lnTo>
                  <a:pt x="71" y="6"/>
                </a:lnTo>
                <a:lnTo>
                  <a:pt x="79" y="4"/>
                </a:lnTo>
                <a:lnTo>
                  <a:pt x="80" y="3"/>
                </a:lnTo>
                <a:lnTo>
                  <a:pt x="82" y="0"/>
                </a:lnTo>
                <a:lnTo>
                  <a:pt x="85" y="0"/>
                </a:lnTo>
                <a:lnTo>
                  <a:pt x="88" y="2"/>
                </a:lnTo>
                <a:lnTo>
                  <a:pt x="88" y="4"/>
                </a:lnTo>
                <a:lnTo>
                  <a:pt x="89" y="6"/>
                </a:lnTo>
                <a:lnTo>
                  <a:pt x="92" y="13"/>
                </a:lnTo>
                <a:lnTo>
                  <a:pt x="94" y="16"/>
                </a:lnTo>
                <a:lnTo>
                  <a:pt x="95" y="19"/>
                </a:lnTo>
                <a:lnTo>
                  <a:pt x="96" y="24"/>
                </a:lnTo>
                <a:lnTo>
                  <a:pt x="100" y="30"/>
                </a:lnTo>
                <a:lnTo>
                  <a:pt x="109" y="39"/>
                </a:lnTo>
                <a:lnTo>
                  <a:pt x="113" y="40"/>
                </a:lnTo>
                <a:lnTo>
                  <a:pt x="116" y="44"/>
                </a:lnTo>
                <a:lnTo>
                  <a:pt x="119" y="48"/>
                </a:lnTo>
                <a:lnTo>
                  <a:pt x="123" y="49"/>
                </a:lnTo>
                <a:lnTo>
                  <a:pt x="125" y="53"/>
                </a:lnTo>
                <a:lnTo>
                  <a:pt x="125" y="58"/>
                </a:lnTo>
                <a:lnTo>
                  <a:pt x="126" y="65"/>
                </a:lnTo>
                <a:lnTo>
                  <a:pt x="128" y="69"/>
                </a:lnTo>
                <a:lnTo>
                  <a:pt x="130" y="71"/>
                </a:lnTo>
                <a:lnTo>
                  <a:pt x="133" y="74"/>
                </a:lnTo>
                <a:lnTo>
                  <a:pt x="136" y="74"/>
                </a:lnTo>
                <a:lnTo>
                  <a:pt x="140" y="74"/>
                </a:lnTo>
                <a:lnTo>
                  <a:pt x="144" y="76"/>
                </a:lnTo>
                <a:lnTo>
                  <a:pt x="146" y="77"/>
                </a:lnTo>
                <a:lnTo>
                  <a:pt x="150" y="79"/>
                </a:lnTo>
                <a:lnTo>
                  <a:pt x="149" y="80"/>
                </a:lnTo>
                <a:lnTo>
                  <a:pt x="145" y="83"/>
                </a:lnTo>
                <a:lnTo>
                  <a:pt x="142" y="85"/>
                </a:lnTo>
                <a:lnTo>
                  <a:pt x="131" y="90"/>
                </a:lnTo>
                <a:lnTo>
                  <a:pt x="125" y="96"/>
                </a:lnTo>
                <a:lnTo>
                  <a:pt x="120" y="99"/>
                </a:lnTo>
                <a:lnTo>
                  <a:pt x="114" y="106"/>
                </a:lnTo>
                <a:lnTo>
                  <a:pt x="111" y="110"/>
                </a:lnTo>
                <a:lnTo>
                  <a:pt x="105" y="118"/>
                </a:lnTo>
                <a:lnTo>
                  <a:pt x="98" y="124"/>
                </a:lnTo>
                <a:lnTo>
                  <a:pt x="93" y="129"/>
                </a:lnTo>
                <a:lnTo>
                  <a:pt x="89" y="139"/>
                </a:lnTo>
                <a:lnTo>
                  <a:pt x="86" y="141"/>
                </a:lnTo>
                <a:lnTo>
                  <a:pt x="84" y="142"/>
                </a:lnTo>
                <a:lnTo>
                  <a:pt x="81" y="142"/>
                </a:lnTo>
                <a:lnTo>
                  <a:pt x="74" y="145"/>
                </a:lnTo>
                <a:lnTo>
                  <a:pt x="70" y="145"/>
                </a:lnTo>
                <a:lnTo>
                  <a:pt x="63" y="140"/>
                </a:lnTo>
                <a:lnTo>
                  <a:pt x="60" y="139"/>
                </a:lnTo>
                <a:lnTo>
                  <a:pt x="56" y="138"/>
                </a:lnTo>
                <a:lnTo>
                  <a:pt x="53" y="140"/>
                </a:lnTo>
                <a:lnTo>
                  <a:pt x="48" y="146"/>
                </a:lnTo>
                <a:lnTo>
                  <a:pt x="45" y="148"/>
                </a:lnTo>
                <a:lnTo>
                  <a:pt x="44" y="150"/>
                </a:lnTo>
                <a:lnTo>
                  <a:pt x="41" y="154"/>
                </a:lnTo>
                <a:lnTo>
                  <a:pt x="38" y="156"/>
                </a:lnTo>
                <a:lnTo>
                  <a:pt x="37" y="157"/>
                </a:lnTo>
                <a:lnTo>
                  <a:pt x="33" y="162"/>
                </a:lnTo>
                <a:lnTo>
                  <a:pt x="23" y="165"/>
                </a:lnTo>
                <a:lnTo>
                  <a:pt x="19" y="165"/>
                </a:lnTo>
                <a:lnTo>
                  <a:pt x="14" y="164"/>
                </a:lnTo>
                <a:lnTo>
                  <a:pt x="11" y="164"/>
                </a:lnTo>
                <a:lnTo>
                  <a:pt x="10" y="160"/>
                </a:lnTo>
                <a:lnTo>
                  <a:pt x="12" y="155"/>
                </a:lnTo>
                <a:lnTo>
                  <a:pt x="13" y="150"/>
                </a:lnTo>
                <a:lnTo>
                  <a:pt x="13" y="148"/>
                </a:lnTo>
                <a:lnTo>
                  <a:pt x="13" y="144"/>
                </a:lnTo>
                <a:lnTo>
                  <a:pt x="11" y="140"/>
                </a:lnTo>
                <a:lnTo>
                  <a:pt x="8" y="136"/>
                </a:lnTo>
                <a:lnTo>
                  <a:pt x="7" y="134"/>
                </a:lnTo>
                <a:lnTo>
                  <a:pt x="3" y="130"/>
                </a:lnTo>
                <a:lnTo>
                  <a:pt x="2" y="129"/>
                </a:lnTo>
                <a:lnTo>
                  <a:pt x="1" y="127"/>
                </a:lnTo>
                <a:lnTo>
                  <a:pt x="0" y="127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75" name="Freeform 1275"/>
          <p:cNvSpPr>
            <a:spLocks/>
          </p:cNvSpPr>
          <p:nvPr/>
        </p:nvSpPr>
        <p:spPr bwMode="auto">
          <a:xfrm>
            <a:off x="4841875" y="4089365"/>
            <a:ext cx="238125" cy="261938"/>
          </a:xfrm>
          <a:custGeom>
            <a:avLst/>
            <a:gdLst>
              <a:gd name="T0" fmla="*/ 0 w 150"/>
              <a:gd name="T1" fmla="*/ 111 h 165"/>
              <a:gd name="T2" fmla="*/ 1 w 150"/>
              <a:gd name="T3" fmla="*/ 77 h 165"/>
              <a:gd name="T4" fmla="*/ 18 w 150"/>
              <a:gd name="T5" fmla="*/ 65 h 165"/>
              <a:gd name="T6" fmla="*/ 19 w 150"/>
              <a:gd name="T7" fmla="*/ 30 h 165"/>
              <a:gd name="T8" fmla="*/ 21 w 150"/>
              <a:gd name="T9" fmla="*/ 12 h 165"/>
              <a:gd name="T10" fmla="*/ 49 w 150"/>
              <a:gd name="T11" fmla="*/ 6 h 165"/>
              <a:gd name="T12" fmla="*/ 55 w 150"/>
              <a:gd name="T13" fmla="*/ 6 h 165"/>
              <a:gd name="T14" fmla="*/ 61 w 150"/>
              <a:gd name="T15" fmla="*/ 12 h 165"/>
              <a:gd name="T16" fmla="*/ 63 w 150"/>
              <a:gd name="T17" fmla="*/ 14 h 165"/>
              <a:gd name="T18" fmla="*/ 71 w 150"/>
              <a:gd name="T19" fmla="*/ 6 h 165"/>
              <a:gd name="T20" fmla="*/ 80 w 150"/>
              <a:gd name="T21" fmla="*/ 3 h 165"/>
              <a:gd name="T22" fmla="*/ 85 w 150"/>
              <a:gd name="T23" fmla="*/ 0 h 165"/>
              <a:gd name="T24" fmla="*/ 88 w 150"/>
              <a:gd name="T25" fmla="*/ 4 h 165"/>
              <a:gd name="T26" fmla="*/ 92 w 150"/>
              <a:gd name="T27" fmla="*/ 13 h 165"/>
              <a:gd name="T28" fmla="*/ 95 w 150"/>
              <a:gd name="T29" fmla="*/ 19 h 165"/>
              <a:gd name="T30" fmla="*/ 100 w 150"/>
              <a:gd name="T31" fmla="*/ 30 h 165"/>
              <a:gd name="T32" fmla="*/ 113 w 150"/>
              <a:gd name="T33" fmla="*/ 40 h 165"/>
              <a:gd name="T34" fmla="*/ 119 w 150"/>
              <a:gd name="T35" fmla="*/ 48 h 165"/>
              <a:gd name="T36" fmla="*/ 125 w 150"/>
              <a:gd name="T37" fmla="*/ 53 h 165"/>
              <a:gd name="T38" fmla="*/ 126 w 150"/>
              <a:gd name="T39" fmla="*/ 65 h 165"/>
              <a:gd name="T40" fmla="*/ 130 w 150"/>
              <a:gd name="T41" fmla="*/ 71 h 165"/>
              <a:gd name="T42" fmla="*/ 136 w 150"/>
              <a:gd name="T43" fmla="*/ 74 h 165"/>
              <a:gd name="T44" fmla="*/ 144 w 150"/>
              <a:gd name="T45" fmla="*/ 76 h 165"/>
              <a:gd name="T46" fmla="*/ 150 w 150"/>
              <a:gd name="T47" fmla="*/ 79 h 165"/>
              <a:gd name="T48" fmla="*/ 145 w 150"/>
              <a:gd name="T49" fmla="*/ 83 h 165"/>
              <a:gd name="T50" fmla="*/ 131 w 150"/>
              <a:gd name="T51" fmla="*/ 90 h 165"/>
              <a:gd name="T52" fmla="*/ 120 w 150"/>
              <a:gd name="T53" fmla="*/ 99 h 165"/>
              <a:gd name="T54" fmla="*/ 111 w 150"/>
              <a:gd name="T55" fmla="*/ 110 h 165"/>
              <a:gd name="T56" fmla="*/ 98 w 150"/>
              <a:gd name="T57" fmla="*/ 124 h 165"/>
              <a:gd name="T58" fmla="*/ 89 w 150"/>
              <a:gd name="T59" fmla="*/ 139 h 165"/>
              <a:gd name="T60" fmla="*/ 84 w 150"/>
              <a:gd name="T61" fmla="*/ 142 h 165"/>
              <a:gd name="T62" fmla="*/ 74 w 150"/>
              <a:gd name="T63" fmla="*/ 145 h 165"/>
              <a:gd name="T64" fmla="*/ 63 w 150"/>
              <a:gd name="T65" fmla="*/ 140 h 165"/>
              <a:gd name="T66" fmla="*/ 56 w 150"/>
              <a:gd name="T67" fmla="*/ 138 h 165"/>
              <a:gd name="T68" fmla="*/ 48 w 150"/>
              <a:gd name="T69" fmla="*/ 146 h 165"/>
              <a:gd name="T70" fmla="*/ 44 w 150"/>
              <a:gd name="T71" fmla="*/ 150 h 165"/>
              <a:gd name="T72" fmla="*/ 38 w 150"/>
              <a:gd name="T73" fmla="*/ 156 h 165"/>
              <a:gd name="T74" fmla="*/ 33 w 150"/>
              <a:gd name="T75" fmla="*/ 162 h 165"/>
              <a:gd name="T76" fmla="*/ 19 w 150"/>
              <a:gd name="T77" fmla="*/ 165 h 165"/>
              <a:gd name="T78" fmla="*/ 11 w 150"/>
              <a:gd name="T79" fmla="*/ 164 h 165"/>
              <a:gd name="T80" fmla="*/ 12 w 150"/>
              <a:gd name="T81" fmla="*/ 155 h 165"/>
              <a:gd name="T82" fmla="*/ 13 w 150"/>
              <a:gd name="T83" fmla="*/ 148 h 165"/>
              <a:gd name="T84" fmla="*/ 11 w 150"/>
              <a:gd name="T85" fmla="*/ 140 h 165"/>
              <a:gd name="T86" fmla="*/ 7 w 150"/>
              <a:gd name="T87" fmla="*/ 134 h 165"/>
              <a:gd name="T88" fmla="*/ 2 w 150"/>
              <a:gd name="T89" fmla="*/ 129 h 165"/>
              <a:gd name="T90" fmla="*/ 0 w 150"/>
              <a:gd name="T91" fmla="*/ 127 h 1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50" h="165">
                <a:moveTo>
                  <a:pt x="0" y="127"/>
                </a:moveTo>
                <a:lnTo>
                  <a:pt x="0" y="111"/>
                </a:lnTo>
                <a:lnTo>
                  <a:pt x="1" y="94"/>
                </a:lnTo>
                <a:lnTo>
                  <a:pt x="1" y="77"/>
                </a:lnTo>
                <a:lnTo>
                  <a:pt x="18" y="77"/>
                </a:lnTo>
                <a:lnTo>
                  <a:pt x="18" y="65"/>
                </a:lnTo>
                <a:lnTo>
                  <a:pt x="18" y="48"/>
                </a:lnTo>
                <a:lnTo>
                  <a:pt x="19" y="30"/>
                </a:lnTo>
                <a:lnTo>
                  <a:pt x="19" y="14"/>
                </a:lnTo>
                <a:lnTo>
                  <a:pt x="21" y="12"/>
                </a:lnTo>
                <a:lnTo>
                  <a:pt x="44" y="7"/>
                </a:lnTo>
                <a:lnTo>
                  <a:pt x="49" y="6"/>
                </a:lnTo>
                <a:lnTo>
                  <a:pt x="51" y="6"/>
                </a:lnTo>
                <a:lnTo>
                  <a:pt x="55" y="6"/>
                </a:lnTo>
                <a:lnTo>
                  <a:pt x="59" y="7"/>
                </a:lnTo>
                <a:lnTo>
                  <a:pt x="61" y="12"/>
                </a:lnTo>
                <a:lnTo>
                  <a:pt x="61" y="16"/>
                </a:lnTo>
                <a:lnTo>
                  <a:pt x="63" y="14"/>
                </a:lnTo>
                <a:lnTo>
                  <a:pt x="65" y="10"/>
                </a:lnTo>
                <a:lnTo>
                  <a:pt x="71" y="6"/>
                </a:lnTo>
                <a:lnTo>
                  <a:pt x="79" y="4"/>
                </a:lnTo>
                <a:lnTo>
                  <a:pt x="80" y="3"/>
                </a:lnTo>
                <a:lnTo>
                  <a:pt x="82" y="0"/>
                </a:lnTo>
                <a:lnTo>
                  <a:pt x="85" y="0"/>
                </a:lnTo>
                <a:lnTo>
                  <a:pt x="88" y="2"/>
                </a:lnTo>
                <a:lnTo>
                  <a:pt x="88" y="4"/>
                </a:lnTo>
                <a:lnTo>
                  <a:pt x="89" y="6"/>
                </a:lnTo>
                <a:lnTo>
                  <a:pt x="92" y="13"/>
                </a:lnTo>
                <a:lnTo>
                  <a:pt x="94" y="16"/>
                </a:lnTo>
                <a:lnTo>
                  <a:pt x="95" y="19"/>
                </a:lnTo>
                <a:lnTo>
                  <a:pt x="96" y="24"/>
                </a:lnTo>
                <a:lnTo>
                  <a:pt x="100" y="30"/>
                </a:lnTo>
                <a:lnTo>
                  <a:pt x="109" y="39"/>
                </a:lnTo>
                <a:lnTo>
                  <a:pt x="113" y="40"/>
                </a:lnTo>
                <a:lnTo>
                  <a:pt x="116" y="44"/>
                </a:lnTo>
                <a:lnTo>
                  <a:pt x="119" y="48"/>
                </a:lnTo>
                <a:lnTo>
                  <a:pt x="123" y="49"/>
                </a:lnTo>
                <a:lnTo>
                  <a:pt x="125" y="53"/>
                </a:lnTo>
                <a:lnTo>
                  <a:pt x="125" y="58"/>
                </a:lnTo>
                <a:lnTo>
                  <a:pt x="126" y="65"/>
                </a:lnTo>
                <a:lnTo>
                  <a:pt x="128" y="69"/>
                </a:lnTo>
                <a:lnTo>
                  <a:pt x="130" y="71"/>
                </a:lnTo>
                <a:lnTo>
                  <a:pt x="133" y="74"/>
                </a:lnTo>
                <a:lnTo>
                  <a:pt x="136" y="74"/>
                </a:lnTo>
                <a:lnTo>
                  <a:pt x="140" y="74"/>
                </a:lnTo>
                <a:lnTo>
                  <a:pt x="144" y="76"/>
                </a:lnTo>
                <a:lnTo>
                  <a:pt x="146" y="77"/>
                </a:lnTo>
                <a:lnTo>
                  <a:pt x="150" y="79"/>
                </a:lnTo>
                <a:lnTo>
                  <a:pt x="149" y="80"/>
                </a:lnTo>
                <a:lnTo>
                  <a:pt x="145" y="83"/>
                </a:lnTo>
                <a:lnTo>
                  <a:pt x="142" y="85"/>
                </a:lnTo>
                <a:lnTo>
                  <a:pt x="131" y="90"/>
                </a:lnTo>
                <a:lnTo>
                  <a:pt x="125" y="96"/>
                </a:lnTo>
                <a:lnTo>
                  <a:pt x="120" y="99"/>
                </a:lnTo>
                <a:lnTo>
                  <a:pt x="114" y="106"/>
                </a:lnTo>
                <a:lnTo>
                  <a:pt x="111" y="110"/>
                </a:lnTo>
                <a:lnTo>
                  <a:pt x="105" y="118"/>
                </a:lnTo>
                <a:lnTo>
                  <a:pt x="98" y="124"/>
                </a:lnTo>
                <a:lnTo>
                  <a:pt x="93" y="129"/>
                </a:lnTo>
                <a:lnTo>
                  <a:pt x="89" y="139"/>
                </a:lnTo>
                <a:lnTo>
                  <a:pt x="86" y="141"/>
                </a:lnTo>
                <a:lnTo>
                  <a:pt x="84" y="142"/>
                </a:lnTo>
                <a:lnTo>
                  <a:pt x="81" y="142"/>
                </a:lnTo>
                <a:lnTo>
                  <a:pt x="74" y="145"/>
                </a:lnTo>
                <a:lnTo>
                  <a:pt x="70" y="145"/>
                </a:lnTo>
                <a:lnTo>
                  <a:pt x="63" y="140"/>
                </a:lnTo>
                <a:lnTo>
                  <a:pt x="60" y="139"/>
                </a:lnTo>
                <a:lnTo>
                  <a:pt x="56" y="138"/>
                </a:lnTo>
                <a:lnTo>
                  <a:pt x="53" y="140"/>
                </a:lnTo>
                <a:lnTo>
                  <a:pt x="48" y="146"/>
                </a:lnTo>
                <a:lnTo>
                  <a:pt x="45" y="148"/>
                </a:lnTo>
                <a:lnTo>
                  <a:pt x="44" y="150"/>
                </a:lnTo>
                <a:lnTo>
                  <a:pt x="41" y="154"/>
                </a:lnTo>
                <a:lnTo>
                  <a:pt x="38" y="156"/>
                </a:lnTo>
                <a:lnTo>
                  <a:pt x="37" y="157"/>
                </a:lnTo>
                <a:lnTo>
                  <a:pt x="33" y="162"/>
                </a:lnTo>
                <a:lnTo>
                  <a:pt x="23" y="165"/>
                </a:lnTo>
                <a:lnTo>
                  <a:pt x="19" y="165"/>
                </a:lnTo>
                <a:lnTo>
                  <a:pt x="14" y="164"/>
                </a:lnTo>
                <a:lnTo>
                  <a:pt x="11" y="164"/>
                </a:lnTo>
                <a:lnTo>
                  <a:pt x="10" y="160"/>
                </a:lnTo>
                <a:lnTo>
                  <a:pt x="12" y="155"/>
                </a:lnTo>
                <a:lnTo>
                  <a:pt x="13" y="150"/>
                </a:lnTo>
                <a:lnTo>
                  <a:pt x="13" y="148"/>
                </a:lnTo>
                <a:lnTo>
                  <a:pt x="13" y="144"/>
                </a:lnTo>
                <a:lnTo>
                  <a:pt x="11" y="140"/>
                </a:lnTo>
                <a:lnTo>
                  <a:pt x="8" y="136"/>
                </a:lnTo>
                <a:lnTo>
                  <a:pt x="7" y="134"/>
                </a:lnTo>
                <a:lnTo>
                  <a:pt x="3" y="130"/>
                </a:lnTo>
                <a:lnTo>
                  <a:pt x="2" y="129"/>
                </a:lnTo>
                <a:lnTo>
                  <a:pt x="1" y="127"/>
                </a:lnTo>
                <a:lnTo>
                  <a:pt x="0" y="127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76" name="Freeform 1276"/>
          <p:cNvSpPr>
            <a:spLocks/>
          </p:cNvSpPr>
          <p:nvPr/>
        </p:nvSpPr>
        <p:spPr bwMode="auto">
          <a:xfrm>
            <a:off x="5387975" y="1992278"/>
            <a:ext cx="900112" cy="401638"/>
          </a:xfrm>
          <a:custGeom>
            <a:avLst/>
            <a:gdLst>
              <a:gd name="T0" fmla="*/ 151 w 567"/>
              <a:gd name="T1" fmla="*/ 239 h 253"/>
              <a:gd name="T2" fmla="*/ 121 w 567"/>
              <a:gd name="T3" fmla="*/ 233 h 253"/>
              <a:gd name="T4" fmla="*/ 91 w 567"/>
              <a:gd name="T5" fmla="*/ 215 h 253"/>
              <a:gd name="T6" fmla="*/ 82 w 567"/>
              <a:gd name="T7" fmla="*/ 190 h 253"/>
              <a:gd name="T8" fmla="*/ 92 w 567"/>
              <a:gd name="T9" fmla="*/ 179 h 253"/>
              <a:gd name="T10" fmla="*/ 122 w 567"/>
              <a:gd name="T11" fmla="*/ 178 h 253"/>
              <a:gd name="T12" fmla="*/ 121 w 567"/>
              <a:gd name="T13" fmla="*/ 166 h 253"/>
              <a:gd name="T14" fmla="*/ 93 w 567"/>
              <a:gd name="T15" fmla="*/ 145 h 253"/>
              <a:gd name="T16" fmla="*/ 68 w 567"/>
              <a:gd name="T17" fmla="*/ 142 h 253"/>
              <a:gd name="T18" fmla="*/ 35 w 567"/>
              <a:gd name="T19" fmla="*/ 156 h 253"/>
              <a:gd name="T20" fmla="*/ 31 w 567"/>
              <a:gd name="T21" fmla="*/ 138 h 253"/>
              <a:gd name="T22" fmla="*/ 11 w 567"/>
              <a:gd name="T23" fmla="*/ 129 h 253"/>
              <a:gd name="T24" fmla="*/ 0 w 567"/>
              <a:gd name="T25" fmla="*/ 105 h 253"/>
              <a:gd name="T26" fmla="*/ 8 w 567"/>
              <a:gd name="T27" fmla="*/ 87 h 253"/>
              <a:gd name="T28" fmla="*/ 22 w 567"/>
              <a:gd name="T29" fmla="*/ 82 h 253"/>
              <a:gd name="T30" fmla="*/ 36 w 567"/>
              <a:gd name="T31" fmla="*/ 71 h 253"/>
              <a:gd name="T32" fmla="*/ 52 w 567"/>
              <a:gd name="T33" fmla="*/ 66 h 253"/>
              <a:gd name="T34" fmla="*/ 69 w 567"/>
              <a:gd name="T35" fmla="*/ 66 h 253"/>
              <a:gd name="T36" fmla="*/ 94 w 567"/>
              <a:gd name="T37" fmla="*/ 75 h 253"/>
              <a:gd name="T38" fmla="*/ 101 w 567"/>
              <a:gd name="T39" fmla="*/ 76 h 253"/>
              <a:gd name="T40" fmla="*/ 124 w 567"/>
              <a:gd name="T41" fmla="*/ 79 h 253"/>
              <a:gd name="T42" fmla="*/ 137 w 567"/>
              <a:gd name="T43" fmla="*/ 75 h 253"/>
              <a:gd name="T44" fmla="*/ 161 w 567"/>
              <a:gd name="T45" fmla="*/ 82 h 253"/>
              <a:gd name="T46" fmla="*/ 183 w 567"/>
              <a:gd name="T47" fmla="*/ 82 h 253"/>
              <a:gd name="T48" fmla="*/ 186 w 567"/>
              <a:gd name="T49" fmla="*/ 67 h 253"/>
              <a:gd name="T50" fmla="*/ 173 w 567"/>
              <a:gd name="T51" fmla="*/ 56 h 253"/>
              <a:gd name="T52" fmla="*/ 180 w 567"/>
              <a:gd name="T53" fmla="*/ 41 h 253"/>
              <a:gd name="T54" fmla="*/ 176 w 567"/>
              <a:gd name="T55" fmla="*/ 34 h 253"/>
              <a:gd name="T56" fmla="*/ 173 w 567"/>
              <a:gd name="T57" fmla="*/ 26 h 253"/>
              <a:gd name="T58" fmla="*/ 191 w 567"/>
              <a:gd name="T59" fmla="*/ 25 h 253"/>
              <a:gd name="T60" fmla="*/ 210 w 567"/>
              <a:gd name="T61" fmla="*/ 20 h 253"/>
              <a:gd name="T62" fmla="*/ 224 w 567"/>
              <a:gd name="T63" fmla="*/ 13 h 253"/>
              <a:gd name="T64" fmla="*/ 258 w 567"/>
              <a:gd name="T65" fmla="*/ 6 h 253"/>
              <a:gd name="T66" fmla="*/ 268 w 567"/>
              <a:gd name="T67" fmla="*/ 0 h 253"/>
              <a:gd name="T68" fmla="*/ 289 w 567"/>
              <a:gd name="T69" fmla="*/ 2 h 253"/>
              <a:gd name="T70" fmla="*/ 304 w 567"/>
              <a:gd name="T71" fmla="*/ 17 h 253"/>
              <a:gd name="T72" fmla="*/ 317 w 567"/>
              <a:gd name="T73" fmla="*/ 18 h 253"/>
              <a:gd name="T74" fmla="*/ 324 w 567"/>
              <a:gd name="T75" fmla="*/ 22 h 253"/>
              <a:gd name="T76" fmla="*/ 342 w 567"/>
              <a:gd name="T77" fmla="*/ 26 h 253"/>
              <a:gd name="T78" fmla="*/ 349 w 567"/>
              <a:gd name="T79" fmla="*/ 31 h 253"/>
              <a:gd name="T80" fmla="*/ 364 w 567"/>
              <a:gd name="T81" fmla="*/ 22 h 253"/>
              <a:gd name="T82" fmla="*/ 380 w 567"/>
              <a:gd name="T83" fmla="*/ 21 h 253"/>
              <a:gd name="T84" fmla="*/ 456 w 567"/>
              <a:gd name="T85" fmla="*/ 74 h 253"/>
              <a:gd name="T86" fmla="*/ 479 w 567"/>
              <a:gd name="T87" fmla="*/ 79 h 253"/>
              <a:gd name="T88" fmla="*/ 500 w 567"/>
              <a:gd name="T89" fmla="*/ 76 h 253"/>
              <a:gd name="T90" fmla="*/ 519 w 567"/>
              <a:gd name="T91" fmla="*/ 89 h 253"/>
              <a:gd name="T92" fmla="*/ 546 w 567"/>
              <a:gd name="T93" fmla="*/ 102 h 253"/>
              <a:gd name="T94" fmla="*/ 565 w 567"/>
              <a:gd name="T95" fmla="*/ 106 h 253"/>
              <a:gd name="T96" fmla="*/ 557 w 567"/>
              <a:gd name="T97" fmla="*/ 137 h 253"/>
              <a:gd name="T98" fmla="*/ 521 w 567"/>
              <a:gd name="T99" fmla="*/ 148 h 253"/>
              <a:gd name="T100" fmla="*/ 503 w 567"/>
              <a:gd name="T101" fmla="*/ 182 h 253"/>
              <a:gd name="T102" fmla="*/ 516 w 567"/>
              <a:gd name="T103" fmla="*/ 218 h 253"/>
              <a:gd name="T104" fmla="*/ 495 w 567"/>
              <a:gd name="T105" fmla="*/ 222 h 253"/>
              <a:gd name="T106" fmla="*/ 461 w 567"/>
              <a:gd name="T107" fmla="*/ 219 h 253"/>
              <a:gd name="T108" fmla="*/ 423 w 567"/>
              <a:gd name="T109" fmla="*/ 214 h 253"/>
              <a:gd name="T110" fmla="*/ 406 w 567"/>
              <a:gd name="T111" fmla="*/ 225 h 253"/>
              <a:gd name="T112" fmla="*/ 380 w 567"/>
              <a:gd name="T113" fmla="*/ 224 h 253"/>
              <a:gd name="T114" fmla="*/ 367 w 567"/>
              <a:gd name="T115" fmla="*/ 241 h 253"/>
              <a:gd name="T116" fmla="*/ 349 w 567"/>
              <a:gd name="T117" fmla="*/ 250 h 253"/>
              <a:gd name="T118" fmla="*/ 305 w 567"/>
              <a:gd name="T119" fmla="*/ 219 h 253"/>
              <a:gd name="T120" fmla="*/ 221 w 567"/>
              <a:gd name="T121" fmla="*/ 190 h 2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67" h="253">
                <a:moveTo>
                  <a:pt x="151" y="183"/>
                </a:moveTo>
                <a:lnTo>
                  <a:pt x="155" y="199"/>
                </a:lnTo>
                <a:lnTo>
                  <a:pt x="160" y="216"/>
                </a:lnTo>
                <a:lnTo>
                  <a:pt x="164" y="233"/>
                </a:lnTo>
                <a:lnTo>
                  <a:pt x="167" y="247"/>
                </a:lnTo>
                <a:lnTo>
                  <a:pt x="164" y="248"/>
                </a:lnTo>
                <a:lnTo>
                  <a:pt x="160" y="248"/>
                </a:lnTo>
                <a:lnTo>
                  <a:pt x="156" y="247"/>
                </a:lnTo>
                <a:lnTo>
                  <a:pt x="153" y="241"/>
                </a:lnTo>
                <a:lnTo>
                  <a:pt x="151" y="239"/>
                </a:lnTo>
                <a:lnTo>
                  <a:pt x="150" y="238"/>
                </a:lnTo>
                <a:lnTo>
                  <a:pt x="146" y="234"/>
                </a:lnTo>
                <a:lnTo>
                  <a:pt x="145" y="233"/>
                </a:lnTo>
                <a:lnTo>
                  <a:pt x="141" y="230"/>
                </a:lnTo>
                <a:lnTo>
                  <a:pt x="139" y="229"/>
                </a:lnTo>
                <a:lnTo>
                  <a:pt x="136" y="228"/>
                </a:lnTo>
                <a:lnTo>
                  <a:pt x="134" y="228"/>
                </a:lnTo>
                <a:lnTo>
                  <a:pt x="132" y="229"/>
                </a:lnTo>
                <a:lnTo>
                  <a:pt x="126" y="230"/>
                </a:lnTo>
                <a:lnTo>
                  <a:pt x="121" y="233"/>
                </a:lnTo>
                <a:lnTo>
                  <a:pt x="114" y="239"/>
                </a:lnTo>
                <a:lnTo>
                  <a:pt x="111" y="229"/>
                </a:lnTo>
                <a:lnTo>
                  <a:pt x="113" y="227"/>
                </a:lnTo>
                <a:lnTo>
                  <a:pt x="112" y="222"/>
                </a:lnTo>
                <a:lnTo>
                  <a:pt x="109" y="220"/>
                </a:lnTo>
                <a:lnTo>
                  <a:pt x="105" y="220"/>
                </a:lnTo>
                <a:lnTo>
                  <a:pt x="100" y="218"/>
                </a:lnTo>
                <a:lnTo>
                  <a:pt x="96" y="215"/>
                </a:lnTo>
                <a:lnTo>
                  <a:pt x="94" y="215"/>
                </a:lnTo>
                <a:lnTo>
                  <a:pt x="91" y="215"/>
                </a:lnTo>
                <a:lnTo>
                  <a:pt x="89" y="206"/>
                </a:lnTo>
                <a:lnTo>
                  <a:pt x="84" y="200"/>
                </a:lnTo>
                <a:lnTo>
                  <a:pt x="82" y="199"/>
                </a:lnTo>
                <a:lnTo>
                  <a:pt x="79" y="196"/>
                </a:lnTo>
                <a:lnTo>
                  <a:pt x="72" y="194"/>
                </a:lnTo>
                <a:lnTo>
                  <a:pt x="69" y="190"/>
                </a:lnTo>
                <a:lnTo>
                  <a:pt x="70" y="188"/>
                </a:lnTo>
                <a:lnTo>
                  <a:pt x="74" y="188"/>
                </a:lnTo>
                <a:lnTo>
                  <a:pt x="80" y="189"/>
                </a:lnTo>
                <a:lnTo>
                  <a:pt x="82" y="190"/>
                </a:lnTo>
                <a:lnTo>
                  <a:pt x="84" y="189"/>
                </a:lnTo>
                <a:lnTo>
                  <a:pt x="88" y="190"/>
                </a:lnTo>
                <a:lnTo>
                  <a:pt x="86" y="188"/>
                </a:lnTo>
                <a:lnTo>
                  <a:pt x="84" y="186"/>
                </a:lnTo>
                <a:lnTo>
                  <a:pt x="83" y="182"/>
                </a:lnTo>
                <a:lnTo>
                  <a:pt x="84" y="179"/>
                </a:lnTo>
                <a:lnTo>
                  <a:pt x="86" y="178"/>
                </a:lnTo>
                <a:lnTo>
                  <a:pt x="86" y="179"/>
                </a:lnTo>
                <a:lnTo>
                  <a:pt x="90" y="179"/>
                </a:lnTo>
                <a:lnTo>
                  <a:pt x="92" y="179"/>
                </a:lnTo>
                <a:lnTo>
                  <a:pt x="92" y="177"/>
                </a:lnTo>
                <a:lnTo>
                  <a:pt x="94" y="175"/>
                </a:lnTo>
                <a:lnTo>
                  <a:pt x="99" y="175"/>
                </a:lnTo>
                <a:lnTo>
                  <a:pt x="103" y="177"/>
                </a:lnTo>
                <a:lnTo>
                  <a:pt x="108" y="178"/>
                </a:lnTo>
                <a:lnTo>
                  <a:pt x="112" y="177"/>
                </a:lnTo>
                <a:lnTo>
                  <a:pt x="114" y="176"/>
                </a:lnTo>
                <a:lnTo>
                  <a:pt x="115" y="176"/>
                </a:lnTo>
                <a:lnTo>
                  <a:pt x="116" y="177"/>
                </a:lnTo>
                <a:lnTo>
                  <a:pt x="122" y="178"/>
                </a:lnTo>
                <a:lnTo>
                  <a:pt x="125" y="179"/>
                </a:lnTo>
                <a:lnTo>
                  <a:pt x="127" y="179"/>
                </a:lnTo>
                <a:lnTo>
                  <a:pt x="131" y="180"/>
                </a:lnTo>
                <a:lnTo>
                  <a:pt x="132" y="178"/>
                </a:lnTo>
                <a:lnTo>
                  <a:pt x="129" y="175"/>
                </a:lnTo>
                <a:lnTo>
                  <a:pt x="132" y="175"/>
                </a:lnTo>
                <a:lnTo>
                  <a:pt x="129" y="173"/>
                </a:lnTo>
                <a:lnTo>
                  <a:pt x="125" y="169"/>
                </a:lnTo>
                <a:lnTo>
                  <a:pt x="122" y="168"/>
                </a:lnTo>
                <a:lnTo>
                  <a:pt x="121" y="166"/>
                </a:lnTo>
                <a:lnTo>
                  <a:pt x="117" y="165"/>
                </a:lnTo>
                <a:lnTo>
                  <a:pt x="113" y="162"/>
                </a:lnTo>
                <a:lnTo>
                  <a:pt x="111" y="156"/>
                </a:lnTo>
                <a:lnTo>
                  <a:pt x="109" y="154"/>
                </a:lnTo>
                <a:lnTo>
                  <a:pt x="108" y="155"/>
                </a:lnTo>
                <a:lnTo>
                  <a:pt x="105" y="152"/>
                </a:lnTo>
                <a:lnTo>
                  <a:pt x="103" y="152"/>
                </a:lnTo>
                <a:lnTo>
                  <a:pt x="102" y="148"/>
                </a:lnTo>
                <a:lnTo>
                  <a:pt x="96" y="145"/>
                </a:lnTo>
                <a:lnTo>
                  <a:pt x="93" y="145"/>
                </a:lnTo>
                <a:lnTo>
                  <a:pt x="93" y="144"/>
                </a:lnTo>
                <a:lnTo>
                  <a:pt x="90" y="143"/>
                </a:lnTo>
                <a:lnTo>
                  <a:pt x="86" y="144"/>
                </a:lnTo>
                <a:lnTo>
                  <a:pt x="84" y="145"/>
                </a:lnTo>
                <a:lnTo>
                  <a:pt x="82" y="146"/>
                </a:lnTo>
                <a:lnTo>
                  <a:pt x="81" y="144"/>
                </a:lnTo>
                <a:lnTo>
                  <a:pt x="76" y="144"/>
                </a:lnTo>
                <a:lnTo>
                  <a:pt x="75" y="143"/>
                </a:lnTo>
                <a:lnTo>
                  <a:pt x="72" y="143"/>
                </a:lnTo>
                <a:lnTo>
                  <a:pt x="68" y="142"/>
                </a:lnTo>
                <a:lnTo>
                  <a:pt x="61" y="149"/>
                </a:lnTo>
                <a:lnTo>
                  <a:pt x="55" y="149"/>
                </a:lnTo>
                <a:lnTo>
                  <a:pt x="50" y="152"/>
                </a:lnTo>
                <a:lnTo>
                  <a:pt x="43" y="153"/>
                </a:lnTo>
                <a:lnTo>
                  <a:pt x="38" y="154"/>
                </a:lnTo>
                <a:lnTo>
                  <a:pt x="44" y="157"/>
                </a:lnTo>
                <a:lnTo>
                  <a:pt x="40" y="158"/>
                </a:lnTo>
                <a:lnTo>
                  <a:pt x="39" y="158"/>
                </a:lnTo>
                <a:lnTo>
                  <a:pt x="36" y="157"/>
                </a:lnTo>
                <a:lnTo>
                  <a:pt x="35" y="156"/>
                </a:lnTo>
                <a:lnTo>
                  <a:pt x="33" y="156"/>
                </a:lnTo>
                <a:lnTo>
                  <a:pt x="31" y="155"/>
                </a:lnTo>
                <a:lnTo>
                  <a:pt x="30" y="154"/>
                </a:lnTo>
                <a:lnTo>
                  <a:pt x="31" y="153"/>
                </a:lnTo>
                <a:lnTo>
                  <a:pt x="31" y="150"/>
                </a:lnTo>
                <a:lnTo>
                  <a:pt x="33" y="150"/>
                </a:lnTo>
                <a:lnTo>
                  <a:pt x="35" y="152"/>
                </a:lnTo>
                <a:lnTo>
                  <a:pt x="39" y="150"/>
                </a:lnTo>
                <a:lnTo>
                  <a:pt x="33" y="138"/>
                </a:lnTo>
                <a:lnTo>
                  <a:pt x="31" y="138"/>
                </a:lnTo>
                <a:lnTo>
                  <a:pt x="30" y="136"/>
                </a:lnTo>
                <a:lnTo>
                  <a:pt x="29" y="135"/>
                </a:lnTo>
                <a:lnTo>
                  <a:pt x="27" y="133"/>
                </a:lnTo>
                <a:lnTo>
                  <a:pt x="25" y="132"/>
                </a:lnTo>
                <a:lnTo>
                  <a:pt x="23" y="132"/>
                </a:lnTo>
                <a:lnTo>
                  <a:pt x="19" y="133"/>
                </a:lnTo>
                <a:lnTo>
                  <a:pt x="15" y="132"/>
                </a:lnTo>
                <a:lnTo>
                  <a:pt x="15" y="134"/>
                </a:lnTo>
                <a:lnTo>
                  <a:pt x="12" y="131"/>
                </a:lnTo>
                <a:lnTo>
                  <a:pt x="11" y="129"/>
                </a:lnTo>
                <a:lnTo>
                  <a:pt x="10" y="127"/>
                </a:lnTo>
                <a:lnTo>
                  <a:pt x="10" y="126"/>
                </a:lnTo>
                <a:lnTo>
                  <a:pt x="9" y="125"/>
                </a:lnTo>
                <a:lnTo>
                  <a:pt x="9" y="123"/>
                </a:lnTo>
                <a:lnTo>
                  <a:pt x="0" y="121"/>
                </a:lnTo>
                <a:lnTo>
                  <a:pt x="1" y="112"/>
                </a:lnTo>
                <a:lnTo>
                  <a:pt x="4" y="109"/>
                </a:lnTo>
                <a:lnTo>
                  <a:pt x="4" y="108"/>
                </a:lnTo>
                <a:lnTo>
                  <a:pt x="3" y="107"/>
                </a:lnTo>
                <a:lnTo>
                  <a:pt x="0" y="105"/>
                </a:lnTo>
                <a:lnTo>
                  <a:pt x="0" y="95"/>
                </a:lnTo>
                <a:lnTo>
                  <a:pt x="3" y="93"/>
                </a:lnTo>
                <a:lnTo>
                  <a:pt x="4" y="92"/>
                </a:lnTo>
                <a:lnTo>
                  <a:pt x="3" y="91"/>
                </a:lnTo>
                <a:lnTo>
                  <a:pt x="3" y="88"/>
                </a:lnTo>
                <a:lnTo>
                  <a:pt x="3" y="87"/>
                </a:lnTo>
                <a:lnTo>
                  <a:pt x="3" y="86"/>
                </a:lnTo>
                <a:lnTo>
                  <a:pt x="4" y="84"/>
                </a:lnTo>
                <a:lnTo>
                  <a:pt x="7" y="85"/>
                </a:lnTo>
                <a:lnTo>
                  <a:pt x="8" y="87"/>
                </a:lnTo>
                <a:lnTo>
                  <a:pt x="11" y="88"/>
                </a:lnTo>
                <a:lnTo>
                  <a:pt x="18" y="96"/>
                </a:lnTo>
                <a:lnTo>
                  <a:pt x="20" y="97"/>
                </a:lnTo>
                <a:lnTo>
                  <a:pt x="25" y="93"/>
                </a:lnTo>
                <a:lnTo>
                  <a:pt x="24" y="92"/>
                </a:lnTo>
                <a:lnTo>
                  <a:pt x="23" y="91"/>
                </a:lnTo>
                <a:lnTo>
                  <a:pt x="21" y="85"/>
                </a:lnTo>
                <a:lnTo>
                  <a:pt x="19" y="82"/>
                </a:lnTo>
                <a:lnTo>
                  <a:pt x="21" y="83"/>
                </a:lnTo>
                <a:lnTo>
                  <a:pt x="22" y="82"/>
                </a:lnTo>
                <a:lnTo>
                  <a:pt x="27" y="79"/>
                </a:lnTo>
                <a:lnTo>
                  <a:pt x="29" y="78"/>
                </a:lnTo>
                <a:lnTo>
                  <a:pt x="29" y="77"/>
                </a:lnTo>
                <a:lnTo>
                  <a:pt x="29" y="75"/>
                </a:lnTo>
                <a:lnTo>
                  <a:pt x="28" y="74"/>
                </a:lnTo>
                <a:lnTo>
                  <a:pt x="30" y="73"/>
                </a:lnTo>
                <a:lnTo>
                  <a:pt x="32" y="74"/>
                </a:lnTo>
                <a:lnTo>
                  <a:pt x="33" y="73"/>
                </a:lnTo>
                <a:lnTo>
                  <a:pt x="34" y="72"/>
                </a:lnTo>
                <a:lnTo>
                  <a:pt x="36" y="71"/>
                </a:lnTo>
                <a:lnTo>
                  <a:pt x="38" y="71"/>
                </a:lnTo>
                <a:lnTo>
                  <a:pt x="39" y="69"/>
                </a:lnTo>
                <a:lnTo>
                  <a:pt x="40" y="68"/>
                </a:lnTo>
                <a:lnTo>
                  <a:pt x="41" y="67"/>
                </a:lnTo>
                <a:lnTo>
                  <a:pt x="41" y="65"/>
                </a:lnTo>
                <a:lnTo>
                  <a:pt x="42" y="64"/>
                </a:lnTo>
                <a:lnTo>
                  <a:pt x="46" y="64"/>
                </a:lnTo>
                <a:lnTo>
                  <a:pt x="50" y="64"/>
                </a:lnTo>
                <a:lnTo>
                  <a:pt x="51" y="65"/>
                </a:lnTo>
                <a:lnTo>
                  <a:pt x="52" y="66"/>
                </a:lnTo>
                <a:lnTo>
                  <a:pt x="56" y="66"/>
                </a:lnTo>
                <a:lnTo>
                  <a:pt x="58" y="67"/>
                </a:lnTo>
                <a:lnTo>
                  <a:pt x="59" y="66"/>
                </a:lnTo>
                <a:lnTo>
                  <a:pt x="59" y="64"/>
                </a:lnTo>
                <a:lnTo>
                  <a:pt x="60" y="63"/>
                </a:lnTo>
                <a:lnTo>
                  <a:pt x="61" y="63"/>
                </a:lnTo>
                <a:lnTo>
                  <a:pt x="63" y="63"/>
                </a:lnTo>
                <a:lnTo>
                  <a:pt x="65" y="63"/>
                </a:lnTo>
                <a:lnTo>
                  <a:pt x="68" y="65"/>
                </a:lnTo>
                <a:lnTo>
                  <a:pt x="69" y="66"/>
                </a:lnTo>
                <a:lnTo>
                  <a:pt x="71" y="66"/>
                </a:lnTo>
                <a:lnTo>
                  <a:pt x="73" y="66"/>
                </a:lnTo>
                <a:lnTo>
                  <a:pt x="75" y="66"/>
                </a:lnTo>
                <a:lnTo>
                  <a:pt x="79" y="66"/>
                </a:lnTo>
                <a:lnTo>
                  <a:pt x="81" y="66"/>
                </a:lnTo>
                <a:lnTo>
                  <a:pt x="83" y="67"/>
                </a:lnTo>
                <a:lnTo>
                  <a:pt x="84" y="68"/>
                </a:lnTo>
                <a:lnTo>
                  <a:pt x="86" y="71"/>
                </a:lnTo>
                <a:lnTo>
                  <a:pt x="93" y="74"/>
                </a:lnTo>
                <a:lnTo>
                  <a:pt x="94" y="75"/>
                </a:lnTo>
                <a:lnTo>
                  <a:pt x="95" y="76"/>
                </a:lnTo>
                <a:lnTo>
                  <a:pt x="100" y="78"/>
                </a:lnTo>
                <a:lnTo>
                  <a:pt x="100" y="81"/>
                </a:lnTo>
                <a:lnTo>
                  <a:pt x="100" y="82"/>
                </a:lnTo>
                <a:lnTo>
                  <a:pt x="102" y="83"/>
                </a:lnTo>
                <a:lnTo>
                  <a:pt x="104" y="83"/>
                </a:lnTo>
                <a:lnTo>
                  <a:pt x="103" y="82"/>
                </a:lnTo>
                <a:lnTo>
                  <a:pt x="102" y="79"/>
                </a:lnTo>
                <a:lnTo>
                  <a:pt x="102" y="78"/>
                </a:lnTo>
                <a:lnTo>
                  <a:pt x="101" y="76"/>
                </a:lnTo>
                <a:lnTo>
                  <a:pt x="101" y="75"/>
                </a:lnTo>
                <a:lnTo>
                  <a:pt x="103" y="75"/>
                </a:lnTo>
                <a:lnTo>
                  <a:pt x="104" y="76"/>
                </a:lnTo>
                <a:lnTo>
                  <a:pt x="106" y="77"/>
                </a:lnTo>
                <a:lnTo>
                  <a:pt x="108" y="79"/>
                </a:lnTo>
                <a:lnTo>
                  <a:pt x="110" y="81"/>
                </a:lnTo>
                <a:lnTo>
                  <a:pt x="114" y="82"/>
                </a:lnTo>
                <a:lnTo>
                  <a:pt x="117" y="83"/>
                </a:lnTo>
                <a:lnTo>
                  <a:pt x="120" y="83"/>
                </a:lnTo>
                <a:lnTo>
                  <a:pt x="124" y="79"/>
                </a:lnTo>
                <a:lnTo>
                  <a:pt x="123" y="78"/>
                </a:lnTo>
                <a:lnTo>
                  <a:pt x="125" y="77"/>
                </a:lnTo>
                <a:lnTo>
                  <a:pt x="126" y="76"/>
                </a:lnTo>
                <a:lnTo>
                  <a:pt x="127" y="76"/>
                </a:lnTo>
                <a:lnTo>
                  <a:pt x="130" y="76"/>
                </a:lnTo>
                <a:lnTo>
                  <a:pt x="130" y="75"/>
                </a:lnTo>
                <a:lnTo>
                  <a:pt x="132" y="75"/>
                </a:lnTo>
                <a:lnTo>
                  <a:pt x="134" y="75"/>
                </a:lnTo>
                <a:lnTo>
                  <a:pt x="135" y="74"/>
                </a:lnTo>
                <a:lnTo>
                  <a:pt x="137" y="75"/>
                </a:lnTo>
                <a:lnTo>
                  <a:pt x="141" y="77"/>
                </a:lnTo>
                <a:lnTo>
                  <a:pt x="144" y="76"/>
                </a:lnTo>
                <a:lnTo>
                  <a:pt x="144" y="74"/>
                </a:lnTo>
                <a:lnTo>
                  <a:pt x="149" y="74"/>
                </a:lnTo>
                <a:lnTo>
                  <a:pt x="150" y="74"/>
                </a:lnTo>
                <a:lnTo>
                  <a:pt x="154" y="75"/>
                </a:lnTo>
                <a:lnTo>
                  <a:pt x="155" y="76"/>
                </a:lnTo>
                <a:lnTo>
                  <a:pt x="157" y="79"/>
                </a:lnTo>
                <a:lnTo>
                  <a:pt x="159" y="81"/>
                </a:lnTo>
                <a:lnTo>
                  <a:pt x="161" y="82"/>
                </a:lnTo>
                <a:lnTo>
                  <a:pt x="164" y="82"/>
                </a:lnTo>
                <a:lnTo>
                  <a:pt x="169" y="82"/>
                </a:lnTo>
                <a:lnTo>
                  <a:pt x="169" y="82"/>
                </a:lnTo>
                <a:lnTo>
                  <a:pt x="170" y="84"/>
                </a:lnTo>
                <a:lnTo>
                  <a:pt x="174" y="84"/>
                </a:lnTo>
                <a:lnTo>
                  <a:pt x="175" y="83"/>
                </a:lnTo>
                <a:lnTo>
                  <a:pt x="176" y="79"/>
                </a:lnTo>
                <a:lnTo>
                  <a:pt x="177" y="78"/>
                </a:lnTo>
                <a:lnTo>
                  <a:pt x="179" y="79"/>
                </a:lnTo>
                <a:lnTo>
                  <a:pt x="183" y="82"/>
                </a:lnTo>
                <a:lnTo>
                  <a:pt x="186" y="82"/>
                </a:lnTo>
                <a:lnTo>
                  <a:pt x="191" y="82"/>
                </a:lnTo>
                <a:lnTo>
                  <a:pt x="192" y="81"/>
                </a:lnTo>
                <a:lnTo>
                  <a:pt x="195" y="79"/>
                </a:lnTo>
                <a:lnTo>
                  <a:pt x="195" y="72"/>
                </a:lnTo>
                <a:lnTo>
                  <a:pt x="196" y="71"/>
                </a:lnTo>
                <a:lnTo>
                  <a:pt x="194" y="68"/>
                </a:lnTo>
                <a:lnTo>
                  <a:pt x="193" y="68"/>
                </a:lnTo>
                <a:lnTo>
                  <a:pt x="190" y="68"/>
                </a:lnTo>
                <a:lnTo>
                  <a:pt x="186" y="67"/>
                </a:lnTo>
                <a:lnTo>
                  <a:pt x="184" y="66"/>
                </a:lnTo>
                <a:lnTo>
                  <a:pt x="183" y="65"/>
                </a:lnTo>
                <a:lnTo>
                  <a:pt x="179" y="65"/>
                </a:lnTo>
                <a:lnTo>
                  <a:pt x="176" y="64"/>
                </a:lnTo>
                <a:lnTo>
                  <a:pt x="175" y="63"/>
                </a:lnTo>
                <a:lnTo>
                  <a:pt x="174" y="61"/>
                </a:lnTo>
                <a:lnTo>
                  <a:pt x="170" y="61"/>
                </a:lnTo>
                <a:lnTo>
                  <a:pt x="170" y="58"/>
                </a:lnTo>
                <a:lnTo>
                  <a:pt x="171" y="58"/>
                </a:lnTo>
                <a:lnTo>
                  <a:pt x="173" y="56"/>
                </a:lnTo>
                <a:lnTo>
                  <a:pt x="177" y="55"/>
                </a:lnTo>
                <a:lnTo>
                  <a:pt x="180" y="54"/>
                </a:lnTo>
                <a:lnTo>
                  <a:pt x="181" y="52"/>
                </a:lnTo>
                <a:lnTo>
                  <a:pt x="180" y="51"/>
                </a:lnTo>
                <a:lnTo>
                  <a:pt x="173" y="45"/>
                </a:lnTo>
                <a:lnTo>
                  <a:pt x="175" y="45"/>
                </a:lnTo>
                <a:lnTo>
                  <a:pt x="176" y="44"/>
                </a:lnTo>
                <a:lnTo>
                  <a:pt x="176" y="42"/>
                </a:lnTo>
                <a:lnTo>
                  <a:pt x="177" y="41"/>
                </a:lnTo>
                <a:lnTo>
                  <a:pt x="180" y="41"/>
                </a:lnTo>
                <a:lnTo>
                  <a:pt x="182" y="42"/>
                </a:lnTo>
                <a:lnTo>
                  <a:pt x="183" y="41"/>
                </a:lnTo>
                <a:lnTo>
                  <a:pt x="185" y="42"/>
                </a:lnTo>
                <a:lnTo>
                  <a:pt x="190" y="42"/>
                </a:lnTo>
                <a:lnTo>
                  <a:pt x="191" y="41"/>
                </a:lnTo>
                <a:lnTo>
                  <a:pt x="192" y="39"/>
                </a:lnTo>
                <a:lnTo>
                  <a:pt x="190" y="38"/>
                </a:lnTo>
                <a:lnTo>
                  <a:pt x="186" y="36"/>
                </a:lnTo>
                <a:lnTo>
                  <a:pt x="177" y="36"/>
                </a:lnTo>
                <a:lnTo>
                  <a:pt x="176" y="34"/>
                </a:lnTo>
                <a:lnTo>
                  <a:pt x="175" y="33"/>
                </a:lnTo>
                <a:lnTo>
                  <a:pt x="177" y="33"/>
                </a:lnTo>
                <a:lnTo>
                  <a:pt x="180" y="32"/>
                </a:lnTo>
                <a:lnTo>
                  <a:pt x="180" y="31"/>
                </a:lnTo>
                <a:lnTo>
                  <a:pt x="177" y="29"/>
                </a:lnTo>
                <a:lnTo>
                  <a:pt x="176" y="31"/>
                </a:lnTo>
                <a:lnTo>
                  <a:pt x="173" y="31"/>
                </a:lnTo>
                <a:lnTo>
                  <a:pt x="172" y="29"/>
                </a:lnTo>
                <a:lnTo>
                  <a:pt x="172" y="27"/>
                </a:lnTo>
                <a:lnTo>
                  <a:pt x="173" y="26"/>
                </a:lnTo>
                <a:lnTo>
                  <a:pt x="170" y="24"/>
                </a:lnTo>
                <a:lnTo>
                  <a:pt x="173" y="24"/>
                </a:lnTo>
                <a:lnTo>
                  <a:pt x="174" y="23"/>
                </a:lnTo>
                <a:lnTo>
                  <a:pt x="176" y="23"/>
                </a:lnTo>
                <a:lnTo>
                  <a:pt x="177" y="24"/>
                </a:lnTo>
                <a:lnTo>
                  <a:pt x="180" y="24"/>
                </a:lnTo>
                <a:lnTo>
                  <a:pt x="182" y="24"/>
                </a:lnTo>
                <a:lnTo>
                  <a:pt x="183" y="24"/>
                </a:lnTo>
                <a:lnTo>
                  <a:pt x="190" y="24"/>
                </a:lnTo>
                <a:lnTo>
                  <a:pt x="191" y="25"/>
                </a:lnTo>
                <a:lnTo>
                  <a:pt x="193" y="23"/>
                </a:lnTo>
                <a:lnTo>
                  <a:pt x="194" y="23"/>
                </a:lnTo>
                <a:lnTo>
                  <a:pt x="198" y="23"/>
                </a:lnTo>
                <a:lnTo>
                  <a:pt x="200" y="22"/>
                </a:lnTo>
                <a:lnTo>
                  <a:pt x="201" y="21"/>
                </a:lnTo>
                <a:lnTo>
                  <a:pt x="203" y="20"/>
                </a:lnTo>
                <a:lnTo>
                  <a:pt x="205" y="20"/>
                </a:lnTo>
                <a:lnTo>
                  <a:pt x="207" y="21"/>
                </a:lnTo>
                <a:lnTo>
                  <a:pt x="210" y="21"/>
                </a:lnTo>
                <a:lnTo>
                  <a:pt x="210" y="20"/>
                </a:lnTo>
                <a:lnTo>
                  <a:pt x="213" y="18"/>
                </a:lnTo>
                <a:lnTo>
                  <a:pt x="214" y="17"/>
                </a:lnTo>
                <a:lnTo>
                  <a:pt x="216" y="17"/>
                </a:lnTo>
                <a:lnTo>
                  <a:pt x="218" y="17"/>
                </a:lnTo>
                <a:lnTo>
                  <a:pt x="220" y="17"/>
                </a:lnTo>
                <a:lnTo>
                  <a:pt x="222" y="17"/>
                </a:lnTo>
                <a:lnTo>
                  <a:pt x="223" y="16"/>
                </a:lnTo>
                <a:lnTo>
                  <a:pt x="222" y="15"/>
                </a:lnTo>
                <a:lnTo>
                  <a:pt x="223" y="13"/>
                </a:lnTo>
                <a:lnTo>
                  <a:pt x="224" y="13"/>
                </a:lnTo>
                <a:lnTo>
                  <a:pt x="226" y="12"/>
                </a:lnTo>
                <a:lnTo>
                  <a:pt x="227" y="13"/>
                </a:lnTo>
                <a:lnTo>
                  <a:pt x="232" y="12"/>
                </a:lnTo>
                <a:lnTo>
                  <a:pt x="232" y="12"/>
                </a:lnTo>
                <a:lnTo>
                  <a:pt x="241" y="11"/>
                </a:lnTo>
                <a:lnTo>
                  <a:pt x="247" y="10"/>
                </a:lnTo>
                <a:lnTo>
                  <a:pt x="254" y="8"/>
                </a:lnTo>
                <a:lnTo>
                  <a:pt x="255" y="7"/>
                </a:lnTo>
                <a:lnTo>
                  <a:pt x="257" y="7"/>
                </a:lnTo>
                <a:lnTo>
                  <a:pt x="258" y="6"/>
                </a:lnTo>
                <a:lnTo>
                  <a:pt x="260" y="5"/>
                </a:lnTo>
                <a:lnTo>
                  <a:pt x="258" y="4"/>
                </a:lnTo>
                <a:lnTo>
                  <a:pt x="258" y="3"/>
                </a:lnTo>
                <a:lnTo>
                  <a:pt x="261" y="3"/>
                </a:lnTo>
                <a:lnTo>
                  <a:pt x="262" y="3"/>
                </a:lnTo>
                <a:lnTo>
                  <a:pt x="263" y="2"/>
                </a:lnTo>
                <a:lnTo>
                  <a:pt x="264" y="1"/>
                </a:lnTo>
                <a:lnTo>
                  <a:pt x="266" y="1"/>
                </a:lnTo>
                <a:lnTo>
                  <a:pt x="266" y="0"/>
                </a:lnTo>
                <a:lnTo>
                  <a:pt x="268" y="0"/>
                </a:lnTo>
                <a:lnTo>
                  <a:pt x="271" y="1"/>
                </a:lnTo>
                <a:lnTo>
                  <a:pt x="272" y="0"/>
                </a:lnTo>
                <a:lnTo>
                  <a:pt x="274" y="1"/>
                </a:lnTo>
                <a:lnTo>
                  <a:pt x="276" y="1"/>
                </a:lnTo>
                <a:lnTo>
                  <a:pt x="278" y="1"/>
                </a:lnTo>
                <a:lnTo>
                  <a:pt x="279" y="2"/>
                </a:lnTo>
                <a:lnTo>
                  <a:pt x="284" y="4"/>
                </a:lnTo>
                <a:lnTo>
                  <a:pt x="285" y="3"/>
                </a:lnTo>
                <a:lnTo>
                  <a:pt x="286" y="2"/>
                </a:lnTo>
                <a:lnTo>
                  <a:pt x="289" y="2"/>
                </a:lnTo>
                <a:lnTo>
                  <a:pt x="292" y="2"/>
                </a:lnTo>
                <a:lnTo>
                  <a:pt x="294" y="3"/>
                </a:lnTo>
                <a:lnTo>
                  <a:pt x="295" y="4"/>
                </a:lnTo>
                <a:lnTo>
                  <a:pt x="297" y="7"/>
                </a:lnTo>
                <a:lnTo>
                  <a:pt x="297" y="8"/>
                </a:lnTo>
                <a:lnTo>
                  <a:pt x="298" y="10"/>
                </a:lnTo>
                <a:lnTo>
                  <a:pt x="303" y="12"/>
                </a:lnTo>
                <a:lnTo>
                  <a:pt x="303" y="13"/>
                </a:lnTo>
                <a:lnTo>
                  <a:pt x="304" y="16"/>
                </a:lnTo>
                <a:lnTo>
                  <a:pt x="304" y="17"/>
                </a:lnTo>
                <a:lnTo>
                  <a:pt x="303" y="18"/>
                </a:lnTo>
                <a:lnTo>
                  <a:pt x="304" y="20"/>
                </a:lnTo>
                <a:lnTo>
                  <a:pt x="305" y="22"/>
                </a:lnTo>
                <a:lnTo>
                  <a:pt x="309" y="21"/>
                </a:lnTo>
                <a:lnTo>
                  <a:pt x="312" y="22"/>
                </a:lnTo>
                <a:lnTo>
                  <a:pt x="313" y="22"/>
                </a:lnTo>
                <a:lnTo>
                  <a:pt x="313" y="20"/>
                </a:lnTo>
                <a:lnTo>
                  <a:pt x="315" y="20"/>
                </a:lnTo>
                <a:lnTo>
                  <a:pt x="317" y="21"/>
                </a:lnTo>
                <a:lnTo>
                  <a:pt x="317" y="18"/>
                </a:lnTo>
                <a:lnTo>
                  <a:pt x="316" y="17"/>
                </a:lnTo>
                <a:lnTo>
                  <a:pt x="318" y="17"/>
                </a:lnTo>
                <a:lnTo>
                  <a:pt x="319" y="18"/>
                </a:lnTo>
                <a:lnTo>
                  <a:pt x="321" y="21"/>
                </a:lnTo>
                <a:lnTo>
                  <a:pt x="323" y="22"/>
                </a:lnTo>
                <a:lnTo>
                  <a:pt x="323" y="23"/>
                </a:lnTo>
                <a:lnTo>
                  <a:pt x="323" y="24"/>
                </a:lnTo>
                <a:lnTo>
                  <a:pt x="327" y="25"/>
                </a:lnTo>
                <a:lnTo>
                  <a:pt x="326" y="23"/>
                </a:lnTo>
                <a:lnTo>
                  <a:pt x="324" y="22"/>
                </a:lnTo>
                <a:lnTo>
                  <a:pt x="326" y="22"/>
                </a:lnTo>
                <a:lnTo>
                  <a:pt x="329" y="22"/>
                </a:lnTo>
                <a:lnTo>
                  <a:pt x="332" y="23"/>
                </a:lnTo>
                <a:lnTo>
                  <a:pt x="334" y="24"/>
                </a:lnTo>
                <a:lnTo>
                  <a:pt x="336" y="25"/>
                </a:lnTo>
                <a:lnTo>
                  <a:pt x="338" y="25"/>
                </a:lnTo>
                <a:lnTo>
                  <a:pt x="338" y="23"/>
                </a:lnTo>
                <a:lnTo>
                  <a:pt x="341" y="23"/>
                </a:lnTo>
                <a:lnTo>
                  <a:pt x="342" y="24"/>
                </a:lnTo>
                <a:lnTo>
                  <a:pt x="342" y="26"/>
                </a:lnTo>
                <a:lnTo>
                  <a:pt x="341" y="26"/>
                </a:lnTo>
                <a:lnTo>
                  <a:pt x="339" y="27"/>
                </a:lnTo>
                <a:lnTo>
                  <a:pt x="338" y="28"/>
                </a:lnTo>
                <a:lnTo>
                  <a:pt x="338" y="29"/>
                </a:lnTo>
                <a:lnTo>
                  <a:pt x="339" y="32"/>
                </a:lnTo>
                <a:lnTo>
                  <a:pt x="341" y="33"/>
                </a:lnTo>
                <a:lnTo>
                  <a:pt x="343" y="33"/>
                </a:lnTo>
                <a:lnTo>
                  <a:pt x="344" y="32"/>
                </a:lnTo>
                <a:lnTo>
                  <a:pt x="347" y="31"/>
                </a:lnTo>
                <a:lnTo>
                  <a:pt x="349" y="31"/>
                </a:lnTo>
                <a:lnTo>
                  <a:pt x="351" y="31"/>
                </a:lnTo>
                <a:lnTo>
                  <a:pt x="353" y="32"/>
                </a:lnTo>
                <a:lnTo>
                  <a:pt x="355" y="32"/>
                </a:lnTo>
                <a:lnTo>
                  <a:pt x="354" y="31"/>
                </a:lnTo>
                <a:lnTo>
                  <a:pt x="354" y="29"/>
                </a:lnTo>
                <a:lnTo>
                  <a:pt x="356" y="28"/>
                </a:lnTo>
                <a:lnTo>
                  <a:pt x="357" y="27"/>
                </a:lnTo>
                <a:lnTo>
                  <a:pt x="362" y="26"/>
                </a:lnTo>
                <a:lnTo>
                  <a:pt x="364" y="24"/>
                </a:lnTo>
                <a:lnTo>
                  <a:pt x="364" y="22"/>
                </a:lnTo>
                <a:lnTo>
                  <a:pt x="365" y="21"/>
                </a:lnTo>
                <a:lnTo>
                  <a:pt x="367" y="21"/>
                </a:lnTo>
                <a:lnTo>
                  <a:pt x="370" y="21"/>
                </a:lnTo>
                <a:lnTo>
                  <a:pt x="372" y="20"/>
                </a:lnTo>
                <a:lnTo>
                  <a:pt x="373" y="18"/>
                </a:lnTo>
                <a:lnTo>
                  <a:pt x="376" y="18"/>
                </a:lnTo>
                <a:lnTo>
                  <a:pt x="378" y="16"/>
                </a:lnTo>
                <a:lnTo>
                  <a:pt x="380" y="18"/>
                </a:lnTo>
                <a:lnTo>
                  <a:pt x="382" y="20"/>
                </a:lnTo>
                <a:lnTo>
                  <a:pt x="380" y="21"/>
                </a:lnTo>
                <a:lnTo>
                  <a:pt x="379" y="21"/>
                </a:lnTo>
                <a:lnTo>
                  <a:pt x="377" y="21"/>
                </a:lnTo>
                <a:lnTo>
                  <a:pt x="377" y="23"/>
                </a:lnTo>
                <a:lnTo>
                  <a:pt x="379" y="24"/>
                </a:lnTo>
                <a:lnTo>
                  <a:pt x="380" y="24"/>
                </a:lnTo>
                <a:lnTo>
                  <a:pt x="404" y="36"/>
                </a:lnTo>
                <a:lnTo>
                  <a:pt x="455" y="79"/>
                </a:lnTo>
                <a:lnTo>
                  <a:pt x="457" y="77"/>
                </a:lnTo>
                <a:lnTo>
                  <a:pt x="457" y="76"/>
                </a:lnTo>
                <a:lnTo>
                  <a:pt x="456" y="74"/>
                </a:lnTo>
                <a:lnTo>
                  <a:pt x="458" y="72"/>
                </a:lnTo>
                <a:lnTo>
                  <a:pt x="459" y="72"/>
                </a:lnTo>
                <a:lnTo>
                  <a:pt x="461" y="73"/>
                </a:lnTo>
                <a:lnTo>
                  <a:pt x="464" y="73"/>
                </a:lnTo>
                <a:lnTo>
                  <a:pt x="468" y="75"/>
                </a:lnTo>
                <a:lnTo>
                  <a:pt x="468" y="76"/>
                </a:lnTo>
                <a:lnTo>
                  <a:pt x="469" y="77"/>
                </a:lnTo>
                <a:lnTo>
                  <a:pt x="471" y="77"/>
                </a:lnTo>
                <a:lnTo>
                  <a:pt x="474" y="81"/>
                </a:lnTo>
                <a:lnTo>
                  <a:pt x="479" y="79"/>
                </a:lnTo>
                <a:lnTo>
                  <a:pt x="484" y="81"/>
                </a:lnTo>
                <a:lnTo>
                  <a:pt x="486" y="81"/>
                </a:lnTo>
                <a:lnTo>
                  <a:pt x="490" y="81"/>
                </a:lnTo>
                <a:lnTo>
                  <a:pt x="489" y="79"/>
                </a:lnTo>
                <a:lnTo>
                  <a:pt x="490" y="77"/>
                </a:lnTo>
                <a:lnTo>
                  <a:pt x="493" y="78"/>
                </a:lnTo>
                <a:lnTo>
                  <a:pt x="495" y="78"/>
                </a:lnTo>
                <a:lnTo>
                  <a:pt x="495" y="76"/>
                </a:lnTo>
                <a:lnTo>
                  <a:pt x="496" y="75"/>
                </a:lnTo>
                <a:lnTo>
                  <a:pt x="500" y="76"/>
                </a:lnTo>
                <a:lnTo>
                  <a:pt x="503" y="77"/>
                </a:lnTo>
                <a:lnTo>
                  <a:pt x="504" y="78"/>
                </a:lnTo>
                <a:lnTo>
                  <a:pt x="506" y="79"/>
                </a:lnTo>
                <a:lnTo>
                  <a:pt x="510" y="82"/>
                </a:lnTo>
                <a:lnTo>
                  <a:pt x="513" y="83"/>
                </a:lnTo>
                <a:lnTo>
                  <a:pt x="514" y="84"/>
                </a:lnTo>
                <a:lnTo>
                  <a:pt x="515" y="86"/>
                </a:lnTo>
                <a:lnTo>
                  <a:pt x="515" y="87"/>
                </a:lnTo>
                <a:lnTo>
                  <a:pt x="517" y="88"/>
                </a:lnTo>
                <a:lnTo>
                  <a:pt x="519" y="89"/>
                </a:lnTo>
                <a:lnTo>
                  <a:pt x="526" y="92"/>
                </a:lnTo>
                <a:lnTo>
                  <a:pt x="527" y="93"/>
                </a:lnTo>
                <a:lnTo>
                  <a:pt x="528" y="95"/>
                </a:lnTo>
                <a:lnTo>
                  <a:pt x="530" y="95"/>
                </a:lnTo>
                <a:lnTo>
                  <a:pt x="532" y="96"/>
                </a:lnTo>
                <a:lnTo>
                  <a:pt x="535" y="99"/>
                </a:lnTo>
                <a:lnTo>
                  <a:pt x="537" y="101"/>
                </a:lnTo>
                <a:lnTo>
                  <a:pt x="541" y="101"/>
                </a:lnTo>
                <a:lnTo>
                  <a:pt x="544" y="102"/>
                </a:lnTo>
                <a:lnTo>
                  <a:pt x="546" y="102"/>
                </a:lnTo>
                <a:lnTo>
                  <a:pt x="548" y="103"/>
                </a:lnTo>
                <a:lnTo>
                  <a:pt x="550" y="103"/>
                </a:lnTo>
                <a:lnTo>
                  <a:pt x="550" y="101"/>
                </a:lnTo>
                <a:lnTo>
                  <a:pt x="551" y="99"/>
                </a:lnTo>
                <a:lnTo>
                  <a:pt x="555" y="98"/>
                </a:lnTo>
                <a:lnTo>
                  <a:pt x="556" y="101"/>
                </a:lnTo>
                <a:lnTo>
                  <a:pt x="557" y="102"/>
                </a:lnTo>
                <a:lnTo>
                  <a:pt x="559" y="103"/>
                </a:lnTo>
                <a:lnTo>
                  <a:pt x="562" y="106"/>
                </a:lnTo>
                <a:lnTo>
                  <a:pt x="565" y="106"/>
                </a:lnTo>
                <a:lnTo>
                  <a:pt x="567" y="108"/>
                </a:lnTo>
                <a:lnTo>
                  <a:pt x="566" y="114"/>
                </a:lnTo>
                <a:lnTo>
                  <a:pt x="566" y="114"/>
                </a:lnTo>
                <a:lnTo>
                  <a:pt x="566" y="118"/>
                </a:lnTo>
                <a:lnTo>
                  <a:pt x="562" y="122"/>
                </a:lnTo>
                <a:lnTo>
                  <a:pt x="558" y="123"/>
                </a:lnTo>
                <a:lnTo>
                  <a:pt x="554" y="123"/>
                </a:lnTo>
                <a:lnTo>
                  <a:pt x="554" y="127"/>
                </a:lnTo>
                <a:lnTo>
                  <a:pt x="555" y="133"/>
                </a:lnTo>
                <a:lnTo>
                  <a:pt x="557" y="137"/>
                </a:lnTo>
                <a:lnTo>
                  <a:pt x="560" y="145"/>
                </a:lnTo>
                <a:lnTo>
                  <a:pt x="555" y="147"/>
                </a:lnTo>
                <a:lnTo>
                  <a:pt x="552" y="149"/>
                </a:lnTo>
                <a:lnTo>
                  <a:pt x="549" y="148"/>
                </a:lnTo>
                <a:lnTo>
                  <a:pt x="546" y="146"/>
                </a:lnTo>
                <a:lnTo>
                  <a:pt x="537" y="147"/>
                </a:lnTo>
                <a:lnTo>
                  <a:pt x="531" y="145"/>
                </a:lnTo>
                <a:lnTo>
                  <a:pt x="528" y="144"/>
                </a:lnTo>
                <a:lnTo>
                  <a:pt x="522" y="144"/>
                </a:lnTo>
                <a:lnTo>
                  <a:pt x="521" y="148"/>
                </a:lnTo>
                <a:lnTo>
                  <a:pt x="521" y="154"/>
                </a:lnTo>
                <a:lnTo>
                  <a:pt x="521" y="160"/>
                </a:lnTo>
                <a:lnTo>
                  <a:pt x="521" y="166"/>
                </a:lnTo>
                <a:lnTo>
                  <a:pt x="522" y="170"/>
                </a:lnTo>
                <a:lnTo>
                  <a:pt x="525" y="174"/>
                </a:lnTo>
                <a:lnTo>
                  <a:pt x="528" y="177"/>
                </a:lnTo>
                <a:lnTo>
                  <a:pt x="526" y="178"/>
                </a:lnTo>
                <a:lnTo>
                  <a:pt x="511" y="179"/>
                </a:lnTo>
                <a:lnTo>
                  <a:pt x="507" y="182"/>
                </a:lnTo>
                <a:lnTo>
                  <a:pt x="503" y="182"/>
                </a:lnTo>
                <a:lnTo>
                  <a:pt x="498" y="184"/>
                </a:lnTo>
                <a:lnTo>
                  <a:pt x="496" y="185"/>
                </a:lnTo>
                <a:lnTo>
                  <a:pt x="499" y="187"/>
                </a:lnTo>
                <a:lnTo>
                  <a:pt x="503" y="190"/>
                </a:lnTo>
                <a:lnTo>
                  <a:pt x="507" y="199"/>
                </a:lnTo>
                <a:lnTo>
                  <a:pt x="509" y="203"/>
                </a:lnTo>
                <a:lnTo>
                  <a:pt x="513" y="206"/>
                </a:lnTo>
                <a:lnTo>
                  <a:pt x="517" y="212"/>
                </a:lnTo>
                <a:lnTo>
                  <a:pt x="518" y="216"/>
                </a:lnTo>
                <a:lnTo>
                  <a:pt x="516" y="218"/>
                </a:lnTo>
                <a:lnTo>
                  <a:pt x="517" y="220"/>
                </a:lnTo>
                <a:lnTo>
                  <a:pt x="516" y="223"/>
                </a:lnTo>
                <a:lnTo>
                  <a:pt x="516" y="226"/>
                </a:lnTo>
                <a:lnTo>
                  <a:pt x="518" y="230"/>
                </a:lnTo>
                <a:lnTo>
                  <a:pt x="518" y="230"/>
                </a:lnTo>
                <a:lnTo>
                  <a:pt x="516" y="230"/>
                </a:lnTo>
                <a:lnTo>
                  <a:pt x="509" y="227"/>
                </a:lnTo>
                <a:lnTo>
                  <a:pt x="505" y="226"/>
                </a:lnTo>
                <a:lnTo>
                  <a:pt x="499" y="222"/>
                </a:lnTo>
                <a:lnTo>
                  <a:pt x="495" y="222"/>
                </a:lnTo>
                <a:lnTo>
                  <a:pt x="493" y="222"/>
                </a:lnTo>
                <a:lnTo>
                  <a:pt x="490" y="222"/>
                </a:lnTo>
                <a:lnTo>
                  <a:pt x="488" y="220"/>
                </a:lnTo>
                <a:lnTo>
                  <a:pt x="486" y="219"/>
                </a:lnTo>
                <a:lnTo>
                  <a:pt x="480" y="220"/>
                </a:lnTo>
                <a:lnTo>
                  <a:pt x="474" y="219"/>
                </a:lnTo>
                <a:lnTo>
                  <a:pt x="471" y="219"/>
                </a:lnTo>
                <a:lnTo>
                  <a:pt x="467" y="218"/>
                </a:lnTo>
                <a:lnTo>
                  <a:pt x="465" y="218"/>
                </a:lnTo>
                <a:lnTo>
                  <a:pt x="461" y="219"/>
                </a:lnTo>
                <a:lnTo>
                  <a:pt x="453" y="218"/>
                </a:lnTo>
                <a:lnTo>
                  <a:pt x="450" y="218"/>
                </a:lnTo>
                <a:lnTo>
                  <a:pt x="446" y="219"/>
                </a:lnTo>
                <a:lnTo>
                  <a:pt x="443" y="219"/>
                </a:lnTo>
                <a:lnTo>
                  <a:pt x="439" y="219"/>
                </a:lnTo>
                <a:lnTo>
                  <a:pt x="438" y="218"/>
                </a:lnTo>
                <a:lnTo>
                  <a:pt x="436" y="217"/>
                </a:lnTo>
                <a:lnTo>
                  <a:pt x="432" y="218"/>
                </a:lnTo>
                <a:lnTo>
                  <a:pt x="429" y="216"/>
                </a:lnTo>
                <a:lnTo>
                  <a:pt x="423" y="214"/>
                </a:lnTo>
                <a:lnTo>
                  <a:pt x="422" y="215"/>
                </a:lnTo>
                <a:lnTo>
                  <a:pt x="419" y="215"/>
                </a:lnTo>
                <a:lnTo>
                  <a:pt x="417" y="216"/>
                </a:lnTo>
                <a:lnTo>
                  <a:pt x="415" y="218"/>
                </a:lnTo>
                <a:lnTo>
                  <a:pt x="415" y="219"/>
                </a:lnTo>
                <a:lnTo>
                  <a:pt x="415" y="222"/>
                </a:lnTo>
                <a:lnTo>
                  <a:pt x="415" y="225"/>
                </a:lnTo>
                <a:lnTo>
                  <a:pt x="415" y="227"/>
                </a:lnTo>
                <a:lnTo>
                  <a:pt x="410" y="226"/>
                </a:lnTo>
                <a:lnTo>
                  <a:pt x="406" y="225"/>
                </a:lnTo>
                <a:lnTo>
                  <a:pt x="402" y="223"/>
                </a:lnTo>
                <a:lnTo>
                  <a:pt x="399" y="223"/>
                </a:lnTo>
                <a:lnTo>
                  <a:pt x="397" y="222"/>
                </a:lnTo>
                <a:lnTo>
                  <a:pt x="395" y="222"/>
                </a:lnTo>
                <a:lnTo>
                  <a:pt x="390" y="222"/>
                </a:lnTo>
                <a:lnTo>
                  <a:pt x="388" y="222"/>
                </a:lnTo>
                <a:lnTo>
                  <a:pt x="386" y="220"/>
                </a:lnTo>
                <a:lnTo>
                  <a:pt x="383" y="222"/>
                </a:lnTo>
                <a:lnTo>
                  <a:pt x="380" y="223"/>
                </a:lnTo>
                <a:lnTo>
                  <a:pt x="380" y="224"/>
                </a:lnTo>
                <a:lnTo>
                  <a:pt x="382" y="226"/>
                </a:lnTo>
                <a:lnTo>
                  <a:pt x="380" y="227"/>
                </a:lnTo>
                <a:lnTo>
                  <a:pt x="380" y="229"/>
                </a:lnTo>
                <a:lnTo>
                  <a:pt x="380" y="232"/>
                </a:lnTo>
                <a:lnTo>
                  <a:pt x="378" y="234"/>
                </a:lnTo>
                <a:lnTo>
                  <a:pt x="376" y="235"/>
                </a:lnTo>
                <a:lnTo>
                  <a:pt x="374" y="234"/>
                </a:lnTo>
                <a:lnTo>
                  <a:pt x="374" y="238"/>
                </a:lnTo>
                <a:lnTo>
                  <a:pt x="373" y="239"/>
                </a:lnTo>
                <a:lnTo>
                  <a:pt x="367" y="241"/>
                </a:lnTo>
                <a:lnTo>
                  <a:pt x="364" y="244"/>
                </a:lnTo>
                <a:lnTo>
                  <a:pt x="363" y="245"/>
                </a:lnTo>
                <a:lnTo>
                  <a:pt x="362" y="246"/>
                </a:lnTo>
                <a:lnTo>
                  <a:pt x="359" y="247"/>
                </a:lnTo>
                <a:lnTo>
                  <a:pt x="359" y="248"/>
                </a:lnTo>
                <a:lnTo>
                  <a:pt x="359" y="250"/>
                </a:lnTo>
                <a:lnTo>
                  <a:pt x="358" y="251"/>
                </a:lnTo>
                <a:lnTo>
                  <a:pt x="356" y="253"/>
                </a:lnTo>
                <a:lnTo>
                  <a:pt x="354" y="253"/>
                </a:lnTo>
                <a:lnTo>
                  <a:pt x="349" y="250"/>
                </a:lnTo>
                <a:lnTo>
                  <a:pt x="347" y="250"/>
                </a:lnTo>
                <a:lnTo>
                  <a:pt x="343" y="248"/>
                </a:lnTo>
                <a:lnTo>
                  <a:pt x="328" y="249"/>
                </a:lnTo>
                <a:lnTo>
                  <a:pt x="322" y="238"/>
                </a:lnTo>
                <a:lnTo>
                  <a:pt x="313" y="237"/>
                </a:lnTo>
                <a:lnTo>
                  <a:pt x="312" y="234"/>
                </a:lnTo>
                <a:lnTo>
                  <a:pt x="311" y="229"/>
                </a:lnTo>
                <a:lnTo>
                  <a:pt x="313" y="229"/>
                </a:lnTo>
                <a:lnTo>
                  <a:pt x="309" y="219"/>
                </a:lnTo>
                <a:lnTo>
                  <a:pt x="305" y="219"/>
                </a:lnTo>
                <a:lnTo>
                  <a:pt x="298" y="212"/>
                </a:lnTo>
                <a:lnTo>
                  <a:pt x="295" y="209"/>
                </a:lnTo>
                <a:lnTo>
                  <a:pt x="293" y="208"/>
                </a:lnTo>
                <a:lnTo>
                  <a:pt x="288" y="206"/>
                </a:lnTo>
                <a:lnTo>
                  <a:pt x="286" y="204"/>
                </a:lnTo>
                <a:lnTo>
                  <a:pt x="283" y="206"/>
                </a:lnTo>
                <a:lnTo>
                  <a:pt x="263" y="205"/>
                </a:lnTo>
                <a:lnTo>
                  <a:pt x="245" y="208"/>
                </a:lnTo>
                <a:lnTo>
                  <a:pt x="236" y="202"/>
                </a:lnTo>
                <a:lnTo>
                  <a:pt x="221" y="190"/>
                </a:lnTo>
                <a:lnTo>
                  <a:pt x="210" y="183"/>
                </a:lnTo>
                <a:lnTo>
                  <a:pt x="205" y="180"/>
                </a:lnTo>
                <a:lnTo>
                  <a:pt x="200" y="177"/>
                </a:lnTo>
                <a:lnTo>
                  <a:pt x="193" y="174"/>
                </a:lnTo>
                <a:lnTo>
                  <a:pt x="184" y="170"/>
                </a:lnTo>
                <a:lnTo>
                  <a:pt x="151" y="18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77" name="Freeform 1277"/>
          <p:cNvSpPr>
            <a:spLocks/>
          </p:cNvSpPr>
          <p:nvPr/>
        </p:nvSpPr>
        <p:spPr bwMode="auto">
          <a:xfrm>
            <a:off x="5387975" y="1992278"/>
            <a:ext cx="900112" cy="401638"/>
          </a:xfrm>
          <a:custGeom>
            <a:avLst/>
            <a:gdLst>
              <a:gd name="T0" fmla="*/ 151 w 567"/>
              <a:gd name="T1" fmla="*/ 239 h 253"/>
              <a:gd name="T2" fmla="*/ 121 w 567"/>
              <a:gd name="T3" fmla="*/ 233 h 253"/>
              <a:gd name="T4" fmla="*/ 91 w 567"/>
              <a:gd name="T5" fmla="*/ 215 h 253"/>
              <a:gd name="T6" fmla="*/ 82 w 567"/>
              <a:gd name="T7" fmla="*/ 190 h 253"/>
              <a:gd name="T8" fmla="*/ 92 w 567"/>
              <a:gd name="T9" fmla="*/ 179 h 253"/>
              <a:gd name="T10" fmla="*/ 122 w 567"/>
              <a:gd name="T11" fmla="*/ 178 h 253"/>
              <a:gd name="T12" fmla="*/ 121 w 567"/>
              <a:gd name="T13" fmla="*/ 166 h 253"/>
              <a:gd name="T14" fmla="*/ 93 w 567"/>
              <a:gd name="T15" fmla="*/ 145 h 253"/>
              <a:gd name="T16" fmla="*/ 68 w 567"/>
              <a:gd name="T17" fmla="*/ 142 h 253"/>
              <a:gd name="T18" fmla="*/ 35 w 567"/>
              <a:gd name="T19" fmla="*/ 156 h 253"/>
              <a:gd name="T20" fmla="*/ 31 w 567"/>
              <a:gd name="T21" fmla="*/ 138 h 253"/>
              <a:gd name="T22" fmla="*/ 11 w 567"/>
              <a:gd name="T23" fmla="*/ 129 h 253"/>
              <a:gd name="T24" fmla="*/ 0 w 567"/>
              <a:gd name="T25" fmla="*/ 105 h 253"/>
              <a:gd name="T26" fmla="*/ 8 w 567"/>
              <a:gd name="T27" fmla="*/ 87 h 253"/>
              <a:gd name="T28" fmla="*/ 22 w 567"/>
              <a:gd name="T29" fmla="*/ 82 h 253"/>
              <a:gd name="T30" fmla="*/ 36 w 567"/>
              <a:gd name="T31" fmla="*/ 71 h 253"/>
              <a:gd name="T32" fmla="*/ 52 w 567"/>
              <a:gd name="T33" fmla="*/ 66 h 253"/>
              <a:gd name="T34" fmla="*/ 69 w 567"/>
              <a:gd name="T35" fmla="*/ 66 h 253"/>
              <a:gd name="T36" fmla="*/ 94 w 567"/>
              <a:gd name="T37" fmla="*/ 75 h 253"/>
              <a:gd name="T38" fmla="*/ 101 w 567"/>
              <a:gd name="T39" fmla="*/ 76 h 253"/>
              <a:gd name="T40" fmla="*/ 124 w 567"/>
              <a:gd name="T41" fmla="*/ 79 h 253"/>
              <a:gd name="T42" fmla="*/ 137 w 567"/>
              <a:gd name="T43" fmla="*/ 75 h 253"/>
              <a:gd name="T44" fmla="*/ 161 w 567"/>
              <a:gd name="T45" fmla="*/ 82 h 253"/>
              <a:gd name="T46" fmla="*/ 183 w 567"/>
              <a:gd name="T47" fmla="*/ 82 h 253"/>
              <a:gd name="T48" fmla="*/ 186 w 567"/>
              <a:gd name="T49" fmla="*/ 67 h 253"/>
              <a:gd name="T50" fmla="*/ 173 w 567"/>
              <a:gd name="T51" fmla="*/ 56 h 253"/>
              <a:gd name="T52" fmla="*/ 180 w 567"/>
              <a:gd name="T53" fmla="*/ 41 h 253"/>
              <a:gd name="T54" fmla="*/ 176 w 567"/>
              <a:gd name="T55" fmla="*/ 34 h 253"/>
              <a:gd name="T56" fmla="*/ 173 w 567"/>
              <a:gd name="T57" fmla="*/ 26 h 253"/>
              <a:gd name="T58" fmla="*/ 191 w 567"/>
              <a:gd name="T59" fmla="*/ 25 h 253"/>
              <a:gd name="T60" fmla="*/ 210 w 567"/>
              <a:gd name="T61" fmla="*/ 20 h 253"/>
              <a:gd name="T62" fmla="*/ 224 w 567"/>
              <a:gd name="T63" fmla="*/ 13 h 253"/>
              <a:gd name="T64" fmla="*/ 258 w 567"/>
              <a:gd name="T65" fmla="*/ 6 h 253"/>
              <a:gd name="T66" fmla="*/ 268 w 567"/>
              <a:gd name="T67" fmla="*/ 0 h 253"/>
              <a:gd name="T68" fmla="*/ 289 w 567"/>
              <a:gd name="T69" fmla="*/ 2 h 253"/>
              <a:gd name="T70" fmla="*/ 304 w 567"/>
              <a:gd name="T71" fmla="*/ 17 h 253"/>
              <a:gd name="T72" fmla="*/ 317 w 567"/>
              <a:gd name="T73" fmla="*/ 18 h 253"/>
              <a:gd name="T74" fmla="*/ 324 w 567"/>
              <a:gd name="T75" fmla="*/ 22 h 253"/>
              <a:gd name="T76" fmla="*/ 342 w 567"/>
              <a:gd name="T77" fmla="*/ 26 h 253"/>
              <a:gd name="T78" fmla="*/ 349 w 567"/>
              <a:gd name="T79" fmla="*/ 31 h 253"/>
              <a:gd name="T80" fmla="*/ 364 w 567"/>
              <a:gd name="T81" fmla="*/ 22 h 253"/>
              <a:gd name="T82" fmla="*/ 380 w 567"/>
              <a:gd name="T83" fmla="*/ 21 h 253"/>
              <a:gd name="T84" fmla="*/ 456 w 567"/>
              <a:gd name="T85" fmla="*/ 74 h 253"/>
              <a:gd name="T86" fmla="*/ 479 w 567"/>
              <a:gd name="T87" fmla="*/ 79 h 253"/>
              <a:gd name="T88" fmla="*/ 500 w 567"/>
              <a:gd name="T89" fmla="*/ 76 h 253"/>
              <a:gd name="T90" fmla="*/ 519 w 567"/>
              <a:gd name="T91" fmla="*/ 89 h 253"/>
              <a:gd name="T92" fmla="*/ 546 w 567"/>
              <a:gd name="T93" fmla="*/ 102 h 253"/>
              <a:gd name="T94" fmla="*/ 565 w 567"/>
              <a:gd name="T95" fmla="*/ 106 h 253"/>
              <a:gd name="T96" fmla="*/ 557 w 567"/>
              <a:gd name="T97" fmla="*/ 137 h 253"/>
              <a:gd name="T98" fmla="*/ 521 w 567"/>
              <a:gd name="T99" fmla="*/ 148 h 253"/>
              <a:gd name="T100" fmla="*/ 503 w 567"/>
              <a:gd name="T101" fmla="*/ 182 h 253"/>
              <a:gd name="T102" fmla="*/ 516 w 567"/>
              <a:gd name="T103" fmla="*/ 218 h 253"/>
              <a:gd name="T104" fmla="*/ 495 w 567"/>
              <a:gd name="T105" fmla="*/ 222 h 253"/>
              <a:gd name="T106" fmla="*/ 461 w 567"/>
              <a:gd name="T107" fmla="*/ 219 h 253"/>
              <a:gd name="T108" fmla="*/ 423 w 567"/>
              <a:gd name="T109" fmla="*/ 214 h 253"/>
              <a:gd name="T110" fmla="*/ 406 w 567"/>
              <a:gd name="T111" fmla="*/ 225 h 253"/>
              <a:gd name="T112" fmla="*/ 380 w 567"/>
              <a:gd name="T113" fmla="*/ 224 h 253"/>
              <a:gd name="T114" fmla="*/ 367 w 567"/>
              <a:gd name="T115" fmla="*/ 241 h 253"/>
              <a:gd name="T116" fmla="*/ 349 w 567"/>
              <a:gd name="T117" fmla="*/ 250 h 253"/>
              <a:gd name="T118" fmla="*/ 305 w 567"/>
              <a:gd name="T119" fmla="*/ 219 h 253"/>
              <a:gd name="T120" fmla="*/ 221 w 567"/>
              <a:gd name="T121" fmla="*/ 190 h 2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67" h="253">
                <a:moveTo>
                  <a:pt x="151" y="183"/>
                </a:moveTo>
                <a:lnTo>
                  <a:pt x="155" y="199"/>
                </a:lnTo>
                <a:lnTo>
                  <a:pt x="160" y="216"/>
                </a:lnTo>
                <a:lnTo>
                  <a:pt x="164" y="233"/>
                </a:lnTo>
                <a:lnTo>
                  <a:pt x="167" y="247"/>
                </a:lnTo>
                <a:lnTo>
                  <a:pt x="164" y="248"/>
                </a:lnTo>
                <a:lnTo>
                  <a:pt x="160" y="248"/>
                </a:lnTo>
                <a:lnTo>
                  <a:pt x="156" y="247"/>
                </a:lnTo>
                <a:lnTo>
                  <a:pt x="153" y="241"/>
                </a:lnTo>
                <a:lnTo>
                  <a:pt x="151" y="239"/>
                </a:lnTo>
                <a:lnTo>
                  <a:pt x="150" y="238"/>
                </a:lnTo>
                <a:lnTo>
                  <a:pt x="146" y="234"/>
                </a:lnTo>
                <a:lnTo>
                  <a:pt x="145" y="233"/>
                </a:lnTo>
                <a:lnTo>
                  <a:pt x="141" y="230"/>
                </a:lnTo>
                <a:lnTo>
                  <a:pt x="139" y="229"/>
                </a:lnTo>
                <a:lnTo>
                  <a:pt x="136" y="228"/>
                </a:lnTo>
                <a:lnTo>
                  <a:pt x="134" y="228"/>
                </a:lnTo>
                <a:lnTo>
                  <a:pt x="132" y="229"/>
                </a:lnTo>
                <a:lnTo>
                  <a:pt x="126" y="230"/>
                </a:lnTo>
                <a:lnTo>
                  <a:pt x="121" y="233"/>
                </a:lnTo>
                <a:lnTo>
                  <a:pt x="114" y="239"/>
                </a:lnTo>
                <a:lnTo>
                  <a:pt x="111" y="229"/>
                </a:lnTo>
                <a:lnTo>
                  <a:pt x="113" y="227"/>
                </a:lnTo>
                <a:lnTo>
                  <a:pt x="112" y="222"/>
                </a:lnTo>
                <a:lnTo>
                  <a:pt x="109" y="220"/>
                </a:lnTo>
                <a:lnTo>
                  <a:pt x="105" y="220"/>
                </a:lnTo>
                <a:lnTo>
                  <a:pt x="100" y="218"/>
                </a:lnTo>
                <a:lnTo>
                  <a:pt x="96" y="215"/>
                </a:lnTo>
                <a:lnTo>
                  <a:pt x="94" y="215"/>
                </a:lnTo>
                <a:lnTo>
                  <a:pt x="91" y="215"/>
                </a:lnTo>
                <a:lnTo>
                  <a:pt x="89" y="206"/>
                </a:lnTo>
                <a:lnTo>
                  <a:pt x="84" y="200"/>
                </a:lnTo>
                <a:lnTo>
                  <a:pt x="82" y="199"/>
                </a:lnTo>
                <a:lnTo>
                  <a:pt x="79" y="196"/>
                </a:lnTo>
                <a:lnTo>
                  <a:pt x="72" y="194"/>
                </a:lnTo>
                <a:lnTo>
                  <a:pt x="69" y="190"/>
                </a:lnTo>
                <a:lnTo>
                  <a:pt x="70" y="188"/>
                </a:lnTo>
                <a:lnTo>
                  <a:pt x="74" y="188"/>
                </a:lnTo>
                <a:lnTo>
                  <a:pt x="80" y="189"/>
                </a:lnTo>
                <a:lnTo>
                  <a:pt x="82" y="190"/>
                </a:lnTo>
                <a:lnTo>
                  <a:pt x="84" y="189"/>
                </a:lnTo>
                <a:lnTo>
                  <a:pt x="88" y="190"/>
                </a:lnTo>
                <a:lnTo>
                  <a:pt x="86" y="188"/>
                </a:lnTo>
                <a:lnTo>
                  <a:pt x="84" y="186"/>
                </a:lnTo>
                <a:lnTo>
                  <a:pt x="83" y="182"/>
                </a:lnTo>
                <a:lnTo>
                  <a:pt x="84" y="179"/>
                </a:lnTo>
                <a:lnTo>
                  <a:pt x="86" y="178"/>
                </a:lnTo>
                <a:lnTo>
                  <a:pt x="86" y="179"/>
                </a:lnTo>
                <a:lnTo>
                  <a:pt x="90" y="179"/>
                </a:lnTo>
                <a:lnTo>
                  <a:pt x="92" y="179"/>
                </a:lnTo>
                <a:lnTo>
                  <a:pt x="92" y="177"/>
                </a:lnTo>
                <a:lnTo>
                  <a:pt x="94" y="175"/>
                </a:lnTo>
                <a:lnTo>
                  <a:pt x="99" y="175"/>
                </a:lnTo>
                <a:lnTo>
                  <a:pt x="103" y="177"/>
                </a:lnTo>
                <a:lnTo>
                  <a:pt x="108" y="178"/>
                </a:lnTo>
                <a:lnTo>
                  <a:pt x="112" y="177"/>
                </a:lnTo>
                <a:lnTo>
                  <a:pt x="114" y="176"/>
                </a:lnTo>
                <a:lnTo>
                  <a:pt x="115" y="176"/>
                </a:lnTo>
                <a:lnTo>
                  <a:pt x="116" y="177"/>
                </a:lnTo>
                <a:lnTo>
                  <a:pt x="122" y="178"/>
                </a:lnTo>
                <a:lnTo>
                  <a:pt x="125" y="179"/>
                </a:lnTo>
                <a:lnTo>
                  <a:pt x="127" y="179"/>
                </a:lnTo>
                <a:lnTo>
                  <a:pt x="131" y="180"/>
                </a:lnTo>
                <a:lnTo>
                  <a:pt x="132" y="178"/>
                </a:lnTo>
                <a:lnTo>
                  <a:pt x="129" y="175"/>
                </a:lnTo>
                <a:lnTo>
                  <a:pt x="132" y="175"/>
                </a:lnTo>
                <a:lnTo>
                  <a:pt x="129" y="173"/>
                </a:lnTo>
                <a:lnTo>
                  <a:pt x="125" y="169"/>
                </a:lnTo>
                <a:lnTo>
                  <a:pt x="122" y="168"/>
                </a:lnTo>
                <a:lnTo>
                  <a:pt x="121" y="166"/>
                </a:lnTo>
                <a:lnTo>
                  <a:pt x="117" y="165"/>
                </a:lnTo>
                <a:lnTo>
                  <a:pt x="113" y="162"/>
                </a:lnTo>
                <a:lnTo>
                  <a:pt x="111" y="156"/>
                </a:lnTo>
                <a:lnTo>
                  <a:pt x="109" y="154"/>
                </a:lnTo>
                <a:lnTo>
                  <a:pt x="108" y="155"/>
                </a:lnTo>
                <a:lnTo>
                  <a:pt x="105" y="152"/>
                </a:lnTo>
                <a:lnTo>
                  <a:pt x="103" y="152"/>
                </a:lnTo>
                <a:lnTo>
                  <a:pt x="102" y="148"/>
                </a:lnTo>
                <a:lnTo>
                  <a:pt x="96" y="145"/>
                </a:lnTo>
                <a:lnTo>
                  <a:pt x="93" y="145"/>
                </a:lnTo>
                <a:lnTo>
                  <a:pt x="93" y="144"/>
                </a:lnTo>
                <a:lnTo>
                  <a:pt x="90" y="143"/>
                </a:lnTo>
                <a:lnTo>
                  <a:pt x="86" y="144"/>
                </a:lnTo>
                <a:lnTo>
                  <a:pt x="84" y="145"/>
                </a:lnTo>
                <a:lnTo>
                  <a:pt x="82" y="146"/>
                </a:lnTo>
                <a:lnTo>
                  <a:pt x="81" y="144"/>
                </a:lnTo>
                <a:lnTo>
                  <a:pt x="76" y="144"/>
                </a:lnTo>
                <a:lnTo>
                  <a:pt x="75" y="143"/>
                </a:lnTo>
                <a:lnTo>
                  <a:pt x="72" y="143"/>
                </a:lnTo>
                <a:lnTo>
                  <a:pt x="68" y="142"/>
                </a:lnTo>
                <a:lnTo>
                  <a:pt x="61" y="149"/>
                </a:lnTo>
                <a:lnTo>
                  <a:pt x="55" y="149"/>
                </a:lnTo>
                <a:lnTo>
                  <a:pt x="50" y="152"/>
                </a:lnTo>
                <a:lnTo>
                  <a:pt x="43" y="153"/>
                </a:lnTo>
                <a:lnTo>
                  <a:pt x="38" y="154"/>
                </a:lnTo>
                <a:lnTo>
                  <a:pt x="44" y="157"/>
                </a:lnTo>
                <a:lnTo>
                  <a:pt x="40" y="158"/>
                </a:lnTo>
                <a:lnTo>
                  <a:pt x="39" y="158"/>
                </a:lnTo>
                <a:lnTo>
                  <a:pt x="36" y="157"/>
                </a:lnTo>
                <a:lnTo>
                  <a:pt x="35" y="156"/>
                </a:lnTo>
                <a:lnTo>
                  <a:pt x="33" y="156"/>
                </a:lnTo>
                <a:lnTo>
                  <a:pt x="31" y="155"/>
                </a:lnTo>
                <a:lnTo>
                  <a:pt x="30" y="154"/>
                </a:lnTo>
                <a:lnTo>
                  <a:pt x="31" y="153"/>
                </a:lnTo>
                <a:lnTo>
                  <a:pt x="31" y="150"/>
                </a:lnTo>
                <a:lnTo>
                  <a:pt x="33" y="150"/>
                </a:lnTo>
                <a:lnTo>
                  <a:pt x="35" y="152"/>
                </a:lnTo>
                <a:lnTo>
                  <a:pt x="39" y="150"/>
                </a:lnTo>
                <a:lnTo>
                  <a:pt x="33" y="138"/>
                </a:lnTo>
                <a:lnTo>
                  <a:pt x="31" y="138"/>
                </a:lnTo>
                <a:lnTo>
                  <a:pt x="30" y="136"/>
                </a:lnTo>
                <a:lnTo>
                  <a:pt x="29" y="135"/>
                </a:lnTo>
                <a:lnTo>
                  <a:pt x="27" y="133"/>
                </a:lnTo>
                <a:lnTo>
                  <a:pt x="25" y="132"/>
                </a:lnTo>
                <a:lnTo>
                  <a:pt x="23" y="132"/>
                </a:lnTo>
                <a:lnTo>
                  <a:pt x="19" y="133"/>
                </a:lnTo>
                <a:lnTo>
                  <a:pt x="15" y="132"/>
                </a:lnTo>
                <a:lnTo>
                  <a:pt x="15" y="134"/>
                </a:lnTo>
                <a:lnTo>
                  <a:pt x="12" y="131"/>
                </a:lnTo>
                <a:lnTo>
                  <a:pt x="11" y="129"/>
                </a:lnTo>
                <a:lnTo>
                  <a:pt x="10" y="127"/>
                </a:lnTo>
                <a:lnTo>
                  <a:pt x="10" y="126"/>
                </a:lnTo>
                <a:lnTo>
                  <a:pt x="9" y="125"/>
                </a:lnTo>
                <a:lnTo>
                  <a:pt x="9" y="123"/>
                </a:lnTo>
                <a:lnTo>
                  <a:pt x="0" y="121"/>
                </a:lnTo>
                <a:lnTo>
                  <a:pt x="1" y="112"/>
                </a:lnTo>
                <a:lnTo>
                  <a:pt x="4" y="109"/>
                </a:lnTo>
                <a:lnTo>
                  <a:pt x="4" y="108"/>
                </a:lnTo>
                <a:lnTo>
                  <a:pt x="3" y="107"/>
                </a:lnTo>
                <a:lnTo>
                  <a:pt x="0" y="105"/>
                </a:lnTo>
                <a:lnTo>
                  <a:pt x="0" y="95"/>
                </a:lnTo>
                <a:lnTo>
                  <a:pt x="3" y="93"/>
                </a:lnTo>
                <a:lnTo>
                  <a:pt x="4" y="92"/>
                </a:lnTo>
                <a:lnTo>
                  <a:pt x="3" y="91"/>
                </a:lnTo>
                <a:lnTo>
                  <a:pt x="3" y="88"/>
                </a:lnTo>
                <a:lnTo>
                  <a:pt x="3" y="87"/>
                </a:lnTo>
                <a:lnTo>
                  <a:pt x="3" y="86"/>
                </a:lnTo>
                <a:lnTo>
                  <a:pt x="4" y="84"/>
                </a:lnTo>
                <a:lnTo>
                  <a:pt x="7" y="85"/>
                </a:lnTo>
                <a:lnTo>
                  <a:pt x="8" y="87"/>
                </a:lnTo>
                <a:lnTo>
                  <a:pt x="11" y="88"/>
                </a:lnTo>
                <a:lnTo>
                  <a:pt x="18" y="96"/>
                </a:lnTo>
                <a:lnTo>
                  <a:pt x="20" y="97"/>
                </a:lnTo>
                <a:lnTo>
                  <a:pt x="25" y="93"/>
                </a:lnTo>
                <a:lnTo>
                  <a:pt x="24" y="92"/>
                </a:lnTo>
                <a:lnTo>
                  <a:pt x="23" y="91"/>
                </a:lnTo>
                <a:lnTo>
                  <a:pt x="21" y="85"/>
                </a:lnTo>
                <a:lnTo>
                  <a:pt x="19" y="82"/>
                </a:lnTo>
                <a:lnTo>
                  <a:pt x="21" y="83"/>
                </a:lnTo>
                <a:lnTo>
                  <a:pt x="22" y="82"/>
                </a:lnTo>
                <a:lnTo>
                  <a:pt x="27" y="79"/>
                </a:lnTo>
                <a:lnTo>
                  <a:pt x="29" y="78"/>
                </a:lnTo>
                <a:lnTo>
                  <a:pt x="29" y="77"/>
                </a:lnTo>
                <a:lnTo>
                  <a:pt x="29" y="75"/>
                </a:lnTo>
                <a:lnTo>
                  <a:pt x="28" y="74"/>
                </a:lnTo>
                <a:lnTo>
                  <a:pt x="30" y="73"/>
                </a:lnTo>
                <a:lnTo>
                  <a:pt x="32" y="74"/>
                </a:lnTo>
                <a:lnTo>
                  <a:pt x="33" y="73"/>
                </a:lnTo>
                <a:lnTo>
                  <a:pt x="34" y="72"/>
                </a:lnTo>
                <a:lnTo>
                  <a:pt x="36" y="71"/>
                </a:lnTo>
                <a:lnTo>
                  <a:pt x="38" y="71"/>
                </a:lnTo>
                <a:lnTo>
                  <a:pt x="39" y="69"/>
                </a:lnTo>
                <a:lnTo>
                  <a:pt x="40" y="68"/>
                </a:lnTo>
                <a:lnTo>
                  <a:pt x="41" y="67"/>
                </a:lnTo>
                <a:lnTo>
                  <a:pt x="41" y="65"/>
                </a:lnTo>
                <a:lnTo>
                  <a:pt x="42" y="64"/>
                </a:lnTo>
                <a:lnTo>
                  <a:pt x="46" y="64"/>
                </a:lnTo>
                <a:lnTo>
                  <a:pt x="50" y="64"/>
                </a:lnTo>
                <a:lnTo>
                  <a:pt x="51" y="65"/>
                </a:lnTo>
                <a:lnTo>
                  <a:pt x="52" y="66"/>
                </a:lnTo>
                <a:lnTo>
                  <a:pt x="56" y="66"/>
                </a:lnTo>
                <a:lnTo>
                  <a:pt x="58" y="67"/>
                </a:lnTo>
                <a:lnTo>
                  <a:pt x="59" y="66"/>
                </a:lnTo>
                <a:lnTo>
                  <a:pt x="59" y="64"/>
                </a:lnTo>
                <a:lnTo>
                  <a:pt x="60" y="63"/>
                </a:lnTo>
                <a:lnTo>
                  <a:pt x="61" y="63"/>
                </a:lnTo>
                <a:lnTo>
                  <a:pt x="63" y="63"/>
                </a:lnTo>
                <a:lnTo>
                  <a:pt x="65" y="63"/>
                </a:lnTo>
                <a:lnTo>
                  <a:pt x="68" y="65"/>
                </a:lnTo>
                <a:lnTo>
                  <a:pt x="69" y="66"/>
                </a:lnTo>
                <a:lnTo>
                  <a:pt x="71" y="66"/>
                </a:lnTo>
                <a:lnTo>
                  <a:pt x="73" y="66"/>
                </a:lnTo>
                <a:lnTo>
                  <a:pt x="75" y="66"/>
                </a:lnTo>
                <a:lnTo>
                  <a:pt x="79" y="66"/>
                </a:lnTo>
                <a:lnTo>
                  <a:pt x="81" y="66"/>
                </a:lnTo>
                <a:lnTo>
                  <a:pt x="83" y="67"/>
                </a:lnTo>
                <a:lnTo>
                  <a:pt x="84" y="68"/>
                </a:lnTo>
                <a:lnTo>
                  <a:pt x="86" y="71"/>
                </a:lnTo>
                <a:lnTo>
                  <a:pt x="93" y="74"/>
                </a:lnTo>
                <a:lnTo>
                  <a:pt x="94" y="75"/>
                </a:lnTo>
                <a:lnTo>
                  <a:pt x="95" y="76"/>
                </a:lnTo>
                <a:lnTo>
                  <a:pt x="100" y="78"/>
                </a:lnTo>
                <a:lnTo>
                  <a:pt x="100" y="81"/>
                </a:lnTo>
                <a:lnTo>
                  <a:pt x="100" y="82"/>
                </a:lnTo>
                <a:lnTo>
                  <a:pt x="102" y="83"/>
                </a:lnTo>
                <a:lnTo>
                  <a:pt x="104" y="83"/>
                </a:lnTo>
                <a:lnTo>
                  <a:pt x="103" y="82"/>
                </a:lnTo>
                <a:lnTo>
                  <a:pt x="102" y="79"/>
                </a:lnTo>
                <a:lnTo>
                  <a:pt x="102" y="78"/>
                </a:lnTo>
                <a:lnTo>
                  <a:pt x="101" y="76"/>
                </a:lnTo>
                <a:lnTo>
                  <a:pt x="101" y="75"/>
                </a:lnTo>
                <a:lnTo>
                  <a:pt x="103" y="75"/>
                </a:lnTo>
                <a:lnTo>
                  <a:pt x="104" y="76"/>
                </a:lnTo>
                <a:lnTo>
                  <a:pt x="106" y="77"/>
                </a:lnTo>
                <a:lnTo>
                  <a:pt x="108" y="79"/>
                </a:lnTo>
                <a:lnTo>
                  <a:pt x="110" y="81"/>
                </a:lnTo>
                <a:lnTo>
                  <a:pt x="114" y="82"/>
                </a:lnTo>
                <a:lnTo>
                  <a:pt x="117" y="83"/>
                </a:lnTo>
                <a:lnTo>
                  <a:pt x="120" y="83"/>
                </a:lnTo>
                <a:lnTo>
                  <a:pt x="124" y="79"/>
                </a:lnTo>
                <a:lnTo>
                  <a:pt x="123" y="78"/>
                </a:lnTo>
                <a:lnTo>
                  <a:pt x="125" y="77"/>
                </a:lnTo>
                <a:lnTo>
                  <a:pt x="126" y="76"/>
                </a:lnTo>
                <a:lnTo>
                  <a:pt x="127" y="76"/>
                </a:lnTo>
                <a:lnTo>
                  <a:pt x="130" y="76"/>
                </a:lnTo>
                <a:lnTo>
                  <a:pt x="130" y="75"/>
                </a:lnTo>
                <a:lnTo>
                  <a:pt x="132" y="75"/>
                </a:lnTo>
                <a:lnTo>
                  <a:pt x="134" y="75"/>
                </a:lnTo>
                <a:lnTo>
                  <a:pt x="135" y="74"/>
                </a:lnTo>
                <a:lnTo>
                  <a:pt x="137" y="75"/>
                </a:lnTo>
                <a:lnTo>
                  <a:pt x="141" y="77"/>
                </a:lnTo>
                <a:lnTo>
                  <a:pt x="144" y="76"/>
                </a:lnTo>
                <a:lnTo>
                  <a:pt x="144" y="74"/>
                </a:lnTo>
                <a:lnTo>
                  <a:pt x="149" y="74"/>
                </a:lnTo>
                <a:lnTo>
                  <a:pt x="150" y="74"/>
                </a:lnTo>
                <a:lnTo>
                  <a:pt x="154" y="75"/>
                </a:lnTo>
                <a:lnTo>
                  <a:pt x="155" y="76"/>
                </a:lnTo>
                <a:lnTo>
                  <a:pt x="157" y="79"/>
                </a:lnTo>
                <a:lnTo>
                  <a:pt x="159" y="81"/>
                </a:lnTo>
                <a:lnTo>
                  <a:pt x="161" y="82"/>
                </a:lnTo>
                <a:lnTo>
                  <a:pt x="164" y="82"/>
                </a:lnTo>
                <a:lnTo>
                  <a:pt x="169" y="82"/>
                </a:lnTo>
                <a:lnTo>
                  <a:pt x="169" y="82"/>
                </a:lnTo>
                <a:lnTo>
                  <a:pt x="170" y="84"/>
                </a:lnTo>
                <a:lnTo>
                  <a:pt x="174" y="84"/>
                </a:lnTo>
                <a:lnTo>
                  <a:pt x="175" y="83"/>
                </a:lnTo>
                <a:lnTo>
                  <a:pt x="176" y="79"/>
                </a:lnTo>
                <a:lnTo>
                  <a:pt x="177" y="78"/>
                </a:lnTo>
                <a:lnTo>
                  <a:pt x="179" y="79"/>
                </a:lnTo>
                <a:lnTo>
                  <a:pt x="183" y="82"/>
                </a:lnTo>
                <a:lnTo>
                  <a:pt x="186" y="82"/>
                </a:lnTo>
                <a:lnTo>
                  <a:pt x="191" y="82"/>
                </a:lnTo>
                <a:lnTo>
                  <a:pt x="192" y="81"/>
                </a:lnTo>
                <a:lnTo>
                  <a:pt x="195" y="79"/>
                </a:lnTo>
                <a:lnTo>
                  <a:pt x="195" y="72"/>
                </a:lnTo>
                <a:lnTo>
                  <a:pt x="196" y="71"/>
                </a:lnTo>
                <a:lnTo>
                  <a:pt x="194" y="68"/>
                </a:lnTo>
                <a:lnTo>
                  <a:pt x="193" y="68"/>
                </a:lnTo>
                <a:lnTo>
                  <a:pt x="190" y="68"/>
                </a:lnTo>
                <a:lnTo>
                  <a:pt x="186" y="67"/>
                </a:lnTo>
                <a:lnTo>
                  <a:pt x="184" y="66"/>
                </a:lnTo>
                <a:lnTo>
                  <a:pt x="183" y="65"/>
                </a:lnTo>
                <a:lnTo>
                  <a:pt x="179" y="65"/>
                </a:lnTo>
                <a:lnTo>
                  <a:pt x="176" y="64"/>
                </a:lnTo>
                <a:lnTo>
                  <a:pt x="175" y="63"/>
                </a:lnTo>
                <a:lnTo>
                  <a:pt x="174" y="61"/>
                </a:lnTo>
                <a:lnTo>
                  <a:pt x="170" y="61"/>
                </a:lnTo>
                <a:lnTo>
                  <a:pt x="170" y="58"/>
                </a:lnTo>
                <a:lnTo>
                  <a:pt x="171" y="58"/>
                </a:lnTo>
                <a:lnTo>
                  <a:pt x="173" y="56"/>
                </a:lnTo>
                <a:lnTo>
                  <a:pt x="177" y="55"/>
                </a:lnTo>
                <a:lnTo>
                  <a:pt x="180" y="54"/>
                </a:lnTo>
                <a:lnTo>
                  <a:pt x="181" y="52"/>
                </a:lnTo>
                <a:lnTo>
                  <a:pt x="180" y="51"/>
                </a:lnTo>
                <a:lnTo>
                  <a:pt x="173" y="45"/>
                </a:lnTo>
                <a:lnTo>
                  <a:pt x="175" y="45"/>
                </a:lnTo>
                <a:lnTo>
                  <a:pt x="176" y="44"/>
                </a:lnTo>
                <a:lnTo>
                  <a:pt x="176" y="42"/>
                </a:lnTo>
                <a:lnTo>
                  <a:pt x="177" y="41"/>
                </a:lnTo>
                <a:lnTo>
                  <a:pt x="180" y="41"/>
                </a:lnTo>
                <a:lnTo>
                  <a:pt x="182" y="42"/>
                </a:lnTo>
                <a:lnTo>
                  <a:pt x="183" y="41"/>
                </a:lnTo>
                <a:lnTo>
                  <a:pt x="185" y="42"/>
                </a:lnTo>
                <a:lnTo>
                  <a:pt x="190" y="42"/>
                </a:lnTo>
                <a:lnTo>
                  <a:pt x="191" y="41"/>
                </a:lnTo>
                <a:lnTo>
                  <a:pt x="192" y="39"/>
                </a:lnTo>
                <a:lnTo>
                  <a:pt x="190" y="38"/>
                </a:lnTo>
                <a:lnTo>
                  <a:pt x="186" y="36"/>
                </a:lnTo>
                <a:lnTo>
                  <a:pt x="177" y="36"/>
                </a:lnTo>
                <a:lnTo>
                  <a:pt x="176" y="34"/>
                </a:lnTo>
                <a:lnTo>
                  <a:pt x="175" y="33"/>
                </a:lnTo>
                <a:lnTo>
                  <a:pt x="177" y="33"/>
                </a:lnTo>
                <a:lnTo>
                  <a:pt x="180" y="32"/>
                </a:lnTo>
                <a:lnTo>
                  <a:pt x="180" y="31"/>
                </a:lnTo>
                <a:lnTo>
                  <a:pt x="177" y="29"/>
                </a:lnTo>
                <a:lnTo>
                  <a:pt x="176" y="31"/>
                </a:lnTo>
                <a:lnTo>
                  <a:pt x="173" y="31"/>
                </a:lnTo>
                <a:lnTo>
                  <a:pt x="172" y="29"/>
                </a:lnTo>
                <a:lnTo>
                  <a:pt x="172" y="27"/>
                </a:lnTo>
                <a:lnTo>
                  <a:pt x="173" y="26"/>
                </a:lnTo>
                <a:lnTo>
                  <a:pt x="170" y="24"/>
                </a:lnTo>
                <a:lnTo>
                  <a:pt x="173" y="24"/>
                </a:lnTo>
                <a:lnTo>
                  <a:pt x="174" y="23"/>
                </a:lnTo>
                <a:lnTo>
                  <a:pt x="176" y="23"/>
                </a:lnTo>
                <a:lnTo>
                  <a:pt x="177" y="24"/>
                </a:lnTo>
                <a:lnTo>
                  <a:pt x="180" y="24"/>
                </a:lnTo>
                <a:lnTo>
                  <a:pt x="182" y="24"/>
                </a:lnTo>
                <a:lnTo>
                  <a:pt x="183" y="24"/>
                </a:lnTo>
                <a:lnTo>
                  <a:pt x="190" y="24"/>
                </a:lnTo>
                <a:lnTo>
                  <a:pt x="191" y="25"/>
                </a:lnTo>
                <a:lnTo>
                  <a:pt x="193" y="23"/>
                </a:lnTo>
                <a:lnTo>
                  <a:pt x="194" y="23"/>
                </a:lnTo>
                <a:lnTo>
                  <a:pt x="198" y="23"/>
                </a:lnTo>
                <a:lnTo>
                  <a:pt x="200" y="22"/>
                </a:lnTo>
                <a:lnTo>
                  <a:pt x="201" y="21"/>
                </a:lnTo>
                <a:lnTo>
                  <a:pt x="203" y="20"/>
                </a:lnTo>
                <a:lnTo>
                  <a:pt x="205" y="20"/>
                </a:lnTo>
                <a:lnTo>
                  <a:pt x="207" y="21"/>
                </a:lnTo>
                <a:lnTo>
                  <a:pt x="210" y="21"/>
                </a:lnTo>
                <a:lnTo>
                  <a:pt x="210" y="20"/>
                </a:lnTo>
                <a:lnTo>
                  <a:pt x="213" y="18"/>
                </a:lnTo>
                <a:lnTo>
                  <a:pt x="214" y="17"/>
                </a:lnTo>
                <a:lnTo>
                  <a:pt x="216" y="17"/>
                </a:lnTo>
                <a:lnTo>
                  <a:pt x="218" y="17"/>
                </a:lnTo>
                <a:lnTo>
                  <a:pt x="220" y="17"/>
                </a:lnTo>
                <a:lnTo>
                  <a:pt x="222" y="17"/>
                </a:lnTo>
                <a:lnTo>
                  <a:pt x="223" y="16"/>
                </a:lnTo>
                <a:lnTo>
                  <a:pt x="222" y="15"/>
                </a:lnTo>
                <a:lnTo>
                  <a:pt x="223" y="13"/>
                </a:lnTo>
                <a:lnTo>
                  <a:pt x="224" y="13"/>
                </a:lnTo>
                <a:lnTo>
                  <a:pt x="226" y="12"/>
                </a:lnTo>
                <a:lnTo>
                  <a:pt x="227" y="13"/>
                </a:lnTo>
                <a:lnTo>
                  <a:pt x="232" y="12"/>
                </a:lnTo>
                <a:lnTo>
                  <a:pt x="232" y="12"/>
                </a:lnTo>
                <a:lnTo>
                  <a:pt x="241" y="11"/>
                </a:lnTo>
                <a:lnTo>
                  <a:pt x="247" y="10"/>
                </a:lnTo>
                <a:lnTo>
                  <a:pt x="254" y="8"/>
                </a:lnTo>
                <a:lnTo>
                  <a:pt x="255" y="7"/>
                </a:lnTo>
                <a:lnTo>
                  <a:pt x="257" y="7"/>
                </a:lnTo>
                <a:lnTo>
                  <a:pt x="258" y="6"/>
                </a:lnTo>
                <a:lnTo>
                  <a:pt x="260" y="5"/>
                </a:lnTo>
                <a:lnTo>
                  <a:pt x="258" y="4"/>
                </a:lnTo>
                <a:lnTo>
                  <a:pt x="258" y="3"/>
                </a:lnTo>
                <a:lnTo>
                  <a:pt x="261" y="3"/>
                </a:lnTo>
                <a:lnTo>
                  <a:pt x="262" y="3"/>
                </a:lnTo>
                <a:lnTo>
                  <a:pt x="263" y="2"/>
                </a:lnTo>
                <a:lnTo>
                  <a:pt x="264" y="1"/>
                </a:lnTo>
                <a:lnTo>
                  <a:pt x="266" y="1"/>
                </a:lnTo>
                <a:lnTo>
                  <a:pt x="266" y="0"/>
                </a:lnTo>
                <a:lnTo>
                  <a:pt x="268" y="0"/>
                </a:lnTo>
                <a:lnTo>
                  <a:pt x="271" y="1"/>
                </a:lnTo>
                <a:lnTo>
                  <a:pt x="272" y="0"/>
                </a:lnTo>
                <a:lnTo>
                  <a:pt x="274" y="1"/>
                </a:lnTo>
                <a:lnTo>
                  <a:pt x="276" y="1"/>
                </a:lnTo>
                <a:lnTo>
                  <a:pt x="278" y="1"/>
                </a:lnTo>
                <a:lnTo>
                  <a:pt x="279" y="2"/>
                </a:lnTo>
                <a:lnTo>
                  <a:pt x="284" y="4"/>
                </a:lnTo>
                <a:lnTo>
                  <a:pt x="285" y="3"/>
                </a:lnTo>
                <a:lnTo>
                  <a:pt x="286" y="2"/>
                </a:lnTo>
                <a:lnTo>
                  <a:pt x="289" y="2"/>
                </a:lnTo>
                <a:lnTo>
                  <a:pt x="292" y="2"/>
                </a:lnTo>
                <a:lnTo>
                  <a:pt x="294" y="3"/>
                </a:lnTo>
                <a:lnTo>
                  <a:pt x="295" y="4"/>
                </a:lnTo>
                <a:lnTo>
                  <a:pt x="297" y="7"/>
                </a:lnTo>
                <a:lnTo>
                  <a:pt x="297" y="8"/>
                </a:lnTo>
                <a:lnTo>
                  <a:pt x="298" y="10"/>
                </a:lnTo>
                <a:lnTo>
                  <a:pt x="303" y="12"/>
                </a:lnTo>
                <a:lnTo>
                  <a:pt x="303" y="13"/>
                </a:lnTo>
                <a:lnTo>
                  <a:pt x="304" y="16"/>
                </a:lnTo>
                <a:lnTo>
                  <a:pt x="304" y="17"/>
                </a:lnTo>
                <a:lnTo>
                  <a:pt x="303" y="18"/>
                </a:lnTo>
                <a:lnTo>
                  <a:pt x="304" y="20"/>
                </a:lnTo>
                <a:lnTo>
                  <a:pt x="305" y="22"/>
                </a:lnTo>
                <a:lnTo>
                  <a:pt x="309" y="21"/>
                </a:lnTo>
                <a:lnTo>
                  <a:pt x="312" y="22"/>
                </a:lnTo>
                <a:lnTo>
                  <a:pt x="313" y="22"/>
                </a:lnTo>
                <a:lnTo>
                  <a:pt x="313" y="20"/>
                </a:lnTo>
                <a:lnTo>
                  <a:pt x="315" y="20"/>
                </a:lnTo>
                <a:lnTo>
                  <a:pt x="317" y="21"/>
                </a:lnTo>
                <a:lnTo>
                  <a:pt x="317" y="18"/>
                </a:lnTo>
                <a:lnTo>
                  <a:pt x="316" y="17"/>
                </a:lnTo>
                <a:lnTo>
                  <a:pt x="318" y="17"/>
                </a:lnTo>
                <a:lnTo>
                  <a:pt x="319" y="18"/>
                </a:lnTo>
                <a:lnTo>
                  <a:pt x="321" y="21"/>
                </a:lnTo>
                <a:lnTo>
                  <a:pt x="323" y="22"/>
                </a:lnTo>
                <a:lnTo>
                  <a:pt x="323" y="23"/>
                </a:lnTo>
                <a:lnTo>
                  <a:pt x="323" y="24"/>
                </a:lnTo>
                <a:lnTo>
                  <a:pt x="327" y="25"/>
                </a:lnTo>
                <a:lnTo>
                  <a:pt x="326" y="23"/>
                </a:lnTo>
                <a:lnTo>
                  <a:pt x="324" y="22"/>
                </a:lnTo>
                <a:lnTo>
                  <a:pt x="326" y="22"/>
                </a:lnTo>
                <a:lnTo>
                  <a:pt x="329" y="22"/>
                </a:lnTo>
                <a:lnTo>
                  <a:pt x="332" y="23"/>
                </a:lnTo>
                <a:lnTo>
                  <a:pt x="334" y="24"/>
                </a:lnTo>
                <a:lnTo>
                  <a:pt x="336" y="25"/>
                </a:lnTo>
                <a:lnTo>
                  <a:pt x="338" y="25"/>
                </a:lnTo>
                <a:lnTo>
                  <a:pt x="338" y="23"/>
                </a:lnTo>
                <a:lnTo>
                  <a:pt x="341" y="23"/>
                </a:lnTo>
                <a:lnTo>
                  <a:pt x="342" y="24"/>
                </a:lnTo>
                <a:lnTo>
                  <a:pt x="342" y="26"/>
                </a:lnTo>
                <a:lnTo>
                  <a:pt x="341" y="26"/>
                </a:lnTo>
                <a:lnTo>
                  <a:pt x="339" y="27"/>
                </a:lnTo>
                <a:lnTo>
                  <a:pt x="338" y="28"/>
                </a:lnTo>
                <a:lnTo>
                  <a:pt x="338" y="29"/>
                </a:lnTo>
                <a:lnTo>
                  <a:pt x="339" y="32"/>
                </a:lnTo>
                <a:lnTo>
                  <a:pt x="341" y="33"/>
                </a:lnTo>
                <a:lnTo>
                  <a:pt x="343" y="33"/>
                </a:lnTo>
                <a:lnTo>
                  <a:pt x="344" y="32"/>
                </a:lnTo>
                <a:lnTo>
                  <a:pt x="347" y="31"/>
                </a:lnTo>
                <a:lnTo>
                  <a:pt x="349" y="31"/>
                </a:lnTo>
                <a:lnTo>
                  <a:pt x="351" y="31"/>
                </a:lnTo>
                <a:lnTo>
                  <a:pt x="353" y="32"/>
                </a:lnTo>
                <a:lnTo>
                  <a:pt x="355" y="32"/>
                </a:lnTo>
                <a:lnTo>
                  <a:pt x="354" y="31"/>
                </a:lnTo>
                <a:lnTo>
                  <a:pt x="354" y="29"/>
                </a:lnTo>
                <a:lnTo>
                  <a:pt x="356" y="28"/>
                </a:lnTo>
                <a:lnTo>
                  <a:pt x="357" y="27"/>
                </a:lnTo>
                <a:lnTo>
                  <a:pt x="362" y="26"/>
                </a:lnTo>
                <a:lnTo>
                  <a:pt x="364" y="24"/>
                </a:lnTo>
                <a:lnTo>
                  <a:pt x="364" y="22"/>
                </a:lnTo>
                <a:lnTo>
                  <a:pt x="365" y="21"/>
                </a:lnTo>
                <a:lnTo>
                  <a:pt x="367" y="21"/>
                </a:lnTo>
                <a:lnTo>
                  <a:pt x="370" y="21"/>
                </a:lnTo>
                <a:lnTo>
                  <a:pt x="372" y="20"/>
                </a:lnTo>
                <a:lnTo>
                  <a:pt x="373" y="18"/>
                </a:lnTo>
                <a:lnTo>
                  <a:pt x="376" y="18"/>
                </a:lnTo>
                <a:lnTo>
                  <a:pt x="378" y="16"/>
                </a:lnTo>
                <a:lnTo>
                  <a:pt x="380" y="18"/>
                </a:lnTo>
                <a:lnTo>
                  <a:pt x="382" y="20"/>
                </a:lnTo>
                <a:lnTo>
                  <a:pt x="380" y="21"/>
                </a:lnTo>
                <a:lnTo>
                  <a:pt x="379" y="21"/>
                </a:lnTo>
                <a:lnTo>
                  <a:pt x="377" y="21"/>
                </a:lnTo>
                <a:lnTo>
                  <a:pt x="377" y="23"/>
                </a:lnTo>
                <a:lnTo>
                  <a:pt x="379" y="24"/>
                </a:lnTo>
                <a:lnTo>
                  <a:pt x="380" y="24"/>
                </a:lnTo>
                <a:lnTo>
                  <a:pt x="404" y="36"/>
                </a:lnTo>
                <a:lnTo>
                  <a:pt x="455" y="79"/>
                </a:lnTo>
                <a:lnTo>
                  <a:pt x="457" y="77"/>
                </a:lnTo>
                <a:lnTo>
                  <a:pt x="457" y="76"/>
                </a:lnTo>
                <a:lnTo>
                  <a:pt x="456" y="74"/>
                </a:lnTo>
                <a:lnTo>
                  <a:pt x="458" y="72"/>
                </a:lnTo>
                <a:lnTo>
                  <a:pt x="459" y="72"/>
                </a:lnTo>
                <a:lnTo>
                  <a:pt x="461" y="73"/>
                </a:lnTo>
                <a:lnTo>
                  <a:pt x="464" y="73"/>
                </a:lnTo>
                <a:lnTo>
                  <a:pt x="468" y="75"/>
                </a:lnTo>
                <a:lnTo>
                  <a:pt x="468" y="76"/>
                </a:lnTo>
                <a:lnTo>
                  <a:pt x="469" y="77"/>
                </a:lnTo>
                <a:lnTo>
                  <a:pt x="471" y="77"/>
                </a:lnTo>
                <a:lnTo>
                  <a:pt x="474" y="81"/>
                </a:lnTo>
                <a:lnTo>
                  <a:pt x="479" y="79"/>
                </a:lnTo>
                <a:lnTo>
                  <a:pt x="484" y="81"/>
                </a:lnTo>
                <a:lnTo>
                  <a:pt x="486" y="81"/>
                </a:lnTo>
                <a:lnTo>
                  <a:pt x="490" y="81"/>
                </a:lnTo>
                <a:lnTo>
                  <a:pt x="489" y="79"/>
                </a:lnTo>
                <a:lnTo>
                  <a:pt x="490" y="77"/>
                </a:lnTo>
                <a:lnTo>
                  <a:pt x="493" y="78"/>
                </a:lnTo>
                <a:lnTo>
                  <a:pt x="495" y="78"/>
                </a:lnTo>
                <a:lnTo>
                  <a:pt x="495" y="76"/>
                </a:lnTo>
                <a:lnTo>
                  <a:pt x="496" y="75"/>
                </a:lnTo>
                <a:lnTo>
                  <a:pt x="500" y="76"/>
                </a:lnTo>
                <a:lnTo>
                  <a:pt x="503" y="77"/>
                </a:lnTo>
                <a:lnTo>
                  <a:pt x="504" y="78"/>
                </a:lnTo>
                <a:lnTo>
                  <a:pt x="506" y="79"/>
                </a:lnTo>
                <a:lnTo>
                  <a:pt x="510" y="82"/>
                </a:lnTo>
                <a:lnTo>
                  <a:pt x="513" y="83"/>
                </a:lnTo>
                <a:lnTo>
                  <a:pt x="514" y="84"/>
                </a:lnTo>
                <a:lnTo>
                  <a:pt x="515" y="86"/>
                </a:lnTo>
                <a:lnTo>
                  <a:pt x="515" y="87"/>
                </a:lnTo>
                <a:lnTo>
                  <a:pt x="517" y="88"/>
                </a:lnTo>
                <a:lnTo>
                  <a:pt x="519" y="89"/>
                </a:lnTo>
                <a:lnTo>
                  <a:pt x="526" y="92"/>
                </a:lnTo>
                <a:lnTo>
                  <a:pt x="527" y="93"/>
                </a:lnTo>
                <a:lnTo>
                  <a:pt x="528" y="95"/>
                </a:lnTo>
                <a:lnTo>
                  <a:pt x="530" y="95"/>
                </a:lnTo>
                <a:lnTo>
                  <a:pt x="532" y="96"/>
                </a:lnTo>
                <a:lnTo>
                  <a:pt x="535" y="99"/>
                </a:lnTo>
                <a:lnTo>
                  <a:pt x="537" y="101"/>
                </a:lnTo>
                <a:lnTo>
                  <a:pt x="541" y="101"/>
                </a:lnTo>
                <a:lnTo>
                  <a:pt x="544" y="102"/>
                </a:lnTo>
                <a:lnTo>
                  <a:pt x="546" y="102"/>
                </a:lnTo>
                <a:lnTo>
                  <a:pt x="548" y="103"/>
                </a:lnTo>
                <a:lnTo>
                  <a:pt x="550" y="103"/>
                </a:lnTo>
                <a:lnTo>
                  <a:pt x="550" y="101"/>
                </a:lnTo>
                <a:lnTo>
                  <a:pt x="551" y="99"/>
                </a:lnTo>
                <a:lnTo>
                  <a:pt x="555" y="98"/>
                </a:lnTo>
                <a:lnTo>
                  <a:pt x="556" y="101"/>
                </a:lnTo>
                <a:lnTo>
                  <a:pt x="557" y="102"/>
                </a:lnTo>
                <a:lnTo>
                  <a:pt x="559" y="103"/>
                </a:lnTo>
                <a:lnTo>
                  <a:pt x="562" y="106"/>
                </a:lnTo>
                <a:lnTo>
                  <a:pt x="565" y="106"/>
                </a:lnTo>
                <a:lnTo>
                  <a:pt x="567" y="108"/>
                </a:lnTo>
                <a:lnTo>
                  <a:pt x="566" y="114"/>
                </a:lnTo>
                <a:lnTo>
                  <a:pt x="566" y="114"/>
                </a:lnTo>
                <a:lnTo>
                  <a:pt x="566" y="118"/>
                </a:lnTo>
                <a:lnTo>
                  <a:pt x="562" y="122"/>
                </a:lnTo>
                <a:lnTo>
                  <a:pt x="558" y="123"/>
                </a:lnTo>
                <a:lnTo>
                  <a:pt x="554" y="123"/>
                </a:lnTo>
                <a:lnTo>
                  <a:pt x="554" y="127"/>
                </a:lnTo>
                <a:lnTo>
                  <a:pt x="555" y="133"/>
                </a:lnTo>
                <a:lnTo>
                  <a:pt x="557" y="137"/>
                </a:lnTo>
                <a:lnTo>
                  <a:pt x="560" y="145"/>
                </a:lnTo>
                <a:lnTo>
                  <a:pt x="555" y="147"/>
                </a:lnTo>
                <a:lnTo>
                  <a:pt x="552" y="149"/>
                </a:lnTo>
                <a:lnTo>
                  <a:pt x="549" y="148"/>
                </a:lnTo>
                <a:lnTo>
                  <a:pt x="546" y="146"/>
                </a:lnTo>
                <a:lnTo>
                  <a:pt x="537" y="147"/>
                </a:lnTo>
                <a:lnTo>
                  <a:pt x="531" y="145"/>
                </a:lnTo>
                <a:lnTo>
                  <a:pt x="528" y="144"/>
                </a:lnTo>
                <a:lnTo>
                  <a:pt x="522" y="144"/>
                </a:lnTo>
                <a:lnTo>
                  <a:pt x="521" y="148"/>
                </a:lnTo>
                <a:lnTo>
                  <a:pt x="521" y="154"/>
                </a:lnTo>
                <a:lnTo>
                  <a:pt x="521" y="160"/>
                </a:lnTo>
                <a:lnTo>
                  <a:pt x="521" y="166"/>
                </a:lnTo>
                <a:lnTo>
                  <a:pt x="522" y="170"/>
                </a:lnTo>
                <a:lnTo>
                  <a:pt x="525" y="174"/>
                </a:lnTo>
                <a:lnTo>
                  <a:pt x="528" y="177"/>
                </a:lnTo>
                <a:lnTo>
                  <a:pt x="526" y="178"/>
                </a:lnTo>
                <a:lnTo>
                  <a:pt x="511" y="179"/>
                </a:lnTo>
                <a:lnTo>
                  <a:pt x="507" y="182"/>
                </a:lnTo>
                <a:lnTo>
                  <a:pt x="503" y="182"/>
                </a:lnTo>
                <a:lnTo>
                  <a:pt x="498" y="184"/>
                </a:lnTo>
                <a:lnTo>
                  <a:pt x="496" y="185"/>
                </a:lnTo>
                <a:lnTo>
                  <a:pt x="499" y="187"/>
                </a:lnTo>
                <a:lnTo>
                  <a:pt x="503" y="190"/>
                </a:lnTo>
                <a:lnTo>
                  <a:pt x="507" y="199"/>
                </a:lnTo>
                <a:lnTo>
                  <a:pt x="509" y="203"/>
                </a:lnTo>
                <a:lnTo>
                  <a:pt x="513" y="206"/>
                </a:lnTo>
                <a:lnTo>
                  <a:pt x="517" y="212"/>
                </a:lnTo>
                <a:lnTo>
                  <a:pt x="518" y="216"/>
                </a:lnTo>
                <a:lnTo>
                  <a:pt x="516" y="218"/>
                </a:lnTo>
                <a:lnTo>
                  <a:pt x="517" y="220"/>
                </a:lnTo>
                <a:lnTo>
                  <a:pt x="516" y="223"/>
                </a:lnTo>
                <a:lnTo>
                  <a:pt x="516" y="226"/>
                </a:lnTo>
                <a:lnTo>
                  <a:pt x="518" y="230"/>
                </a:lnTo>
                <a:lnTo>
                  <a:pt x="518" y="230"/>
                </a:lnTo>
                <a:lnTo>
                  <a:pt x="516" y="230"/>
                </a:lnTo>
                <a:lnTo>
                  <a:pt x="509" y="227"/>
                </a:lnTo>
                <a:lnTo>
                  <a:pt x="505" y="226"/>
                </a:lnTo>
                <a:lnTo>
                  <a:pt x="499" y="222"/>
                </a:lnTo>
                <a:lnTo>
                  <a:pt x="495" y="222"/>
                </a:lnTo>
                <a:lnTo>
                  <a:pt x="493" y="222"/>
                </a:lnTo>
                <a:lnTo>
                  <a:pt x="490" y="222"/>
                </a:lnTo>
                <a:lnTo>
                  <a:pt x="488" y="220"/>
                </a:lnTo>
                <a:lnTo>
                  <a:pt x="486" y="219"/>
                </a:lnTo>
                <a:lnTo>
                  <a:pt x="480" y="220"/>
                </a:lnTo>
                <a:lnTo>
                  <a:pt x="474" y="219"/>
                </a:lnTo>
                <a:lnTo>
                  <a:pt x="471" y="219"/>
                </a:lnTo>
                <a:lnTo>
                  <a:pt x="467" y="218"/>
                </a:lnTo>
                <a:lnTo>
                  <a:pt x="465" y="218"/>
                </a:lnTo>
                <a:lnTo>
                  <a:pt x="461" y="219"/>
                </a:lnTo>
                <a:lnTo>
                  <a:pt x="453" y="218"/>
                </a:lnTo>
                <a:lnTo>
                  <a:pt x="450" y="218"/>
                </a:lnTo>
                <a:lnTo>
                  <a:pt x="446" y="219"/>
                </a:lnTo>
                <a:lnTo>
                  <a:pt x="443" y="219"/>
                </a:lnTo>
                <a:lnTo>
                  <a:pt x="439" y="219"/>
                </a:lnTo>
                <a:lnTo>
                  <a:pt x="438" y="218"/>
                </a:lnTo>
                <a:lnTo>
                  <a:pt x="436" y="217"/>
                </a:lnTo>
                <a:lnTo>
                  <a:pt x="432" y="218"/>
                </a:lnTo>
                <a:lnTo>
                  <a:pt x="429" y="216"/>
                </a:lnTo>
                <a:lnTo>
                  <a:pt x="423" y="214"/>
                </a:lnTo>
                <a:lnTo>
                  <a:pt x="422" y="215"/>
                </a:lnTo>
                <a:lnTo>
                  <a:pt x="419" y="215"/>
                </a:lnTo>
                <a:lnTo>
                  <a:pt x="417" y="216"/>
                </a:lnTo>
                <a:lnTo>
                  <a:pt x="415" y="218"/>
                </a:lnTo>
                <a:lnTo>
                  <a:pt x="415" y="219"/>
                </a:lnTo>
                <a:lnTo>
                  <a:pt x="415" y="222"/>
                </a:lnTo>
                <a:lnTo>
                  <a:pt x="415" y="225"/>
                </a:lnTo>
                <a:lnTo>
                  <a:pt x="415" y="227"/>
                </a:lnTo>
                <a:lnTo>
                  <a:pt x="410" y="226"/>
                </a:lnTo>
                <a:lnTo>
                  <a:pt x="406" y="225"/>
                </a:lnTo>
                <a:lnTo>
                  <a:pt x="402" y="223"/>
                </a:lnTo>
                <a:lnTo>
                  <a:pt x="399" y="223"/>
                </a:lnTo>
                <a:lnTo>
                  <a:pt x="397" y="222"/>
                </a:lnTo>
                <a:lnTo>
                  <a:pt x="395" y="222"/>
                </a:lnTo>
                <a:lnTo>
                  <a:pt x="390" y="222"/>
                </a:lnTo>
                <a:lnTo>
                  <a:pt x="388" y="222"/>
                </a:lnTo>
                <a:lnTo>
                  <a:pt x="386" y="220"/>
                </a:lnTo>
                <a:lnTo>
                  <a:pt x="383" y="222"/>
                </a:lnTo>
                <a:lnTo>
                  <a:pt x="380" y="223"/>
                </a:lnTo>
                <a:lnTo>
                  <a:pt x="380" y="224"/>
                </a:lnTo>
                <a:lnTo>
                  <a:pt x="382" y="226"/>
                </a:lnTo>
                <a:lnTo>
                  <a:pt x="380" y="227"/>
                </a:lnTo>
                <a:lnTo>
                  <a:pt x="380" y="229"/>
                </a:lnTo>
                <a:lnTo>
                  <a:pt x="380" y="232"/>
                </a:lnTo>
                <a:lnTo>
                  <a:pt x="378" y="234"/>
                </a:lnTo>
                <a:lnTo>
                  <a:pt x="376" y="235"/>
                </a:lnTo>
                <a:lnTo>
                  <a:pt x="374" y="234"/>
                </a:lnTo>
                <a:lnTo>
                  <a:pt x="374" y="238"/>
                </a:lnTo>
                <a:lnTo>
                  <a:pt x="373" y="239"/>
                </a:lnTo>
                <a:lnTo>
                  <a:pt x="367" y="241"/>
                </a:lnTo>
                <a:lnTo>
                  <a:pt x="364" y="244"/>
                </a:lnTo>
                <a:lnTo>
                  <a:pt x="363" y="245"/>
                </a:lnTo>
                <a:lnTo>
                  <a:pt x="362" y="246"/>
                </a:lnTo>
                <a:lnTo>
                  <a:pt x="359" y="247"/>
                </a:lnTo>
                <a:lnTo>
                  <a:pt x="359" y="248"/>
                </a:lnTo>
                <a:lnTo>
                  <a:pt x="359" y="250"/>
                </a:lnTo>
                <a:lnTo>
                  <a:pt x="358" y="251"/>
                </a:lnTo>
                <a:lnTo>
                  <a:pt x="356" y="253"/>
                </a:lnTo>
                <a:lnTo>
                  <a:pt x="354" y="253"/>
                </a:lnTo>
                <a:lnTo>
                  <a:pt x="349" y="250"/>
                </a:lnTo>
                <a:lnTo>
                  <a:pt x="347" y="250"/>
                </a:lnTo>
                <a:lnTo>
                  <a:pt x="343" y="248"/>
                </a:lnTo>
                <a:lnTo>
                  <a:pt x="328" y="249"/>
                </a:lnTo>
                <a:lnTo>
                  <a:pt x="322" y="238"/>
                </a:lnTo>
                <a:lnTo>
                  <a:pt x="313" y="237"/>
                </a:lnTo>
                <a:lnTo>
                  <a:pt x="312" y="234"/>
                </a:lnTo>
                <a:lnTo>
                  <a:pt x="311" y="229"/>
                </a:lnTo>
                <a:lnTo>
                  <a:pt x="313" y="229"/>
                </a:lnTo>
                <a:lnTo>
                  <a:pt x="309" y="219"/>
                </a:lnTo>
                <a:lnTo>
                  <a:pt x="305" y="219"/>
                </a:lnTo>
                <a:lnTo>
                  <a:pt x="298" y="212"/>
                </a:lnTo>
                <a:lnTo>
                  <a:pt x="295" y="209"/>
                </a:lnTo>
                <a:lnTo>
                  <a:pt x="293" y="208"/>
                </a:lnTo>
                <a:lnTo>
                  <a:pt x="288" y="206"/>
                </a:lnTo>
                <a:lnTo>
                  <a:pt x="286" y="204"/>
                </a:lnTo>
                <a:lnTo>
                  <a:pt x="283" y="206"/>
                </a:lnTo>
                <a:lnTo>
                  <a:pt x="263" y="205"/>
                </a:lnTo>
                <a:lnTo>
                  <a:pt x="245" y="208"/>
                </a:lnTo>
                <a:lnTo>
                  <a:pt x="236" y="202"/>
                </a:lnTo>
                <a:lnTo>
                  <a:pt x="221" y="190"/>
                </a:lnTo>
                <a:lnTo>
                  <a:pt x="210" y="183"/>
                </a:lnTo>
                <a:lnTo>
                  <a:pt x="205" y="180"/>
                </a:lnTo>
                <a:lnTo>
                  <a:pt x="200" y="177"/>
                </a:lnTo>
                <a:lnTo>
                  <a:pt x="193" y="174"/>
                </a:lnTo>
                <a:lnTo>
                  <a:pt x="184" y="170"/>
                </a:lnTo>
                <a:lnTo>
                  <a:pt x="151" y="18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78" name="Freeform 1278"/>
          <p:cNvSpPr>
            <a:spLocks/>
          </p:cNvSpPr>
          <p:nvPr/>
        </p:nvSpPr>
        <p:spPr bwMode="auto">
          <a:xfrm>
            <a:off x="7008812" y="3541678"/>
            <a:ext cx="7937" cy="11113"/>
          </a:xfrm>
          <a:custGeom>
            <a:avLst/>
            <a:gdLst>
              <a:gd name="T0" fmla="*/ 3 w 5"/>
              <a:gd name="T1" fmla="*/ 1 h 7"/>
              <a:gd name="T2" fmla="*/ 4 w 5"/>
              <a:gd name="T3" fmla="*/ 2 h 7"/>
              <a:gd name="T4" fmla="*/ 5 w 5"/>
              <a:gd name="T5" fmla="*/ 5 h 7"/>
              <a:gd name="T6" fmla="*/ 4 w 5"/>
              <a:gd name="T7" fmla="*/ 7 h 7"/>
              <a:gd name="T8" fmla="*/ 3 w 5"/>
              <a:gd name="T9" fmla="*/ 7 h 7"/>
              <a:gd name="T10" fmla="*/ 2 w 5"/>
              <a:gd name="T11" fmla="*/ 5 h 7"/>
              <a:gd name="T12" fmla="*/ 2 w 5"/>
              <a:gd name="T13" fmla="*/ 4 h 7"/>
              <a:gd name="T14" fmla="*/ 0 w 5"/>
              <a:gd name="T15" fmla="*/ 4 h 7"/>
              <a:gd name="T16" fmla="*/ 0 w 5"/>
              <a:gd name="T17" fmla="*/ 1 h 7"/>
              <a:gd name="T18" fmla="*/ 0 w 5"/>
              <a:gd name="T19" fmla="*/ 1 h 7"/>
              <a:gd name="T20" fmla="*/ 1 w 5"/>
              <a:gd name="T21" fmla="*/ 0 h 7"/>
              <a:gd name="T22" fmla="*/ 3 w 5"/>
              <a:gd name="T23" fmla="*/ 1 h 7"/>
              <a:gd name="T24" fmla="*/ 3 w 5"/>
              <a:gd name="T25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" h="7">
                <a:moveTo>
                  <a:pt x="3" y="1"/>
                </a:moveTo>
                <a:lnTo>
                  <a:pt x="4" y="2"/>
                </a:lnTo>
                <a:lnTo>
                  <a:pt x="5" y="5"/>
                </a:lnTo>
                <a:lnTo>
                  <a:pt x="4" y="7"/>
                </a:lnTo>
                <a:lnTo>
                  <a:pt x="3" y="7"/>
                </a:lnTo>
                <a:lnTo>
                  <a:pt x="2" y="5"/>
                </a:lnTo>
                <a:lnTo>
                  <a:pt x="2" y="4"/>
                </a:lnTo>
                <a:lnTo>
                  <a:pt x="0" y="4"/>
                </a:lnTo>
                <a:lnTo>
                  <a:pt x="0" y="1"/>
                </a:lnTo>
                <a:lnTo>
                  <a:pt x="0" y="1"/>
                </a:lnTo>
                <a:lnTo>
                  <a:pt x="1" y="0"/>
                </a:lnTo>
                <a:lnTo>
                  <a:pt x="3" y="1"/>
                </a:lnTo>
                <a:lnTo>
                  <a:pt x="3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79" name="Freeform 1279"/>
          <p:cNvSpPr>
            <a:spLocks/>
          </p:cNvSpPr>
          <p:nvPr/>
        </p:nvSpPr>
        <p:spPr bwMode="auto">
          <a:xfrm>
            <a:off x="7008812" y="3541678"/>
            <a:ext cx="7937" cy="11113"/>
          </a:xfrm>
          <a:custGeom>
            <a:avLst/>
            <a:gdLst>
              <a:gd name="T0" fmla="*/ 3 w 5"/>
              <a:gd name="T1" fmla="*/ 1 h 7"/>
              <a:gd name="T2" fmla="*/ 4 w 5"/>
              <a:gd name="T3" fmla="*/ 2 h 7"/>
              <a:gd name="T4" fmla="*/ 5 w 5"/>
              <a:gd name="T5" fmla="*/ 5 h 7"/>
              <a:gd name="T6" fmla="*/ 4 w 5"/>
              <a:gd name="T7" fmla="*/ 7 h 7"/>
              <a:gd name="T8" fmla="*/ 3 w 5"/>
              <a:gd name="T9" fmla="*/ 7 h 7"/>
              <a:gd name="T10" fmla="*/ 2 w 5"/>
              <a:gd name="T11" fmla="*/ 5 h 7"/>
              <a:gd name="T12" fmla="*/ 2 w 5"/>
              <a:gd name="T13" fmla="*/ 4 h 7"/>
              <a:gd name="T14" fmla="*/ 0 w 5"/>
              <a:gd name="T15" fmla="*/ 4 h 7"/>
              <a:gd name="T16" fmla="*/ 0 w 5"/>
              <a:gd name="T17" fmla="*/ 1 h 7"/>
              <a:gd name="T18" fmla="*/ 0 w 5"/>
              <a:gd name="T19" fmla="*/ 1 h 7"/>
              <a:gd name="T20" fmla="*/ 1 w 5"/>
              <a:gd name="T21" fmla="*/ 0 h 7"/>
              <a:gd name="T22" fmla="*/ 3 w 5"/>
              <a:gd name="T23" fmla="*/ 1 h 7"/>
              <a:gd name="T24" fmla="*/ 3 w 5"/>
              <a:gd name="T25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" h="7">
                <a:moveTo>
                  <a:pt x="3" y="1"/>
                </a:moveTo>
                <a:lnTo>
                  <a:pt x="4" y="2"/>
                </a:lnTo>
                <a:lnTo>
                  <a:pt x="5" y="5"/>
                </a:lnTo>
                <a:lnTo>
                  <a:pt x="4" y="7"/>
                </a:lnTo>
                <a:lnTo>
                  <a:pt x="3" y="7"/>
                </a:lnTo>
                <a:lnTo>
                  <a:pt x="2" y="5"/>
                </a:lnTo>
                <a:lnTo>
                  <a:pt x="2" y="4"/>
                </a:lnTo>
                <a:lnTo>
                  <a:pt x="0" y="4"/>
                </a:lnTo>
                <a:lnTo>
                  <a:pt x="0" y="1"/>
                </a:lnTo>
                <a:lnTo>
                  <a:pt x="0" y="1"/>
                </a:lnTo>
                <a:lnTo>
                  <a:pt x="1" y="0"/>
                </a:lnTo>
                <a:lnTo>
                  <a:pt x="3" y="1"/>
                </a:lnTo>
                <a:lnTo>
                  <a:pt x="3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80" name="Freeform 1280"/>
          <p:cNvSpPr>
            <a:spLocks/>
          </p:cNvSpPr>
          <p:nvPr/>
        </p:nvSpPr>
        <p:spPr bwMode="auto">
          <a:xfrm>
            <a:off x="6772275" y="3414678"/>
            <a:ext cx="277812" cy="331788"/>
          </a:xfrm>
          <a:custGeom>
            <a:avLst/>
            <a:gdLst>
              <a:gd name="T0" fmla="*/ 3 w 175"/>
              <a:gd name="T1" fmla="*/ 0 h 209"/>
              <a:gd name="T2" fmla="*/ 10 w 175"/>
              <a:gd name="T3" fmla="*/ 3 h 209"/>
              <a:gd name="T4" fmla="*/ 18 w 175"/>
              <a:gd name="T5" fmla="*/ 7 h 209"/>
              <a:gd name="T6" fmla="*/ 30 w 175"/>
              <a:gd name="T7" fmla="*/ 7 h 209"/>
              <a:gd name="T8" fmla="*/ 39 w 175"/>
              <a:gd name="T9" fmla="*/ 9 h 209"/>
              <a:gd name="T10" fmla="*/ 44 w 175"/>
              <a:gd name="T11" fmla="*/ 18 h 209"/>
              <a:gd name="T12" fmla="*/ 50 w 175"/>
              <a:gd name="T13" fmla="*/ 25 h 209"/>
              <a:gd name="T14" fmla="*/ 59 w 175"/>
              <a:gd name="T15" fmla="*/ 35 h 209"/>
              <a:gd name="T16" fmla="*/ 74 w 175"/>
              <a:gd name="T17" fmla="*/ 46 h 209"/>
              <a:gd name="T18" fmla="*/ 82 w 175"/>
              <a:gd name="T19" fmla="*/ 54 h 209"/>
              <a:gd name="T20" fmla="*/ 90 w 175"/>
              <a:gd name="T21" fmla="*/ 65 h 209"/>
              <a:gd name="T22" fmla="*/ 93 w 175"/>
              <a:gd name="T23" fmla="*/ 62 h 209"/>
              <a:gd name="T24" fmla="*/ 101 w 175"/>
              <a:gd name="T25" fmla="*/ 71 h 209"/>
              <a:gd name="T26" fmla="*/ 107 w 175"/>
              <a:gd name="T27" fmla="*/ 74 h 209"/>
              <a:gd name="T28" fmla="*/ 114 w 175"/>
              <a:gd name="T29" fmla="*/ 81 h 209"/>
              <a:gd name="T30" fmla="*/ 117 w 175"/>
              <a:gd name="T31" fmla="*/ 79 h 209"/>
              <a:gd name="T32" fmla="*/ 127 w 175"/>
              <a:gd name="T33" fmla="*/ 82 h 209"/>
              <a:gd name="T34" fmla="*/ 129 w 175"/>
              <a:gd name="T35" fmla="*/ 87 h 209"/>
              <a:gd name="T36" fmla="*/ 127 w 175"/>
              <a:gd name="T37" fmla="*/ 90 h 209"/>
              <a:gd name="T38" fmla="*/ 124 w 175"/>
              <a:gd name="T39" fmla="*/ 98 h 209"/>
              <a:gd name="T40" fmla="*/ 129 w 175"/>
              <a:gd name="T41" fmla="*/ 97 h 209"/>
              <a:gd name="T42" fmla="*/ 135 w 175"/>
              <a:gd name="T43" fmla="*/ 95 h 209"/>
              <a:gd name="T44" fmla="*/ 140 w 175"/>
              <a:gd name="T45" fmla="*/ 101 h 209"/>
              <a:gd name="T46" fmla="*/ 139 w 175"/>
              <a:gd name="T47" fmla="*/ 108 h 209"/>
              <a:gd name="T48" fmla="*/ 134 w 175"/>
              <a:gd name="T49" fmla="*/ 115 h 209"/>
              <a:gd name="T50" fmla="*/ 141 w 175"/>
              <a:gd name="T51" fmla="*/ 121 h 209"/>
              <a:gd name="T52" fmla="*/ 146 w 175"/>
              <a:gd name="T53" fmla="*/ 122 h 209"/>
              <a:gd name="T54" fmla="*/ 151 w 175"/>
              <a:gd name="T55" fmla="*/ 129 h 209"/>
              <a:gd name="T56" fmla="*/ 151 w 175"/>
              <a:gd name="T57" fmla="*/ 137 h 209"/>
              <a:gd name="T58" fmla="*/ 158 w 175"/>
              <a:gd name="T59" fmla="*/ 141 h 209"/>
              <a:gd name="T60" fmla="*/ 161 w 175"/>
              <a:gd name="T61" fmla="*/ 146 h 209"/>
              <a:gd name="T62" fmla="*/ 169 w 175"/>
              <a:gd name="T63" fmla="*/ 147 h 209"/>
              <a:gd name="T64" fmla="*/ 173 w 175"/>
              <a:gd name="T65" fmla="*/ 155 h 209"/>
              <a:gd name="T66" fmla="*/ 174 w 175"/>
              <a:gd name="T67" fmla="*/ 163 h 209"/>
              <a:gd name="T68" fmla="*/ 173 w 175"/>
              <a:gd name="T69" fmla="*/ 171 h 209"/>
              <a:gd name="T70" fmla="*/ 171 w 175"/>
              <a:gd name="T71" fmla="*/ 183 h 209"/>
              <a:gd name="T72" fmla="*/ 170 w 175"/>
              <a:gd name="T73" fmla="*/ 205 h 209"/>
              <a:gd name="T74" fmla="*/ 164 w 175"/>
              <a:gd name="T75" fmla="*/ 205 h 209"/>
              <a:gd name="T76" fmla="*/ 161 w 175"/>
              <a:gd name="T77" fmla="*/ 207 h 209"/>
              <a:gd name="T78" fmla="*/ 151 w 175"/>
              <a:gd name="T79" fmla="*/ 203 h 209"/>
              <a:gd name="T80" fmla="*/ 149 w 175"/>
              <a:gd name="T81" fmla="*/ 207 h 209"/>
              <a:gd name="T82" fmla="*/ 140 w 175"/>
              <a:gd name="T83" fmla="*/ 196 h 209"/>
              <a:gd name="T84" fmla="*/ 133 w 175"/>
              <a:gd name="T85" fmla="*/ 191 h 209"/>
              <a:gd name="T86" fmla="*/ 121 w 175"/>
              <a:gd name="T87" fmla="*/ 179 h 209"/>
              <a:gd name="T88" fmla="*/ 115 w 175"/>
              <a:gd name="T89" fmla="*/ 170 h 209"/>
              <a:gd name="T90" fmla="*/ 108 w 175"/>
              <a:gd name="T91" fmla="*/ 162 h 209"/>
              <a:gd name="T92" fmla="*/ 93 w 175"/>
              <a:gd name="T93" fmla="*/ 143 h 209"/>
              <a:gd name="T94" fmla="*/ 87 w 175"/>
              <a:gd name="T95" fmla="*/ 119 h 209"/>
              <a:gd name="T96" fmla="*/ 80 w 175"/>
              <a:gd name="T97" fmla="*/ 110 h 209"/>
              <a:gd name="T98" fmla="*/ 70 w 175"/>
              <a:gd name="T99" fmla="*/ 98 h 209"/>
              <a:gd name="T100" fmla="*/ 68 w 175"/>
              <a:gd name="T101" fmla="*/ 98 h 209"/>
              <a:gd name="T102" fmla="*/ 62 w 175"/>
              <a:gd name="T103" fmla="*/ 80 h 209"/>
              <a:gd name="T104" fmla="*/ 58 w 175"/>
              <a:gd name="T105" fmla="*/ 69 h 209"/>
              <a:gd name="T106" fmla="*/ 47 w 175"/>
              <a:gd name="T107" fmla="*/ 61 h 209"/>
              <a:gd name="T108" fmla="*/ 38 w 175"/>
              <a:gd name="T109" fmla="*/ 49 h 209"/>
              <a:gd name="T110" fmla="*/ 32 w 175"/>
              <a:gd name="T111" fmla="*/ 40 h 209"/>
              <a:gd name="T112" fmla="*/ 23 w 175"/>
              <a:gd name="T113" fmla="*/ 35 h 209"/>
              <a:gd name="T114" fmla="*/ 16 w 175"/>
              <a:gd name="T115" fmla="*/ 26 h 209"/>
              <a:gd name="T116" fmla="*/ 4 w 175"/>
              <a:gd name="T117" fmla="*/ 14 h 209"/>
              <a:gd name="T118" fmla="*/ 0 w 175"/>
              <a:gd name="T119" fmla="*/ 1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75" h="209">
                <a:moveTo>
                  <a:pt x="0" y="1"/>
                </a:moveTo>
                <a:lnTo>
                  <a:pt x="2" y="1"/>
                </a:lnTo>
                <a:lnTo>
                  <a:pt x="3" y="0"/>
                </a:lnTo>
                <a:lnTo>
                  <a:pt x="7" y="0"/>
                </a:lnTo>
                <a:lnTo>
                  <a:pt x="9" y="1"/>
                </a:lnTo>
                <a:lnTo>
                  <a:pt x="10" y="3"/>
                </a:lnTo>
                <a:lnTo>
                  <a:pt x="12" y="6"/>
                </a:lnTo>
                <a:lnTo>
                  <a:pt x="17" y="6"/>
                </a:lnTo>
                <a:lnTo>
                  <a:pt x="18" y="7"/>
                </a:lnTo>
                <a:lnTo>
                  <a:pt x="22" y="7"/>
                </a:lnTo>
                <a:lnTo>
                  <a:pt x="27" y="7"/>
                </a:lnTo>
                <a:lnTo>
                  <a:pt x="30" y="7"/>
                </a:lnTo>
                <a:lnTo>
                  <a:pt x="32" y="9"/>
                </a:lnTo>
                <a:lnTo>
                  <a:pt x="36" y="8"/>
                </a:lnTo>
                <a:lnTo>
                  <a:pt x="39" y="9"/>
                </a:lnTo>
                <a:lnTo>
                  <a:pt x="43" y="14"/>
                </a:lnTo>
                <a:lnTo>
                  <a:pt x="44" y="16"/>
                </a:lnTo>
                <a:lnTo>
                  <a:pt x="44" y="18"/>
                </a:lnTo>
                <a:lnTo>
                  <a:pt x="46" y="19"/>
                </a:lnTo>
                <a:lnTo>
                  <a:pt x="48" y="21"/>
                </a:lnTo>
                <a:lnTo>
                  <a:pt x="50" y="25"/>
                </a:lnTo>
                <a:lnTo>
                  <a:pt x="51" y="27"/>
                </a:lnTo>
                <a:lnTo>
                  <a:pt x="55" y="30"/>
                </a:lnTo>
                <a:lnTo>
                  <a:pt x="59" y="35"/>
                </a:lnTo>
                <a:lnTo>
                  <a:pt x="69" y="40"/>
                </a:lnTo>
                <a:lnTo>
                  <a:pt x="71" y="42"/>
                </a:lnTo>
                <a:lnTo>
                  <a:pt x="74" y="46"/>
                </a:lnTo>
                <a:lnTo>
                  <a:pt x="78" y="49"/>
                </a:lnTo>
                <a:lnTo>
                  <a:pt x="79" y="52"/>
                </a:lnTo>
                <a:lnTo>
                  <a:pt x="82" y="54"/>
                </a:lnTo>
                <a:lnTo>
                  <a:pt x="84" y="58"/>
                </a:lnTo>
                <a:lnTo>
                  <a:pt x="89" y="62"/>
                </a:lnTo>
                <a:lnTo>
                  <a:pt x="90" y="65"/>
                </a:lnTo>
                <a:lnTo>
                  <a:pt x="92" y="65"/>
                </a:lnTo>
                <a:lnTo>
                  <a:pt x="92" y="64"/>
                </a:lnTo>
                <a:lnTo>
                  <a:pt x="93" y="62"/>
                </a:lnTo>
                <a:lnTo>
                  <a:pt x="95" y="62"/>
                </a:lnTo>
                <a:lnTo>
                  <a:pt x="98" y="64"/>
                </a:lnTo>
                <a:lnTo>
                  <a:pt x="101" y="71"/>
                </a:lnTo>
                <a:lnTo>
                  <a:pt x="103" y="72"/>
                </a:lnTo>
                <a:lnTo>
                  <a:pt x="104" y="72"/>
                </a:lnTo>
                <a:lnTo>
                  <a:pt x="107" y="74"/>
                </a:lnTo>
                <a:lnTo>
                  <a:pt x="111" y="76"/>
                </a:lnTo>
                <a:lnTo>
                  <a:pt x="112" y="78"/>
                </a:lnTo>
                <a:lnTo>
                  <a:pt x="114" y="81"/>
                </a:lnTo>
                <a:lnTo>
                  <a:pt x="115" y="82"/>
                </a:lnTo>
                <a:lnTo>
                  <a:pt x="115" y="78"/>
                </a:lnTo>
                <a:lnTo>
                  <a:pt x="117" y="79"/>
                </a:lnTo>
                <a:lnTo>
                  <a:pt x="119" y="81"/>
                </a:lnTo>
                <a:lnTo>
                  <a:pt x="120" y="84"/>
                </a:lnTo>
                <a:lnTo>
                  <a:pt x="127" y="82"/>
                </a:lnTo>
                <a:lnTo>
                  <a:pt x="129" y="85"/>
                </a:lnTo>
                <a:lnTo>
                  <a:pt x="129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7" y="90"/>
                </a:lnTo>
                <a:lnTo>
                  <a:pt x="128" y="92"/>
                </a:lnTo>
                <a:lnTo>
                  <a:pt x="128" y="95"/>
                </a:lnTo>
                <a:lnTo>
                  <a:pt x="124" y="98"/>
                </a:lnTo>
                <a:lnTo>
                  <a:pt x="124" y="98"/>
                </a:lnTo>
                <a:lnTo>
                  <a:pt x="124" y="99"/>
                </a:lnTo>
                <a:lnTo>
                  <a:pt x="129" y="97"/>
                </a:lnTo>
                <a:lnTo>
                  <a:pt x="131" y="95"/>
                </a:lnTo>
                <a:lnTo>
                  <a:pt x="134" y="94"/>
                </a:lnTo>
                <a:lnTo>
                  <a:pt x="135" y="95"/>
                </a:lnTo>
                <a:lnTo>
                  <a:pt x="138" y="97"/>
                </a:lnTo>
                <a:lnTo>
                  <a:pt x="139" y="100"/>
                </a:lnTo>
                <a:lnTo>
                  <a:pt x="140" y="101"/>
                </a:lnTo>
                <a:lnTo>
                  <a:pt x="135" y="106"/>
                </a:lnTo>
                <a:lnTo>
                  <a:pt x="136" y="107"/>
                </a:lnTo>
                <a:lnTo>
                  <a:pt x="139" y="108"/>
                </a:lnTo>
                <a:lnTo>
                  <a:pt x="138" y="110"/>
                </a:lnTo>
                <a:lnTo>
                  <a:pt x="135" y="112"/>
                </a:lnTo>
                <a:lnTo>
                  <a:pt x="134" y="115"/>
                </a:lnTo>
                <a:lnTo>
                  <a:pt x="135" y="118"/>
                </a:lnTo>
                <a:lnTo>
                  <a:pt x="139" y="120"/>
                </a:lnTo>
                <a:lnTo>
                  <a:pt x="141" y="121"/>
                </a:lnTo>
                <a:lnTo>
                  <a:pt x="143" y="121"/>
                </a:lnTo>
                <a:lnTo>
                  <a:pt x="144" y="122"/>
                </a:lnTo>
                <a:lnTo>
                  <a:pt x="146" y="122"/>
                </a:lnTo>
                <a:lnTo>
                  <a:pt x="149" y="122"/>
                </a:lnTo>
                <a:lnTo>
                  <a:pt x="151" y="126"/>
                </a:lnTo>
                <a:lnTo>
                  <a:pt x="151" y="129"/>
                </a:lnTo>
                <a:lnTo>
                  <a:pt x="151" y="132"/>
                </a:lnTo>
                <a:lnTo>
                  <a:pt x="152" y="135"/>
                </a:lnTo>
                <a:lnTo>
                  <a:pt x="151" y="137"/>
                </a:lnTo>
                <a:lnTo>
                  <a:pt x="153" y="137"/>
                </a:lnTo>
                <a:lnTo>
                  <a:pt x="155" y="139"/>
                </a:lnTo>
                <a:lnTo>
                  <a:pt x="158" y="141"/>
                </a:lnTo>
                <a:lnTo>
                  <a:pt x="155" y="146"/>
                </a:lnTo>
                <a:lnTo>
                  <a:pt x="158" y="146"/>
                </a:lnTo>
                <a:lnTo>
                  <a:pt x="161" y="146"/>
                </a:lnTo>
                <a:lnTo>
                  <a:pt x="163" y="146"/>
                </a:lnTo>
                <a:lnTo>
                  <a:pt x="166" y="146"/>
                </a:lnTo>
                <a:lnTo>
                  <a:pt x="169" y="147"/>
                </a:lnTo>
                <a:lnTo>
                  <a:pt x="170" y="149"/>
                </a:lnTo>
                <a:lnTo>
                  <a:pt x="171" y="152"/>
                </a:lnTo>
                <a:lnTo>
                  <a:pt x="173" y="155"/>
                </a:lnTo>
                <a:lnTo>
                  <a:pt x="174" y="157"/>
                </a:lnTo>
                <a:lnTo>
                  <a:pt x="175" y="160"/>
                </a:lnTo>
                <a:lnTo>
                  <a:pt x="174" y="163"/>
                </a:lnTo>
                <a:lnTo>
                  <a:pt x="172" y="168"/>
                </a:lnTo>
                <a:lnTo>
                  <a:pt x="172" y="171"/>
                </a:lnTo>
                <a:lnTo>
                  <a:pt x="173" y="171"/>
                </a:lnTo>
                <a:lnTo>
                  <a:pt x="173" y="173"/>
                </a:lnTo>
                <a:lnTo>
                  <a:pt x="172" y="178"/>
                </a:lnTo>
                <a:lnTo>
                  <a:pt x="171" y="183"/>
                </a:lnTo>
                <a:lnTo>
                  <a:pt x="172" y="186"/>
                </a:lnTo>
                <a:lnTo>
                  <a:pt x="171" y="199"/>
                </a:lnTo>
                <a:lnTo>
                  <a:pt x="170" y="205"/>
                </a:lnTo>
                <a:lnTo>
                  <a:pt x="169" y="208"/>
                </a:lnTo>
                <a:lnTo>
                  <a:pt x="168" y="208"/>
                </a:lnTo>
                <a:lnTo>
                  <a:pt x="164" y="205"/>
                </a:lnTo>
                <a:lnTo>
                  <a:pt x="162" y="203"/>
                </a:lnTo>
                <a:lnTo>
                  <a:pt x="161" y="205"/>
                </a:lnTo>
                <a:lnTo>
                  <a:pt x="161" y="207"/>
                </a:lnTo>
                <a:lnTo>
                  <a:pt x="159" y="208"/>
                </a:lnTo>
                <a:lnTo>
                  <a:pt x="153" y="203"/>
                </a:lnTo>
                <a:lnTo>
                  <a:pt x="151" y="203"/>
                </a:lnTo>
                <a:lnTo>
                  <a:pt x="153" y="209"/>
                </a:lnTo>
                <a:lnTo>
                  <a:pt x="151" y="209"/>
                </a:lnTo>
                <a:lnTo>
                  <a:pt x="149" y="207"/>
                </a:lnTo>
                <a:lnTo>
                  <a:pt x="146" y="203"/>
                </a:lnTo>
                <a:lnTo>
                  <a:pt x="142" y="199"/>
                </a:lnTo>
                <a:lnTo>
                  <a:pt x="140" y="196"/>
                </a:lnTo>
                <a:lnTo>
                  <a:pt x="138" y="193"/>
                </a:lnTo>
                <a:lnTo>
                  <a:pt x="135" y="191"/>
                </a:lnTo>
                <a:lnTo>
                  <a:pt x="133" y="191"/>
                </a:lnTo>
                <a:lnTo>
                  <a:pt x="129" y="186"/>
                </a:lnTo>
                <a:lnTo>
                  <a:pt x="123" y="182"/>
                </a:lnTo>
                <a:lnTo>
                  <a:pt x="121" y="179"/>
                </a:lnTo>
                <a:lnTo>
                  <a:pt x="118" y="178"/>
                </a:lnTo>
                <a:lnTo>
                  <a:pt x="115" y="175"/>
                </a:lnTo>
                <a:lnTo>
                  <a:pt x="115" y="170"/>
                </a:lnTo>
                <a:lnTo>
                  <a:pt x="113" y="168"/>
                </a:lnTo>
                <a:lnTo>
                  <a:pt x="110" y="166"/>
                </a:lnTo>
                <a:lnTo>
                  <a:pt x="108" y="162"/>
                </a:lnTo>
                <a:lnTo>
                  <a:pt x="101" y="152"/>
                </a:lnTo>
                <a:lnTo>
                  <a:pt x="94" y="146"/>
                </a:lnTo>
                <a:lnTo>
                  <a:pt x="93" y="143"/>
                </a:lnTo>
                <a:lnTo>
                  <a:pt x="93" y="137"/>
                </a:lnTo>
                <a:lnTo>
                  <a:pt x="87" y="122"/>
                </a:lnTo>
                <a:lnTo>
                  <a:pt x="87" y="119"/>
                </a:lnTo>
                <a:lnTo>
                  <a:pt x="83" y="115"/>
                </a:lnTo>
                <a:lnTo>
                  <a:pt x="82" y="112"/>
                </a:lnTo>
                <a:lnTo>
                  <a:pt x="80" y="110"/>
                </a:lnTo>
                <a:lnTo>
                  <a:pt x="78" y="109"/>
                </a:lnTo>
                <a:lnTo>
                  <a:pt x="75" y="102"/>
                </a:lnTo>
                <a:lnTo>
                  <a:pt x="70" y="98"/>
                </a:lnTo>
                <a:lnTo>
                  <a:pt x="69" y="98"/>
                </a:lnTo>
                <a:lnTo>
                  <a:pt x="68" y="98"/>
                </a:lnTo>
                <a:lnTo>
                  <a:pt x="68" y="98"/>
                </a:lnTo>
                <a:lnTo>
                  <a:pt x="65" y="91"/>
                </a:lnTo>
                <a:lnTo>
                  <a:pt x="64" y="84"/>
                </a:lnTo>
                <a:lnTo>
                  <a:pt x="62" y="80"/>
                </a:lnTo>
                <a:lnTo>
                  <a:pt x="60" y="76"/>
                </a:lnTo>
                <a:lnTo>
                  <a:pt x="60" y="72"/>
                </a:lnTo>
                <a:lnTo>
                  <a:pt x="58" y="69"/>
                </a:lnTo>
                <a:lnTo>
                  <a:pt x="54" y="66"/>
                </a:lnTo>
                <a:lnTo>
                  <a:pt x="49" y="62"/>
                </a:lnTo>
                <a:lnTo>
                  <a:pt x="47" y="61"/>
                </a:lnTo>
                <a:lnTo>
                  <a:pt x="42" y="60"/>
                </a:lnTo>
                <a:lnTo>
                  <a:pt x="40" y="50"/>
                </a:lnTo>
                <a:lnTo>
                  <a:pt x="38" y="49"/>
                </a:lnTo>
                <a:lnTo>
                  <a:pt x="37" y="48"/>
                </a:lnTo>
                <a:lnTo>
                  <a:pt x="36" y="46"/>
                </a:lnTo>
                <a:lnTo>
                  <a:pt x="32" y="40"/>
                </a:lnTo>
                <a:lnTo>
                  <a:pt x="29" y="37"/>
                </a:lnTo>
                <a:lnTo>
                  <a:pt x="27" y="35"/>
                </a:lnTo>
                <a:lnTo>
                  <a:pt x="23" y="35"/>
                </a:lnTo>
                <a:lnTo>
                  <a:pt x="20" y="31"/>
                </a:lnTo>
                <a:lnTo>
                  <a:pt x="18" y="28"/>
                </a:lnTo>
                <a:lnTo>
                  <a:pt x="16" y="26"/>
                </a:lnTo>
                <a:lnTo>
                  <a:pt x="13" y="25"/>
                </a:lnTo>
                <a:lnTo>
                  <a:pt x="6" y="16"/>
                </a:lnTo>
                <a:lnTo>
                  <a:pt x="4" y="14"/>
                </a:lnTo>
                <a:lnTo>
                  <a:pt x="1" y="8"/>
                </a:lnTo>
                <a:lnTo>
                  <a:pt x="1" y="3"/>
                </a:lnTo>
                <a:lnTo>
                  <a:pt x="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81" name="Freeform 1281"/>
          <p:cNvSpPr>
            <a:spLocks/>
          </p:cNvSpPr>
          <p:nvPr/>
        </p:nvSpPr>
        <p:spPr bwMode="auto">
          <a:xfrm>
            <a:off x="6772275" y="3414678"/>
            <a:ext cx="277812" cy="331788"/>
          </a:xfrm>
          <a:custGeom>
            <a:avLst/>
            <a:gdLst>
              <a:gd name="T0" fmla="*/ 3 w 175"/>
              <a:gd name="T1" fmla="*/ 0 h 209"/>
              <a:gd name="T2" fmla="*/ 10 w 175"/>
              <a:gd name="T3" fmla="*/ 3 h 209"/>
              <a:gd name="T4" fmla="*/ 18 w 175"/>
              <a:gd name="T5" fmla="*/ 7 h 209"/>
              <a:gd name="T6" fmla="*/ 30 w 175"/>
              <a:gd name="T7" fmla="*/ 7 h 209"/>
              <a:gd name="T8" fmla="*/ 39 w 175"/>
              <a:gd name="T9" fmla="*/ 9 h 209"/>
              <a:gd name="T10" fmla="*/ 44 w 175"/>
              <a:gd name="T11" fmla="*/ 18 h 209"/>
              <a:gd name="T12" fmla="*/ 50 w 175"/>
              <a:gd name="T13" fmla="*/ 25 h 209"/>
              <a:gd name="T14" fmla="*/ 59 w 175"/>
              <a:gd name="T15" fmla="*/ 35 h 209"/>
              <a:gd name="T16" fmla="*/ 74 w 175"/>
              <a:gd name="T17" fmla="*/ 46 h 209"/>
              <a:gd name="T18" fmla="*/ 82 w 175"/>
              <a:gd name="T19" fmla="*/ 54 h 209"/>
              <a:gd name="T20" fmla="*/ 90 w 175"/>
              <a:gd name="T21" fmla="*/ 65 h 209"/>
              <a:gd name="T22" fmla="*/ 93 w 175"/>
              <a:gd name="T23" fmla="*/ 62 h 209"/>
              <a:gd name="T24" fmla="*/ 101 w 175"/>
              <a:gd name="T25" fmla="*/ 71 h 209"/>
              <a:gd name="T26" fmla="*/ 107 w 175"/>
              <a:gd name="T27" fmla="*/ 74 h 209"/>
              <a:gd name="T28" fmla="*/ 114 w 175"/>
              <a:gd name="T29" fmla="*/ 81 h 209"/>
              <a:gd name="T30" fmla="*/ 117 w 175"/>
              <a:gd name="T31" fmla="*/ 79 h 209"/>
              <a:gd name="T32" fmla="*/ 127 w 175"/>
              <a:gd name="T33" fmla="*/ 82 h 209"/>
              <a:gd name="T34" fmla="*/ 129 w 175"/>
              <a:gd name="T35" fmla="*/ 87 h 209"/>
              <a:gd name="T36" fmla="*/ 127 w 175"/>
              <a:gd name="T37" fmla="*/ 90 h 209"/>
              <a:gd name="T38" fmla="*/ 124 w 175"/>
              <a:gd name="T39" fmla="*/ 98 h 209"/>
              <a:gd name="T40" fmla="*/ 129 w 175"/>
              <a:gd name="T41" fmla="*/ 97 h 209"/>
              <a:gd name="T42" fmla="*/ 135 w 175"/>
              <a:gd name="T43" fmla="*/ 95 h 209"/>
              <a:gd name="T44" fmla="*/ 140 w 175"/>
              <a:gd name="T45" fmla="*/ 101 h 209"/>
              <a:gd name="T46" fmla="*/ 139 w 175"/>
              <a:gd name="T47" fmla="*/ 108 h 209"/>
              <a:gd name="T48" fmla="*/ 134 w 175"/>
              <a:gd name="T49" fmla="*/ 115 h 209"/>
              <a:gd name="T50" fmla="*/ 141 w 175"/>
              <a:gd name="T51" fmla="*/ 121 h 209"/>
              <a:gd name="T52" fmla="*/ 146 w 175"/>
              <a:gd name="T53" fmla="*/ 122 h 209"/>
              <a:gd name="T54" fmla="*/ 151 w 175"/>
              <a:gd name="T55" fmla="*/ 129 h 209"/>
              <a:gd name="T56" fmla="*/ 151 w 175"/>
              <a:gd name="T57" fmla="*/ 137 h 209"/>
              <a:gd name="T58" fmla="*/ 158 w 175"/>
              <a:gd name="T59" fmla="*/ 141 h 209"/>
              <a:gd name="T60" fmla="*/ 161 w 175"/>
              <a:gd name="T61" fmla="*/ 146 h 209"/>
              <a:gd name="T62" fmla="*/ 169 w 175"/>
              <a:gd name="T63" fmla="*/ 147 h 209"/>
              <a:gd name="T64" fmla="*/ 173 w 175"/>
              <a:gd name="T65" fmla="*/ 155 h 209"/>
              <a:gd name="T66" fmla="*/ 174 w 175"/>
              <a:gd name="T67" fmla="*/ 163 h 209"/>
              <a:gd name="T68" fmla="*/ 173 w 175"/>
              <a:gd name="T69" fmla="*/ 171 h 209"/>
              <a:gd name="T70" fmla="*/ 171 w 175"/>
              <a:gd name="T71" fmla="*/ 183 h 209"/>
              <a:gd name="T72" fmla="*/ 170 w 175"/>
              <a:gd name="T73" fmla="*/ 205 h 209"/>
              <a:gd name="T74" fmla="*/ 164 w 175"/>
              <a:gd name="T75" fmla="*/ 205 h 209"/>
              <a:gd name="T76" fmla="*/ 161 w 175"/>
              <a:gd name="T77" fmla="*/ 207 h 209"/>
              <a:gd name="T78" fmla="*/ 151 w 175"/>
              <a:gd name="T79" fmla="*/ 203 h 209"/>
              <a:gd name="T80" fmla="*/ 149 w 175"/>
              <a:gd name="T81" fmla="*/ 207 h 209"/>
              <a:gd name="T82" fmla="*/ 140 w 175"/>
              <a:gd name="T83" fmla="*/ 196 h 209"/>
              <a:gd name="T84" fmla="*/ 133 w 175"/>
              <a:gd name="T85" fmla="*/ 191 h 209"/>
              <a:gd name="T86" fmla="*/ 121 w 175"/>
              <a:gd name="T87" fmla="*/ 179 h 209"/>
              <a:gd name="T88" fmla="*/ 115 w 175"/>
              <a:gd name="T89" fmla="*/ 170 h 209"/>
              <a:gd name="T90" fmla="*/ 108 w 175"/>
              <a:gd name="T91" fmla="*/ 162 h 209"/>
              <a:gd name="T92" fmla="*/ 93 w 175"/>
              <a:gd name="T93" fmla="*/ 143 h 209"/>
              <a:gd name="T94" fmla="*/ 87 w 175"/>
              <a:gd name="T95" fmla="*/ 119 h 209"/>
              <a:gd name="T96" fmla="*/ 80 w 175"/>
              <a:gd name="T97" fmla="*/ 110 h 209"/>
              <a:gd name="T98" fmla="*/ 70 w 175"/>
              <a:gd name="T99" fmla="*/ 98 h 209"/>
              <a:gd name="T100" fmla="*/ 68 w 175"/>
              <a:gd name="T101" fmla="*/ 98 h 209"/>
              <a:gd name="T102" fmla="*/ 62 w 175"/>
              <a:gd name="T103" fmla="*/ 80 h 209"/>
              <a:gd name="T104" fmla="*/ 58 w 175"/>
              <a:gd name="T105" fmla="*/ 69 h 209"/>
              <a:gd name="T106" fmla="*/ 47 w 175"/>
              <a:gd name="T107" fmla="*/ 61 h 209"/>
              <a:gd name="T108" fmla="*/ 38 w 175"/>
              <a:gd name="T109" fmla="*/ 49 h 209"/>
              <a:gd name="T110" fmla="*/ 32 w 175"/>
              <a:gd name="T111" fmla="*/ 40 h 209"/>
              <a:gd name="T112" fmla="*/ 23 w 175"/>
              <a:gd name="T113" fmla="*/ 35 h 209"/>
              <a:gd name="T114" fmla="*/ 16 w 175"/>
              <a:gd name="T115" fmla="*/ 26 h 209"/>
              <a:gd name="T116" fmla="*/ 4 w 175"/>
              <a:gd name="T117" fmla="*/ 14 h 209"/>
              <a:gd name="T118" fmla="*/ 0 w 175"/>
              <a:gd name="T119" fmla="*/ 1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75" h="209">
                <a:moveTo>
                  <a:pt x="0" y="1"/>
                </a:moveTo>
                <a:lnTo>
                  <a:pt x="2" y="1"/>
                </a:lnTo>
                <a:lnTo>
                  <a:pt x="3" y="0"/>
                </a:lnTo>
                <a:lnTo>
                  <a:pt x="7" y="0"/>
                </a:lnTo>
                <a:lnTo>
                  <a:pt x="9" y="1"/>
                </a:lnTo>
                <a:lnTo>
                  <a:pt x="10" y="3"/>
                </a:lnTo>
                <a:lnTo>
                  <a:pt x="12" y="6"/>
                </a:lnTo>
                <a:lnTo>
                  <a:pt x="17" y="6"/>
                </a:lnTo>
                <a:lnTo>
                  <a:pt x="18" y="7"/>
                </a:lnTo>
                <a:lnTo>
                  <a:pt x="22" y="7"/>
                </a:lnTo>
                <a:lnTo>
                  <a:pt x="27" y="7"/>
                </a:lnTo>
                <a:lnTo>
                  <a:pt x="30" y="7"/>
                </a:lnTo>
                <a:lnTo>
                  <a:pt x="32" y="9"/>
                </a:lnTo>
                <a:lnTo>
                  <a:pt x="36" y="8"/>
                </a:lnTo>
                <a:lnTo>
                  <a:pt x="39" y="9"/>
                </a:lnTo>
                <a:lnTo>
                  <a:pt x="43" y="14"/>
                </a:lnTo>
                <a:lnTo>
                  <a:pt x="44" y="16"/>
                </a:lnTo>
                <a:lnTo>
                  <a:pt x="44" y="18"/>
                </a:lnTo>
                <a:lnTo>
                  <a:pt x="46" y="19"/>
                </a:lnTo>
                <a:lnTo>
                  <a:pt x="48" y="21"/>
                </a:lnTo>
                <a:lnTo>
                  <a:pt x="50" y="25"/>
                </a:lnTo>
                <a:lnTo>
                  <a:pt x="51" y="27"/>
                </a:lnTo>
                <a:lnTo>
                  <a:pt x="55" y="30"/>
                </a:lnTo>
                <a:lnTo>
                  <a:pt x="59" y="35"/>
                </a:lnTo>
                <a:lnTo>
                  <a:pt x="69" y="40"/>
                </a:lnTo>
                <a:lnTo>
                  <a:pt x="71" y="42"/>
                </a:lnTo>
                <a:lnTo>
                  <a:pt x="74" y="46"/>
                </a:lnTo>
                <a:lnTo>
                  <a:pt x="78" y="49"/>
                </a:lnTo>
                <a:lnTo>
                  <a:pt x="79" y="52"/>
                </a:lnTo>
                <a:lnTo>
                  <a:pt x="82" y="54"/>
                </a:lnTo>
                <a:lnTo>
                  <a:pt x="84" y="58"/>
                </a:lnTo>
                <a:lnTo>
                  <a:pt x="89" y="62"/>
                </a:lnTo>
                <a:lnTo>
                  <a:pt x="90" y="65"/>
                </a:lnTo>
                <a:lnTo>
                  <a:pt x="92" y="65"/>
                </a:lnTo>
                <a:lnTo>
                  <a:pt x="92" y="64"/>
                </a:lnTo>
                <a:lnTo>
                  <a:pt x="93" y="62"/>
                </a:lnTo>
                <a:lnTo>
                  <a:pt x="95" y="62"/>
                </a:lnTo>
                <a:lnTo>
                  <a:pt x="98" y="64"/>
                </a:lnTo>
                <a:lnTo>
                  <a:pt x="101" y="71"/>
                </a:lnTo>
                <a:lnTo>
                  <a:pt x="103" y="72"/>
                </a:lnTo>
                <a:lnTo>
                  <a:pt x="104" y="72"/>
                </a:lnTo>
                <a:lnTo>
                  <a:pt x="107" y="74"/>
                </a:lnTo>
                <a:lnTo>
                  <a:pt x="111" y="76"/>
                </a:lnTo>
                <a:lnTo>
                  <a:pt x="112" y="78"/>
                </a:lnTo>
                <a:lnTo>
                  <a:pt x="114" y="81"/>
                </a:lnTo>
                <a:lnTo>
                  <a:pt x="115" y="82"/>
                </a:lnTo>
                <a:lnTo>
                  <a:pt x="115" y="78"/>
                </a:lnTo>
                <a:lnTo>
                  <a:pt x="117" y="79"/>
                </a:lnTo>
                <a:lnTo>
                  <a:pt x="119" y="81"/>
                </a:lnTo>
                <a:lnTo>
                  <a:pt x="120" y="84"/>
                </a:lnTo>
                <a:lnTo>
                  <a:pt x="127" y="82"/>
                </a:lnTo>
                <a:lnTo>
                  <a:pt x="129" y="85"/>
                </a:lnTo>
                <a:lnTo>
                  <a:pt x="129" y="86"/>
                </a:lnTo>
                <a:lnTo>
                  <a:pt x="129" y="87"/>
                </a:lnTo>
                <a:lnTo>
                  <a:pt x="128" y="88"/>
                </a:lnTo>
                <a:lnTo>
                  <a:pt x="127" y="88"/>
                </a:lnTo>
                <a:lnTo>
                  <a:pt x="127" y="90"/>
                </a:lnTo>
                <a:lnTo>
                  <a:pt x="128" y="92"/>
                </a:lnTo>
                <a:lnTo>
                  <a:pt x="128" y="95"/>
                </a:lnTo>
                <a:lnTo>
                  <a:pt x="124" y="98"/>
                </a:lnTo>
                <a:lnTo>
                  <a:pt x="124" y="98"/>
                </a:lnTo>
                <a:lnTo>
                  <a:pt x="124" y="99"/>
                </a:lnTo>
                <a:lnTo>
                  <a:pt x="129" y="97"/>
                </a:lnTo>
                <a:lnTo>
                  <a:pt x="131" y="95"/>
                </a:lnTo>
                <a:lnTo>
                  <a:pt x="134" y="94"/>
                </a:lnTo>
                <a:lnTo>
                  <a:pt x="135" y="95"/>
                </a:lnTo>
                <a:lnTo>
                  <a:pt x="138" y="97"/>
                </a:lnTo>
                <a:lnTo>
                  <a:pt x="139" y="100"/>
                </a:lnTo>
                <a:lnTo>
                  <a:pt x="140" y="101"/>
                </a:lnTo>
                <a:lnTo>
                  <a:pt x="135" y="106"/>
                </a:lnTo>
                <a:lnTo>
                  <a:pt x="136" y="107"/>
                </a:lnTo>
                <a:lnTo>
                  <a:pt x="139" y="108"/>
                </a:lnTo>
                <a:lnTo>
                  <a:pt x="138" y="110"/>
                </a:lnTo>
                <a:lnTo>
                  <a:pt x="135" y="112"/>
                </a:lnTo>
                <a:lnTo>
                  <a:pt x="134" y="115"/>
                </a:lnTo>
                <a:lnTo>
                  <a:pt x="135" y="118"/>
                </a:lnTo>
                <a:lnTo>
                  <a:pt x="139" y="120"/>
                </a:lnTo>
                <a:lnTo>
                  <a:pt x="141" y="121"/>
                </a:lnTo>
                <a:lnTo>
                  <a:pt x="143" y="121"/>
                </a:lnTo>
                <a:lnTo>
                  <a:pt x="144" y="122"/>
                </a:lnTo>
                <a:lnTo>
                  <a:pt x="146" y="122"/>
                </a:lnTo>
                <a:lnTo>
                  <a:pt x="149" y="122"/>
                </a:lnTo>
                <a:lnTo>
                  <a:pt x="151" y="126"/>
                </a:lnTo>
                <a:lnTo>
                  <a:pt x="151" y="129"/>
                </a:lnTo>
                <a:lnTo>
                  <a:pt x="151" y="132"/>
                </a:lnTo>
                <a:lnTo>
                  <a:pt x="152" y="135"/>
                </a:lnTo>
                <a:lnTo>
                  <a:pt x="151" y="137"/>
                </a:lnTo>
                <a:lnTo>
                  <a:pt x="153" y="137"/>
                </a:lnTo>
                <a:lnTo>
                  <a:pt x="155" y="139"/>
                </a:lnTo>
                <a:lnTo>
                  <a:pt x="158" y="141"/>
                </a:lnTo>
                <a:lnTo>
                  <a:pt x="155" y="146"/>
                </a:lnTo>
                <a:lnTo>
                  <a:pt x="158" y="146"/>
                </a:lnTo>
                <a:lnTo>
                  <a:pt x="161" y="146"/>
                </a:lnTo>
                <a:lnTo>
                  <a:pt x="163" y="146"/>
                </a:lnTo>
                <a:lnTo>
                  <a:pt x="166" y="146"/>
                </a:lnTo>
                <a:lnTo>
                  <a:pt x="169" y="147"/>
                </a:lnTo>
                <a:lnTo>
                  <a:pt x="170" y="149"/>
                </a:lnTo>
                <a:lnTo>
                  <a:pt x="171" y="152"/>
                </a:lnTo>
                <a:lnTo>
                  <a:pt x="173" y="155"/>
                </a:lnTo>
                <a:lnTo>
                  <a:pt x="174" y="157"/>
                </a:lnTo>
                <a:lnTo>
                  <a:pt x="175" y="160"/>
                </a:lnTo>
                <a:lnTo>
                  <a:pt x="174" y="163"/>
                </a:lnTo>
                <a:lnTo>
                  <a:pt x="172" y="168"/>
                </a:lnTo>
                <a:lnTo>
                  <a:pt x="172" y="171"/>
                </a:lnTo>
                <a:lnTo>
                  <a:pt x="173" y="171"/>
                </a:lnTo>
                <a:lnTo>
                  <a:pt x="173" y="173"/>
                </a:lnTo>
                <a:lnTo>
                  <a:pt x="172" y="178"/>
                </a:lnTo>
                <a:lnTo>
                  <a:pt x="171" y="183"/>
                </a:lnTo>
                <a:lnTo>
                  <a:pt x="172" y="186"/>
                </a:lnTo>
                <a:lnTo>
                  <a:pt x="171" y="199"/>
                </a:lnTo>
                <a:lnTo>
                  <a:pt x="170" y="205"/>
                </a:lnTo>
                <a:lnTo>
                  <a:pt x="169" y="208"/>
                </a:lnTo>
                <a:lnTo>
                  <a:pt x="168" y="208"/>
                </a:lnTo>
                <a:lnTo>
                  <a:pt x="164" y="205"/>
                </a:lnTo>
                <a:lnTo>
                  <a:pt x="162" y="203"/>
                </a:lnTo>
                <a:lnTo>
                  <a:pt x="161" y="205"/>
                </a:lnTo>
                <a:lnTo>
                  <a:pt x="161" y="207"/>
                </a:lnTo>
                <a:lnTo>
                  <a:pt x="159" y="208"/>
                </a:lnTo>
                <a:lnTo>
                  <a:pt x="153" y="203"/>
                </a:lnTo>
                <a:lnTo>
                  <a:pt x="151" y="203"/>
                </a:lnTo>
                <a:lnTo>
                  <a:pt x="153" y="209"/>
                </a:lnTo>
                <a:lnTo>
                  <a:pt x="151" y="209"/>
                </a:lnTo>
                <a:lnTo>
                  <a:pt x="149" y="207"/>
                </a:lnTo>
                <a:lnTo>
                  <a:pt x="146" y="203"/>
                </a:lnTo>
                <a:lnTo>
                  <a:pt x="142" y="199"/>
                </a:lnTo>
                <a:lnTo>
                  <a:pt x="140" y="196"/>
                </a:lnTo>
                <a:lnTo>
                  <a:pt x="138" y="193"/>
                </a:lnTo>
                <a:lnTo>
                  <a:pt x="135" y="191"/>
                </a:lnTo>
                <a:lnTo>
                  <a:pt x="133" y="191"/>
                </a:lnTo>
                <a:lnTo>
                  <a:pt x="129" y="186"/>
                </a:lnTo>
                <a:lnTo>
                  <a:pt x="123" y="182"/>
                </a:lnTo>
                <a:lnTo>
                  <a:pt x="121" y="179"/>
                </a:lnTo>
                <a:lnTo>
                  <a:pt x="118" y="178"/>
                </a:lnTo>
                <a:lnTo>
                  <a:pt x="115" y="175"/>
                </a:lnTo>
                <a:lnTo>
                  <a:pt x="115" y="170"/>
                </a:lnTo>
                <a:lnTo>
                  <a:pt x="113" y="168"/>
                </a:lnTo>
                <a:lnTo>
                  <a:pt x="110" y="166"/>
                </a:lnTo>
                <a:lnTo>
                  <a:pt x="108" y="162"/>
                </a:lnTo>
                <a:lnTo>
                  <a:pt x="101" y="152"/>
                </a:lnTo>
                <a:lnTo>
                  <a:pt x="94" y="146"/>
                </a:lnTo>
                <a:lnTo>
                  <a:pt x="93" y="143"/>
                </a:lnTo>
                <a:lnTo>
                  <a:pt x="93" y="137"/>
                </a:lnTo>
                <a:lnTo>
                  <a:pt x="87" y="122"/>
                </a:lnTo>
                <a:lnTo>
                  <a:pt x="87" y="119"/>
                </a:lnTo>
                <a:lnTo>
                  <a:pt x="83" y="115"/>
                </a:lnTo>
                <a:lnTo>
                  <a:pt x="82" y="112"/>
                </a:lnTo>
                <a:lnTo>
                  <a:pt x="80" y="110"/>
                </a:lnTo>
                <a:lnTo>
                  <a:pt x="78" y="109"/>
                </a:lnTo>
                <a:lnTo>
                  <a:pt x="75" y="102"/>
                </a:lnTo>
                <a:lnTo>
                  <a:pt x="70" y="98"/>
                </a:lnTo>
                <a:lnTo>
                  <a:pt x="69" y="98"/>
                </a:lnTo>
                <a:lnTo>
                  <a:pt x="68" y="98"/>
                </a:lnTo>
                <a:lnTo>
                  <a:pt x="68" y="98"/>
                </a:lnTo>
                <a:lnTo>
                  <a:pt x="65" y="91"/>
                </a:lnTo>
                <a:lnTo>
                  <a:pt x="64" y="84"/>
                </a:lnTo>
                <a:lnTo>
                  <a:pt x="62" y="80"/>
                </a:lnTo>
                <a:lnTo>
                  <a:pt x="60" y="76"/>
                </a:lnTo>
                <a:lnTo>
                  <a:pt x="60" y="72"/>
                </a:lnTo>
                <a:lnTo>
                  <a:pt x="58" y="69"/>
                </a:lnTo>
                <a:lnTo>
                  <a:pt x="54" y="66"/>
                </a:lnTo>
                <a:lnTo>
                  <a:pt x="49" y="62"/>
                </a:lnTo>
                <a:lnTo>
                  <a:pt x="47" y="61"/>
                </a:lnTo>
                <a:lnTo>
                  <a:pt x="42" y="60"/>
                </a:lnTo>
                <a:lnTo>
                  <a:pt x="40" y="50"/>
                </a:lnTo>
                <a:lnTo>
                  <a:pt x="38" y="49"/>
                </a:lnTo>
                <a:lnTo>
                  <a:pt x="37" y="48"/>
                </a:lnTo>
                <a:lnTo>
                  <a:pt x="36" y="46"/>
                </a:lnTo>
                <a:lnTo>
                  <a:pt x="32" y="40"/>
                </a:lnTo>
                <a:lnTo>
                  <a:pt x="29" y="37"/>
                </a:lnTo>
                <a:lnTo>
                  <a:pt x="27" y="35"/>
                </a:lnTo>
                <a:lnTo>
                  <a:pt x="23" y="35"/>
                </a:lnTo>
                <a:lnTo>
                  <a:pt x="20" y="31"/>
                </a:lnTo>
                <a:lnTo>
                  <a:pt x="18" y="28"/>
                </a:lnTo>
                <a:lnTo>
                  <a:pt x="16" y="26"/>
                </a:lnTo>
                <a:lnTo>
                  <a:pt x="13" y="25"/>
                </a:lnTo>
                <a:lnTo>
                  <a:pt x="6" y="16"/>
                </a:lnTo>
                <a:lnTo>
                  <a:pt x="4" y="14"/>
                </a:lnTo>
                <a:lnTo>
                  <a:pt x="1" y="8"/>
                </a:lnTo>
                <a:lnTo>
                  <a:pt x="1" y="3"/>
                </a:lnTo>
                <a:lnTo>
                  <a:pt x="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82" name="Freeform 1282"/>
          <p:cNvSpPr>
            <a:spLocks/>
          </p:cNvSpPr>
          <p:nvPr/>
        </p:nvSpPr>
        <p:spPr bwMode="auto">
          <a:xfrm>
            <a:off x="6788150" y="3494053"/>
            <a:ext cx="19050" cy="15875"/>
          </a:xfrm>
          <a:custGeom>
            <a:avLst/>
            <a:gdLst>
              <a:gd name="T0" fmla="*/ 1 w 12"/>
              <a:gd name="T1" fmla="*/ 2 h 10"/>
              <a:gd name="T2" fmla="*/ 0 w 12"/>
              <a:gd name="T3" fmla="*/ 1 h 10"/>
              <a:gd name="T4" fmla="*/ 1 w 12"/>
              <a:gd name="T5" fmla="*/ 0 h 10"/>
              <a:gd name="T6" fmla="*/ 10 w 12"/>
              <a:gd name="T7" fmla="*/ 7 h 10"/>
              <a:gd name="T8" fmla="*/ 12 w 12"/>
              <a:gd name="T9" fmla="*/ 10 h 10"/>
              <a:gd name="T10" fmla="*/ 11 w 12"/>
              <a:gd name="T11" fmla="*/ 10 h 10"/>
              <a:gd name="T12" fmla="*/ 10 w 12"/>
              <a:gd name="T13" fmla="*/ 8 h 10"/>
              <a:gd name="T14" fmla="*/ 7 w 12"/>
              <a:gd name="T15" fmla="*/ 7 h 10"/>
              <a:gd name="T16" fmla="*/ 2 w 12"/>
              <a:gd name="T17" fmla="*/ 4 h 10"/>
              <a:gd name="T18" fmla="*/ 1 w 12"/>
              <a:gd name="T19" fmla="*/ 2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" h="10">
                <a:moveTo>
                  <a:pt x="1" y="2"/>
                </a:moveTo>
                <a:lnTo>
                  <a:pt x="0" y="1"/>
                </a:lnTo>
                <a:lnTo>
                  <a:pt x="1" y="0"/>
                </a:lnTo>
                <a:lnTo>
                  <a:pt x="10" y="7"/>
                </a:lnTo>
                <a:lnTo>
                  <a:pt x="12" y="10"/>
                </a:lnTo>
                <a:lnTo>
                  <a:pt x="11" y="10"/>
                </a:lnTo>
                <a:lnTo>
                  <a:pt x="10" y="8"/>
                </a:lnTo>
                <a:lnTo>
                  <a:pt x="7" y="7"/>
                </a:lnTo>
                <a:lnTo>
                  <a:pt x="2" y="4"/>
                </a:lnTo>
                <a:lnTo>
                  <a:pt x="1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83" name="Freeform 1283"/>
          <p:cNvSpPr>
            <a:spLocks/>
          </p:cNvSpPr>
          <p:nvPr/>
        </p:nvSpPr>
        <p:spPr bwMode="auto">
          <a:xfrm>
            <a:off x="6788150" y="3494053"/>
            <a:ext cx="19050" cy="15875"/>
          </a:xfrm>
          <a:custGeom>
            <a:avLst/>
            <a:gdLst>
              <a:gd name="T0" fmla="*/ 1 w 12"/>
              <a:gd name="T1" fmla="*/ 2 h 10"/>
              <a:gd name="T2" fmla="*/ 0 w 12"/>
              <a:gd name="T3" fmla="*/ 1 h 10"/>
              <a:gd name="T4" fmla="*/ 1 w 12"/>
              <a:gd name="T5" fmla="*/ 0 h 10"/>
              <a:gd name="T6" fmla="*/ 10 w 12"/>
              <a:gd name="T7" fmla="*/ 7 h 10"/>
              <a:gd name="T8" fmla="*/ 12 w 12"/>
              <a:gd name="T9" fmla="*/ 10 h 10"/>
              <a:gd name="T10" fmla="*/ 11 w 12"/>
              <a:gd name="T11" fmla="*/ 10 h 10"/>
              <a:gd name="T12" fmla="*/ 10 w 12"/>
              <a:gd name="T13" fmla="*/ 8 h 10"/>
              <a:gd name="T14" fmla="*/ 7 w 12"/>
              <a:gd name="T15" fmla="*/ 7 h 10"/>
              <a:gd name="T16" fmla="*/ 2 w 12"/>
              <a:gd name="T17" fmla="*/ 4 h 10"/>
              <a:gd name="T18" fmla="*/ 1 w 12"/>
              <a:gd name="T19" fmla="*/ 2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" h="10">
                <a:moveTo>
                  <a:pt x="1" y="2"/>
                </a:moveTo>
                <a:lnTo>
                  <a:pt x="0" y="1"/>
                </a:lnTo>
                <a:lnTo>
                  <a:pt x="1" y="0"/>
                </a:lnTo>
                <a:lnTo>
                  <a:pt x="10" y="7"/>
                </a:lnTo>
                <a:lnTo>
                  <a:pt x="12" y="10"/>
                </a:lnTo>
                <a:lnTo>
                  <a:pt x="11" y="10"/>
                </a:lnTo>
                <a:lnTo>
                  <a:pt x="10" y="8"/>
                </a:lnTo>
                <a:lnTo>
                  <a:pt x="7" y="7"/>
                </a:lnTo>
                <a:lnTo>
                  <a:pt x="2" y="4"/>
                </a:lnTo>
                <a:lnTo>
                  <a:pt x="1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84" name="Freeform 1284"/>
          <p:cNvSpPr>
            <a:spLocks/>
          </p:cNvSpPr>
          <p:nvPr/>
        </p:nvSpPr>
        <p:spPr bwMode="auto">
          <a:xfrm>
            <a:off x="6826250" y="3533740"/>
            <a:ext cx="20637" cy="25400"/>
          </a:xfrm>
          <a:custGeom>
            <a:avLst/>
            <a:gdLst>
              <a:gd name="T0" fmla="*/ 0 w 13"/>
              <a:gd name="T1" fmla="*/ 3 h 16"/>
              <a:gd name="T2" fmla="*/ 0 w 13"/>
              <a:gd name="T3" fmla="*/ 2 h 16"/>
              <a:gd name="T4" fmla="*/ 4 w 13"/>
              <a:gd name="T5" fmla="*/ 0 h 16"/>
              <a:gd name="T6" fmla="*/ 6 w 13"/>
              <a:gd name="T7" fmla="*/ 2 h 16"/>
              <a:gd name="T8" fmla="*/ 7 w 13"/>
              <a:gd name="T9" fmla="*/ 5 h 16"/>
              <a:gd name="T10" fmla="*/ 12 w 13"/>
              <a:gd name="T11" fmla="*/ 10 h 16"/>
              <a:gd name="T12" fmla="*/ 13 w 13"/>
              <a:gd name="T13" fmla="*/ 15 h 16"/>
              <a:gd name="T14" fmla="*/ 12 w 13"/>
              <a:gd name="T15" fmla="*/ 16 h 16"/>
              <a:gd name="T16" fmla="*/ 10 w 13"/>
              <a:gd name="T17" fmla="*/ 16 h 16"/>
              <a:gd name="T18" fmla="*/ 8 w 13"/>
              <a:gd name="T19" fmla="*/ 14 h 16"/>
              <a:gd name="T20" fmla="*/ 7 w 13"/>
              <a:gd name="T21" fmla="*/ 12 h 16"/>
              <a:gd name="T22" fmla="*/ 4 w 13"/>
              <a:gd name="T23" fmla="*/ 9 h 16"/>
              <a:gd name="T24" fmla="*/ 0 w 13"/>
              <a:gd name="T25" fmla="*/ 3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3" h="16">
                <a:moveTo>
                  <a:pt x="0" y="3"/>
                </a:moveTo>
                <a:lnTo>
                  <a:pt x="0" y="2"/>
                </a:lnTo>
                <a:lnTo>
                  <a:pt x="4" y="0"/>
                </a:lnTo>
                <a:lnTo>
                  <a:pt x="6" y="2"/>
                </a:lnTo>
                <a:lnTo>
                  <a:pt x="7" y="5"/>
                </a:lnTo>
                <a:lnTo>
                  <a:pt x="12" y="10"/>
                </a:lnTo>
                <a:lnTo>
                  <a:pt x="13" y="15"/>
                </a:lnTo>
                <a:lnTo>
                  <a:pt x="12" y="16"/>
                </a:lnTo>
                <a:lnTo>
                  <a:pt x="10" y="16"/>
                </a:lnTo>
                <a:lnTo>
                  <a:pt x="8" y="14"/>
                </a:lnTo>
                <a:lnTo>
                  <a:pt x="7" y="12"/>
                </a:lnTo>
                <a:lnTo>
                  <a:pt x="4" y="9"/>
                </a:lnTo>
                <a:lnTo>
                  <a:pt x="0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85" name="Freeform 1285"/>
          <p:cNvSpPr>
            <a:spLocks/>
          </p:cNvSpPr>
          <p:nvPr/>
        </p:nvSpPr>
        <p:spPr bwMode="auto">
          <a:xfrm>
            <a:off x="6826250" y="3533740"/>
            <a:ext cx="20637" cy="25400"/>
          </a:xfrm>
          <a:custGeom>
            <a:avLst/>
            <a:gdLst>
              <a:gd name="T0" fmla="*/ 0 w 13"/>
              <a:gd name="T1" fmla="*/ 3 h 16"/>
              <a:gd name="T2" fmla="*/ 0 w 13"/>
              <a:gd name="T3" fmla="*/ 2 h 16"/>
              <a:gd name="T4" fmla="*/ 4 w 13"/>
              <a:gd name="T5" fmla="*/ 0 h 16"/>
              <a:gd name="T6" fmla="*/ 6 w 13"/>
              <a:gd name="T7" fmla="*/ 2 h 16"/>
              <a:gd name="T8" fmla="*/ 7 w 13"/>
              <a:gd name="T9" fmla="*/ 5 h 16"/>
              <a:gd name="T10" fmla="*/ 12 w 13"/>
              <a:gd name="T11" fmla="*/ 10 h 16"/>
              <a:gd name="T12" fmla="*/ 13 w 13"/>
              <a:gd name="T13" fmla="*/ 15 h 16"/>
              <a:gd name="T14" fmla="*/ 12 w 13"/>
              <a:gd name="T15" fmla="*/ 16 h 16"/>
              <a:gd name="T16" fmla="*/ 10 w 13"/>
              <a:gd name="T17" fmla="*/ 16 h 16"/>
              <a:gd name="T18" fmla="*/ 8 w 13"/>
              <a:gd name="T19" fmla="*/ 14 h 16"/>
              <a:gd name="T20" fmla="*/ 7 w 13"/>
              <a:gd name="T21" fmla="*/ 12 h 16"/>
              <a:gd name="T22" fmla="*/ 4 w 13"/>
              <a:gd name="T23" fmla="*/ 9 h 16"/>
              <a:gd name="T24" fmla="*/ 0 w 13"/>
              <a:gd name="T25" fmla="*/ 3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3" h="16">
                <a:moveTo>
                  <a:pt x="0" y="3"/>
                </a:moveTo>
                <a:lnTo>
                  <a:pt x="0" y="2"/>
                </a:lnTo>
                <a:lnTo>
                  <a:pt x="4" y="0"/>
                </a:lnTo>
                <a:lnTo>
                  <a:pt x="6" y="2"/>
                </a:lnTo>
                <a:lnTo>
                  <a:pt x="7" y="5"/>
                </a:lnTo>
                <a:lnTo>
                  <a:pt x="12" y="10"/>
                </a:lnTo>
                <a:lnTo>
                  <a:pt x="13" y="15"/>
                </a:lnTo>
                <a:lnTo>
                  <a:pt x="12" y="16"/>
                </a:lnTo>
                <a:lnTo>
                  <a:pt x="10" y="16"/>
                </a:lnTo>
                <a:lnTo>
                  <a:pt x="8" y="14"/>
                </a:lnTo>
                <a:lnTo>
                  <a:pt x="7" y="12"/>
                </a:lnTo>
                <a:lnTo>
                  <a:pt x="4" y="9"/>
                </a:lnTo>
                <a:lnTo>
                  <a:pt x="0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86" name="Freeform 1286"/>
          <p:cNvSpPr>
            <a:spLocks/>
          </p:cNvSpPr>
          <p:nvPr/>
        </p:nvSpPr>
        <p:spPr bwMode="auto">
          <a:xfrm>
            <a:off x="6934200" y="3517865"/>
            <a:ext cx="9525" cy="7938"/>
          </a:xfrm>
          <a:custGeom>
            <a:avLst/>
            <a:gdLst>
              <a:gd name="T0" fmla="*/ 5 w 6"/>
              <a:gd name="T1" fmla="*/ 5 h 5"/>
              <a:gd name="T2" fmla="*/ 3 w 6"/>
              <a:gd name="T3" fmla="*/ 5 h 5"/>
              <a:gd name="T4" fmla="*/ 1 w 6"/>
              <a:gd name="T5" fmla="*/ 4 h 5"/>
              <a:gd name="T6" fmla="*/ 0 w 6"/>
              <a:gd name="T7" fmla="*/ 2 h 5"/>
              <a:gd name="T8" fmla="*/ 0 w 6"/>
              <a:gd name="T9" fmla="*/ 1 h 5"/>
              <a:gd name="T10" fmla="*/ 1 w 6"/>
              <a:gd name="T11" fmla="*/ 1 h 5"/>
              <a:gd name="T12" fmla="*/ 2 w 6"/>
              <a:gd name="T13" fmla="*/ 0 h 5"/>
              <a:gd name="T14" fmla="*/ 3 w 6"/>
              <a:gd name="T15" fmla="*/ 0 h 5"/>
              <a:gd name="T16" fmla="*/ 6 w 6"/>
              <a:gd name="T17" fmla="*/ 1 h 5"/>
              <a:gd name="T18" fmla="*/ 6 w 6"/>
              <a:gd name="T19" fmla="*/ 4 h 5"/>
              <a:gd name="T20" fmla="*/ 6 w 6"/>
              <a:gd name="T21" fmla="*/ 5 h 5"/>
              <a:gd name="T22" fmla="*/ 5 w 6"/>
              <a:gd name="T23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" h="5">
                <a:moveTo>
                  <a:pt x="5" y="5"/>
                </a:moveTo>
                <a:lnTo>
                  <a:pt x="3" y="5"/>
                </a:lnTo>
                <a:lnTo>
                  <a:pt x="1" y="4"/>
                </a:lnTo>
                <a:lnTo>
                  <a:pt x="0" y="2"/>
                </a:lnTo>
                <a:lnTo>
                  <a:pt x="0" y="1"/>
                </a:lnTo>
                <a:lnTo>
                  <a:pt x="1" y="1"/>
                </a:lnTo>
                <a:lnTo>
                  <a:pt x="2" y="0"/>
                </a:lnTo>
                <a:lnTo>
                  <a:pt x="3" y="0"/>
                </a:lnTo>
                <a:lnTo>
                  <a:pt x="6" y="1"/>
                </a:lnTo>
                <a:lnTo>
                  <a:pt x="6" y="4"/>
                </a:lnTo>
                <a:lnTo>
                  <a:pt x="6" y="5"/>
                </a:lnTo>
                <a:lnTo>
                  <a:pt x="5" y="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87" name="Freeform 1287"/>
          <p:cNvSpPr>
            <a:spLocks/>
          </p:cNvSpPr>
          <p:nvPr/>
        </p:nvSpPr>
        <p:spPr bwMode="auto">
          <a:xfrm>
            <a:off x="6934200" y="3517865"/>
            <a:ext cx="9525" cy="7938"/>
          </a:xfrm>
          <a:custGeom>
            <a:avLst/>
            <a:gdLst>
              <a:gd name="T0" fmla="*/ 5 w 6"/>
              <a:gd name="T1" fmla="*/ 5 h 5"/>
              <a:gd name="T2" fmla="*/ 3 w 6"/>
              <a:gd name="T3" fmla="*/ 5 h 5"/>
              <a:gd name="T4" fmla="*/ 1 w 6"/>
              <a:gd name="T5" fmla="*/ 4 h 5"/>
              <a:gd name="T6" fmla="*/ 0 w 6"/>
              <a:gd name="T7" fmla="*/ 2 h 5"/>
              <a:gd name="T8" fmla="*/ 0 w 6"/>
              <a:gd name="T9" fmla="*/ 1 h 5"/>
              <a:gd name="T10" fmla="*/ 1 w 6"/>
              <a:gd name="T11" fmla="*/ 1 h 5"/>
              <a:gd name="T12" fmla="*/ 2 w 6"/>
              <a:gd name="T13" fmla="*/ 0 h 5"/>
              <a:gd name="T14" fmla="*/ 3 w 6"/>
              <a:gd name="T15" fmla="*/ 0 h 5"/>
              <a:gd name="T16" fmla="*/ 6 w 6"/>
              <a:gd name="T17" fmla="*/ 1 h 5"/>
              <a:gd name="T18" fmla="*/ 6 w 6"/>
              <a:gd name="T19" fmla="*/ 4 h 5"/>
              <a:gd name="T20" fmla="*/ 6 w 6"/>
              <a:gd name="T21" fmla="*/ 5 h 5"/>
              <a:gd name="T22" fmla="*/ 5 w 6"/>
              <a:gd name="T23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" h="5">
                <a:moveTo>
                  <a:pt x="5" y="5"/>
                </a:moveTo>
                <a:lnTo>
                  <a:pt x="3" y="5"/>
                </a:lnTo>
                <a:lnTo>
                  <a:pt x="1" y="4"/>
                </a:lnTo>
                <a:lnTo>
                  <a:pt x="0" y="2"/>
                </a:lnTo>
                <a:lnTo>
                  <a:pt x="0" y="1"/>
                </a:lnTo>
                <a:lnTo>
                  <a:pt x="1" y="1"/>
                </a:lnTo>
                <a:lnTo>
                  <a:pt x="2" y="0"/>
                </a:lnTo>
                <a:lnTo>
                  <a:pt x="3" y="0"/>
                </a:lnTo>
                <a:lnTo>
                  <a:pt x="6" y="1"/>
                </a:lnTo>
                <a:lnTo>
                  <a:pt x="6" y="4"/>
                </a:lnTo>
                <a:lnTo>
                  <a:pt x="6" y="5"/>
                </a:lnTo>
                <a:lnTo>
                  <a:pt x="5" y="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88" name="Freeform 1288"/>
          <p:cNvSpPr>
            <a:spLocks/>
          </p:cNvSpPr>
          <p:nvPr/>
        </p:nvSpPr>
        <p:spPr bwMode="auto">
          <a:xfrm>
            <a:off x="6950075" y="3528978"/>
            <a:ext cx="11112" cy="9525"/>
          </a:xfrm>
          <a:custGeom>
            <a:avLst/>
            <a:gdLst>
              <a:gd name="T0" fmla="*/ 0 w 7"/>
              <a:gd name="T1" fmla="*/ 0 h 6"/>
              <a:gd name="T2" fmla="*/ 1 w 7"/>
              <a:gd name="T3" fmla="*/ 0 h 6"/>
              <a:gd name="T4" fmla="*/ 2 w 7"/>
              <a:gd name="T5" fmla="*/ 2 h 6"/>
              <a:gd name="T6" fmla="*/ 3 w 7"/>
              <a:gd name="T7" fmla="*/ 2 h 6"/>
              <a:gd name="T8" fmla="*/ 6 w 7"/>
              <a:gd name="T9" fmla="*/ 2 h 6"/>
              <a:gd name="T10" fmla="*/ 7 w 7"/>
              <a:gd name="T11" fmla="*/ 6 h 6"/>
              <a:gd name="T12" fmla="*/ 7 w 7"/>
              <a:gd name="T13" fmla="*/ 6 h 6"/>
              <a:gd name="T14" fmla="*/ 6 w 7"/>
              <a:gd name="T15" fmla="*/ 5 h 6"/>
              <a:gd name="T16" fmla="*/ 2 w 7"/>
              <a:gd name="T17" fmla="*/ 3 h 6"/>
              <a:gd name="T18" fmla="*/ 0 w 7"/>
              <a:gd name="T19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" h="6">
                <a:moveTo>
                  <a:pt x="0" y="0"/>
                </a:moveTo>
                <a:lnTo>
                  <a:pt x="1" y="0"/>
                </a:lnTo>
                <a:lnTo>
                  <a:pt x="2" y="2"/>
                </a:lnTo>
                <a:lnTo>
                  <a:pt x="3" y="2"/>
                </a:lnTo>
                <a:lnTo>
                  <a:pt x="6" y="2"/>
                </a:lnTo>
                <a:lnTo>
                  <a:pt x="7" y="6"/>
                </a:lnTo>
                <a:lnTo>
                  <a:pt x="7" y="6"/>
                </a:lnTo>
                <a:lnTo>
                  <a:pt x="6" y="5"/>
                </a:lnTo>
                <a:lnTo>
                  <a:pt x="2" y="3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89" name="Freeform 1289"/>
          <p:cNvSpPr>
            <a:spLocks/>
          </p:cNvSpPr>
          <p:nvPr/>
        </p:nvSpPr>
        <p:spPr bwMode="auto">
          <a:xfrm>
            <a:off x="6950075" y="3528978"/>
            <a:ext cx="11112" cy="9525"/>
          </a:xfrm>
          <a:custGeom>
            <a:avLst/>
            <a:gdLst>
              <a:gd name="T0" fmla="*/ 0 w 7"/>
              <a:gd name="T1" fmla="*/ 0 h 6"/>
              <a:gd name="T2" fmla="*/ 1 w 7"/>
              <a:gd name="T3" fmla="*/ 0 h 6"/>
              <a:gd name="T4" fmla="*/ 2 w 7"/>
              <a:gd name="T5" fmla="*/ 2 h 6"/>
              <a:gd name="T6" fmla="*/ 3 w 7"/>
              <a:gd name="T7" fmla="*/ 2 h 6"/>
              <a:gd name="T8" fmla="*/ 6 w 7"/>
              <a:gd name="T9" fmla="*/ 2 h 6"/>
              <a:gd name="T10" fmla="*/ 7 w 7"/>
              <a:gd name="T11" fmla="*/ 6 h 6"/>
              <a:gd name="T12" fmla="*/ 7 w 7"/>
              <a:gd name="T13" fmla="*/ 6 h 6"/>
              <a:gd name="T14" fmla="*/ 6 w 7"/>
              <a:gd name="T15" fmla="*/ 5 h 6"/>
              <a:gd name="T16" fmla="*/ 2 w 7"/>
              <a:gd name="T17" fmla="*/ 3 h 6"/>
              <a:gd name="T18" fmla="*/ 0 w 7"/>
              <a:gd name="T19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" h="6">
                <a:moveTo>
                  <a:pt x="0" y="0"/>
                </a:moveTo>
                <a:lnTo>
                  <a:pt x="1" y="0"/>
                </a:lnTo>
                <a:lnTo>
                  <a:pt x="2" y="2"/>
                </a:lnTo>
                <a:lnTo>
                  <a:pt x="3" y="2"/>
                </a:lnTo>
                <a:lnTo>
                  <a:pt x="6" y="2"/>
                </a:lnTo>
                <a:lnTo>
                  <a:pt x="7" y="6"/>
                </a:lnTo>
                <a:lnTo>
                  <a:pt x="7" y="6"/>
                </a:lnTo>
                <a:lnTo>
                  <a:pt x="6" y="5"/>
                </a:lnTo>
                <a:lnTo>
                  <a:pt x="2" y="3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90" name="Freeform 1290"/>
          <p:cNvSpPr>
            <a:spLocks/>
          </p:cNvSpPr>
          <p:nvPr/>
        </p:nvSpPr>
        <p:spPr bwMode="auto">
          <a:xfrm>
            <a:off x="6864350" y="3603590"/>
            <a:ext cx="15875" cy="25400"/>
          </a:xfrm>
          <a:custGeom>
            <a:avLst/>
            <a:gdLst>
              <a:gd name="T0" fmla="*/ 1 w 10"/>
              <a:gd name="T1" fmla="*/ 1 h 16"/>
              <a:gd name="T2" fmla="*/ 4 w 10"/>
              <a:gd name="T3" fmla="*/ 0 h 16"/>
              <a:gd name="T4" fmla="*/ 4 w 10"/>
              <a:gd name="T5" fmla="*/ 1 h 16"/>
              <a:gd name="T6" fmla="*/ 5 w 10"/>
              <a:gd name="T7" fmla="*/ 5 h 16"/>
              <a:gd name="T8" fmla="*/ 7 w 10"/>
              <a:gd name="T9" fmla="*/ 9 h 16"/>
              <a:gd name="T10" fmla="*/ 10 w 10"/>
              <a:gd name="T11" fmla="*/ 13 h 16"/>
              <a:gd name="T12" fmla="*/ 10 w 10"/>
              <a:gd name="T13" fmla="*/ 16 h 16"/>
              <a:gd name="T14" fmla="*/ 7 w 10"/>
              <a:gd name="T15" fmla="*/ 16 h 16"/>
              <a:gd name="T16" fmla="*/ 5 w 10"/>
              <a:gd name="T17" fmla="*/ 16 h 16"/>
              <a:gd name="T18" fmla="*/ 3 w 10"/>
              <a:gd name="T19" fmla="*/ 13 h 16"/>
              <a:gd name="T20" fmla="*/ 2 w 10"/>
              <a:gd name="T21" fmla="*/ 11 h 16"/>
              <a:gd name="T22" fmla="*/ 1 w 10"/>
              <a:gd name="T23" fmla="*/ 7 h 16"/>
              <a:gd name="T24" fmla="*/ 0 w 10"/>
              <a:gd name="T25" fmla="*/ 5 h 16"/>
              <a:gd name="T26" fmla="*/ 0 w 10"/>
              <a:gd name="T27" fmla="*/ 3 h 16"/>
              <a:gd name="T28" fmla="*/ 1 w 10"/>
              <a:gd name="T29" fmla="*/ 1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0" h="16">
                <a:moveTo>
                  <a:pt x="1" y="1"/>
                </a:moveTo>
                <a:lnTo>
                  <a:pt x="4" y="0"/>
                </a:lnTo>
                <a:lnTo>
                  <a:pt x="4" y="1"/>
                </a:lnTo>
                <a:lnTo>
                  <a:pt x="5" y="5"/>
                </a:lnTo>
                <a:lnTo>
                  <a:pt x="7" y="9"/>
                </a:lnTo>
                <a:lnTo>
                  <a:pt x="10" y="13"/>
                </a:lnTo>
                <a:lnTo>
                  <a:pt x="10" y="16"/>
                </a:lnTo>
                <a:lnTo>
                  <a:pt x="7" y="16"/>
                </a:lnTo>
                <a:lnTo>
                  <a:pt x="5" y="16"/>
                </a:lnTo>
                <a:lnTo>
                  <a:pt x="3" y="13"/>
                </a:lnTo>
                <a:lnTo>
                  <a:pt x="2" y="11"/>
                </a:lnTo>
                <a:lnTo>
                  <a:pt x="1" y="7"/>
                </a:lnTo>
                <a:lnTo>
                  <a:pt x="0" y="5"/>
                </a:lnTo>
                <a:lnTo>
                  <a:pt x="0" y="3"/>
                </a:lnTo>
                <a:lnTo>
                  <a:pt x="1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91" name="Freeform 1291"/>
          <p:cNvSpPr>
            <a:spLocks/>
          </p:cNvSpPr>
          <p:nvPr/>
        </p:nvSpPr>
        <p:spPr bwMode="auto">
          <a:xfrm>
            <a:off x="6864350" y="3603590"/>
            <a:ext cx="15875" cy="25400"/>
          </a:xfrm>
          <a:custGeom>
            <a:avLst/>
            <a:gdLst>
              <a:gd name="T0" fmla="*/ 1 w 10"/>
              <a:gd name="T1" fmla="*/ 1 h 16"/>
              <a:gd name="T2" fmla="*/ 4 w 10"/>
              <a:gd name="T3" fmla="*/ 0 h 16"/>
              <a:gd name="T4" fmla="*/ 4 w 10"/>
              <a:gd name="T5" fmla="*/ 1 h 16"/>
              <a:gd name="T6" fmla="*/ 5 w 10"/>
              <a:gd name="T7" fmla="*/ 5 h 16"/>
              <a:gd name="T8" fmla="*/ 7 w 10"/>
              <a:gd name="T9" fmla="*/ 9 h 16"/>
              <a:gd name="T10" fmla="*/ 10 w 10"/>
              <a:gd name="T11" fmla="*/ 13 h 16"/>
              <a:gd name="T12" fmla="*/ 10 w 10"/>
              <a:gd name="T13" fmla="*/ 16 h 16"/>
              <a:gd name="T14" fmla="*/ 7 w 10"/>
              <a:gd name="T15" fmla="*/ 16 h 16"/>
              <a:gd name="T16" fmla="*/ 5 w 10"/>
              <a:gd name="T17" fmla="*/ 16 h 16"/>
              <a:gd name="T18" fmla="*/ 3 w 10"/>
              <a:gd name="T19" fmla="*/ 13 h 16"/>
              <a:gd name="T20" fmla="*/ 2 w 10"/>
              <a:gd name="T21" fmla="*/ 11 h 16"/>
              <a:gd name="T22" fmla="*/ 1 w 10"/>
              <a:gd name="T23" fmla="*/ 7 h 16"/>
              <a:gd name="T24" fmla="*/ 0 w 10"/>
              <a:gd name="T25" fmla="*/ 5 h 16"/>
              <a:gd name="T26" fmla="*/ 0 w 10"/>
              <a:gd name="T27" fmla="*/ 3 h 16"/>
              <a:gd name="T28" fmla="*/ 1 w 10"/>
              <a:gd name="T29" fmla="*/ 1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0" h="16">
                <a:moveTo>
                  <a:pt x="1" y="1"/>
                </a:moveTo>
                <a:lnTo>
                  <a:pt x="4" y="0"/>
                </a:lnTo>
                <a:lnTo>
                  <a:pt x="4" y="1"/>
                </a:lnTo>
                <a:lnTo>
                  <a:pt x="5" y="5"/>
                </a:lnTo>
                <a:lnTo>
                  <a:pt x="7" y="9"/>
                </a:lnTo>
                <a:lnTo>
                  <a:pt x="10" y="13"/>
                </a:lnTo>
                <a:lnTo>
                  <a:pt x="10" y="16"/>
                </a:lnTo>
                <a:lnTo>
                  <a:pt x="7" y="16"/>
                </a:lnTo>
                <a:lnTo>
                  <a:pt x="5" y="16"/>
                </a:lnTo>
                <a:lnTo>
                  <a:pt x="3" y="13"/>
                </a:lnTo>
                <a:lnTo>
                  <a:pt x="2" y="11"/>
                </a:lnTo>
                <a:lnTo>
                  <a:pt x="1" y="7"/>
                </a:lnTo>
                <a:lnTo>
                  <a:pt x="0" y="5"/>
                </a:lnTo>
                <a:lnTo>
                  <a:pt x="0" y="3"/>
                </a:lnTo>
                <a:lnTo>
                  <a:pt x="1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92" name="Freeform 1292"/>
          <p:cNvSpPr>
            <a:spLocks/>
          </p:cNvSpPr>
          <p:nvPr/>
        </p:nvSpPr>
        <p:spPr bwMode="auto">
          <a:xfrm>
            <a:off x="7008812" y="3587715"/>
            <a:ext cx="6350" cy="7938"/>
          </a:xfrm>
          <a:custGeom>
            <a:avLst/>
            <a:gdLst>
              <a:gd name="T0" fmla="*/ 0 w 4"/>
              <a:gd name="T1" fmla="*/ 2 h 5"/>
              <a:gd name="T2" fmla="*/ 0 w 4"/>
              <a:gd name="T3" fmla="*/ 1 h 5"/>
              <a:gd name="T4" fmla="*/ 1 w 4"/>
              <a:gd name="T5" fmla="*/ 1 h 5"/>
              <a:gd name="T6" fmla="*/ 2 w 4"/>
              <a:gd name="T7" fmla="*/ 0 h 5"/>
              <a:gd name="T8" fmla="*/ 4 w 4"/>
              <a:gd name="T9" fmla="*/ 3 h 5"/>
              <a:gd name="T10" fmla="*/ 3 w 4"/>
              <a:gd name="T11" fmla="*/ 5 h 5"/>
              <a:gd name="T12" fmla="*/ 2 w 4"/>
              <a:gd name="T13" fmla="*/ 5 h 5"/>
              <a:gd name="T14" fmla="*/ 1 w 4"/>
              <a:gd name="T15" fmla="*/ 5 h 5"/>
              <a:gd name="T16" fmla="*/ 0 w 4"/>
              <a:gd name="T17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5">
                <a:moveTo>
                  <a:pt x="0" y="2"/>
                </a:moveTo>
                <a:lnTo>
                  <a:pt x="0" y="1"/>
                </a:lnTo>
                <a:lnTo>
                  <a:pt x="1" y="1"/>
                </a:lnTo>
                <a:lnTo>
                  <a:pt x="2" y="0"/>
                </a:lnTo>
                <a:lnTo>
                  <a:pt x="4" y="3"/>
                </a:lnTo>
                <a:lnTo>
                  <a:pt x="3" y="5"/>
                </a:lnTo>
                <a:lnTo>
                  <a:pt x="2" y="5"/>
                </a:lnTo>
                <a:lnTo>
                  <a:pt x="1" y="5"/>
                </a:lnTo>
                <a:lnTo>
                  <a:pt x="0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93" name="Freeform 1293"/>
          <p:cNvSpPr>
            <a:spLocks/>
          </p:cNvSpPr>
          <p:nvPr/>
        </p:nvSpPr>
        <p:spPr bwMode="auto">
          <a:xfrm>
            <a:off x="7008812" y="3587715"/>
            <a:ext cx="6350" cy="7938"/>
          </a:xfrm>
          <a:custGeom>
            <a:avLst/>
            <a:gdLst>
              <a:gd name="T0" fmla="*/ 0 w 4"/>
              <a:gd name="T1" fmla="*/ 2 h 5"/>
              <a:gd name="T2" fmla="*/ 0 w 4"/>
              <a:gd name="T3" fmla="*/ 1 h 5"/>
              <a:gd name="T4" fmla="*/ 1 w 4"/>
              <a:gd name="T5" fmla="*/ 1 h 5"/>
              <a:gd name="T6" fmla="*/ 2 w 4"/>
              <a:gd name="T7" fmla="*/ 0 h 5"/>
              <a:gd name="T8" fmla="*/ 4 w 4"/>
              <a:gd name="T9" fmla="*/ 3 h 5"/>
              <a:gd name="T10" fmla="*/ 3 w 4"/>
              <a:gd name="T11" fmla="*/ 5 h 5"/>
              <a:gd name="T12" fmla="*/ 2 w 4"/>
              <a:gd name="T13" fmla="*/ 5 h 5"/>
              <a:gd name="T14" fmla="*/ 1 w 4"/>
              <a:gd name="T15" fmla="*/ 5 h 5"/>
              <a:gd name="T16" fmla="*/ 0 w 4"/>
              <a:gd name="T17" fmla="*/ 2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" h="5">
                <a:moveTo>
                  <a:pt x="0" y="2"/>
                </a:moveTo>
                <a:lnTo>
                  <a:pt x="0" y="1"/>
                </a:lnTo>
                <a:lnTo>
                  <a:pt x="1" y="1"/>
                </a:lnTo>
                <a:lnTo>
                  <a:pt x="2" y="0"/>
                </a:lnTo>
                <a:lnTo>
                  <a:pt x="4" y="3"/>
                </a:lnTo>
                <a:lnTo>
                  <a:pt x="3" y="5"/>
                </a:lnTo>
                <a:lnTo>
                  <a:pt x="2" y="5"/>
                </a:lnTo>
                <a:lnTo>
                  <a:pt x="1" y="5"/>
                </a:lnTo>
                <a:lnTo>
                  <a:pt x="0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94" name="Freeform 1294"/>
          <p:cNvSpPr>
            <a:spLocks/>
          </p:cNvSpPr>
          <p:nvPr/>
        </p:nvSpPr>
        <p:spPr bwMode="auto">
          <a:xfrm>
            <a:off x="7029450" y="3621053"/>
            <a:ext cx="38100" cy="46038"/>
          </a:xfrm>
          <a:custGeom>
            <a:avLst/>
            <a:gdLst>
              <a:gd name="T0" fmla="*/ 0 w 24"/>
              <a:gd name="T1" fmla="*/ 7 h 29"/>
              <a:gd name="T2" fmla="*/ 2 w 24"/>
              <a:gd name="T3" fmla="*/ 2 h 29"/>
              <a:gd name="T4" fmla="*/ 3 w 24"/>
              <a:gd name="T5" fmla="*/ 1 h 29"/>
              <a:gd name="T6" fmla="*/ 6 w 24"/>
              <a:gd name="T7" fmla="*/ 1 h 29"/>
              <a:gd name="T8" fmla="*/ 7 w 24"/>
              <a:gd name="T9" fmla="*/ 1 h 29"/>
              <a:gd name="T10" fmla="*/ 8 w 24"/>
              <a:gd name="T11" fmla="*/ 5 h 29"/>
              <a:gd name="T12" fmla="*/ 9 w 24"/>
              <a:gd name="T13" fmla="*/ 5 h 29"/>
              <a:gd name="T14" fmla="*/ 10 w 24"/>
              <a:gd name="T15" fmla="*/ 3 h 29"/>
              <a:gd name="T16" fmla="*/ 10 w 24"/>
              <a:gd name="T17" fmla="*/ 2 h 29"/>
              <a:gd name="T18" fmla="*/ 10 w 24"/>
              <a:gd name="T19" fmla="*/ 0 h 29"/>
              <a:gd name="T20" fmla="*/ 12 w 24"/>
              <a:gd name="T21" fmla="*/ 0 h 29"/>
              <a:gd name="T22" fmla="*/ 13 w 24"/>
              <a:gd name="T23" fmla="*/ 3 h 29"/>
              <a:gd name="T24" fmla="*/ 14 w 24"/>
              <a:gd name="T25" fmla="*/ 6 h 29"/>
              <a:gd name="T26" fmla="*/ 16 w 24"/>
              <a:gd name="T27" fmla="*/ 11 h 29"/>
              <a:gd name="T28" fmla="*/ 17 w 24"/>
              <a:gd name="T29" fmla="*/ 15 h 29"/>
              <a:gd name="T30" fmla="*/ 18 w 24"/>
              <a:gd name="T31" fmla="*/ 17 h 29"/>
              <a:gd name="T32" fmla="*/ 21 w 24"/>
              <a:gd name="T33" fmla="*/ 19 h 29"/>
              <a:gd name="T34" fmla="*/ 24 w 24"/>
              <a:gd name="T35" fmla="*/ 19 h 29"/>
              <a:gd name="T36" fmla="*/ 23 w 24"/>
              <a:gd name="T37" fmla="*/ 26 h 29"/>
              <a:gd name="T38" fmla="*/ 23 w 24"/>
              <a:gd name="T39" fmla="*/ 28 h 29"/>
              <a:gd name="T40" fmla="*/ 22 w 24"/>
              <a:gd name="T41" fmla="*/ 29 h 29"/>
              <a:gd name="T42" fmla="*/ 20 w 24"/>
              <a:gd name="T43" fmla="*/ 27 h 29"/>
              <a:gd name="T44" fmla="*/ 14 w 24"/>
              <a:gd name="T45" fmla="*/ 25 h 29"/>
              <a:gd name="T46" fmla="*/ 13 w 24"/>
              <a:gd name="T47" fmla="*/ 22 h 29"/>
              <a:gd name="T48" fmla="*/ 12 w 24"/>
              <a:gd name="T49" fmla="*/ 19 h 29"/>
              <a:gd name="T50" fmla="*/ 12 w 24"/>
              <a:gd name="T51" fmla="*/ 18 h 29"/>
              <a:gd name="T52" fmla="*/ 11 w 24"/>
              <a:gd name="T53" fmla="*/ 15 h 29"/>
              <a:gd name="T54" fmla="*/ 10 w 24"/>
              <a:gd name="T55" fmla="*/ 12 h 29"/>
              <a:gd name="T56" fmla="*/ 6 w 24"/>
              <a:gd name="T57" fmla="*/ 10 h 29"/>
              <a:gd name="T58" fmla="*/ 4 w 24"/>
              <a:gd name="T59" fmla="*/ 9 h 29"/>
              <a:gd name="T60" fmla="*/ 0 w 24"/>
              <a:gd name="T61" fmla="*/ 9 h 29"/>
              <a:gd name="T62" fmla="*/ 0 w 24"/>
              <a:gd name="T63" fmla="*/ 7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4" h="29">
                <a:moveTo>
                  <a:pt x="0" y="7"/>
                </a:moveTo>
                <a:lnTo>
                  <a:pt x="2" y="2"/>
                </a:lnTo>
                <a:lnTo>
                  <a:pt x="3" y="1"/>
                </a:lnTo>
                <a:lnTo>
                  <a:pt x="6" y="1"/>
                </a:lnTo>
                <a:lnTo>
                  <a:pt x="7" y="1"/>
                </a:lnTo>
                <a:lnTo>
                  <a:pt x="8" y="5"/>
                </a:lnTo>
                <a:lnTo>
                  <a:pt x="9" y="5"/>
                </a:lnTo>
                <a:lnTo>
                  <a:pt x="10" y="3"/>
                </a:lnTo>
                <a:lnTo>
                  <a:pt x="10" y="2"/>
                </a:lnTo>
                <a:lnTo>
                  <a:pt x="10" y="0"/>
                </a:lnTo>
                <a:lnTo>
                  <a:pt x="12" y="0"/>
                </a:lnTo>
                <a:lnTo>
                  <a:pt x="13" y="3"/>
                </a:lnTo>
                <a:lnTo>
                  <a:pt x="14" y="6"/>
                </a:lnTo>
                <a:lnTo>
                  <a:pt x="16" y="11"/>
                </a:lnTo>
                <a:lnTo>
                  <a:pt x="17" y="15"/>
                </a:lnTo>
                <a:lnTo>
                  <a:pt x="18" y="17"/>
                </a:lnTo>
                <a:lnTo>
                  <a:pt x="21" y="19"/>
                </a:lnTo>
                <a:lnTo>
                  <a:pt x="24" y="19"/>
                </a:lnTo>
                <a:lnTo>
                  <a:pt x="23" y="26"/>
                </a:lnTo>
                <a:lnTo>
                  <a:pt x="23" y="28"/>
                </a:lnTo>
                <a:lnTo>
                  <a:pt x="22" y="29"/>
                </a:lnTo>
                <a:lnTo>
                  <a:pt x="20" y="27"/>
                </a:lnTo>
                <a:lnTo>
                  <a:pt x="14" y="25"/>
                </a:lnTo>
                <a:lnTo>
                  <a:pt x="13" y="22"/>
                </a:lnTo>
                <a:lnTo>
                  <a:pt x="12" y="19"/>
                </a:lnTo>
                <a:lnTo>
                  <a:pt x="12" y="18"/>
                </a:lnTo>
                <a:lnTo>
                  <a:pt x="11" y="15"/>
                </a:lnTo>
                <a:lnTo>
                  <a:pt x="10" y="12"/>
                </a:lnTo>
                <a:lnTo>
                  <a:pt x="6" y="10"/>
                </a:lnTo>
                <a:lnTo>
                  <a:pt x="4" y="9"/>
                </a:lnTo>
                <a:lnTo>
                  <a:pt x="0" y="9"/>
                </a:lnTo>
                <a:lnTo>
                  <a:pt x="0" y="7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95" name="Freeform 1295"/>
          <p:cNvSpPr>
            <a:spLocks/>
          </p:cNvSpPr>
          <p:nvPr/>
        </p:nvSpPr>
        <p:spPr bwMode="auto">
          <a:xfrm>
            <a:off x="7029450" y="3621053"/>
            <a:ext cx="38100" cy="46038"/>
          </a:xfrm>
          <a:custGeom>
            <a:avLst/>
            <a:gdLst>
              <a:gd name="T0" fmla="*/ 0 w 24"/>
              <a:gd name="T1" fmla="*/ 7 h 29"/>
              <a:gd name="T2" fmla="*/ 2 w 24"/>
              <a:gd name="T3" fmla="*/ 2 h 29"/>
              <a:gd name="T4" fmla="*/ 3 w 24"/>
              <a:gd name="T5" fmla="*/ 1 h 29"/>
              <a:gd name="T6" fmla="*/ 6 w 24"/>
              <a:gd name="T7" fmla="*/ 1 h 29"/>
              <a:gd name="T8" fmla="*/ 7 w 24"/>
              <a:gd name="T9" fmla="*/ 1 h 29"/>
              <a:gd name="T10" fmla="*/ 8 w 24"/>
              <a:gd name="T11" fmla="*/ 5 h 29"/>
              <a:gd name="T12" fmla="*/ 9 w 24"/>
              <a:gd name="T13" fmla="*/ 5 h 29"/>
              <a:gd name="T14" fmla="*/ 10 w 24"/>
              <a:gd name="T15" fmla="*/ 3 h 29"/>
              <a:gd name="T16" fmla="*/ 10 w 24"/>
              <a:gd name="T17" fmla="*/ 2 h 29"/>
              <a:gd name="T18" fmla="*/ 10 w 24"/>
              <a:gd name="T19" fmla="*/ 0 h 29"/>
              <a:gd name="T20" fmla="*/ 12 w 24"/>
              <a:gd name="T21" fmla="*/ 0 h 29"/>
              <a:gd name="T22" fmla="*/ 13 w 24"/>
              <a:gd name="T23" fmla="*/ 3 h 29"/>
              <a:gd name="T24" fmla="*/ 14 w 24"/>
              <a:gd name="T25" fmla="*/ 6 h 29"/>
              <a:gd name="T26" fmla="*/ 16 w 24"/>
              <a:gd name="T27" fmla="*/ 11 h 29"/>
              <a:gd name="T28" fmla="*/ 17 w 24"/>
              <a:gd name="T29" fmla="*/ 15 h 29"/>
              <a:gd name="T30" fmla="*/ 18 w 24"/>
              <a:gd name="T31" fmla="*/ 17 h 29"/>
              <a:gd name="T32" fmla="*/ 21 w 24"/>
              <a:gd name="T33" fmla="*/ 19 h 29"/>
              <a:gd name="T34" fmla="*/ 24 w 24"/>
              <a:gd name="T35" fmla="*/ 19 h 29"/>
              <a:gd name="T36" fmla="*/ 23 w 24"/>
              <a:gd name="T37" fmla="*/ 26 h 29"/>
              <a:gd name="T38" fmla="*/ 23 w 24"/>
              <a:gd name="T39" fmla="*/ 28 h 29"/>
              <a:gd name="T40" fmla="*/ 22 w 24"/>
              <a:gd name="T41" fmla="*/ 29 h 29"/>
              <a:gd name="T42" fmla="*/ 20 w 24"/>
              <a:gd name="T43" fmla="*/ 27 h 29"/>
              <a:gd name="T44" fmla="*/ 14 w 24"/>
              <a:gd name="T45" fmla="*/ 25 h 29"/>
              <a:gd name="T46" fmla="*/ 13 w 24"/>
              <a:gd name="T47" fmla="*/ 22 h 29"/>
              <a:gd name="T48" fmla="*/ 12 w 24"/>
              <a:gd name="T49" fmla="*/ 19 h 29"/>
              <a:gd name="T50" fmla="*/ 12 w 24"/>
              <a:gd name="T51" fmla="*/ 18 h 29"/>
              <a:gd name="T52" fmla="*/ 11 w 24"/>
              <a:gd name="T53" fmla="*/ 15 h 29"/>
              <a:gd name="T54" fmla="*/ 10 w 24"/>
              <a:gd name="T55" fmla="*/ 12 h 29"/>
              <a:gd name="T56" fmla="*/ 6 w 24"/>
              <a:gd name="T57" fmla="*/ 10 h 29"/>
              <a:gd name="T58" fmla="*/ 4 w 24"/>
              <a:gd name="T59" fmla="*/ 9 h 29"/>
              <a:gd name="T60" fmla="*/ 0 w 24"/>
              <a:gd name="T61" fmla="*/ 9 h 29"/>
              <a:gd name="T62" fmla="*/ 0 w 24"/>
              <a:gd name="T63" fmla="*/ 7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4" h="29">
                <a:moveTo>
                  <a:pt x="0" y="7"/>
                </a:moveTo>
                <a:lnTo>
                  <a:pt x="2" y="2"/>
                </a:lnTo>
                <a:lnTo>
                  <a:pt x="3" y="1"/>
                </a:lnTo>
                <a:lnTo>
                  <a:pt x="6" y="1"/>
                </a:lnTo>
                <a:lnTo>
                  <a:pt x="7" y="1"/>
                </a:lnTo>
                <a:lnTo>
                  <a:pt x="8" y="5"/>
                </a:lnTo>
                <a:lnTo>
                  <a:pt x="9" y="5"/>
                </a:lnTo>
                <a:lnTo>
                  <a:pt x="10" y="3"/>
                </a:lnTo>
                <a:lnTo>
                  <a:pt x="10" y="2"/>
                </a:lnTo>
                <a:lnTo>
                  <a:pt x="10" y="0"/>
                </a:lnTo>
                <a:lnTo>
                  <a:pt x="12" y="0"/>
                </a:lnTo>
                <a:lnTo>
                  <a:pt x="13" y="3"/>
                </a:lnTo>
                <a:lnTo>
                  <a:pt x="14" y="6"/>
                </a:lnTo>
                <a:lnTo>
                  <a:pt x="16" y="11"/>
                </a:lnTo>
                <a:lnTo>
                  <a:pt x="17" y="15"/>
                </a:lnTo>
                <a:lnTo>
                  <a:pt x="18" y="17"/>
                </a:lnTo>
                <a:lnTo>
                  <a:pt x="21" y="19"/>
                </a:lnTo>
                <a:lnTo>
                  <a:pt x="24" y="19"/>
                </a:lnTo>
                <a:lnTo>
                  <a:pt x="23" y="26"/>
                </a:lnTo>
                <a:lnTo>
                  <a:pt x="23" y="28"/>
                </a:lnTo>
                <a:lnTo>
                  <a:pt x="22" y="29"/>
                </a:lnTo>
                <a:lnTo>
                  <a:pt x="20" y="27"/>
                </a:lnTo>
                <a:lnTo>
                  <a:pt x="14" y="25"/>
                </a:lnTo>
                <a:lnTo>
                  <a:pt x="13" y="22"/>
                </a:lnTo>
                <a:lnTo>
                  <a:pt x="12" y="19"/>
                </a:lnTo>
                <a:lnTo>
                  <a:pt x="12" y="18"/>
                </a:lnTo>
                <a:lnTo>
                  <a:pt x="11" y="15"/>
                </a:lnTo>
                <a:lnTo>
                  <a:pt x="10" y="12"/>
                </a:lnTo>
                <a:lnTo>
                  <a:pt x="6" y="10"/>
                </a:lnTo>
                <a:lnTo>
                  <a:pt x="4" y="9"/>
                </a:lnTo>
                <a:lnTo>
                  <a:pt x="0" y="9"/>
                </a:lnTo>
                <a:lnTo>
                  <a:pt x="0" y="7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96" name="Freeform 1296"/>
          <p:cNvSpPr>
            <a:spLocks/>
          </p:cNvSpPr>
          <p:nvPr/>
        </p:nvSpPr>
        <p:spPr bwMode="auto">
          <a:xfrm>
            <a:off x="7089775" y="3651215"/>
            <a:ext cx="17462" cy="19050"/>
          </a:xfrm>
          <a:custGeom>
            <a:avLst/>
            <a:gdLst>
              <a:gd name="T0" fmla="*/ 2 w 11"/>
              <a:gd name="T1" fmla="*/ 0 h 12"/>
              <a:gd name="T2" fmla="*/ 2 w 11"/>
              <a:gd name="T3" fmla="*/ 0 h 12"/>
              <a:gd name="T4" fmla="*/ 6 w 11"/>
              <a:gd name="T5" fmla="*/ 0 h 12"/>
              <a:gd name="T6" fmla="*/ 8 w 11"/>
              <a:gd name="T7" fmla="*/ 1 h 12"/>
              <a:gd name="T8" fmla="*/ 9 w 11"/>
              <a:gd name="T9" fmla="*/ 2 h 12"/>
              <a:gd name="T10" fmla="*/ 11 w 11"/>
              <a:gd name="T11" fmla="*/ 4 h 12"/>
              <a:gd name="T12" fmla="*/ 11 w 11"/>
              <a:gd name="T13" fmla="*/ 7 h 12"/>
              <a:gd name="T14" fmla="*/ 11 w 11"/>
              <a:gd name="T15" fmla="*/ 9 h 12"/>
              <a:gd name="T16" fmla="*/ 9 w 11"/>
              <a:gd name="T17" fmla="*/ 11 h 12"/>
              <a:gd name="T18" fmla="*/ 6 w 11"/>
              <a:gd name="T19" fmla="*/ 12 h 12"/>
              <a:gd name="T20" fmla="*/ 5 w 11"/>
              <a:gd name="T21" fmla="*/ 10 h 12"/>
              <a:gd name="T22" fmla="*/ 4 w 11"/>
              <a:gd name="T23" fmla="*/ 11 h 12"/>
              <a:gd name="T24" fmla="*/ 2 w 11"/>
              <a:gd name="T25" fmla="*/ 11 h 12"/>
              <a:gd name="T26" fmla="*/ 1 w 11"/>
              <a:gd name="T27" fmla="*/ 10 h 12"/>
              <a:gd name="T28" fmla="*/ 0 w 11"/>
              <a:gd name="T29" fmla="*/ 8 h 12"/>
              <a:gd name="T30" fmla="*/ 0 w 11"/>
              <a:gd name="T31" fmla="*/ 6 h 12"/>
              <a:gd name="T32" fmla="*/ 0 w 11"/>
              <a:gd name="T33" fmla="*/ 3 h 12"/>
              <a:gd name="T34" fmla="*/ 2 w 11"/>
              <a:gd name="T35" fmla="*/ 1 h 12"/>
              <a:gd name="T36" fmla="*/ 2 w 11"/>
              <a:gd name="T37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1" h="12">
                <a:moveTo>
                  <a:pt x="2" y="0"/>
                </a:moveTo>
                <a:lnTo>
                  <a:pt x="2" y="0"/>
                </a:lnTo>
                <a:lnTo>
                  <a:pt x="6" y="0"/>
                </a:lnTo>
                <a:lnTo>
                  <a:pt x="8" y="1"/>
                </a:lnTo>
                <a:lnTo>
                  <a:pt x="9" y="2"/>
                </a:lnTo>
                <a:lnTo>
                  <a:pt x="11" y="4"/>
                </a:lnTo>
                <a:lnTo>
                  <a:pt x="11" y="7"/>
                </a:lnTo>
                <a:lnTo>
                  <a:pt x="11" y="9"/>
                </a:lnTo>
                <a:lnTo>
                  <a:pt x="9" y="11"/>
                </a:lnTo>
                <a:lnTo>
                  <a:pt x="6" y="12"/>
                </a:lnTo>
                <a:lnTo>
                  <a:pt x="5" y="10"/>
                </a:lnTo>
                <a:lnTo>
                  <a:pt x="4" y="11"/>
                </a:lnTo>
                <a:lnTo>
                  <a:pt x="2" y="11"/>
                </a:lnTo>
                <a:lnTo>
                  <a:pt x="1" y="10"/>
                </a:lnTo>
                <a:lnTo>
                  <a:pt x="0" y="8"/>
                </a:lnTo>
                <a:lnTo>
                  <a:pt x="0" y="6"/>
                </a:lnTo>
                <a:lnTo>
                  <a:pt x="0" y="3"/>
                </a:lnTo>
                <a:lnTo>
                  <a:pt x="2" y="1"/>
                </a:lnTo>
                <a:lnTo>
                  <a:pt x="2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97" name="Freeform 1297"/>
          <p:cNvSpPr>
            <a:spLocks/>
          </p:cNvSpPr>
          <p:nvPr/>
        </p:nvSpPr>
        <p:spPr bwMode="auto">
          <a:xfrm>
            <a:off x="7089775" y="3651215"/>
            <a:ext cx="17462" cy="19050"/>
          </a:xfrm>
          <a:custGeom>
            <a:avLst/>
            <a:gdLst>
              <a:gd name="T0" fmla="*/ 2 w 11"/>
              <a:gd name="T1" fmla="*/ 0 h 12"/>
              <a:gd name="T2" fmla="*/ 2 w 11"/>
              <a:gd name="T3" fmla="*/ 0 h 12"/>
              <a:gd name="T4" fmla="*/ 6 w 11"/>
              <a:gd name="T5" fmla="*/ 0 h 12"/>
              <a:gd name="T6" fmla="*/ 8 w 11"/>
              <a:gd name="T7" fmla="*/ 1 h 12"/>
              <a:gd name="T8" fmla="*/ 9 w 11"/>
              <a:gd name="T9" fmla="*/ 2 h 12"/>
              <a:gd name="T10" fmla="*/ 11 w 11"/>
              <a:gd name="T11" fmla="*/ 4 h 12"/>
              <a:gd name="T12" fmla="*/ 11 w 11"/>
              <a:gd name="T13" fmla="*/ 7 h 12"/>
              <a:gd name="T14" fmla="*/ 11 w 11"/>
              <a:gd name="T15" fmla="*/ 9 h 12"/>
              <a:gd name="T16" fmla="*/ 9 w 11"/>
              <a:gd name="T17" fmla="*/ 11 h 12"/>
              <a:gd name="T18" fmla="*/ 6 w 11"/>
              <a:gd name="T19" fmla="*/ 12 h 12"/>
              <a:gd name="T20" fmla="*/ 5 w 11"/>
              <a:gd name="T21" fmla="*/ 10 h 12"/>
              <a:gd name="T22" fmla="*/ 4 w 11"/>
              <a:gd name="T23" fmla="*/ 11 h 12"/>
              <a:gd name="T24" fmla="*/ 2 w 11"/>
              <a:gd name="T25" fmla="*/ 11 h 12"/>
              <a:gd name="T26" fmla="*/ 1 w 11"/>
              <a:gd name="T27" fmla="*/ 10 h 12"/>
              <a:gd name="T28" fmla="*/ 0 w 11"/>
              <a:gd name="T29" fmla="*/ 8 h 12"/>
              <a:gd name="T30" fmla="*/ 0 w 11"/>
              <a:gd name="T31" fmla="*/ 6 h 12"/>
              <a:gd name="T32" fmla="*/ 0 w 11"/>
              <a:gd name="T33" fmla="*/ 3 h 12"/>
              <a:gd name="T34" fmla="*/ 2 w 11"/>
              <a:gd name="T35" fmla="*/ 1 h 12"/>
              <a:gd name="T36" fmla="*/ 2 w 11"/>
              <a:gd name="T37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1" h="12">
                <a:moveTo>
                  <a:pt x="2" y="0"/>
                </a:moveTo>
                <a:lnTo>
                  <a:pt x="2" y="0"/>
                </a:lnTo>
                <a:lnTo>
                  <a:pt x="6" y="0"/>
                </a:lnTo>
                <a:lnTo>
                  <a:pt x="8" y="1"/>
                </a:lnTo>
                <a:lnTo>
                  <a:pt x="9" y="2"/>
                </a:lnTo>
                <a:lnTo>
                  <a:pt x="11" y="4"/>
                </a:lnTo>
                <a:lnTo>
                  <a:pt x="11" y="7"/>
                </a:lnTo>
                <a:lnTo>
                  <a:pt x="11" y="9"/>
                </a:lnTo>
                <a:lnTo>
                  <a:pt x="9" y="11"/>
                </a:lnTo>
                <a:lnTo>
                  <a:pt x="6" y="12"/>
                </a:lnTo>
                <a:lnTo>
                  <a:pt x="5" y="10"/>
                </a:lnTo>
                <a:lnTo>
                  <a:pt x="4" y="11"/>
                </a:lnTo>
                <a:lnTo>
                  <a:pt x="2" y="11"/>
                </a:lnTo>
                <a:lnTo>
                  <a:pt x="1" y="10"/>
                </a:lnTo>
                <a:lnTo>
                  <a:pt x="0" y="8"/>
                </a:lnTo>
                <a:lnTo>
                  <a:pt x="0" y="6"/>
                </a:lnTo>
                <a:lnTo>
                  <a:pt x="0" y="3"/>
                </a:lnTo>
                <a:lnTo>
                  <a:pt x="2" y="1"/>
                </a:lnTo>
                <a:lnTo>
                  <a:pt x="2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98" name="Freeform 1298"/>
          <p:cNvSpPr>
            <a:spLocks/>
          </p:cNvSpPr>
          <p:nvPr/>
        </p:nvSpPr>
        <p:spPr bwMode="auto">
          <a:xfrm>
            <a:off x="7026275" y="3748053"/>
            <a:ext cx="228600" cy="84138"/>
          </a:xfrm>
          <a:custGeom>
            <a:avLst/>
            <a:gdLst>
              <a:gd name="T0" fmla="*/ 104 w 144"/>
              <a:gd name="T1" fmla="*/ 43 h 53"/>
              <a:gd name="T2" fmla="*/ 95 w 144"/>
              <a:gd name="T3" fmla="*/ 43 h 53"/>
              <a:gd name="T4" fmla="*/ 93 w 144"/>
              <a:gd name="T5" fmla="*/ 41 h 53"/>
              <a:gd name="T6" fmla="*/ 90 w 144"/>
              <a:gd name="T7" fmla="*/ 42 h 53"/>
              <a:gd name="T8" fmla="*/ 82 w 144"/>
              <a:gd name="T9" fmla="*/ 40 h 53"/>
              <a:gd name="T10" fmla="*/ 77 w 144"/>
              <a:gd name="T11" fmla="*/ 37 h 53"/>
              <a:gd name="T12" fmla="*/ 73 w 144"/>
              <a:gd name="T13" fmla="*/ 34 h 53"/>
              <a:gd name="T14" fmla="*/ 66 w 144"/>
              <a:gd name="T15" fmla="*/ 33 h 53"/>
              <a:gd name="T16" fmla="*/ 60 w 144"/>
              <a:gd name="T17" fmla="*/ 32 h 53"/>
              <a:gd name="T18" fmla="*/ 57 w 144"/>
              <a:gd name="T19" fmla="*/ 33 h 53"/>
              <a:gd name="T20" fmla="*/ 54 w 144"/>
              <a:gd name="T21" fmla="*/ 32 h 53"/>
              <a:gd name="T22" fmla="*/ 51 w 144"/>
              <a:gd name="T23" fmla="*/ 34 h 53"/>
              <a:gd name="T24" fmla="*/ 40 w 144"/>
              <a:gd name="T25" fmla="*/ 32 h 53"/>
              <a:gd name="T26" fmla="*/ 32 w 144"/>
              <a:gd name="T27" fmla="*/ 29 h 53"/>
              <a:gd name="T28" fmla="*/ 23 w 144"/>
              <a:gd name="T29" fmla="*/ 28 h 53"/>
              <a:gd name="T30" fmla="*/ 19 w 144"/>
              <a:gd name="T31" fmla="*/ 26 h 53"/>
              <a:gd name="T32" fmla="*/ 20 w 144"/>
              <a:gd name="T33" fmla="*/ 20 h 53"/>
              <a:gd name="T34" fmla="*/ 18 w 144"/>
              <a:gd name="T35" fmla="*/ 20 h 53"/>
              <a:gd name="T36" fmla="*/ 6 w 144"/>
              <a:gd name="T37" fmla="*/ 17 h 53"/>
              <a:gd name="T38" fmla="*/ 1 w 144"/>
              <a:gd name="T39" fmla="*/ 16 h 53"/>
              <a:gd name="T40" fmla="*/ 0 w 144"/>
              <a:gd name="T41" fmla="*/ 13 h 53"/>
              <a:gd name="T42" fmla="*/ 2 w 144"/>
              <a:gd name="T43" fmla="*/ 15 h 53"/>
              <a:gd name="T44" fmla="*/ 5 w 144"/>
              <a:gd name="T45" fmla="*/ 13 h 53"/>
              <a:gd name="T46" fmla="*/ 8 w 144"/>
              <a:gd name="T47" fmla="*/ 10 h 53"/>
              <a:gd name="T48" fmla="*/ 11 w 144"/>
              <a:gd name="T49" fmla="*/ 5 h 53"/>
              <a:gd name="T50" fmla="*/ 15 w 144"/>
              <a:gd name="T51" fmla="*/ 0 h 53"/>
              <a:gd name="T52" fmla="*/ 30 w 144"/>
              <a:gd name="T53" fmla="*/ 0 h 53"/>
              <a:gd name="T54" fmla="*/ 35 w 144"/>
              <a:gd name="T55" fmla="*/ 2 h 53"/>
              <a:gd name="T56" fmla="*/ 39 w 144"/>
              <a:gd name="T57" fmla="*/ 6 h 53"/>
              <a:gd name="T58" fmla="*/ 45 w 144"/>
              <a:gd name="T59" fmla="*/ 7 h 53"/>
              <a:gd name="T60" fmla="*/ 52 w 144"/>
              <a:gd name="T61" fmla="*/ 11 h 53"/>
              <a:gd name="T62" fmla="*/ 56 w 144"/>
              <a:gd name="T63" fmla="*/ 17 h 53"/>
              <a:gd name="T64" fmla="*/ 65 w 144"/>
              <a:gd name="T65" fmla="*/ 17 h 53"/>
              <a:gd name="T66" fmla="*/ 75 w 144"/>
              <a:gd name="T67" fmla="*/ 18 h 53"/>
              <a:gd name="T68" fmla="*/ 81 w 144"/>
              <a:gd name="T69" fmla="*/ 19 h 53"/>
              <a:gd name="T70" fmla="*/ 85 w 144"/>
              <a:gd name="T71" fmla="*/ 13 h 53"/>
              <a:gd name="T72" fmla="*/ 89 w 144"/>
              <a:gd name="T73" fmla="*/ 9 h 53"/>
              <a:gd name="T74" fmla="*/ 92 w 144"/>
              <a:gd name="T75" fmla="*/ 12 h 53"/>
              <a:gd name="T76" fmla="*/ 96 w 144"/>
              <a:gd name="T77" fmla="*/ 15 h 53"/>
              <a:gd name="T78" fmla="*/ 101 w 144"/>
              <a:gd name="T79" fmla="*/ 13 h 53"/>
              <a:gd name="T80" fmla="*/ 104 w 144"/>
              <a:gd name="T81" fmla="*/ 16 h 53"/>
              <a:gd name="T82" fmla="*/ 107 w 144"/>
              <a:gd name="T83" fmla="*/ 17 h 53"/>
              <a:gd name="T84" fmla="*/ 115 w 144"/>
              <a:gd name="T85" fmla="*/ 19 h 53"/>
              <a:gd name="T86" fmla="*/ 120 w 144"/>
              <a:gd name="T87" fmla="*/ 24 h 53"/>
              <a:gd name="T88" fmla="*/ 122 w 144"/>
              <a:gd name="T89" fmla="*/ 32 h 53"/>
              <a:gd name="T90" fmla="*/ 132 w 144"/>
              <a:gd name="T91" fmla="*/ 32 h 53"/>
              <a:gd name="T92" fmla="*/ 138 w 144"/>
              <a:gd name="T93" fmla="*/ 31 h 53"/>
              <a:gd name="T94" fmla="*/ 144 w 144"/>
              <a:gd name="T95" fmla="*/ 34 h 53"/>
              <a:gd name="T96" fmla="*/ 143 w 144"/>
              <a:gd name="T97" fmla="*/ 46 h 53"/>
              <a:gd name="T98" fmla="*/ 144 w 144"/>
              <a:gd name="T99" fmla="*/ 49 h 53"/>
              <a:gd name="T100" fmla="*/ 143 w 144"/>
              <a:gd name="T101" fmla="*/ 52 h 53"/>
              <a:gd name="T102" fmla="*/ 132 w 144"/>
              <a:gd name="T103" fmla="*/ 47 h 53"/>
              <a:gd name="T104" fmla="*/ 124 w 144"/>
              <a:gd name="T105" fmla="*/ 43 h 53"/>
              <a:gd name="T106" fmla="*/ 112 w 144"/>
              <a:gd name="T107" fmla="*/ 46 h 53"/>
              <a:gd name="T108" fmla="*/ 106 w 144"/>
              <a:gd name="T109" fmla="*/ 4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4" h="53">
                <a:moveTo>
                  <a:pt x="106" y="43"/>
                </a:moveTo>
                <a:lnTo>
                  <a:pt x="104" y="43"/>
                </a:lnTo>
                <a:lnTo>
                  <a:pt x="101" y="44"/>
                </a:lnTo>
                <a:lnTo>
                  <a:pt x="95" y="43"/>
                </a:lnTo>
                <a:lnTo>
                  <a:pt x="94" y="42"/>
                </a:lnTo>
                <a:lnTo>
                  <a:pt x="93" y="41"/>
                </a:lnTo>
                <a:lnTo>
                  <a:pt x="92" y="42"/>
                </a:lnTo>
                <a:lnTo>
                  <a:pt x="90" y="42"/>
                </a:lnTo>
                <a:lnTo>
                  <a:pt x="86" y="41"/>
                </a:lnTo>
                <a:lnTo>
                  <a:pt x="82" y="40"/>
                </a:lnTo>
                <a:lnTo>
                  <a:pt x="80" y="39"/>
                </a:lnTo>
                <a:lnTo>
                  <a:pt x="77" y="37"/>
                </a:lnTo>
                <a:lnTo>
                  <a:pt x="75" y="36"/>
                </a:lnTo>
                <a:lnTo>
                  <a:pt x="73" y="34"/>
                </a:lnTo>
                <a:lnTo>
                  <a:pt x="69" y="33"/>
                </a:lnTo>
                <a:lnTo>
                  <a:pt x="66" y="33"/>
                </a:lnTo>
                <a:lnTo>
                  <a:pt x="62" y="32"/>
                </a:lnTo>
                <a:lnTo>
                  <a:pt x="60" y="32"/>
                </a:lnTo>
                <a:lnTo>
                  <a:pt x="59" y="33"/>
                </a:lnTo>
                <a:lnTo>
                  <a:pt x="57" y="33"/>
                </a:lnTo>
                <a:lnTo>
                  <a:pt x="56" y="32"/>
                </a:lnTo>
                <a:lnTo>
                  <a:pt x="54" y="32"/>
                </a:lnTo>
                <a:lnTo>
                  <a:pt x="52" y="33"/>
                </a:lnTo>
                <a:lnTo>
                  <a:pt x="51" y="34"/>
                </a:lnTo>
                <a:lnTo>
                  <a:pt x="50" y="34"/>
                </a:lnTo>
                <a:lnTo>
                  <a:pt x="40" y="32"/>
                </a:lnTo>
                <a:lnTo>
                  <a:pt x="36" y="30"/>
                </a:lnTo>
                <a:lnTo>
                  <a:pt x="32" y="29"/>
                </a:lnTo>
                <a:lnTo>
                  <a:pt x="26" y="29"/>
                </a:lnTo>
                <a:lnTo>
                  <a:pt x="23" y="28"/>
                </a:lnTo>
                <a:lnTo>
                  <a:pt x="22" y="27"/>
                </a:lnTo>
                <a:lnTo>
                  <a:pt x="19" y="26"/>
                </a:lnTo>
                <a:lnTo>
                  <a:pt x="18" y="24"/>
                </a:lnTo>
                <a:lnTo>
                  <a:pt x="20" y="20"/>
                </a:lnTo>
                <a:lnTo>
                  <a:pt x="20" y="20"/>
                </a:lnTo>
                <a:lnTo>
                  <a:pt x="18" y="20"/>
                </a:lnTo>
                <a:lnTo>
                  <a:pt x="12" y="17"/>
                </a:lnTo>
                <a:lnTo>
                  <a:pt x="6" y="17"/>
                </a:lnTo>
                <a:lnTo>
                  <a:pt x="4" y="16"/>
                </a:lnTo>
                <a:lnTo>
                  <a:pt x="1" y="16"/>
                </a:lnTo>
                <a:lnTo>
                  <a:pt x="0" y="13"/>
                </a:lnTo>
                <a:lnTo>
                  <a:pt x="0" y="13"/>
                </a:lnTo>
                <a:lnTo>
                  <a:pt x="1" y="13"/>
                </a:lnTo>
                <a:lnTo>
                  <a:pt x="2" y="15"/>
                </a:lnTo>
                <a:lnTo>
                  <a:pt x="4" y="15"/>
                </a:lnTo>
                <a:lnTo>
                  <a:pt x="5" y="13"/>
                </a:lnTo>
                <a:lnTo>
                  <a:pt x="6" y="10"/>
                </a:lnTo>
                <a:lnTo>
                  <a:pt x="8" y="10"/>
                </a:lnTo>
                <a:lnTo>
                  <a:pt x="10" y="8"/>
                </a:lnTo>
                <a:lnTo>
                  <a:pt x="11" y="5"/>
                </a:lnTo>
                <a:lnTo>
                  <a:pt x="12" y="2"/>
                </a:lnTo>
                <a:lnTo>
                  <a:pt x="15" y="0"/>
                </a:lnTo>
                <a:lnTo>
                  <a:pt x="25" y="2"/>
                </a:lnTo>
                <a:lnTo>
                  <a:pt x="30" y="0"/>
                </a:lnTo>
                <a:lnTo>
                  <a:pt x="33" y="0"/>
                </a:lnTo>
                <a:lnTo>
                  <a:pt x="35" y="2"/>
                </a:lnTo>
                <a:lnTo>
                  <a:pt x="35" y="5"/>
                </a:lnTo>
                <a:lnTo>
                  <a:pt x="39" y="6"/>
                </a:lnTo>
                <a:lnTo>
                  <a:pt x="41" y="5"/>
                </a:lnTo>
                <a:lnTo>
                  <a:pt x="45" y="7"/>
                </a:lnTo>
                <a:lnTo>
                  <a:pt x="48" y="7"/>
                </a:lnTo>
                <a:lnTo>
                  <a:pt x="52" y="11"/>
                </a:lnTo>
                <a:lnTo>
                  <a:pt x="53" y="16"/>
                </a:lnTo>
                <a:lnTo>
                  <a:pt x="56" y="17"/>
                </a:lnTo>
                <a:lnTo>
                  <a:pt x="60" y="17"/>
                </a:lnTo>
                <a:lnTo>
                  <a:pt x="65" y="17"/>
                </a:lnTo>
                <a:lnTo>
                  <a:pt x="67" y="17"/>
                </a:lnTo>
                <a:lnTo>
                  <a:pt x="75" y="18"/>
                </a:lnTo>
                <a:lnTo>
                  <a:pt x="79" y="18"/>
                </a:lnTo>
                <a:lnTo>
                  <a:pt x="81" y="19"/>
                </a:lnTo>
                <a:lnTo>
                  <a:pt x="83" y="18"/>
                </a:lnTo>
                <a:lnTo>
                  <a:pt x="85" y="13"/>
                </a:lnTo>
                <a:lnTo>
                  <a:pt x="86" y="10"/>
                </a:lnTo>
                <a:lnTo>
                  <a:pt x="89" y="9"/>
                </a:lnTo>
                <a:lnTo>
                  <a:pt x="91" y="9"/>
                </a:lnTo>
                <a:lnTo>
                  <a:pt x="92" y="12"/>
                </a:lnTo>
                <a:lnTo>
                  <a:pt x="94" y="15"/>
                </a:lnTo>
                <a:lnTo>
                  <a:pt x="96" y="15"/>
                </a:lnTo>
                <a:lnTo>
                  <a:pt x="100" y="12"/>
                </a:lnTo>
                <a:lnTo>
                  <a:pt x="101" y="13"/>
                </a:lnTo>
                <a:lnTo>
                  <a:pt x="102" y="15"/>
                </a:lnTo>
                <a:lnTo>
                  <a:pt x="104" y="16"/>
                </a:lnTo>
                <a:lnTo>
                  <a:pt x="106" y="16"/>
                </a:lnTo>
                <a:lnTo>
                  <a:pt x="107" y="17"/>
                </a:lnTo>
                <a:lnTo>
                  <a:pt x="113" y="17"/>
                </a:lnTo>
                <a:lnTo>
                  <a:pt x="115" y="19"/>
                </a:lnTo>
                <a:lnTo>
                  <a:pt x="117" y="23"/>
                </a:lnTo>
                <a:lnTo>
                  <a:pt x="120" y="24"/>
                </a:lnTo>
                <a:lnTo>
                  <a:pt x="120" y="30"/>
                </a:lnTo>
                <a:lnTo>
                  <a:pt x="122" y="32"/>
                </a:lnTo>
                <a:lnTo>
                  <a:pt x="125" y="33"/>
                </a:lnTo>
                <a:lnTo>
                  <a:pt x="132" y="32"/>
                </a:lnTo>
                <a:lnTo>
                  <a:pt x="134" y="32"/>
                </a:lnTo>
                <a:lnTo>
                  <a:pt x="138" y="31"/>
                </a:lnTo>
                <a:lnTo>
                  <a:pt x="142" y="32"/>
                </a:lnTo>
                <a:lnTo>
                  <a:pt x="144" y="34"/>
                </a:lnTo>
                <a:lnTo>
                  <a:pt x="144" y="39"/>
                </a:lnTo>
                <a:lnTo>
                  <a:pt x="143" y="46"/>
                </a:lnTo>
                <a:lnTo>
                  <a:pt x="143" y="48"/>
                </a:lnTo>
                <a:lnTo>
                  <a:pt x="144" y="49"/>
                </a:lnTo>
                <a:lnTo>
                  <a:pt x="144" y="53"/>
                </a:lnTo>
                <a:lnTo>
                  <a:pt x="143" y="52"/>
                </a:lnTo>
                <a:lnTo>
                  <a:pt x="142" y="50"/>
                </a:lnTo>
                <a:lnTo>
                  <a:pt x="132" y="47"/>
                </a:lnTo>
                <a:lnTo>
                  <a:pt x="127" y="44"/>
                </a:lnTo>
                <a:lnTo>
                  <a:pt x="124" y="43"/>
                </a:lnTo>
                <a:lnTo>
                  <a:pt x="116" y="46"/>
                </a:lnTo>
                <a:lnTo>
                  <a:pt x="112" y="46"/>
                </a:lnTo>
                <a:lnTo>
                  <a:pt x="109" y="43"/>
                </a:lnTo>
                <a:lnTo>
                  <a:pt x="106" y="4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299" name="Freeform 1299"/>
          <p:cNvSpPr>
            <a:spLocks/>
          </p:cNvSpPr>
          <p:nvPr/>
        </p:nvSpPr>
        <p:spPr bwMode="auto">
          <a:xfrm>
            <a:off x="7026275" y="3748053"/>
            <a:ext cx="228600" cy="84138"/>
          </a:xfrm>
          <a:custGeom>
            <a:avLst/>
            <a:gdLst>
              <a:gd name="T0" fmla="*/ 104 w 144"/>
              <a:gd name="T1" fmla="*/ 43 h 53"/>
              <a:gd name="T2" fmla="*/ 95 w 144"/>
              <a:gd name="T3" fmla="*/ 43 h 53"/>
              <a:gd name="T4" fmla="*/ 93 w 144"/>
              <a:gd name="T5" fmla="*/ 41 h 53"/>
              <a:gd name="T6" fmla="*/ 90 w 144"/>
              <a:gd name="T7" fmla="*/ 42 h 53"/>
              <a:gd name="T8" fmla="*/ 82 w 144"/>
              <a:gd name="T9" fmla="*/ 40 h 53"/>
              <a:gd name="T10" fmla="*/ 77 w 144"/>
              <a:gd name="T11" fmla="*/ 37 h 53"/>
              <a:gd name="T12" fmla="*/ 73 w 144"/>
              <a:gd name="T13" fmla="*/ 34 h 53"/>
              <a:gd name="T14" fmla="*/ 66 w 144"/>
              <a:gd name="T15" fmla="*/ 33 h 53"/>
              <a:gd name="T16" fmla="*/ 60 w 144"/>
              <a:gd name="T17" fmla="*/ 32 h 53"/>
              <a:gd name="T18" fmla="*/ 57 w 144"/>
              <a:gd name="T19" fmla="*/ 33 h 53"/>
              <a:gd name="T20" fmla="*/ 54 w 144"/>
              <a:gd name="T21" fmla="*/ 32 h 53"/>
              <a:gd name="T22" fmla="*/ 51 w 144"/>
              <a:gd name="T23" fmla="*/ 34 h 53"/>
              <a:gd name="T24" fmla="*/ 40 w 144"/>
              <a:gd name="T25" fmla="*/ 32 h 53"/>
              <a:gd name="T26" fmla="*/ 32 w 144"/>
              <a:gd name="T27" fmla="*/ 29 h 53"/>
              <a:gd name="T28" fmla="*/ 23 w 144"/>
              <a:gd name="T29" fmla="*/ 28 h 53"/>
              <a:gd name="T30" fmla="*/ 19 w 144"/>
              <a:gd name="T31" fmla="*/ 26 h 53"/>
              <a:gd name="T32" fmla="*/ 20 w 144"/>
              <a:gd name="T33" fmla="*/ 20 h 53"/>
              <a:gd name="T34" fmla="*/ 18 w 144"/>
              <a:gd name="T35" fmla="*/ 20 h 53"/>
              <a:gd name="T36" fmla="*/ 6 w 144"/>
              <a:gd name="T37" fmla="*/ 17 h 53"/>
              <a:gd name="T38" fmla="*/ 1 w 144"/>
              <a:gd name="T39" fmla="*/ 16 h 53"/>
              <a:gd name="T40" fmla="*/ 0 w 144"/>
              <a:gd name="T41" fmla="*/ 13 h 53"/>
              <a:gd name="T42" fmla="*/ 2 w 144"/>
              <a:gd name="T43" fmla="*/ 15 h 53"/>
              <a:gd name="T44" fmla="*/ 5 w 144"/>
              <a:gd name="T45" fmla="*/ 13 h 53"/>
              <a:gd name="T46" fmla="*/ 8 w 144"/>
              <a:gd name="T47" fmla="*/ 10 h 53"/>
              <a:gd name="T48" fmla="*/ 11 w 144"/>
              <a:gd name="T49" fmla="*/ 5 h 53"/>
              <a:gd name="T50" fmla="*/ 15 w 144"/>
              <a:gd name="T51" fmla="*/ 0 h 53"/>
              <a:gd name="T52" fmla="*/ 30 w 144"/>
              <a:gd name="T53" fmla="*/ 0 h 53"/>
              <a:gd name="T54" fmla="*/ 35 w 144"/>
              <a:gd name="T55" fmla="*/ 2 h 53"/>
              <a:gd name="T56" fmla="*/ 39 w 144"/>
              <a:gd name="T57" fmla="*/ 6 h 53"/>
              <a:gd name="T58" fmla="*/ 45 w 144"/>
              <a:gd name="T59" fmla="*/ 7 h 53"/>
              <a:gd name="T60" fmla="*/ 52 w 144"/>
              <a:gd name="T61" fmla="*/ 11 h 53"/>
              <a:gd name="T62" fmla="*/ 56 w 144"/>
              <a:gd name="T63" fmla="*/ 17 h 53"/>
              <a:gd name="T64" fmla="*/ 65 w 144"/>
              <a:gd name="T65" fmla="*/ 17 h 53"/>
              <a:gd name="T66" fmla="*/ 75 w 144"/>
              <a:gd name="T67" fmla="*/ 18 h 53"/>
              <a:gd name="T68" fmla="*/ 81 w 144"/>
              <a:gd name="T69" fmla="*/ 19 h 53"/>
              <a:gd name="T70" fmla="*/ 85 w 144"/>
              <a:gd name="T71" fmla="*/ 13 h 53"/>
              <a:gd name="T72" fmla="*/ 89 w 144"/>
              <a:gd name="T73" fmla="*/ 9 h 53"/>
              <a:gd name="T74" fmla="*/ 92 w 144"/>
              <a:gd name="T75" fmla="*/ 12 h 53"/>
              <a:gd name="T76" fmla="*/ 96 w 144"/>
              <a:gd name="T77" fmla="*/ 15 h 53"/>
              <a:gd name="T78" fmla="*/ 101 w 144"/>
              <a:gd name="T79" fmla="*/ 13 h 53"/>
              <a:gd name="T80" fmla="*/ 104 w 144"/>
              <a:gd name="T81" fmla="*/ 16 h 53"/>
              <a:gd name="T82" fmla="*/ 107 w 144"/>
              <a:gd name="T83" fmla="*/ 17 h 53"/>
              <a:gd name="T84" fmla="*/ 115 w 144"/>
              <a:gd name="T85" fmla="*/ 19 h 53"/>
              <a:gd name="T86" fmla="*/ 120 w 144"/>
              <a:gd name="T87" fmla="*/ 24 h 53"/>
              <a:gd name="T88" fmla="*/ 122 w 144"/>
              <a:gd name="T89" fmla="*/ 32 h 53"/>
              <a:gd name="T90" fmla="*/ 132 w 144"/>
              <a:gd name="T91" fmla="*/ 32 h 53"/>
              <a:gd name="T92" fmla="*/ 138 w 144"/>
              <a:gd name="T93" fmla="*/ 31 h 53"/>
              <a:gd name="T94" fmla="*/ 144 w 144"/>
              <a:gd name="T95" fmla="*/ 34 h 53"/>
              <a:gd name="T96" fmla="*/ 143 w 144"/>
              <a:gd name="T97" fmla="*/ 46 h 53"/>
              <a:gd name="T98" fmla="*/ 144 w 144"/>
              <a:gd name="T99" fmla="*/ 49 h 53"/>
              <a:gd name="T100" fmla="*/ 143 w 144"/>
              <a:gd name="T101" fmla="*/ 52 h 53"/>
              <a:gd name="T102" fmla="*/ 132 w 144"/>
              <a:gd name="T103" fmla="*/ 47 h 53"/>
              <a:gd name="T104" fmla="*/ 124 w 144"/>
              <a:gd name="T105" fmla="*/ 43 h 53"/>
              <a:gd name="T106" fmla="*/ 112 w 144"/>
              <a:gd name="T107" fmla="*/ 46 h 53"/>
              <a:gd name="T108" fmla="*/ 106 w 144"/>
              <a:gd name="T109" fmla="*/ 43 h 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44" h="53">
                <a:moveTo>
                  <a:pt x="106" y="43"/>
                </a:moveTo>
                <a:lnTo>
                  <a:pt x="104" y="43"/>
                </a:lnTo>
                <a:lnTo>
                  <a:pt x="101" y="44"/>
                </a:lnTo>
                <a:lnTo>
                  <a:pt x="95" y="43"/>
                </a:lnTo>
                <a:lnTo>
                  <a:pt x="94" y="42"/>
                </a:lnTo>
                <a:lnTo>
                  <a:pt x="93" y="41"/>
                </a:lnTo>
                <a:lnTo>
                  <a:pt x="92" y="42"/>
                </a:lnTo>
                <a:lnTo>
                  <a:pt x="90" y="42"/>
                </a:lnTo>
                <a:lnTo>
                  <a:pt x="86" y="41"/>
                </a:lnTo>
                <a:lnTo>
                  <a:pt x="82" y="40"/>
                </a:lnTo>
                <a:lnTo>
                  <a:pt x="80" y="39"/>
                </a:lnTo>
                <a:lnTo>
                  <a:pt x="77" y="37"/>
                </a:lnTo>
                <a:lnTo>
                  <a:pt x="75" y="36"/>
                </a:lnTo>
                <a:lnTo>
                  <a:pt x="73" y="34"/>
                </a:lnTo>
                <a:lnTo>
                  <a:pt x="69" y="33"/>
                </a:lnTo>
                <a:lnTo>
                  <a:pt x="66" y="33"/>
                </a:lnTo>
                <a:lnTo>
                  <a:pt x="62" y="32"/>
                </a:lnTo>
                <a:lnTo>
                  <a:pt x="60" y="32"/>
                </a:lnTo>
                <a:lnTo>
                  <a:pt x="59" y="33"/>
                </a:lnTo>
                <a:lnTo>
                  <a:pt x="57" y="33"/>
                </a:lnTo>
                <a:lnTo>
                  <a:pt x="56" y="32"/>
                </a:lnTo>
                <a:lnTo>
                  <a:pt x="54" y="32"/>
                </a:lnTo>
                <a:lnTo>
                  <a:pt x="52" y="33"/>
                </a:lnTo>
                <a:lnTo>
                  <a:pt x="51" y="34"/>
                </a:lnTo>
                <a:lnTo>
                  <a:pt x="50" y="34"/>
                </a:lnTo>
                <a:lnTo>
                  <a:pt x="40" y="32"/>
                </a:lnTo>
                <a:lnTo>
                  <a:pt x="36" y="30"/>
                </a:lnTo>
                <a:lnTo>
                  <a:pt x="32" y="29"/>
                </a:lnTo>
                <a:lnTo>
                  <a:pt x="26" y="29"/>
                </a:lnTo>
                <a:lnTo>
                  <a:pt x="23" y="28"/>
                </a:lnTo>
                <a:lnTo>
                  <a:pt x="22" y="27"/>
                </a:lnTo>
                <a:lnTo>
                  <a:pt x="19" y="26"/>
                </a:lnTo>
                <a:lnTo>
                  <a:pt x="18" y="24"/>
                </a:lnTo>
                <a:lnTo>
                  <a:pt x="20" y="20"/>
                </a:lnTo>
                <a:lnTo>
                  <a:pt x="20" y="20"/>
                </a:lnTo>
                <a:lnTo>
                  <a:pt x="18" y="20"/>
                </a:lnTo>
                <a:lnTo>
                  <a:pt x="12" y="17"/>
                </a:lnTo>
                <a:lnTo>
                  <a:pt x="6" y="17"/>
                </a:lnTo>
                <a:lnTo>
                  <a:pt x="4" y="16"/>
                </a:lnTo>
                <a:lnTo>
                  <a:pt x="1" y="16"/>
                </a:lnTo>
                <a:lnTo>
                  <a:pt x="0" y="13"/>
                </a:lnTo>
                <a:lnTo>
                  <a:pt x="0" y="13"/>
                </a:lnTo>
                <a:lnTo>
                  <a:pt x="1" y="13"/>
                </a:lnTo>
                <a:lnTo>
                  <a:pt x="2" y="15"/>
                </a:lnTo>
                <a:lnTo>
                  <a:pt x="4" y="15"/>
                </a:lnTo>
                <a:lnTo>
                  <a:pt x="5" y="13"/>
                </a:lnTo>
                <a:lnTo>
                  <a:pt x="6" y="10"/>
                </a:lnTo>
                <a:lnTo>
                  <a:pt x="8" y="10"/>
                </a:lnTo>
                <a:lnTo>
                  <a:pt x="10" y="8"/>
                </a:lnTo>
                <a:lnTo>
                  <a:pt x="11" y="5"/>
                </a:lnTo>
                <a:lnTo>
                  <a:pt x="12" y="2"/>
                </a:lnTo>
                <a:lnTo>
                  <a:pt x="15" y="0"/>
                </a:lnTo>
                <a:lnTo>
                  <a:pt x="25" y="2"/>
                </a:lnTo>
                <a:lnTo>
                  <a:pt x="30" y="0"/>
                </a:lnTo>
                <a:lnTo>
                  <a:pt x="33" y="0"/>
                </a:lnTo>
                <a:lnTo>
                  <a:pt x="35" y="2"/>
                </a:lnTo>
                <a:lnTo>
                  <a:pt x="35" y="5"/>
                </a:lnTo>
                <a:lnTo>
                  <a:pt x="39" y="6"/>
                </a:lnTo>
                <a:lnTo>
                  <a:pt x="41" y="5"/>
                </a:lnTo>
                <a:lnTo>
                  <a:pt x="45" y="7"/>
                </a:lnTo>
                <a:lnTo>
                  <a:pt x="48" y="7"/>
                </a:lnTo>
                <a:lnTo>
                  <a:pt x="52" y="11"/>
                </a:lnTo>
                <a:lnTo>
                  <a:pt x="53" y="16"/>
                </a:lnTo>
                <a:lnTo>
                  <a:pt x="56" y="17"/>
                </a:lnTo>
                <a:lnTo>
                  <a:pt x="60" y="17"/>
                </a:lnTo>
                <a:lnTo>
                  <a:pt x="65" y="17"/>
                </a:lnTo>
                <a:lnTo>
                  <a:pt x="67" y="17"/>
                </a:lnTo>
                <a:lnTo>
                  <a:pt x="75" y="18"/>
                </a:lnTo>
                <a:lnTo>
                  <a:pt x="79" y="18"/>
                </a:lnTo>
                <a:lnTo>
                  <a:pt x="81" y="19"/>
                </a:lnTo>
                <a:lnTo>
                  <a:pt x="83" y="18"/>
                </a:lnTo>
                <a:lnTo>
                  <a:pt x="85" y="13"/>
                </a:lnTo>
                <a:lnTo>
                  <a:pt x="86" y="10"/>
                </a:lnTo>
                <a:lnTo>
                  <a:pt x="89" y="9"/>
                </a:lnTo>
                <a:lnTo>
                  <a:pt x="91" y="9"/>
                </a:lnTo>
                <a:lnTo>
                  <a:pt x="92" y="12"/>
                </a:lnTo>
                <a:lnTo>
                  <a:pt x="94" y="15"/>
                </a:lnTo>
                <a:lnTo>
                  <a:pt x="96" y="15"/>
                </a:lnTo>
                <a:lnTo>
                  <a:pt x="100" y="12"/>
                </a:lnTo>
                <a:lnTo>
                  <a:pt x="101" y="13"/>
                </a:lnTo>
                <a:lnTo>
                  <a:pt x="102" y="15"/>
                </a:lnTo>
                <a:lnTo>
                  <a:pt x="104" y="16"/>
                </a:lnTo>
                <a:lnTo>
                  <a:pt x="106" y="16"/>
                </a:lnTo>
                <a:lnTo>
                  <a:pt x="107" y="17"/>
                </a:lnTo>
                <a:lnTo>
                  <a:pt x="113" y="17"/>
                </a:lnTo>
                <a:lnTo>
                  <a:pt x="115" y="19"/>
                </a:lnTo>
                <a:lnTo>
                  <a:pt x="117" y="23"/>
                </a:lnTo>
                <a:lnTo>
                  <a:pt x="120" y="24"/>
                </a:lnTo>
                <a:lnTo>
                  <a:pt x="120" y="30"/>
                </a:lnTo>
                <a:lnTo>
                  <a:pt x="122" y="32"/>
                </a:lnTo>
                <a:lnTo>
                  <a:pt x="125" y="33"/>
                </a:lnTo>
                <a:lnTo>
                  <a:pt x="132" y="32"/>
                </a:lnTo>
                <a:lnTo>
                  <a:pt x="134" y="32"/>
                </a:lnTo>
                <a:lnTo>
                  <a:pt x="138" y="31"/>
                </a:lnTo>
                <a:lnTo>
                  <a:pt x="142" y="32"/>
                </a:lnTo>
                <a:lnTo>
                  <a:pt x="144" y="34"/>
                </a:lnTo>
                <a:lnTo>
                  <a:pt x="144" y="39"/>
                </a:lnTo>
                <a:lnTo>
                  <a:pt x="143" y="46"/>
                </a:lnTo>
                <a:lnTo>
                  <a:pt x="143" y="48"/>
                </a:lnTo>
                <a:lnTo>
                  <a:pt x="144" y="49"/>
                </a:lnTo>
                <a:lnTo>
                  <a:pt x="144" y="53"/>
                </a:lnTo>
                <a:lnTo>
                  <a:pt x="143" y="52"/>
                </a:lnTo>
                <a:lnTo>
                  <a:pt x="142" y="50"/>
                </a:lnTo>
                <a:lnTo>
                  <a:pt x="132" y="47"/>
                </a:lnTo>
                <a:lnTo>
                  <a:pt x="127" y="44"/>
                </a:lnTo>
                <a:lnTo>
                  <a:pt x="124" y="43"/>
                </a:lnTo>
                <a:lnTo>
                  <a:pt x="116" y="46"/>
                </a:lnTo>
                <a:lnTo>
                  <a:pt x="112" y="46"/>
                </a:lnTo>
                <a:lnTo>
                  <a:pt x="109" y="43"/>
                </a:lnTo>
                <a:lnTo>
                  <a:pt x="106" y="4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00" name="Freeform 1300"/>
          <p:cNvSpPr>
            <a:spLocks/>
          </p:cNvSpPr>
          <p:nvPr/>
        </p:nvSpPr>
        <p:spPr bwMode="auto">
          <a:xfrm>
            <a:off x="7304087" y="3671853"/>
            <a:ext cx="7937" cy="22225"/>
          </a:xfrm>
          <a:custGeom>
            <a:avLst/>
            <a:gdLst>
              <a:gd name="T0" fmla="*/ 2 w 5"/>
              <a:gd name="T1" fmla="*/ 0 h 14"/>
              <a:gd name="T2" fmla="*/ 2 w 5"/>
              <a:gd name="T3" fmla="*/ 0 h 14"/>
              <a:gd name="T4" fmla="*/ 3 w 5"/>
              <a:gd name="T5" fmla="*/ 4 h 14"/>
              <a:gd name="T6" fmla="*/ 3 w 5"/>
              <a:gd name="T7" fmla="*/ 9 h 14"/>
              <a:gd name="T8" fmla="*/ 5 w 5"/>
              <a:gd name="T9" fmla="*/ 11 h 14"/>
              <a:gd name="T10" fmla="*/ 2 w 5"/>
              <a:gd name="T11" fmla="*/ 14 h 14"/>
              <a:gd name="T12" fmla="*/ 1 w 5"/>
              <a:gd name="T13" fmla="*/ 14 h 14"/>
              <a:gd name="T14" fmla="*/ 0 w 5"/>
              <a:gd name="T15" fmla="*/ 9 h 14"/>
              <a:gd name="T16" fmla="*/ 0 w 5"/>
              <a:gd name="T17" fmla="*/ 5 h 14"/>
              <a:gd name="T18" fmla="*/ 1 w 5"/>
              <a:gd name="T19" fmla="*/ 1 h 14"/>
              <a:gd name="T20" fmla="*/ 2 w 5"/>
              <a:gd name="T21" fmla="*/ 0 h 14"/>
              <a:gd name="T22" fmla="*/ 2 w 5"/>
              <a:gd name="T23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" h="14">
                <a:moveTo>
                  <a:pt x="2" y="0"/>
                </a:moveTo>
                <a:lnTo>
                  <a:pt x="2" y="0"/>
                </a:lnTo>
                <a:lnTo>
                  <a:pt x="3" y="4"/>
                </a:lnTo>
                <a:lnTo>
                  <a:pt x="3" y="9"/>
                </a:lnTo>
                <a:lnTo>
                  <a:pt x="5" y="11"/>
                </a:lnTo>
                <a:lnTo>
                  <a:pt x="2" y="14"/>
                </a:lnTo>
                <a:lnTo>
                  <a:pt x="1" y="14"/>
                </a:lnTo>
                <a:lnTo>
                  <a:pt x="0" y="9"/>
                </a:lnTo>
                <a:lnTo>
                  <a:pt x="0" y="5"/>
                </a:lnTo>
                <a:lnTo>
                  <a:pt x="1" y="1"/>
                </a:lnTo>
                <a:lnTo>
                  <a:pt x="2" y="0"/>
                </a:lnTo>
                <a:lnTo>
                  <a:pt x="2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01" name="Freeform 1301"/>
          <p:cNvSpPr>
            <a:spLocks/>
          </p:cNvSpPr>
          <p:nvPr/>
        </p:nvSpPr>
        <p:spPr bwMode="auto">
          <a:xfrm>
            <a:off x="7304087" y="3671853"/>
            <a:ext cx="7937" cy="22225"/>
          </a:xfrm>
          <a:custGeom>
            <a:avLst/>
            <a:gdLst>
              <a:gd name="T0" fmla="*/ 2 w 5"/>
              <a:gd name="T1" fmla="*/ 0 h 14"/>
              <a:gd name="T2" fmla="*/ 2 w 5"/>
              <a:gd name="T3" fmla="*/ 0 h 14"/>
              <a:gd name="T4" fmla="*/ 3 w 5"/>
              <a:gd name="T5" fmla="*/ 4 h 14"/>
              <a:gd name="T6" fmla="*/ 3 w 5"/>
              <a:gd name="T7" fmla="*/ 9 h 14"/>
              <a:gd name="T8" fmla="*/ 5 w 5"/>
              <a:gd name="T9" fmla="*/ 11 h 14"/>
              <a:gd name="T10" fmla="*/ 2 w 5"/>
              <a:gd name="T11" fmla="*/ 14 h 14"/>
              <a:gd name="T12" fmla="*/ 1 w 5"/>
              <a:gd name="T13" fmla="*/ 14 h 14"/>
              <a:gd name="T14" fmla="*/ 0 w 5"/>
              <a:gd name="T15" fmla="*/ 9 h 14"/>
              <a:gd name="T16" fmla="*/ 0 w 5"/>
              <a:gd name="T17" fmla="*/ 5 h 14"/>
              <a:gd name="T18" fmla="*/ 1 w 5"/>
              <a:gd name="T19" fmla="*/ 1 h 14"/>
              <a:gd name="T20" fmla="*/ 2 w 5"/>
              <a:gd name="T21" fmla="*/ 0 h 14"/>
              <a:gd name="T22" fmla="*/ 2 w 5"/>
              <a:gd name="T23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" h="14">
                <a:moveTo>
                  <a:pt x="2" y="0"/>
                </a:moveTo>
                <a:lnTo>
                  <a:pt x="2" y="0"/>
                </a:lnTo>
                <a:lnTo>
                  <a:pt x="3" y="4"/>
                </a:lnTo>
                <a:lnTo>
                  <a:pt x="3" y="9"/>
                </a:lnTo>
                <a:lnTo>
                  <a:pt x="5" y="11"/>
                </a:lnTo>
                <a:lnTo>
                  <a:pt x="2" y="14"/>
                </a:lnTo>
                <a:lnTo>
                  <a:pt x="1" y="14"/>
                </a:lnTo>
                <a:lnTo>
                  <a:pt x="0" y="9"/>
                </a:lnTo>
                <a:lnTo>
                  <a:pt x="0" y="5"/>
                </a:lnTo>
                <a:lnTo>
                  <a:pt x="1" y="1"/>
                </a:lnTo>
                <a:lnTo>
                  <a:pt x="2" y="0"/>
                </a:lnTo>
                <a:lnTo>
                  <a:pt x="2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02" name="Freeform 1302"/>
          <p:cNvSpPr>
            <a:spLocks/>
          </p:cNvSpPr>
          <p:nvPr/>
        </p:nvSpPr>
        <p:spPr bwMode="auto">
          <a:xfrm>
            <a:off x="7543800" y="3795678"/>
            <a:ext cx="26987" cy="14288"/>
          </a:xfrm>
          <a:custGeom>
            <a:avLst/>
            <a:gdLst>
              <a:gd name="T0" fmla="*/ 1 w 17"/>
              <a:gd name="T1" fmla="*/ 9 h 9"/>
              <a:gd name="T2" fmla="*/ 0 w 17"/>
              <a:gd name="T3" fmla="*/ 7 h 9"/>
              <a:gd name="T4" fmla="*/ 1 w 17"/>
              <a:gd name="T5" fmla="*/ 4 h 9"/>
              <a:gd name="T6" fmla="*/ 2 w 17"/>
              <a:gd name="T7" fmla="*/ 3 h 9"/>
              <a:gd name="T8" fmla="*/ 7 w 17"/>
              <a:gd name="T9" fmla="*/ 3 h 9"/>
              <a:gd name="T10" fmla="*/ 9 w 17"/>
              <a:gd name="T11" fmla="*/ 2 h 9"/>
              <a:gd name="T12" fmla="*/ 13 w 17"/>
              <a:gd name="T13" fmla="*/ 0 h 9"/>
              <a:gd name="T14" fmla="*/ 14 w 17"/>
              <a:gd name="T15" fmla="*/ 1 h 9"/>
              <a:gd name="T16" fmla="*/ 17 w 17"/>
              <a:gd name="T17" fmla="*/ 3 h 9"/>
              <a:gd name="T18" fmla="*/ 13 w 17"/>
              <a:gd name="T19" fmla="*/ 6 h 9"/>
              <a:gd name="T20" fmla="*/ 11 w 17"/>
              <a:gd name="T21" fmla="*/ 8 h 9"/>
              <a:gd name="T22" fmla="*/ 8 w 17"/>
              <a:gd name="T23" fmla="*/ 8 h 9"/>
              <a:gd name="T24" fmla="*/ 6 w 17"/>
              <a:gd name="T25" fmla="*/ 8 h 9"/>
              <a:gd name="T26" fmla="*/ 3 w 17"/>
              <a:gd name="T27" fmla="*/ 9 h 9"/>
              <a:gd name="T28" fmla="*/ 1 w 17"/>
              <a:gd name="T29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7" h="9">
                <a:moveTo>
                  <a:pt x="1" y="9"/>
                </a:moveTo>
                <a:lnTo>
                  <a:pt x="0" y="7"/>
                </a:lnTo>
                <a:lnTo>
                  <a:pt x="1" y="4"/>
                </a:lnTo>
                <a:lnTo>
                  <a:pt x="2" y="3"/>
                </a:lnTo>
                <a:lnTo>
                  <a:pt x="7" y="3"/>
                </a:lnTo>
                <a:lnTo>
                  <a:pt x="9" y="2"/>
                </a:lnTo>
                <a:lnTo>
                  <a:pt x="13" y="0"/>
                </a:lnTo>
                <a:lnTo>
                  <a:pt x="14" y="1"/>
                </a:lnTo>
                <a:lnTo>
                  <a:pt x="17" y="3"/>
                </a:lnTo>
                <a:lnTo>
                  <a:pt x="13" y="6"/>
                </a:lnTo>
                <a:lnTo>
                  <a:pt x="11" y="8"/>
                </a:lnTo>
                <a:lnTo>
                  <a:pt x="8" y="8"/>
                </a:lnTo>
                <a:lnTo>
                  <a:pt x="6" y="8"/>
                </a:lnTo>
                <a:lnTo>
                  <a:pt x="3" y="9"/>
                </a:lnTo>
                <a:lnTo>
                  <a:pt x="1" y="9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03" name="Freeform 1303"/>
          <p:cNvSpPr>
            <a:spLocks/>
          </p:cNvSpPr>
          <p:nvPr/>
        </p:nvSpPr>
        <p:spPr bwMode="auto">
          <a:xfrm>
            <a:off x="7543800" y="3795678"/>
            <a:ext cx="26987" cy="14288"/>
          </a:xfrm>
          <a:custGeom>
            <a:avLst/>
            <a:gdLst>
              <a:gd name="T0" fmla="*/ 1 w 17"/>
              <a:gd name="T1" fmla="*/ 9 h 9"/>
              <a:gd name="T2" fmla="*/ 0 w 17"/>
              <a:gd name="T3" fmla="*/ 7 h 9"/>
              <a:gd name="T4" fmla="*/ 1 w 17"/>
              <a:gd name="T5" fmla="*/ 4 h 9"/>
              <a:gd name="T6" fmla="*/ 2 w 17"/>
              <a:gd name="T7" fmla="*/ 3 h 9"/>
              <a:gd name="T8" fmla="*/ 7 w 17"/>
              <a:gd name="T9" fmla="*/ 3 h 9"/>
              <a:gd name="T10" fmla="*/ 9 w 17"/>
              <a:gd name="T11" fmla="*/ 2 h 9"/>
              <a:gd name="T12" fmla="*/ 13 w 17"/>
              <a:gd name="T13" fmla="*/ 0 h 9"/>
              <a:gd name="T14" fmla="*/ 14 w 17"/>
              <a:gd name="T15" fmla="*/ 1 h 9"/>
              <a:gd name="T16" fmla="*/ 17 w 17"/>
              <a:gd name="T17" fmla="*/ 3 h 9"/>
              <a:gd name="T18" fmla="*/ 13 w 17"/>
              <a:gd name="T19" fmla="*/ 6 h 9"/>
              <a:gd name="T20" fmla="*/ 11 w 17"/>
              <a:gd name="T21" fmla="*/ 8 h 9"/>
              <a:gd name="T22" fmla="*/ 8 w 17"/>
              <a:gd name="T23" fmla="*/ 8 h 9"/>
              <a:gd name="T24" fmla="*/ 6 w 17"/>
              <a:gd name="T25" fmla="*/ 8 h 9"/>
              <a:gd name="T26" fmla="*/ 3 w 17"/>
              <a:gd name="T27" fmla="*/ 9 h 9"/>
              <a:gd name="T28" fmla="*/ 1 w 17"/>
              <a:gd name="T29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7" h="9">
                <a:moveTo>
                  <a:pt x="1" y="9"/>
                </a:moveTo>
                <a:lnTo>
                  <a:pt x="0" y="7"/>
                </a:lnTo>
                <a:lnTo>
                  <a:pt x="1" y="4"/>
                </a:lnTo>
                <a:lnTo>
                  <a:pt x="2" y="3"/>
                </a:lnTo>
                <a:lnTo>
                  <a:pt x="7" y="3"/>
                </a:lnTo>
                <a:lnTo>
                  <a:pt x="9" y="2"/>
                </a:lnTo>
                <a:lnTo>
                  <a:pt x="13" y="0"/>
                </a:lnTo>
                <a:lnTo>
                  <a:pt x="14" y="1"/>
                </a:lnTo>
                <a:lnTo>
                  <a:pt x="17" y="3"/>
                </a:lnTo>
                <a:lnTo>
                  <a:pt x="13" y="6"/>
                </a:lnTo>
                <a:lnTo>
                  <a:pt x="11" y="8"/>
                </a:lnTo>
                <a:lnTo>
                  <a:pt x="8" y="8"/>
                </a:lnTo>
                <a:lnTo>
                  <a:pt x="6" y="8"/>
                </a:lnTo>
                <a:lnTo>
                  <a:pt x="3" y="9"/>
                </a:lnTo>
                <a:lnTo>
                  <a:pt x="1" y="9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04" name="Freeform 1304"/>
          <p:cNvSpPr>
            <a:spLocks/>
          </p:cNvSpPr>
          <p:nvPr/>
        </p:nvSpPr>
        <p:spPr bwMode="auto">
          <a:xfrm>
            <a:off x="7513637" y="3817903"/>
            <a:ext cx="65087" cy="34925"/>
          </a:xfrm>
          <a:custGeom>
            <a:avLst/>
            <a:gdLst>
              <a:gd name="T0" fmla="*/ 0 w 41"/>
              <a:gd name="T1" fmla="*/ 14 h 22"/>
              <a:gd name="T2" fmla="*/ 1 w 41"/>
              <a:gd name="T3" fmla="*/ 14 h 22"/>
              <a:gd name="T4" fmla="*/ 5 w 41"/>
              <a:gd name="T5" fmla="*/ 10 h 22"/>
              <a:gd name="T6" fmla="*/ 7 w 41"/>
              <a:gd name="T7" fmla="*/ 6 h 22"/>
              <a:gd name="T8" fmla="*/ 9 w 41"/>
              <a:gd name="T9" fmla="*/ 6 h 22"/>
              <a:gd name="T10" fmla="*/ 18 w 41"/>
              <a:gd name="T11" fmla="*/ 5 h 22"/>
              <a:gd name="T12" fmla="*/ 19 w 41"/>
              <a:gd name="T13" fmla="*/ 4 h 22"/>
              <a:gd name="T14" fmla="*/ 22 w 41"/>
              <a:gd name="T15" fmla="*/ 4 h 22"/>
              <a:gd name="T16" fmla="*/ 30 w 41"/>
              <a:gd name="T17" fmla="*/ 4 h 22"/>
              <a:gd name="T18" fmla="*/ 33 w 41"/>
              <a:gd name="T19" fmla="*/ 3 h 22"/>
              <a:gd name="T20" fmla="*/ 36 w 41"/>
              <a:gd name="T21" fmla="*/ 2 h 22"/>
              <a:gd name="T22" fmla="*/ 38 w 41"/>
              <a:gd name="T23" fmla="*/ 0 h 22"/>
              <a:gd name="T24" fmla="*/ 40 w 41"/>
              <a:gd name="T25" fmla="*/ 2 h 22"/>
              <a:gd name="T26" fmla="*/ 41 w 41"/>
              <a:gd name="T27" fmla="*/ 3 h 22"/>
              <a:gd name="T28" fmla="*/ 39 w 41"/>
              <a:gd name="T29" fmla="*/ 7 h 22"/>
              <a:gd name="T30" fmla="*/ 33 w 41"/>
              <a:gd name="T31" fmla="*/ 9 h 22"/>
              <a:gd name="T32" fmla="*/ 27 w 41"/>
              <a:gd name="T33" fmla="*/ 13 h 22"/>
              <a:gd name="T34" fmla="*/ 22 w 41"/>
              <a:gd name="T35" fmla="*/ 14 h 22"/>
              <a:gd name="T36" fmla="*/ 18 w 41"/>
              <a:gd name="T37" fmla="*/ 16 h 22"/>
              <a:gd name="T38" fmla="*/ 12 w 41"/>
              <a:gd name="T39" fmla="*/ 18 h 22"/>
              <a:gd name="T40" fmla="*/ 7 w 41"/>
              <a:gd name="T41" fmla="*/ 22 h 22"/>
              <a:gd name="T42" fmla="*/ 6 w 41"/>
              <a:gd name="T43" fmla="*/ 20 h 22"/>
              <a:gd name="T44" fmla="*/ 0 w 41"/>
              <a:gd name="T45" fmla="*/ 14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1" h="22">
                <a:moveTo>
                  <a:pt x="0" y="14"/>
                </a:moveTo>
                <a:lnTo>
                  <a:pt x="1" y="14"/>
                </a:lnTo>
                <a:lnTo>
                  <a:pt x="5" y="10"/>
                </a:lnTo>
                <a:lnTo>
                  <a:pt x="7" y="6"/>
                </a:lnTo>
                <a:lnTo>
                  <a:pt x="9" y="6"/>
                </a:lnTo>
                <a:lnTo>
                  <a:pt x="18" y="5"/>
                </a:lnTo>
                <a:lnTo>
                  <a:pt x="19" y="4"/>
                </a:lnTo>
                <a:lnTo>
                  <a:pt x="22" y="4"/>
                </a:lnTo>
                <a:lnTo>
                  <a:pt x="30" y="4"/>
                </a:lnTo>
                <a:lnTo>
                  <a:pt x="33" y="3"/>
                </a:lnTo>
                <a:lnTo>
                  <a:pt x="36" y="2"/>
                </a:lnTo>
                <a:lnTo>
                  <a:pt x="38" y="0"/>
                </a:lnTo>
                <a:lnTo>
                  <a:pt x="40" y="2"/>
                </a:lnTo>
                <a:lnTo>
                  <a:pt x="41" y="3"/>
                </a:lnTo>
                <a:lnTo>
                  <a:pt x="39" y="7"/>
                </a:lnTo>
                <a:lnTo>
                  <a:pt x="33" y="9"/>
                </a:lnTo>
                <a:lnTo>
                  <a:pt x="27" y="13"/>
                </a:lnTo>
                <a:lnTo>
                  <a:pt x="22" y="14"/>
                </a:lnTo>
                <a:lnTo>
                  <a:pt x="18" y="16"/>
                </a:lnTo>
                <a:lnTo>
                  <a:pt x="12" y="18"/>
                </a:lnTo>
                <a:lnTo>
                  <a:pt x="7" y="22"/>
                </a:lnTo>
                <a:lnTo>
                  <a:pt x="6" y="20"/>
                </a:lnTo>
                <a:lnTo>
                  <a:pt x="0" y="1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05" name="Freeform 1305"/>
          <p:cNvSpPr>
            <a:spLocks/>
          </p:cNvSpPr>
          <p:nvPr/>
        </p:nvSpPr>
        <p:spPr bwMode="auto">
          <a:xfrm>
            <a:off x="7513637" y="3817903"/>
            <a:ext cx="65087" cy="34925"/>
          </a:xfrm>
          <a:custGeom>
            <a:avLst/>
            <a:gdLst>
              <a:gd name="T0" fmla="*/ 0 w 41"/>
              <a:gd name="T1" fmla="*/ 14 h 22"/>
              <a:gd name="T2" fmla="*/ 1 w 41"/>
              <a:gd name="T3" fmla="*/ 14 h 22"/>
              <a:gd name="T4" fmla="*/ 5 w 41"/>
              <a:gd name="T5" fmla="*/ 10 h 22"/>
              <a:gd name="T6" fmla="*/ 7 w 41"/>
              <a:gd name="T7" fmla="*/ 6 h 22"/>
              <a:gd name="T8" fmla="*/ 9 w 41"/>
              <a:gd name="T9" fmla="*/ 6 h 22"/>
              <a:gd name="T10" fmla="*/ 18 w 41"/>
              <a:gd name="T11" fmla="*/ 5 h 22"/>
              <a:gd name="T12" fmla="*/ 19 w 41"/>
              <a:gd name="T13" fmla="*/ 4 h 22"/>
              <a:gd name="T14" fmla="*/ 22 w 41"/>
              <a:gd name="T15" fmla="*/ 4 h 22"/>
              <a:gd name="T16" fmla="*/ 30 w 41"/>
              <a:gd name="T17" fmla="*/ 4 h 22"/>
              <a:gd name="T18" fmla="*/ 33 w 41"/>
              <a:gd name="T19" fmla="*/ 3 h 22"/>
              <a:gd name="T20" fmla="*/ 36 w 41"/>
              <a:gd name="T21" fmla="*/ 2 h 22"/>
              <a:gd name="T22" fmla="*/ 38 w 41"/>
              <a:gd name="T23" fmla="*/ 0 h 22"/>
              <a:gd name="T24" fmla="*/ 40 w 41"/>
              <a:gd name="T25" fmla="*/ 2 h 22"/>
              <a:gd name="T26" fmla="*/ 41 w 41"/>
              <a:gd name="T27" fmla="*/ 3 h 22"/>
              <a:gd name="T28" fmla="*/ 39 w 41"/>
              <a:gd name="T29" fmla="*/ 7 h 22"/>
              <a:gd name="T30" fmla="*/ 33 w 41"/>
              <a:gd name="T31" fmla="*/ 9 h 22"/>
              <a:gd name="T32" fmla="*/ 27 w 41"/>
              <a:gd name="T33" fmla="*/ 13 h 22"/>
              <a:gd name="T34" fmla="*/ 22 w 41"/>
              <a:gd name="T35" fmla="*/ 14 h 22"/>
              <a:gd name="T36" fmla="*/ 18 w 41"/>
              <a:gd name="T37" fmla="*/ 16 h 22"/>
              <a:gd name="T38" fmla="*/ 12 w 41"/>
              <a:gd name="T39" fmla="*/ 18 h 22"/>
              <a:gd name="T40" fmla="*/ 7 w 41"/>
              <a:gd name="T41" fmla="*/ 22 h 22"/>
              <a:gd name="T42" fmla="*/ 6 w 41"/>
              <a:gd name="T43" fmla="*/ 2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1" h="22">
                <a:moveTo>
                  <a:pt x="0" y="14"/>
                </a:moveTo>
                <a:lnTo>
                  <a:pt x="1" y="14"/>
                </a:lnTo>
                <a:lnTo>
                  <a:pt x="5" y="10"/>
                </a:lnTo>
                <a:lnTo>
                  <a:pt x="7" y="6"/>
                </a:lnTo>
                <a:lnTo>
                  <a:pt x="9" y="6"/>
                </a:lnTo>
                <a:lnTo>
                  <a:pt x="18" y="5"/>
                </a:lnTo>
                <a:lnTo>
                  <a:pt x="19" y="4"/>
                </a:lnTo>
                <a:lnTo>
                  <a:pt x="22" y="4"/>
                </a:lnTo>
                <a:lnTo>
                  <a:pt x="30" y="4"/>
                </a:lnTo>
                <a:lnTo>
                  <a:pt x="33" y="3"/>
                </a:lnTo>
                <a:lnTo>
                  <a:pt x="36" y="2"/>
                </a:lnTo>
                <a:lnTo>
                  <a:pt x="38" y="0"/>
                </a:lnTo>
                <a:lnTo>
                  <a:pt x="40" y="2"/>
                </a:lnTo>
                <a:lnTo>
                  <a:pt x="41" y="3"/>
                </a:lnTo>
                <a:lnTo>
                  <a:pt x="39" y="7"/>
                </a:lnTo>
                <a:lnTo>
                  <a:pt x="33" y="9"/>
                </a:lnTo>
                <a:lnTo>
                  <a:pt x="27" y="13"/>
                </a:lnTo>
                <a:lnTo>
                  <a:pt x="22" y="14"/>
                </a:lnTo>
                <a:lnTo>
                  <a:pt x="18" y="16"/>
                </a:lnTo>
                <a:lnTo>
                  <a:pt x="12" y="18"/>
                </a:lnTo>
                <a:lnTo>
                  <a:pt x="7" y="22"/>
                </a:lnTo>
                <a:lnTo>
                  <a:pt x="6" y="2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06" name="Freeform 1306"/>
          <p:cNvSpPr>
            <a:spLocks/>
          </p:cNvSpPr>
          <p:nvPr/>
        </p:nvSpPr>
        <p:spPr bwMode="auto">
          <a:xfrm>
            <a:off x="7480300" y="3840128"/>
            <a:ext cx="42862" cy="36513"/>
          </a:xfrm>
          <a:custGeom>
            <a:avLst/>
            <a:gdLst>
              <a:gd name="T0" fmla="*/ 27 w 27"/>
              <a:gd name="T1" fmla="*/ 6 h 23"/>
              <a:gd name="T2" fmla="*/ 27 w 27"/>
              <a:gd name="T3" fmla="*/ 8 h 23"/>
              <a:gd name="T4" fmla="*/ 24 w 27"/>
              <a:gd name="T5" fmla="*/ 11 h 23"/>
              <a:gd name="T6" fmla="*/ 21 w 27"/>
              <a:gd name="T7" fmla="*/ 14 h 23"/>
              <a:gd name="T8" fmla="*/ 19 w 27"/>
              <a:gd name="T9" fmla="*/ 18 h 23"/>
              <a:gd name="T10" fmla="*/ 17 w 27"/>
              <a:gd name="T11" fmla="*/ 19 h 23"/>
              <a:gd name="T12" fmla="*/ 14 w 27"/>
              <a:gd name="T13" fmla="*/ 20 h 23"/>
              <a:gd name="T14" fmla="*/ 12 w 27"/>
              <a:gd name="T15" fmla="*/ 21 h 23"/>
              <a:gd name="T16" fmla="*/ 9 w 27"/>
              <a:gd name="T17" fmla="*/ 22 h 23"/>
              <a:gd name="T18" fmla="*/ 7 w 27"/>
              <a:gd name="T19" fmla="*/ 23 h 23"/>
              <a:gd name="T20" fmla="*/ 5 w 27"/>
              <a:gd name="T21" fmla="*/ 23 h 23"/>
              <a:gd name="T22" fmla="*/ 1 w 27"/>
              <a:gd name="T23" fmla="*/ 23 h 23"/>
              <a:gd name="T24" fmla="*/ 0 w 27"/>
              <a:gd name="T25" fmla="*/ 21 h 23"/>
              <a:gd name="T26" fmla="*/ 2 w 27"/>
              <a:gd name="T27" fmla="*/ 19 h 23"/>
              <a:gd name="T28" fmla="*/ 3 w 27"/>
              <a:gd name="T29" fmla="*/ 16 h 23"/>
              <a:gd name="T30" fmla="*/ 2 w 27"/>
              <a:gd name="T31" fmla="*/ 14 h 23"/>
              <a:gd name="T32" fmla="*/ 3 w 27"/>
              <a:gd name="T33" fmla="*/ 10 h 23"/>
              <a:gd name="T34" fmla="*/ 6 w 27"/>
              <a:gd name="T35" fmla="*/ 8 h 23"/>
              <a:gd name="T36" fmla="*/ 8 w 27"/>
              <a:gd name="T37" fmla="*/ 5 h 23"/>
              <a:gd name="T38" fmla="*/ 11 w 27"/>
              <a:gd name="T39" fmla="*/ 4 h 23"/>
              <a:gd name="T40" fmla="*/ 13 w 27"/>
              <a:gd name="T41" fmla="*/ 3 h 23"/>
              <a:gd name="T42" fmla="*/ 16 w 27"/>
              <a:gd name="T43" fmla="*/ 2 h 23"/>
              <a:gd name="T44" fmla="*/ 18 w 27"/>
              <a:gd name="T45" fmla="*/ 1 h 23"/>
              <a:gd name="T46" fmla="*/ 20 w 27"/>
              <a:gd name="T47" fmla="*/ 1 h 23"/>
              <a:gd name="T48" fmla="*/ 21 w 27"/>
              <a:gd name="T49" fmla="*/ 0 h 23"/>
              <a:gd name="T50" fmla="*/ 27 w 27"/>
              <a:gd name="T51" fmla="*/ 6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7" h="23">
                <a:moveTo>
                  <a:pt x="27" y="6"/>
                </a:moveTo>
                <a:lnTo>
                  <a:pt x="27" y="8"/>
                </a:lnTo>
                <a:lnTo>
                  <a:pt x="24" y="11"/>
                </a:lnTo>
                <a:lnTo>
                  <a:pt x="21" y="14"/>
                </a:lnTo>
                <a:lnTo>
                  <a:pt x="19" y="18"/>
                </a:lnTo>
                <a:lnTo>
                  <a:pt x="17" y="19"/>
                </a:lnTo>
                <a:lnTo>
                  <a:pt x="14" y="20"/>
                </a:lnTo>
                <a:lnTo>
                  <a:pt x="12" y="21"/>
                </a:lnTo>
                <a:lnTo>
                  <a:pt x="9" y="22"/>
                </a:lnTo>
                <a:lnTo>
                  <a:pt x="7" y="23"/>
                </a:lnTo>
                <a:lnTo>
                  <a:pt x="5" y="23"/>
                </a:lnTo>
                <a:lnTo>
                  <a:pt x="1" y="23"/>
                </a:lnTo>
                <a:lnTo>
                  <a:pt x="0" y="21"/>
                </a:lnTo>
                <a:lnTo>
                  <a:pt x="2" y="19"/>
                </a:lnTo>
                <a:lnTo>
                  <a:pt x="3" y="16"/>
                </a:lnTo>
                <a:lnTo>
                  <a:pt x="2" y="14"/>
                </a:lnTo>
                <a:lnTo>
                  <a:pt x="3" y="10"/>
                </a:lnTo>
                <a:lnTo>
                  <a:pt x="6" y="8"/>
                </a:lnTo>
                <a:lnTo>
                  <a:pt x="8" y="5"/>
                </a:lnTo>
                <a:lnTo>
                  <a:pt x="11" y="4"/>
                </a:lnTo>
                <a:lnTo>
                  <a:pt x="13" y="3"/>
                </a:lnTo>
                <a:lnTo>
                  <a:pt x="16" y="2"/>
                </a:lnTo>
                <a:lnTo>
                  <a:pt x="18" y="1"/>
                </a:lnTo>
                <a:lnTo>
                  <a:pt x="20" y="1"/>
                </a:lnTo>
                <a:lnTo>
                  <a:pt x="21" y="0"/>
                </a:lnTo>
                <a:lnTo>
                  <a:pt x="27" y="6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07" name="Freeform 1307"/>
          <p:cNvSpPr>
            <a:spLocks/>
          </p:cNvSpPr>
          <p:nvPr/>
        </p:nvSpPr>
        <p:spPr bwMode="auto">
          <a:xfrm>
            <a:off x="7480300" y="3840128"/>
            <a:ext cx="42862" cy="36513"/>
          </a:xfrm>
          <a:custGeom>
            <a:avLst/>
            <a:gdLst>
              <a:gd name="T0" fmla="*/ 27 w 27"/>
              <a:gd name="T1" fmla="*/ 6 h 23"/>
              <a:gd name="T2" fmla="*/ 27 w 27"/>
              <a:gd name="T3" fmla="*/ 8 h 23"/>
              <a:gd name="T4" fmla="*/ 24 w 27"/>
              <a:gd name="T5" fmla="*/ 11 h 23"/>
              <a:gd name="T6" fmla="*/ 21 w 27"/>
              <a:gd name="T7" fmla="*/ 14 h 23"/>
              <a:gd name="T8" fmla="*/ 19 w 27"/>
              <a:gd name="T9" fmla="*/ 18 h 23"/>
              <a:gd name="T10" fmla="*/ 17 w 27"/>
              <a:gd name="T11" fmla="*/ 19 h 23"/>
              <a:gd name="T12" fmla="*/ 14 w 27"/>
              <a:gd name="T13" fmla="*/ 20 h 23"/>
              <a:gd name="T14" fmla="*/ 12 w 27"/>
              <a:gd name="T15" fmla="*/ 21 h 23"/>
              <a:gd name="T16" fmla="*/ 9 w 27"/>
              <a:gd name="T17" fmla="*/ 22 h 23"/>
              <a:gd name="T18" fmla="*/ 7 w 27"/>
              <a:gd name="T19" fmla="*/ 23 h 23"/>
              <a:gd name="T20" fmla="*/ 5 w 27"/>
              <a:gd name="T21" fmla="*/ 23 h 23"/>
              <a:gd name="T22" fmla="*/ 1 w 27"/>
              <a:gd name="T23" fmla="*/ 23 h 23"/>
              <a:gd name="T24" fmla="*/ 0 w 27"/>
              <a:gd name="T25" fmla="*/ 21 h 23"/>
              <a:gd name="T26" fmla="*/ 2 w 27"/>
              <a:gd name="T27" fmla="*/ 19 h 23"/>
              <a:gd name="T28" fmla="*/ 3 w 27"/>
              <a:gd name="T29" fmla="*/ 16 h 23"/>
              <a:gd name="T30" fmla="*/ 2 w 27"/>
              <a:gd name="T31" fmla="*/ 14 h 23"/>
              <a:gd name="T32" fmla="*/ 3 w 27"/>
              <a:gd name="T33" fmla="*/ 10 h 23"/>
              <a:gd name="T34" fmla="*/ 6 w 27"/>
              <a:gd name="T35" fmla="*/ 8 h 23"/>
              <a:gd name="T36" fmla="*/ 8 w 27"/>
              <a:gd name="T37" fmla="*/ 5 h 23"/>
              <a:gd name="T38" fmla="*/ 11 w 27"/>
              <a:gd name="T39" fmla="*/ 4 h 23"/>
              <a:gd name="T40" fmla="*/ 13 w 27"/>
              <a:gd name="T41" fmla="*/ 3 h 23"/>
              <a:gd name="T42" fmla="*/ 16 w 27"/>
              <a:gd name="T43" fmla="*/ 2 h 23"/>
              <a:gd name="T44" fmla="*/ 18 w 27"/>
              <a:gd name="T45" fmla="*/ 1 h 23"/>
              <a:gd name="T46" fmla="*/ 20 w 27"/>
              <a:gd name="T47" fmla="*/ 1 h 23"/>
              <a:gd name="T48" fmla="*/ 21 w 27"/>
              <a:gd name="T49" fmla="*/ 0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7" h="23">
                <a:moveTo>
                  <a:pt x="27" y="6"/>
                </a:moveTo>
                <a:lnTo>
                  <a:pt x="27" y="8"/>
                </a:lnTo>
                <a:lnTo>
                  <a:pt x="24" y="11"/>
                </a:lnTo>
                <a:lnTo>
                  <a:pt x="21" y="14"/>
                </a:lnTo>
                <a:lnTo>
                  <a:pt x="19" y="18"/>
                </a:lnTo>
                <a:lnTo>
                  <a:pt x="17" y="19"/>
                </a:lnTo>
                <a:lnTo>
                  <a:pt x="14" y="20"/>
                </a:lnTo>
                <a:lnTo>
                  <a:pt x="12" y="21"/>
                </a:lnTo>
                <a:lnTo>
                  <a:pt x="9" y="22"/>
                </a:lnTo>
                <a:lnTo>
                  <a:pt x="7" y="23"/>
                </a:lnTo>
                <a:lnTo>
                  <a:pt x="5" y="23"/>
                </a:lnTo>
                <a:lnTo>
                  <a:pt x="1" y="23"/>
                </a:lnTo>
                <a:lnTo>
                  <a:pt x="0" y="21"/>
                </a:lnTo>
                <a:lnTo>
                  <a:pt x="2" y="19"/>
                </a:lnTo>
                <a:lnTo>
                  <a:pt x="3" y="16"/>
                </a:lnTo>
                <a:lnTo>
                  <a:pt x="2" y="14"/>
                </a:lnTo>
                <a:lnTo>
                  <a:pt x="3" y="10"/>
                </a:lnTo>
                <a:lnTo>
                  <a:pt x="6" y="8"/>
                </a:lnTo>
                <a:lnTo>
                  <a:pt x="8" y="5"/>
                </a:lnTo>
                <a:lnTo>
                  <a:pt x="11" y="4"/>
                </a:lnTo>
                <a:lnTo>
                  <a:pt x="13" y="3"/>
                </a:lnTo>
                <a:lnTo>
                  <a:pt x="16" y="2"/>
                </a:lnTo>
                <a:lnTo>
                  <a:pt x="18" y="1"/>
                </a:lnTo>
                <a:lnTo>
                  <a:pt x="20" y="1"/>
                </a:lnTo>
                <a:lnTo>
                  <a:pt x="2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08" name="Freeform 1308"/>
          <p:cNvSpPr>
            <a:spLocks/>
          </p:cNvSpPr>
          <p:nvPr/>
        </p:nvSpPr>
        <p:spPr bwMode="auto">
          <a:xfrm>
            <a:off x="7462837" y="3879815"/>
            <a:ext cx="14287" cy="14288"/>
          </a:xfrm>
          <a:custGeom>
            <a:avLst/>
            <a:gdLst>
              <a:gd name="T0" fmla="*/ 0 w 9"/>
              <a:gd name="T1" fmla="*/ 8 h 9"/>
              <a:gd name="T2" fmla="*/ 0 w 9"/>
              <a:gd name="T3" fmla="*/ 6 h 9"/>
              <a:gd name="T4" fmla="*/ 2 w 9"/>
              <a:gd name="T5" fmla="*/ 6 h 9"/>
              <a:gd name="T6" fmla="*/ 7 w 9"/>
              <a:gd name="T7" fmla="*/ 3 h 9"/>
              <a:gd name="T8" fmla="*/ 9 w 9"/>
              <a:gd name="T9" fmla="*/ 0 h 9"/>
              <a:gd name="T10" fmla="*/ 9 w 9"/>
              <a:gd name="T11" fmla="*/ 3 h 9"/>
              <a:gd name="T12" fmla="*/ 8 w 9"/>
              <a:gd name="T13" fmla="*/ 5 h 9"/>
              <a:gd name="T14" fmla="*/ 6 w 9"/>
              <a:gd name="T15" fmla="*/ 7 h 9"/>
              <a:gd name="T16" fmla="*/ 2 w 9"/>
              <a:gd name="T17" fmla="*/ 8 h 9"/>
              <a:gd name="T18" fmla="*/ 1 w 9"/>
              <a:gd name="T19" fmla="*/ 9 h 9"/>
              <a:gd name="T20" fmla="*/ 0 w 9"/>
              <a:gd name="T21" fmla="*/ 8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" h="9">
                <a:moveTo>
                  <a:pt x="0" y="8"/>
                </a:moveTo>
                <a:lnTo>
                  <a:pt x="0" y="6"/>
                </a:lnTo>
                <a:lnTo>
                  <a:pt x="2" y="6"/>
                </a:lnTo>
                <a:lnTo>
                  <a:pt x="7" y="3"/>
                </a:lnTo>
                <a:lnTo>
                  <a:pt x="9" y="0"/>
                </a:lnTo>
                <a:lnTo>
                  <a:pt x="9" y="3"/>
                </a:lnTo>
                <a:lnTo>
                  <a:pt x="8" y="5"/>
                </a:lnTo>
                <a:lnTo>
                  <a:pt x="6" y="7"/>
                </a:lnTo>
                <a:lnTo>
                  <a:pt x="2" y="8"/>
                </a:lnTo>
                <a:lnTo>
                  <a:pt x="1" y="9"/>
                </a:lnTo>
                <a:lnTo>
                  <a:pt x="0" y="8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09" name="Freeform 1309"/>
          <p:cNvSpPr>
            <a:spLocks/>
          </p:cNvSpPr>
          <p:nvPr/>
        </p:nvSpPr>
        <p:spPr bwMode="auto">
          <a:xfrm>
            <a:off x="7462837" y="3879815"/>
            <a:ext cx="14287" cy="14288"/>
          </a:xfrm>
          <a:custGeom>
            <a:avLst/>
            <a:gdLst>
              <a:gd name="T0" fmla="*/ 0 w 9"/>
              <a:gd name="T1" fmla="*/ 8 h 9"/>
              <a:gd name="T2" fmla="*/ 0 w 9"/>
              <a:gd name="T3" fmla="*/ 6 h 9"/>
              <a:gd name="T4" fmla="*/ 2 w 9"/>
              <a:gd name="T5" fmla="*/ 6 h 9"/>
              <a:gd name="T6" fmla="*/ 7 w 9"/>
              <a:gd name="T7" fmla="*/ 3 h 9"/>
              <a:gd name="T8" fmla="*/ 9 w 9"/>
              <a:gd name="T9" fmla="*/ 0 h 9"/>
              <a:gd name="T10" fmla="*/ 9 w 9"/>
              <a:gd name="T11" fmla="*/ 3 h 9"/>
              <a:gd name="T12" fmla="*/ 8 w 9"/>
              <a:gd name="T13" fmla="*/ 5 h 9"/>
              <a:gd name="T14" fmla="*/ 6 w 9"/>
              <a:gd name="T15" fmla="*/ 7 h 9"/>
              <a:gd name="T16" fmla="*/ 2 w 9"/>
              <a:gd name="T17" fmla="*/ 8 h 9"/>
              <a:gd name="T18" fmla="*/ 1 w 9"/>
              <a:gd name="T19" fmla="*/ 9 h 9"/>
              <a:gd name="T20" fmla="*/ 0 w 9"/>
              <a:gd name="T21" fmla="*/ 8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9" h="9">
                <a:moveTo>
                  <a:pt x="0" y="8"/>
                </a:moveTo>
                <a:lnTo>
                  <a:pt x="0" y="6"/>
                </a:lnTo>
                <a:lnTo>
                  <a:pt x="2" y="6"/>
                </a:lnTo>
                <a:lnTo>
                  <a:pt x="7" y="3"/>
                </a:lnTo>
                <a:lnTo>
                  <a:pt x="9" y="0"/>
                </a:lnTo>
                <a:lnTo>
                  <a:pt x="9" y="3"/>
                </a:lnTo>
                <a:lnTo>
                  <a:pt x="8" y="5"/>
                </a:lnTo>
                <a:lnTo>
                  <a:pt x="6" y="7"/>
                </a:lnTo>
                <a:lnTo>
                  <a:pt x="2" y="8"/>
                </a:lnTo>
                <a:lnTo>
                  <a:pt x="1" y="9"/>
                </a:lnTo>
                <a:lnTo>
                  <a:pt x="0" y="8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10" name="Freeform 1310"/>
          <p:cNvSpPr>
            <a:spLocks/>
          </p:cNvSpPr>
          <p:nvPr/>
        </p:nvSpPr>
        <p:spPr bwMode="auto">
          <a:xfrm>
            <a:off x="7508875" y="3813140"/>
            <a:ext cx="15875" cy="9525"/>
          </a:xfrm>
          <a:custGeom>
            <a:avLst/>
            <a:gdLst>
              <a:gd name="T0" fmla="*/ 0 w 10"/>
              <a:gd name="T1" fmla="*/ 1 h 6"/>
              <a:gd name="T2" fmla="*/ 1 w 10"/>
              <a:gd name="T3" fmla="*/ 0 h 6"/>
              <a:gd name="T4" fmla="*/ 3 w 10"/>
              <a:gd name="T5" fmla="*/ 1 h 6"/>
              <a:gd name="T6" fmla="*/ 9 w 10"/>
              <a:gd name="T7" fmla="*/ 0 h 6"/>
              <a:gd name="T8" fmla="*/ 10 w 10"/>
              <a:gd name="T9" fmla="*/ 2 h 6"/>
              <a:gd name="T10" fmla="*/ 9 w 10"/>
              <a:gd name="T11" fmla="*/ 5 h 6"/>
              <a:gd name="T12" fmla="*/ 6 w 10"/>
              <a:gd name="T13" fmla="*/ 6 h 6"/>
              <a:gd name="T14" fmla="*/ 1 w 10"/>
              <a:gd name="T15" fmla="*/ 6 h 6"/>
              <a:gd name="T16" fmla="*/ 0 w 10"/>
              <a:gd name="T17" fmla="*/ 5 h 6"/>
              <a:gd name="T18" fmla="*/ 1 w 10"/>
              <a:gd name="T19" fmla="*/ 2 h 6"/>
              <a:gd name="T20" fmla="*/ 0 w 10"/>
              <a:gd name="T21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" h="6">
                <a:moveTo>
                  <a:pt x="0" y="1"/>
                </a:moveTo>
                <a:lnTo>
                  <a:pt x="1" y="0"/>
                </a:lnTo>
                <a:lnTo>
                  <a:pt x="3" y="1"/>
                </a:lnTo>
                <a:lnTo>
                  <a:pt x="9" y="0"/>
                </a:lnTo>
                <a:lnTo>
                  <a:pt x="10" y="2"/>
                </a:lnTo>
                <a:lnTo>
                  <a:pt x="9" y="5"/>
                </a:lnTo>
                <a:lnTo>
                  <a:pt x="6" y="6"/>
                </a:lnTo>
                <a:lnTo>
                  <a:pt x="1" y="6"/>
                </a:lnTo>
                <a:lnTo>
                  <a:pt x="0" y="5"/>
                </a:lnTo>
                <a:lnTo>
                  <a:pt x="1" y="2"/>
                </a:lnTo>
                <a:lnTo>
                  <a:pt x="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11" name="Freeform 1311"/>
          <p:cNvSpPr>
            <a:spLocks/>
          </p:cNvSpPr>
          <p:nvPr/>
        </p:nvSpPr>
        <p:spPr bwMode="auto">
          <a:xfrm>
            <a:off x="7508875" y="3813140"/>
            <a:ext cx="15875" cy="9525"/>
          </a:xfrm>
          <a:custGeom>
            <a:avLst/>
            <a:gdLst>
              <a:gd name="T0" fmla="*/ 0 w 10"/>
              <a:gd name="T1" fmla="*/ 1 h 6"/>
              <a:gd name="T2" fmla="*/ 1 w 10"/>
              <a:gd name="T3" fmla="*/ 0 h 6"/>
              <a:gd name="T4" fmla="*/ 3 w 10"/>
              <a:gd name="T5" fmla="*/ 1 h 6"/>
              <a:gd name="T6" fmla="*/ 9 w 10"/>
              <a:gd name="T7" fmla="*/ 0 h 6"/>
              <a:gd name="T8" fmla="*/ 10 w 10"/>
              <a:gd name="T9" fmla="*/ 2 h 6"/>
              <a:gd name="T10" fmla="*/ 9 w 10"/>
              <a:gd name="T11" fmla="*/ 5 h 6"/>
              <a:gd name="T12" fmla="*/ 6 w 10"/>
              <a:gd name="T13" fmla="*/ 6 h 6"/>
              <a:gd name="T14" fmla="*/ 1 w 10"/>
              <a:gd name="T15" fmla="*/ 6 h 6"/>
              <a:gd name="T16" fmla="*/ 0 w 10"/>
              <a:gd name="T17" fmla="*/ 5 h 6"/>
              <a:gd name="T18" fmla="*/ 1 w 10"/>
              <a:gd name="T19" fmla="*/ 2 h 6"/>
              <a:gd name="T20" fmla="*/ 0 w 10"/>
              <a:gd name="T21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" h="6">
                <a:moveTo>
                  <a:pt x="0" y="1"/>
                </a:moveTo>
                <a:lnTo>
                  <a:pt x="1" y="0"/>
                </a:lnTo>
                <a:lnTo>
                  <a:pt x="3" y="1"/>
                </a:lnTo>
                <a:lnTo>
                  <a:pt x="9" y="0"/>
                </a:lnTo>
                <a:lnTo>
                  <a:pt x="10" y="2"/>
                </a:lnTo>
                <a:lnTo>
                  <a:pt x="9" y="5"/>
                </a:lnTo>
                <a:lnTo>
                  <a:pt x="6" y="6"/>
                </a:lnTo>
                <a:lnTo>
                  <a:pt x="1" y="6"/>
                </a:lnTo>
                <a:lnTo>
                  <a:pt x="0" y="5"/>
                </a:lnTo>
                <a:lnTo>
                  <a:pt x="1" y="2"/>
                </a:lnTo>
                <a:lnTo>
                  <a:pt x="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12" name="Freeform 1312"/>
          <p:cNvSpPr>
            <a:spLocks/>
          </p:cNvSpPr>
          <p:nvPr/>
        </p:nvSpPr>
        <p:spPr bwMode="auto">
          <a:xfrm>
            <a:off x="7496175" y="3814728"/>
            <a:ext cx="6350" cy="11113"/>
          </a:xfrm>
          <a:custGeom>
            <a:avLst/>
            <a:gdLst>
              <a:gd name="T0" fmla="*/ 0 w 4"/>
              <a:gd name="T1" fmla="*/ 5 h 7"/>
              <a:gd name="T2" fmla="*/ 0 w 4"/>
              <a:gd name="T3" fmla="*/ 2 h 7"/>
              <a:gd name="T4" fmla="*/ 3 w 4"/>
              <a:gd name="T5" fmla="*/ 1 h 7"/>
              <a:gd name="T6" fmla="*/ 4 w 4"/>
              <a:gd name="T7" fmla="*/ 0 h 7"/>
              <a:gd name="T8" fmla="*/ 4 w 4"/>
              <a:gd name="T9" fmla="*/ 2 h 7"/>
              <a:gd name="T10" fmla="*/ 2 w 4"/>
              <a:gd name="T11" fmla="*/ 7 h 7"/>
              <a:gd name="T12" fmla="*/ 1 w 4"/>
              <a:gd name="T13" fmla="*/ 5 h 7"/>
              <a:gd name="T14" fmla="*/ 0 w 4"/>
              <a:gd name="T15" fmla="*/ 5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7">
                <a:moveTo>
                  <a:pt x="0" y="5"/>
                </a:moveTo>
                <a:lnTo>
                  <a:pt x="0" y="2"/>
                </a:lnTo>
                <a:lnTo>
                  <a:pt x="3" y="1"/>
                </a:lnTo>
                <a:lnTo>
                  <a:pt x="4" y="0"/>
                </a:lnTo>
                <a:lnTo>
                  <a:pt x="4" y="2"/>
                </a:lnTo>
                <a:lnTo>
                  <a:pt x="2" y="7"/>
                </a:lnTo>
                <a:lnTo>
                  <a:pt x="1" y="5"/>
                </a:lnTo>
                <a:lnTo>
                  <a:pt x="0" y="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13" name="Freeform 1313"/>
          <p:cNvSpPr>
            <a:spLocks/>
          </p:cNvSpPr>
          <p:nvPr/>
        </p:nvSpPr>
        <p:spPr bwMode="auto">
          <a:xfrm>
            <a:off x="7496175" y="3814728"/>
            <a:ext cx="6350" cy="11113"/>
          </a:xfrm>
          <a:custGeom>
            <a:avLst/>
            <a:gdLst>
              <a:gd name="T0" fmla="*/ 0 w 4"/>
              <a:gd name="T1" fmla="*/ 5 h 7"/>
              <a:gd name="T2" fmla="*/ 0 w 4"/>
              <a:gd name="T3" fmla="*/ 2 h 7"/>
              <a:gd name="T4" fmla="*/ 3 w 4"/>
              <a:gd name="T5" fmla="*/ 1 h 7"/>
              <a:gd name="T6" fmla="*/ 4 w 4"/>
              <a:gd name="T7" fmla="*/ 0 h 7"/>
              <a:gd name="T8" fmla="*/ 4 w 4"/>
              <a:gd name="T9" fmla="*/ 2 h 7"/>
              <a:gd name="T10" fmla="*/ 2 w 4"/>
              <a:gd name="T11" fmla="*/ 7 h 7"/>
              <a:gd name="T12" fmla="*/ 1 w 4"/>
              <a:gd name="T13" fmla="*/ 5 h 7"/>
              <a:gd name="T14" fmla="*/ 0 w 4"/>
              <a:gd name="T15" fmla="*/ 5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7">
                <a:moveTo>
                  <a:pt x="0" y="5"/>
                </a:moveTo>
                <a:lnTo>
                  <a:pt x="0" y="2"/>
                </a:lnTo>
                <a:lnTo>
                  <a:pt x="3" y="1"/>
                </a:lnTo>
                <a:lnTo>
                  <a:pt x="4" y="0"/>
                </a:lnTo>
                <a:lnTo>
                  <a:pt x="4" y="2"/>
                </a:lnTo>
                <a:lnTo>
                  <a:pt x="2" y="7"/>
                </a:lnTo>
                <a:lnTo>
                  <a:pt x="1" y="5"/>
                </a:lnTo>
                <a:lnTo>
                  <a:pt x="0" y="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14" name="Freeform 1314"/>
          <p:cNvSpPr>
            <a:spLocks/>
          </p:cNvSpPr>
          <p:nvPr/>
        </p:nvSpPr>
        <p:spPr bwMode="auto">
          <a:xfrm>
            <a:off x="7480300" y="3813140"/>
            <a:ext cx="12700" cy="12700"/>
          </a:xfrm>
          <a:custGeom>
            <a:avLst/>
            <a:gdLst>
              <a:gd name="T0" fmla="*/ 0 w 8"/>
              <a:gd name="T1" fmla="*/ 7 h 8"/>
              <a:gd name="T2" fmla="*/ 1 w 8"/>
              <a:gd name="T3" fmla="*/ 2 h 8"/>
              <a:gd name="T4" fmla="*/ 2 w 8"/>
              <a:gd name="T5" fmla="*/ 1 h 8"/>
              <a:gd name="T6" fmla="*/ 2 w 8"/>
              <a:gd name="T7" fmla="*/ 2 h 8"/>
              <a:gd name="T8" fmla="*/ 3 w 8"/>
              <a:gd name="T9" fmla="*/ 3 h 8"/>
              <a:gd name="T10" fmla="*/ 5 w 8"/>
              <a:gd name="T11" fmla="*/ 1 h 8"/>
              <a:gd name="T12" fmla="*/ 7 w 8"/>
              <a:gd name="T13" fmla="*/ 0 h 8"/>
              <a:gd name="T14" fmla="*/ 8 w 8"/>
              <a:gd name="T15" fmla="*/ 2 h 8"/>
              <a:gd name="T16" fmla="*/ 6 w 8"/>
              <a:gd name="T17" fmla="*/ 6 h 8"/>
              <a:gd name="T18" fmla="*/ 5 w 8"/>
              <a:gd name="T19" fmla="*/ 7 h 8"/>
              <a:gd name="T20" fmla="*/ 2 w 8"/>
              <a:gd name="T21" fmla="*/ 8 h 8"/>
              <a:gd name="T22" fmla="*/ 0 w 8"/>
              <a:gd name="T23" fmla="*/ 8 h 8"/>
              <a:gd name="T24" fmla="*/ 0 w 8"/>
              <a:gd name="T25" fmla="*/ 7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" h="8">
                <a:moveTo>
                  <a:pt x="0" y="7"/>
                </a:moveTo>
                <a:lnTo>
                  <a:pt x="1" y="2"/>
                </a:lnTo>
                <a:lnTo>
                  <a:pt x="2" y="1"/>
                </a:lnTo>
                <a:lnTo>
                  <a:pt x="2" y="2"/>
                </a:lnTo>
                <a:lnTo>
                  <a:pt x="3" y="3"/>
                </a:lnTo>
                <a:lnTo>
                  <a:pt x="5" y="1"/>
                </a:lnTo>
                <a:lnTo>
                  <a:pt x="7" y="0"/>
                </a:lnTo>
                <a:lnTo>
                  <a:pt x="8" y="2"/>
                </a:lnTo>
                <a:lnTo>
                  <a:pt x="6" y="6"/>
                </a:lnTo>
                <a:lnTo>
                  <a:pt x="5" y="7"/>
                </a:lnTo>
                <a:lnTo>
                  <a:pt x="2" y="8"/>
                </a:lnTo>
                <a:lnTo>
                  <a:pt x="0" y="8"/>
                </a:lnTo>
                <a:lnTo>
                  <a:pt x="0" y="7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15" name="Freeform 1315"/>
          <p:cNvSpPr>
            <a:spLocks/>
          </p:cNvSpPr>
          <p:nvPr/>
        </p:nvSpPr>
        <p:spPr bwMode="auto">
          <a:xfrm>
            <a:off x="7480300" y="3813140"/>
            <a:ext cx="12700" cy="12700"/>
          </a:xfrm>
          <a:custGeom>
            <a:avLst/>
            <a:gdLst>
              <a:gd name="T0" fmla="*/ 0 w 8"/>
              <a:gd name="T1" fmla="*/ 7 h 8"/>
              <a:gd name="T2" fmla="*/ 1 w 8"/>
              <a:gd name="T3" fmla="*/ 2 h 8"/>
              <a:gd name="T4" fmla="*/ 2 w 8"/>
              <a:gd name="T5" fmla="*/ 1 h 8"/>
              <a:gd name="T6" fmla="*/ 2 w 8"/>
              <a:gd name="T7" fmla="*/ 2 h 8"/>
              <a:gd name="T8" fmla="*/ 3 w 8"/>
              <a:gd name="T9" fmla="*/ 3 h 8"/>
              <a:gd name="T10" fmla="*/ 5 w 8"/>
              <a:gd name="T11" fmla="*/ 1 h 8"/>
              <a:gd name="T12" fmla="*/ 7 w 8"/>
              <a:gd name="T13" fmla="*/ 0 h 8"/>
              <a:gd name="T14" fmla="*/ 8 w 8"/>
              <a:gd name="T15" fmla="*/ 2 h 8"/>
              <a:gd name="T16" fmla="*/ 6 w 8"/>
              <a:gd name="T17" fmla="*/ 6 h 8"/>
              <a:gd name="T18" fmla="*/ 5 w 8"/>
              <a:gd name="T19" fmla="*/ 7 h 8"/>
              <a:gd name="T20" fmla="*/ 2 w 8"/>
              <a:gd name="T21" fmla="*/ 8 h 8"/>
              <a:gd name="T22" fmla="*/ 0 w 8"/>
              <a:gd name="T23" fmla="*/ 8 h 8"/>
              <a:gd name="T24" fmla="*/ 0 w 8"/>
              <a:gd name="T25" fmla="*/ 7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8" h="8">
                <a:moveTo>
                  <a:pt x="0" y="7"/>
                </a:moveTo>
                <a:lnTo>
                  <a:pt x="1" y="2"/>
                </a:lnTo>
                <a:lnTo>
                  <a:pt x="2" y="1"/>
                </a:lnTo>
                <a:lnTo>
                  <a:pt x="2" y="2"/>
                </a:lnTo>
                <a:lnTo>
                  <a:pt x="3" y="3"/>
                </a:lnTo>
                <a:lnTo>
                  <a:pt x="5" y="1"/>
                </a:lnTo>
                <a:lnTo>
                  <a:pt x="7" y="0"/>
                </a:lnTo>
                <a:lnTo>
                  <a:pt x="8" y="2"/>
                </a:lnTo>
                <a:lnTo>
                  <a:pt x="6" y="6"/>
                </a:lnTo>
                <a:lnTo>
                  <a:pt x="5" y="7"/>
                </a:lnTo>
                <a:lnTo>
                  <a:pt x="2" y="8"/>
                </a:lnTo>
                <a:lnTo>
                  <a:pt x="0" y="8"/>
                </a:lnTo>
                <a:lnTo>
                  <a:pt x="0" y="7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16" name="Freeform 1316"/>
          <p:cNvSpPr>
            <a:spLocks/>
          </p:cNvSpPr>
          <p:nvPr/>
        </p:nvSpPr>
        <p:spPr bwMode="auto">
          <a:xfrm>
            <a:off x="7389812" y="3809965"/>
            <a:ext cx="82550" cy="26988"/>
          </a:xfrm>
          <a:custGeom>
            <a:avLst/>
            <a:gdLst>
              <a:gd name="T0" fmla="*/ 3 w 52"/>
              <a:gd name="T1" fmla="*/ 8 h 17"/>
              <a:gd name="T2" fmla="*/ 4 w 52"/>
              <a:gd name="T3" fmla="*/ 8 h 17"/>
              <a:gd name="T4" fmla="*/ 6 w 52"/>
              <a:gd name="T5" fmla="*/ 5 h 17"/>
              <a:gd name="T6" fmla="*/ 9 w 52"/>
              <a:gd name="T7" fmla="*/ 4 h 17"/>
              <a:gd name="T8" fmla="*/ 14 w 52"/>
              <a:gd name="T9" fmla="*/ 3 h 17"/>
              <a:gd name="T10" fmla="*/ 15 w 52"/>
              <a:gd name="T11" fmla="*/ 4 h 17"/>
              <a:gd name="T12" fmla="*/ 18 w 52"/>
              <a:gd name="T13" fmla="*/ 4 h 17"/>
              <a:gd name="T14" fmla="*/ 22 w 52"/>
              <a:gd name="T15" fmla="*/ 5 h 17"/>
              <a:gd name="T16" fmla="*/ 23 w 52"/>
              <a:gd name="T17" fmla="*/ 8 h 17"/>
              <a:gd name="T18" fmla="*/ 27 w 52"/>
              <a:gd name="T19" fmla="*/ 10 h 17"/>
              <a:gd name="T20" fmla="*/ 29 w 52"/>
              <a:gd name="T21" fmla="*/ 9 h 17"/>
              <a:gd name="T22" fmla="*/ 36 w 52"/>
              <a:gd name="T23" fmla="*/ 8 h 17"/>
              <a:gd name="T24" fmla="*/ 37 w 52"/>
              <a:gd name="T25" fmla="*/ 9 h 17"/>
              <a:gd name="T26" fmla="*/ 38 w 52"/>
              <a:gd name="T27" fmla="*/ 10 h 17"/>
              <a:gd name="T28" fmla="*/ 42 w 52"/>
              <a:gd name="T29" fmla="*/ 10 h 17"/>
              <a:gd name="T30" fmla="*/ 44 w 52"/>
              <a:gd name="T31" fmla="*/ 9 h 17"/>
              <a:gd name="T32" fmla="*/ 45 w 52"/>
              <a:gd name="T33" fmla="*/ 7 h 17"/>
              <a:gd name="T34" fmla="*/ 46 w 52"/>
              <a:gd name="T35" fmla="*/ 5 h 17"/>
              <a:gd name="T36" fmla="*/ 48 w 52"/>
              <a:gd name="T37" fmla="*/ 5 h 17"/>
              <a:gd name="T38" fmla="*/ 50 w 52"/>
              <a:gd name="T39" fmla="*/ 4 h 17"/>
              <a:gd name="T40" fmla="*/ 50 w 52"/>
              <a:gd name="T41" fmla="*/ 4 h 17"/>
              <a:gd name="T42" fmla="*/ 49 w 52"/>
              <a:gd name="T43" fmla="*/ 3 h 17"/>
              <a:gd name="T44" fmla="*/ 49 w 52"/>
              <a:gd name="T45" fmla="*/ 0 h 17"/>
              <a:gd name="T46" fmla="*/ 52 w 52"/>
              <a:gd name="T47" fmla="*/ 1 h 17"/>
              <a:gd name="T48" fmla="*/ 52 w 52"/>
              <a:gd name="T49" fmla="*/ 5 h 17"/>
              <a:gd name="T50" fmla="*/ 49 w 52"/>
              <a:gd name="T51" fmla="*/ 8 h 17"/>
              <a:gd name="T52" fmla="*/ 47 w 52"/>
              <a:gd name="T53" fmla="*/ 10 h 17"/>
              <a:gd name="T54" fmla="*/ 44 w 52"/>
              <a:gd name="T55" fmla="*/ 12 h 17"/>
              <a:gd name="T56" fmla="*/ 42 w 52"/>
              <a:gd name="T57" fmla="*/ 13 h 17"/>
              <a:gd name="T58" fmla="*/ 38 w 52"/>
              <a:gd name="T59" fmla="*/ 13 h 17"/>
              <a:gd name="T60" fmla="*/ 34 w 52"/>
              <a:gd name="T61" fmla="*/ 14 h 17"/>
              <a:gd name="T62" fmla="*/ 30 w 52"/>
              <a:gd name="T63" fmla="*/ 14 h 17"/>
              <a:gd name="T64" fmla="*/ 27 w 52"/>
              <a:gd name="T65" fmla="*/ 14 h 17"/>
              <a:gd name="T66" fmla="*/ 24 w 52"/>
              <a:gd name="T67" fmla="*/ 15 h 17"/>
              <a:gd name="T68" fmla="*/ 20 w 52"/>
              <a:gd name="T69" fmla="*/ 17 h 17"/>
              <a:gd name="T70" fmla="*/ 17 w 52"/>
              <a:gd name="T71" fmla="*/ 15 h 17"/>
              <a:gd name="T72" fmla="*/ 13 w 52"/>
              <a:gd name="T73" fmla="*/ 14 h 17"/>
              <a:gd name="T74" fmla="*/ 3 w 52"/>
              <a:gd name="T75" fmla="*/ 14 h 17"/>
              <a:gd name="T76" fmla="*/ 2 w 52"/>
              <a:gd name="T77" fmla="*/ 14 h 17"/>
              <a:gd name="T78" fmla="*/ 0 w 52"/>
              <a:gd name="T79" fmla="*/ 13 h 17"/>
              <a:gd name="T80" fmla="*/ 0 w 52"/>
              <a:gd name="T81" fmla="*/ 10 h 17"/>
              <a:gd name="T82" fmla="*/ 2 w 52"/>
              <a:gd name="T83" fmla="*/ 8 h 17"/>
              <a:gd name="T84" fmla="*/ 3 w 52"/>
              <a:gd name="T85" fmla="*/ 8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2" h="17">
                <a:moveTo>
                  <a:pt x="3" y="8"/>
                </a:moveTo>
                <a:lnTo>
                  <a:pt x="4" y="8"/>
                </a:lnTo>
                <a:lnTo>
                  <a:pt x="6" y="5"/>
                </a:lnTo>
                <a:lnTo>
                  <a:pt x="9" y="4"/>
                </a:lnTo>
                <a:lnTo>
                  <a:pt x="14" y="3"/>
                </a:lnTo>
                <a:lnTo>
                  <a:pt x="15" y="4"/>
                </a:lnTo>
                <a:lnTo>
                  <a:pt x="18" y="4"/>
                </a:lnTo>
                <a:lnTo>
                  <a:pt x="22" y="5"/>
                </a:lnTo>
                <a:lnTo>
                  <a:pt x="23" y="8"/>
                </a:lnTo>
                <a:lnTo>
                  <a:pt x="27" y="10"/>
                </a:lnTo>
                <a:lnTo>
                  <a:pt x="29" y="9"/>
                </a:lnTo>
                <a:lnTo>
                  <a:pt x="36" y="8"/>
                </a:lnTo>
                <a:lnTo>
                  <a:pt x="37" y="9"/>
                </a:lnTo>
                <a:lnTo>
                  <a:pt x="38" y="10"/>
                </a:lnTo>
                <a:lnTo>
                  <a:pt x="42" y="10"/>
                </a:lnTo>
                <a:lnTo>
                  <a:pt x="44" y="9"/>
                </a:lnTo>
                <a:lnTo>
                  <a:pt x="45" y="7"/>
                </a:lnTo>
                <a:lnTo>
                  <a:pt x="46" y="5"/>
                </a:lnTo>
                <a:lnTo>
                  <a:pt x="48" y="5"/>
                </a:lnTo>
                <a:lnTo>
                  <a:pt x="50" y="4"/>
                </a:lnTo>
                <a:lnTo>
                  <a:pt x="50" y="4"/>
                </a:lnTo>
                <a:lnTo>
                  <a:pt x="49" y="3"/>
                </a:lnTo>
                <a:lnTo>
                  <a:pt x="49" y="0"/>
                </a:lnTo>
                <a:lnTo>
                  <a:pt x="52" y="1"/>
                </a:lnTo>
                <a:lnTo>
                  <a:pt x="52" y="5"/>
                </a:lnTo>
                <a:lnTo>
                  <a:pt x="49" y="8"/>
                </a:lnTo>
                <a:lnTo>
                  <a:pt x="47" y="10"/>
                </a:lnTo>
                <a:lnTo>
                  <a:pt x="44" y="12"/>
                </a:lnTo>
                <a:lnTo>
                  <a:pt x="42" y="13"/>
                </a:lnTo>
                <a:lnTo>
                  <a:pt x="38" y="13"/>
                </a:lnTo>
                <a:lnTo>
                  <a:pt x="34" y="14"/>
                </a:lnTo>
                <a:lnTo>
                  <a:pt x="30" y="14"/>
                </a:lnTo>
                <a:lnTo>
                  <a:pt x="27" y="14"/>
                </a:lnTo>
                <a:lnTo>
                  <a:pt x="24" y="15"/>
                </a:lnTo>
                <a:lnTo>
                  <a:pt x="20" y="17"/>
                </a:lnTo>
                <a:lnTo>
                  <a:pt x="17" y="15"/>
                </a:lnTo>
                <a:lnTo>
                  <a:pt x="13" y="14"/>
                </a:lnTo>
                <a:lnTo>
                  <a:pt x="3" y="14"/>
                </a:lnTo>
                <a:lnTo>
                  <a:pt x="2" y="14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8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17" name="Freeform 1317"/>
          <p:cNvSpPr>
            <a:spLocks/>
          </p:cNvSpPr>
          <p:nvPr/>
        </p:nvSpPr>
        <p:spPr bwMode="auto">
          <a:xfrm>
            <a:off x="7389812" y="3809965"/>
            <a:ext cx="82550" cy="26988"/>
          </a:xfrm>
          <a:custGeom>
            <a:avLst/>
            <a:gdLst>
              <a:gd name="T0" fmla="*/ 3 w 52"/>
              <a:gd name="T1" fmla="*/ 8 h 17"/>
              <a:gd name="T2" fmla="*/ 4 w 52"/>
              <a:gd name="T3" fmla="*/ 8 h 17"/>
              <a:gd name="T4" fmla="*/ 6 w 52"/>
              <a:gd name="T5" fmla="*/ 5 h 17"/>
              <a:gd name="T6" fmla="*/ 9 w 52"/>
              <a:gd name="T7" fmla="*/ 4 h 17"/>
              <a:gd name="T8" fmla="*/ 14 w 52"/>
              <a:gd name="T9" fmla="*/ 3 h 17"/>
              <a:gd name="T10" fmla="*/ 15 w 52"/>
              <a:gd name="T11" fmla="*/ 4 h 17"/>
              <a:gd name="T12" fmla="*/ 18 w 52"/>
              <a:gd name="T13" fmla="*/ 4 h 17"/>
              <a:gd name="T14" fmla="*/ 22 w 52"/>
              <a:gd name="T15" fmla="*/ 5 h 17"/>
              <a:gd name="T16" fmla="*/ 23 w 52"/>
              <a:gd name="T17" fmla="*/ 8 h 17"/>
              <a:gd name="T18" fmla="*/ 27 w 52"/>
              <a:gd name="T19" fmla="*/ 10 h 17"/>
              <a:gd name="T20" fmla="*/ 29 w 52"/>
              <a:gd name="T21" fmla="*/ 9 h 17"/>
              <a:gd name="T22" fmla="*/ 36 w 52"/>
              <a:gd name="T23" fmla="*/ 8 h 17"/>
              <a:gd name="T24" fmla="*/ 37 w 52"/>
              <a:gd name="T25" fmla="*/ 9 h 17"/>
              <a:gd name="T26" fmla="*/ 38 w 52"/>
              <a:gd name="T27" fmla="*/ 10 h 17"/>
              <a:gd name="T28" fmla="*/ 42 w 52"/>
              <a:gd name="T29" fmla="*/ 10 h 17"/>
              <a:gd name="T30" fmla="*/ 44 w 52"/>
              <a:gd name="T31" fmla="*/ 9 h 17"/>
              <a:gd name="T32" fmla="*/ 45 w 52"/>
              <a:gd name="T33" fmla="*/ 7 h 17"/>
              <a:gd name="T34" fmla="*/ 46 w 52"/>
              <a:gd name="T35" fmla="*/ 5 h 17"/>
              <a:gd name="T36" fmla="*/ 48 w 52"/>
              <a:gd name="T37" fmla="*/ 5 h 17"/>
              <a:gd name="T38" fmla="*/ 50 w 52"/>
              <a:gd name="T39" fmla="*/ 4 h 17"/>
              <a:gd name="T40" fmla="*/ 50 w 52"/>
              <a:gd name="T41" fmla="*/ 4 h 17"/>
              <a:gd name="T42" fmla="*/ 49 w 52"/>
              <a:gd name="T43" fmla="*/ 3 h 17"/>
              <a:gd name="T44" fmla="*/ 49 w 52"/>
              <a:gd name="T45" fmla="*/ 0 h 17"/>
              <a:gd name="T46" fmla="*/ 52 w 52"/>
              <a:gd name="T47" fmla="*/ 1 h 17"/>
              <a:gd name="T48" fmla="*/ 52 w 52"/>
              <a:gd name="T49" fmla="*/ 5 h 17"/>
              <a:gd name="T50" fmla="*/ 49 w 52"/>
              <a:gd name="T51" fmla="*/ 8 h 17"/>
              <a:gd name="T52" fmla="*/ 47 w 52"/>
              <a:gd name="T53" fmla="*/ 10 h 17"/>
              <a:gd name="T54" fmla="*/ 44 w 52"/>
              <a:gd name="T55" fmla="*/ 12 h 17"/>
              <a:gd name="T56" fmla="*/ 42 w 52"/>
              <a:gd name="T57" fmla="*/ 13 h 17"/>
              <a:gd name="T58" fmla="*/ 38 w 52"/>
              <a:gd name="T59" fmla="*/ 13 h 17"/>
              <a:gd name="T60" fmla="*/ 34 w 52"/>
              <a:gd name="T61" fmla="*/ 14 h 17"/>
              <a:gd name="T62" fmla="*/ 30 w 52"/>
              <a:gd name="T63" fmla="*/ 14 h 17"/>
              <a:gd name="T64" fmla="*/ 27 w 52"/>
              <a:gd name="T65" fmla="*/ 14 h 17"/>
              <a:gd name="T66" fmla="*/ 24 w 52"/>
              <a:gd name="T67" fmla="*/ 15 h 17"/>
              <a:gd name="T68" fmla="*/ 20 w 52"/>
              <a:gd name="T69" fmla="*/ 17 h 17"/>
              <a:gd name="T70" fmla="*/ 17 w 52"/>
              <a:gd name="T71" fmla="*/ 15 h 17"/>
              <a:gd name="T72" fmla="*/ 13 w 52"/>
              <a:gd name="T73" fmla="*/ 14 h 17"/>
              <a:gd name="T74" fmla="*/ 3 w 52"/>
              <a:gd name="T75" fmla="*/ 14 h 17"/>
              <a:gd name="T76" fmla="*/ 2 w 52"/>
              <a:gd name="T77" fmla="*/ 14 h 17"/>
              <a:gd name="T78" fmla="*/ 0 w 52"/>
              <a:gd name="T79" fmla="*/ 13 h 17"/>
              <a:gd name="T80" fmla="*/ 0 w 52"/>
              <a:gd name="T81" fmla="*/ 10 h 17"/>
              <a:gd name="T82" fmla="*/ 2 w 52"/>
              <a:gd name="T83" fmla="*/ 8 h 17"/>
              <a:gd name="T84" fmla="*/ 3 w 52"/>
              <a:gd name="T85" fmla="*/ 8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2" h="17">
                <a:moveTo>
                  <a:pt x="3" y="8"/>
                </a:moveTo>
                <a:lnTo>
                  <a:pt x="4" y="8"/>
                </a:lnTo>
                <a:lnTo>
                  <a:pt x="6" y="5"/>
                </a:lnTo>
                <a:lnTo>
                  <a:pt x="9" y="4"/>
                </a:lnTo>
                <a:lnTo>
                  <a:pt x="14" y="3"/>
                </a:lnTo>
                <a:lnTo>
                  <a:pt x="15" y="4"/>
                </a:lnTo>
                <a:lnTo>
                  <a:pt x="18" y="4"/>
                </a:lnTo>
                <a:lnTo>
                  <a:pt x="22" y="5"/>
                </a:lnTo>
                <a:lnTo>
                  <a:pt x="23" y="8"/>
                </a:lnTo>
                <a:lnTo>
                  <a:pt x="27" y="10"/>
                </a:lnTo>
                <a:lnTo>
                  <a:pt x="29" y="9"/>
                </a:lnTo>
                <a:lnTo>
                  <a:pt x="36" y="8"/>
                </a:lnTo>
                <a:lnTo>
                  <a:pt x="37" y="9"/>
                </a:lnTo>
                <a:lnTo>
                  <a:pt x="38" y="10"/>
                </a:lnTo>
                <a:lnTo>
                  <a:pt x="42" y="10"/>
                </a:lnTo>
                <a:lnTo>
                  <a:pt x="44" y="9"/>
                </a:lnTo>
                <a:lnTo>
                  <a:pt x="45" y="7"/>
                </a:lnTo>
                <a:lnTo>
                  <a:pt x="46" y="5"/>
                </a:lnTo>
                <a:lnTo>
                  <a:pt x="48" y="5"/>
                </a:lnTo>
                <a:lnTo>
                  <a:pt x="50" y="4"/>
                </a:lnTo>
                <a:lnTo>
                  <a:pt x="50" y="4"/>
                </a:lnTo>
                <a:lnTo>
                  <a:pt x="49" y="3"/>
                </a:lnTo>
                <a:lnTo>
                  <a:pt x="49" y="0"/>
                </a:lnTo>
                <a:lnTo>
                  <a:pt x="52" y="1"/>
                </a:lnTo>
                <a:lnTo>
                  <a:pt x="52" y="5"/>
                </a:lnTo>
                <a:lnTo>
                  <a:pt x="49" y="8"/>
                </a:lnTo>
                <a:lnTo>
                  <a:pt x="47" y="10"/>
                </a:lnTo>
                <a:lnTo>
                  <a:pt x="44" y="12"/>
                </a:lnTo>
                <a:lnTo>
                  <a:pt x="42" y="13"/>
                </a:lnTo>
                <a:lnTo>
                  <a:pt x="38" y="13"/>
                </a:lnTo>
                <a:lnTo>
                  <a:pt x="34" y="14"/>
                </a:lnTo>
                <a:lnTo>
                  <a:pt x="30" y="14"/>
                </a:lnTo>
                <a:lnTo>
                  <a:pt x="27" y="14"/>
                </a:lnTo>
                <a:lnTo>
                  <a:pt x="24" y="15"/>
                </a:lnTo>
                <a:lnTo>
                  <a:pt x="20" y="17"/>
                </a:lnTo>
                <a:lnTo>
                  <a:pt x="17" y="15"/>
                </a:lnTo>
                <a:lnTo>
                  <a:pt x="13" y="14"/>
                </a:lnTo>
                <a:lnTo>
                  <a:pt x="3" y="14"/>
                </a:lnTo>
                <a:lnTo>
                  <a:pt x="2" y="14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8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18" name="Freeform 1318"/>
          <p:cNvSpPr>
            <a:spLocks/>
          </p:cNvSpPr>
          <p:nvPr/>
        </p:nvSpPr>
        <p:spPr bwMode="auto">
          <a:xfrm>
            <a:off x="7369175" y="3844890"/>
            <a:ext cx="42862" cy="30163"/>
          </a:xfrm>
          <a:custGeom>
            <a:avLst/>
            <a:gdLst>
              <a:gd name="T0" fmla="*/ 15 w 27"/>
              <a:gd name="T1" fmla="*/ 0 h 19"/>
              <a:gd name="T2" fmla="*/ 17 w 27"/>
              <a:gd name="T3" fmla="*/ 3 h 19"/>
              <a:gd name="T4" fmla="*/ 19 w 27"/>
              <a:gd name="T5" fmla="*/ 3 h 19"/>
              <a:gd name="T6" fmla="*/ 19 w 27"/>
              <a:gd name="T7" fmla="*/ 6 h 19"/>
              <a:gd name="T8" fmla="*/ 21 w 27"/>
              <a:gd name="T9" fmla="*/ 7 h 19"/>
              <a:gd name="T10" fmla="*/ 23 w 27"/>
              <a:gd name="T11" fmla="*/ 9 h 19"/>
              <a:gd name="T12" fmla="*/ 27 w 27"/>
              <a:gd name="T13" fmla="*/ 12 h 19"/>
              <a:gd name="T14" fmla="*/ 27 w 27"/>
              <a:gd name="T15" fmla="*/ 16 h 19"/>
              <a:gd name="T16" fmla="*/ 26 w 27"/>
              <a:gd name="T17" fmla="*/ 18 h 19"/>
              <a:gd name="T18" fmla="*/ 22 w 27"/>
              <a:gd name="T19" fmla="*/ 19 h 19"/>
              <a:gd name="T20" fmla="*/ 18 w 27"/>
              <a:gd name="T21" fmla="*/ 19 h 19"/>
              <a:gd name="T22" fmla="*/ 16 w 27"/>
              <a:gd name="T23" fmla="*/ 15 h 19"/>
              <a:gd name="T24" fmla="*/ 12 w 27"/>
              <a:gd name="T25" fmla="*/ 12 h 19"/>
              <a:gd name="T26" fmla="*/ 9 w 27"/>
              <a:gd name="T27" fmla="*/ 10 h 19"/>
              <a:gd name="T28" fmla="*/ 6 w 27"/>
              <a:gd name="T29" fmla="*/ 10 h 19"/>
              <a:gd name="T30" fmla="*/ 2 w 27"/>
              <a:gd name="T31" fmla="*/ 9 h 19"/>
              <a:gd name="T32" fmla="*/ 0 w 27"/>
              <a:gd name="T33" fmla="*/ 7 h 19"/>
              <a:gd name="T34" fmla="*/ 0 w 27"/>
              <a:gd name="T35" fmla="*/ 3 h 19"/>
              <a:gd name="T36" fmla="*/ 2 w 27"/>
              <a:gd name="T37" fmla="*/ 2 h 19"/>
              <a:gd name="T38" fmla="*/ 5 w 27"/>
              <a:gd name="T39" fmla="*/ 2 h 19"/>
              <a:gd name="T40" fmla="*/ 9 w 27"/>
              <a:gd name="T41" fmla="*/ 2 h 19"/>
              <a:gd name="T42" fmla="*/ 12 w 27"/>
              <a:gd name="T43" fmla="*/ 2 h 19"/>
              <a:gd name="T44" fmla="*/ 13 w 27"/>
              <a:gd name="T45" fmla="*/ 2 h 19"/>
              <a:gd name="T46" fmla="*/ 15 w 27"/>
              <a:gd name="T47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7" h="19">
                <a:moveTo>
                  <a:pt x="15" y="0"/>
                </a:moveTo>
                <a:lnTo>
                  <a:pt x="17" y="3"/>
                </a:lnTo>
                <a:lnTo>
                  <a:pt x="19" y="3"/>
                </a:lnTo>
                <a:lnTo>
                  <a:pt x="19" y="6"/>
                </a:lnTo>
                <a:lnTo>
                  <a:pt x="21" y="7"/>
                </a:lnTo>
                <a:lnTo>
                  <a:pt x="23" y="9"/>
                </a:lnTo>
                <a:lnTo>
                  <a:pt x="27" y="12"/>
                </a:lnTo>
                <a:lnTo>
                  <a:pt x="27" y="16"/>
                </a:lnTo>
                <a:lnTo>
                  <a:pt x="26" y="18"/>
                </a:lnTo>
                <a:lnTo>
                  <a:pt x="22" y="19"/>
                </a:lnTo>
                <a:lnTo>
                  <a:pt x="18" y="19"/>
                </a:lnTo>
                <a:lnTo>
                  <a:pt x="16" y="15"/>
                </a:lnTo>
                <a:lnTo>
                  <a:pt x="12" y="12"/>
                </a:lnTo>
                <a:lnTo>
                  <a:pt x="9" y="10"/>
                </a:lnTo>
                <a:lnTo>
                  <a:pt x="6" y="10"/>
                </a:lnTo>
                <a:lnTo>
                  <a:pt x="2" y="9"/>
                </a:lnTo>
                <a:lnTo>
                  <a:pt x="0" y="7"/>
                </a:lnTo>
                <a:lnTo>
                  <a:pt x="0" y="3"/>
                </a:lnTo>
                <a:lnTo>
                  <a:pt x="2" y="2"/>
                </a:lnTo>
                <a:lnTo>
                  <a:pt x="5" y="2"/>
                </a:lnTo>
                <a:lnTo>
                  <a:pt x="9" y="2"/>
                </a:lnTo>
                <a:lnTo>
                  <a:pt x="12" y="2"/>
                </a:lnTo>
                <a:lnTo>
                  <a:pt x="13" y="2"/>
                </a:lnTo>
                <a:lnTo>
                  <a:pt x="15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19" name="Freeform 1319"/>
          <p:cNvSpPr>
            <a:spLocks/>
          </p:cNvSpPr>
          <p:nvPr/>
        </p:nvSpPr>
        <p:spPr bwMode="auto">
          <a:xfrm>
            <a:off x="7369175" y="3844890"/>
            <a:ext cx="42862" cy="30163"/>
          </a:xfrm>
          <a:custGeom>
            <a:avLst/>
            <a:gdLst>
              <a:gd name="T0" fmla="*/ 15 w 27"/>
              <a:gd name="T1" fmla="*/ 0 h 19"/>
              <a:gd name="T2" fmla="*/ 17 w 27"/>
              <a:gd name="T3" fmla="*/ 3 h 19"/>
              <a:gd name="T4" fmla="*/ 19 w 27"/>
              <a:gd name="T5" fmla="*/ 3 h 19"/>
              <a:gd name="T6" fmla="*/ 19 w 27"/>
              <a:gd name="T7" fmla="*/ 6 h 19"/>
              <a:gd name="T8" fmla="*/ 21 w 27"/>
              <a:gd name="T9" fmla="*/ 7 h 19"/>
              <a:gd name="T10" fmla="*/ 23 w 27"/>
              <a:gd name="T11" fmla="*/ 9 h 19"/>
              <a:gd name="T12" fmla="*/ 27 w 27"/>
              <a:gd name="T13" fmla="*/ 12 h 19"/>
              <a:gd name="T14" fmla="*/ 27 w 27"/>
              <a:gd name="T15" fmla="*/ 16 h 19"/>
              <a:gd name="T16" fmla="*/ 26 w 27"/>
              <a:gd name="T17" fmla="*/ 18 h 19"/>
              <a:gd name="T18" fmla="*/ 22 w 27"/>
              <a:gd name="T19" fmla="*/ 19 h 19"/>
              <a:gd name="T20" fmla="*/ 18 w 27"/>
              <a:gd name="T21" fmla="*/ 19 h 19"/>
              <a:gd name="T22" fmla="*/ 16 w 27"/>
              <a:gd name="T23" fmla="*/ 15 h 19"/>
              <a:gd name="T24" fmla="*/ 12 w 27"/>
              <a:gd name="T25" fmla="*/ 12 h 19"/>
              <a:gd name="T26" fmla="*/ 9 w 27"/>
              <a:gd name="T27" fmla="*/ 10 h 19"/>
              <a:gd name="T28" fmla="*/ 6 w 27"/>
              <a:gd name="T29" fmla="*/ 10 h 19"/>
              <a:gd name="T30" fmla="*/ 2 w 27"/>
              <a:gd name="T31" fmla="*/ 9 h 19"/>
              <a:gd name="T32" fmla="*/ 0 w 27"/>
              <a:gd name="T33" fmla="*/ 7 h 19"/>
              <a:gd name="T34" fmla="*/ 0 w 27"/>
              <a:gd name="T35" fmla="*/ 3 h 19"/>
              <a:gd name="T36" fmla="*/ 2 w 27"/>
              <a:gd name="T37" fmla="*/ 2 h 19"/>
              <a:gd name="T38" fmla="*/ 5 w 27"/>
              <a:gd name="T39" fmla="*/ 2 h 19"/>
              <a:gd name="T40" fmla="*/ 9 w 27"/>
              <a:gd name="T41" fmla="*/ 2 h 19"/>
              <a:gd name="T42" fmla="*/ 12 w 27"/>
              <a:gd name="T43" fmla="*/ 2 h 19"/>
              <a:gd name="T44" fmla="*/ 13 w 27"/>
              <a:gd name="T45" fmla="*/ 2 h 19"/>
              <a:gd name="T46" fmla="*/ 15 w 27"/>
              <a:gd name="T47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7" h="19">
                <a:moveTo>
                  <a:pt x="15" y="0"/>
                </a:moveTo>
                <a:lnTo>
                  <a:pt x="17" y="3"/>
                </a:lnTo>
                <a:lnTo>
                  <a:pt x="19" y="3"/>
                </a:lnTo>
                <a:lnTo>
                  <a:pt x="19" y="6"/>
                </a:lnTo>
                <a:lnTo>
                  <a:pt x="21" y="7"/>
                </a:lnTo>
                <a:lnTo>
                  <a:pt x="23" y="9"/>
                </a:lnTo>
                <a:lnTo>
                  <a:pt x="27" y="12"/>
                </a:lnTo>
                <a:lnTo>
                  <a:pt x="27" y="16"/>
                </a:lnTo>
                <a:lnTo>
                  <a:pt x="26" y="18"/>
                </a:lnTo>
                <a:lnTo>
                  <a:pt x="22" y="19"/>
                </a:lnTo>
                <a:lnTo>
                  <a:pt x="18" y="19"/>
                </a:lnTo>
                <a:lnTo>
                  <a:pt x="16" y="15"/>
                </a:lnTo>
                <a:lnTo>
                  <a:pt x="12" y="12"/>
                </a:lnTo>
                <a:lnTo>
                  <a:pt x="9" y="10"/>
                </a:lnTo>
                <a:lnTo>
                  <a:pt x="6" y="10"/>
                </a:lnTo>
                <a:lnTo>
                  <a:pt x="2" y="9"/>
                </a:lnTo>
                <a:lnTo>
                  <a:pt x="0" y="7"/>
                </a:lnTo>
                <a:lnTo>
                  <a:pt x="0" y="3"/>
                </a:lnTo>
                <a:lnTo>
                  <a:pt x="2" y="2"/>
                </a:lnTo>
                <a:lnTo>
                  <a:pt x="5" y="2"/>
                </a:lnTo>
                <a:lnTo>
                  <a:pt x="9" y="2"/>
                </a:lnTo>
                <a:lnTo>
                  <a:pt x="12" y="2"/>
                </a:lnTo>
                <a:lnTo>
                  <a:pt x="13" y="2"/>
                </a:lnTo>
                <a:lnTo>
                  <a:pt x="15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20" name="Freeform 1320"/>
          <p:cNvSpPr>
            <a:spLocks/>
          </p:cNvSpPr>
          <p:nvPr/>
        </p:nvSpPr>
        <p:spPr bwMode="auto">
          <a:xfrm>
            <a:off x="7313612" y="3811553"/>
            <a:ext cx="60325" cy="28575"/>
          </a:xfrm>
          <a:custGeom>
            <a:avLst/>
            <a:gdLst>
              <a:gd name="T0" fmla="*/ 5 w 38"/>
              <a:gd name="T1" fmla="*/ 6 h 18"/>
              <a:gd name="T2" fmla="*/ 7 w 38"/>
              <a:gd name="T3" fmla="*/ 4 h 18"/>
              <a:gd name="T4" fmla="*/ 13 w 38"/>
              <a:gd name="T5" fmla="*/ 7 h 18"/>
              <a:gd name="T6" fmla="*/ 15 w 38"/>
              <a:gd name="T7" fmla="*/ 9 h 18"/>
              <a:gd name="T8" fmla="*/ 16 w 38"/>
              <a:gd name="T9" fmla="*/ 10 h 18"/>
              <a:gd name="T10" fmla="*/ 17 w 38"/>
              <a:gd name="T11" fmla="*/ 11 h 18"/>
              <a:gd name="T12" fmla="*/ 20 w 38"/>
              <a:gd name="T13" fmla="*/ 11 h 18"/>
              <a:gd name="T14" fmla="*/ 21 w 38"/>
              <a:gd name="T15" fmla="*/ 10 h 18"/>
              <a:gd name="T16" fmla="*/ 23 w 38"/>
              <a:gd name="T17" fmla="*/ 9 h 18"/>
              <a:gd name="T18" fmla="*/ 23 w 38"/>
              <a:gd name="T19" fmla="*/ 8 h 18"/>
              <a:gd name="T20" fmla="*/ 20 w 38"/>
              <a:gd name="T21" fmla="*/ 7 h 18"/>
              <a:gd name="T22" fmla="*/ 17 w 38"/>
              <a:gd name="T23" fmla="*/ 4 h 18"/>
              <a:gd name="T24" fmla="*/ 17 w 38"/>
              <a:gd name="T25" fmla="*/ 1 h 18"/>
              <a:gd name="T26" fmla="*/ 20 w 38"/>
              <a:gd name="T27" fmla="*/ 0 h 18"/>
              <a:gd name="T28" fmla="*/ 22 w 38"/>
              <a:gd name="T29" fmla="*/ 1 h 18"/>
              <a:gd name="T30" fmla="*/ 24 w 38"/>
              <a:gd name="T31" fmla="*/ 4 h 18"/>
              <a:gd name="T32" fmla="*/ 26 w 38"/>
              <a:gd name="T33" fmla="*/ 4 h 18"/>
              <a:gd name="T34" fmla="*/ 29 w 38"/>
              <a:gd name="T35" fmla="*/ 3 h 18"/>
              <a:gd name="T36" fmla="*/ 31 w 38"/>
              <a:gd name="T37" fmla="*/ 4 h 18"/>
              <a:gd name="T38" fmla="*/ 31 w 38"/>
              <a:gd name="T39" fmla="*/ 8 h 18"/>
              <a:gd name="T40" fmla="*/ 34 w 38"/>
              <a:gd name="T41" fmla="*/ 3 h 18"/>
              <a:gd name="T42" fmla="*/ 35 w 38"/>
              <a:gd name="T43" fmla="*/ 6 h 18"/>
              <a:gd name="T44" fmla="*/ 36 w 38"/>
              <a:gd name="T45" fmla="*/ 8 h 18"/>
              <a:gd name="T46" fmla="*/ 37 w 38"/>
              <a:gd name="T47" fmla="*/ 10 h 18"/>
              <a:gd name="T48" fmla="*/ 38 w 38"/>
              <a:gd name="T49" fmla="*/ 11 h 18"/>
              <a:gd name="T50" fmla="*/ 36 w 38"/>
              <a:gd name="T51" fmla="*/ 11 h 18"/>
              <a:gd name="T52" fmla="*/ 34 w 38"/>
              <a:gd name="T53" fmla="*/ 11 h 18"/>
              <a:gd name="T54" fmla="*/ 33 w 38"/>
              <a:gd name="T55" fmla="*/ 11 h 18"/>
              <a:gd name="T56" fmla="*/ 33 w 38"/>
              <a:gd name="T57" fmla="*/ 13 h 18"/>
              <a:gd name="T58" fmla="*/ 30 w 38"/>
              <a:gd name="T59" fmla="*/ 13 h 18"/>
              <a:gd name="T60" fmla="*/ 26 w 38"/>
              <a:gd name="T61" fmla="*/ 12 h 18"/>
              <a:gd name="T62" fmla="*/ 26 w 38"/>
              <a:gd name="T63" fmla="*/ 11 h 18"/>
              <a:gd name="T64" fmla="*/ 22 w 38"/>
              <a:gd name="T65" fmla="*/ 13 h 18"/>
              <a:gd name="T66" fmla="*/ 17 w 38"/>
              <a:gd name="T67" fmla="*/ 14 h 18"/>
              <a:gd name="T68" fmla="*/ 14 w 38"/>
              <a:gd name="T69" fmla="*/ 17 h 18"/>
              <a:gd name="T70" fmla="*/ 6 w 38"/>
              <a:gd name="T71" fmla="*/ 18 h 18"/>
              <a:gd name="T72" fmla="*/ 3 w 38"/>
              <a:gd name="T73" fmla="*/ 18 h 18"/>
              <a:gd name="T74" fmla="*/ 1 w 38"/>
              <a:gd name="T75" fmla="*/ 17 h 18"/>
              <a:gd name="T76" fmla="*/ 0 w 38"/>
              <a:gd name="T77" fmla="*/ 14 h 18"/>
              <a:gd name="T78" fmla="*/ 1 w 38"/>
              <a:gd name="T79" fmla="*/ 12 h 18"/>
              <a:gd name="T80" fmla="*/ 1 w 38"/>
              <a:gd name="T81" fmla="*/ 10 h 18"/>
              <a:gd name="T82" fmla="*/ 4 w 38"/>
              <a:gd name="T83" fmla="*/ 7 h 18"/>
              <a:gd name="T84" fmla="*/ 5 w 38"/>
              <a:gd name="T85" fmla="*/ 6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8" h="18">
                <a:moveTo>
                  <a:pt x="5" y="6"/>
                </a:moveTo>
                <a:lnTo>
                  <a:pt x="7" y="4"/>
                </a:lnTo>
                <a:lnTo>
                  <a:pt x="13" y="7"/>
                </a:lnTo>
                <a:lnTo>
                  <a:pt x="15" y="9"/>
                </a:lnTo>
                <a:lnTo>
                  <a:pt x="16" y="10"/>
                </a:lnTo>
                <a:lnTo>
                  <a:pt x="17" y="11"/>
                </a:lnTo>
                <a:lnTo>
                  <a:pt x="20" y="11"/>
                </a:lnTo>
                <a:lnTo>
                  <a:pt x="21" y="10"/>
                </a:lnTo>
                <a:lnTo>
                  <a:pt x="23" y="9"/>
                </a:lnTo>
                <a:lnTo>
                  <a:pt x="23" y="8"/>
                </a:lnTo>
                <a:lnTo>
                  <a:pt x="20" y="7"/>
                </a:lnTo>
                <a:lnTo>
                  <a:pt x="17" y="4"/>
                </a:lnTo>
                <a:lnTo>
                  <a:pt x="17" y="1"/>
                </a:lnTo>
                <a:lnTo>
                  <a:pt x="20" y="0"/>
                </a:lnTo>
                <a:lnTo>
                  <a:pt x="22" y="1"/>
                </a:lnTo>
                <a:lnTo>
                  <a:pt x="24" y="4"/>
                </a:lnTo>
                <a:lnTo>
                  <a:pt x="26" y="4"/>
                </a:lnTo>
                <a:lnTo>
                  <a:pt x="29" y="3"/>
                </a:lnTo>
                <a:lnTo>
                  <a:pt x="31" y="4"/>
                </a:lnTo>
                <a:lnTo>
                  <a:pt x="31" y="8"/>
                </a:lnTo>
                <a:lnTo>
                  <a:pt x="34" y="3"/>
                </a:lnTo>
                <a:lnTo>
                  <a:pt x="35" y="6"/>
                </a:lnTo>
                <a:lnTo>
                  <a:pt x="36" y="8"/>
                </a:lnTo>
                <a:lnTo>
                  <a:pt x="37" y="10"/>
                </a:lnTo>
                <a:lnTo>
                  <a:pt x="38" y="11"/>
                </a:lnTo>
                <a:lnTo>
                  <a:pt x="36" y="11"/>
                </a:lnTo>
                <a:lnTo>
                  <a:pt x="34" y="11"/>
                </a:lnTo>
                <a:lnTo>
                  <a:pt x="33" y="11"/>
                </a:lnTo>
                <a:lnTo>
                  <a:pt x="33" y="13"/>
                </a:lnTo>
                <a:lnTo>
                  <a:pt x="30" y="13"/>
                </a:lnTo>
                <a:lnTo>
                  <a:pt x="26" y="12"/>
                </a:lnTo>
                <a:lnTo>
                  <a:pt x="26" y="11"/>
                </a:lnTo>
                <a:lnTo>
                  <a:pt x="22" y="13"/>
                </a:lnTo>
                <a:lnTo>
                  <a:pt x="17" y="14"/>
                </a:lnTo>
                <a:lnTo>
                  <a:pt x="14" y="17"/>
                </a:lnTo>
                <a:lnTo>
                  <a:pt x="6" y="18"/>
                </a:lnTo>
                <a:lnTo>
                  <a:pt x="3" y="18"/>
                </a:lnTo>
                <a:lnTo>
                  <a:pt x="1" y="17"/>
                </a:lnTo>
                <a:lnTo>
                  <a:pt x="0" y="14"/>
                </a:lnTo>
                <a:lnTo>
                  <a:pt x="1" y="12"/>
                </a:lnTo>
                <a:lnTo>
                  <a:pt x="1" y="10"/>
                </a:lnTo>
                <a:lnTo>
                  <a:pt x="4" y="7"/>
                </a:lnTo>
                <a:lnTo>
                  <a:pt x="5" y="6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21" name="Freeform 1321"/>
          <p:cNvSpPr>
            <a:spLocks/>
          </p:cNvSpPr>
          <p:nvPr/>
        </p:nvSpPr>
        <p:spPr bwMode="auto">
          <a:xfrm>
            <a:off x="7313612" y="3811553"/>
            <a:ext cx="60325" cy="28575"/>
          </a:xfrm>
          <a:custGeom>
            <a:avLst/>
            <a:gdLst>
              <a:gd name="T0" fmla="*/ 5 w 38"/>
              <a:gd name="T1" fmla="*/ 6 h 18"/>
              <a:gd name="T2" fmla="*/ 7 w 38"/>
              <a:gd name="T3" fmla="*/ 4 h 18"/>
              <a:gd name="T4" fmla="*/ 13 w 38"/>
              <a:gd name="T5" fmla="*/ 7 h 18"/>
              <a:gd name="T6" fmla="*/ 15 w 38"/>
              <a:gd name="T7" fmla="*/ 9 h 18"/>
              <a:gd name="T8" fmla="*/ 16 w 38"/>
              <a:gd name="T9" fmla="*/ 10 h 18"/>
              <a:gd name="T10" fmla="*/ 17 w 38"/>
              <a:gd name="T11" fmla="*/ 11 h 18"/>
              <a:gd name="T12" fmla="*/ 20 w 38"/>
              <a:gd name="T13" fmla="*/ 11 h 18"/>
              <a:gd name="T14" fmla="*/ 21 w 38"/>
              <a:gd name="T15" fmla="*/ 10 h 18"/>
              <a:gd name="T16" fmla="*/ 23 w 38"/>
              <a:gd name="T17" fmla="*/ 9 h 18"/>
              <a:gd name="T18" fmla="*/ 23 w 38"/>
              <a:gd name="T19" fmla="*/ 8 h 18"/>
              <a:gd name="T20" fmla="*/ 20 w 38"/>
              <a:gd name="T21" fmla="*/ 7 h 18"/>
              <a:gd name="T22" fmla="*/ 17 w 38"/>
              <a:gd name="T23" fmla="*/ 4 h 18"/>
              <a:gd name="T24" fmla="*/ 17 w 38"/>
              <a:gd name="T25" fmla="*/ 1 h 18"/>
              <a:gd name="T26" fmla="*/ 20 w 38"/>
              <a:gd name="T27" fmla="*/ 0 h 18"/>
              <a:gd name="T28" fmla="*/ 22 w 38"/>
              <a:gd name="T29" fmla="*/ 1 h 18"/>
              <a:gd name="T30" fmla="*/ 24 w 38"/>
              <a:gd name="T31" fmla="*/ 4 h 18"/>
              <a:gd name="T32" fmla="*/ 26 w 38"/>
              <a:gd name="T33" fmla="*/ 4 h 18"/>
              <a:gd name="T34" fmla="*/ 29 w 38"/>
              <a:gd name="T35" fmla="*/ 3 h 18"/>
              <a:gd name="T36" fmla="*/ 31 w 38"/>
              <a:gd name="T37" fmla="*/ 4 h 18"/>
              <a:gd name="T38" fmla="*/ 31 w 38"/>
              <a:gd name="T39" fmla="*/ 8 h 18"/>
              <a:gd name="T40" fmla="*/ 34 w 38"/>
              <a:gd name="T41" fmla="*/ 3 h 18"/>
              <a:gd name="T42" fmla="*/ 35 w 38"/>
              <a:gd name="T43" fmla="*/ 6 h 18"/>
              <a:gd name="T44" fmla="*/ 36 w 38"/>
              <a:gd name="T45" fmla="*/ 8 h 18"/>
              <a:gd name="T46" fmla="*/ 37 w 38"/>
              <a:gd name="T47" fmla="*/ 10 h 18"/>
              <a:gd name="T48" fmla="*/ 38 w 38"/>
              <a:gd name="T49" fmla="*/ 11 h 18"/>
              <a:gd name="T50" fmla="*/ 36 w 38"/>
              <a:gd name="T51" fmla="*/ 11 h 18"/>
              <a:gd name="T52" fmla="*/ 34 w 38"/>
              <a:gd name="T53" fmla="*/ 11 h 18"/>
              <a:gd name="T54" fmla="*/ 33 w 38"/>
              <a:gd name="T55" fmla="*/ 11 h 18"/>
              <a:gd name="T56" fmla="*/ 33 w 38"/>
              <a:gd name="T57" fmla="*/ 13 h 18"/>
              <a:gd name="T58" fmla="*/ 30 w 38"/>
              <a:gd name="T59" fmla="*/ 13 h 18"/>
              <a:gd name="T60" fmla="*/ 26 w 38"/>
              <a:gd name="T61" fmla="*/ 12 h 18"/>
              <a:gd name="T62" fmla="*/ 26 w 38"/>
              <a:gd name="T63" fmla="*/ 11 h 18"/>
              <a:gd name="T64" fmla="*/ 22 w 38"/>
              <a:gd name="T65" fmla="*/ 13 h 18"/>
              <a:gd name="T66" fmla="*/ 17 w 38"/>
              <a:gd name="T67" fmla="*/ 14 h 18"/>
              <a:gd name="T68" fmla="*/ 14 w 38"/>
              <a:gd name="T69" fmla="*/ 17 h 18"/>
              <a:gd name="T70" fmla="*/ 6 w 38"/>
              <a:gd name="T71" fmla="*/ 18 h 18"/>
              <a:gd name="T72" fmla="*/ 3 w 38"/>
              <a:gd name="T73" fmla="*/ 18 h 18"/>
              <a:gd name="T74" fmla="*/ 1 w 38"/>
              <a:gd name="T75" fmla="*/ 17 h 18"/>
              <a:gd name="T76" fmla="*/ 0 w 38"/>
              <a:gd name="T77" fmla="*/ 14 h 18"/>
              <a:gd name="T78" fmla="*/ 1 w 38"/>
              <a:gd name="T79" fmla="*/ 12 h 18"/>
              <a:gd name="T80" fmla="*/ 1 w 38"/>
              <a:gd name="T81" fmla="*/ 10 h 18"/>
              <a:gd name="T82" fmla="*/ 4 w 38"/>
              <a:gd name="T83" fmla="*/ 7 h 18"/>
              <a:gd name="T84" fmla="*/ 5 w 38"/>
              <a:gd name="T85" fmla="*/ 6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8" h="18">
                <a:moveTo>
                  <a:pt x="5" y="6"/>
                </a:moveTo>
                <a:lnTo>
                  <a:pt x="7" y="4"/>
                </a:lnTo>
                <a:lnTo>
                  <a:pt x="13" y="7"/>
                </a:lnTo>
                <a:lnTo>
                  <a:pt x="15" y="9"/>
                </a:lnTo>
                <a:lnTo>
                  <a:pt x="16" y="10"/>
                </a:lnTo>
                <a:lnTo>
                  <a:pt x="17" y="11"/>
                </a:lnTo>
                <a:lnTo>
                  <a:pt x="20" y="11"/>
                </a:lnTo>
                <a:lnTo>
                  <a:pt x="21" y="10"/>
                </a:lnTo>
                <a:lnTo>
                  <a:pt x="23" y="9"/>
                </a:lnTo>
                <a:lnTo>
                  <a:pt x="23" y="8"/>
                </a:lnTo>
                <a:lnTo>
                  <a:pt x="20" y="7"/>
                </a:lnTo>
                <a:lnTo>
                  <a:pt x="17" y="4"/>
                </a:lnTo>
                <a:lnTo>
                  <a:pt x="17" y="1"/>
                </a:lnTo>
                <a:lnTo>
                  <a:pt x="20" y="0"/>
                </a:lnTo>
                <a:lnTo>
                  <a:pt x="22" y="1"/>
                </a:lnTo>
                <a:lnTo>
                  <a:pt x="24" y="4"/>
                </a:lnTo>
                <a:lnTo>
                  <a:pt x="26" y="4"/>
                </a:lnTo>
                <a:lnTo>
                  <a:pt x="29" y="3"/>
                </a:lnTo>
                <a:lnTo>
                  <a:pt x="31" y="4"/>
                </a:lnTo>
                <a:lnTo>
                  <a:pt x="31" y="8"/>
                </a:lnTo>
                <a:lnTo>
                  <a:pt x="34" y="3"/>
                </a:lnTo>
                <a:lnTo>
                  <a:pt x="35" y="6"/>
                </a:lnTo>
                <a:lnTo>
                  <a:pt x="36" y="8"/>
                </a:lnTo>
                <a:lnTo>
                  <a:pt x="37" y="10"/>
                </a:lnTo>
                <a:lnTo>
                  <a:pt x="38" y="11"/>
                </a:lnTo>
                <a:lnTo>
                  <a:pt x="36" y="11"/>
                </a:lnTo>
                <a:lnTo>
                  <a:pt x="34" y="11"/>
                </a:lnTo>
                <a:lnTo>
                  <a:pt x="33" y="11"/>
                </a:lnTo>
                <a:lnTo>
                  <a:pt x="33" y="13"/>
                </a:lnTo>
                <a:lnTo>
                  <a:pt x="30" y="13"/>
                </a:lnTo>
                <a:lnTo>
                  <a:pt x="26" y="12"/>
                </a:lnTo>
                <a:lnTo>
                  <a:pt x="26" y="11"/>
                </a:lnTo>
                <a:lnTo>
                  <a:pt x="22" y="13"/>
                </a:lnTo>
                <a:lnTo>
                  <a:pt x="17" y="14"/>
                </a:lnTo>
                <a:lnTo>
                  <a:pt x="14" y="17"/>
                </a:lnTo>
                <a:lnTo>
                  <a:pt x="6" y="18"/>
                </a:lnTo>
                <a:lnTo>
                  <a:pt x="3" y="18"/>
                </a:lnTo>
                <a:lnTo>
                  <a:pt x="1" y="17"/>
                </a:lnTo>
                <a:lnTo>
                  <a:pt x="0" y="14"/>
                </a:lnTo>
                <a:lnTo>
                  <a:pt x="1" y="12"/>
                </a:lnTo>
                <a:lnTo>
                  <a:pt x="1" y="10"/>
                </a:lnTo>
                <a:lnTo>
                  <a:pt x="4" y="7"/>
                </a:lnTo>
                <a:lnTo>
                  <a:pt x="5" y="6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22" name="Freeform 1322"/>
          <p:cNvSpPr>
            <a:spLocks/>
          </p:cNvSpPr>
          <p:nvPr/>
        </p:nvSpPr>
        <p:spPr bwMode="auto">
          <a:xfrm>
            <a:off x="7291387" y="3814728"/>
            <a:ext cx="20637" cy="22225"/>
          </a:xfrm>
          <a:custGeom>
            <a:avLst/>
            <a:gdLst>
              <a:gd name="T0" fmla="*/ 3 w 13"/>
              <a:gd name="T1" fmla="*/ 5 h 14"/>
              <a:gd name="T2" fmla="*/ 4 w 13"/>
              <a:gd name="T3" fmla="*/ 4 h 14"/>
              <a:gd name="T4" fmla="*/ 5 w 13"/>
              <a:gd name="T5" fmla="*/ 2 h 14"/>
              <a:gd name="T6" fmla="*/ 7 w 13"/>
              <a:gd name="T7" fmla="*/ 0 h 14"/>
              <a:gd name="T8" fmla="*/ 10 w 13"/>
              <a:gd name="T9" fmla="*/ 0 h 14"/>
              <a:gd name="T10" fmla="*/ 13 w 13"/>
              <a:gd name="T11" fmla="*/ 2 h 14"/>
              <a:gd name="T12" fmla="*/ 13 w 13"/>
              <a:gd name="T13" fmla="*/ 6 h 14"/>
              <a:gd name="T14" fmla="*/ 11 w 13"/>
              <a:gd name="T15" fmla="*/ 9 h 14"/>
              <a:gd name="T16" fmla="*/ 11 w 13"/>
              <a:gd name="T17" fmla="*/ 12 h 14"/>
              <a:gd name="T18" fmla="*/ 9 w 13"/>
              <a:gd name="T19" fmla="*/ 14 h 14"/>
              <a:gd name="T20" fmla="*/ 3 w 13"/>
              <a:gd name="T21" fmla="*/ 14 h 14"/>
              <a:gd name="T22" fmla="*/ 0 w 13"/>
              <a:gd name="T23" fmla="*/ 12 h 14"/>
              <a:gd name="T24" fmla="*/ 0 w 13"/>
              <a:gd name="T25" fmla="*/ 10 h 14"/>
              <a:gd name="T26" fmla="*/ 3 w 13"/>
              <a:gd name="T27" fmla="*/ 9 h 14"/>
              <a:gd name="T28" fmla="*/ 3 w 13"/>
              <a:gd name="T29" fmla="*/ 7 h 14"/>
              <a:gd name="T30" fmla="*/ 3 w 13"/>
              <a:gd name="T31" fmla="*/ 5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3" h="14">
                <a:moveTo>
                  <a:pt x="3" y="5"/>
                </a:moveTo>
                <a:lnTo>
                  <a:pt x="4" y="4"/>
                </a:lnTo>
                <a:lnTo>
                  <a:pt x="5" y="2"/>
                </a:lnTo>
                <a:lnTo>
                  <a:pt x="7" y="0"/>
                </a:lnTo>
                <a:lnTo>
                  <a:pt x="10" y="0"/>
                </a:lnTo>
                <a:lnTo>
                  <a:pt x="13" y="2"/>
                </a:lnTo>
                <a:lnTo>
                  <a:pt x="13" y="6"/>
                </a:lnTo>
                <a:lnTo>
                  <a:pt x="11" y="9"/>
                </a:lnTo>
                <a:lnTo>
                  <a:pt x="11" y="12"/>
                </a:lnTo>
                <a:lnTo>
                  <a:pt x="9" y="14"/>
                </a:lnTo>
                <a:lnTo>
                  <a:pt x="3" y="14"/>
                </a:lnTo>
                <a:lnTo>
                  <a:pt x="0" y="12"/>
                </a:lnTo>
                <a:lnTo>
                  <a:pt x="0" y="10"/>
                </a:lnTo>
                <a:lnTo>
                  <a:pt x="3" y="9"/>
                </a:lnTo>
                <a:lnTo>
                  <a:pt x="3" y="7"/>
                </a:lnTo>
                <a:lnTo>
                  <a:pt x="3" y="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23" name="Freeform 1323"/>
          <p:cNvSpPr>
            <a:spLocks/>
          </p:cNvSpPr>
          <p:nvPr/>
        </p:nvSpPr>
        <p:spPr bwMode="auto">
          <a:xfrm>
            <a:off x="7291387" y="3814728"/>
            <a:ext cx="20637" cy="22225"/>
          </a:xfrm>
          <a:custGeom>
            <a:avLst/>
            <a:gdLst>
              <a:gd name="T0" fmla="*/ 3 w 13"/>
              <a:gd name="T1" fmla="*/ 5 h 14"/>
              <a:gd name="T2" fmla="*/ 4 w 13"/>
              <a:gd name="T3" fmla="*/ 4 h 14"/>
              <a:gd name="T4" fmla="*/ 5 w 13"/>
              <a:gd name="T5" fmla="*/ 2 h 14"/>
              <a:gd name="T6" fmla="*/ 7 w 13"/>
              <a:gd name="T7" fmla="*/ 0 h 14"/>
              <a:gd name="T8" fmla="*/ 10 w 13"/>
              <a:gd name="T9" fmla="*/ 0 h 14"/>
              <a:gd name="T10" fmla="*/ 13 w 13"/>
              <a:gd name="T11" fmla="*/ 2 h 14"/>
              <a:gd name="T12" fmla="*/ 13 w 13"/>
              <a:gd name="T13" fmla="*/ 6 h 14"/>
              <a:gd name="T14" fmla="*/ 11 w 13"/>
              <a:gd name="T15" fmla="*/ 9 h 14"/>
              <a:gd name="T16" fmla="*/ 11 w 13"/>
              <a:gd name="T17" fmla="*/ 12 h 14"/>
              <a:gd name="T18" fmla="*/ 9 w 13"/>
              <a:gd name="T19" fmla="*/ 14 h 14"/>
              <a:gd name="T20" fmla="*/ 3 w 13"/>
              <a:gd name="T21" fmla="*/ 14 h 14"/>
              <a:gd name="T22" fmla="*/ 0 w 13"/>
              <a:gd name="T23" fmla="*/ 12 h 14"/>
              <a:gd name="T24" fmla="*/ 0 w 13"/>
              <a:gd name="T25" fmla="*/ 10 h 14"/>
              <a:gd name="T26" fmla="*/ 3 w 13"/>
              <a:gd name="T27" fmla="*/ 9 h 14"/>
              <a:gd name="T28" fmla="*/ 3 w 13"/>
              <a:gd name="T29" fmla="*/ 7 h 14"/>
              <a:gd name="T30" fmla="*/ 3 w 13"/>
              <a:gd name="T31" fmla="*/ 5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3" h="14">
                <a:moveTo>
                  <a:pt x="3" y="5"/>
                </a:moveTo>
                <a:lnTo>
                  <a:pt x="4" y="4"/>
                </a:lnTo>
                <a:lnTo>
                  <a:pt x="5" y="2"/>
                </a:lnTo>
                <a:lnTo>
                  <a:pt x="7" y="0"/>
                </a:lnTo>
                <a:lnTo>
                  <a:pt x="10" y="0"/>
                </a:lnTo>
                <a:lnTo>
                  <a:pt x="13" y="2"/>
                </a:lnTo>
                <a:lnTo>
                  <a:pt x="13" y="6"/>
                </a:lnTo>
                <a:lnTo>
                  <a:pt x="11" y="9"/>
                </a:lnTo>
                <a:lnTo>
                  <a:pt x="11" y="12"/>
                </a:lnTo>
                <a:lnTo>
                  <a:pt x="9" y="14"/>
                </a:lnTo>
                <a:lnTo>
                  <a:pt x="3" y="14"/>
                </a:lnTo>
                <a:lnTo>
                  <a:pt x="0" y="12"/>
                </a:lnTo>
                <a:lnTo>
                  <a:pt x="0" y="10"/>
                </a:lnTo>
                <a:lnTo>
                  <a:pt x="3" y="9"/>
                </a:lnTo>
                <a:lnTo>
                  <a:pt x="3" y="7"/>
                </a:lnTo>
                <a:lnTo>
                  <a:pt x="3" y="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24" name="Freeform 1324"/>
          <p:cNvSpPr>
            <a:spLocks/>
          </p:cNvSpPr>
          <p:nvPr/>
        </p:nvSpPr>
        <p:spPr bwMode="auto">
          <a:xfrm>
            <a:off x="7256462" y="3809965"/>
            <a:ext cx="28575" cy="22225"/>
          </a:xfrm>
          <a:custGeom>
            <a:avLst/>
            <a:gdLst>
              <a:gd name="T0" fmla="*/ 8 w 18"/>
              <a:gd name="T1" fmla="*/ 1 h 14"/>
              <a:gd name="T2" fmla="*/ 9 w 18"/>
              <a:gd name="T3" fmla="*/ 1 h 14"/>
              <a:gd name="T4" fmla="*/ 11 w 18"/>
              <a:gd name="T5" fmla="*/ 0 h 14"/>
              <a:gd name="T6" fmla="*/ 13 w 18"/>
              <a:gd name="T7" fmla="*/ 1 h 14"/>
              <a:gd name="T8" fmla="*/ 17 w 18"/>
              <a:gd name="T9" fmla="*/ 2 h 14"/>
              <a:gd name="T10" fmla="*/ 18 w 18"/>
              <a:gd name="T11" fmla="*/ 4 h 14"/>
              <a:gd name="T12" fmla="*/ 18 w 18"/>
              <a:gd name="T13" fmla="*/ 8 h 14"/>
              <a:gd name="T14" fmla="*/ 12 w 18"/>
              <a:gd name="T15" fmla="*/ 11 h 14"/>
              <a:gd name="T16" fmla="*/ 11 w 18"/>
              <a:gd name="T17" fmla="*/ 14 h 14"/>
              <a:gd name="T18" fmla="*/ 10 w 18"/>
              <a:gd name="T19" fmla="*/ 12 h 14"/>
              <a:gd name="T20" fmla="*/ 9 w 18"/>
              <a:gd name="T21" fmla="*/ 9 h 14"/>
              <a:gd name="T22" fmla="*/ 7 w 18"/>
              <a:gd name="T23" fmla="*/ 7 h 14"/>
              <a:gd name="T24" fmla="*/ 2 w 18"/>
              <a:gd name="T25" fmla="*/ 5 h 14"/>
              <a:gd name="T26" fmla="*/ 0 w 18"/>
              <a:gd name="T27" fmla="*/ 4 h 14"/>
              <a:gd name="T28" fmla="*/ 0 w 18"/>
              <a:gd name="T29" fmla="*/ 2 h 14"/>
              <a:gd name="T30" fmla="*/ 1 w 18"/>
              <a:gd name="T31" fmla="*/ 0 h 14"/>
              <a:gd name="T32" fmla="*/ 8 w 18"/>
              <a:gd name="T33" fmla="*/ 1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8" h="14">
                <a:moveTo>
                  <a:pt x="8" y="1"/>
                </a:moveTo>
                <a:lnTo>
                  <a:pt x="9" y="1"/>
                </a:lnTo>
                <a:lnTo>
                  <a:pt x="11" y="0"/>
                </a:lnTo>
                <a:lnTo>
                  <a:pt x="13" y="1"/>
                </a:lnTo>
                <a:lnTo>
                  <a:pt x="17" y="2"/>
                </a:lnTo>
                <a:lnTo>
                  <a:pt x="18" y="4"/>
                </a:lnTo>
                <a:lnTo>
                  <a:pt x="18" y="8"/>
                </a:lnTo>
                <a:lnTo>
                  <a:pt x="12" y="11"/>
                </a:lnTo>
                <a:lnTo>
                  <a:pt x="11" y="14"/>
                </a:lnTo>
                <a:lnTo>
                  <a:pt x="10" y="12"/>
                </a:lnTo>
                <a:lnTo>
                  <a:pt x="9" y="9"/>
                </a:lnTo>
                <a:lnTo>
                  <a:pt x="7" y="7"/>
                </a:lnTo>
                <a:lnTo>
                  <a:pt x="2" y="5"/>
                </a:lnTo>
                <a:lnTo>
                  <a:pt x="0" y="4"/>
                </a:lnTo>
                <a:lnTo>
                  <a:pt x="0" y="2"/>
                </a:lnTo>
                <a:lnTo>
                  <a:pt x="1" y="0"/>
                </a:lnTo>
                <a:lnTo>
                  <a:pt x="8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25" name="Freeform 1325"/>
          <p:cNvSpPr>
            <a:spLocks/>
          </p:cNvSpPr>
          <p:nvPr/>
        </p:nvSpPr>
        <p:spPr bwMode="auto">
          <a:xfrm>
            <a:off x="7256462" y="3809965"/>
            <a:ext cx="28575" cy="22225"/>
          </a:xfrm>
          <a:custGeom>
            <a:avLst/>
            <a:gdLst>
              <a:gd name="T0" fmla="*/ 8 w 18"/>
              <a:gd name="T1" fmla="*/ 1 h 14"/>
              <a:gd name="T2" fmla="*/ 9 w 18"/>
              <a:gd name="T3" fmla="*/ 1 h 14"/>
              <a:gd name="T4" fmla="*/ 11 w 18"/>
              <a:gd name="T5" fmla="*/ 0 h 14"/>
              <a:gd name="T6" fmla="*/ 13 w 18"/>
              <a:gd name="T7" fmla="*/ 1 h 14"/>
              <a:gd name="T8" fmla="*/ 17 w 18"/>
              <a:gd name="T9" fmla="*/ 2 h 14"/>
              <a:gd name="T10" fmla="*/ 18 w 18"/>
              <a:gd name="T11" fmla="*/ 4 h 14"/>
              <a:gd name="T12" fmla="*/ 18 w 18"/>
              <a:gd name="T13" fmla="*/ 8 h 14"/>
              <a:gd name="T14" fmla="*/ 12 w 18"/>
              <a:gd name="T15" fmla="*/ 11 h 14"/>
              <a:gd name="T16" fmla="*/ 11 w 18"/>
              <a:gd name="T17" fmla="*/ 14 h 14"/>
              <a:gd name="T18" fmla="*/ 10 w 18"/>
              <a:gd name="T19" fmla="*/ 12 h 14"/>
              <a:gd name="T20" fmla="*/ 9 w 18"/>
              <a:gd name="T21" fmla="*/ 9 h 14"/>
              <a:gd name="T22" fmla="*/ 7 w 18"/>
              <a:gd name="T23" fmla="*/ 7 h 14"/>
              <a:gd name="T24" fmla="*/ 2 w 18"/>
              <a:gd name="T25" fmla="*/ 5 h 14"/>
              <a:gd name="T26" fmla="*/ 0 w 18"/>
              <a:gd name="T27" fmla="*/ 4 h 14"/>
              <a:gd name="T28" fmla="*/ 0 w 18"/>
              <a:gd name="T29" fmla="*/ 2 h 14"/>
              <a:gd name="T30" fmla="*/ 1 w 18"/>
              <a:gd name="T31" fmla="*/ 0 h 14"/>
              <a:gd name="T32" fmla="*/ 8 w 18"/>
              <a:gd name="T33" fmla="*/ 1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8" h="14">
                <a:moveTo>
                  <a:pt x="8" y="1"/>
                </a:moveTo>
                <a:lnTo>
                  <a:pt x="9" y="1"/>
                </a:lnTo>
                <a:lnTo>
                  <a:pt x="11" y="0"/>
                </a:lnTo>
                <a:lnTo>
                  <a:pt x="13" y="1"/>
                </a:lnTo>
                <a:lnTo>
                  <a:pt x="17" y="2"/>
                </a:lnTo>
                <a:lnTo>
                  <a:pt x="18" y="4"/>
                </a:lnTo>
                <a:lnTo>
                  <a:pt x="18" y="8"/>
                </a:lnTo>
                <a:lnTo>
                  <a:pt x="12" y="11"/>
                </a:lnTo>
                <a:lnTo>
                  <a:pt x="11" y="14"/>
                </a:lnTo>
                <a:lnTo>
                  <a:pt x="10" y="12"/>
                </a:lnTo>
                <a:lnTo>
                  <a:pt x="9" y="9"/>
                </a:lnTo>
                <a:lnTo>
                  <a:pt x="7" y="7"/>
                </a:lnTo>
                <a:lnTo>
                  <a:pt x="2" y="5"/>
                </a:lnTo>
                <a:lnTo>
                  <a:pt x="0" y="4"/>
                </a:lnTo>
                <a:lnTo>
                  <a:pt x="0" y="2"/>
                </a:lnTo>
                <a:lnTo>
                  <a:pt x="1" y="0"/>
                </a:lnTo>
                <a:lnTo>
                  <a:pt x="8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26" name="Freeform 1326"/>
          <p:cNvSpPr>
            <a:spLocks/>
          </p:cNvSpPr>
          <p:nvPr/>
        </p:nvSpPr>
        <p:spPr bwMode="auto">
          <a:xfrm>
            <a:off x="7215187" y="3776628"/>
            <a:ext cx="30162" cy="9525"/>
          </a:xfrm>
          <a:custGeom>
            <a:avLst/>
            <a:gdLst>
              <a:gd name="T0" fmla="*/ 0 w 19"/>
              <a:gd name="T1" fmla="*/ 1 h 6"/>
              <a:gd name="T2" fmla="*/ 1 w 19"/>
              <a:gd name="T3" fmla="*/ 1 h 6"/>
              <a:gd name="T4" fmla="*/ 3 w 19"/>
              <a:gd name="T5" fmla="*/ 0 h 6"/>
              <a:gd name="T6" fmla="*/ 5 w 19"/>
              <a:gd name="T7" fmla="*/ 0 h 6"/>
              <a:gd name="T8" fmla="*/ 16 w 19"/>
              <a:gd name="T9" fmla="*/ 0 h 6"/>
              <a:gd name="T10" fmla="*/ 18 w 19"/>
              <a:gd name="T11" fmla="*/ 0 h 6"/>
              <a:gd name="T12" fmla="*/ 19 w 19"/>
              <a:gd name="T13" fmla="*/ 3 h 6"/>
              <a:gd name="T14" fmla="*/ 18 w 19"/>
              <a:gd name="T15" fmla="*/ 4 h 6"/>
              <a:gd name="T16" fmla="*/ 15 w 19"/>
              <a:gd name="T17" fmla="*/ 4 h 6"/>
              <a:gd name="T18" fmla="*/ 11 w 19"/>
              <a:gd name="T19" fmla="*/ 6 h 6"/>
              <a:gd name="T20" fmla="*/ 2 w 19"/>
              <a:gd name="T21" fmla="*/ 5 h 6"/>
              <a:gd name="T22" fmla="*/ 1 w 19"/>
              <a:gd name="T23" fmla="*/ 4 h 6"/>
              <a:gd name="T24" fmla="*/ 0 w 19"/>
              <a:gd name="T25" fmla="*/ 2 h 6"/>
              <a:gd name="T26" fmla="*/ 0 w 19"/>
              <a:gd name="T27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9" h="6">
                <a:moveTo>
                  <a:pt x="0" y="1"/>
                </a:moveTo>
                <a:lnTo>
                  <a:pt x="1" y="1"/>
                </a:lnTo>
                <a:lnTo>
                  <a:pt x="3" y="0"/>
                </a:lnTo>
                <a:lnTo>
                  <a:pt x="5" y="0"/>
                </a:lnTo>
                <a:lnTo>
                  <a:pt x="16" y="0"/>
                </a:lnTo>
                <a:lnTo>
                  <a:pt x="18" y="0"/>
                </a:lnTo>
                <a:lnTo>
                  <a:pt x="19" y="3"/>
                </a:lnTo>
                <a:lnTo>
                  <a:pt x="18" y="4"/>
                </a:lnTo>
                <a:lnTo>
                  <a:pt x="15" y="4"/>
                </a:lnTo>
                <a:lnTo>
                  <a:pt x="11" y="6"/>
                </a:lnTo>
                <a:lnTo>
                  <a:pt x="2" y="5"/>
                </a:lnTo>
                <a:lnTo>
                  <a:pt x="1" y="4"/>
                </a:lnTo>
                <a:lnTo>
                  <a:pt x="0" y="2"/>
                </a:lnTo>
                <a:lnTo>
                  <a:pt x="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27" name="Freeform 1327"/>
          <p:cNvSpPr>
            <a:spLocks/>
          </p:cNvSpPr>
          <p:nvPr/>
        </p:nvSpPr>
        <p:spPr bwMode="auto">
          <a:xfrm>
            <a:off x="7215187" y="3776628"/>
            <a:ext cx="30162" cy="9525"/>
          </a:xfrm>
          <a:custGeom>
            <a:avLst/>
            <a:gdLst>
              <a:gd name="T0" fmla="*/ 0 w 19"/>
              <a:gd name="T1" fmla="*/ 1 h 6"/>
              <a:gd name="T2" fmla="*/ 1 w 19"/>
              <a:gd name="T3" fmla="*/ 1 h 6"/>
              <a:gd name="T4" fmla="*/ 3 w 19"/>
              <a:gd name="T5" fmla="*/ 0 h 6"/>
              <a:gd name="T6" fmla="*/ 5 w 19"/>
              <a:gd name="T7" fmla="*/ 0 h 6"/>
              <a:gd name="T8" fmla="*/ 16 w 19"/>
              <a:gd name="T9" fmla="*/ 0 h 6"/>
              <a:gd name="T10" fmla="*/ 18 w 19"/>
              <a:gd name="T11" fmla="*/ 0 h 6"/>
              <a:gd name="T12" fmla="*/ 19 w 19"/>
              <a:gd name="T13" fmla="*/ 3 h 6"/>
              <a:gd name="T14" fmla="*/ 18 w 19"/>
              <a:gd name="T15" fmla="*/ 4 h 6"/>
              <a:gd name="T16" fmla="*/ 15 w 19"/>
              <a:gd name="T17" fmla="*/ 4 h 6"/>
              <a:gd name="T18" fmla="*/ 11 w 19"/>
              <a:gd name="T19" fmla="*/ 6 h 6"/>
              <a:gd name="T20" fmla="*/ 2 w 19"/>
              <a:gd name="T21" fmla="*/ 5 h 6"/>
              <a:gd name="T22" fmla="*/ 1 w 19"/>
              <a:gd name="T23" fmla="*/ 4 h 6"/>
              <a:gd name="T24" fmla="*/ 0 w 19"/>
              <a:gd name="T25" fmla="*/ 2 h 6"/>
              <a:gd name="T26" fmla="*/ 0 w 19"/>
              <a:gd name="T27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9" h="6">
                <a:moveTo>
                  <a:pt x="0" y="1"/>
                </a:moveTo>
                <a:lnTo>
                  <a:pt x="1" y="1"/>
                </a:lnTo>
                <a:lnTo>
                  <a:pt x="3" y="0"/>
                </a:lnTo>
                <a:lnTo>
                  <a:pt x="5" y="0"/>
                </a:lnTo>
                <a:lnTo>
                  <a:pt x="16" y="0"/>
                </a:lnTo>
                <a:lnTo>
                  <a:pt x="18" y="0"/>
                </a:lnTo>
                <a:lnTo>
                  <a:pt x="19" y="3"/>
                </a:lnTo>
                <a:lnTo>
                  <a:pt x="18" y="4"/>
                </a:lnTo>
                <a:lnTo>
                  <a:pt x="15" y="4"/>
                </a:lnTo>
                <a:lnTo>
                  <a:pt x="11" y="6"/>
                </a:lnTo>
                <a:lnTo>
                  <a:pt x="2" y="5"/>
                </a:lnTo>
                <a:lnTo>
                  <a:pt x="1" y="4"/>
                </a:lnTo>
                <a:lnTo>
                  <a:pt x="0" y="2"/>
                </a:lnTo>
                <a:lnTo>
                  <a:pt x="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28" name="Freeform 1328"/>
          <p:cNvSpPr>
            <a:spLocks/>
          </p:cNvSpPr>
          <p:nvPr/>
        </p:nvSpPr>
        <p:spPr bwMode="auto">
          <a:xfrm>
            <a:off x="7277100" y="3773453"/>
            <a:ext cx="9525" cy="6350"/>
          </a:xfrm>
          <a:custGeom>
            <a:avLst/>
            <a:gdLst>
              <a:gd name="T0" fmla="*/ 0 w 6"/>
              <a:gd name="T1" fmla="*/ 1 h 4"/>
              <a:gd name="T2" fmla="*/ 5 w 6"/>
              <a:gd name="T3" fmla="*/ 0 h 4"/>
              <a:gd name="T4" fmla="*/ 6 w 6"/>
              <a:gd name="T5" fmla="*/ 1 h 4"/>
              <a:gd name="T6" fmla="*/ 6 w 6"/>
              <a:gd name="T7" fmla="*/ 2 h 4"/>
              <a:gd name="T8" fmla="*/ 3 w 6"/>
              <a:gd name="T9" fmla="*/ 4 h 4"/>
              <a:gd name="T10" fmla="*/ 0 w 6"/>
              <a:gd name="T11" fmla="*/ 2 h 4"/>
              <a:gd name="T12" fmla="*/ 0 w 6"/>
              <a:gd name="T13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4">
                <a:moveTo>
                  <a:pt x="0" y="1"/>
                </a:moveTo>
                <a:lnTo>
                  <a:pt x="5" y="0"/>
                </a:lnTo>
                <a:lnTo>
                  <a:pt x="6" y="1"/>
                </a:lnTo>
                <a:lnTo>
                  <a:pt x="6" y="2"/>
                </a:lnTo>
                <a:lnTo>
                  <a:pt x="3" y="4"/>
                </a:lnTo>
                <a:lnTo>
                  <a:pt x="0" y="2"/>
                </a:lnTo>
                <a:lnTo>
                  <a:pt x="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29" name="Freeform 1329"/>
          <p:cNvSpPr>
            <a:spLocks/>
          </p:cNvSpPr>
          <p:nvPr/>
        </p:nvSpPr>
        <p:spPr bwMode="auto">
          <a:xfrm>
            <a:off x="7277100" y="3773453"/>
            <a:ext cx="9525" cy="6350"/>
          </a:xfrm>
          <a:custGeom>
            <a:avLst/>
            <a:gdLst>
              <a:gd name="T0" fmla="*/ 0 w 6"/>
              <a:gd name="T1" fmla="*/ 1 h 4"/>
              <a:gd name="T2" fmla="*/ 5 w 6"/>
              <a:gd name="T3" fmla="*/ 0 h 4"/>
              <a:gd name="T4" fmla="*/ 6 w 6"/>
              <a:gd name="T5" fmla="*/ 1 h 4"/>
              <a:gd name="T6" fmla="*/ 6 w 6"/>
              <a:gd name="T7" fmla="*/ 2 h 4"/>
              <a:gd name="T8" fmla="*/ 3 w 6"/>
              <a:gd name="T9" fmla="*/ 4 h 4"/>
              <a:gd name="T10" fmla="*/ 0 w 6"/>
              <a:gd name="T11" fmla="*/ 2 h 4"/>
              <a:gd name="T12" fmla="*/ 0 w 6"/>
              <a:gd name="T13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" h="4">
                <a:moveTo>
                  <a:pt x="0" y="1"/>
                </a:moveTo>
                <a:lnTo>
                  <a:pt x="5" y="0"/>
                </a:lnTo>
                <a:lnTo>
                  <a:pt x="6" y="1"/>
                </a:lnTo>
                <a:lnTo>
                  <a:pt x="6" y="2"/>
                </a:lnTo>
                <a:lnTo>
                  <a:pt x="3" y="4"/>
                </a:lnTo>
                <a:lnTo>
                  <a:pt x="0" y="2"/>
                </a:lnTo>
                <a:lnTo>
                  <a:pt x="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30" name="Freeform 1330"/>
          <p:cNvSpPr>
            <a:spLocks/>
          </p:cNvSpPr>
          <p:nvPr/>
        </p:nvSpPr>
        <p:spPr bwMode="auto">
          <a:xfrm>
            <a:off x="7669212" y="3579778"/>
            <a:ext cx="22225" cy="11113"/>
          </a:xfrm>
          <a:custGeom>
            <a:avLst/>
            <a:gdLst>
              <a:gd name="T0" fmla="*/ 1 w 14"/>
              <a:gd name="T1" fmla="*/ 1 h 7"/>
              <a:gd name="T2" fmla="*/ 0 w 14"/>
              <a:gd name="T3" fmla="*/ 1 h 7"/>
              <a:gd name="T4" fmla="*/ 2 w 14"/>
              <a:gd name="T5" fmla="*/ 1 h 7"/>
              <a:gd name="T6" fmla="*/ 5 w 14"/>
              <a:gd name="T7" fmla="*/ 0 h 7"/>
              <a:gd name="T8" fmla="*/ 14 w 14"/>
              <a:gd name="T9" fmla="*/ 5 h 7"/>
              <a:gd name="T10" fmla="*/ 10 w 14"/>
              <a:gd name="T11" fmla="*/ 6 h 7"/>
              <a:gd name="T12" fmla="*/ 8 w 14"/>
              <a:gd name="T13" fmla="*/ 7 h 7"/>
              <a:gd name="T14" fmla="*/ 5 w 14"/>
              <a:gd name="T15" fmla="*/ 5 h 7"/>
              <a:gd name="T16" fmla="*/ 3 w 14"/>
              <a:gd name="T17" fmla="*/ 5 h 7"/>
              <a:gd name="T18" fmla="*/ 1 w 14"/>
              <a:gd name="T19" fmla="*/ 4 h 7"/>
              <a:gd name="T20" fmla="*/ 0 w 14"/>
              <a:gd name="T21" fmla="*/ 3 h 7"/>
              <a:gd name="T22" fmla="*/ 0 w 14"/>
              <a:gd name="T23" fmla="*/ 2 h 7"/>
              <a:gd name="T24" fmla="*/ 1 w 14"/>
              <a:gd name="T25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" h="7">
                <a:moveTo>
                  <a:pt x="1" y="1"/>
                </a:moveTo>
                <a:lnTo>
                  <a:pt x="0" y="1"/>
                </a:lnTo>
                <a:lnTo>
                  <a:pt x="2" y="1"/>
                </a:lnTo>
                <a:lnTo>
                  <a:pt x="5" y="0"/>
                </a:lnTo>
                <a:lnTo>
                  <a:pt x="14" y="5"/>
                </a:lnTo>
                <a:lnTo>
                  <a:pt x="10" y="6"/>
                </a:lnTo>
                <a:lnTo>
                  <a:pt x="8" y="7"/>
                </a:lnTo>
                <a:lnTo>
                  <a:pt x="5" y="5"/>
                </a:lnTo>
                <a:lnTo>
                  <a:pt x="3" y="5"/>
                </a:lnTo>
                <a:lnTo>
                  <a:pt x="1" y="4"/>
                </a:lnTo>
                <a:lnTo>
                  <a:pt x="0" y="3"/>
                </a:lnTo>
                <a:lnTo>
                  <a:pt x="0" y="2"/>
                </a:lnTo>
                <a:lnTo>
                  <a:pt x="1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31" name="Freeform 1331"/>
          <p:cNvSpPr>
            <a:spLocks/>
          </p:cNvSpPr>
          <p:nvPr/>
        </p:nvSpPr>
        <p:spPr bwMode="auto">
          <a:xfrm>
            <a:off x="7669212" y="3579778"/>
            <a:ext cx="22225" cy="11113"/>
          </a:xfrm>
          <a:custGeom>
            <a:avLst/>
            <a:gdLst>
              <a:gd name="T0" fmla="*/ 1 w 14"/>
              <a:gd name="T1" fmla="*/ 1 h 7"/>
              <a:gd name="T2" fmla="*/ 0 w 14"/>
              <a:gd name="T3" fmla="*/ 1 h 7"/>
              <a:gd name="T4" fmla="*/ 2 w 14"/>
              <a:gd name="T5" fmla="*/ 1 h 7"/>
              <a:gd name="T6" fmla="*/ 5 w 14"/>
              <a:gd name="T7" fmla="*/ 0 h 7"/>
              <a:gd name="T8" fmla="*/ 14 w 14"/>
              <a:gd name="T9" fmla="*/ 5 h 7"/>
              <a:gd name="T10" fmla="*/ 10 w 14"/>
              <a:gd name="T11" fmla="*/ 6 h 7"/>
              <a:gd name="T12" fmla="*/ 8 w 14"/>
              <a:gd name="T13" fmla="*/ 7 h 7"/>
              <a:gd name="T14" fmla="*/ 5 w 14"/>
              <a:gd name="T15" fmla="*/ 5 h 7"/>
              <a:gd name="T16" fmla="*/ 3 w 14"/>
              <a:gd name="T17" fmla="*/ 5 h 7"/>
              <a:gd name="T18" fmla="*/ 1 w 14"/>
              <a:gd name="T19" fmla="*/ 4 h 7"/>
              <a:gd name="T20" fmla="*/ 0 w 14"/>
              <a:gd name="T21" fmla="*/ 3 h 7"/>
              <a:gd name="T22" fmla="*/ 0 w 14"/>
              <a:gd name="T23" fmla="*/ 2 h 7"/>
              <a:gd name="T24" fmla="*/ 1 w 14"/>
              <a:gd name="T25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4" h="7">
                <a:moveTo>
                  <a:pt x="1" y="1"/>
                </a:moveTo>
                <a:lnTo>
                  <a:pt x="0" y="1"/>
                </a:lnTo>
                <a:lnTo>
                  <a:pt x="2" y="1"/>
                </a:lnTo>
                <a:lnTo>
                  <a:pt x="5" y="0"/>
                </a:lnTo>
                <a:lnTo>
                  <a:pt x="14" y="5"/>
                </a:lnTo>
                <a:lnTo>
                  <a:pt x="10" y="6"/>
                </a:lnTo>
                <a:lnTo>
                  <a:pt x="8" y="7"/>
                </a:lnTo>
                <a:lnTo>
                  <a:pt x="5" y="5"/>
                </a:lnTo>
                <a:lnTo>
                  <a:pt x="3" y="5"/>
                </a:lnTo>
                <a:lnTo>
                  <a:pt x="1" y="4"/>
                </a:lnTo>
                <a:lnTo>
                  <a:pt x="0" y="3"/>
                </a:lnTo>
                <a:lnTo>
                  <a:pt x="0" y="2"/>
                </a:lnTo>
                <a:lnTo>
                  <a:pt x="1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32" name="Freeform 1332"/>
          <p:cNvSpPr>
            <a:spLocks/>
          </p:cNvSpPr>
          <p:nvPr/>
        </p:nvSpPr>
        <p:spPr bwMode="auto">
          <a:xfrm>
            <a:off x="7677150" y="3603590"/>
            <a:ext cx="7937" cy="12700"/>
          </a:xfrm>
          <a:custGeom>
            <a:avLst/>
            <a:gdLst>
              <a:gd name="T0" fmla="*/ 0 w 5"/>
              <a:gd name="T1" fmla="*/ 2 h 8"/>
              <a:gd name="T2" fmla="*/ 4 w 5"/>
              <a:gd name="T3" fmla="*/ 0 h 8"/>
              <a:gd name="T4" fmla="*/ 5 w 5"/>
              <a:gd name="T5" fmla="*/ 1 h 8"/>
              <a:gd name="T6" fmla="*/ 5 w 5"/>
              <a:gd name="T7" fmla="*/ 7 h 8"/>
              <a:gd name="T8" fmla="*/ 3 w 5"/>
              <a:gd name="T9" fmla="*/ 8 h 8"/>
              <a:gd name="T10" fmla="*/ 1 w 5"/>
              <a:gd name="T11" fmla="*/ 7 h 8"/>
              <a:gd name="T12" fmla="*/ 0 w 5"/>
              <a:gd name="T13" fmla="*/ 2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" h="8">
                <a:moveTo>
                  <a:pt x="0" y="2"/>
                </a:moveTo>
                <a:lnTo>
                  <a:pt x="4" y="0"/>
                </a:lnTo>
                <a:lnTo>
                  <a:pt x="5" y="1"/>
                </a:lnTo>
                <a:lnTo>
                  <a:pt x="5" y="7"/>
                </a:lnTo>
                <a:lnTo>
                  <a:pt x="3" y="8"/>
                </a:lnTo>
                <a:lnTo>
                  <a:pt x="1" y="7"/>
                </a:lnTo>
                <a:lnTo>
                  <a:pt x="0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33" name="Freeform 1333"/>
          <p:cNvSpPr>
            <a:spLocks/>
          </p:cNvSpPr>
          <p:nvPr/>
        </p:nvSpPr>
        <p:spPr bwMode="auto">
          <a:xfrm>
            <a:off x="7677150" y="3603590"/>
            <a:ext cx="7937" cy="12700"/>
          </a:xfrm>
          <a:custGeom>
            <a:avLst/>
            <a:gdLst>
              <a:gd name="T0" fmla="*/ 0 w 5"/>
              <a:gd name="T1" fmla="*/ 2 h 8"/>
              <a:gd name="T2" fmla="*/ 4 w 5"/>
              <a:gd name="T3" fmla="*/ 0 h 8"/>
              <a:gd name="T4" fmla="*/ 5 w 5"/>
              <a:gd name="T5" fmla="*/ 1 h 8"/>
              <a:gd name="T6" fmla="*/ 5 w 5"/>
              <a:gd name="T7" fmla="*/ 7 h 8"/>
              <a:gd name="T8" fmla="*/ 3 w 5"/>
              <a:gd name="T9" fmla="*/ 8 h 8"/>
              <a:gd name="T10" fmla="*/ 1 w 5"/>
              <a:gd name="T11" fmla="*/ 7 h 8"/>
              <a:gd name="T12" fmla="*/ 0 w 5"/>
              <a:gd name="T13" fmla="*/ 2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" h="8">
                <a:moveTo>
                  <a:pt x="0" y="2"/>
                </a:moveTo>
                <a:lnTo>
                  <a:pt x="4" y="0"/>
                </a:lnTo>
                <a:lnTo>
                  <a:pt x="5" y="1"/>
                </a:lnTo>
                <a:lnTo>
                  <a:pt x="5" y="7"/>
                </a:lnTo>
                <a:lnTo>
                  <a:pt x="3" y="8"/>
                </a:lnTo>
                <a:lnTo>
                  <a:pt x="1" y="7"/>
                </a:lnTo>
                <a:lnTo>
                  <a:pt x="0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34" name="Freeform 1334"/>
          <p:cNvSpPr>
            <a:spLocks/>
          </p:cNvSpPr>
          <p:nvPr/>
        </p:nvSpPr>
        <p:spPr bwMode="auto">
          <a:xfrm>
            <a:off x="7653337" y="3628990"/>
            <a:ext cx="15875" cy="9525"/>
          </a:xfrm>
          <a:custGeom>
            <a:avLst/>
            <a:gdLst>
              <a:gd name="T0" fmla="*/ 0 w 10"/>
              <a:gd name="T1" fmla="*/ 2 h 6"/>
              <a:gd name="T2" fmla="*/ 2 w 10"/>
              <a:gd name="T3" fmla="*/ 2 h 6"/>
              <a:gd name="T4" fmla="*/ 3 w 10"/>
              <a:gd name="T5" fmla="*/ 1 h 6"/>
              <a:gd name="T6" fmla="*/ 4 w 10"/>
              <a:gd name="T7" fmla="*/ 0 h 6"/>
              <a:gd name="T8" fmla="*/ 6 w 10"/>
              <a:gd name="T9" fmla="*/ 0 h 6"/>
              <a:gd name="T10" fmla="*/ 9 w 10"/>
              <a:gd name="T11" fmla="*/ 0 h 6"/>
              <a:gd name="T12" fmla="*/ 10 w 10"/>
              <a:gd name="T13" fmla="*/ 2 h 6"/>
              <a:gd name="T14" fmla="*/ 10 w 10"/>
              <a:gd name="T15" fmla="*/ 3 h 6"/>
              <a:gd name="T16" fmla="*/ 10 w 10"/>
              <a:gd name="T17" fmla="*/ 4 h 6"/>
              <a:gd name="T18" fmla="*/ 8 w 10"/>
              <a:gd name="T19" fmla="*/ 5 h 6"/>
              <a:gd name="T20" fmla="*/ 4 w 10"/>
              <a:gd name="T21" fmla="*/ 6 h 6"/>
              <a:gd name="T22" fmla="*/ 1 w 10"/>
              <a:gd name="T23" fmla="*/ 3 h 6"/>
              <a:gd name="T24" fmla="*/ 0 w 10"/>
              <a:gd name="T25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" h="6">
                <a:moveTo>
                  <a:pt x="0" y="2"/>
                </a:moveTo>
                <a:lnTo>
                  <a:pt x="2" y="2"/>
                </a:lnTo>
                <a:lnTo>
                  <a:pt x="3" y="1"/>
                </a:lnTo>
                <a:lnTo>
                  <a:pt x="4" y="0"/>
                </a:lnTo>
                <a:lnTo>
                  <a:pt x="6" y="0"/>
                </a:lnTo>
                <a:lnTo>
                  <a:pt x="9" y="0"/>
                </a:lnTo>
                <a:lnTo>
                  <a:pt x="10" y="2"/>
                </a:lnTo>
                <a:lnTo>
                  <a:pt x="10" y="3"/>
                </a:lnTo>
                <a:lnTo>
                  <a:pt x="10" y="4"/>
                </a:lnTo>
                <a:lnTo>
                  <a:pt x="8" y="5"/>
                </a:lnTo>
                <a:lnTo>
                  <a:pt x="4" y="6"/>
                </a:lnTo>
                <a:lnTo>
                  <a:pt x="1" y="3"/>
                </a:lnTo>
                <a:lnTo>
                  <a:pt x="0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35" name="Freeform 1335"/>
          <p:cNvSpPr>
            <a:spLocks/>
          </p:cNvSpPr>
          <p:nvPr/>
        </p:nvSpPr>
        <p:spPr bwMode="auto">
          <a:xfrm>
            <a:off x="7653337" y="3628990"/>
            <a:ext cx="15875" cy="9525"/>
          </a:xfrm>
          <a:custGeom>
            <a:avLst/>
            <a:gdLst>
              <a:gd name="T0" fmla="*/ 0 w 10"/>
              <a:gd name="T1" fmla="*/ 2 h 6"/>
              <a:gd name="T2" fmla="*/ 2 w 10"/>
              <a:gd name="T3" fmla="*/ 2 h 6"/>
              <a:gd name="T4" fmla="*/ 3 w 10"/>
              <a:gd name="T5" fmla="*/ 1 h 6"/>
              <a:gd name="T6" fmla="*/ 4 w 10"/>
              <a:gd name="T7" fmla="*/ 0 h 6"/>
              <a:gd name="T8" fmla="*/ 6 w 10"/>
              <a:gd name="T9" fmla="*/ 0 h 6"/>
              <a:gd name="T10" fmla="*/ 9 w 10"/>
              <a:gd name="T11" fmla="*/ 0 h 6"/>
              <a:gd name="T12" fmla="*/ 10 w 10"/>
              <a:gd name="T13" fmla="*/ 2 h 6"/>
              <a:gd name="T14" fmla="*/ 10 w 10"/>
              <a:gd name="T15" fmla="*/ 3 h 6"/>
              <a:gd name="T16" fmla="*/ 10 w 10"/>
              <a:gd name="T17" fmla="*/ 4 h 6"/>
              <a:gd name="T18" fmla="*/ 8 w 10"/>
              <a:gd name="T19" fmla="*/ 5 h 6"/>
              <a:gd name="T20" fmla="*/ 4 w 10"/>
              <a:gd name="T21" fmla="*/ 6 h 6"/>
              <a:gd name="T22" fmla="*/ 1 w 10"/>
              <a:gd name="T23" fmla="*/ 3 h 6"/>
              <a:gd name="T24" fmla="*/ 0 w 10"/>
              <a:gd name="T25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0" h="6">
                <a:moveTo>
                  <a:pt x="0" y="2"/>
                </a:moveTo>
                <a:lnTo>
                  <a:pt x="2" y="2"/>
                </a:lnTo>
                <a:lnTo>
                  <a:pt x="3" y="1"/>
                </a:lnTo>
                <a:lnTo>
                  <a:pt x="4" y="0"/>
                </a:lnTo>
                <a:lnTo>
                  <a:pt x="6" y="0"/>
                </a:lnTo>
                <a:lnTo>
                  <a:pt x="9" y="0"/>
                </a:lnTo>
                <a:lnTo>
                  <a:pt x="10" y="2"/>
                </a:lnTo>
                <a:lnTo>
                  <a:pt x="10" y="3"/>
                </a:lnTo>
                <a:lnTo>
                  <a:pt x="10" y="4"/>
                </a:lnTo>
                <a:lnTo>
                  <a:pt x="8" y="5"/>
                </a:lnTo>
                <a:lnTo>
                  <a:pt x="4" y="6"/>
                </a:lnTo>
                <a:lnTo>
                  <a:pt x="1" y="3"/>
                </a:lnTo>
                <a:lnTo>
                  <a:pt x="0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36" name="Freeform 1336"/>
          <p:cNvSpPr>
            <a:spLocks/>
          </p:cNvSpPr>
          <p:nvPr/>
        </p:nvSpPr>
        <p:spPr bwMode="auto">
          <a:xfrm>
            <a:off x="7604125" y="3660740"/>
            <a:ext cx="74612" cy="28575"/>
          </a:xfrm>
          <a:custGeom>
            <a:avLst/>
            <a:gdLst>
              <a:gd name="T0" fmla="*/ 1 w 47"/>
              <a:gd name="T1" fmla="*/ 12 h 18"/>
              <a:gd name="T2" fmla="*/ 1 w 47"/>
              <a:gd name="T3" fmla="*/ 12 h 18"/>
              <a:gd name="T4" fmla="*/ 0 w 47"/>
              <a:gd name="T5" fmla="*/ 7 h 18"/>
              <a:gd name="T6" fmla="*/ 1 w 47"/>
              <a:gd name="T7" fmla="*/ 5 h 18"/>
              <a:gd name="T8" fmla="*/ 2 w 47"/>
              <a:gd name="T9" fmla="*/ 4 h 18"/>
              <a:gd name="T10" fmla="*/ 4 w 47"/>
              <a:gd name="T11" fmla="*/ 2 h 18"/>
              <a:gd name="T12" fmla="*/ 5 w 47"/>
              <a:gd name="T13" fmla="*/ 0 h 18"/>
              <a:gd name="T14" fmla="*/ 13 w 47"/>
              <a:gd name="T15" fmla="*/ 1 h 18"/>
              <a:gd name="T16" fmla="*/ 16 w 47"/>
              <a:gd name="T17" fmla="*/ 1 h 18"/>
              <a:gd name="T18" fmla="*/ 20 w 47"/>
              <a:gd name="T19" fmla="*/ 0 h 18"/>
              <a:gd name="T20" fmla="*/ 21 w 47"/>
              <a:gd name="T21" fmla="*/ 1 h 18"/>
              <a:gd name="T22" fmla="*/ 26 w 47"/>
              <a:gd name="T23" fmla="*/ 0 h 18"/>
              <a:gd name="T24" fmla="*/ 30 w 47"/>
              <a:gd name="T25" fmla="*/ 1 h 18"/>
              <a:gd name="T26" fmla="*/ 32 w 47"/>
              <a:gd name="T27" fmla="*/ 3 h 18"/>
              <a:gd name="T28" fmla="*/ 34 w 47"/>
              <a:gd name="T29" fmla="*/ 3 h 18"/>
              <a:gd name="T30" fmla="*/ 37 w 47"/>
              <a:gd name="T31" fmla="*/ 3 h 18"/>
              <a:gd name="T32" fmla="*/ 40 w 47"/>
              <a:gd name="T33" fmla="*/ 3 h 18"/>
              <a:gd name="T34" fmla="*/ 42 w 47"/>
              <a:gd name="T35" fmla="*/ 4 h 18"/>
              <a:gd name="T36" fmla="*/ 44 w 47"/>
              <a:gd name="T37" fmla="*/ 10 h 18"/>
              <a:gd name="T38" fmla="*/ 45 w 47"/>
              <a:gd name="T39" fmla="*/ 11 h 18"/>
              <a:gd name="T40" fmla="*/ 47 w 47"/>
              <a:gd name="T41" fmla="*/ 12 h 18"/>
              <a:gd name="T42" fmla="*/ 47 w 47"/>
              <a:gd name="T43" fmla="*/ 16 h 18"/>
              <a:gd name="T44" fmla="*/ 45 w 47"/>
              <a:gd name="T45" fmla="*/ 18 h 18"/>
              <a:gd name="T46" fmla="*/ 44 w 47"/>
              <a:gd name="T47" fmla="*/ 17 h 18"/>
              <a:gd name="T48" fmla="*/ 32 w 47"/>
              <a:gd name="T49" fmla="*/ 10 h 18"/>
              <a:gd name="T50" fmla="*/ 29 w 47"/>
              <a:gd name="T51" fmla="*/ 10 h 18"/>
              <a:gd name="T52" fmla="*/ 26 w 47"/>
              <a:gd name="T53" fmla="*/ 10 h 18"/>
              <a:gd name="T54" fmla="*/ 26 w 47"/>
              <a:gd name="T55" fmla="*/ 11 h 18"/>
              <a:gd name="T56" fmla="*/ 24 w 47"/>
              <a:gd name="T57" fmla="*/ 11 h 18"/>
              <a:gd name="T58" fmla="*/ 21 w 47"/>
              <a:gd name="T59" fmla="*/ 11 h 18"/>
              <a:gd name="T60" fmla="*/ 19 w 47"/>
              <a:gd name="T61" fmla="*/ 11 h 18"/>
              <a:gd name="T62" fmla="*/ 16 w 47"/>
              <a:gd name="T63" fmla="*/ 7 h 18"/>
              <a:gd name="T64" fmla="*/ 13 w 47"/>
              <a:gd name="T65" fmla="*/ 8 h 18"/>
              <a:gd name="T66" fmla="*/ 12 w 47"/>
              <a:gd name="T67" fmla="*/ 11 h 18"/>
              <a:gd name="T68" fmla="*/ 10 w 47"/>
              <a:gd name="T69" fmla="*/ 12 h 18"/>
              <a:gd name="T70" fmla="*/ 8 w 47"/>
              <a:gd name="T71" fmla="*/ 10 h 18"/>
              <a:gd name="T72" fmla="*/ 4 w 47"/>
              <a:gd name="T73" fmla="*/ 6 h 18"/>
              <a:gd name="T74" fmla="*/ 3 w 47"/>
              <a:gd name="T75" fmla="*/ 7 h 18"/>
              <a:gd name="T76" fmla="*/ 1 w 47"/>
              <a:gd name="T77" fmla="*/ 12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7" h="18">
                <a:moveTo>
                  <a:pt x="1" y="12"/>
                </a:moveTo>
                <a:lnTo>
                  <a:pt x="1" y="12"/>
                </a:lnTo>
                <a:lnTo>
                  <a:pt x="0" y="7"/>
                </a:lnTo>
                <a:lnTo>
                  <a:pt x="1" y="5"/>
                </a:lnTo>
                <a:lnTo>
                  <a:pt x="2" y="4"/>
                </a:lnTo>
                <a:lnTo>
                  <a:pt x="4" y="2"/>
                </a:lnTo>
                <a:lnTo>
                  <a:pt x="5" y="0"/>
                </a:lnTo>
                <a:lnTo>
                  <a:pt x="13" y="1"/>
                </a:lnTo>
                <a:lnTo>
                  <a:pt x="16" y="1"/>
                </a:lnTo>
                <a:lnTo>
                  <a:pt x="20" y="0"/>
                </a:lnTo>
                <a:lnTo>
                  <a:pt x="21" y="1"/>
                </a:lnTo>
                <a:lnTo>
                  <a:pt x="26" y="0"/>
                </a:lnTo>
                <a:lnTo>
                  <a:pt x="30" y="1"/>
                </a:lnTo>
                <a:lnTo>
                  <a:pt x="32" y="3"/>
                </a:lnTo>
                <a:lnTo>
                  <a:pt x="34" y="3"/>
                </a:lnTo>
                <a:lnTo>
                  <a:pt x="37" y="3"/>
                </a:lnTo>
                <a:lnTo>
                  <a:pt x="40" y="3"/>
                </a:lnTo>
                <a:lnTo>
                  <a:pt x="42" y="4"/>
                </a:lnTo>
                <a:lnTo>
                  <a:pt x="44" y="10"/>
                </a:lnTo>
                <a:lnTo>
                  <a:pt x="45" y="11"/>
                </a:lnTo>
                <a:lnTo>
                  <a:pt x="47" y="12"/>
                </a:lnTo>
                <a:lnTo>
                  <a:pt x="47" y="16"/>
                </a:lnTo>
                <a:lnTo>
                  <a:pt x="45" y="18"/>
                </a:lnTo>
                <a:lnTo>
                  <a:pt x="44" y="17"/>
                </a:lnTo>
                <a:lnTo>
                  <a:pt x="32" y="10"/>
                </a:lnTo>
                <a:lnTo>
                  <a:pt x="29" y="10"/>
                </a:lnTo>
                <a:lnTo>
                  <a:pt x="26" y="10"/>
                </a:lnTo>
                <a:lnTo>
                  <a:pt x="26" y="11"/>
                </a:lnTo>
                <a:lnTo>
                  <a:pt x="24" y="11"/>
                </a:lnTo>
                <a:lnTo>
                  <a:pt x="21" y="11"/>
                </a:lnTo>
                <a:lnTo>
                  <a:pt x="19" y="11"/>
                </a:lnTo>
                <a:lnTo>
                  <a:pt x="16" y="7"/>
                </a:lnTo>
                <a:lnTo>
                  <a:pt x="13" y="8"/>
                </a:lnTo>
                <a:lnTo>
                  <a:pt x="12" y="11"/>
                </a:lnTo>
                <a:lnTo>
                  <a:pt x="10" y="12"/>
                </a:lnTo>
                <a:lnTo>
                  <a:pt x="8" y="10"/>
                </a:lnTo>
                <a:lnTo>
                  <a:pt x="4" y="6"/>
                </a:lnTo>
                <a:lnTo>
                  <a:pt x="3" y="7"/>
                </a:lnTo>
                <a:lnTo>
                  <a:pt x="1" y="1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37" name="Freeform 1337"/>
          <p:cNvSpPr>
            <a:spLocks/>
          </p:cNvSpPr>
          <p:nvPr/>
        </p:nvSpPr>
        <p:spPr bwMode="auto">
          <a:xfrm>
            <a:off x="7604125" y="3660740"/>
            <a:ext cx="74612" cy="28575"/>
          </a:xfrm>
          <a:custGeom>
            <a:avLst/>
            <a:gdLst>
              <a:gd name="T0" fmla="*/ 1 w 47"/>
              <a:gd name="T1" fmla="*/ 12 h 18"/>
              <a:gd name="T2" fmla="*/ 1 w 47"/>
              <a:gd name="T3" fmla="*/ 12 h 18"/>
              <a:gd name="T4" fmla="*/ 0 w 47"/>
              <a:gd name="T5" fmla="*/ 7 h 18"/>
              <a:gd name="T6" fmla="*/ 1 w 47"/>
              <a:gd name="T7" fmla="*/ 5 h 18"/>
              <a:gd name="T8" fmla="*/ 2 w 47"/>
              <a:gd name="T9" fmla="*/ 4 h 18"/>
              <a:gd name="T10" fmla="*/ 4 w 47"/>
              <a:gd name="T11" fmla="*/ 2 h 18"/>
              <a:gd name="T12" fmla="*/ 5 w 47"/>
              <a:gd name="T13" fmla="*/ 0 h 18"/>
              <a:gd name="T14" fmla="*/ 13 w 47"/>
              <a:gd name="T15" fmla="*/ 1 h 18"/>
              <a:gd name="T16" fmla="*/ 16 w 47"/>
              <a:gd name="T17" fmla="*/ 1 h 18"/>
              <a:gd name="T18" fmla="*/ 20 w 47"/>
              <a:gd name="T19" fmla="*/ 0 h 18"/>
              <a:gd name="T20" fmla="*/ 21 w 47"/>
              <a:gd name="T21" fmla="*/ 1 h 18"/>
              <a:gd name="T22" fmla="*/ 26 w 47"/>
              <a:gd name="T23" fmla="*/ 0 h 18"/>
              <a:gd name="T24" fmla="*/ 30 w 47"/>
              <a:gd name="T25" fmla="*/ 1 h 18"/>
              <a:gd name="T26" fmla="*/ 32 w 47"/>
              <a:gd name="T27" fmla="*/ 3 h 18"/>
              <a:gd name="T28" fmla="*/ 34 w 47"/>
              <a:gd name="T29" fmla="*/ 3 h 18"/>
              <a:gd name="T30" fmla="*/ 37 w 47"/>
              <a:gd name="T31" fmla="*/ 3 h 18"/>
              <a:gd name="T32" fmla="*/ 40 w 47"/>
              <a:gd name="T33" fmla="*/ 3 h 18"/>
              <a:gd name="T34" fmla="*/ 42 w 47"/>
              <a:gd name="T35" fmla="*/ 4 h 18"/>
              <a:gd name="T36" fmla="*/ 44 w 47"/>
              <a:gd name="T37" fmla="*/ 10 h 18"/>
              <a:gd name="T38" fmla="*/ 45 w 47"/>
              <a:gd name="T39" fmla="*/ 11 h 18"/>
              <a:gd name="T40" fmla="*/ 47 w 47"/>
              <a:gd name="T41" fmla="*/ 12 h 18"/>
              <a:gd name="T42" fmla="*/ 47 w 47"/>
              <a:gd name="T43" fmla="*/ 16 h 18"/>
              <a:gd name="T44" fmla="*/ 45 w 47"/>
              <a:gd name="T45" fmla="*/ 18 h 18"/>
              <a:gd name="T46" fmla="*/ 44 w 47"/>
              <a:gd name="T47" fmla="*/ 17 h 18"/>
              <a:gd name="T48" fmla="*/ 32 w 47"/>
              <a:gd name="T49" fmla="*/ 10 h 18"/>
              <a:gd name="T50" fmla="*/ 29 w 47"/>
              <a:gd name="T51" fmla="*/ 10 h 18"/>
              <a:gd name="T52" fmla="*/ 26 w 47"/>
              <a:gd name="T53" fmla="*/ 10 h 18"/>
              <a:gd name="T54" fmla="*/ 26 w 47"/>
              <a:gd name="T55" fmla="*/ 11 h 18"/>
              <a:gd name="T56" fmla="*/ 24 w 47"/>
              <a:gd name="T57" fmla="*/ 11 h 18"/>
              <a:gd name="T58" fmla="*/ 21 w 47"/>
              <a:gd name="T59" fmla="*/ 11 h 18"/>
              <a:gd name="T60" fmla="*/ 19 w 47"/>
              <a:gd name="T61" fmla="*/ 11 h 18"/>
              <a:gd name="T62" fmla="*/ 16 w 47"/>
              <a:gd name="T63" fmla="*/ 7 h 18"/>
              <a:gd name="T64" fmla="*/ 13 w 47"/>
              <a:gd name="T65" fmla="*/ 8 h 18"/>
              <a:gd name="T66" fmla="*/ 12 w 47"/>
              <a:gd name="T67" fmla="*/ 11 h 18"/>
              <a:gd name="T68" fmla="*/ 10 w 47"/>
              <a:gd name="T69" fmla="*/ 12 h 18"/>
              <a:gd name="T70" fmla="*/ 8 w 47"/>
              <a:gd name="T71" fmla="*/ 10 h 18"/>
              <a:gd name="T72" fmla="*/ 4 w 47"/>
              <a:gd name="T73" fmla="*/ 6 h 18"/>
              <a:gd name="T74" fmla="*/ 3 w 47"/>
              <a:gd name="T75" fmla="*/ 7 h 18"/>
              <a:gd name="T76" fmla="*/ 1 w 47"/>
              <a:gd name="T77" fmla="*/ 12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47" h="18">
                <a:moveTo>
                  <a:pt x="1" y="12"/>
                </a:moveTo>
                <a:lnTo>
                  <a:pt x="1" y="12"/>
                </a:lnTo>
                <a:lnTo>
                  <a:pt x="0" y="7"/>
                </a:lnTo>
                <a:lnTo>
                  <a:pt x="1" y="5"/>
                </a:lnTo>
                <a:lnTo>
                  <a:pt x="2" y="4"/>
                </a:lnTo>
                <a:lnTo>
                  <a:pt x="4" y="2"/>
                </a:lnTo>
                <a:lnTo>
                  <a:pt x="5" y="0"/>
                </a:lnTo>
                <a:lnTo>
                  <a:pt x="13" y="1"/>
                </a:lnTo>
                <a:lnTo>
                  <a:pt x="16" y="1"/>
                </a:lnTo>
                <a:lnTo>
                  <a:pt x="20" y="0"/>
                </a:lnTo>
                <a:lnTo>
                  <a:pt x="21" y="1"/>
                </a:lnTo>
                <a:lnTo>
                  <a:pt x="26" y="0"/>
                </a:lnTo>
                <a:lnTo>
                  <a:pt x="30" y="1"/>
                </a:lnTo>
                <a:lnTo>
                  <a:pt x="32" y="3"/>
                </a:lnTo>
                <a:lnTo>
                  <a:pt x="34" y="3"/>
                </a:lnTo>
                <a:lnTo>
                  <a:pt x="37" y="3"/>
                </a:lnTo>
                <a:lnTo>
                  <a:pt x="40" y="3"/>
                </a:lnTo>
                <a:lnTo>
                  <a:pt x="42" y="4"/>
                </a:lnTo>
                <a:lnTo>
                  <a:pt x="44" y="10"/>
                </a:lnTo>
                <a:lnTo>
                  <a:pt x="45" y="11"/>
                </a:lnTo>
                <a:lnTo>
                  <a:pt x="47" y="12"/>
                </a:lnTo>
                <a:lnTo>
                  <a:pt x="47" y="16"/>
                </a:lnTo>
                <a:lnTo>
                  <a:pt x="45" y="18"/>
                </a:lnTo>
                <a:lnTo>
                  <a:pt x="44" y="17"/>
                </a:lnTo>
                <a:lnTo>
                  <a:pt x="32" y="10"/>
                </a:lnTo>
                <a:lnTo>
                  <a:pt x="29" y="10"/>
                </a:lnTo>
                <a:lnTo>
                  <a:pt x="26" y="10"/>
                </a:lnTo>
                <a:lnTo>
                  <a:pt x="26" y="11"/>
                </a:lnTo>
                <a:lnTo>
                  <a:pt x="24" y="11"/>
                </a:lnTo>
                <a:lnTo>
                  <a:pt x="21" y="11"/>
                </a:lnTo>
                <a:lnTo>
                  <a:pt x="19" y="11"/>
                </a:lnTo>
                <a:lnTo>
                  <a:pt x="16" y="7"/>
                </a:lnTo>
                <a:lnTo>
                  <a:pt x="13" y="8"/>
                </a:lnTo>
                <a:lnTo>
                  <a:pt x="12" y="11"/>
                </a:lnTo>
                <a:lnTo>
                  <a:pt x="10" y="12"/>
                </a:lnTo>
                <a:lnTo>
                  <a:pt x="8" y="10"/>
                </a:lnTo>
                <a:lnTo>
                  <a:pt x="4" y="6"/>
                </a:lnTo>
                <a:lnTo>
                  <a:pt x="3" y="7"/>
                </a:lnTo>
                <a:lnTo>
                  <a:pt x="1" y="1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38" name="Freeform 1338"/>
          <p:cNvSpPr>
            <a:spLocks/>
          </p:cNvSpPr>
          <p:nvPr/>
        </p:nvSpPr>
        <p:spPr bwMode="auto">
          <a:xfrm>
            <a:off x="7377112" y="3527390"/>
            <a:ext cx="160337" cy="214313"/>
          </a:xfrm>
          <a:custGeom>
            <a:avLst/>
            <a:gdLst>
              <a:gd name="T0" fmla="*/ 41 w 101"/>
              <a:gd name="T1" fmla="*/ 10 h 135"/>
              <a:gd name="T2" fmla="*/ 47 w 101"/>
              <a:gd name="T3" fmla="*/ 11 h 135"/>
              <a:gd name="T4" fmla="*/ 54 w 101"/>
              <a:gd name="T5" fmla="*/ 13 h 135"/>
              <a:gd name="T6" fmla="*/ 61 w 101"/>
              <a:gd name="T7" fmla="*/ 15 h 135"/>
              <a:gd name="T8" fmla="*/ 67 w 101"/>
              <a:gd name="T9" fmla="*/ 15 h 135"/>
              <a:gd name="T10" fmla="*/ 84 w 101"/>
              <a:gd name="T11" fmla="*/ 15 h 135"/>
              <a:gd name="T12" fmla="*/ 95 w 101"/>
              <a:gd name="T13" fmla="*/ 3 h 135"/>
              <a:gd name="T14" fmla="*/ 101 w 101"/>
              <a:gd name="T15" fmla="*/ 1 h 135"/>
              <a:gd name="T16" fmla="*/ 99 w 101"/>
              <a:gd name="T17" fmla="*/ 10 h 135"/>
              <a:gd name="T18" fmla="*/ 89 w 101"/>
              <a:gd name="T19" fmla="*/ 24 h 135"/>
              <a:gd name="T20" fmla="*/ 78 w 101"/>
              <a:gd name="T21" fmla="*/ 26 h 135"/>
              <a:gd name="T22" fmla="*/ 64 w 101"/>
              <a:gd name="T23" fmla="*/ 23 h 135"/>
              <a:gd name="T24" fmla="*/ 48 w 101"/>
              <a:gd name="T25" fmla="*/ 25 h 135"/>
              <a:gd name="T26" fmla="*/ 43 w 101"/>
              <a:gd name="T27" fmla="*/ 24 h 135"/>
              <a:gd name="T28" fmla="*/ 35 w 101"/>
              <a:gd name="T29" fmla="*/ 25 h 135"/>
              <a:gd name="T30" fmla="*/ 25 w 101"/>
              <a:gd name="T31" fmla="*/ 24 h 135"/>
              <a:gd name="T32" fmla="*/ 20 w 101"/>
              <a:gd name="T33" fmla="*/ 36 h 135"/>
              <a:gd name="T34" fmla="*/ 25 w 101"/>
              <a:gd name="T35" fmla="*/ 50 h 135"/>
              <a:gd name="T36" fmla="*/ 36 w 101"/>
              <a:gd name="T37" fmla="*/ 55 h 135"/>
              <a:gd name="T38" fmla="*/ 44 w 101"/>
              <a:gd name="T39" fmla="*/ 48 h 135"/>
              <a:gd name="T40" fmla="*/ 51 w 101"/>
              <a:gd name="T41" fmla="*/ 49 h 135"/>
              <a:gd name="T42" fmla="*/ 63 w 101"/>
              <a:gd name="T43" fmla="*/ 47 h 135"/>
              <a:gd name="T44" fmla="*/ 72 w 101"/>
              <a:gd name="T45" fmla="*/ 43 h 135"/>
              <a:gd name="T46" fmla="*/ 71 w 101"/>
              <a:gd name="T47" fmla="*/ 50 h 135"/>
              <a:gd name="T48" fmla="*/ 57 w 101"/>
              <a:gd name="T49" fmla="*/ 58 h 135"/>
              <a:gd name="T50" fmla="*/ 48 w 101"/>
              <a:gd name="T51" fmla="*/ 64 h 135"/>
              <a:gd name="T52" fmla="*/ 40 w 101"/>
              <a:gd name="T53" fmla="*/ 65 h 135"/>
              <a:gd name="T54" fmla="*/ 52 w 101"/>
              <a:gd name="T55" fmla="*/ 84 h 135"/>
              <a:gd name="T56" fmla="*/ 56 w 101"/>
              <a:gd name="T57" fmla="*/ 90 h 135"/>
              <a:gd name="T58" fmla="*/ 53 w 101"/>
              <a:gd name="T59" fmla="*/ 96 h 135"/>
              <a:gd name="T60" fmla="*/ 57 w 101"/>
              <a:gd name="T61" fmla="*/ 104 h 135"/>
              <a:gd name="T62" fmla="*/ 62 w 101"/>
              <a:gd name="T63" fmla="*/ 107 h 135"/>
              <a:gd name="T64" fmla="*/ 60 w 101"/>
              <a:gd name="T65" fmla="*/ 112 h 135"/>
              <a:gd name="T66" fmla="*/ 50 w 101"/>
              <a:gd name="T67" fmla="*/ 118 h 135"/>
              <a:gd name="T68" fmla="*/ 41 w 101"/>
              <a:gd name="T69" fmla="*/ 116 h 135"/>
              <a:gd name="T70" fmla="*/ 41 w 101"/>
              <a:gd name="T71" fmla="*/ 105 h 135"/>
              <a:gd name="T72" fmla="*/ 32 w 101"/>
              <a:gd name="T73" fmla="*/ 94 h 135"/>
              <a:gd name="T74" fmla="*/ 34 w 101"/>
              <a:gd name="T75" fmla="*/ 82 h 135"/>
              <a:gd name="T76" fmla="*/ 26 w 101"/>
              <a:gd name="T77" fmla="*/ 82 h 135"/>
              <a:gd name="T78" fmla="*/ 23 w 101"/>
              <a:gd name="T79" fmla="*/ 94 h 135"/>
              <a:gd name="T80" fmla="*/ 23 w 101"/>
              <a:gd name="T81" fmla="*/ 118 h 135"/>
              <a:gd name="T82" fmla="*/ 22 w 101"/>
              <a:gd name="T83" fmla="*/ 132 h 135"/>
              <a:gd name="T84" fmla="*/ 13 w 101"/>
              <a:gd name="T85" fmla="*/ 135 h 135"/>
              <a:gd name="T86" fmla="*/ 5 w 101"/>
              <a:gd name="T87" fmla="*/ 128 h 135"/>
              <a:gd name="T88" fmla="*/ 11 w 101"/>
              <a:gd name="T89" fmla="*/ 106 h 135"/>
              <a:gd name="T90" fmla="*/ 5 w 101"/>
              <a:gd name="T91" fmla="*/ 95 h 135"/>
              <a:gd name="T92" fmla="*/ 0 w 101"/>
              <a:gd name="T93" fmla="*/ 87 h 135"/>
              <a:gd name="T94" fmla="*/ 5 w 101"/>
              <a:gd name="T95" fmla="*/ 70 h 135"/>
              <a:gd name="T96" fmla="*/ 11 w 101"/>
              <a:gd name="T97" fmla="*/ 48 h 135"/>
              <a:gd name="T98" fmla="*/ 15 w 101"/>
              <a:gd name="T99" fmla="*/ 46 h 135"/>
              <a:gd name="T100" fmla="*/ 14 w 101"/>
              <a:gd name="T101" fmla="*/ 33 h 135"/>
              <a:gd name="T102" fmla="*/ 16 w 101"/>
              <a:gd name="T103" fmla="*/ 27 h 135"/>
              <a:gd name="T104" fmla="*/ 22 w 101"/>
              <a:gd name="T105" fmla="*/ 16 h 135"/>
              <a:gd name="T106" fmla="*/ 27 w 101"/>
              <a:gd name="T107" fmla="*/ 17 h 135"/>
              <a:gd name="T108" fmla="*/ 32 w 101"/>
              <a:gd name="T109" fmla="*/ 8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1" h="135">
                <a:moveTo>
                  <a:pt x="35" y="8"/>
                </a:moveTo>
                <a:lnTo>
                  <a:pt x="41" y="8"/>
                </a:lnTo>
                <a:lnTo>
                  <a:pt x="41" y="10"/>
                </a:lnTo>
                <a:lnTo>
                  <a:pt x="43" y="11"/>
                </a:lnTo>
                <a:lnTo>
                  <a:pt x="45" y="13"/>
                </a:lnTo>
                <a:lnTo>
                  <a:pt x="47" y="11"/>
                </a:lnTo>
                <a:lnTo>
                  <a:pt x="50" y="11"/>
                </a:lnTo>
                <a:lnTo>
                  <a:pt x="52" y="11"/>
                </a:lnTo>
                <a:lnTo>
                  <a:pt x="54" y="13"/>
                </a:lnTo>
                <a:lnTo>
                  <a:pt x="56" y="13"/>
                </a:lnTo>
                <a:lnTo>
                  <a:pt x="58" y="14"/>
                </a:lnTo>
                <a:lnTo>
                  <a:pt x="61" y="15"/>
                </a:lnTo>
                <a:lnTo>
                  <a:pt x="63" y="16"/>
                </a:lnTo>
                <a:lnTo>
                  <a:pt x="65" y="16"/>
                </a:lnTo>
                <a:lnTo>
                  <a:pt x="67" y="15"/>
                </a:lnTo>
                <a:lnTo>
                  <a:pt x="70" y="14"/>
                </a:lnTo>
                <a:lnTo>
                  <a:pt x="81" y="16"/>
                </a:lnTo>
                <a:lnTo>
                  <a:pt x="84" y="15"/>
                </a:lnTo>
                <a:lnTo>
                  <a:pt x="91" y="7"/>
                </a:lnTo>
                <a:lnTo>
                  <a:pt x="93" y="6"/>
                </a:lnTo>
                <a:lnTo>
                  <a:pt x="95" y="3"/>
                </a:lnTo>
                <a:lnTo>
                  <a:pt x="97" y="0"/>
                </a:lnTo>
                <a:lnTo>
                  <a:pt x="99" y="1"/>
                </a:lnTo>
                <a:lnTo>
                  <a:pt x="101" y="1"/>
                </a:lnTo>
                <a:lnTo>
                  <a:pt x="101" y="5"/>
                </a:lnTo>
                <a:lnTo>
                  <a:pt x="101" y="7"/>
                </a:lnTo>
                <a:lnTo>
                  <a:pt x="99" y="10"/>
                </a:lnTo>
                <a:lnTo>
                  <a:pt x="94" y="16"/>
                </a:lnTo>
                <a:lnTo>
                  <a:pt x="92" y="20"/>
                </a:lnTo>
                <a:lnTo>
                  <a:pt x="89" y="24"/>
                </a:lnTo>
                <a:lnTo>
                  <a:pt x="86" y="26"/>
                </a:lnTo>
                <a:lnTo>
                  <a:pt x="82" y="26"/>
                </a:lnTo>
                <a:lnTo>
                  <a:pt x="78" y="26"/>
                </a:lnTo>
                <a:lnTo>
                  <a:pt x="72" y="27"/>
                </a:lnTo>
                <a:lnTo>
                  <a:pt x="68" y="24"/>
                </a:lnTo>
                <a:lnTo>
                  <a:pt x="64" y="23"/>
                </a:lnTo>
                <a:lnTo>
                  <a:pt x="60" y="23"/>
                </a:lnTo>
                <a:lnTo>
                  <a:pt x="52" y="24"/>
                </a:lnTo>
                <a:lnTo>
                  <a:pt x="48" y="25"/>
                </a:lnTo>
                <a:lnTo>
                  <a:pt x="46" y="23"/>
                </a:lnTo>
                <a:lnTo>
                  <a:pt x="44" y="23"/>
                </a:lnTo>
                <a:lnTo>
                  <a:pt x="43" y="24"/>
                </a:lnTo>
                <a:lnTo>
                  <a:pt x="40" y="23"/>
                </a:lnTo>
                <a:lnTo>
                  <a:pt x="38" y="23"/>
                </a:lnTo>
                <a:lnTo>
                  <a:pt x="35" y="25"/>
                </a:lnTo>
                <a:lnTo>
                  <a:pt x="32" y="25"/>
                </a:lnTo>
                <a:lnTo>
                  <a:pt x="28" y="24"/>
                </a:lnTo>
                <a:lnTo>
                  <a:pt x="25" y="24"/>
                </a:lnTo>
                <a:lnTo>
                  <a:pt x="23" y="27"/>
                </a:lnTo>
                <a:lnTo>
                  <a:pt x="21" y="31"/>
                </a:lnTo>
                <a:lnTo>
                  <a:pt x="20" y="36"/>
                </a:lnTo>
                <a:lnTo>
                  <a:pt x="20" y="46"/>
                </a:lnTo>
                <a:lnTo>
                  <a:pt x="22" y="48"/>
                </a:lnTo>
                <a:lnTo>
                  <a:pt x="25" y="50"/>
                </a:lnTo>
                <a:lnTo>
                  <a:pt x="30" y="57"/>
                </a:lnTo>
                <a:lnTo>
                  <a:pt x="35" y="57"/>
                </a:lnTo>
                <a:lnTo>
                  <a:pt x="36" y="55"/>
                </a:lnTo>
                <a:lnTo>
                  <a:pt x="38" y="53"/>
                </a:lnTo>
                <a:lnTo>
                  <a:pt x="41" y="49"/>
                </a:lnTo>
                <a:lnTo>
                  <a:pt x="44" y="48"/>
                </a:lnTo>
                <a:lnTo>
                  <a:pt x="47" y="49"/>
                </a:lnTo>
                <a:lnTo>
                  <a:pt x="47" y="49"/>
                </a:lnTo>
                <a:lnTo>
                  <a:pt x="51" y="49"/>
                </a:lnTo>
                <a:lnTo>
                  <a:pt x="52" y="47"/>
                </a:lnTo>
                <a:lnTo>
                  <a:pt x="56" y="47"/>
                </a:lnTo>
                <a:lnTo>
                  <a:pt x="63" y="47"/>
                </a:lnTo>
                <a:lnTo>
                  <a:pt x="64" y="44"/>
                </a:lnTo>
                <a:lnTo>
                  <a:pt x="68" y="41"/>
                </a:lnTo>
                <a:lnTo>
                  <a:pt x="72" y="43"/>
                </a:lnTo>
                <a:lnTo>
                  <a:pt x="73" y="45"/>
                </a:lnTo>
                <a:lnTo>
                  <a:pt x="73" y="48"/>
                </a:lnTo>
                <a:lnTo>
                  <a:pt x="71" y="50"/>
                </a:lnTo>
                <a:lnTo>
                  <a:pt x="67" y="48"/>
                </a:lnTo>
                <a:lnTo>
                  <a:pt x="64" y="49"/>
                </a:lnTo>
                <a:lnTo>
                  <a:pt x="57" y="58"/>
                </a:lnTo>
                <a:lnTo>
                  <a:pt x="55" y="60"/>
                </a:lnTo>
                <a:lnTo>
                  <a:pt x="51" y="62"/>
                </a:lnTo>
                <a:lnTo>
                  <a:pt x="48" y="64"/>
                </a:lnTo>
                <a:lnTo>
                  <a:pt x="45" y="66"/>
                </a:lnTo>
                <a:lnTo>
                  <a:pt x="43" y="66"/>
                </a:lnTo>
                <a:lnTo>
                  <a:pt x="40" y="65"/>
                </a:lnTo>
                <a:lnTo>
                  <a:pt x="40" y="68"/>
                </a:lnTo>
                <a:lnTo>
                  <a:pt x="44" y="71"/>
                </a:lnTo>
                <a:lnTo>
                  <a:pt x="52" y="84"/>
                </a:lnTo>
                <a:lnTo>
                  <a:pt x="53" y="85"/>
                </a:lnTo>
                <a:lnTo>
                  <a:pt x="54" y="88"/>
                </a:lnTo>
                <a:lnTo>
                  <a:pt x="56" y="90"/>
                </a:lnTo>
                <a:lnTo>
                  <a:pt x="55" y="92"/>
                </a:lnTo>
                <a:lnTo>
                  <a:pt x="53" y="94"/>
                </a:lnTo>
                <a:lnTo>
                  <a:pt x="53" y="96"/>
                </a:lnTo>
                <a:lnTo>
                  <a:pt x="53" y="98"/>
                </a:lnTo>
                <a:lnTo>
                  <a:pt x="56" y="101"/>
                </a:lnTo>
                <a:lnTo>
                  <a:pt x="57" y="104"/>
                </a:lnTo>
                <a:lnTo>
                  <a:pt x="57" y="106"/>
                </a:lnTo>
                <a:lnTo>
                  <a:pt x="60" y="108"/>
                </a:lnTo>
                <a:lnTo>
                  <a:pt x="62" y="107"/>
                </a:lnTo>
                <a:lnTo>
                  <a:pt x="62" y="110"/>
                </a:lnTo>
                <a:lnTo>
                  <a:pt x="61" y="111"/>
                </a:lnTo>
                <a:lnTo>
                  <a:pt x="60" y="112"/>
                </a:lnTo>
                <a:lnTo>
                  <a:pt x="55" y="112"/>
                </a:lnTo>
                <a:lnTo>
                  <a:pt x="51" y="114"/>
                </a:lnTo>
                <a:lnTo>
                  <a:pt x="50" y="118"/>
                </a:lnTo>
                <a:lnTo>
                  <a:pt x="46" y="120"/>
                </a:lnTo>
                <a:lnTo>
                  <a:pt x="42" y="120"/>
                </a:lnTo>
                <a:lnTo>
                  <a:pt x="41" y="116"/>
                </a:lnTo>
                <a:lnTo>
                  <a:pt x="41" y="111"/>
                </a:lnTo>
                <a:lnTo>
                  <a:pt x="42" y="108"/>
                </a:lnTo>
                <a:lnTo>
                  <a:pt x="41" y="105"/>
                </a:lnTo>
                <a:lnTo>
                  <a:pt x="37" y="102"/>
                </a:lnTo>
                <a:lnTo>
                  <a:pt x="34" y="98"/>
                </a:lnTo>
                <a:lnTo>
                  <a:pt x="32" y="94"/>
                </a:lnTo>
                <a:lnTo>
                  <a:pt x="34" y="89"/>
                </a:lnTo>
                <a:lnTo>
                  <a:pt x="34" y="85"/>
                </a:lnTo>
                <a:lnTo>
                  <a:pt x="34" y="82"/>
                </a:lnTo>
                <a:lnTo>
                  <a:pt x="34" y="80"/>
                </a:lnTo>
                <a:lnTo>
                  <a:pt x="30" y="79"/>
                </a:lnTo>
                <a:lnTo>
                  <a:pt x="26" y="82"/>
                </a:lnTo>
                <a:lnTo>
                  <a:pt x="23" y="85"/>
                </a:lnTo>
                <a:lnTo>
                  <a:pt x="21" y="89"/>
                </a:lnTo>
                <a:lnTo>
                  <a:pt x="23" y="94"/>
                </a:lnTo>
                <a:lnTo>
                  <a:pt x="23" y="98"/>
                </a:lnTo>
                <a:lnTo>
                  <a:pt x="22" y="115"/>
                </a:lnTo>
                <a:lnTo>
                  <a:pt x="23" y="118"/>
                </a:lnTo>
                <a:lnTo>
                  <a:pt x="21" y="122"/>
                </a:lnTo>
                <a:lnTo>
                  <a:pt x="21" y="128"/>
                </a:lnTo>
                <a:lnTo>
                  <a:pt x="22" y="132"/>
                </a:lnTo>
                <a:lnTo>
                  <a:pt x="21" y="134"/>
                </a:lnTo>
                <a:lnTo>
                  <a:pt x="17" y="134"/>
                </a:lnTo>
                <a:lnTo>
                  <a:pt x="13" y="135"/>
                </a:lnTo>
                <a:lnTo>
                  <a:pt x="10" y="135"/>
                </a:lnTo>
                <a:lnTo>
                  <a:pt x="6" y="134"/>
                </a:lnTo>
                <a:lnTo>
                  <a:pt x="5" y="128"/>
                </a:lnTo>
                <a:lnTo>
                  <a:pt x="7" y="121"/>
                </a:lnTo>
                <a:lnTo>
                  <a:pt x="8" y="117"/>
                </a:lnTo>
                <a:lnTo>
                  <a:pt x="11" y="106"/>
                </a:lnTo>
                <a:lnTo>
                  <a:pt x="10" y="104"/>
                </a:lnTo>
                <a:lnTo>
                  <a:pt x="8" y="95"/>
                </a:lnTo>
                <a:lnTo>
                  <a:pt x="5" y="95"/>
                </a:lnTo>
                <a:lnTo>
                  <a:pt x="2" y="96"/>
                </a:lnTo>
                <a:lnTo>
                  <a:pt x="0" y="91"/>
                </a:lnTo>
                <a:lnTo>
                  <a:pt x="0" y="87"/>
                </a:lnTo>
                <a:lnTo>
                  <a:pt x="0" y="80"/>
                </a:lnTo>
                <a:lnTo>
                  <a:pt x="3" y="76"/>
                </a:lnTo>
                <a:lnTo>
                  <a:pt x="5" y="70"/>
                </a:lnTo>
                <a:lnTo>
                  <a:pt x="7" y="66"/>
                </a:lnTo>
                <a:lnTo>
                  <a:pt x="7" y="56"/>
                </a:lnTo>
                <a:lnTo>
                  <a:pt x="11" y="48"/>
                </a:lnTo>
                <a:lnTo>
                  <a:pt x="13" y="46"/>
                </a:lnTo>
                <a:lnTo>
                  <a:pt x="14" y="43"/>
                </a:lnTo>
                <a:lnTo>
                  <a:pt x="15" y="46"/>
                </a:lnTo>
                <a:lnTo>
                  <a:pt x="16" y="43"/>
                </a:lnTo>
                <a:lnTo>
                  <a:pt x="15" y="35"/>
                </a:lnTo>
                <a:lnTo>
                  <a:pt x="14" y="33"/>
                </a:lnTo>
                <a:lnTo>
                  <a:pt x="14" y="33"/>
                </a:lnTo>
                <a:lnTo>
                  <a:pt x="16" y="29"/>
                </a:lnTo>
                <a:lnTo>
                  <a:pt x="16" y="27"/>
                </a:lnTo>
                <a:lnTo>
                  <a:pt x="17" y="24"/>
                </a:lnTo>
                <a:lnTo>
                  <a:pt x="18" y="19"/>
                </a:lnTo>
                <a:lnTo>
                  <a:pt x="22" y="16"/>
                </a:lnTo>
                <a:lnTo>
                  <a:pt x="23" y="16"/>
                </a:lnTo>
                <a:lnTo>
                  <a:pt x="25" y="18"/>
                </a:lnTo>
                <a:lnTo>
                  <a:pt x="27" y="17"/>
                </a:lnTo>
                <a:lnTo>
                  <a:pt x="30" y="14"/>
                </a:lnTo>
                <a:lnTo>
                  <a:pt x="31" y="9"/>
                </a:lnTo>
                <a:lnTo>
                  <a:pt x="32" y="8"/>
                </a:lnTo>
                <a:lnTo>
                  <a:pt x="35" y="8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39" name="Freeform 1339"/>
          <p:cNvSpPr>
            <a:spLocks/>
          </p:cNvSpPr>
          <p:nvPr/>
        </p:nvSpPr>
        <p:spPr bwMode="auto">
          <a:xfrm>
            <a:off x="7377112" y="3527390"/>
            <a:ext cx="160337" cy="214313"/>
          </a:xfrm>
          <a:custGeom>
            <a:avLst/>
            <a:gdLst>
              <a:gd name="T0" fmla="*/ 41 w 101"/>
              <a:gd name="T1" fmla="*/ 10 h 135"/>
              <a:gd name="T2" fmla="*/ 47 w 101"/>
              <a:gd name="T3" fmla="*/ 11 h 135"/>
              <a:gd name="T4" fmla="*/ 54 w 101"/>
              <a:gd name="T5" fmla="*/ 13 h 135"/>
              <a:gd name="T6" fmla="*/ 61 w 101"/>
              <a:gd name="T7" fmla="*/ 15 h 135"/>
              <a:gd name="T8" fmla="*/ 67 w 101"/>
              <a:gd name="T9" fmla="*/ 15 h 135"/>
              <a:gd name="T10" fmla="*/ 84 w 101"/>
              <a:gd name="T11" fmla="*/ 15 h 135"/>
              <a:gd name="T12" fmla="*/ 95 w 101"/>
              <a:gd name="T13" fmla="*/ 3 h 135"/>
              <a:gd name="T14" fmla="*/ 101 w 101"/>
              <a:gd name="T15" fmla="*/ 1 h 135"/>
              <a:gd name="T16" fmla="*/ 99 w 101"/>
              <a:gd name="T17" fmla="*/ 10 h 135"/>
              <a:gd name="T18" fmla="*/ 89 w 101"/>
              <a:gd name="T19" fmla="*/ 24 h 135"/>
              <a:gd name="T20" fmla="*/ 78 w 101"/>
              <a:gd name="T21" fmla="*/ 26 h 135"/>
              <a:gd name="T22" fmla="*/ 64 w 101"/>
              <a:gd name="T23" fmla="*/ 23 h 135"/>
              <a:gd name="T24" fmla="*/ 48 w 101"/>
              <a:gd name="T25" fmla="*/ 25 h 135"/>
              <a:gd name="T26" fmla="*/ 43 w 101"/>
              <a:gd name="T27" fmla="*/ 24 h 135"/>
              <a:gd name="T28" fmla="*/ 35 w 101"/>
              <a:gd name="T29" fmla="*/ 25 h 135"/>
              <a:gd name="T30" fmla="*/ 25 w 101"/>
              <a:gd name="T31" fmla="*/ 24 h 135"/>
              <a:gd name="T32" fmla="*/ 20 w 101"/>
              <a:gd name="T33" fmla="*/ 36 h 135"/>
              <a:gd name="T34" fmla="*/ 25 w 101"/>
              <a:gd name="T35" fmla="*/ 50 h 135"/>
              <a:gd name="T36" fmla="*/ 36 w 101"/>
              <a:gd name="T37" fmla="*/ 55 h 135"/>
              <a:gd name="T38" fmla="*/ 44 w 101"/>
              <a:gd name="T39" fmla="*/ 48 h 135"/>
              <a:gd name="T40" fmla="*/ 51 w 101"/>
              <a:gd name="T41" fmla="*/ 49 h 135"/>
              <a:gd name="T42" fmla="*/ 63 w 101"/>
              <a:gd name="T43" fmla="*/ 47 h 135"/>
              <a:gd name="T44" fmla="*/ 72 w 101"/>
              <a:gd name="T45" fmla="*/ 43 h 135"/>
              <a:gd name="T46" fmla="*/ 71 w 101"/>
              <a:gd name="T47" fmla="*/ 50 h 135"/>
              <a:gd name="T48" fmla="*/ 57 w 101"/>
              <a:gd name="T49" fmla="*/ 58 h 135"/>
              <a:gd name="T50" fmla="*/ 48 w 101"/>
              <a:gd name="T51" fmla="*/ 64 h 135"/>
              <a:gd name="T52" fmla="*/ 40 w 101"/>
              <a:gd name="T53" fmla="*/ 65 h 135"/>
              <a:gd name="T54" fmla="*/ 52 w 101"/>
              <a:gd name="T55" fmla="*/ 84 h 135"/>
              <a:gd name="T56" fmla="*/ 56 w 101"/>
              <a:gd name="T57" fmla="*/ 90 h 135"/>
              <a:gd name="T58" fmla="*/ 53 w 101"/>
              <a:gd name="T59" fmla="*/ 96 h 135"/>
              <a:gd name="T60" fmla="*/ 57 w 101"/>
              <a:gd name="T61" fmla="*/ 104 h 135"/>
              <a:gd name="T62" fmla="*/ 62 w 101"/>
              <a:gd name="T63" fmla="*/ 107 h 135"/>
              <a:gd name="T64" fmla="*/ 60 w 101"/>
              <a:gd name="T65" fmla="*/ 112 h 135"/>
              <a:gd name="T66" fmla="*/ 50 w 101"/>
              <a:gd name="T67" fmla="*/ 118 h 135"/>
              <a:gd name="T68" fmla="*/ 41 w 101"/>
              <a:gd name="T69" fmla="*/ 116 h 135"/>
              <a:gd name="T70" fmla="*/ 41 w 101"/>
              <a:gd name="T71" fmla="*/ 105 h 135"/>
              <a:gd name="T72" fmla="*/ 32 w 101"/>
              <a:gd name="T73" fmla="*/ 94 h 135"/>
              <a:gd name="T74" fmla="*/ 34 w 101"/>
              <a:gd name="T75" fmla="*/ 82 h 135"/>
              <a:gd name="T76" fmla="*/ 26 w 101"/>
              <a:gd name="T77" fmla="*/ 82 h 135"/>
              <a:gd name="T78" fmla="*/ 23 w 101"/>
              <a:gd name="T79" fmla="*/ 94 h 135"/>
              <a:gd name="T80" fmla="*/ 23 w 101"/>
              <a:gd name="T81" fmla="*/ 118 h 135"/>
              <a:gd name="T82" fmla="*/ 22 w 101"/>
              <a:gd name="T83" fmla="*/ 132 h 135"/>
              <a:gd name="T84" fmla="*/ 13 w 101"/>
              <a:gd name="T85" fmla="*/ 135 h 135"/>
              <a:gd name="T86" fmla="*/ 5 w 101"/>
              <a:gd name="T87" fmla="*/ 128 h 135"/>
              <a:gd name="T88" fmla="*/ 11 w 101"/>
              <a:gd name="T89" fmla="*/ 106 h 135"/>
              <a:gd name="T90" fmla="*/ 5 w 101"/>
              <a:gd name="T91" fmla="*/ 95 h 135"/>
              <a:gd name="T92" fmla="*/ 0 w 101"/>
              <a:gd name="T93" fmla="*/ 87 h 135"/>
              <a:gd name="T94" fmla="*/ 5 w 101"/>
              <a:gd name="T95" fmla="*/ 70 h 135"/>
              <a:gd name="T96" fmla="*/ 11 w 101"/>
              <a:gd name="T97" fmla="*/ 48 h 135"/>
              <a:gd name="T98" fmla="*/ 15 w 101"/>
              <a:gd name="T99" fmla="*/ 46 h 135"/>
              <a:gd name="T100" fmla="*/ 14 w 101"/>
              <a:gd name="T101" fmla="*/ 33 h 135"/>
              <a:gd name="T102" fmla="*/ 16 w 101"/>
              <a:gd name="T103" fmla="*/ 27 h 135"/>
              <a:gd name="T104" fmla="*/ 22 w 101"/>
              <a:gd name="T105" fmla="*/ 16 h 135"/>
              <a:gd name="T106" fmla="*/ 27 w 101"/>
              <a:gd name="T107" fmla="*/ 17 h 135"/>
              <a:gd name="T108" fmla="*/ 32 w 101"/>
              <a:gd name="T109" fmla="*/ 8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1" h="135">
                <a:moveTo>
                  <a:pt x="35" y="8"/>
                </a:moveTo>
                <a:lnTo>
                  <a:pt x="41" y="8"/>
                </a:lnTo>
                <a:lnTo>
                  <a:pt x="41" y="10"/>
                </a:lnTo>
                <a:lnTo>
                  <a:pt x="43" y="11"/>
                </a:lnTo>
                <a:lnTo>
                  <a:pt x="45" y="13"/>
                </a:lnTo>
                <a:lnTo>
                  <a:pt x="47" y="11"/>
                </a:lnTo>
                <a:lnTo>
                  <a:pt x="50" y="11"/>
                </a:lnTo>
                <a:lnTo>
                  <a:pt x="52" y="11"/>
                </a:lnTo>
                <a:lnTo>
                  <a:pt x="54" y="13"/>
                </a:lnTo>
                <a:lnTo>
                  <a:pt x="56" y="13"/>
                </a:lnTo>
                <a:lnTo>
                  <a:pt x="58" y="14"/>
                </a:lnTo>
                <a:lnTo>
                  <a:pt x="61" y="15"/>
                </a:lnTo>
                <a:lnTo>
                  <a:pt x="63" y="16"/>
                </a:lnTo>
                <a:lnTo>
                  <a:pt x="65" y="16"/>
                </a:lnTo>
                <a:lnTo>
                  <a:pt x="67" y="15"/>
                </a:lnTo>
                <a:lnTo>
                  <a:pt x="70" y="14"/>
                </a:lnTo>
                <a:lnTo>
                  <a:pt x="81" y="16"/>
                </a:lnTo>
                <a:lnTo>
                  <a:pt x="84" y="15"/>
                </a:lnTo>
                <a:lnTo>
                  <a:pt x="91" y="7"/>
                </a:lnTo>
                <a:lnTo>
                  <a:pt x="93" y="6"/>
                </a:lnTo>
                <a:lnTo>
                  <a:pt x="95" y="3"/>
                </a:lnTo>
                <a:lnTo>
                  <a:pt x="97" y="0"/>
                </a:lnTo>
                <a:lnTo>
                  <a:pt x="99" y="1"/>
                </a:lnTo>
                <a:lnTo>
                  <a:pt x="101" y="1"/>
                </a:lnTo>
                <a:lnTo>
                  <a:pt x="101" y="5"/>
                </a:lnTo>
                <a:lnTo>
                  <a:pt x="101" y="7"/>
                </a:lnTo>
                <a:lnTo>
                  <a:pt x="99" y="10"/>
                </a:lnTo>
                <a:lnTo>
                  <a:pt x="94" y="16"/>
                </a:lnTo>
                <a:lnTo>
                  <a:pt x="92" y="20"/>
                </a:lnTo>
                <a:lnTo>
                  <a:pt x="89" y="24"/>
                </a:lnTo>
                <a:lnTo>
                  <a:pt x="86" y="26"/>
                </a:lnTo>
                <a:lnTo>
                  <a:pt x="82" y="26"/>
                </a:lnTo>
                <a:lnTo>
                  <a:pt x="78" y="26"/>
                </a:lnTo>
                <a:lnTo>
                  <a:pt x="72" y="27"/>
                </a:lnTo>
                <a:lnTo>
                  <a:pt x="68" y="24"/>
                </a:lnTo>
                <a:lnTo>
                  <a:pt x="64" y="23"/>
                </a:lnTo>
                <a:lnTo>
                  <a:pt x="60" y="23"/>
                </a:lnTo>
                <a:lnTo>
                  <a:pt x="52" y="24"/>
                </a:lnTo>
                <a:lnTo>
                  <a:pt x="48" y="25"/>
                </a:lnTo>
                <a:lnTo>
                  <a:pt x="46" y="23"/>
                </a:lnTo>
                <a:lnTo>
                  <a:pt x="44" y="23"/>
                </a:lnTo>
                <a:lnTo>
                  <a:pt x="43" y="24"/>
                </a:lnTo>
                <a:lnTo>
                  <a:pt x="40" y="23"/>
                </a:lnTo>
                <a:lnTo>
                  <a:pt x="38" y="23"/>
                </a:lnTo>
                <a:lnTo>
                  <a:pt x="35" y="25"/>
                </a:lnTo>
                <a:lnTo>
                  <a:pt x="32" y="25"/>
                </a:lnTo>
                <a:lnTo>
                  <a:pt x="28" y="24"/>
                </a:lnTo>
                <a:lnTo>
                  <a:pt x="25" y="24"/>
                </a:lnTo>
                <a:lnTo>
                  <a:pt x="23" y="27"/>
                </a:lnTo>
                <a:lnTo>
                  <a:pt x="21" y="31"/>
                </a:lnTo>
                <a:lnTo>
                  <a:pt x="20" y="36"/>
                </a:lnTo>
                <a:lnTo>
                  <a:pt x="20" y="46"/>
                </a:lnTo>
                <a:lnTo>
                  <a:pt x="22" y="48"/>
                </a:lnTo>
                <a:lnTo>
                  <a:pt x="25" y="50"/>
                </a:lnTo>
                <a:lnTo>
                  <a:pt x="30" y="57"/>
                </a:lnTo>
                <a:lnTo>
                  <a:pt x="35" y="57"/>
                </a:lnTo>
                <a:lnTo>
                  <a:pt x="36" y="55"/>
                </a:lnTo>
                <a:lnTo>
                  <a:pt x="38" y="53"/>
                </a:lnTo>
                <a:lnTo>
                  <a:pt x="41" y="49"/>
                </a:lnTo>
                <a:lnTo>
                  <a:pt x="44" y="48"/>
                </a:lnTo>
                <a:lnTo>
                  <a:pt x="47" y="49"/>
                </a:lnTo>
                <a:lnTo>
                  <a:pt x="47" y="49"/>
                </a:lnTo>
                <a:lnTo>
                  <a:pt x="51" y="49"/>
                </a:lnTo>
                <a:lnTo>
                  <a:pt x="52" y="47"/>
                </a:lnTo>
                <a:lnTo>
                  <a:pt x="56" y="47"/>
                </a:lnTo>
                <a:lnTo>
                  <a:pt x="63" y="47"/>
                </a:lnTo>
                <a:lnTo>
                  <a:pt x="64" y="44"/>
                </a:lnTo>
                <a:lnTo>
                  <a:pt x="68" y="41"/>
                </a:lnTo>
                <a:lnTo>
                  <a:pt x="72" y="43"/>
                </a:lnTo>
                <a:lnTo>
                  <a:pt x="73" y="45"/>
                </a:lnTo>
                <a:lnTo>
                  <a:pt x="73" y="48"/>
                </a:lnTo>
                <a:lnTo>
                  <a:pt x="71" y="50"/>
                </a:lnTo>
                <a:lnTo>
                  <a:pt x="67" y="48"/>
                </a:lnTo>
                <a:lnTo>
                  <a:pt x="64" y="49"/>
                </a:lnTo>
                <a:lnTo>
                  <a:pt x="57" y="58"/>
                </a:lnTo>
                <a:lnTo>
                  <a:pt x="55" y="60"/>
                </a:lnTo>
                <a:lnTo>
                  <a:pt x="51" y="62"/>
                </a:lnTo>
                <a:lnTo>
                  <a:pt x="48" y="64"/>
                </a:lnTo>
                <a:lnTo>
                  <a:pt x="45" y="66"/>
                </a:lnTo>
                <a:lnTo>
                  <a:pt x="43" y="66"/>
                </a:lnTo>
                <a:lnTo>
                  <a:pt x="40" y="65"/>
                </a:lnTo>
                <a:lnTo>
                  <a:pt x="40" y="68"/>
                </a:lnTo>
                <a:lnTo>
                  <a:pt x="44" y="71"/>
                </a:lnTo>
                <a:lnTo>
                  <a:pt x="52" y="84"/>
                </a:lnTo>
                <a:lnTo>
                  <a:pt x="53" y="85"/>
                </a:lnTo>
                <a:lnTo>
                  <a:pt x="54" y="88"/>
                </a:lnTo>
                <a:lnTo>
                  <a:pt x="56" y="90"/>
                </a:lnTo>
                <a:lnTo>
                  <a:pt x="55" y="92"/>
                </a:lnTo>
                <a:lnTo>
                  <a:pt x="53" y="94"/>
                </a:lnTo>
                <a:lnTo>
                  <a:pt x="53" y="96"/>
                </a:lnTo>
                <a:lnTo>
                  <a:pt x="53" y="98"/>
                </a:lnTo>
                <a:lnTo>
                  <a:pt x="56" y="101"/>
                </a:lnTo>
                <a:lnTo>
                  <a:pt x="57" y="104"/>
                </a:lnTo>
                <a:lnTo>
                  <a:pt x="57" y="106"/>
                </a:lnTo>
                <a:lnTo>
                  <a:pt x="60" y="108"/>
                </a:lnTo>
                <a:lnTo>
                  <a:pt x="62" y="107"/>
                </a:lnTo>
                <a:lnTo>
                  <a:pt x="62" y="110"/>
                </a:lnTo>
                <a:lnTo>
                  <a:pt x="61" y="111"/>
                </a:lnTo>
                <a:lnTo>
                  <a:pt x="60" y="112"/>
                </a:lnTo>
                <a:lnTo>
                  <a:pt x="55" y="112"/>
                </a:lnTo>
                <a:lnTo>
                  <a:pt x="51" y="114"/>
                </a:lnTo>
                <a:lnTo>
                  <a:pt x="50" y="118"/>
                </a:lnTo>
                <a:lnTo>
                  <a:pt x="46" y="120"/>
                </a:lnTo>
                <a:lnTo>
                  <a:pt x="42" y="120"/>
                </a:lnTo>
                <a:lnTo>
                  <a:pt x="41" y="116"/>
                </a:lnTo>
                <a:lnTo>
                  <a:pt x="41" y="111"/>
                </a:lnTo>
                <a:lnTo>
                  <a:pt x="42" y="108"/>
                </a:lnTo>
                <a:lnTo>
                  <a:pt x="41" y="105"/>
                </a:lnTo>
                <a:lnTo>
                  <a:pt x="37" y="102"/>
                </a:lnTo>
                <a:lnTo>
                  <a:pt x="34" y="98"/>
                </a:lnTo>
                <a:lnTo>
                  <a:pt x="32" y="94"/>
                </a:lnTo>
                <a:lnTo>
                  <a:pt x="34" y="89"/>
                </a:lnTo>
                <a:lnTo>
                  <a:pt x="34" y="85"/>
                </a:lnTo>
                <a:lnTo>
                  <a:pt x="34" y="82"/>
                </a:lnTo>
                <a:lnTo>
                  <a:pt x="34" y="80"/>
                </a:lnTo>
                <a:lnTo>
                  <a:pt x="30" y="79"/>
                </a:lnTo>
                <a:lnTo>
                  <a:pt x="26" y="82"/>
                </a:lnTo>
                <a:lnTo>
                  <a:pt x="23" y="85"/>
                </a:lnTo>
                <a:lnTo>
                  <a:pt x="21" y="89"/>
                </a:lnTo>
                <a:lnTo>
                  <a:pt x="23" y="94"/>
                </a:lnTo>
                <a:lnTo>
                  <a:pt x="23" y="98"/>
                </a:lnTo>
                <a:lnTo>
                  <a:pt x="22" y="115"/>
                </a:lnTo>
                <a:lnTo>
                  <a:pt x="23" y="118"/>
                </a:lnTo>
                <a:lnTo>
                  <a:pt x="21" y="122"/>
                </a:lnTo>
                <a:lnTo>
                  <a:pt x="21" y="128"/>
                </a:lnTo>
                <a:lnTo>
                  <a:pt x="22" y="132"/>
                </a:lnTo>
                <a:lnTo>
                  <a:pt x="21" y="134"/>
                </a:lnTo>
                <a:lnTo>
                  <a:pt x="17" y="134"/>
                </a:lnTo>
                <a:lnTo>
                  <a:pt x="13" y="135"/>
                </a:lnTo>
                <a:lnTo>
                  <a:pt x="10" y="135"/>
                </a:lnTo>
                <a:lnTo>
                  <a:pt x="6" y="134"/>
                </a:lnTo>
                <a:lnTo>
                  <a:pt x="5" y="128"/>
                </a:lnTo>
                <a:lnTo>
                  <a:pt x="7" y="121"/>
                </a:lnTo>
                <a:lnTo>
                  <a:pt x="8" y="117"/>
                </a:lnTo>
                <a:lnTo>
                  <a:pt x="11" y="106"/>
                </a:lnTo>
                <a:lnTo>
                  <a:pt x="10" y="104"/>
                </a:lnTo>
                <a:lnTo>
                  <a:pt x="8" y="95"/>
                </a:lnTo>
                <a:lnTo>
                  <a:pt x="5" y="95"/>
                </a:lnTo>
                <a:lnTo>
                  <a:pt x="2" y="96"/>
                </a:lnTo>
                <a:lnTo>
                  <a:pt x="0" y="91"/>
                </a:lnTo>
                <a:lnTo>
                  <a:pt x="0" y="87"/>
                </a:lnTo>
                <a:lnTo>
                  <a:pt x="0" y="80"/>
                </a:lnTo>
                <a:lnTo>
                  <a:pt x="3" y="76"/>
                </a:lnTo>
                <a:lnTo>
                  <a:pt x="5" y="70"/>
                </a:lnTo>
                <a:lnTo>
                  <a:pt x="7" y="66"/>
                </a:lnTo>
                <a:lnTo>
                  <a:pt x="7" y="56"/>
                </a:lnTo>
                <a:lnTo>
                  <a:pt x="11" y="48"/>
                </a:lnTo>
                <a:lnTo>
                  <a:pt x="13" y="46"/>
                </a:lnTo>
                <a:lnTo>
                  <a:pt x="14" y="43"/>
                </a:lnTo>
                <a:lnTo>
                  <a:pt x="15" y="46"/>
                </a:lnTo>
                <a:lnTo>
                  <a:pt x="16" y="43"/>
                </a:lnTo>
                <a:lnTo>
                  <a:pt x="15" y="35"/>
                </a:lnTo>
                <a:lnTo>
                  <a:pt x="14" y="33"/>
                </a:lnTo>
                <a:lnTo>
                  <a:pt x="14" y="33"/>
                </a:lnTo>
                <a:lnTo>
                  <a:pt x="16" y="29"/>
                </a:lnTo>
                <a:lnTo>
                  <a:pt x="16" y="27"/>
                </a:lnTo>
                <a:lnTo>
                  <a:pt x="17" y="24"/>
                </a:lnTo>
                <a:lnTo>
                  <a:pt x="18" y="19"/>
                </a:lnTo>
                <a:lnTo>
                  <a:pt x="22" y="16"/>
                </a:lnTo>
                <a:lnTo>
                  <a:pt x="23" y="16"/>
                </a:lnTo>
                <a:lnTo>
                  <a:pt x="25" y="18"/>
                </a:lnTo>
                <a:lnTo>
                  <a:pt x="27" y="17"/>
                </a:lnTo>
                <a:lnTo>
                  <a:pt x="30" y="14"/>
                </a:lnTo>
                <a:lnTo>
                  <a:pt x="31" y="9"/>
                </a:lnTo>
                <a:lnTo>
                  <a:pt x="32" y="8"/>
                </a:lnTo>
                <a:lnTo>
                  <a:pt x="35" y="8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40" name="Freeform 1340"/>
          <p:cNvSpPr>
            <a:spLocks/>
          </p:cNvSpPr>
          <p:nvPr/>
        </p:nvSpPr>
        <p:spPr bwMode="auto">
          <a:xfrm>
            <a:off x="7448550" y="3725828"/>
            <a:ext cx="4762" cy="9525"/>
          </a:xfrm>
          <a:custGeom>
            <a:avLst/>
            <a:gdLst>
              <a:gd name="T0" fmla="*/ 0 w 3"/>
              <a:gd name="T1" fmla="*/ 2 h 6"/>
              <a:gd name="T2" fmla="*/ 0 w 3"/>
              <a:gd name="T3" fmla="*/ 1 h 6"/>
              <a:gd name="T4" fmla="*/ 1 w 3"/>
              <a:gd name="T5" fmla="*/ 0 h 6"/>
              <a:gd name="T6" fmla="*/ 2 w 3"/>
              <a:gd name="T7" fmla="*/ 1 h 6"/>
              <a:gd name="T8" fmla="*/ 3 w 3"/>
              <a:gd name="T9" fmla="*/ 2 h 6"/>
              <a:gd name="T10" fmla="*/ 3 w 3"/>
              <a:gd name="T11" fmla="*/ 5 h 6"/>
              <a:gd name="T12" fmla="*/ 1 w 3"/>
              <a:gd name="T13" fmla="*/ 6 h 6"/>
              <a:gd name="T14" fmla="*/ 0 w 3"/>
              <a:gd name="T15" fmla="*/ 4 h 6"/>
              <a:gd name="T16" fmla="*/ 0 w 3"/>
              <a:gd name="T17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6">
                <a:moveTo>
                  <a:pt x="0" y="2"/>
                </a:moveTo>
                <a:lnTo>
                  <a:pt x="0" y="1"/>
                </a:lnTo>
                <a:lnTo>
                  <a:pt x="1" y="0"/>
                </a:lnTo>
                <a:lnTo>
                  <a:pt x="2" y="1"/>
                </a:lnTo>
                <a:lnTo>
                  <a:pt x="3" y="2"/>
                </a:lnTo>
                <a:lnTo>
                  <a:pt x="3" y="5"/>
                </a:lnTo>
                <a:lnTo>
                  <a:pt x="1" y="6"/>
                </a:lnTo>
                <a:lnTo>
                  <a:pt x="0" y="4"/>
                </a:lnTo>
                <a:lnTo>
                  <a:pt x="0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41" name="Freeform 1341"/>
          <p:cNvSpPr>
            <a:spLocks/>
          </p:cNvSpPr>
          <p:nvPr/>
        </p:nvSpPr>
        <p:spPr bwMode="auto">
          <a:xfrm>
            <a:off x="7448550" y="3725828"/>
            <a:ext cx="4762" cy="9525"/>
          </a:xfrm>
          <a:custGeom>
            <a:avLst/>
            <a:gdLst>
              <a:gd name="T0" fmla="*/ 0 w 3"/>
              <a:gd name="T1" fmla="*/ 2 h 6"/>
              <a:gd name="T2" fmla="*/ 0 w 3"/>
              <a:gd name="T3" fmla="*/ 1 h 6"/>
              <a:gd name="T4" fmla="*/ 1 w 3"/>
              <a:gd name="T5" fmla="*/ 0 h 6"/>
              <a:gd name="T6" fmla="*/ 2 w 3"/>
              <a:gd name="T7" fmla="*/ 1 h 6"/>
              <a:gd name="T8" fmla="*/ 3 w 3"/>
              <a:gd name="T9" fmla="*/ 2 h 6"/>
              <a:gd name="T10" fmla="*/ 3 w 3"/>
              <a:gd name="T11" fmla="*/ 5 h 6"/>
              <a:gd name="T12" fmla="*/ 1 w 3"/>
              <a:gd name="T13" fmla="*/ 6 h 6"/>
              <a:gd name="T14" fmla="*/ 0 w 3"/>
              <a:gd name="T15" fmla="*/ 4 h 6"/>
              <a:gd name="T16" fmla="*/ 0 w 3"/>
              <a:gd name="T17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6">
                <a:moveTo>
                  <a:pt x="0" y="2"/>
                </a:moveTo>
                <a:lnTo>
                  <a:pt x="0" y="1"/>
                </a:lnTo>
                <a:lnTo>
                  <a:pt x="1" y="0"/>
                </a:lnTo>
                <a:lnTo>
                  <a:pt x="2" y="1"/>
                </a:lnTo>
                <a:lnTo>
                  <a:pt x="3" y="2"/>
                </a:lnTo>
                <a:lnTo>
                  <a:pt x="3" y="5"/>
                </a:lnTo>
                <a:lnTo>
                  <a:pt x="1" y="6"/>
                </a:lnTo>
                <a:lnTo>
                  <a:pt x="0" y="4"/>
                </a:lnTo>
                <a:lnTo>
                  <a:pt x="0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42" name="Freeform 1342"/>
          <p:cNvSpPr>
            <a:spLocks/>
          </p:cNvSpPr>
          <p:nvPr/>
        </p:nvSpPr>
        <p:spPr bwMode="auto">
          <a:xfrm>
            <a:off x="7459662" y="3713128"/>
            <a:ext cx="9525" cy="20638"/>
          </a:xfrm>
          <a:custGeom>
            <a:avLst/>
            <a:gdLst>
              <a:gd name="T0" fmla="*/ 1 w 6"/>
              <a:gd name="T1" fmla="*/ 1 h 13"/>
              <a:gd name="T2" fmla="*/ 3 w 6"/>
              <a:gd name="T3" fmla="*/ 1 h 13"/>
              <a:gd name="T4" fmla="*/ 5 w 6"/>
              <a:gd name="T5" fmla="*/ 0 h 13"/>
              <a:gd name="T6" fmla="*/ 6 w 6"/>
              <a:gd name="T7" fmla="*/ 0 h 13"/>
              <a:gd name="T8" fmla="*/ 6 w 6"/>
              <a:gd name="T9" fmla="*/ 5 h 13"/>
              <a:gd name="T10" fmla="*/ 6 w 6"/>
              <a:gd name="T11" fmla="*/ 7 h 13"/>
              <a:gd name="T12" fmla="*/ 5 w 6"/>
              <a:gd name="T13" fmla="*/ 10 h 13"/>
              <a:gd name="T14" fmla="*/ 5 w 6"/>
              <a:gd name="T15" fmla="*/ 13 h 13"/>
              <a:gd name="T16" fmla="*/ 4 w 6"/>
              <a:gd name="T17" fmla="*/ 12 h 13"/>
              <a:gd name="T18" fmla="*/ 2 w 6"/>
              <a:gd name="T19" fmla="*/ 13 h 13"/>
              <a:gd name="T20" fmla="*/ 0 w 6"/>
              <a:gd name="T21" fmla="*/ 12 h 13"/>
              <a:gd name="T22" fmla="*/ 0 w 6"/>
              <a:gd name="T23" fmla="*/ 8 h 13"/>
              <a:gd name="T24" fmla="*/ 1 w 6"/>
              <a:gd name="T25" fmla="*/ 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" h="13">
                <a:moveTo>
                  <a:pt x="1" y="1"/>
                </a:moveTo>
                <a:lnTo>
                  <a:pt x="3" y="1"/>
                </a:lnTo>
                <a:lnTo>
                  <a:pt x="5" y="0"/>
                </a:lnTo>
                <a:lnTo>
                  <a:pt x="6" y="0"/>
                </a:lnTo>
                <a:lnTo>
                  <a:pt x="6" y="5"/>
                </a:lnTo>
                <a:lnTo>
                  <a:pt x="6" y="7"/>
                </a:lnTo>
                <a:lnTo>
                  <a:pt x="5" y="10"/>
                </a:lnTo>
                <a:lnTo>
                  <a:pt x="5" y="13"/>
                </a:lnTo>
                <a:lnTo>
                  <a:pt x="4" y="12"/>
                </a:lnTo>
                <a:lnTo>
                  <a:pt x="2" y="13"/>
                </a:lnTo>
                <a:lnTo>
                  <a:pt x="0" y="12"/>
                </a:lnTo>
                <a:lnTo>
                  <a:pt x="0" y="8"/>
                </a:lnTo>
                <a:lnTo>
                  <a:pt x="1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43" name="Freeform 1343"/>
          <p:cNvSpPr>
            <a:spLocks/>
          </p:cNvSpPr>
          <p:nvPr/>
        </p:nvSpPr>
        <p:spPr bwMode="auto">
          <a:xfrm>
            <a:off x="7459662" y="3713128"/>
            <a:ext cx="9525" cy="20638"/>
          </a:xfrm>
          <a:custGeom>
            <a:avLst/>
            <a:gdLst>
              <a:gd name="T0" fmla="*/ 1 w 6"/>
              <a:gd name="T1" fmla="*/ 1 h 13"/>
              <a:gd name="T2" fmla="*/ 3 w 6"/>
              <a:gd name="T3" fmla="*/ 1 h 13"/>
              <a:gd name="T4" fmla="*/ 5 w 6"/>
              <a:gd name="T5" fmla="*/ 0 h 13"/>
              <a:gd name="T6" fmla="*/ 6 w 6"/>
              <a:gd name="T7" fmla="*/ 0 h 13"/>
              <a:gd name="T8" fmla="*/ 6 w 6"/>
              <a:gd name="T9" fmla="*/ 5 h 13"/>
              <a:gd name="T10" fmla="*/ 6 w 6"/>
              <a:gd name="T11" fmla="*/ 7 h 13"/>
              <a:gd name="T12" fmla="*/ 5 w 6"/>
              <a:gd name="T13" fmla="*/ 10 h 13"/>
              <a:gd name="T14" fmla="*/ 5 w 6"/>
              <a:gd name="T15" fmla="*/ 13 h 13"/>
              <a:gd name="T16" fmla="*/ 4 w 6"/>
              <a:gd name="T17" fmla="*/ 12 h 13"/>
              <a:gd name="T18" fmla="*/ 2 w 6"/>
              <a:gd name="T19" fmla="*/ 13 h 13"/>
              <a:gd name="T20" fmla="*/ 0 w 6"/>
              <a:gd name="T21" fmla="*/ 12 h 13"/>
              <a:gd name="T22" fmla="*/ 0 w 6"/>
              <a:gd name="T23" fmla="*/ 8 h 13"/>
              <a:gd name="T24" fmla="*/ 1 w 6"/>
              <a:gd name="T25" fmla="*/ 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" h="13">
                <a:moveTo>
                  <a:pt x="1" y="1"/>
                </a:moveTo>
                <a:lnTo>
                  <a:pt x="3" y="1"/>
                </a:lnTo>
                <a:lnTo>
                  <a:pt x="5" y="0"/>
                </a:lnTo>
                <a:lnTo>
                  <a:pt x="6" y="0"/>
                </a:lnTo>
                <a:lnTo>
                  <a:pt x="6" y="5"/>
                </a:lnTo>
                <a:lnTo>
                  <a:pt x="6" y="7"/>
                </a:lnTo>
                <a:lnTo>
                  <a:pt x="5" y="10"/>
                </a:lnTo>
                <a:lnTo>
                  <a:pt x="5" y="13"/>
                </a:lnTo>
                <a:lnTo>
                  <a:pt x="4" y="12"/>
                </a:lnTo>
                <a:lnTo>
                  <a:pt x="2" y="13"/>
                </a:lnTo>
                <a:lnTo>
                  <a:pt x="0" y="12"/>
                </a:lnTo>
                <a:lnTo>
                  <a:pt x="0" y="8"/>
                </a:lnTo>
                <a:lnTo>
                  <a:pt x="1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44" name="Freeform 1344"/>
          <p:cNvSpPr>
            <a:spLocks/>
          </p:cNvSpPr>
          <p:nvPr/>
        </p:nvSpPr>
        <p:spPr bwMode="auto">
          <a:xfrm>
            <a:off x="7467600" y="3703603"/>
            <a:ext cx="14287" cy="38100"/>
          </a:xfrm>
          <a:custGeom>
            <a:avLst/>
            <a:gdLst>
              <a:gd name="T0" fmla="*/ 3 w 9"/>
              <a:gd name="T1" fmla="*/ 11 h 24"/>
              <a:gd name="T2" fmla="*/ 4 w 9"/>
              <a:gd name="T3" fmla="*/ 11 h 24"/>
              <a:gd name="T4" fmla="*/ 5 w 9"/>
              <a:gd name="T5" fmla="*/ 4 h 24"/>
              <a:gd name="T6" fmla="*/ 6 w 9"/>
              <a:gd name="T7" fmla="*/ 3 h 24"/>
              <a:gd name="T8" fmla="*/ 6 w 9"/>
              <a:gd name="T9" fmla="*/ 0 h 24"/>
              <a:gd name="T10" fmla="*/ 7 w 9"/>
              <a:gd name="T11" fmla="*/ 1 h 24"/>
              <a:gd name="T12" fmla="*/ 9 w 9"/>
              <a:gd name="T13" fmla="*/ 4 h 24"/>
              <a:gd name="T14" fmla="*/ 9 w 9"/>
              <a:gd name="T15" fmla="*/ 7 h 24"/>
              <a:gd name="T16" fmla="*/ 9 w 9"/>
              <a:gd name="T17" fmla="*/ 7 h 24"/>
              <a:gd name="T18" fmla="*/ 7 w 9"/>
              <a:gd name="T19" fmla="*/ 9 h 24"/>
              <a:gd name="T20" fmla="*/ 6 w 9"/>
              <a:gd name="T21" fmla="*/ 11 h 24"/>
              <a:gd name="T22" fmla="*/ 6 w 9"/>
              <a:gd name="T23" fmla="*/ 13 h 24"/>
              <a:gd name="T24" fmla="*/ 8 w 9"/>
              <a:gd name="T25" fmla="*/ 14 h 24"/>
              <a:gd name="T26" fmla="*/ 8 w 9"/>
              <a:gd name="T27" fmla="*/ 16 h 24"/>
              <a:gd name="T28" fmla="*/ 8 w 9"/>
              <a:gd name="T29" fmla="*/ 18 h 24"/>
              <a:gd name="T30" fmla="*/ 6 w 9"/>
              <a:gd name="T31" fmla="*/ 20 h 24"/>
              <a:gd name="T32" fmla="*/ 3 w 9"/>
              <a:gd name="T33" fmla="*/ 24 h 24"/>
              <a:gd name="T34" fmla="*/ 0 w 9"/>
              <a:gd name="T35" fmla="*/ 23 h 24"/>
              <a:gd name="T36" fmla="*/ 0 w 9"/>
              <a:gd name="T37" fmla="*/ 20 h 24"/>
              <a:gd name="T38" fmla="*/ 1 w 9"/>
              <a:gd name="T39" fmla="*/ 17 h 24"/>
              <a:gd name="T40" fmla="*/ 3 w 9"/>
              <a:gd name="T41" fmla="*/ 15 h 24"/>
              <a:gd name="T42" fmla="*/ 3 w 9"/>
              <a:gd name="T43" fmla="*/ 1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" h="24">
                <a:moveTo>
                  <a:pt x="3" y="11"/>
                </a:moveTo>
                <a:lnTo>
                  <a:pt x="4" y="11"/>
                </a:lnTo>
                <a:lnTo>
                  <a:pt x="5" y="4"/>
                </a:lnTo>
                <a:lnTo>
                  <a:pt x="6" y="3"/>
                </a:lnTo>
                <a:lnTo>
                  <a:pt x="6" y="0"/>
                </a:lnTo>
                <a:lnTo>
                  <a:pt x="7" y="1"/>
                </a:lnTo>
                <a:lnTo>
                  <a:pt x="9" y="4"/>
                </a:lnTo>
                <a:lnTo>
                  <a:pt x="9" y="7"/>
                </a:lnTo>
                <a:lnTo>
                  <a:pt x="9" y="7"/>
                </a:lnTo>
                <a:lnTo>
                  <a:pt x="7" y="9"/>
                </a:lnTo>
                <a:lnTo>
                  <a:pt x="6" y="11"/>
                </a:lnTo>
                <a:lnTo>
                  <a:pt x="6" y="13"/>
                </a:lnTo>
                <a:lnTo>
                  <a:pt x="8" y="14"/>
                </a:lnTo>
                <a:lnTo>
                  <a:pt x="8" y="16"/>
                </a:lnTo>
                <a:lnTo>
                  <a:pt x="8" y="18"/>
                </a:lnTo>
                <a:lnTo>
                  <a:pt x="6" y="20"/>
                </a:lnTo>
                <a:lnTo>
                  <a:pt x="3" y="24"/>
                </a:lnTo>
                <a:lnTo>
                  <a:pt x="0" y="23"/>
                </a:lnTo>
                <a:lnTo>
                  <a:pt x="0" y="20"/>
                </a:lnTo>
                <a:lnTo>
                  <a:pt x="1" y="17"/>
                </a:lnTo>
                <a:lnTo>
                  <a:pt x="3" y="15"/>
                </a:lnTo>
                <a:lnTo>
                  <a:pt x="3" y="1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45" name="Freeform 1345"/>
          <p:cNvSpPr>
            <a:spLocks/>
          </p:cNvSpPr>
          <p:nvPr/>
        </p:nvSpPr>
        <p:spPr bwMode="auto">
          <a:xfrm>
            <a:off x="7467600" y="3703603"/>
            <a:ext cx="14287" cy="38100"/>
          </a:xfrm>
          <a:custGeom>
            <a:avLst/>
            <a:gdLst>
              <a:gd name="T0" fmla="*/ 3 w 9"/>
              <a:gd name="T1" fmla="*/ 11 h 24"/>
              <a:gd name="T2" fmla="*/ 4 w 9"/>
              <a:gd name="T3" fmla="*/ 11 h 24"/>
              <a:gd name="T4" fmla="*/ 5 w 9"/>
              <a:gd name="T5" fmla="*/ 4 h 24"/>
              <a:gd name="T6" fmla="*/ 6 w 9"/>
              <a:gd name="T7" fmla="*/ 3 h 24"/>
              <a:gd name="T8" fmla="*/ 6 w 9"/>
              <a:gd name="T9" fmla="*/ 0 h 24"/>
              <a:gd name="T10" fmla="*/ 7 w 9"/>
              <a:gd name="T11" fmla="*/ 1 h 24"/>
              <a:gd name="T12" fmla="*/ 9 w 9"/>
              <a:gd name="T13" fmla="*/ 4 h 24"/>
              <a:gd name="T14" fmla="*/ 9 w 9"/>
              <a:gd name="T15" fmla="*/ 7 h 24"/>
              <a:gd name="T16" fmla="*/ 9 w 9"/>
              <a:gd name="T17" fmla="*/ 7 h 24"/>
              <a:gd name="T18" fmla="*/ 7 w 9"/>
              <a:gd name="T19" fmla="*/ 9 h 24"/>
              <a:gd name="T20" fmla="*/ 6 w 9"/>
              <a:gd name="T21" fmla="*/ 11 h 24"/>
              <a:gd name="T22" fmla="*/ 6 w 9"/>
              <a:gd name="T23" fmla="*/ 13 h 24"/>
              <a:gd name="T24" fmla="*/ 8 w 9"/>
              <a:gd name="T25" fmla="*/ 14 h 24"/>
              <a:gd name="T26" fmla="*/ 8 w 9"/>
              <a:gd name="T27" fmla="*/ 16 h 24"/>
              <a:gd name="T28" fmla="*/ 8 w 9"/>
              <a:gd name="T29" fmla="*/ 18 h 24"/>
              <a:gd name="T30" fmla="*/ 6 w 9"/>
              <a:gd name="T31" fmla="*/ 20 h 24"/>
              <a:gd name="T32" fmla="*/ 3 w 9"/>
              <a:gd name="T33" fmla="*/ 24 h 24"/>
              <a:gd name="T34" fmla="*/ 0 w 9"/>
              <a:gd name="T35" fmla="*/ 23 h 24"/>
              <a:gd name="T36" fmla="*/ 0 w 9"/>
              <a:gd name="T37" fmla="*/ 20 h 24"/>
              <a:gd name="T38" fmla="*/ 1 w 9"/>
              <a:gd name="T39" fmla="*/ 17 h 24"/>
              <a:gd name="T40" fmla="*/ 3 w 9"/>
              <a:gd name="T41" fmla="*/ 15 h 24"/>
              <a:gd name="T42" fmla="*/ 3 w 9"/>
              <a:gd name="T43" fmla="*/ 11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" h="24">
                <a:moveTo>
                  <a:pt x="3" y="11"/>
                </a:moveTo>
                <a:lnTo>
                  <a:pt x="4" y="11"/>
                </a:lnTo>
                <a:lnTo>
                  <a:pt x="5" y="4"/>
                </a:lnTo>
                <a:lnTo>
                  <a:pt x="6" y="3"/>
                </a:lnTo>
                <a:lnTo>
                  <a:pt x="6" y="0"/>
                </a:lnTo>
                <a:lnTo>
                  <a:pt x="7" y="1"/>
                </a:lnTo>
                <a:lnTo>
                  <a:pt x="9" y="4"/>
                </a:lnTo>
                <a:lnTo>
                  <a:pt x="9" y="7"/>
                </a:lnTo>
                <a:lnTo>
                  <a:pt x="9" y="7"/>
                </a:lnTo>
                <a:lnTo>
                  <a:pt x="7" y="9"/>
                </a:lnTo>
                <a:lnTo>
                  <a:pt x="6" y="11"/>
                </a:lnTo>
                <a:lnTo>
                  <a:pt x="6" y="13"/>
                </a:lnTo>
                <a:lnTo>
                  <a:pt x="8" y="14"/>
                </a:lnTo>
                <a:lnTo>
                  <a:pt x="8" y="16"/>
                </a:lnTo>
                <a:lnTo>
                  <a:pt x="8" y="18"/>
                </a:lnTo>
                <a:lnTo>
                  <a:pt x="6" y="20"/>
                </a:lnTo>
                <a:lnTo>
                  <a:pt x="3" y="24"/>
                </a:lnTo>
                <a:lnTo>
                  <a:pt x="0" y="23"/>
                </a:lnTo>
                <a:lnTo>
                  <a:pt x="0" y="20"/>
                </a:lnTo>
                <a:lnTo>
                  <a:pt x="1" y="17"/>
                </a:lnTo>
                <a:lnTo>
                  <a:pt x="3" y="15"/>
                </a:lnTo>
                <a:lnTo>
                  <a:pt x="3" y="1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46" name="Freeform 1346"/>
          <p:cNvSpPr>
            <a:spLocks/>
          </p:cNvSpPr>
          <p:nvPr/>
        </p:nvSpPr>
        <p:spPr bwMode="auto">
          <a:xfrm>
            <a:off x="7478712" y="3692490"/>
            <a:ext cx="4762" cy="7938"/>
          </a:xfrm>
          <a:custGeom>
            <a:avLst/>
            <a:gdLst>
              <a:gd name="T0" fmla="*/ 0 w 3"/>
              <a:gd name="T1" fmla="*/ 1 h 5"/>
              <a:gd name="T2" fmla="*/ 1 w 3"/>
              <a:gd name="T3" fmla="*/ 0 h 5"/>
              <a:gd name="T4" fmla="*/ 2 w 3"/>
              <a:gd name="T5" fmla="*/ 1 h 5"/>
              <a:gd name="T6" fmla="*/ 3 w 3"/>
              <a:gd name="T7" fmla="*/ 1 h 5"/>
              <a:gd name="T8" fmla="*/ 3 w 3"/>
              <a:gd name="T9" fmla="*/ 3 h 5"/>
              <a:gd name="T10" fmla="*/ 3 w 3"/>
              <a:gd name="T11" fmla="*/ 5 h 5"/>
              <a:gd name="T12" fmla="*/ 2 w 3"/>
              <a:gd name="T13" fmla="*/ 5 h 5"/>
              <a:gd name="T14" fmla="*/ 0 w 3"/>
              <a:gd name="T15" fmla="*/ 4 h 5"/>
              <a:gd name="T16" fmla="*/ 0 w 3"/>
              <a:gd name="T17" fmla="*/ 2 h 5"/>
              <a:gd name="T18" fmla="*/ 0 w 3"/>
              <a:gd name="T19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" h="5">
                <a:moveTo>
                  <a:pt x="0" y="1"/>
                </a:moveTo>
                <a:lnTo>
                  <a:pt x="1" y="0"/>
                </a:lnTo>
                <a:lnTo>
                  <a:pt x="2" y="1"/>
                </a:lnTo>
                <a:lnTo>
                  <a:pt x="3" y="1"/>
                </a:lnTo>
                <a:lnTo>
                  <a:pt x="3" y="3"/>
                </a:lnTo>
                <a:lnTo>
                  <a:pt x="3" y="5"/>
                </a:lnTo>
                <a:lnTo>
                  <a:pt x="2" y="5"/>
                </a:lnTo>
                <a:lnTo>
                  <a:pt x="0" y="4"/>
                </a:lnTo>
                <a:lnTo>
                  <a:pt x="0" y="2"/>
                </a:lnTo>
                <a:lnTo>
                  <a:pt x="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47" name="Freeform 1347"/>
          <p:cNvSpPr>
            <a:spLocks/>
          </p:cNvSpPr>
          <p:nvPr/>
        </p:nvSpPr>
        <p:spPr bwMode="auto">
          <a:xfrm>
            <a:off x="7478712" y="3692490"/>
            <a:ext cx="4762" cy="7938"/>
          </a:xfrm>
          <a:custGeom>
            <a:avLst/>
            <a:gdLst>
              <a:gd name="T0" fmla="*/ 0 w 3"/>
              <a:gd name="T1" fmla="*/ 1 h 5"/>
              <a:gd name="T2" fmla="*/ 1 w 3"/>
              <a:gd name="T3" fmla="*/ 0 h 5"/>
              <a:gd name="T4" fmla="*/ 2 w 3"/>
              <a:gd name="T5" fmla="*/ 1 h 5"/>
              <a:gd name="T6" fmla="*/ 3 w 3"/>
              <a:gd name="T7" fmla="*/ 1 h 5"/>
              <a:gd name="T8" fmla="*/ 3 w 3"/>
              <a:gd name="T9" fmla="*/ 3 h 5"/>
              <a:gd name="T10" fmla="*/ 3 w 3"/>
              <a:gd name="T11" fmla="*/ 5 h 5"/>
              <a:gd name="T12" fmla="*/ 2 w 3"/>
              <a:gd name="T13" fmla="*/ 5 h 5"/>
              <a:gd name="T14" fmla="*/ 0 w 3"/>
              <a:gd name="T15" fmla="*/ 4 h 5"/>
              <a:gd name="T16" fmla="*/ 0 w 3"/>
              <a:gd name="T17" fmla="*/ 2 h 5"/>
              <a:gd name="T18" fmla="*/ 0 w 3"/>
              <a:gd name="T19" fmla="*/ 1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" h="5">
                <a:moveTo>
                  <a:pt x="0" y="1"/>
                </a:moveTo>
                <a:lnTo>
                  <a:pt x="1" y="0"/>
                </a:lnTo>
                <a:lnTo>
                  <a:pt x="2" y="1"/>
                </a:lnTo>
                <a:lnTo>
                  <a:pt x="3" y="1"/>
                </a:lnTo>
                <a:lnTo>
                  <a:pt x="3" y="3"/>
                </a:lnTo>
                <a:lnTo>
                  <a:pt x="3" y="5"/>
                </a:lnTo>
                <a:lnTo>
                  <a:pt x="2" y="5"/>
                </a:lnTo>
                <a:lnTo>
                  <a:pt x="0" y="4"/>
                </a:lnTo>
                <a:lnTo>
                  <a:pt x="0" y="2"/>
                </a:lnTo>
                <a:lnTo>
                  <a:pt x="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48" name="Freeform 1348"/>
          <p:cNvSpPr>
            <a:spLocks/>
          </p:cNvSpPr>
          <p:nvPr/>
        </p:nvSpPr>
        <p:spPr bwMode="auto">
          <a:xfrm>
            <a:off x="7477125" y="3611528"/>
            <a:ext cx="7937" cy="11113"/>
          </a:xfrm>
          <a:custGeom>
            <a:avLst/>
            <a:gdLst>
              <a:gd name="T0" fmla="*/ 3 w 5"/>
              <a:gd name="T1" fmla="*/ 0 h 7"/>
              <a:gd name="T2" fmla="*/ 5 w 5"/>
              <a:gd name="T3" fmla="*/ 0 h 7"/>
              <a:gd name="T4" fmla="*/ 5 w 5"/>
              <a:gd name="T5" fmla="*/ 1 h 7"/>
              <a:gd name="T6" fmla="*/ 5 w 5"/>
              <a:gd name="T7" fmla="*/ 3 h 7"/>
              <a:gd name="T8" fmla="*/ 2 w 5"/>
              <a:gd name="T9" fmla="*/ 7 h 7"/>
              <a:gd name="T10" fmla="*/ 0 w 5"/>
              <a:gd name="T11" fmla="*/ 7 h 7"/>
              <a:gd name="T12" fmla="*/ 0 w 5"/>
              <a:gd name="T13" fmla="*/ 4 h 7"/>
              <a:gd name="T14" fmla="*/ 0 w 5"/>
              <a:gd name="T15" fmla="*/ 3 h 7"/>
              <a:gd name="T16" fmla="*/ 1 w 5"/>
              <a:gd name="T17" fmla="*/ 2 h 7"/>
              <a:gd name="T18" fmla="*/ 3 w 5"/>
              <a:gd name="T1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" h="7">
                <a:moveTo>
                  <a:pt x="3" y="0"/>
                </a:moveTo>
                <a:lnTo>
                  <a:pt x="5" y="0"/>
                </a:lnTo>
                <a:lnTo>
                  <a:pt x="5" y="1"/>
                </a:lnTo>
                <a:lnTo>
                  <a:pt x="5" y="3"/>
                </a:lnTo>
                <a:lnTo>
                  <a:pt x="2" y="7"/>
                </a:lnTo>
                <a:lnTo>
                  <a:pt x="0" y="7"/>
                </a:lnTo>
                <a:lnTo>
                  <a:pt x="0" y="4"/>
                </a:lnTo>
                <a:lnTo>
                  <a:pt x="0" y="3"/>
                </a:lnTo>
                <a:lnTo>
                  <a:pt x="1" y="2"/>
                </a:lnTo>
                <a:lnTo>
                  <a:pt x="3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49" name="Freeform 1349"/>
          <p:cNvSpPr>
            <a:spLocks/>
          </p:cNvSpPr>
          <p:nvPr/>
        </p:nvSpPr>
        <p:spPr bwMode="auto">
          <a:xfrm>
            <a:off x="7477125" y="3611528"/>
            <a:ext cx="7937" cy="11113"/>
          </a:xfrm>
          <a:custGeom>
            <a:avLst/>
            <a:gdLst>
              <a:gd name="T0" fmla="*/ 3 w 5"/>
              <a:gd name="T1" fmla="*/ 0 h 7"/>
              <a:gd name="T2" fmla="*/ 5 w 5"/>
              <a:gd name="T3" fmla="*/ 0 h 7"/>
              <a:gd name="T4" fmla="*/ 5 w 5"/>
              <a:gd name="T5" fmla="*/ 1 h 7"/>
              <a:gd name="T6" fmla="*/ 5 w 5"/>
              <a:gd name="T7" fmla="*/ 3 h 7"/>
              <a:gd name="T8" fmla="*/ 2 w 5"/>
              <a:gd name="T9" fmla="*/ 7 h 7"/>
              <a:gd name="T10" fmla="*/ 0 w 5"/>
              <a:gd name="T11" fmla="*/ 7 h 7"/>
              <a:gd name="T12" fmla="*/ 0 w 5"/>
              <a:gd name="T13" fmla="*/ 4 h 7"/>
              <a:gd name="T14" fmla="*/ 0 w 5"/>
              <a:gd name="T15" fmla="*/ 3 h 7"/>
              <a:gd name="T16" fmla="*/ 1 w 5"/>
              <a:gd name="T17" fmla="*/ 2 h 7"/>
              <a:gd name="T18" fmla="*/ 3 w 5"/>
              <a:gd name="T1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" h="7">
                <a:moveTo>
                  <a:pt x="3" y="0"/>
                </a:moveTo>
                <a:lnTo>
                  <a:pt x="5" y="0"/>
                </a:lnTo>
                <a:lnTo>
                  <a:pt x="5" y="1"/>
                </a:lnTo>
                <a:lnTo>
                  <a:pt x="5" y="3"/>
                </a:lnTo>
                <a:lnTo>
                  <a:pt x="2" y="7"/>
                </a:lnTo>
                <a:lnTo>
                  <a:pt x="0" y="7"/>
                </a:lnTo>
                <a:lnTo>
                  <a:pt x="0" y="4"/>
                </a:lnTo>
                <a:lnTo>
                  <a:pt x="0" y="3"/>
                </a:lnTo>
                <a:lnTo>
                  <a:pt x="1" y="2"/>
                </a:lnTo>
                <a:lnTo>
                  <a:pt x="3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50" name="Freeform 1350"/>
          <p:cNvSpPr>
            <a:spLocks/>
          </p:cNvSpPr>
          <p:nvPr/>
        </p:nvSpPr>
        <p:spPr bwMode="auto">
          <a:xfrm>
            <a:off x="7485062" y="3614703"/>
            <a:ext cx="9525" cy="9525"/>
          </a:xfrm>
          <a:custGeom>
            <a:avLst/>
            <a:gdLst>
              <a:gd name="T0" fmla="*/ 2 w 6"/>
              <a:gd name="T1" fmla="*/ 2 h 6"/>
              <a:gd name="T2" fmla="*/ 3 w 6"/>
              <a:gd name="T3" fmla="*/ 0 h 6"/>
              <a:gd name="T4" fmla="*/ 4 w 6"/>
              <a:gd name="T5" fmla="*/ 0 h 6"/>
              <a:gd name="T6" fmla="*/ 6 w 6"/>
              <a:gd name="T7" fmla="*/ 0 h 6"/>
              <a:gd name="T8" fmla="*/ 6 w 6"/>
              <a:gd name="T9" fmla="*/ 1 h 6"/>
              <a:gd name="T10" fmla="*/ 6 w 6"/>
              <a:gd name="T11" fmla="*/ 3 h 6"/>
              <a:gd name="T12" fmla="*/ 5 w 6"/>
              <a:gd name="T13" fmla="*/ 5 h 6"/>
              <a:gd name="T14" fmla="*/ 3 w 6"/>
              <a:gd name="T15" fmla="*/ 4 h 6"/>
              <a:gd name="T16" fmla="*/ 2 w 6"/>
              <a:gd name="T17" fmla="*/ 6 h 6"/>
              <a:gd name="T18" fmla="*/ 0 w 6"/>
              <a:gd name="T19" fmla="*/ 4 h 6"/>
              <a:gd name="T20" fmla="*/ 0 w 6"/>
              <a:gd name="T21" fmla="*/ 3 h 6"/>
              <a:gd name="T22" fmla="*/ 2 w 6"/>
              <a:gd name="T23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" h="6">
                <a:moveTo>
                  <a:pt x="2" y="2"/>
                </a:moveTo>
                <a:lnTo>
                  <a:pt x="3" y="0"/>
                </a:lnTo>
                <a:lnTo>
                  <a:pt x="4" y="0"/>
                </a:lnTo>
                <a:lnTo>
                  <a:pt x="6" y="0"/>
                </a:lnTo>
                <a:lnTo>
                  <a:pt x="6" y="1"/>
                </a:lnTo>
                <a:lnTo>
                  <a:pt x="6" y="3"/>
                </a:lnTo>
                <a:lnTo>
                  <a:pt x="5" y="5"/>
                </a:lnTo>
                <a:lnTo>
                  <a:pt x="3" y="4"/>
                </a:lnTo>
                <a:lnTo>
                  <a:pt x="2" y="6"/>
                </a:lnTo>
                <a:lnTo>
                  <a:pt x="0" y="4"/>
                </a:lnTo>
                <a:lnTo>
                  <a:pt x="0" y="3"/>
                </a:lnTo>
                <a:lnTo>
                  <a:pt x="2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51" name="Freeform 1351"/>
          <p:cNvSpPr>
            <a:spLocks/>
          </p:cNvSpPr>
          <p:nvPr/>
        </p:nvSpPr>
        <p:spPr bwMode="auto">
          <a:xfrm>
            <a:off x="7485062" y="3614703"/>
            <a:ext cx="9525" cy="9525"/>
          </a:xfrm>
          <a:custGeom>
            <a:avLst/>
            <a:gdLst>
              <a:gd name="T0" fmla="*/ 2 w 6"/>
              <a:gd name="T1" fmla="*/ 2 h 6"/>
              <a:gd name="T2" fmla="*/ 3 w 6"/>
              <a:gd name="T3" fmla="*/ 0 h 6"/>
              <a:gd name="T4" fmla="*/ 4 w 6"/>
              <a:gd name="T5" fmla="*/ 0 h 6"/>
              <a:gd name="T6" fmla="*/ 6 w 6"/>
              <a:gd name="T7" fmla="*/ 0 h 6"/>
              <a:gd name="T8" fmla="*/ 6 w 6"/>
              <a:gd name="T9" fmla="*/ 1 h 6"/>
              <a:gd name="T10" fmla="*/ 6 w 6"/>
              <a:gd name="T11" fmla="*/ 3 h 6"/>
              <a:gd name="T12" fmla="*/ 5 w 6"/>
              <a:gd name="T13" fmla="*/ 5 h 6"/>
              <a:gd name="T14" fmla="*/ 3 w 6"/>
              <a:gd name="T15" fmla="*/ 4 h 6"/>
              <a:gd name="T16" fmla="*/ 2 w 6"/>
              <a:gd name="T17" fmla="*/ 6 h 6"/>
              <a:gd name="T18" fmla="*/ 0 w 6"/>
              <a:gd name="T19" fmla="*/ 4 h 6"/>
              <a:gd name="T20" fmla="*/ 0 w 6"/>
              <a:gd name="T21" fmla="*/ 3 h 6"/>
              <a:gd name="T22" fmla="*/ 2 w 6"/>
              <a:gd name="T23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" h="6">
                <a:moveTo>
                  <a:pt x="2" y="2"/>
                </a:moveTo>
                <a:lnTo>
                  <a:pt x="3" y="0"/>
                </a:lnTo>
                <a:lnTo>
                  <a:pt x="4" y="0"/>
                </a:lnTo>
                <a:lnTo>
                  <a:pt x="6" y="0"/>
                </a:lnTo>
                <a:lnTo>
                  <a:pt x="6" y="1"/>
                </a:lnTo>
                <a:lnTo>
                  <a:pt x="6" y="3"/>
                </a:lnTo>
                <a:lnTo>
                  <a:pt x="5" y="5"/>
                </a:lnTo>
                <a:lnTo>
                  <a:pt x="3" y="4"/>
                </a:lnTo>
                <a:lnTo>
                  <a:pt x="2" y="6"/>
                </a:lnTo>
                <a:lnTo>
                  <a:pt x="0" y="4"/>
                </a:lnTo>
                <a:lnTo>
                  <a:pt x="0" y="3"/>
                </a:lnTo>
                <a:lnTo>
                  <a:pt x="2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52" name="Freeform 1352"/>
          <p:cNvSpPr>
            <a:spLocks/>
          </p:cNvSpPr>
          <p:nvPr/>
        </p:nvSpPr>
        <p:spPr bwMode="auto">
          <a:xfrm>
            <a:off x="7515225" y="3625815"/>
            <a:ext cx="23812" cy="11113"/>
          </a:xfrm>
          <a:custGeom>
            <a:avLst/>
            <a:gdLst>
              <a:gd name="T0" fmla="*/ 1 w 15"/>
              <a:gd name="T1" fmla="*/ 0 h 7"/>
              <a:gd name="T2" fmla="*/ 7 w 15"/>
              <a:gd name="T3" fmla="*/ 0 h 7"/>
              <a:gd name="T4" fmla="*/ 9 w 15"/>
              <a:gd name="T5" fmla="*/ 2 h 7"/>
              <a:gd name="T6" fmla="*/ 14 w 15"/>
              <a:gd name="T7" fmla="*/ 2 h 7"/>
              <a:gd name="T8" fmla="*/ 15 w 15"/>
              <a:gd name="T9" fmla="*/ 2 h 7"/>
              <a:gd name="T10" fmla="*/ 15 w 15"/>
              <a:gd name="T11" fmla="*/ 3 h 7"/>
              <a:gd name="T12" fmla="*/ 14 w 15"/>
              <a:gd name="T13" fmla="*/ 3 h 7"/>
              <a:gd name="T14" fmla="*/ 11 w 15"/>
              <a:gd name="T15" fmla="*/ 5 h 7"/>
              <a:gd name="T16" fmla="*/ 7 w 15"/>
              <a:gd name="T17" fmla="*/ 5 h 7"/>
              <a:gd name="T18" fmla="*/ 4 w 15"/>
              <a:gd name="T19" fmla="*/ 7 h 7"/>
              <a:gd name="T20" fmla="*/ 2 w 15"/>
              <a:gd name="T21" fmla="*/ 6 h 7"/>
              <a:gd name="T22" fmla="*/ 0 w 15"/>
              <a:gd name="T23" fmla="*/ 3 h 7"/>
              <a:gd name="T24" fmla="*/ 0 w 15"/>
              <a:gd name="T25" fmla="*/ 2 h 7"/>
              <a:gd name="T26" fmla="*/ 1 w 15"/>
              <a:gd name="T27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5" h="7">
                <a:moveTo>
                  <a:pt x="1" y="0"/>
                </a:moveTo>
                <a:lnTo>
                  <a:pt x="7" y="0"/>
                </a:lnTo>
                <a:lnTo>
                  <a:pt x="9" y="2"/>
                </a:lnTo>
                <a:lnTo>
                  <a:pt x="14" y="2"/>
                </a:lnTo>
                <a:lnTo>
                  <a:pt x="15" y="2"/>
                </a:lnTo>
                <a:lnTo>
                  <a:pt x="15" y="3"/>
                </a:lnTo>
                <a:lnTo>
                  <a:pt x="14" y="3"/>
                </a:lnTo>
                <a:lnTo>
                  <a:pt x="11" y="5"/>
                </a:lnTo>
                <a:lnTo>
                  <a:pt x="7" y="5"/>
                </a:lnTo>
                <a:lnTo>
                  <a:pt x="4" y="7"/>
                </a:lnTo>
                <a:lnTo>
                  <a:pt x="2" y="6"/>
                </a:lnTo>
                <a:lnTo>
                  <a:pt x="0" y="3"/>
                </a:lnTo>
                <a:lnTo>
                  <a:pt x="0" y="2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53" name="Freeform 1353"/>
          <p:cNvSpPr>
            <a:spLocks/>
          </p:cNvSpPr>
          <p:nvPr/>
        </p:nvSpPr>
        <p:spPr bwMode="auto">
          <a:xfrm>
            <a:off x="7515225" y="3625815"/>
            <a:ext cx="23812" cy="11113"/>
          </a:xfrm>
          <a:custGeom>
            <a:avLst/>
            <a:gdLst>
              <a:gd name="T0" fmla="*/ 1 w 15"/>
              <a:gd name="T1" fmla="*/ 0 h 7"/>
              <a:gd name="T2" fmla="*/ 7 w 15"/>
              <a:gd name="T3" fmla="*/ 0 h 7"/>
              <a:gd name="T4" fmla="*/ 9 w 15"/>
              <a:gd name="T5" fmla="*/ 2 h 7"/>
              <a:gd name="T6" fmla="*/ 14 w 15"/>
              <a:gd name="T7" fmla="*/ 2 h 7"/>
              <a:gd name="T8" fmla="*/ 15 w 15"/>
              <a:gd name="T9" fmla="*/ 2 h 7"/>
              <a:gd name="T10" fmla="*/ 15 w 15"/>
              <a:gd name="T11" fmla="*/ 3 h 7"/>
              <a:gd name="T12" fmla="*/ 14 w 15"/>
              <a:gd name="T13" fmla="*/ 3 h 7"/>
              <a:gd name="T14" fmla="*/ 11 w 15"/>
              <a:gd name="T15" fmla="*/ 5 h 7"/>
              <a:gd name="T16" fmla="*/ 7 w 15"/>
              <a:gd name="T17" fmla="*/ 5 h 7"/>
              <a:gd name="T18" fmla="*/ 4 w 15"/>
              <a:gd name="T19" fmla="*/ 7 h 7"/>
              <a:gd name="T20" fmla="*/ 2 w 15"/>
              <a:gd name="T21" fmla="*/ 6 h 7"/>
              <a:gd name="T22" fmla="*/ 0 w 15"/>
              <a:gd name="T23" fmla="*/ 3 h 7"/>
              <a:gd name="T24" fmla="*/ 0 w 15"/>
              <a:gd name="T25" fmla="*/ 2 h 7"/>
              <a:gd name="T26" fmla="*/ 1 w 15"/>
              <a:gd name="T27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5" h="7">
                <a:moveTo>
                  <a:pt x="1" y="0"/>
                </a:moveTo>
                <a:lnTo>
                  <a:pt x="7" y="0"/>
                </a:lnTo>
                <a:lnTo>
                  <a:pt x="9" y="2"/>
                </a:lnTo>
                <a:lnTo>
                  <a:pt x="14" y="2"/>
                </a:lnTo>
                <a:lnTo>
                  <a:pt x="15" y="2"/>
                </a:lnTo>
                <a:lnTo>
                  <a:pt x="15" y="3"/>
                </a:lnTo>
                <a:lnTo>
                  <a:pt x="14" y="3"/>
                </a:lnTo>
                <a:lnTo>
                  <a:pt x="11" y="5"/>
                </a:lnTo>
                <a:lnTo>
                  <a:pt x="7" y="5"/>
                </a:lnTo>
                <a:lnTo>
                  <a:pt x="4" y="7"/>
                </a:lnTo>
                <a:lnTo>
                  <a:pt x="2" y="6"/>
                </a:lnTo>
                <a:lnTo>
                  <a:pt x="0" y="3"/>
                </a:lnTo>
                <a:lnTo>
                  <a:pt x="0" y="2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54" name="Freeform 1354"/>
          <p:cNvSpPr>
            <a:spLocks/>
          </p:cNvSpPr>
          <p:nvPr/>
        </p:nvSpPr>
        <p:spPr bwMode="auto">
          <a:xfrm>
            <a:off x="7542212" y="3630578"/>
            <a:ext cx="22225" cy="4763"/>
          </a:xfrm>
          <a:custGeom>
            <a:avLst/>
            <a:gdLst>
              <a:gd name="T0" fmla="*/ 0 w 14"/>
              <a:gd name="T1" fmla="*/ 0 h 3"/>
              <a:gd name="T2" fmla="*/ 0 w 14"/>
              <a:gd name="T3" fmla="*/ 0 h 3"/>
              <a:gd name="T4" fmla="*/ 3 w 14"/>
              <a:gd name="T5" fmla="*/ 1 h 3"/>
              <a:gd name="T6" fmla="*/ 8 w 14"/>
              <a:gd name="T7" fmla="*/ 0 h 3"/>
              <a:gd name="T8" fmla="*/ 14 w 14"/>
              <a:gd name="T9" fmla="*/ 0 h 3"/>
              <a:gd name="T10" fmla="*/ 14 w 14"/>
              <a:gd name="T11" fmla="*/ 0 h 3"/>
              <a:gd name="T12" fmla="*/ 13 w 14"/>
              <a:gd name="T13" fmla="*/ 1 h 3"/>
              <a:gd name="T14" fmla="*/ 10 w 14"/>
              <a:gd name="T15" fmla="*/ 1 h 3"/>
              <a:gd name="T16" fmla="*/ 2 w 14"/>
              <a:gd name="T17" fmla="*/ 3 h 3"/>
              <a:gd name="T18" fmla="*/ 0 w 14"/>
              <a:gd name="T1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" h="3">
                <a:moveTo>
                  <a:pt x="0" y="0"/>
                </a:moveTo>
                <a:lnTo>
                  <a:pt x="0" y="0"/>
                </a:lnTo>
                <a:lnTo>
                  <a:pt x="3" y="1"/>
                </a:lnTo>
                <a:lnTo>
                  <a:pt x="8" y="0"/>
                </a:lnTo>
                <a:lnTo>
                  <a:pt x="14" y="0"/>
                </a:lnTo>
                <a:lnTo>
                  <a:pt x="14" y="0"/>
                </a:lnTo>
                <a:lnTo>
                  <a:pt x="13" y="1"/>
                </a:lnTo>
                <a:lnTo>
                  <a:pt x="10" y="1"/>
                </a:lnTo>
                <a:lnTo>
                  <a:pt x="2" y="3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55" name="Freeform 1355"/>
          <p:cNvSpPr>
            <a:spLocks/>
          </p:cNvSpPr>
          <p:nvPr/>
        </p:nvSpPr>
        <p:spPr bwMode="auto">
          <a:xfrm>
            <a:off x="7542212" y="3630578"/>
            <a:ext cx="22225" cy="4763"/>
          </a:xfrm>
          <a:custGeom>
            <a:avLst/>
            <a:gdLst>
              <a:gd name="T0" fmla="*/ 0 w 14"/>
              <a:gd name="T1" fmla="*/ 0 h 3"/>
              <a:gd name="T2" fmla="*/ 0 w 14"/>
              <a:gd name="T3" fmla="*/ 0 h 3"/>
              <a:gd name="T4" fmla="*/ 3 w 14"/>
              <a:gd name="T5" fmla="*/ 1 h 3"/>
              <a:gd name="T6" fmla="*/ 8 w 14"/>
              <a:gd name="T7" fmla="*/ 0 h 3"/>
              <a:gd name="T8" fmla="*/ 14 w 14"/>
              <a:gd name="T9" fmla="*/ 0 h 3"/>
              <a:gd name="T10" fmla="*/ 14 w 14"/>
              <a:gd name="T11" fmla="*/ 0 h 3"/>
              <a:gd name="T12" fmla="*/ 13 w 14"/>
              <a:gd name="T13" fmla="*/ 1 h 3"/>
              <a:gd name="T14" fmla="*/ 10 w 14"/>
              <a:gd name="T15" fmla="*/ 1 h 3"/>
              <a:gd name="T16" fmla="*/ 2 w 14"/>
              <a:gd name="T17" fmla="*/ 3 h 3"/>
              <a:gd name="T18" fmla="*/ 0 w 14"/>
              <a:gd name="T1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" h="3">
                <a:moveTo>
                  <a:pt x="0" y="0"/>
                </a:moveTo>
                <a:lnTo>
                  <a:pt x="0" y="0"/>
                </a:lnTo>
                <a:lnTo>
                  <a:pt x="3" y="1"/>
                </a:lnTo>
                <a:lnTo>
                  <a:pt x="8" y="0"/>
                </a:lnTo>
                <a:lnTo>
                  <a:pt x="14" y="0"/>
                </a:lnTo>
                <a:lnTo>
                  <a:pt x="14" y="0"/>
                </a:lnTo>
                <a:lnTo>
                  <a:pt x="13" y="1"/>
                </a:lnTo>
                <a:lnTo>
                  <a:pt x="10" y="1"/>
                </a:lnTo>
                <a:lnTo>
                  <a:pt x="2" y="3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56" name="Freeform 1356"/>
          <p:cNvSpPr>
            <a:spLocks/>
          </p:cNvSpPr>
          <p:nvPr/>
        </p:nvSpPr>
        <p:spPr bwMode="auto">
          <a:xfrm>
            <a:off x="7554912" y="3635340"/>
            <a:ext cx="3175" cy="14288"/>
          </a:xfrm>
          <a:custGeom>
            <a:avLst/>
            <a:gdLst>
              <a:gd name="T0" fmla="*/ 0 w 2"/>
              <a:gd name="T1" fmla="*/ 0 h 9"/>
              <a:gd name="T2" fmla="*/ 1 w 2"/>
              <a:gd name="T3" fmla="*/ 0 h 9"/>
              <a:gd name="T4" fmla="*/ 1 w 2"/>
              <a:gd name="T5" fmla="*/ 0 h 9"/>
              <a:gd name="T6" fmla="*/ 1 w 2"/>
              <a:gd name="T7" fmla="*/ 3 h 9"/>
              <a:gd name="T8" fmla="*/ 2 w 2"/>
              <a:gd name="T9" fmla="*/ 9 h 9"/>
              <a:gd name="T10" fmla="*/ 0 w 2"/>
              <a:gd name="T11" fmla="*/ 3 h 9"/>
              <a:gd name="T12" fmla="*/ 0 w 2"/>
              <a:gd name="T13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9">
                <a:moveTo>
                  <a:pt x="0" y="0"/>
                </a:moveTo>
                <a:lnTo>
                  <a:pt x="1" y="0"/>
                </a:lnTo>
                <a:lnTo>
                  <a:pt x="1" y="0"/>
                </a:lnTo>
                <a:lnTo>
                  <a:pt x="1" y="3"/>
                </a:lnTo>
                <a:lnTo>
                  <a:pt x="2" y="9"/>
                </a:lnTo>
                <a:lnTo>
                  <a:pt x="0" y="3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57" name="Freeform 1357"/>
          <p:cNvSpPr>
            <a:spLocks/>
          </p:cNvSpPr>
          <p:nvPr/>
        </p:nvSpPr>
        <p:spPr bwMode="auto">
          <a:xfrm>
            <a:off x="7554912" y="3635340"/>
            <a:ext cx="3175" cy="14288"/>
          </a:xfrm>
          <a:custGeom>
            <a:avLst/>
            <a:gdLst>
              <a:gd name="T0" fmla="*/ 0 w 2"/>
              <a:gd name="T1" fmla="*/ 0 h 9"/>
              <a:gd name="T2" fmla="*/ 1 w 2"/>
              <a:gd name="T3" fmla="*/ 0 h 9"/>
              <a:gd name="T4" fmla="*/ 1 w 2"/>
              <a:gd name="T5" fmla="*/ 0 h 9"/>
              <a:gd name="T6" fmla="*/ 1 w 2"/>
              <a:gd name="T7" fmla="*/ 3 h 9"/>
              <a:gd name="T8" fmla="*/ 2 w 2"/>
              <a:gd name="T9" fmla="*/ 9 h 9"/>
              <a:gd name="T10" fmla="*/ 0 w 2"/>
              <a:gd name="T11" fmla="*/ 3 h 9"/>
              <a:gd name="T12" fmla="*/ 0 w 2"/>
              <a:gd name="T13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9">
                <a:moveTo>
                  <a:pt x="0" y="0"/>
                </a:moveTo>
                <a:lnTo>
                  <a:pt x="1" y="0"/>
                </a:lnTo>
                <a:lnTo>
                  <a:pt x="1" y="0"/>
                </a:lnTo>
                <a:lnTo>
                  <a:pt x="1" y="3"/>
                </a:lnTo>
                <a:lnTo>
                  <a:pt x="2" y="9"/>
                </a:lnTo>
                <a:lnTo>
                  <a:pt x="0" y="3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58" name="Freeform 1358"/>
          <p:cNvSpPr>
            <a:spLocks/>
          </p:cNvSpPr>
          <p:nvPr/>
        </p:nvSpPr>
        <p:spPr bwMode="auto">
          <a:xfrm>
            <a:off x="7556500" y="3665503"/>
            <a:ext cx="30162" cy="23813"/>
          </a:xfrm>
          <a:custGeom>
            <a:avLst/>
            <a:gdLst>
              <a:gd name="T0" fmla="*/ 1 w 19"/>
              <a:gd name="T1" fmla="*/ 1 h 15"/>
              <a:gd name="T2" fmla="*/ 1 w 19"/>
              <a:gd name="T3" fmla="*/ 1 h 15"/>
              <a:gd name="T4" fmla="*/ 2 w 19"/>
              <a:gd name="T5" fmla="*/ 2 h 15"/>
              <a:gd name="T6" fmla="*/ 8 w 19"/>
              <a:gd name="T7" fmla="*/ 1 h 15"/>
              <a:gd name="T8" fmla="*/ 11 w 19"/>
              <a:gd name="T9" fmla="*/ 0 h 15"/>
              <a:gd name="T10" fmla="*/ 16 w 19"/>
              <a:gd name="T11" fmla="*/ 4 h 15"/>
              <a:gd name="T12" fmla="*/ 16 w 19"/>
              <a:gd name="T13" fmla="*/ 5 h 15"/>
              <a:gd name="T14" fmla="*/ 19 w 19"/>
              <a:gd name="T15" fmla="*/ 5 h 15"/>
              <a:gd name="T16" fmla="*/ 19 w 19"/>
              <a:gd name="T17" fmla="*/ 10 h 15"/>
              <a:gd name="T18" fmla="*/ 18 w 19"/>
              <a:gd name="T19" fmla="*/ 12 h 15"/>
              <a:gd name="T20" fmla="*/ 14 w 19"/>
              <a:gd name="T21" fmla="*/ 13 h 15"/>
              <a:gd name="T22" fmla="*/ 12 w 19"/>
              <a:gd name="T23" fmla="*/ 15 h 15"/>
              <a:gd name="T24" fmla="*/ 8 w 19"/>
              <a:gd name="T25" fmla="*/ 14 h 15"/>
              <a:gd name="T26" fmla="*/ 4 w 19"/>
              <a:gd name="T27" fmla="*/ 12 h 15"/>
              <a:gd name="T28" fmla="*/ 2 w 19"/>
              <a:gd name="T29" fmla="*/ 10 h 15"/>
              <a:gd name="T30" fmla="*/ 1 w 19"/>
              <a:gd name="T31" fmla="*/ 7 h 15"/>
              <a:gd name="T32" fmla="*/ 0 w 19"/>
              <a:gd name="T33" fmla="*/ 3 h 15"/>
              <a:gd name="T34" fmla="*/ 0 w 19"/>
              <a:gd name="T35" fmla="*/ 2 h 15"/>
              <a:gd name="T36" fmla="*/ 1 w 19"/>
              <a:gd name="T37" fmla="*/ 1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9" h="15">
                <a:moveTo>
                  <a:pt x="1" y="1"/>
                </a:moveTo>
                <a:lnTo>
                  <a:pt x="1" y="1"/>
                </a:lnTo>
                <a:lnTo>
                  <a:pt x="2" y="2"/>
                </a:lnTo>
                <a:lnTo>
                  <a:pt x="8" y="1"/>
                </a:lnTo>
                <a:lnTo>
                  <a:pt x="11" y="0"/>
                </a:lnTo>
                <a:lnTo>
                  <a:pt x="16" y="4"/>
                </a:lnTo>
                <a:lnTo>
                  <a:pt x="16" y="5"/>
                </a:lnTo>
                <a:lnTo>
                  <a:pt x="19" y="5"/>
                </a:lnTo>
                <a:lnTo>
                  <a:pt x="19" y="10"/>
                </a:lnTo>
                <a:lnTo>
                  <a:pt x="18" y="12"/>
                </a:lnTo>
                <a:lnTo>
                  <a:pt x="14" y="13"/>
                </a:lnTo>
                <a:lnTo>
                  <a:pt x="12" y="15"/>
                </a:lnTo>
                <a:lnTo>
                  <a:pt x="8" y="14"/>
                </a:lnTo>
                <a:lnTo>
                  <a:pt x="4" y="12"/>
                </a:lnTo>
                <a:lnTo>
                  <a:pt x="2" y="10"/>
                </a:lnTo>
                <a:lnTo>
                  <a:pt x="1" y="7"/>
                </a:lnTo>
                <a:lnTo>
                  <a:pt x="0" y="3"/>
                </a:lnTo>
                <a:lnTo>
                  <a:pt x="0" y="2"/>
                </a:lnTo>
                <a:lnTo>
                  <a:pt x="1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59" name="Freeform 1359"/>
          <p:cNvSpPr>
            <a:spLocks/>
          </p:cNvSpPr>
          <p:nvPr/>
        </p:nvSpPr>
        <p:spPr bwMode="auto">
          <a:xfrm>
            <a:off x="7556500" y="3665503"/>
            <a:ext cx="30162" cy="23813"/>
          </a:xfrm>
          <a:custGeom>
            <a:avLst/>
            <a:gdLst>
              <a:gd name="T0" fmla="*/ 1 w 19"/>
              <a:gd name="T1" fmla="*/ 1 h 15"/>
              <a:gd name="T2" fmla="*/ 1 w 19"/>
              <a:gd name="T3" fmla="*/ 1 h 15"/>
              <a:gd name="T4" fmla="*/ 2 w 19"/>
              <a:gd name="T5" fmla="*/ 2 h 15"/>
              <a:gd name="T6" fmla="*/ 8 w 19"/>
              <a:gd name="T7" fmla="*/ 1 h 15"/>
              <a:gd name="T8" fmla="*/ 11 w 19"/>
              <a:gd name="T9" fmla="*/ 0 h 15"/>
              <a:gd name="T10" fmla="*/ 16 w 19"/>
              <a:gd name="T11" fmla="*/ 4 h 15"/>
              <a:gd name="T12" fmla="*/ 16 w 19"/>
              <a:gd name="T13" fmla="*/ 5 h 15"/>
              <a:gd name="T14" fmla="*/ 19 w 19"/>
              <a:gd name="T15" fmla="*/ 5 h 15"/>
              <a:gd name="T16" fmla="*/ 19 w 19"/>
              <a:gd name="T17" fmla="*/ 10 h 15"/>
              <a:gd name="T18" fmla="*/ 18 w 19"/>
              <a:gd name="T19" fmla="*/ 12 h 15"/>
              <a:gd name="T20" fmla="*/ 14 w 19"/>
              <a:gd name="T21" fmla="*/ 13 h 15"/>
              <a:gd name="T22" fmla="*/ 12 w 19"/>
              <a:gd name="T23" fmla="*/ 15 h 15"/>
              <a:gd name="T24" fmla="*/ 8 w 19"/>
              <a:gd name="T25" fmla="*/ 14 h 15"/>
              <a:gd name="T26" fmla="*/ 4 w 19"/>
              <a:gd name="T27" fmla="*/ 12 h 15"/>
              <a:gd name="T28" fmla="*/ 2 w 19"/>
              <a:gd name="T29" fmla="*/ 10 h 15"/>
              <a:gd name="T30" fmla="*/ 1 w 19"/>
              <a:gd name="T31" fmla="*/ 7 h 15"/>
              <a:gd name="T32" fmla="*/ 0 w 19"/>
              <a:gd name="T33" fmla="*/ 3 h 15"/>
              <a:gd name="T34" fmla="*/ 0 w 19"/>
              <a:gd name="T35" fmla="*/ 2 h 15"/>
              <a:gd name="T36" fmla="*/ 1 w 19"/>
              <a:gd name="T37" fmla="*/ 1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9" h="15">
                <a:moveTo>
                  <a:pt x="1" y="1"/>
                </a:moveTo>
                <a:lnTo>
                  <a:pt x="1" y="1"/>
                </a:lnTo>
                <a:lnTo>
                  <a:pt x="2" y="2"/>
                </a:lnTo>
                <a:lnTo>
                  <a:pt x="8" y="1"/>
                </a:lnTo>
                <a:lnTo>
                  <a:pt x="11" y="0"/>
                </a:lnTo>
                <a:lnTo>
                  <a:pt x="16" y="4"/>
                </a:lnTo>
                <a:lnTo>
                  <a:pt x="16" y="5"/>
                </a:lnTo>
                <a:lnTo>
                  <a:pt x="19" y="5"/>
                </a:lnTo>
                <a:lnTo>
                  <a:pt x="19" y="10"/>
                </a:lnTo>
                <a:lnTo>
                  <a:pt x="18" y="12"/>
                </a:lnTo>
                <a:lnTo>
                  <a:pt x="14" y="13"/>
                </a:lnTo>
                <a:lnTo>
                  <a:pt x="12" y="15"/>
                </a:lnTo>
                <a:lnTo>
                  <a:pt x="8" y="14"/>
                </a:lnTo>
                <a:lnTo>
                  <a:pt x="4" y="12"/>
                </a:lnTo>
                <a:lnTo>
                  <a:pt x="2" y="10"/>
                </a:lnTo>
                <a:lnTo>
                  <a:pt x="1" y="7"/>
                </a:lnTo>
                <a:lnTo>
                  <a:pt x="0" y="3"/>
                </a:lnTo>
                <a:lnTo>
                  <a:pt x="0" y="2"/>
                </a:lnTo>
                <a:lnTo>
                  <a:pt x="1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60" name="Freeform 1360"/>
          <p:cNvSpPr>
            <a:spLocks/>
          </p:cNvSpPr>
          <p:nvPr/>
        </p:nvSpPr>
        <p:spPr bwMode="auto">
          <a:xfrm>
            <a:off x="7540625" y="3471828"/>
            <a:ext cx="6350" cy="9525"/>
          </a:xfrm>
          <a:custGeom>
            <a:avLst/>
            <a:gdLst>
              <a:gd name="T0" fmla="*/ 0 w 4"/>
              <a:gd name="T1" fmla="*/ 0 h 6"/>
              <a:gd name="T2" fmla="*/ 1 w 4"/>
              <a:gd name="T3" fmla="*/ 0 h 6"/>
              <a:gd name="T4" fmla="*/ 2 w 4"/>
              <a:gd name="T5" fmla="*/ 1 h 6"/>
              <a:gd name="T6" fmla="*/ 4 w 4"/>
              <a:gd name="T7" fmla="*/ 6 h 6"/>
              <a:gd name="T8" fmla="*/ 0 w 4"/>
              <a:gd name="T9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6">
                <a:moveTo>
                  <a:pt x="0" y="0"/>
                </a:moveTo>
                <a:lnTo>
                  <a:pt x="1" y="0"/>
                </a:lnTo>
                <a:lnTo>
                  <a:pt x="2" y="1"/>
                </a:lnTo>
                <a:lnTo>
                  <a:pt x="4" y="6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61" name="Freeform 1361"/>
          <p:cNvSpPr>
            <a:spLocks/>
          </p:cNvSpPr>
          <p:nvPr/>
        </p:nvSpPr>
        <p:spPr bwMode="auto">
          <a:xfrm>
            <a:off x="7540625" y="3471828"/>
            <a:ext cx="6350" cy="9525"/>
          </a:xfrm>
          <a:custGeom>
            <a:avLst/>
            <a:gdLst>
              <a:gd name="T0" fmla="*/ 0 w 4"/>
              <a:gd name="T1" fmla="*/ 0 h 6"/>
              <a:gd name="T2" fmla="*/ 1 w 4"/>
              <a:gd name="T3" fmla="*/ 0 h 6"/>
              <a:gd name="T4" fmla="*/ 2 w 4"/>
              <a:gd name="T5" fmla="*/ 1 h 6"/>
              <a:gd name="T6" fmla="*/ 4 w 4"/>
              <a:gd name="T7" fmla="*/ 6 h 6"/>
              <a:gd name="T8" fmla="*/ 0 w 4"/>
              <a:gd name="T9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6">
                <a:moveTo>
                  <a:pt x="0" y="0"/>
                </a:moveTo>
                <a:lnTo>
                  <a:pt x="1" y="0"/>
                </a:lnTo>
                <a:lnTo>
                  <a:pt x="2" y="1"/>
                </a:lnTo>
                <a:lnTo>
                  <a:pt x="4" y="6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62" name="Freeform 1362"/>
          <p:cNvSpPr>
            <a:spLocks/>
          </p:cNvSpPr>
          <p:nvPr/>
        </p:nvSpPr>
        <p:spPr bwMode="auto">
          <a:xfrm>
            <a:off x="7573962" y="3446428"/>
            <a:ext cx="3175" cy="15875"/>
          </a:xfrm>
          <a:custGeom>
            <a:avLst/>
            <a:gdLst>
              <a:gd name="T0" fmla="*/ 0 w 2"/>
              <a:gd name="T1" fmla="*/ 0 h 10"/>
              <a:gd name="T2" fmla="*/ 1 w 2"/>
              <a:gd name="T3" fmla="*/ 0 h 10"/>
              <a:gd name="T4" fmla="*/ 1 w 2"/>
              <a:gd name="T5" fmla="*/ 2 h 10"/>
              <a:gd name="T6" fmla="*/ 2 w 2"/>
              <a:gd name="T7" fmla="*/ 6 h 10"/>
              <a:gd name="T8" fmla="*/ 2 w 2"/>
              <a:gd name="T9" fmla="*/ 9 h 10"/>
              <a:gd name="T10" fmla="*/ 1 w 2"/>
              <a:gd name="T11" fmla="*/ 10 h 10"/>
              <a:gd name="T12" fmla="*/ 0 w 2"/>
              <a:gd name="T13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10">
                <a:moveTo>
                  <a:pt x="0" y="0"/>
                </a:moveTo>
                <a:lnTo>
                  <a:pt x="1" y="0"/>
                </a:lnTo>
                <a:lnTo>
                  <a:pt x="1" y="2"/>
                </a:lnTo>
                <a:lnTo>
                  <a:pt x="2" y="6"/>
                </a:lnTo>
                <a:lnTo>
                  <a:pt x="2" y="9"/>
                </a:lnTo>
                <a:lnTo>
                  <a:pt x="1" y="10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63" name="Freeform 1363"/>
          <p:cNvSpPr>
            <a:spLocks/>
          </p:cNvSpPr>
          <p:nvPr/>
        </p:nvSpPr>
        <p:spPr bwMode="auto">
          <a:xfrm>
            <a:off x="7573962" y="3446428"/>
            <a:ext cx="3175" cy="15875"/>
          </a:xfrm>
          <a:custGeom>
            <a:avLst/>
            <a:gdLst>
              <a:gd name="T0" fmla="*/ 0 w 2"/>
              <a:gd name="T1" fmla="*/ 0 h 10"/>
              <a:gd name="T2" fmla="*/ 1 w 2"/>
              <a:gd name="T3" fmla="*/ 0 h 10"/>
              <a:gd name="T4" fmla="*/ 1 w 2"/>
              <a:gd name="T5" fmla="*/ 2 h 10"/>
              <a:gd name="T6" fmla="*/ 2 w 2"/>
              <a:gd name="T7" fmla="*/ 6 h 10"/>
              <a:gd name="T8" fmla="*/ 2 w 2"/>
              <a:gd name="T9" fmla="*/ 9 h 10"/>
              <a:gd name="T10" fmla="*/ 1 w 2"/>
              <a:gd name="T11" fmla="*/ 10 h 10"/>
              <a:gd name="T12" fmla="*/ 0 w 2"/>
              <a:gd name="T13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10">
                <a:moveTo>
                  <a:pt x="0" y="0"/>
                </a:moveTo>
                <a:lnTo>
                  <a:pt x="1" y="0"/>
                </a:lnTo>
                <a:lnTo>
                  <a:pt x="1" y="2"/>
                </a:lnTo>
                <a:lnTo>
                  <a:pt x="2" y="6"/>
                </a:lnTo>
                <a:lnTo>
                  <a:pt x="2" y="9"/>
                </a:lnTo>
                <a:lnTo>
                  <a:pt x="1" y="10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64" name="Freeform 1364"/>
          <p:cNvSpPr>
            <a:spLocks/>
          </p:cNvSpPr>
          <p:nvPr/>
        </p:nvSpPr>
        <p:spPr bwMode="auto">
          <a:xfrm>
            <a:off x="7613650" y="3501990"/>
            <a:ext cx="11112" cy="17463"/>
          </a:xfrm>
          <a:custGeom>
            <a:avLst/>
            <a:gdLst>
              <a:gd name="T0" fmla="*/ 5 w 7"/>
              <a:gd name="T1" fmla="*/ 0 h 11"/>
              <a:gd name="T2" fmla="*/ 6 w 7"/>
              <a:gd name="T3" fmla="*/ 2 h 11"/>
              <a:gd name="T4" fmla="*/ 7 w 7"/>
              <a:gd name="T5" fmla="*/ 4 h 11"/>
              <a:gd name="T6" fmla="*/ 7 w 7"/>
              <a:gd name="T7" fmla="*/ 6 h 11"/>
              <a:gd name="T8" fmla="*/ 5 w 7"/>
              <a:gd name="T9" fmla="*/ 11 h 11"/>
              <a:gd name="T10" fmla="*/ 2 w 7"/>
              <a:gd name="T11" fmla="*/ 11 h 11"/>
              <a:gd name="T12" fmla="*/ 0 w 7"/>
              <a:gd name="T13" fmla="*/ 6 h 11"/>
              <a:gd name="T14" fmla="*/ 0 w 7"/>
              <a:gd name="T15" fmla="*/ 4 h 11"/>
              <a:gd name="T16" fmla="*/ 3 w 7"/>
              <a:gd name="T17" fmla="*/ 2 h 11"/>
              <a:gd name="T18" fmla="*/ 5 w 7"/>
              <a:gd name="T19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" h="11">
                <a:moveTo>
                  <a:pt x="5" y="0"/>
                </a:moveTo>
                <a:lnTo>
                  <a:pt x="6" y="2"/>
                </a:lnTo>
                <a:lnTo>
                  <a:pt x="7" y="4"/>
                </a:lnTo>
                <a:lnTo>
                  <a:pt x="7" y="6"/>
                </a:lnTo>
                <a:lnTo>
                  <a:pt x="5" y="11"/>
                </a:lnTo>
                <a:lnTo>
                  <a:pt x="2" y="11"/>
                </a:lnTo>
                <a:lnTo>
                  <a:pt x="0" y="6"/>
                </a:lnTo>
                <a:lnTo>
                  <a:pt x="0" y="4"/>
                </a:lnTo>
                <a:lnTo>
                  <a:pt x="3" y="2"/>
                </a:lnTo>
                <a:lnTo>
                  <a:pt x="5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65" name="Freeform 1365"/>
          <p:cNvSpPr>
            <a:spLocks/>
          </p:cNvSpPr>
          <p:nvPr/>
        </p:nvSpPr>
        <p:spPr bwMode="auto">
          <a:xfrm>
            <a:off x="7613650" y="3501990"/>
            <a:ext cx="11112" cy="17463"/>
          </a:xfrm>
          <a:custGeom>
            <a:avLst/>
            <a:gdLst>
              <a:gd name="T0" fmla="*/ 5 w 7"/>
              <a:gd name="T1" fmla="*/ 0 h 11"/>
              <a:gd name="T2" fmla="*/ 6 w 7"/>
              <a:gd name="T3" fmla="*/ 2 h 11"/>
              <a:gd name="T4" fmla="*/ 7 w 7"/>
              <a:gd name="T5" fmla="*/ 4 h 11"/>
              <a:gd name="T6" fmla="*/ 7 w 7"/>
              <a:gd name="T7" fmla="*/ 6 h 11"/>
              <a:gd name="T8" fmla="*/ 5 w 7"/>
              <a:gd name="T9" fmla="*/ 11 h 11"/>
              <a:gd name="T10" fmla="*/ 2 w 7"/>
              <a:gd name="T11" fmla="*/ 11 h 11"/>
              <a:gd name="T12" fmla="*/ 0 w 7"/>
              <a:gd name="T13" fmla="*/ 6 h 11"/>
              <a:gd name="T14" fmla="*/ 0 w 7"/>
              <a:gd name="T15" fmla="*/ 4 h 11"/>
              <a:gd name="T16" fmla="*/ 3 w 7"/>
              <a:gd name="T17" fmla="*/ 2 h 11"/>
              <a:gd name="T18" fmla="*/ 5 w 7"/>
              <a:gd name="T19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7" h="11">
                <a:moveTo>
                  <a:pt x="5" y="0"/>
                </a:moveTo>
                <a:lnTo>
                  <a:pt x="6" y="2"/>
                </a:lnTo>
                <a:lnTo>
                  <a:pt x="7" y="4"/>
                </a:lnTo>
                <a:lnTo>
                  <a:pt x="7" y="6"/>
                </a:lnTo>
                <a:lnTo>
                  <a:pt x="5" y="11"/>
                </a:lnTo>
                <a:lnTo>
                  <a:pt x="2" y="11"/>
                </a:lnTo>
                <a:lnTo>
                  <a:pt x="0" y="6"/>
                </a:lnTo>
                <a:lnTo>
                  <a:pt x="0" y="4"/>
                </a:lnTo>
                <a:lnTo>
                  <a:pt x="3" y="2"/>
                </a:lnTo>
                <a:lnTo>
                  <a:pt x="5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66" name="Freeform 1366"/>
          <p:cNvSpPr>
            <a:spLocks/>
          </p:cNvSpPr>
          <p:nvPr/>
        </p:nvSpPr>
        <p:spPr bwMode="auto">
          <a:xfrm>
            <a:off x="7593012" y="3513103"/>
            <a:ext cx="36512" cy="90488"/>
          </a:xfrm>
          <a:custGeom>
            <a:avLst/>
            <a:gdLst>
              <a:gd name="T0" fmla="*/ 8 w 23"/>
              <a:gd name="T1" fmla="*/ 0 h 57"/>
              <a:gd name="T2" fmla="*/ 9 w 23"/>
              <a:gd name="T3" fmla="*/ 0 h 57"/>
              <a:gd name="T4" fmla="*/ 9 w 23"/>
              <a:gd name="T5" fmla="*/ 0 h 57"/>
              <a:gd name="T6" fmla="*/ 10 w 23"/>
              <a:gd name="T7" fmla="*/ 3 h 57"/>
              <a:gd name="T8" fmla="*/ 9 w 23"/>
              <a:gd name="T9" fmla="*/ 5 h 57"/>
              <a:gd name="T10" fmla="*/ 8 w 23"/>
              <a:gd name="T11" fmla="*/ 6 h 57"/>
              <a:gd name="T12" fmla="*/ 7 w 23"/>
              <a:gd name="T13" fmla="*/ 7 h 57"/>
              <a:gd name="T14" fmla="*/ 9 w 23"/>
              <a:gd name="T15" fmla="*/ 8 h 57"/>
              <a:gd name="T16" fmla="*/ 10 w 23"/>
              <a:gd name="T17" fmla="*/ 13 h 57"/>
              <a:gd name="T18" fmla="*/ 10 w 23"/>
              <a:gd name="T19" fmla="*/ 15 h 57"/>
              <a:gd name="T20" fmla="*/ 10 w 23"/>
              <a:gd name="T21" fmla="*/ 18 h 57"/>
              <a:gd name="T22" fmla="*/ 7 w 23"/>
              <a:gd name="T23" fmla="*/ 23 h 57"/>
              <a:gd name="T24" fmla="*/ 5 w 23"/>
              <a:gd name="T25" fmla="*/ 24 h 57"/>
              <a:gd name="T26" fmla="*/ 5 w 23"/>
              <a:gd name="T27" fmla="*/ 25 h 57"/>
              <a:gd name="T28" fmla="*/ 7 w 23"/>
              <a:gd name="T29" fmla="*/ 26 h 57"/>
              <a:gd name="T30" fmla="*/ 8 w 23"/>
              <a:gd name="T31" fmla="*/ 24 h 57"/>
              <a:gd name="T32" fmla="*/ 11 w 23"/>
              <a:gd name="T33" fmla="*/ 22 h 57"/>
              <a:gd name="T34" fmla="*/ 13 w 23"/>
              <a:gd name="T35" fmla="*/ 15 h 57"/>
              <a:gd name="T36" fmla="*/ 16 w 23"/>
              <a:gd name="T37" fmla="*/ 14 h 57"/>
              <a:gd name="T38" fmla="*/ 19 w 23"/>
              <a:gd name="T39" fmla="*/ 14 h 57"/>
              <a:gd name="T40" fmla="*/ 20 w 23"/>
              <a:gd name="T41" fmla="*/ 14 h 57"/>
              <a:gd name="T42" fmla="*/ 21 w 23"/>
              <a:gd name="T43" fmla="*/ 17 h 57"/>
              <a:gd name="T44" fmla="*/ 21 w 23"/>
              <a:gd name="T45" fmla="*/ 22 h 57"/>
              <a:gd name="T46" fmla="*/ 15 w 23"/>
              <a:gd name="T47" fmla="*/ 26 h 57"/>
              <a:gd name="T48" fmla="*/ 15 w 23"/>
              <a:gd name="T49" fmla="*/ 27 h 57"/>
              <a:gd name="T50" fmla="*/ 20 w 23"/>
              <a:gd name="T51" fmla="*/ 32 h 57"/>
              <a:gd name="T52" fmla="*/ 20 w 23"/>
              <a:gd name="T53" fmla="*/ 34 h 57"/>
              <a:gd name="T54" fmla="*/ 21 w 23"/>
              <a:gd name="T55" fmla="*/ 35 h 57"/>
              <a:gd name="T56" fmla="*/ 23 w 23"/>
              <a:gd name="T57" fmla="*/ 36 h 57"/>
              <a:gd name="T58" fmla="*/ 21 w 23"/>
              <a:gd name="T59" fmla="*/ 36 h 57"/>
              <a:gd name="T60" fmla="*/ 18 w 23"/>
              <a:gd name="T61" fmla="*/ 35 h 57"/>
              <a:gd name="T62" fmla="*/ 13 w 23"/>
              <a:gd name="T63" fmla="*/ 34 h 57"/>
              <a:gd name="T64" fmla="*/ 10 w 23"/>
              <a:gd name="T65" fmla="*/ 33 h 57"/>
              <a:gd name="T66" fmla="*/ 9 w 23"/>
              <a:gd name="T67" fmla="*/ 35 h 57"/>
              <a:gd name="T68" fmla="*/ 9 w 23"/>
              <a:gd name="T69" fmla="*/ 40 h 57"/>
              <a:gd name="T70" fmla="*/ 9 w 23"/>
              <a:gd name="T71" fmla="*/ 46 h 57"/>
              <a:gd name="T72" fmla="*/ 11 w 23"/>
              <a:gd name="T73" fmla="*/ 49 h 57"/>
              <a:gd name="T74" fmla="*/ 12 w 23"/>
              <a:gd name="T75" fmla="*/ 53 h 57"/>
              <a:gd name="T76" fmla="*/ 16 w 23"/>
              <a:gd name="T77" fmla="*/ 57 h 57"/>
              <a:gd name="T78" fmla="*/ 15 w 23"/>
              <a:gd name="T79" fmla="*/ 57 h 57"/>
              <a:gd name="T80" fmla="*/ 11 w 23"/>
              <a:gd name="T81" fmla="*/ 54 h 57"/>
              <a:gd name="T82" fmla="*/ 6 w 23"/>
              <a:gd name="T83" fmla="*/ 46 h 57"/>
              <a:gd name="T84" fmla="*/ 5 w 23"/>
              <a:gd name="T85" fmla="*/ 36 h 57"/>
              <a:gd name="T86" fmla="*/ 3 w 23"/>
              <a:gd name="T87" fmla="*/ 32 h 57"/>
              <a:gd name="T88" fmla="*/ 3 w 23"/>
              <a:gd name="T89" fmla="*/ 27 h 57"/>
              <a:gd name="T90" fmla="*/ 2 w 23"/>
              <a:gd name="T91" fmla="*/ 24 h 57"/>
              <a:gd name="T92" fmla="*/ 1 w 23"/>
              <a:gd name="T93" fmla="*/ 23 h 57"/>
              <a:gd name="T94" fmla="*/ 0 w 23"/>
              <a:gd name="T95" fmla="*/ 20 h 57"/>
              <a:gd name="T96" fmla="*/ 0 w 23"/>
              <a:gd name="T97" fmla="*/ 17 h 57"/>
              <a:gd name="T98" fmla="*/ 0 w 23"/>
              <a:gd name="T99" fmla="*/ 16 h 57"/>
              <a:gd name="T100" fmla="*/ 2 w 23"/>
              <a:gd name="T101" fmla="*/ 8 h 57"/>
              <a:gd name="T102" fmla="*/ 3 w 23"/>
              <a:gd name="T103" fmla="*/ 6 h 57"/>
              <a:gd name="T104" fmla="*/ 8 w 23"/>
              <a:gd name="T105" fmla="*/ 0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" h="57">
                <a:moveTo>
                  <a:pt x="8" y="0"/>
                </a:moveTo>
                <a:lnTo>
                  <a:pt x="9" y="0"/>
                </a:lnTo>
                <a:lnTo>
                  <a:pt x="9" y="0"/>
                </a:lnTo>
                <a:lnTo>
                  <a:pt x="10" y="3"/>
                </a:lnTo>
                <a:lnTo>
                  <a:pt x="9" y="5"/>
                </a:lnTo>
                <a:lnTo>
                  <a:pt x="8" y="6"/>
                </a:lnTo>
                <a:lnTo>
                  <a:pt x="7" y="7"/>
                </a:lnTo>
                <a:lnTo>
                  <a:pt x="9" y="8"/>
                </a:lnTo>
                <a:lnTo>
                  <a:pt x="10" y="13"/>
                </a:lnTo>
                <a:lnTo>
                  <a:pt x="10" y="15"/>
                </a:lnTo>
                <a:lnTo>
                  <a:pt x="10" y="18"/>
                </a:lnTo>
                <a:lnTo>
                  <a:pt x="7" y="23"/>
                </a:lnTo>
                <a:lnTo>
                  <a:pt x="5" y="24"/>
                </a:lnTo>
                <a:lnTo>
                  <a:pt x="5" y="25"/>
                </a:lnTo>
                <a:lnTo>
                  <a:pt x="7" y="26"/>
                </a:lnTo>
                <a:lnTo>
                  <a:pt x="8" y="24"/>
                </a:lnTo>
                <a:lnTo>
                  <a:pt x="11" y="22"/>
                </a:lnTo>
                <a:lnTo>
                  <a:pt x="13" y="15"/>
                </a:lnTo>
                <a:lnTo>
                  <a:pt x="16" y="14"/>
                </a:lnTo>
                <a:lnTo>
                  <a:pt x="19" y="14"/>
                </a:lnTo>
                <a:lnTo>
                  <a:pt x="20" y="14"/>
                </a:lnTo>
                <a:lnTo>
                  <a:pt x="21" y="17"/>
                </a:lnTo>
                <a:lnTo>
                  <a:pt x="21" y="22"/>
                </a:lnTo>
                <a:lnTo>
                  <a:pt x="15" y="26"/>
                </a:lnTo>
                <a:lnTo>
                  <a:pt x="15" y="27"/>
                </a:lnTo>
                <a:lnTo>
                  <a:pt x="20" y="32"/>
                </a:lnTo>
                <a:lnTo>
                  <a:pt x="20" y="34"/>
                </a:lnTo>
                <a:lnTo>
                  <a:pt x="21" y="35"/>
                </a:lnTo>
                <a:lnTo>
                  <a:pt x="23" y="36"/>
                </a:lnTo>
                <a:lnTo>
                  <a:pt x="21" y="36"/>
                </a:lnTo>
                <a:lnTo>
                  <a:pt x="18" y="35"/>
                </a:lnTo>
                <a:lnTo>
                  <a:pt x="13" y="34"/>
                </a:lnTo>
                <a:lnTo>
                  <a:pt x="10" y="33"/>
                </a:lnTo>
                <a:lnTo>
                  <a:pt x="9" y="35"/>
                </a:lnTo>
                <a:lnTo>
                  <a:pt x="9" y="40"/>
                </a:lnTo>
                <a:lnTo>
                  <a:pt x="9" y="46"/>
                </a:lnTo>
                <a:lnTo>
                  <a:pt x="11" y="49"/>
                </a:lnTo>
                <a:lnTo>
                  <a:pt x="12" y="53"/>
                </a:lnTo>
                <a:lnTo>
                  <a:pt x="16" y="57"/>
                </a:lnTo>
                <a:lnTo>
                  <a:pt x="15" y="57"/>
                </a:lnTo>
                <a:lnTo>
                  <a:pt x="11" y="54"/>
                </a:lnTo>
                <a:lnTo>
                  <a:pt x="6" y="46"/>
                </a:lnTo>
                <a:lnTo>
                  <a:pt x="5" y="36"/>
                </a:lnTo>
                <a:lnTo>
                  <a:pt x="3" y="32"/>
                </a:lnTo>
                <a:lnTo>
                  <a:pt x="3" y="27"/>
                </a:lnTo>
                <a:lnTo>
                  <a:pt x="2" y="24"/>
                </a:lnTo>
                <a:lnTo>
                  <a:pt x="1" y="23"/>
                </a:lnTo>
                <a:lnTo>
                  <a:pt x="0" y="20"/>
                </a:lnTo>
                <a:lnTo>
                  <a:pt x="0" y="17"/>
                </a:lnTo>
                <a:lnTo>
                  <a:pt x="0" y="16"/>
                </a:lnTo>
                <a:lnTo>
                  <a:pt x="2" y="8"/>
                </a:lnTo>
                <a:lnTo>
                  <a:pt x="3" y="6"/>
                </a:lnTo>
                <a:lnTo>
                  <a:pt x="8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67" name="Freeform 1367"/>
          <p:cNvSpPr>
            <a:spLocks/>
          </p:cNvSpPr>
          <p:nvPr/>
        </p:nvSpPr>
        <p:spPr bwMode="auto">
          <a:xfrm>
            <a:off x="7593012" y="3513103"/>
            <a:ext cx="36512" cy="90488"/>
          </a:xfrm>
          <a:custGeom>
            <a:avLst/>
            <a:gdLst>
              <a:gd name="T0" fmla="*/ 8 w 23"/>
              <a:gd name="T1" fmla="*/ 0 h 57"/>
              <a:gd name="T2" fmla="*/ 9 w 23"/>
              <a:gd name="T3" fmla="*/ 0 h 57"/>
              <a:gd name="T4" fmla="*/ 9 w 23"/>
              <a:gd name="T5" fmla="*/ 0 h 57"/>
              <a:gd name="T6" fmla="*/ 10 w 23"/>
              <a:gd name="T7" fmla="*/ 3 h 57"/>
              <a:gd name="T8" fmla="*/ 9 w 23"/>
              <a:gd name="T9" fmla="*/ 5 h 57"/>
              <a:gd name="T10" fmla="*/ 8 w 23"/>
              <a:gd name="T11" fmla="*/ 6 h 57"/>
              <a:gd name="T12" fmla="*/ 7 w 23"/>
              <a:gd name="T13" fmla="*/ 7 h 57"/>
              <a:gd name="T14" fmla="*/ 9 w 23"/>
              <a:gd name="T15" fmla="*/ 8 h 57"/>
              <a:gd name="T16" fmla="*/ 10 w 23"/>
              <a:gd name="T17" fmla="*/ 13 h 57"/>
              <a:gd name="T18" fmla="*/ 10 w 23"/>
              <a:gd name="T19" fmla="*/ 15 h 57"/>
              <a:gd name="T20" fmla="*/ 10 w 23"/>
              <a:gd name="T21" fmla="*/ 18 h 57"/>
              <a:gd name="T22" fmla="*/ 7 w 23"/>
              <a:gd name="T23" fmla="*/ 23 h 57"/>
              <a:gd name="T24" fmla="*/ 5 w 23"/>
              <a:gd name="T25" fmla="*/ 24 h 57"/>
              <a:gd name="T26" fmla="*/ 5 w 23"/>
              <a:gd name="T27" fmla="*/ 25 h 57"/>
              <a:gd name="T28" fmla="*/ 7 w 23"/>
              <a:gd name="T29" fmla="*/ 26 h 57"/>
              <a:gd name="T30" fmla="*/ 8 w 23"/>
              <a:gd name="T31" fmla="*/ 24 h 57"/>
              <a:gd name="T32" fmla="*/ 11 w 23"/>
              <a:gd name="T33" fmla="*/ 22 h 57"/>
              <a:gd name="T34" fmla="*/ 13 w 23"/>
              <a:gd name="T35" fmla="*/ 15 h 57"/>
              <a:gd name="T36" fmla="*/ 16 w 23"/>
              <a:gd name="T37" fmla="*/ 14 h 57"/>
              <a:gd name="T38" fmla="*/ 19 w 23"/>
              <a:gd name="T39" fmla="*/ 14 h 57"/>
              <a:gd name="T40" fmla="*/ 20 w 23"/>
              <a:gd name="T41" fmla="*/ 14 h 57"/>
              <a:gd name="T42" fmla="*/ 21 w 23"/>
              <a:gd name="T43" fmla="*/ 17 h 57"/>
              <a:gd name="T44" fmla="*/ 21 w 23"/>
              <a:gd name="T45" fmla="*/ 22 h 57"/>
              <a:gd name="T46" fmla="*/ 15 w 23"/>
              <a:gd name="T47" fmla="*/ 26 h 57"/>
              <a:gd name="T48" fmla="*/ 15 w 23"/>
              <a:gd name="T49" fmla="*/ 27 h 57"/>
              <a:gd name="T50" fmla="*/ 20 w 23"/>
              <a:gd name="T51" fmla="*/ 32 h 57"/>
              <a:gd name="T52" fmla="*/ 20 w 23"/>
              <a:gd name="T53" fmla="*/ 34 h 57"/>
              <a:gd name="T54" fmla="*/ 21 w 23"/>
              <a:gd name="T55" fmla="*/ 35 h 57"/>
              <a:gd name="T56" fmla="*/ 23 w 23"/>
              <a:gd name="T57" fmla="*/ 36 h 57"/>
              <a:gd name="T58" fmla="*/ 21 w 23"/>
              <a:gd name="T59" fmla="*/ 36 h 57"/>
              <a:gd name="T60" fmla="*/ 18 w 23"/>
              <a:gd name="T61" fmla="*/ 35 h 57"/>
              <a:gd name="T62" fmla="*/ 13 w 23"/>
              <a:gd name="T63" fmla="*/ 34 h 57"/>
              <a:gd name="T64" fmla="*/ 10 w 23"/>
              <a:gd name="T65" fmla="*/ 33 h 57"/>
              <a:gd name="T66" fmla="*/ 9 w 23"/>
              <a:gd name="T67" fmla="*/ 35 h 57"/>
              <a:gd name="T68" fmla="*/ 9 w 23"/>
              <a:gd name="T69" fmla="*/ 40 h 57"/>
              <a:gd name="T70" fmla="*/ 9 w 23"/>
              <a:gd name="T71" fmla="*/ 46 h 57"/>
              <a:gd name="T72" fmla="*/ 11 w 23"/>
              <a:gd name="T73" fmla="*/ 49 h 57"/>
              <a:gd name="T74" fmla="*/ 12 w 23"/>
              <a:gd name="T75" fmla="*/ 53 h 57"/>
              <a:gd name="T76" fmla="*/ 16 w 23"/>
              <a:gd name="T77" fmla="*/ 57 h 57"/>
              <a:gd name="T78" fmla="*/ 15 w 23"/>
              <a:gd name="T79" fmla="*/ 57 h 57"/>
              <a:gd name="T80" fmla="*/ 11 w 23"/>
              <a:gd name="T81" fmla="*/ 54 h 57"/>
              <a:gd name="T82" fmla="*/ 6 w 23"/>
              <a:gd name="T83" fmla="*/ 46 h 57"/>
              <a:gd name="T84" fmla="*/ 5 w 23"/>
              <a:gd name="T85" fmla="*/ 36 h 57"/>
              <a:gd name="T86" fmla="*/ 3 w 23"/>
              <a:gd name="T87" fmla="*/ 32 h 57"/>
              <a:gd name="T88" fmla="*/ 3 w 23"/>
              <a:gd name="T89" fmla="*/ 27 h 57"/>
              <a:gd name="T90" fmla="*/ 2 w 23"/>
              <a:gd name="T91" fmla="*/ 24 h 57"/>
              <a:gd name="T92" fmla="*/ 1 w 23"/>
              <a:gd name="T93" fmla="*/ 23 h 57"/>
              <a:gd name="T94" fmla="*/ 0 w 23"/>
              <a:gd name="T95" fmla="*/ 20 h 57"/>
              <a:gd name="T96" fmla="*/ 0 w 23"/>
              <a:gd name="T97" fmla="*/ 17 h 57"/>
              <a:gd name="T98" fmla="*/ 0 w 23"/>
              <a:gd name="T99" fmla="*/ 16 h 57"/>
              <a:gd name="T100" fmla="*/ 2 w 23"/>
              <a:gd name="T101" fmla="*/ 8 h 57"/>
              <a:gd name="T102" fmla="*/ 3 w 23"/>
              <a:gd name="T103" fmla="*/ 6 h 57"/>
              <a:gd name="T104" fmla="*/ 8 w 23"/>
              <a:gd name="T105" fmla="*/ 0 h 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3" h="57">
                <a:moveTo>
                  <a:pt x="8" y="0"/>
                </a:moveTo>
                <a:lnTo>
                  <a:pt x="9" y="0"/>
                </a:lnTo>
                <a:lnTo>
                  <a:pt x="9" y="0"/>
                </a:lnTo>
                <a:lnTo>
                  <a:pt x="10" y="3"/>
                </a:lnTo>
                <a:lnTo>
                  <a:pt x="9" y="5"/>
                </a:lnTo>
                <a:lnTo>
                  <a:pt x="8" y="6"/>
                </a:lnTo>
                <a:lnTo>
                  <a:pt x="7" y="7"/>
                </a:lnTo>
                <a:lnTo>
                  <a:pt x="9" y="8"/>
                </a:lnTo>
                <a:lnTo>
                  <a:pt x="10" y="13"/>
                </a:lnTo>
                <a:lnTo>
                  <a:pt x="10" y="15"/>
                </a:lnTo>
                <a:lnTo>
                  <a:pt x="10" y="18"/>
                </a:lnTo>
                <a:lnTo>
                  <a:pt x="7" y="23"/>
                </a:lnTo>
                <a:lnTo>
                  <a:pt x="5" y="24"/>
                </a:lnTo>
                <a:lnTo>
                  <a:pt x="5" y="25"/>
                </a:lnTo>
                <a:lnTo>
                  <a:pt x="7" y="26"/>
                </a:lnTo>
                <a:lnTo>
                  <a:pt x="8" y="24"/>
                </a:lnTo>
                <a:lnTo>
                  <a:pt x="11" y="22"/>
                </a:lnTo>
                <a:lnTo>
                  <a:pt x="13" y="15"/>
                </a:lnTo>
                <a:lnTo>
                  <a:pt x="16" y="14"/>
                </a:lnTo>
                <a:lnTo>
                  <a:pt x="19" y="14"/>
                </a:lnTo>
                <a:lnTo>
                  <a:pt x="20" y="14"/>
                </a:lnTo>
                <a:lnTo>
                  <a:pt x="21" y="17"/>
                </a:lnTo>
                <a:lnTo>
                  <a:pt x="21" y="22"/>
                </a:lnTo>
                <a:lnTo>
                  <a:pt x="15" y="26"/>
                </a:lnTo>
                <a:lnTo>
                  <a:pt x="15" y="27"/>
                </a:lnTo>
                <a:lnTo>
                  <a:pt x="20" y="32"/>
                </a:lnTo>
                <a:lnTo>
                  <a:pt x="20" y="34"/>
                </a:lnTo>
                <a:lnTo>
                  <a:pt x="21" y="35"/>
                </a:lnTo>
                <a:lnTo>
                  <a:pt x="23" y="36"/>
                </a:lnTo>
                <a:lnTo>
                  <a:pt x="21" y="36"/>
                </a:lnTo>
                <a:lnTo>
                  <a:pt x="18" y="35"/>
                </a:lnTo>
                <a:lnTo>
                  <a:pt x="13" y="34"/>
                </a:lnTo>
                <a:lnTo>
                  <a:pt x="10" y="33"/>
                </a:lnTo>
                <a:lnTo>
                  <a:pt x="9" y="35"/>
                </a:lnTo>
                <a:lnTo>
                  <a:pt x="9" y="40"/>
                </a:lnTo>
                <a:lnTo>
                  <a:pt x="9" y="46"/>
                </a:lnTo>
                <a:lnTo>
                  <a:pt x="11" y="49"/>
                </a:lnTo>
                <a:lnTo>
                  <a:pt x="12" y="53"/>
                </a:lnTo>
                <a:lnTo>
                  <a:pt x="16" y="57"/>
                </a:lnTo>
                <a:lnTo>
                  <a:pt x="15" y="57"/>
                </a:lnTo>
                <a:lnTo>
                  <a:pt x="11" y="54"/>
                </a:lnTo>
                <a:lnTo>
                  <a:pt x="6" y="46"/>
                </a:lnTo>
                <a:lnTo>
                  <a:pt x="5" y="36"/>
                </a:lnTo>
                <a:lnTo>
                  <a:pt x="3" y="32"/>
                </a:lnTo>
                <a:lnTo>
                  <a:pt x="3" y="27"/>
                </a:lnTo>
                <a:lnTo>
                  <a:pt x="2" y="24"/>
                </a:lnTo>
                <a:lnTo>
                  <a:pt x="1" y="23"/>
                </a:lnTo>
                <a:lnTo>
                  <a:pt x="0" y="20"/>
                </a:lnTo>
                <a:lnTo>
                  <a:pt x="0" y="17"/>
                </a:lnTo>
                <a:lnTo>
                  <a:pt x="0" y="16"/>
                </a:lnTo>
                <a:lnTo>
                  <a:pt x="2" y="8"/>
                </a:lnTo>
                <a:lnTo>
                  <a:pt x="3" y="6"/>
                </a:lnTo>
                <a:lnTo>
                  <a:pt x="8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68" name="Freeform 1368"/>
          <p:cNvSpPr>
            <a:spLocks/>
          </p:cNvSpPr>
          <p:nvPr/>
        </p:nvSpPr>
        <p:spPr bwMode="auto">
          <a:xfrm>
            <a:off x="7593012" y="3587715"/>
            <a:ext cx="11112" cy="15875"/>
          </a:xfrm>
          <a:custGeom>
            <a:avLst/>
            <a:gdLst>
              <a:gd name="T0" fmla="*/ 0 w 7"/>
              <a:gd name="T1" fmla="*/ 0 h 10"/>
              <a:gd name="T2" fmla="*/ 2 w 7"/>
              <a:gd name="T3" fmla="*/ 0 h 10"/>
              <a:gd name="T4" fmla="*/ 3 w 7"/>
              <a:gd name="T5" fmla="*/ 2 h 10"/>
              <a:gd name="T6" fmla="*/ 3 w 7"/>
              <a:gd name="T7" fmla="*/ 5 h 10"/>
              <a:gd name="T8" fmla="*/ 5 w 7"/>
              <a:gd name="T9" fmla="*/ 7 h 10"/>
              <a:gd name="T10" fmla="*/ 7 w 7"/>
              <a:gd name="T11" fmla="*/ 8 h 10"/>
              <a:gd name="T12" fmla="*/ 7 w 7"/>
              <a:gd name="T13" fmla="*/ 10 h 10"/>
              <a:gd name="T14" fmla="*/ 5 w 7"/>
              <a:gd name="T15" fmla="*/ 8 h 10"/>
              <a:gd name="T16" fmla="*/ 2 w 7"/>
              <a:gd name="T17" fmla="*/ 9 h 10"/>
              <a:gd name="T18" fmla="*/ 1 w 7"/>
              <a:gd name="T19" fmla="*/ 6 h 10"/>
              <a:gd name="T20" fmla="*/ 1 w 7"/>
              <a:gd name="T21" fmla="*/ 5 h 10"/>
              <a:gd name="T22" fmla="*/ 0 w 7"/>
              <a:gd name="T23" fmla="*/ 1 h 10"/>
              <a:gd name="T24" fmla="*/ 0 w 7"/>
              <a:gd name="T25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" h="10">
                <a:moveTo>
                  <a:pt x="0" y="0"/>
                </a:moveTo>
                <a:lnTo>
                  <a:pt x="2" y="0"/>
                </a:lnTo>
                <a:lnTo>
                  <a:pt x="3" y="2"/>
                </a:lnTo>
                <a:lnTo>
                  <a:pt x="3" y="5"/>
                </a:lnTo>
                <a:lnTo>
                  <a:pt x="5" y="7"/>
                </a:lnTo>
                <a:lnTo>
                  <a:pt x="7" y="8"/>
                </a:lnTo>
                <a:lnTo>
                  <a:pt x="7" y="10"/>
                </a:lnTo>
                <a:lnTo>
                  <a:pt x="5" y="8"/>
                </a:lnTo>
                <a:lnTo>
                  <a:pt x="2" y="9"/>
                </a:lnTo>
                <a:lnTo>
                  <a:pt x="1" y="6"/>
                </a:lnTo>
                <a:lnTo>
                  <a:pt x="1" y="5"/>
                </a:ln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69" name="Freeform 1369"/>
          <p:cNvSpPr>
            <a:spLocks/>
          </p:cNvSpPr>
          <p:nvPr/>
        </p:nvSpPr>
        <p:spPr bwMode="auto">
          <a:xfrm>
            <a:off x="7593012" y="3587715"/>
            <a:ext cx="11112" cy="15875"/>
          </a:xfrm>
          <a:custGeom>
            <a:avLst/>
            <a:gdLst>
              <a:gd name="T0" fmla="*/ 0 w 7"/>
              <a:gd name="T1" fmla="*/ 0 h 10"/>
              <a:gd name="T2" fmla="*/ 2 w 7"/>
              <a:gd name="T3" fmla="*/ 0 h 10"/>
              <a:gd name="T4" fmla="*/ 3 w 7"/>
              <a:gd name="T5" fmla="*/ 2 h 10"/>
              <a:gd name="T6" fmla="*/ 3 w 7"/>
              <a:gd name="T7" fmla="*/ 5 h 10"/>
              <a:gd name="T8" fmla="*/ 5 w 7"/>
              <a:gd name="T9" fmla="*/ 7 h 10"/>
              <a:gd name="T10" fmla="*/ 7 w 7"/>
              <a:gd name="T11" fmla="*/ 8 h 10"/>
              <a:gd name="T12" fmla="*/ 7 w 7"/>
              <a:gd name="T13" fmla="*/ 10 h 10"/>
              <a:gd name="T14" fmla="*/ 5 w 7"/>
              <a:gd name="T15" fmla="*/ 8 h 10"/>
              <a:gd name="T16" fmla="*/ 2 w 7"/>
              <a:gd name="T17" fmla="*/ 9 h 10"/>
              <a:gd name="T18" fmla="*/ 1 w 7"/>
              <a:gd name="T19" fmla="*/ 6 h 10"/>
              <a:gd name="T20" fmla="*/ 1 w 7"/>
              <a:gd name="T21" fmla="*/ 5 h 10"/>
              <a:gd name="T22" fmla="*/ 0 w 7"/>
              <a:gd name="T23" fmla="*/ 1 h 10"/>
              <a:gd name="T24" fmla="*/ 0 w 7"/>
              <a:gd name="T25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" h="10">
                <a:moveTo>
                  <a:pt x="0" y="0"/>
                </a:moveTo>
                <a:lnTo>
                  <a:pt x="2" y="0"/>
                </a:lnTo>
                <a:lnTo>
                  <a:pt x="3" y="2"/>
                </a:lnTo>
                <a:lnTo>
                  <a:pt x="3" y="5"/>
                </a:lnTo>
                <a:lnTo>
                  <a:pt x="5" y="7"/>
                </a:lnTo>
                <a:lnTo>
                  <a:pt x="7" y="8"/>
                </a:lnTo>
                <a:lnTo>
                  <a:pt x="7" y="10"/>
                </a:lnTo>
                <a:lnTo>
                  <a:pt x="5" y="8"/>
                </a:lnTo>
                <a:lnTo>
                  <a:pt x="2" y="9"/>
                </a:lnTo>
                <a:lnTo>
                  <a:pt x="1" y="6"/>
                </a:lnTo>
                <a:lnTo>
                  <a:pt x="1" y="5"/>
                </a:lnTo>
                <a:lnTo>
                  <a:pt x="0" y="1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70" name="Freeform 1370"/>
          <p:cNvSpPr>
            <a:spLocks/>
          </p:cNvSpPr>
          <p:nvPr/>
        </p:nvSpPr>
        <p:spPr bwMode="auto">
          <a:xfrm>
            <a:off x="7593012" y="3617878"/>
            <a:ext cx="19050" cy="11113"/>
          </a:xfrm>
          <a:custGeom>
            <a:avLst/>
            <a:gdLst>
              <a:gd name="T0" fmla="*/ 0 w 12"/>
              <a:gd name="T1" fmla="*/ 1 h 7"/>
              <a:gd name="T2" fmla="*/ 1 w 12"/>
              <a:gd name="T3" fmla="*/ 1 h 7"/>
              <a:gd name="T4" fmla="*/ 3 w 12"/>
              <a:gd name="T5" fmla="*/ 0 h 7"/>
              <a:gd name="T6" fmla="*/ 7 w 12"/>
              <a:gd name="T7" fmla="*/ 0 h 7"/>
              <a:gd name="T8" fmla="*/ 11 w 12"/>
              <a:gd name="T9" fmla="*/ 3 h 7"/>
              <a:gd name="T10" fmla="*/ 12 w 12"/>
              <a:gd name="T11" fmla="*/ 4 h 7"/>
              <a:gd name="T12" fmla="*/ 11 w 12"/>
              <a:gd name="T13" fmla="*/ 5 h 7"/>
              <a:gd name="T14" fmla="*/ 5 w 12"/>
              <a:gd name="T15" fmla="*/ 5 h 7"/>
              <a:gd name="T16" fmla="*/ 2 w 12"/>
              <a:gd name="T17" fmla="*/ 7 h 7"/>
              <a:gd name="T18" fmla="*/ 0 w 12"/>
              <a:gd name="T19" fmla="*/ 5 h 7"/>
              <a:gd name="T20" fmla="*/ 0 w 12"/>
              <a:gd name="T21" fmla="*/ 2 h 7"/>
              <a:gd name="T22" fmla="*/ 0 w 12"/>
              <a:gd name="T23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2" h="7">
                <a:moveTo>
                  <a:pt x="0" y="1"/>
                </a:moveTo>
                <a:lnTo>
                  <a:pt x="1" y="1"/>
                </a:lnTo>
                <a:lnTo>
                  <a:pt x="3" y="0"/>
                </a:lnTo>
                <a:lnTo>
                  <a:pt x="7" y="0"/>
                </a:lnTo>
                <a:lnTo>
                  <a:pt x="11" y="3"/>
                </a:lnTo>
                <a:lnTo>
                  <a:pt x="12" y="4"/>
                </a:lnTo>
                <a:lnTo>
                  <a:pt x="11" y="5"/>
                </a:lnTo>
                <a:lnTo>
                  <a:pt x="5" y="5"/>
                </a:lnTo>
                <a:lnTo>
                  <a:pt x="2" y="7"/>
                </a:lnTo>
                <a:lnTo>
                  <a:pt x="0" y="5"/>
                </a:lnTo>
                <a:lnTo>
                  <a:pt x="0" y="2"/>
                </a:lnTo>
                <a:lnTo>
                  <a:pt x="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71" name="Freeform 1371"/>
          <p:cNvSpPr>
            <a:spLocks/>
          </p:cNvSpPr>
          <p:nvPr/>
        </p:nvSpPr>
        <p:spPr bwMode="auto">
          <a:xfrm>
            <a:off x="7593012" y="3617878"/>
            <a:ext cx="19050" cy="11113"/>
          </a:xfrm>
          <a:custGeom>
            <a:avLst/>
            <a:gdLst>
              <a:gd name="T0" fmla="*/ 0 w 12"/>
              <a:gd name="T1" fmla="*/ 1 h 7"/>
              <a:gd name="T2" fmla="*/ 1 w 12"/>
              <a:gd name="T3" fmla="*/ 1 h 7"/>
              <a:gd name="T4" fmla="*/ 3 w 12"/>
              <a:gd name="T5" fmla="*/ 0 h 7"/>
              <a:gd name="T6" fmla="*/ 7 w 12"/>
              <a:gd name="T7" fmla="*/ 0 h 7"/>
              <a:gd name="T8" fmla="*/ 11 w 12"/>
              <a:gd name="T9" fmla="*/ 3 h 7"/>
              <a:gd name="T10" fmla="*/ 12 w 12"/>
              <a:gd name="T11" fmla="*/ 4 h 7"/>
              <a:gd name="T12" fmla="*/ 11 w 12"/>
              <a:gd name="T13" fmla="*/ 5 h 7"/>
              <a:gd name="T14" fmla="*/ 5 w 12"/>
              <a:gd name="T15" fmla="*/ 5 h 7"/>
              <a:gd name="T16" fmla="*/ 2 w 12"/>
              <a:gd name="T17" fmla="*/ 7 h 7"/>
              <a:gd name="T18" fmla="*/ 0 w 12"/>
              <a:gd name="T19" fmla="*/ 5 h 7"/>
              <a:gd name="T20" fmla="*/ 0 w 12"/>
              <a:gd name="T21" fmla="*/ 2 h 7"/>
              <a:gd name="T22" fmla="*/ 0 w 12"/>
              <a:gd name="T23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2" h="7">
                <a:moveTo>
                  <a:pt x="0" y="1"/>
                </a:moveTo>
                <a:lnTo>
                  <a:pt x="1" y="1"/>
                </a:lnTo>
                <a:lnTo>
                  <a:pt x="3" y="0"/>
                </a:lnTo>
                <a:lnTo>
                  <a:pt x="7" y="0"/>
                </a:lnTo>
                <a:lnTo>
                  <a:pt x="11" y="3"/>
                </a:lnTo>
                <a:lnTo>
                  <a:pt x="12" y="4"/>
                </a:lnTo>
                <a:lnTo>
                  <a:pt x="11" y="5"/>
                </a:lnTo>
                <a:lnTo>
                  <a:pt x="5" y="5"/>
                </a:lnTo>
                <a:lnTo>
                  <a:pt x="2" y="7"/>
                </a:lnTo>
                <a:lnTo>
                  <a:pt x="0" y="5"/>
                </a:lnTo>
                <a:lnTo>
                  <a:pt x="0" y="2"/>
                </a:lnTo>
                <a:lnTo>
                  <a:pt x="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72" name="Freeform 1372"/>
          <p:cNvSpPr>
            <a:spLocks/>
          </p:cNvSpPr>
          <p:nvPr/>
        </p:nvSpPr>
        <p:spPr bwMode="auto">
          <a:xfrm>
            <a:off x="7605712" y="3679790"/>
            <a:ext cx="7937" cy="7938"/>
          </a:xfrm>
          <a:custGeom>
            <a:avLst/>
            <a:gdLst>
              <a:gd name="T0" fmla="*/ 1 w 5"/>
              <a:gd name="T1" fmla="*/ 5 h 5"/>
              <a:gd name="T2" fmla="*/ 0 w 5"/>
              <a:gd name="T3" fmla="*/ 4 h 5"/>
              <a:gd name="T4" fmla="*/ 0 w 5"/>
              <a:gd name="T5" fmla="*/ 3 h 5"/>
              <a:gd name="T6" fmla="*/ 1 w 5"/>
              <a:gd name="T7" fmla="*/ 2 h 5"/>
              <a:gd name="T8" fmla="*/ 3 w 5"/>
              <a:gd name="T9" fmla="*/ 1 h 5"/>
              <a:gd name="T10" fmla="*/ 4 w 5"/>
              <a:gd name="T11" fmla="*/ 0 h 5"/>
              <a:gd name="T12" fmla="*/ 5 w 5"/>
              <a:gd name="T13" fmla="*/ 0 h 5"/>
              <a:gd name="T14" fmla="*/ 5 w 5"/>
              <a:gd name="T15" fmla="*/ 3 h 5"/>
              <a:gd name="T16" fmla="*/ 4 w 5"/>
              <a:gd name="T17" fmla="*/ 4 h 5"/>
              <a:gd name="T18" fmla="*/ 3 w 5"/>
              <a:gd name="T19" fmla="*/ 4 h 5"/>
              <a:gd name="T20" fmla="*/ 1 w 5"/>
              <a:gd name="T21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" h="5">
                <a:moveTo>
                  <a:pt x="1" y="5"/>
                </a:moveTo>
                <a:lnTo>
                  <a:pt x="0" y="4"/>
                </a:lnTo>
                <a:lnTo>
                  <a:pt x="0" y="3"/>
                </a:lnTo>
                <a:lnTo>
                  <a:pt x="1" y="2"/>
                </a:lnTo>
                <a:lnTo>
                  <a:pt x="3" y="1"/>
                </a:lnTo>
                <a:lnTo>
                  <a:pt x="4" y="0"/>
                </a:lnTo>
                <a:lnTo>
                  <a:pt x="5" y="0"/>
                </a:lnTo>
                <a:lnTo>
                  <a:pt x="5" y="3"/>
                </a:lnTo>
                <a:lnTo>
                  <a:pt x="4" y="4"/>
                </a:lnTo>
                <a:lnTo>
                  <a:pt x="3" y="4"/>
                </a:lnTo>
                <a:lnTo>
                  <a:pt x="1" y="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73" name="Freeform 1373"/>
          <p:cNvSpPr>
            <a:spLocks/>
          </p:cNvSpPr>
          <p:nvPr/>
        </p:nvSpPr>
        <p:spPr bwMode="auto">
          <a:xfrm>
            <a:off x="7605712" y="3679790"/>
            <a:ext cx="7937" cy="7938"/>
          </a:xfrm>
          <a:custGeom>
            <a:avLst/>
            <a:gdLst>
              <a:gd name="T0" fmla="*/ 1 w 5"/>
              <a:gd name="T1" fmla="*/ 5 h 5"/>
              <a:gd name="T2" fmla="*/ 0 w 5"/>
              <a:gd name="T3" fmla="*/ 4 h 5"/>
              <a:gd name="T4" fmla="*/ 0 w 5"/>
              <a:gd name="T5" fmla="*/ 3 h 5"/>
              <a:gd name="T6" fmla="*/ 1 w 5"/>
              <a:gd name="T7" fmla="*/ 2 h 5"/>
              <a:gd name="T8" fmla="*/ 3 w 5"/>
              <a:gd name="T9" fmla="*/ 1 h 5"/>
              <a:gd name="T10" fmla="*/ 4 w 5"/>
              <a:gd name="T11" fmla="*/ 0 h 5"/>
              <a:gd name="T12" fmla="*/ 5 w 5"/>
              <a:gd name="T13" fmla="*/ 0 h 5"/>
              <a:gd name="T14" fmla="*/ 5 w 5"/>
              <a:gd name="T15" fmla="*/ 3 h 5"/>
              <a:gd name="T16" fmla="*/ 4 w 5"/>
              <a:gd name="T17" fmla="*/ 4 h 5"/>
              <a:gd name="T18" fmla="*/ 3 w 5"/>
              <a:gd name="T19" fmla="*/ 4 h 5"/>
              <a:gd name="T20" fmla="*/ 1 w 5"/>
              <a:gd name="T21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" h="5">
                <a:moveTo>
                  <a:pt x="1" y="5"/>
                </a:moveTo>
                <a:lnTo>
                  <a:pt x="0" y="4"/>
                </a:lnTo>
                <a:lnTo>
                  <a:pt x="0" y="3"/>
                </a:lnTo>
                <a:lnTo>
                  <a:pt x="1" y="2"/>
                </a:lnTo>
                <a:lnTo>
                  <a:pt x="3" y="1"/>
                </a:lnTo>
                <a:lnTo>
                  <a:pt x="4" y="0"/>
                </a:lnTo>
                <a:lnTo>
                  <a:pt x="5" y="0"/>
                </a:lnTo>
                <a:lnTo>
                  <a:pt x="5" y="3"/>
                </a:lnTo>
                <a:lnTo>
                  <a:pt x="4" y="4"/>
                </a:lnTo>
                <a:lnTo>
                  <a:pt x="3" y="4"/>
                </a:lnTo>
                <a:lnTo>
                  <a:pt x="1" y="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74" name="Freeform 1374"/>
          <p:cNvSpPr>
            <a:spLocks/>
          </p:cNvSpPr>
          <p:nvPr/>
        </p:nvSpPr>
        <p:spPr bwMode="auto">
          <a:xfrm>
            <a:off x="7797800" y="3598828"/>
            <a:ext cx="22225" cy="14288"/>
          </a:xfrm>
          <a:custGeom>
            <a:avLst/>
            <a:gdLst>
              <a:gd name="T0" fmla="*/ 1 w 14"/>
              <a:gd name="T1" fmla="*/ 1 h 9"/>
              <a:gd name="T2" fmla="*/ 0 w 14"/>
              <a:gd name="T3" fmla="*/ 0 h 9"/>
              <a:gd name="T4" fmla="*/ 1 w 14"/>
              <a:gd name="T5" fmla="*/ 0 h 9"/>
              <a:gd name="T6" fmla="*/ 4 w 14"/>
              <a:gd name="T7" fmla="*/ 0 h 9"/>
              <a:gd name="T8" fmla="*/ 5 w 14"/>
              <a:gd name="T9" fmla="*/ 1 h 9"/>
              <a:gd name="T10" fmla="*/ 6 w 14"/>
              <a:gd name="T11" fmla="*/ 1 h 9"/>
              <a:gd name="T12" fmla="*/ 10 w 14"/>
              <a:gd name="T13" fmla="*/ 2 h 9"/>
              <a:gd name="T14" fmla="*/ 12 w 14"/>
              <a:gd name="T15" fmla="*/ 4 h 9"/>
              <a:gd name="T16" fmla="*/ 14 w 14"/>
              <a:gd name="T17" fmla="*/ 8 h 9"/>
              <a:gd name="T18" fmla="*/ 13 w 14"/>
              <a:gd name="T19" fmla="*/ 9 h 9"/>
              <a:gd name="T20" fmla="*/ 10 w 14"/>
              <a:gd name="T21" fmla="*/ 9 h 9"/>
              <a:gd name="T22" fmla="*/ 8 w 14"/>
              <a:gd name="T23" fmla="*/ 8 h 9"/>
              <a:gd name="T24" fmla="*/ 8 w 14"/>
              <a:gd name="T25" fmla="*/ 5 h 9"/>
              <a:gd name="T26" fmla="*/ 5 w 14"/>
              <a:gd name="T27" fmla="*/ 3 h 9"/>
              <a:gd name="T28" fmla="*/ 2 w 14"/>
              <a:gd name="T29" fmla="*/ 2 h 9"/>
              <a:gd name="T30" fmla="*/ 1 w 14"/>
              <a:gd name="T31" fmla="*/ 1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4" h="9">
                <a:moveTo>
                  <a:pt x="1" y="1"/>
                </a:moveTo>
                <a:lnTo>
                  <a:pt x="0" y="0"/>
                </a:lnTo>
                <a:lnTo>
                  <a:pt x="1" y="0"/>
                </a:lnTo>
                <a:lnTo>
                  <a:pt x="4" y="0"/>
                </a:lnTo>
                <a:lnTo>
                  <a:pt x="5" y="1"/>
                </a:lnTo>
                <a:lnTo>
                  <a:pt x="6" y="1"/>
                </a:lnTo>
                <a:lnTo>
                  <a:pt x="10" y="2"/>
                </a:lnTo>
                <a:lnTo>
                  <a:pt x="12" y="4"/>
                </a:lnTo>
                <a:lnTo>
                  <a:pt x="14" y="8"/>
                </a:lnTo>
                <a:lnTo>
                  <a:pt x="13" y="9"/>
                </a:lnTo>
                <a:lnTo>
                  <a:pt x="10" y="9"/>
                </a:lnTo>
                <a:lnTo>
                  <a:pt x="8" y="8"/>
                </a:lnTo>
                <a:lnTo>
                  <a:pt x="8" y="5"/>
                </a:lnTo>
                <a:lnTo>
                  <a:pt x="5" y="3"/>
                </a:lnTo>
                <a:lnTo>
                  <a:pt x="2" y="2"/>
                </a:lnTo>
                <a:lnTo>
                  <a:pt x="1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75" name="Freeform 1375"/>
          <p:cNvSpPr>
            <a:spLocks/>
          </p:cNvSpPr>
          <p:nvPr/>
        </p:nvSpPr>
        <p:spPr bwMode="auto">
          <a:xfrm>
            <a:off x="7797800" y="3598828"/>
            <a:ext cx="22225" cy="14288"/>
          </a:xfrm>
          <a:custGeom>
            <a:avLst/>
            <a:gdLst>
              <a:gd name="T0" fmla="*/ 1 w 14"/>
              <a:gd name="T1" fmla="*/ 1 h 9"/>
              <a:gd name="T2" fmla="*/ 0 w 14"/>
              <a:gd name="T3" fmla="*/ 0 h 9"/>
              <a:gd name="T4" fmla="*/ 1 w 14"/>
              <a:gd name="T5" fmla="*/ 0 h 9"/>
              <a:gd name="T6" fmla="*/ 4 w 14"/>
              <a:gd name="T7" fmla="*/ 0 h 9"/>
              <a:gd name="T8" fmla="*/ 5 w 14"/>
              <a:gd name="T9" fmla="*/ 1 h 9"/>
              <a:gd name="T10" fmla="*/ 6 w 14"/>
              <a:gd name="T11" fmla="*/ 1 h 9"/>
              <a:gd name="T12" fmla="*/ 10 w 14"/>
              <a:gd name="T13" fmla="*/ 2 h 9"/>
              <a:gd name="T14" fmla="*/ 12 w 14"/>
              <a:gd name="T15" fmla="*/ 4 h 9"/>
              <a:gd name="T16" fmla="*/ 14 w 14"/>
              <a:gd name="T17" fmla="*/ 8 h 9"/>
              <a:gd name="T18" fmla="*/ 13 w 14"/>
              <a:gd name="T19" fmla="*/ 9 h 9"/>
              <a:gd name="T20" fmla="*/ 10 w 14"/>
              <a:gd name="T21" fmla="*/ 9 h 9"/>
              <a:gd name="T22" fmla="*/ 8 w 14"/>
              <a:gd name="T23" fmla="*/ 8 h 9"/>
              <a:gd name="T24" fmla="*/ 8 w 14"/>
              <a:gd name="T25" fmla="*/ 5 h 9"/>
              <a:gd name="T26" fmla="*/ 5 w 14"/>
              <a:gd name="T27" fmla="*/ 3 h 9"/>
              <a:gd name="T28" fmla="*/ 2 w 14"/>
              <a:gd name="T29" fmla="*/ 2 h 9"/>
              <a:gd name="T30" fmla="*/ 1 w 14"/>
              <a:gd name="T31" fmla="*/ 1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4" h="9">
                <a:moveTo>
                  <a:pt x="1" y="1"/>
                </a:moveTo>
                <a:lnTo>
                  <a:pt x="0" y="0"/>
                </a:lnTo>
                <a:lnTo>
                  <a:pt x="1" y="0"/>
                </a:lnTo>
                <a:lnTo>
                  <a:pt x="4" y="0"/>
                </a:lnTo>
                <a:lnTo>
                  <a:pt x="5" y="1"/>
                </a:lnTo>
                <a:lnTo>
                  <a:pt x="6" y="1"/>
                </a:lnTo>
                <a:lnTo>
                  <a:pt x="10" y="2"/>
                </a:lnTo>
                <a:lnTo>
                  <a:pt x="12" y="4"/>
                </a:lnTo>
                <a:lnTo>
                  <a:pt x="14" y="8"/>
                </a:lnTo>
                <a:lnTo>
                  <a:pt x="13" y="9"/>
                </a:lnTo>
                <a:lnTo>
                  <a:pt x="10" y="9"/>
                </a:lnTo>
                <a:lnTo>
                  <a:pt x="8" y="8"/>
                </a:lnTo>
                <a:lnTo>
                  <a:pt x="8" y="5"/>
                </a:lnTo>
                <a:lnTo>
                  <a:pt x="5" y="3"/>
                </a:lnTo>
                <a:lnTo>
                  <a:pt x="2" y="2"/>
                </a:lnTo>
                <a:lnTo>
                  <a:pt x="1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76" name="Freeform 1376"/>
          <p:cNvSpPr>
            <a:spLocks/>
          </p:cNvSpPr>
          <p:nvPr/>
        </p:nvSpPr>
        <p:spPr bwMode="auto">
          <a:xfrm>
            <a:off x="7800975" y="3624228"/>
            <a:ext cx="33337" cy="9525"/>
          </a:xfrm>
          <a:custGeom>
            <a:avLst/>
            <a:gdLst>
              <a:gd name="T0" fmla="*/ 0 w 21"/>
              <a:gd name="T1" fmla="*/ 0 h 6"/>
              <a:gd name="T2" fmla="*/ 0 w 21"/>
              <a:gd name="T3" fmla="*/ 0 h 6"/>
              <a:gd name="T4" fmla="*/ 3 w 21"/>
              <a:gd name="T5" fmla="*/ 0 h 6"/>
              <a:gd name="T6" fmla="*/ 10 w 21"/>
              <a:gd name="T7" fmla="*/ 1 h 6"/>
              <a:gd name="T8" fmla="*/ 19 w 21"/>
              <a:gd name="T9" fmla="*/ 3 h 6"/>
              <a:gd name="T10" fmla="*/ 20 w 21"/>
              <a:gd name="T11" fmla="*/ 3 h 6"/>
              <a:gd name="T12" fmla="*/ 21 w 21"/>
              <a:gd name="T13" fmla="*/ 5 h 6"/>
              <a:gd name="T14" fmla="*/ 18 w 21"/>
              <a:gd name="T15" fmla="*/ 6 h 6"/>
              <a:gd name="T16" fmla="*/ 11 w 21"/>
              <a:gd name="T17" fmla="*/ 5 h 6"/>
              <a:gd name="T18" fmla="*/ 1 w 21"/>
              <a:gd name="T19" fmla="*/ 1 h 6"/>
              <a:gd name="T20" fmla="*/ 0 w 21"/>
              <a:gd name="T21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1" h="6">
                <a:moveTo>
                  <a:pt x="0" y="0"/>
                </a:moveTo>
                <a:lnTo>
                  <a:pt x="0" y="0"/>
                </a:lnTo>
                <a:lnTo>
                  <a:pt x="3" y="0"/>
                </a:lnTo>
                <a:lnTo>
                  <a:pt x="10" y="1"/>
                </a:lnTo>
                <a:lnTo>
                  <a:pt x="19" y="3"/>
                </a:lnTo>
                <a:lnTo>
                  <a:pt x="20" y="3"/>
                </a:lnTo>
                <a:lnTo>
                  <a:pt x="21" y="5"/>
                </a:lnTo>
                <a:lnTo>
                  <a:pt x="18" y="6"/>
                </a:lnTo>
                <a:lnTo>
                  <a:pt x="11" y="5"/>
                </a:lnTo>
                <a:lnTo>
                  <a:pt x="1" y="1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77" name="Freeform 1377"/>
          <p:cNvSpPr>
            <a:spLocks/>
          </p:cNvSpPr>
          <p:nvPr/>
        </p:nvSpPr>
        <p:spPr bwMode="auto">
          <a:xfrm>
            <a:off x="7800975" y="3624228"/>
            <a:ext cx="33337" cy="9525"/>
          </a:xfrm>
          <a:custGeom>
            <a:avLst/>
            <a:gdLst>
              <a:gd name="T0" fmla="*/ 0 w 21"/>
              <a:gd name="T1" fmla="*/ 0 h 6"/>
              <a:gd name="T2" fmla="*/ 0 w 21"/>
              <a:gd name="T3" fmla="*/ 0 h 6"/>
              <a:gd name="T4" fmla="*/ 3 w 21"/>
              <a:gd name="T5" fmla="*/ 0 h 6"/>
              <a:gd name="T6" fmla="*/ 10 w 21"/>
              <a:gd name="T7" fmla="*/ 1 h 6"/>
              <a:gd name="T8" fmla="*/ 19 w 21"/>
              <a:gd name="T9" fmla="*/ 3 h 6"/>
              <a:gd name="T10" fmla="*/ 20 w 21"/>
              <a:gd name="T11" fmla="*/ 3 h 6"/>
              <a:gd name="T12" fmla="*/ 21 w 21"/>
              <a:gd name="T13" fmla="*/ 5 h 6"/>
              <a:gd name="T14" fmla="*/ 18 w 21"/>
              <a:gd name="T15" fmla="*/ 6 h 6"/>
              <a:gd name="T16" fmla="*/ 11 w 21"/>
              <a:gd name="T17" fmla="*/ 5 h 6"/>
              <a:gd name="T18" fmla="*/ 1 w 21"/>
              <a:gd name="T19" fmla="*/ 1 h 6"/>
              <a:gd name="T20" fmla="*/ 0 w 21"/>
              <a:gd name="T21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1" h="6">
                <a:moveTo>
                  <a:pt x="0" y="0"/>
                </a:moveTo>
                <a:lnTo>
                  <a:pt x="0" y="0"/>
                </a:lnTo>
                <a:lnTo>
                  <a:pt x="3" y="0"/>
                </a:lnTo>
                <a:lnTo>
                  <a:pt x="10" y="1"/>
                </a:lnTo>
                <a:lnTo>
                  <a:pt x="19" y="3"/>
                </a:lnTo>
                <a:lnTo>
                  <a:pt x="20" y="3"/>
                </a:lnTo>
                <a:lnTo>
                  <a:pt x="21" y="5"/>
                </a:lnTo>
                <a:lnTo>
                  <a:pt x="18" y="6"/>
                </a:lnTo>
                <a:lnTo>
                  <a:pt x="11" y="5"/>
                </a:lnTo>
                <a:lnTo>
                  <a:pt x="1" y="1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78" name="Freeform 1378"/>
          <p:cNvSpPr>
            <a:spLocks/>
          </p:cNvSpPr>
          <p:nvPr/>
        </p:nvSpPr>
        <p:spPr bwMode="auto">
          <a:xfrm>
            <a:off x="7731125" y="3732178"/>
            <a:ext cx="4762" cy="11113"/>
          </a:xfrm>
          <a:custGeom>
            <a:avLst/>
            <a:gdLst>
              <a:gd name="T0" fmla="*/ 1 w 3"/>
              <a:gd name="T1" fmla="*/ 1 h 7"/>
              <a:gd name="T2" fmla="*/ 2 w 3"/>
              <a:gd name="T3" fmla="*/ 0 h 7"/>
              <a:gd name="T4" fmla="*/ 3 w 3"/>
              <a:gd name="T5" fmla="*/ 0 h 7"/>
              <a:gd name="T6" fmla="*/ 2 w 3"/>
              <a:gd name="T7" fmla="*/ 2 h 7"/>
              <a:gd name="T8" fmla="*/ 1 w 3"/>
              <a:gd name="T9" fmla="*/ 6 h 7"/>
              <a:gd name="T10" fmla="*/ 0 w 3"/>
              <a:gd name="T11" fmla="*/ 7 h 7"/>
              <a:gd name="T12" fmla="*/ 1 w 3"/>
              <a:gd name="T13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" h="7">
                <a:moveTo>
                  <a:pt x="1" y="1"/>
                </a:moveTo>
                <a:lnTo>
                  <a:pt x="2" y="0"/>
                </a:lnTo>
                <a:lnTo>
                  <a:pt x="3" y="0"/>
                </a:lnTo>
                <a:lnTo>
                  <a:pt x="2" y="2"/>
                </a:lnTo>
                <a:lnTo>
                  <a:pt x="1" y="6"/>
                </a:lnTo>
                <a:lnTo>
                  <a:pt x="0" y="7"/>
                </a:lnTo>
                <a:lnTo>
                  <a:pt x="1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79" name="Freeform 1379"/>
          <p:cNvSpPr>
            <a:spLocks/>
          </p:cNvSpPr>
          <p:nvPr/>
        </p:nvSpPr>
        <p:spPr bwMode="auto">
          <a:xfrm>
            <a:off x="7731125" y="3732178"/>
            <a:ext cx="4762" cy="11113"/>
          </a:xfrm>
          <a:custGeom>
            <a:avLst/>
            <a:gdLst>
              <a:gd name="T0" fmla="*/ 1 w 3"/>
              <a:gd name="T1" fmla="*/ 1 h 7"/>
              <a:gd name="T2" fmla="*/ 2 w 3"/>
              <a:gd name="T3" fmla="*/ 0 h 7"/>
              <a:gd name="T4" fmla="*/ 3 w 3"/>
              <a:gd name="T5" fmla="*/ 0 h 7"/>
              <a:gd name="T6" fmla="*/ 2 w 3"/>
              <a:gd name="T7" fmla="*/ 2 h 7"/>
              <a:gd name="T8" fmla="*/ 1 w 3"/>
              <a:gd name="T9" fmla="*/ 6 h 7"/>
              <a:gd name="T10" fmla="*/ 0 w 3"/>
              <a:gd name="T11" fmla="*/ 7 h 7"/>
              <a:gd name="T12" fmla="*/ 1 w 3"/>
              <a:gd name="T13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" h="7">
                <a:moveTo>
                  <a:pt x="1" y="1"/>
                </a:moveTo>
                <a:lnTo>
                  <a:pt x="2" y="0"/>
                </a:lnTo>
                <a:lnTo>
                  <a:pt x="3" y="0"/>
                </a:lnTo>
                <a:lnTo>
                  <a:pt x="2" y="2"/>
                </a:lnTo>
                <a:lnTo>
                  <a:pt x="1" y="6"/>
                </a:lnTo>
                <a:lnTo>
                  <a:pt x="0" y="7"/>
                </a:lnTo>
                <a:lnTo>
                  <a:pt x="1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80" name="Freeform 1380"/>
          <p:cNvSpPr>
            <a:spLocks/>
          </p:cNvSpPr>
          <p:nvPr/>
        </p:nvSpPr>
        <p:spPr bwMode="auto">
          <a:xfrm>
            <a:off x="7764462" y="3735353"/>
            <a:ext cx="9525" cy="26988"/>
          </a:xfrm>
          <a:custGeom>
            <a:avLst/>
            <a:gdLst>
              <a:gd name="T0" fmla="*/ 0 w 6"/>
              <a:gd name="T1" fmla="*/ 7 h 17"/>
              <a:gd name="T2" fmla="*/ 3 w 6"/>
              <a:gd name="T3" fmla="*/ 0 h 17"/>
              <a:gd name="T4" fmla="*/ 5 w 6"/>
              <a:gd name="T5" fmla="*/ 1 h 17"/>
              <a:gd name="T6" fmla="*/ 6 w 6"/>
              <a:gd name="T7" fmla="*/ 5 h 17"/>
              <a:gd name="T8" fmla="*/ 6 w 6"/>
              <a:gd name="T9" fmla="*/ 11 h 17"/>
              <a:gd name="T10" fmla="*/ 6 w 6"/>
              <a:gd name="T11" fmla="*/ 15 h 17"/>
              <a:gd name="T12" fmla="*/ 5 w 6"/>
              <a:gd name="T13" fmla="*/ 17 h 17"/>
              <a:gd name="T14" fmla="*/ 3 w 6"/>
              <a:gd name="T15" fmla="*/ 17 h 17"/>
              <a:gd name="T16" fmla="*/ 2 w 6"/>
              <a:gd name="T17" fmla="*/ 16 h 17"/>
              <a:gd name="T18" fmla="*/ 1 w 6"/>
              <a:gd name="T19" fmla="*/ 14 h 17"/>
              <a:gd name="T20" fmla="*/ 0 w 6"/>
              <a:gd name="T21" fmla="*/ 11 h 17"/>
              <a:gd name="T22" fmla="*/ 1 w 6"/>
              <a:gd name="T23" fmla="*/ 7 h 17"/>
              <a:gd name="T24" fmla="*/ 1 w 6"/>
              <a:gd name="T25" fmla="*/ 8 h 17"/>
              <a:gd name="T26" fmla="*/ 0 w 6"/>
              <a:gd name="T27" fmla="*/ 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" h="17">
                <a:moveTo>
                  <a:pt x="0" y="7"/>
                </a:moveTo>
                <a:lnTo>
                  <a:pt x="3" y="0"/>
                </a:lnTo>
                <a:lnTo>
                  <a:pt x="5" y="1"/>
                </a:lnTo>
                <a:lnTo>
                  <a:pt x="6" y="5"/>
                </a:lnTo>
                <a:lnTo>
                  <a:pt x="6" y="11"/>
                </a:lnTo>
                <a:lnTo>
                  <a:pt x="6" y="15"/>
                </a:lnTo>
                <a:lnTo>
                  <a:pt x="5" y="17"/>
                </a:lnTo>
                <a:lnTo>
                  <a:pt x="3" y="17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7"/>
                </a:lnTo>
                <a:lnTo>
                  <a:pt x="1" y="8"/>
                </a:lnTo>
                <a:lnTo>
                  <a:pt x="0" y="7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81" name="Freeform 1381"/>
          <p:cNvSpPr>
            <a:spLocks/>
          </p:cNvSpPr>
          <p:nvPr/>
        </p:nvSpPr>
        <p:spPr bwMode="auto">
          <a:xfrm>
            <a:off x="7764462" y="3735353"/>
            <a:ext cx="9525" cy="26988"/>
          </a:xfrm>
          <a:custGeom>
            <a:avLst/>
            <a:gdLst>
              <a:gd name="T0" fmla="*/ 0 w 6"/>
              <a:gd name="T1" fmla="*/ 7 h 17"/>
              <a:gd name="T2" fmla="*/ 3 w 6"/>
              <a:gd name="T3" fmla="*/ 0 h 17"/>
              <a:gd name="T4" fmla="*/ 5 w 6"/>
              <a:gd name="T5" fmla="*/ 1 h 17"/>
              <a:gd name="T6" fmla="*/ 6 w 6"/>
              <a:gd name="T7" fmla="*/ 5 h 17"/>
              <a:gd name="T8" fmla="*/ 6 w 6"/>
              <a:gd name="T9" fmla="*/ 11 h 17"/>
              <a:gd name="T10" fmla="*/ 6 w 6"/>
              <a:gd name="T11" fmla="*/ 15 h 17"/>
              <a:gd name="T12" fmla="*/ 5 w 6"/>
              <a:gd name="T13" fmla="*/ 17 h 17"/>
              <a:gd name="T14" fmla="*/ 3 w 6"/>
              <a:gd name="T15" fmla="*/ 17 h 17"/>
              <a:gd name="T16" fmla="*/ 2 w 6"/>
              <a:gd name="T17" fmla="*/ 16 h 17"/>
              <a:gd name="T18" fmla="*/ 1 w 6"/>
              <a:gd name="T19" fmla="*/ 14 h 17"/>
              <a:gd name="T20" fmla="*/ 0 w 6"/>
              <a:gd name="T21" fmla="*/ 11 h 17"/>
              <a:gd name="T22" fmla="*/ 1 w 6"/>
              <a:gd name="T23" fmla="*/ 7 h 17"/>
              <a:gd name="T24" fmla="*/ 1 w 6"/>
              <a:gd name="T25" fmla="*/ 8 h 17"/>
              <a:gd name="T26" fmla="*/ 0 w 6"/>
              <a:gd name="T27" fmla="*/ 7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6" h="17">
                <a:moveTo>
                  <a:pt x="0" y="7"/>
                </a:moveTo>
                <a:lnTo>
                  <a:pt x="3" y="0"/>
                </a:lnTo>
                <a:lnTo>
                  <a:pt x="5" y="1"/>
                </a:lnTo>
                <a:lnTo>
                  <a:pt x="6" y="5"/>
                </a:lnTo>
                <a:lnTo>
                  <a:pt x="6" y="11"/>
                </a:lnTo>
                <a:lnTo>
                  <a:pt x="6" y="15"/>
                </a:lnTo>
                <a:lnTo>
                  <a:pt x="5" y="17"/>
                </a:lnTo>
                <a:lnTo>
                  <a:pt x="3" y="17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7"/>
                </a:lnTo>
                <a:lnTo>
                  <a:pt x="1" y="8"/>
                </a:lnTo>
                <a:lnTo>
                  <a:pt x="0" y="7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82" name="Freeform 1382"/>
          <p:cNvSpPr>
            <a:spLocks/>
          </p:cNvSpPr>
          <p:nvPr/>
        </p:nvSpPr>
        <p:spPr bwMode="auto">
          <a:xfrm>
            <a:off x="7759700" y="3752815"/>
            <a:ext cx="9525" cy="12700"/>
          </a:xfrm>
          <a:custGeom>
            <a:avLst/>
            <a:gdLst>
              <a:gd name="T0" fmla="*/ 0 w 6"/>
              <a:gd name="T1" fmla="*/ 3 h 8"/>
              <a:gd name="T2" fmla="*/ 0 w 6"/>
              <a:gd name="T3" fmla="*/ 0 h 8"/>
              <a:gd name="T4" fmla="*/ 0 w 6"/>
              <a:gd name="T5" fmla="*/ 0 h 8"/>
              <a:gd name="T6" fmla="*/ 3 w 6"/>
              <a:gd name="T7" fmla="*/ 4 h 8"/>
              <a:gd name="T8" fmla="*/ 5 w 6"/>
              <a:gd name="T9" fmla="*/ 5 h 8"/>
              <a:gd name="T10" fmla="*/ 6 w 6"/>
              <a:gd name="T11" fmla="*/ 6 h 8"/>
              <a:gd name="T12" fmla="*/ 6 w 6"/>
              <a:gd name="T13" fmla="*/ 8 h 8"/>
              <a:gd name="T14" fmla="*/ 6 w 6"/>
              <a:gd name="T15" fmla="*/ 8 h 8"/>
              <a:gd name="T16" fmla="*/ 5 w 6"/>
              <a:gd name="T17" fmla="*/ 8 h 8"/>
              <a:gd name="T18" fmla="*/ 3 w 6"/>
              <a:gd name="T19" fmla="*/ 6 h 8"/>
              <a:gd name="T20" fmla="*/ 2 w 6"/>
              <a:gd name="T21" fmla="*/ 5 h 8"/>
              <a:gd name="T22" fmla="*/ 0 w 6"/>
              <a:gd name="T23" fmla="*/ 3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" h="8">
                <a:moveTo>
                  <a:pt x="0" y="3"/>
                </a:moveTo>
                <a:lnTo>
                  <a:pt x="0" y="0"/>
                </a:lnTo>
                <a:lnTo>
                  <a:pt x="0" y="0"/>
                </a:lnTo>
                <a:lnTo>
                  <a:pt x="3" y="4"/>
                </a:lnTo>
                <a:lnTo>
                  <a:pt x="5" y="5"/>
                </a:lnTo>
                <a:lnTo>
                  <a:pt x="6" y="6"/>
                </a:lnTo>
                <a:lnTo>
                  <a:pt x="6" y="8"/>
                </a:lnTo>
                <a:lnTo>
                  <a:pt x="6" y="8"/>
                </a:lnTo>
                <a:lnTo>
                  <a:pt x="5" y="8"/>
                </a:lnTo>
                <a:lnTo>
                  <a:pt x="3" y="6"/>
                </a:lnTo>
                <a:lnTo>
                  <a:pt x="2" y="5"/>
                </a:lnTo>
                <a:lnTo>
                  <a:pt x="0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83" name="Freeform 1383"/>
          <p:cNvSpPr>
            <a:spLocks/>
          </p:cNvSpPr>
          <p:nvPr/>
        </p:nvSpPr>
        <p:spPr bwMode="auto">
          <a:xfrm>
            <a:off x="7759700" y="3752815"/>
            <a:ext cx="9525" cy="12700"/>
          </a:xfrm>
          <a:custGeom>
            <a:avLst/>
            <a:gdLst>
              <a:gd name="T0" fmla="*/ 0 w 6"/>
              <a:gd name="T1" fmla="*/ 3 h 8"/>
              <a:gd name="T2" fmla="*/ 0 w 6"/>
              <a:gd name="T3" fmla="*/ 0 h 8"/>
              <a:gd name="T4" fmla="*/ 0 w 6"/>
              <a:gd name="T5" fmla="*/ 0 h 8"/>
              <a:gd name="T6" fmla="*/ 3 w 6"/>
              <a:gd name="T7" fmla="*/ 4 h 8"/>
              <a:gd name="T8" fmla="*/ 5 w 6"/>
              <a:gd name="T9" fmla="*/ 5 h 8"/>
              <a:gd name="T10" fmla="*/ 6 w 6"/>
              <a:gd name="T11" fmla="*/ 6 h 8"/>
              <a:gd name="T12" fmla="*/ 6 w 6"/>
              <a:gd name="T13" fmla="*/ 8 h 8"/>
              <a:gd name="T14" fmla="*/ 6 w 6"/>
              <a:gd name="T15" fmla="*/ 8 h 8"/>
              <a:gd name="T16" fmla="*/ 5 w 6"/>
              <a:gd name="T17" fmla="*/ 8 h 8"/>
              <a:gd name="T18" fmla="*/ 3 w 6"/>
              <a:gd name="T19" fmla="*/ 6 h 8"/>
              <a:gd name="T20" fmla="*/ 2 w 6"/>
              <a:gd name="T21" fmla="*/ 5 h 8"/>
              <a:gd name="T22" fmla="*/ 0 w 6"/>
              <a:gd name="T23" fmla="*/ 3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" h="8">
                <a:moveTo>
                  <a:pt x="0" y="3"/>
                </a:moveTo>
                <a:lnTo>
                  <a:pt x="0" y="0"/>
                </a:lnTo>
                <a:lnTo>
                  <a:pt x="0" y="0"/>
                </a:lnTo>
                <a:lnTo>
                  <a:pt x="3" y="4"/>
                </a:lnTo>
                <a:lnTo>
                  <a:pt x="5" y="5"/>
                </a:lnTo>
                <a:lnTo>
                  <a:pt x="6" y="6"/>
                </a:lnTo>
                <a:lnTo>
                  <a:pt x="6" y="8"/>
                </a:lnTo>
                <a:lnTo>
                  <a:pt x="6" y="8"/>
                </a:lnTo>
                <a:lnTo>
                  <a:pt x="5" y="8"/>
                </a:lnTo>
                <a:lnTo>
                  <a:pt x="3" y="6"/>
                </a:lnTo>
                <a:lnTo>
                  <a:pt x="2" y="5"/>
                </a:lnTo>
                <a:lnTo>
                  <a:pt x="0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84" name="Freeform 1384"/>
          <p:cNvSpPr>
            <a:spLocks/>
          </p:cNvSpPr>
          <p:nvPr/>
        </p:nvSpPr>
        <p:spPr bwMode="auto">
          <a:xfrm>
            <a:off x="7756525" y="3759165"/>
            <a:ext cx="9525" cy="19050"/>
          </a:xfrm>
          <a:custGeom>
            <a:avLst/>
            <a:gdLst>
              <a:gd name="T0" fmla="*/ 1 w 6"/>
              <a:gd name="T1" fmla="*/ 0 h 12"/>
              <a:gd name="T2" fmla="*/ 2 w 6"/>
              <a:gd name="T3" fmla="*/ 0 h 12"/>
              <a:gd name="T4" fmla="*/ 6 w 6"/>
              <a:gd name="T5" fmla="*/ 5 h 12"/>
              <a:gd name="T6" fmla="*/ 6 w 6"/>
              <a:gd name="T7" fmla="*/ 8 h 12"/>
              <a:gd name="T8" fmla="*/ 6 w 6"/>
              <a:gd name="T9" fmla="*/ 10 h 12"/>
              <a:gd name="T10" fmla="*/ 5 w 6"/>
              <a:gd name="T11" fmla="*/ 12 h 12"/>
              <a:gd name="T12" fmla="*/ 2 w 6"/>
              <a:gd name="T13" fmla="*/ 12 h 12"/>
              <a:gd name="T14" fmla="*/ 1 w 6"/>
              <a:gd name="T15" fmla="*/ 12 h 12"/>
              <a:gd name="T16" fmla="*/ 0 w 6"/>
              <a:gd name="T17" fmla="*/ 10 h 12"/>
              <a:gd name="T18" fmla="*/ 0 w 6"/>
              <a:gd name="T19" fmla="*/ 6 h 12"/>
              <a:gd name="T20" fmla="*/ 0 w 6"/>
              <a:gd name="T21" fmla="*/ 5 h 12"/>
              <a:gd name="T22" fmla="*/ 1 w 6"/>
              <a:gd name="T23" fmla="*/ 9 h 12"/>
              <a:gd name="T24" fmla="*/ 2 w 6"/>
              <a:gd name="T25" fmla="*/ 8 h 12"/>
              <a:gd name="T26" fmla="*/ 2 w 6"/>
              <a:gd name="T27" fmla="*/ 3 h 12"/>
              <a:gd name="T28" fmla="*/ 2 w 6"/>
              <a:gd name="T29" fmla="*/ 3 h 12"/>
              <a:gd name="T30" fmla="*/ 1 w 6"/>
              <a:gd name="T31" fmla="*/ 2 h 12"/>
              <a:gd name="T32" fmla="*/ 1 w 6"/>
              <a:gd name="T33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" h="12">
                <a:moveTo>
                  <a:pt x="1" y="0"/>
                </a:moveTo>
                <a:lnTo>
                  <a:pt x="2" y="0"/>
                </a:lnTo>
                <a:lnTo>
                  <a:pt x="6" y="5"/>
                </a:lnTo>
                <a:lnTo>
                  <a:pt x="6" y="8"/>
                </a:lnTo>
                <a:lnTo>
                  <a:pt x="6" y="10"/>
                </a:lnTo>
                <a:lnTo>
                  <a:pt x="5" y="12"/>
                </a:lnTo>
                <a:lnTo>
                  <a:pt x="2" y="12"/>
                </a:lnTo>
                <a:lnTo>
                  <a:pt x="1" y="12"/>
                </a:lnTo>
                <a:lnTo>
                  <a:pt x="0" y="10"/>
                </a:lnTo>
                <a:lnTo>
                  <a:pt x="0" y="6"/>
                </a:lnTo>
                <a:lnTo>
                  <a:pt x="0" y="5"/>
                </a:lnTo>
                <a:lnTo>
                  <a:pt x="1" y="9"/>
                </a:lnTo>
                <a:lnTo>
                  <a:pt x="2" y="8"/>
                </a:lnTo>
                <a:lnTo>
                  <a:pt x="2" y="3"/>
                </a:lnTo>
                <a:lnTo>
                  <a:pt x="2" y="3"/>
                </a:lnTo>
                <a:lnTo>
                  <a:pt x="1" y="2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85" name="Freeform 1385"/>
          <p:cNvSpPr>
            <a:spLocks/>
          </p:cNvSpPr>
          <p:nvPr/>
        </p:nvSpPr>
        <p:spPr bwMode="auto">
          <a:xfrm>
            <a:off x="7756525" y="3759165"/>
            <a:ext cx="9525" cy="19050"/>
          </a:xfrm>
          <a:custGeom>
            <a:avLst/>
            <a:gdLst>
              <a:gd name="T0" fmla="*/ 1 w 6"/>
              <a:gd name="T1" fmla="*/ 0 h 12"/>
              <a:gd name="T2" fmla="*/ 2 w 6"/>
              <a:gd name="T3" fmla="*/ 0 h 12"/>
              <a:gd name="T4" fmla="*/ 6 w 6"/>
              <a:gd name="T5" fmla="*/ 5 h 12"/>
              <a:gd name="T6" fmla="*/ 6 w 6"/>
              <a:gd name="T7" fmla="*/ 8 h 12"/>
              <a:gd name="T8" fmla="*/ 6 w 6"/>
              <a:gd name="T9" fmla="*/ 10 h 12"/>
              <a:gd name="T10" fmla="*/ 5 w 6"/>
              <a:gd name="T11" fmla="*/ 12 h 12"/>
              <a:gd name="T12" fmla="*/ 2 w 6"/>
              <a:gd name="T13" fmla="*/ 12 h 12"/>
              <a:gd name="T14" fmla="*/ 1 w 6"/>
              <a:gd name="T15" fmla="*/ 12 h 12"/>
              <a:gd name="T16" fmla="*/ 0 w 6"/>
              <a:gd name="T17" fmla="*/ 10 h 12"/>
              <a:gd name="T18" fmla="*/ 0 w 6"/>
              <a:gd name="T19" fmla="*/ 6 h 12"/>
              <a:gd name="T20" fmla="*/ 0 w 6"/>
              <a:gd name="T21" fmla="*/ 5 h 12"/>
              <a:gd name="T22" fmla="*/ 1 w 6"/>
              <a:gd name="T23" fmla="*/ 9 h 12"/>
              <a:gd name="T24" fmla="*/ 2 w 6"/>
              <a:gd name="T25" fmla="*/ 8 h 12"/>
              <a:gd name="T26" fmla="*/ 2 w 6"/>
              <a:gd name="T27" fmla="*/ 3 h 12"/>
              <a:gd name="T28" fmla="*/ 2 w 6"/>
              <a:gd name="T29" fmla="*/ 3 h 12"/>
              <a:gd name="T30" fmla="*/ 1 w 6"/>
              <a:gd name="T31" fmla="*/ 2 h 12"/>
              <a:gd name="T32" fmla="*/ 1 w 6"/>
              <a:gd name="T33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" h="12">
                <a:moveTo>
                  <a:pt x="1" y="0"/>
                </a:moveTo>
                <a:lnTo>
                  <a:pt x="2" y="0"/>
                </a:lnTo>
                <a:lnTo>
                  <a:pt x="6" y="5"/>
                </a:lnTo>
                <a:lnTo>
                  <a:pt x="6" y="8"/>
                </a:lnTo>
                <a:lnTo>
                  <a:pt x="6" y="10"/>
                </a:lnTo>
                <a:lnTo>
                  <a:pt x="5" y="12"/>
                </a:lnTo>
                <a:lnTo>
                  <a:pt x="2" y="12"/>
                </a:lnTo>
                <a:lnTo>
                  <a:pt x="1" y="12"/>
                </a:lnTo>
                <a:lnTo>
                  <a:pt x="0" y="10"/>
                </a:lnTo>
                <a:lnTo>
                  <a:pt x="0" y="6"/>
                </a:lnTo>
                <a:lnTo>
                  <a:pt x="0" y="5"/>
                </a:lnTo>
                <a:lnTo>
                  <a:pt x="1" y="9"/>
                </a:lnTo>
                <a:lnTo>
                  <a:pt x="2" y="8"/>
                </a:lnTo>
                <a:lnTo>
                  <a:pt x="2" y="3"/>
                </a:lnTo>
                <a:lnTo>
                  <a:pt x="2" y="3"/>
                </a:lnTo>
                <a:lnTo>
                  <a:pt x="1" y="2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86" name="Freeform 1386"/>
          <p:cNvSpPr>
            <a:spLocks/>
          </p:cNvSpPr>
          <p:nvPr/>
        </p:nvSpPr>
        <p:spPr bwMode="auto">
          <a:xfrm>
            <a:off x="7678737" y="3782978"/>
            <a:ext cx="15875" cy="26988"/>
          </a:xfrm>
          <a:custGeom>
            <a:avLst/>
            <a:gdLst>
              <a:gd name="T0" fmla="*/ 0 w 10"/>
              <a:gd name="T1" fmla="*/ 12 h 17"/>
              <a:gd name="T2" fmla="*/ 2 w 10"/>
              <a:gd name="T3" fmla="*/ 12 h 17"/>
              <a:gd name="T4" fmla="*/ 2 w 10"/>
              <a:gd name="T5" fmla="*/ 11 h 17"/>
              <a:gd name="T6" fmla="*/ 2 w 10"/>
              <a:gd name="T7" fmla="*/ 8 h 17"/>
              <a:gd name="T8" fmla="*/ 6 w 10"/>
              <a:gd name="T9" fmla="*/ 5 h 17"/>
              <a:gd name="T10" fmla="*/ 7 w 10"/>
              <a:gd name="T11" fmla="*/ 1 h 17"/>
              <a:gd name="T12" fmla="*/ 8 w 10"/>
              <a:gd name="T13" fmla="*/ 0 h 17"/>
              <a:gd name="T14" fmla="*/ 10 w 10"/>
              <a:gd name="T15" fmla="*/ 1 h 17"/>
              <a:gd name="T16" fmla="*/ 9 w 10"/>
              <a:gd name="T17" fmla="*/ 9 h 17"/>
              <a:gd name="T18" fmla="*/ 4 w 10"/>
              <a:gd name="T19" fmla="*/ 17 h 17"/>
              <a:gd name="T20" fmla="*/ 0 w 10"/>
              <a:gd name="T21" fmla="*/ 14 h 17"/>
              <a:gd name="T22" fmla="*/ 0 w 10"/>
              <a:gd name="T23" fmla="*/ 12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" h="17">
                <a:moveTo>
                  <a:pt x="0" y="12"/>
                </a:moveTo>
                <a:lnTo>
                  <a:pt x="2" y="12"/>
                </a:lnTo>
                <a:lnTo>
                  <a:pt x="2" y="11"/>
                </a:lnTo>
                <a:lnTo>
                  <a:pt x="2" y="8"/>
                </a:lnTo>
                <a:lnTo>
                  <a:pt x="6" y="5"/>
                </a:lnTo>
                <a:lnTo>
                  <a:pt x="7" y="1"/>
                </a:lnTo>
                <a:lnTo>
                  <a:pt x="8" y="0"/>
                </a:lnTo>
                <a:lnTo>
                  <a:pt x="10" y="1"/>
                </a:lnTo>
                <a:lnTo>
                  <a:pt x="9" y="9"/>
                </a:lnTo>
                <a:lnTo>
                  <a:pt x="4" y="17"/>
                </a:lnTo>
                <a:lnTo>
                  <a:pt x="0" y="14"/>
                </a:lnTo>
                <a:lnTo>
                  <a:pt x="0" y="1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87" name="Freeform 1387"/>
          <p:cNvSpPr>
            <a:spLocks/>
          </p:cNvSpPr>
          <p:nvPr/>
        </p:nvSpPr>
        <p:spPr bwMode="auto">
          <a:xfrm>
            <a:off x="7678737" y="3782978"/>
            <a:ext cx="15875" cy="26988"/>
          </a:xfrm>
          <a:custGeom>
            <a:avLst/>
            <a:gdLst>
              <a:gd name="T0" fmla="*/ 0 w 10"/>
              <a:gd name="T1" fmla="*/ 12 h 17"/>
              <a:gd name="T2" fmla="*/ 2 w 10"/>
              <a:gd name="T3" fmla="*/ 12 h 17"/>
              <a:gd name="T4" fmla="*/ 2 w 10"/>
              <a:gd name="T5" fmla="*/ 11 h 17"/>
              <a:gd name="T6" fmla="*/ 2 w 10"/>
              <a:gd name="T7" fmla="*/ 8 h 17"/>
              <a:gd name="T8" fmla="*/ 6 w 10"/>
              <a:gd name="T9" fmla="*/ 5 h 17"/>
              <a:gd name="T10" fmla="*/ 7 w 10"/>
              <a:gd name="T11" fmla="*/ 1 h 17"/>
              <a:gd name="T12" fmla="*/ 8 w 10"/>
              <a:gd name="T13" fmla="*/ 0 h 17"/>
              <a:gd name="T14" fmla="*/ 10 w 10"/>
              <a:gd name="T15" fmla="*/ 1 h 17"/>
              <a:gd name="T16" fmla="*/ 9 w 10"/>
              <a:gd name="T17" fmla="*/ 9 h 17"/>
              <a:gd name="T18" fmla="*/ 4 w 10"/>
              <a:gd name="T19" fmla="*/ 17 h 17"/>
              <a:gd name="T20" fmla="*/ 0 w 10"/>
              <a:gd name="T21" fmla="*/ 14 h 17"/>
              <a:gd name="T22" fmla="*/ 0 w 10"/>
              <a:gd name="T23" fmla="*/ 12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" h="17">
                <a:moveTo>
                  <a:pt x="0" y="12"/>
                </a:moveTo>
                <a:lnTo>
                  <a:pt x="2" y="12"/>
                </a:lnTo>
                <a:lnTo>
                  <a:pt x="2" y="11"/>
                </a:lnTo>
                <a:lnTo>
                  <a:pt x="2" y="8"/>
                </a:lnTo>
                <a:lnTo>
                  <a:pt x="6" y="5"/>
                </a:lnTo>
                <a:lnTo>
                  <a:pt x="7" y="1"/>
                </a:lnTo>
                <a:lnTo>
                  <a:pt x="8" y="0"/>
                </a:lnTo>
                <a:lnTo>
                  <a:pt x="10" y="1"/>
                </a:lnTo>
                <a:lnTo>
                  <a:pt x="9" y="9"/>
                </a:lnTo>
                <a:lnTo>
                  <a:pt x="4" y="17"/>
                </a:lnTo>
                <a:lnTo>
                  <a:pt x="0" y="14"/>
                </a:lnTo>
                <a:lnTo>
                  <a:pt x="0" y="1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88" name="Freeform 1388"/>
          <p:cNvSpPr>
            <a:spLocks/>
          </p:cNvSpPr>
          <p:nvPr/>
        </p:nvSpPr>
        <p:spPr bwMode="auto">
          <a:xfrm>
            <a:off x="7640637" y="3805203"/>
            <a:ext cx="4762" cy="4763"/>
          </a:xfrm>
          <a:custGeom>
            <a:avLst/>
            <a:gdLst>
              <a:gd name="T0" fmla="*/ 0 w 3"/>
              <a:gd name="T1" fmla="*/ 1 h 3"/>
              <a:gd name="T2" fmla="*/ 0 w 3"/>
              <a:gd name="T3" fmla="*/ 0 h 3"/>
              <a:gd name="T4" fmla="*/ 3 w 3"/>
              <a:gd name="T5" fmla="*/ 0 h 3"/>
              <a:gd name="T6" fmla="*/ 3 w 3"/>
              <a:gd name="T7" fmla="*/ 1 h 3"/>
              <a:gd name="T8" fmla="*/ 2 w 3"/>
              <a:gd name="T9" fmla="*/ 3 h 3"/>
              <a:gd name="T10" fmla="*/ 1 w 3"/>
              <a:gd name="T11" fmla="*/ 3 h 3"/>
              <a:gd name="T12" fmla="*/ 0 w 3"/>
              <a:gd name="T13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" h="3">
                <a:moveTo>
                  <a:pt x="0" y="1"/>
                </a:moveTo>
                <a:lnTo>
                  <a:pt x="0" y="0"/>
                </a:lnTo>
                <a:lnTo>
                  <a:pt x="3" y="0"/>
                </a:lnTo>
                <a:lnTo>
                  <a:pt x="3" y="1"/>
                </a:lnTo>
                <a:lnTo>
                  <a:pt x="2" y="3"/>
                </a:lnTo>
                <a:lnTo>
                  <a:pt x="1" y="3"/>
                </a:lnTo>
                <a:lnTo>
                  <a:pt x="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89" name="Freeform 1389"/>
          <p:cNvSpPr>
            <a:spLocks/>
          </p:cNvSpPr>
          <p:nvPr/>
        </p:nvSpPr>
        <p:spPr bwMode="auto">
          <a:xfrm>
            <a:off x="7640637" y="3805203"/>
            <a:ext cx="4762" cy="4763"/>
          </a:xfrm>
          <a:custGeom>
            <a:avLst/>
            <a:gdLst>
              <a:gd name="T0" fmla="*/ 0 w 3"/>
              <a:gd name="T1" fmla="*/ 1 h 3"/>
              <a:gd name="T2" fmla="*/ 0 w 3"/>
              <a:gd name="T3" fmla="*/ 0 h 3"/>
              <a:gd name="T4" fmla="*/ 3 w 3"/>
              <a:gd name="T5" fmla="*/ 0 h 3"/>
              <a:gd name="T6" fmla="*/ 3 w 3"/>
              <a:gd name="T7" fmla="*/ 1 h 3"/>
              <a:gd name="T8" fmla="*/ 2 w 3"/>
              <a:gd name="T9" fmla="*/ 3 h 3"/>
              <a:gd name="T10" fmla="*/ 1 w 3"/>
              <a:gd name="T11" fmla="*/ 3 h 3"/>
              <a:gd name="T12" fmla="*/ 0 w 3"/>
              <a:gd name="T13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" h="3">
                <a:moveTo>
                  <a:pt x="0" y="1"/>
                </a:moveTo>
                <a:lnTo>
                  <a:pt x="0" y="0"/>
                </a:lnTo>
                <a:lnTo>
                  <a:pt x="3" y="0"/>
                </a:lnTo>
                <a:lnTo>
                  <a:pt x="3" y="1"/>
                </a:lnTo>
                <a:lnTo>
                  <a:pt x="2" y="3"/>
                </a:lnTo>
                <a:lnTo>
                  <a:pt x="1" y="3"/>
                </a:lnTo>
                <a:lnTo>
                  <a:pt x="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90" name="Freeform 1390"/>
          <p:cNvSpPr>
            <a:spLocks/>
          </p:cNvSpPr>
          <p:nvPr/>
        </p:nvSpPr>
        <p:spPr bwMode="auto">
          <a:xfrm>
            <a:off x="7613650" y="3782978"/>
            <a:ext cx="4762" cy="3175"/>
          </a:xfrm>
          <a:custGeom>
            <a:avLst/>
            <a:gdLst>
              <a:gd name="T0" fmla="*/ 2 w 3"/>
              <a:gd name="T1" fmla="*/ 1 h 2"/>
              <a:gd name="T2" fmla="*/ 0 w 3"/>
              <a:gd name="T3" fmla="*/ 1 h 2"/>
              <a:gd name="T4" fmla="*/ 2 w 3"/>
              <a:gd name="T5" fmla="*/ 0 h 2"/>
              <a:gd name="T6" fmla="*/ 3 w 3"/>
              <a:gd name="T7" fmla="*/ 1 h 2"/>
              <a:gd name="T8" fmla="*/ 3 w 3"/>
              <a:gd name="T9" fmla="*/ 2 h 2"/>
              <a:gd name="T10" fmla="*/ 2 w 3"/>
              <a:gd name="T11" fmla="*/ 2 h 2"/>
              <a:gd name="T12" fmla="*/ 2 w 3"/>
              <a:gd name="T13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" h="2">
                <a:moveTo>
                  <a:pt x="2" y="1"/>
                </a:moveTo>
                <a:lnTo>
                  <a:pt x="0" y="1"/>
                </a:lnTo>
                <a:lnTo>
                  <a:pt x="2" y="0"/>
                </a:lnTo>
                <a:lnTo>
                  <a:pt x="3" y="1"/>
                </a:lnTo>
                <a:lnTo>
                  <a:pt x="3" y="2"/>
                </a:lnTo>
                <a:lnTo>
                  <a:pt x="2" y="2"/>
                </a:lnTo>
                <a:lnTo>
                  <a:pt x="2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91" name="Freeform 1391"/>
          <p:cNvSpPr>
            <a:spLocks/>
          </p:cNvSpPr>
          <p:nvPr/>
        </p:nvSpPr>
        <p:spPr bwMode="auto">
          <a:xfrm>
            <a:off x="7613650" y="3782978"/>
            <a:ext cx="4762" cy="3175"/>
          </a:xfrm>
          <a:custGeom>
            <a:avLst/>
            <a:gdLst>
              <a:gd name="T0" fmla="*/ 2 w 3"/>
              <a:gd name="T1" fmla="*/ 1 h 2"/>
              <a:gd name="T2" fmla="*/ 0 w 3"/>
              <a:gd name="T3" fmla="*/ 1 h 2"/>
              <a:gd name="T4" fmla="*/ 2 w 3"/>
              <a:gd name="T5" fmla="*/ 0 h 2"/>
              <a:gd name="T6" fmla="*/ 3 w 3"/>
              <a:gd name="T7" fmla="*/ 1 h 2"/>
              <a:gd name="T8" fmla="*/ 3 w 3"/>
              <a:gd name="T9" fmla="*/ 2 h 2"/>
              <a:gd name="T10" fmla="*/ 2 w 3"/>
              <a:gd name="T11" fmla="*/ 2 h 2"/>
              <a:gd name="T12" fmla="*/ 2 w 3"/>
              <a:gd name="T13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" h="2">
                <a:moveTo>
                  <a:pt x="2" y="1"/>
                </a:moveTo>
                <a:lnTo>
                  <a:pt x="0" y="1"/>
                </a:lnTo>
                <a:lnTo>
                  <a:pt x="2" y="0"/>
                </a:lnTo>
                <a:lnTo>
                  <a:pt x="3" y="1"/>
                </a:lnTo>
                <a:lnTo>
                  <a:pt x="3" y="2"/>
                </a:lnTo>
                <a:lnTo>
                  <a:pt x="2" y="2"/>
                </a:lnTo>
                <a:lnTo>
                  <a:pt x="2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92" name="Freeform 1392"/>
          <p:cNvSpPr>
            <a:spLocks/>
          </p:cNvSpPr>
          <p:nvPr/>
        </p:nvSpPr>
        <p:spPr bwMode="auto">
          <a:xfrm>
            <a:off x="6372225" y="3295615"/>
            <a:ext cx="55562" cy="111125"/>
          </a:xfrm>
          <a:custGeom>
            <a:avLst/>
            <a:gdLst>
              <a:gd name="T0" fmla="*/ 3 w 35"/>
              <a:gd name="T1" fmla="*/ 0 h 70"/>
              <a:gd name="T2" fmla="*/ 2 w 35"/>
              <a:gd name="T3" fmla="*/ 1 h 70"/>
              <a:gd name="T4" fmla="*/ 5 w 35"/>
              <a:gd name="T5" fmla="*/ 3 h 70"/>
              <a:gd name="T6" fmla="*/ 7 w 35"/>
              <a:gd name="T7" fmla="*/ 4 h 70"/>
              <a:gd name="T8" fmla="*/ 8 w 35"/>
              <a:gd name="T9" fmla="*/ 6 h 70"/>
              <a:gd name="T10" fmla="*/ 7 w 35"/>
              <a:gd name="T11" fmla="*/ 5 h 70"/>
              <a:gd name="T12" fmla="*/ 5 w 35"/>
              <a:gd name="T13" fmla="*/ 8 h 70"/>
              <a:gd name="T14" fmla="*/ 5 w 35"/>
              <a:gd name="T15" fmla="*/ 12 h 70"/>
              <a:gd name="T16" fmla="*/ 3 w 35"/>
              <a:gd name="T17" fmla="*/ 15 h 70"/>
              <a:gd name="T18" fmla="*/ 2 w 35"/>
              <a:gd name="T19" fmla="*/ 31 h 70"/>
              <a:gd name="T20" fmla="*/ 0 w 35"/>
              <a:gd name="T21" fmla="*/ 30 h 70"/>
              <a:gd name="T22" fmla="*/ 0 w 35"/>
              <a:gd name="T23" fmla="*/ 31 h 70"/>
              <a:gd name="T24" fmla="*/ 0 w 35"/>
              <a:gd name="T25" fmla="*/ 36 h 70"/>
              <a:gd name="T26" fmla="*/ 3 w 35"/>
              <a:gd name="T27" fmla="*/ 54 h 70"/>
              <a:gd name="T28" fmla="*/ 5 w 35"/>
              <a:gd name="T29" fmla="*/ 60 h 70"/>
              <a:gd name="T30" fmla="*/ 7 w 35"/>
              <a:gd name="T31" fmla="*/ 65 h 70"/>
              <a:gd name="T32" fmla="*/ 10 w 35"/>
              <a:gd name="T33" fmla="*/ 69 h 70"/>
              <a:gd name="T34" fmla="*/ 15 w 35"/>
              <a:gd name="T35" fmla="*/ 70 h 70"/>
              <a:gd name="T36" fmla="*/ 19 w 35"/>
              <a:gd name="T37" fmla="*/ 70 h 70"/>
              <a:gd name="T38" fmla="*/ 27 w 35"/>
              <a:gd name="T39" fmla="*/ 65 h 70"/>
              <a:gd name="T40" fmla="*/ 31 w 35"/>
              <a:gd name="T41" fmla="*/ 61 h 70"/>
              <a:gd name="T42" fmla="*/ 33 w 35"/>
              <a:gd name="T43" fmla="*/ 55 h 70"/>
              <a:gd name="T44" fmla="*/ 35 w 35"/>
              <a:gd name="T45" fmla="*/ 48 h 70"/>
              <a:gd name="T46" fmla="*/ 35 w 35"/>
              <a:gd name="T47" fmla="*/ 41 h 70"/>
              <a:gd name="T48" fmla="*/ 33 w 35"/>
              <a:gd name="T49" fmla="*/ 39 h 70"/>
              <a:gd name="T50" fmla="*/ 31 w 35"/>
              <a:gd name="T51" fmla="*/ 38 h 70"/>
              <a:gd name="T52" fmla="*/ 29 w 35"/>
              <a:gd name="T53" fmla="*/ 29 h 70"/>
              <a:gd name="T54" fmla="*/ 27 w 35"/>
              <a:gd name="T55" fmla="*/ 24 h 70"/>
              <a:gd name="T56" fmla="*/ 25 w 35"/>
              <a:gd name="T57" fmla="*/ 22 h 70"/>
              <a:gd name="T58" fmla="*/ 23 w 35"/>
              <a:gd name="T59" fmla="*/ 20 h 70"/>
              <a:gd name="T60" fmla="*/ 22 w 35"/>
              <a:gd name="T61" fmla="*/ 18 h 70"/>
              <a:gd name="T62" fmla="*/ 19 w 35"/>
              <a:gd name="T63" fmla="*/ 14 h 70"/>
              <a:gd name="T64" fmla="*/ 18 w 35"/>
              <a:gd name="T65" fmla="*/ 11 h 70"/>
              <a:gd name="T66" fmla="*/ 11 w 35"/>
              <a:gd name="T67" fmla="*/ 4 h 70"/>
              <a:gd name="T68" fmla="*/ 9 w 35"/>
              <a:gd name="T69" fmla="*/ 1 h 70"/>
              <a:gd name="T70" fmla="*/ 6 w 35"/>
              <a:gd name="T71" fmla="*/ 0 h 70"/>
              <a:gd name="T72" fmla="*/ 3 w 35"/>
              <a:gd name="T73" fmla="*/ 0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5" h="70">
                <a:moveTo>
                  <a:pt x="3" y="0"/>
                </a:moveTo>
                <a:lnTo>
                  <a:pt x="2" y="1"/>
                </a:lnTo>
                <a:lnTo>
                  <a:pt x="5" y="3"/>
                </a:lnTo>
                <a:lnTo>
                  <a:pt x="7" y="4"/>
                </a:lnTo>
                <a:lnTo>
                  <a:pt x="8" y="6"/>
                </a:lnTo>
                <a:lnTo>
                  <a:pt x="7" y="5"/>
                </a:lnTo>
                <a:lnTo>
                  <a:pt x="5" y="8"/>
                </a:lnTo>
                <a:lnTo>
                  <a:pt x="5" y="12"/>
                </a:lnTo>
                <a:lnTo>
                  <a:pt x="3" y="15"/>
                </a:lnTo>
                <a:lnTo>
                  <a:pt x="2" y="31"/>
                </a:lnTo>
                <a:lnTo>
                  <a:pt x="0" y="30"/>
                </a:lnTo>
                <a:lnTo>
                  <a:pt x="0" y="31"/>
                </a:lnTo>
                <a:lnTo>
                  <a:pt x="0" y="36"/>
                </a:lnTo>
                <a:lnTo>
                  <a:pt x="3" y="54"/>
                </a:lnTo>
                <a:lnTo>
                  <a:pt x="5" y="60"/>
                </a:lnTo>
                <a:lnTo>
                  <a:pt x="7" y="65"/>
                </a:lnTo>
                <a:lnTo>
                  <a:pt x="10" y="69"/>
                </a:lnTo>
                <a:lnTo>
                  <a:pt x="15" y="70"/>
                </a:lnTo>
                <a:lnTo>
                  <a:pt x="19" y="70"/>
                </a:lnTo>
                <a:lnTo>
                  <a:pt x="27" y="65"/>
                </a:lnTo>
                <a:lnTo>
                  <a:pt x="31" y="61"/>
                </a:lnTo>
                <a:lnTo>
                  <a:pt x="33" y="55"/>
                </a:lnTo>
                <a:lnTo>
                  <a:pt x="35" y="48"/>
                </a:lnTo>
                <a:lnTo>
                  <a:pt x="35" y="41"/>
                </a:lnTo>
                <a:lnTo>
                  <a:pt x="33" y="39"/>
                </a:lnTo>
                <a:lnTo>
                  <a:pt x="31" y="38"/>
                </a:lnTo>
                <a:lnTo>
                  <a:pt x="29" y="29"/>
                </a:lnTo>
                <a:lnTo>
                  <a:pt x="27" y="24"/>
                </a:lnTo>
                <a:lnTo>
                  <a:pt x="25" y="22"/>
                </a:lnTo>
                <a:lnTo>
                  <a:pt x="23" y="20"/>
                </a:lnTo>
                <a:lnTo>
                  <a:pt x="22" y="18"/>
                </a:lnTo>
                <a:lnTo>
                  <a:pt x="19" y="14"/>
                </a:lnTo>
                <a:lnTo>
                  <a:pt x="18" y="11"/>
                </a:lnTo>
                <a:lnTo>
                  <a:pt x="11" y="4"/>
                </a:lnTo>
                <a:lnTo>
                  <a:pt x="9" y="1"/>
                </a:lnTo>
                <a:lnTo>
                  <a:pt x="6" y="0"/>
                </a:lnTo>
                <a:lnTo>
                  <a:pt x="3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93" name="Freeform 1393"/>
          <p:cNvSpPr>
            <a:spLocks/>
          </p:cNvSpPr>
          <p:nvPr/>
        </p:nvSpPr>
        <p:spPr bwMode="auto">
          <a:xfrm>
            <a:off x="6372225" y="3295615"/>
            <a:ext cx="55562" cy="111125"/>
          </a:xfrm>
          <a:custGeom>
            <a:avLst/>
            <a:gdLst>
              <a:gd name="T0" fmla="*/ 3 w 35"/>
              <a:gd name="T1" fmla="*/ 0 h 70"/>
              <a:gd name="T2" fmla="*/ 2 w 35"/>
              <a:gd name="T3" fmla="*/ 1 h 70"/>
              <a:gd name="T4" fmla="*/ 5 w 35"/>
              <a:gd name="T5" fmla="*/ 3 h 70"/>
              <a:gd name="T6" fmla="*/ 7 w 35"/>
              <a:gd name="T7" fmla="*/ 4 h 70"/>
              <a:gd name="T8" fmla="*/ 8 w 35"/>
              <a:gd name="T9" fmla="*/ 6 h 70"/>
              <a:gd name="T10" fmla="*/ 7 w 35"/>
              <a:gd name="T11" fmla="*/ 5 h 70"/>
              <a:gd name="T12" fmla="*/ 5 w 35"/>
              <a:gd name="T13" fmla="*/ 8 h 70"/>
              <a:gd name="T14" fmla="*/ 5 w 35"/>
              <a:gd name="T15" fmla="*/ 12 h 70"/>
              <a:gd name="T16" fmla="*/ 3 w 35"/>
              <a:gd name="T17" fmla="*/ 15 h 70"/>
              <a:gd name="T18" fmla="*/ 2 w 35"/>
              <a:gd name="T19" fmla="*/ 31 h 70"/>
              <a:gd name="T20" fmla="*/ 0 w 35"/>
              <a:gd name="T21" fmla="*/ 30 h 70"/>
              <a:gd name="T22" fmla="*/ 0 w 35"/>
              <a:gd name="T23" fmla="*/ 31 h 70"/>
              <a:gd name="T24" fmla="*/ 0 w 35"/>
              <a:gd name="T25" fmla="*/ 36 h 70"/>
              <a:gd name="T26" fmla="*/ 3 w 35"/>
              <a:gd name="T27" fmla="*/ 54 h 70"/>
              <a:gd name="T28" fmla="*/ 5 w 35"/>
              <a:gd name="T29" fmla="*/ 60 h 70"/>
              <a:gd name="T30" fmla="*/ 7 w 35"/>
              <a:gd name="T31" fmla="*/ 65 h 70"/>
              <a:gd name="T32" fmla="*/ 10 w 35"/>
              <a:gd name="T33" fmla="*/ 69 h 70"/>
              <a:gd name="T34" fmla="*/ 15 w 35"/>
              <a:gd name="T35" fmla="*/ 70 h 70"/>
              <a:gd name="T36" fmla="*/ 19 w 35"/>
              <a:gd name="T37" fmla="*/ 70 h 70"/>
              <a:gd name="T38" fmla="*/ 27 w 35"/>
              <a:gd name="T39" fmla="*/ 65 h 70"/>
              <a:gd name="T40" fmla="*/ 31 w 35"/>
              <a:gd name="T41" fmla="*/ 61 h 70"/>
              <a:gd name="T42" fmla="*/ 33 w 35"/>
              <a:gd name="T43" fmla="*/ 55 h 70"/>
              <a:gd name="T44" fmla="*/ 35 w 35"/>
              <a:gd name="T45" fmla="*/ 48 h 70"/>
              <a:gd name="T46" fmla="*/ 35 w 35"/>
              <a:gd name="T47" fmla="*/ 41 h 70"/>
              <a:gd name="T48" fmla="*/ 33 w 35"/>
              <a:gd name="T49" fmla="*/ 39 h 70"/>
              <a:gd name="T50" fmla="*/ 31 w 35"/>
              <a:gd name="T51" fmla="*/ 38 h 70"/>
              <a:gd name="T52" fmla="*/ 29 w 35"/>
              <a:gd name="T53" fmla="*/ 29 h 70"/>
              <a:gd name="T54" fmla="*/ 27 w 35"/>
              <a:gd name="T55" fmla="*/ 24 h 70"/>
              <a:gd name="T56" fmla="*/ 25 w 35"/>
              <a:gd name="T57" fmla="*/ 22 h 70"/>
              <a:gd name="T58" fmla="*/ 23 w 35"/>
              <a:gd name="T59" fmla="*/ 20 h 70"/>
              <a:gd name="T60" fmla="*/ 22 w 35"/>
              <a:gd name="T61" fmla="*/ 18 h 70"/>
              <a:gd name="T62" fmla="*/ 19 w 35"/>
              <a:gd name="T63" fmla="*/ 14 h 70"/>
              <a:gd name="T64" fmla="*/ 18 w 35"/>
              <a:gd name="T65" fmla="*/ 11 h 70"/>
              <a:gd name="T66" fmla="*/ 11 w 35"/>
              <a:gd name="T67" fmla="*/ 4 h 70"/>
              <a:gd name="T68" fmla="*/ 9 w 35"/>
              <a:gd name="T69" fmla="*/ 1 h 70"/>
              <a:gd name="T70" fmla="*/ 6 w 35"/>
              <a:gd name="T71" fmla="*/ 0 h 70"/>
              <a:gd name="T72" fmla="*/ 3 w 35"/>
              <a:gd name="T73" fmla="*/ 0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35" h="70">
                <a:moveTo>
                  <a:pt x="3" y="0"/>
                </a:moveTo>
                <a:lnTo>
                  <a:pt x="2" y="1"/>
                </a:lnTo>
                <a:lnTo>
                  <a:pt x="5" y="3"/>
                </a:lnTo>
                <a:lnTo>
                  <a:pt x="7" y="4"/>
                </a:lnTo>
                <a:lnTo>
                  <a:pt x="8" y="6"/>
                </a:lnTo>
                <a:lnTo>
                  <a:pt x="7" y="5"/>
                </a:lnTo>
                <a:lnTo>
                  <a:pt x="5" y="8"/>
                </a:lnTo>
                <a:lnTo>
                  <a:pt x="5" y="12"/>
                </a:lnTo>
                <a:lnTo>
                  <a:pt x="3" y="15"/>
                </a:lnTo>
                <a:lnTo>
                  <a:pt x="2" y="31"/>
                </a:lnTo>
                <a:lnTo>
                  <a:pt x="0" y="30"/>
                </a:lnTo>
                <a:lnTo>
                  <a:pt x="0" y="31"/>
                </a:lnTo>
                <a:lnTo>
                  <a:pt x="0" y="36"/>
                </a:lnTo>
                <a:lnTo>
                  <a:pt x="3" y="54"/>
                </a:lnTo>
                <a:lnTo>
                  <a:pt x="5" y="60"/>
                </a:lnTo>
                <a:lnTo>
                  <a:pt x="7" y="65"/>
                </a:lnTo>
                <a:lnTo>
                  <a:pt x="10" y="69"/>
                </a:lnTo>
                <a:lnTo>
                  <a:pt x="15" y="70"/>
                </a:lnTo>
                <a:lnTo>
                  <a:pt x="19" y="70"/>
                </a:lnTo>
                <a:lnTo>
                  <a:pt x="27" y="65"/>
                </a:lnTo>
                <a:lnTo>
                  <a:pt x="31" y="61"/>
                </a:lnTo>
                <a:lnTo>
                  <a:pt x="33" y="55"/>
                </a:lnTo>
                <a:lnTo>
                  <a:pt x="35" y="48"/>
                </a:lnTo>
                <a:lnTo>
                  <a:pt x="35" y="41"/>
                </a:lnTo>
                <a:lnTo>
                  <a:pt x="33" y="39"/>
                </a:lnTo>
                <a:lnTo>
                  <a:pt x="31" y="38"/>
                </a:lnTo>
                <a:lnTo>
                  <a:pt x="29" y="29"/>
                </a:lnTo>
                <a:lnTo>
                  <a:pt x="27" y="24"/>
                </a:lnTo>
                <a:lnTo>
                  <a:pt x="25" y="22"/>
                </a:lnTo>
                <a:lnTo>
                  <a:pt x="23" y="20"/>
                </a:lnTo>
                <a:lnTo>
                  <a:pt x="22" y="18"/>
                </a:lnTo>
                <a:lnTo>
                  <a:pt x="19" y="14"/>
                </a:lnTo>
                <a:lnTo>
                  <a:pt x="18" y="11"/>
                </a:lnTo>
                <a:lnTo>
                  <a:pt x="11" y="4"/>
                </a:lnTo>
                <a:lnTo>
                  <a:pt x="9" y="1"/>
                </a:lnTo>
                <a:lnTo>
                  <a:pt x="6" y="0"/>
                </a:lnTo>
                <a:lnTo>
                  <a:pt x="3" y="0"/>
                </a:lnTo>
              </a:path>
            </a:pathLst>
          </a:custGeom>
          <a:solidFill>
            <a:schemeClr val="bg1">
              <a:lumMod val="50000"/>
            </a:schemeClr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94" name="Freeform 1394"/>
          <p:cNvSpPr>
            <a:spLocks/>
          </p:cNvSpPr>
          <p:nvPr/>
        </p:nvSpPr>
        <p:spPr bwMode="auto">
          <a:xfrm>
            <a:off x="4652962" y="2227228"/>
            <a:ext cx="71437" cy="44450"/>
          </a:xfrm>
          <a:custGeom>
            <a:avLst/>
            <a:gdLst>
              <a:gd name="T0" fmla="*/ 35 w 45"/>
              <a:gd name="T1" fmla="*/ 1 h 28"/>
              <a:gd name="T2" fmla="*/ 29 w 45"/>
              <a:gd name="T3" fmla="*/ 2 h 28"/>
              <a:gd name="T4" fmla="*/ 27 w 45"/>
              <a:gd name="T5" fmla="*/ 5 h 28"/>
              <a:gd name="T6" fmla="*/ 19 w 45"/>
              <a:gd name="T7" fmla="*/ 5 h 28"/>
              <a:gd name="T8" fmla="*/ 15 w 45"/>
              <a:gd name="T9" fmla="*/ 8 h 28"/>
              <a:gd name="T10" fmla="*/ 2 w 45"/>
              <a:gd name="T11" fmla="*/ 8 h 28"/>
              <a:gd name="T12" fmla="*/ 0 w 45"/>
              <a:gd name="T13" fmla="*/ 11 h 28"/>
              <a:gd name="T14" fmla="*/ 0 w 45"/>
              <a:gd name="T15" fmla="*/ 12 h 28"/>
              <a:gd name="T16" fmla="*/ 1 w 45"/>
              <a:gd name="T17" fmla="*/ 15 h 28"/>
              <a:gd name="T18" fmla="*/ 2 w 45"/>
              <a:gd name="T19" fmla="*/ 17 h 28"/>
              <a:gd name="T20" fmla="*/ 4 w 45"/>
              <a:gd name="T21" fmla="*/ 20 h 28"/>
              <a:gd name="T22" fmla="*/ 6 w 45"/>
              <a:gd name="T23" fmla="*/ 21 h 28"/>
              <a:gd name="T24" fmla="*/ 8 w 45"/>
              <a:gd name="T25" fmla="*/ 22 h 28"/>
              <a:gd name="T26" fmla="*/ 7 w 45"/>
              <a:gd name="T27" fmla="*/ 25 h 28"/>
              <a:gd name="T28" fmla="*/ 4 w 45"/>
              <a:gd name="T29" fmla="*/ 25 h 28"/>
              <a:gd name="T30" fmla="*/ 5 w 45"/>
              <a:gd name="T31" fmla="*/ 27 h 28"/>
              <a:gd name="T32" fmla="*/ 9 w 45"/>
              <a:gd name="T33" fmla="*/ 26 h 28"/>
              <a:gd name="T34" fmla="*/ 15 w 45"/>
              <a:gd name="T35" fmla="*/ 27 h 28"/>
              <a:gd name="T36" fmla="*/ 17 w 45"/>
              <a:gd name="T37" fmla="*/ 24 h 28"/>
              <a:gd name="T38" fmla="*/ 21 w 45"/>
              <a:gd name="T39" fmla="*/ 27 h 28"/>
              <a:gd name="T40" fmla="*/ 22 w 45"/>
              <a:gd name="T41" fmla="*/ 27 h 28"/>
              <a:gd name="T42" fmla="*/ 23 w 45"/>
              <a:gd name="T43" fmla="*/ 27 h 28"/>
              <a:gd name="T44" fmla="*/ 26 w 45"/>
              <a:gd name="T45" fmla="*/ 28 h 28"/>
              <a:gd name="T46" fmla="*/ 27 w 45"/>
              <a:gd name="T47" fmla="*/ 25 h 28"/>
              <a:gd name="T48" fmla="*/ 27 w 45"/>
              <a:gd name="T49" fmla="*/ 22 h 28"/>
              <a:gd name="T50" fmla="*/ 31 w 45"/>
              <a:gd name="T51" fmla="*/ 20 h 28"/>
              <a:gd name="T52" fmla="*/ 32 w 45"/>
              <a:gd name="T53" fmla="*/ 16 h 28"/>
              <a:gd name="T54" fmla="*/ 30 w 45"/>
              <a:gd name="T55" fmla="*/ 14 h 28"/>
              <a:gd name="T56" fmla="*/ 37 w 45"/>
              <a:gd name="T57" fmla="*/ 11 h 28"/>
              <a:gd name="T58" fmla="*/ 37 w 45"/>
              <a:gd name="T59" fmla="*/ 9 h 28"/>
              <a:gd name="T60" fmla="*/ 40 w 45"/>
              <a:gd name="T61" fmla="*/ 9 h 28"/>
              <a:gd name="T62" fmla="*/ 39 w 45"/>
              <a:gd name="T63" fmla="*/ 8 h 28"/>
              <a:gd name="T64" fmla="*/ 40 w 45"/>
              <a:gd name="T65" fmla="*/ 6 h 28"/>
              <a:gd name="T66" fmla="*/ 43 w 45"/>
              <a:gd name="T67" fmla="*/ 8 h 28"/>
              <a:gd name="T68" fmla="*/ 45 w 45"/>
              <a:gd name="T69" fmla="*/ 8 h 28"/>
              <a:gd name="T70" fmla="*/ 40 w 45"/>
              <a:gd name="T71" fmla="*/ 1 h 28"/>
              <a:gd name="T72" fmla="*/ 37 w 45"/>
              <a:gd name="T73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5" h="28">
                <a:moveTo>
                  <a:pt x="37" y="0"/>
                </a:moveTo>
                <a:lnTo>
                  <a:pt x="35" y="1"/>
                </a:lnTo>
                <a:lnTo>
                  <a:pt x="35" y="4"/>
                </a:lnTo>
                <a:lnTo>
                  <a:pt x="29" y="2"/>
                </a:lnTo>
                <a:lnTo>
                  <a:pt x="29" y="2"/>
                </a:lnTo>
                <a:lnTo>
                  <a:pt x="27" y="5"/>
                </a:lnTo>
                <a:lnTo>
                  <a:pt x="22" y="4"/>
                </a:lnTo>
                <a:lnTo>
                  <a:pt x="19" y="5"/>
                </a:lnTo>
                <a:lnTo>
                  <a:pt x="17" y="7"/>
                </a:lnTo>
                <a:lnTo>
                  <a:pt x="15" y="8"/>
                </a:lnTo>
                <a:lnTo>
                  <a:pt x="7" y="8"/>
                </a:lnTo>
                <a:lnTo>
                  <a:pt x="2" y="8"/>
                </a:lnTo>
                <a:lnTo>
                  <a:pt x="0" y="10"/>
                </a:lnTo>
                <a:lnTo>
                  <a:pt x="0" y="11"/>
                </a:lnTo>
                <a:lnTo>
                  <a:pt x="0" y="12"/>
                </a:lnTo>
                <a:lnTo>
                  <a:pt x="0" y="12"/>
                </a:lnTo>
                <a:lnTo>
                  <a:pt x="2" y="12"/>
                </a:lnTo>
                <a:lnTo>
                  <a:pt x="1" y="15"/>
                </a:lnTo>
                <a:lnTo>
                  <a:pt x="1" y="16"/>
                </a:lnTo>
                <a:lnTo>
                  <a:pt x="2" y="17"/>
                </a:lnTo>
                <a:lnTo>
                  <a:pt x="2" y="19"/>
                </a:lnTo>
                <a:lnTo>
                  <a:pt x="4" y="20"/>
                </a:lnTo>
                <a:lnTo>
                  <a:pt x="6" y="20"/>
                </a:lnTo>
                <a:lnTo>
                  <a:pt x="6" y="21"/>
                </a:lnTo>
                <a:lnTo>
                  <a:pt x="7" y="22"/>
                </a:lnTo>
                <a:lnTo>
                  <a:pt x="8" y="22"/>
                </a:lnTo>
                <a:lnTo>
                  <a:pt x="8" y="24"/>
                </a:lnTo>
                <a:lnTo>
                  <a:pt x="7" y="25"/>
                </a:lnTo>
                <a:lnTo>
                  <a:pt x="6" y="25"/>
                </a:lnTo>
                <a:lnTo>
                  <a:pt x="4" y="25"/>
                </a:lnTo>
                <a:lnTo>
                  <a:pt x="2" y="26"/>
                </a:lnTo>
                <a:lnTo>
                  <a:pt x="5" y="27"/>
                </a:lnTo>
                <a:lnTo>
                  <a:pt x="8" y="27"/>
                </a:lnTo>
                <a:lnTo>
                  <a:pt x="9" y="26"/>
                </a:lnTo>
                <a:lnTo>
                  <a:pt x="10" y="27"/>
                </a:lnTo>
                <a:lnTo>
                  <a:pt x="15" y="27"/>
                </a:lnTo>
                <a:lnTo>
                  <a:pt x="16" y="24"/>
                </a:lnTo>
                <a:lnTo>
                  <a:pt x="17" y="24"/>
                </a:lnTo>
                <a:lnTo>
                  <a:pt x="20" y="28"/>
                </a:lnTo>
                <a:lnTo>
                  <a:pt x="21" y="27"/>
                </a:lnTo>
                <a:lnTo>
                  <a:pt x="21" y="27"/>
                </a:lnTo>
                <a:lnTo>
                  <a:pt x="22" y="27"/>
                </a:lnTo>
                <a:lnTo>
                  <a:pt x="22" y="27"/>
                </a:lnTo>
                <a:lnTo>
                  <a:pt x="23" y="27"/>
                </a:lnTo>
                <a:lnTo>
                  <a:pt x="25" y="28"/>
                </a:lnTo>
                <a:lnTo>
                  <a:pt x="26" y="28"/>
                </a:lnTo>
                <a:lnTo>
                  <a:pt x="27" y="28"/>
                </a:lnTo>
                <a:lnTo>
                  <a:pt x="27" y="25"/>
                </a:lnTo>
                <a:lnTo>
                  <a:pt x="28" y="24"/>
                </a:lnTo>
                <a:lnTo>
                  <a:pt x="27" y="22"/>
                </a:lnTo>
                <a:lnTo>
                  <a:pt x="29" y="20"/>
                </a:lnTo>
                <a:lnTo>
                  <a:pt x="31" y="20"/>
                </a:lnTo>
                <a:lnTo>
                  <a:pt x="32" y="19"/>
                </a:lnTo>
                <a:lnTo>
                  <a:pt x="32" y="16"/>
                </a:lnTo>
                <a:lnTo>
                  <a:pt x="30" y="15"/>
                </a:lnTo>
                <a:lnTo>
                  <a:pt x="30" y="14"/>
                </a:lnTo>
                <a:lnTo>
                  <a:pt x="31" y="12"/>
                </a:lnTo>
                <a:lnTo>
                  <a:pt x="37" y="11"/>
                </a:lnTo>
                <a:lnTo>
                  <a:pt x="37" y="10"/>
                </a:lnTo>
                <a:lnTo>
                  <a:pt x="37" y="9"/>
                </a:lnTo>
                <a:lnTo>
                  <a:pt x="39" y="9"/>
                </a:lnTo>
                <a:lnTo>
                  <a:pt x="40" y="9"/>
                </a:lnTo>
                <a:lnTo>
                  <a:pt x="40" y="9"/>
                </a:lnTo>
                <a:lnTo>
                  <a:pt x="39" y="8"/>
                </a:lnTo>
                <a:lnTo>
                  <a:pt x="39" y="7"/>
                </a:lnTo>
                <a:lnTo>
                  <a:pt x="40" y="6"/>
                </a:lnTo>
                <a:lnTo>
                  <a:pt x="41" y="6"/>
                </a:lnTo>
                <a:lnTo>
                  <a:pt x="43" y="8"/>
                </a:lnTo>
                <a:lnTo>
                  <a:pt x="45" y="7"/>
                </a:lnTo>
                <a:lnTo>
                  <a:pt x="45" y="8"/>
                </a:lnTo>
                <a:lnTo>
                  <a:pt x="42" y="5"/>
                </a:lnTo>
                <a:lnTo>
                  <a:pt x="40" y="1"/>
                </a:lnTo>
                <a:lnTo>
                  <a:pt x="39" y="1"/>
                </a:lnTo>
                <a:lnTo>
                  <a:pt x="37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95" name="Freeform 1395"/>
          <p:cNvSpPr>
            <a:spLocks/>
          </p:cNvSpPr>
          <p:nvPr/>
        </p:nvSpPr>
        <p:spPr bwMode="auto">
          <a:xfrm>
            <a:off x="4652962" y="2227228"/>
            <a:ext cx="71437" cy="44450"/>
          </a:xfrm>
          <a:custGeom>
            <a:avLst/>
            <a:gdLst>
              <a:gd name="T0" fmla="*/ 35 w 45"/>
              <a:gd name="T1" fmla="*/ 1 h 28"/>
              <a:gd name="T2" fmla="*/ 29 w 45"/>
              <a:gd name="T3" fmla="*/ 2 h 28"/>
              <a:gd name="T4" fmla="*/ 27 w 45"/>
              <a:gd name="T5" fmla="*/ 5 h 28"/>
              <a:gd name="T6" fmla="*/ 19 w 45"/>
              <a:gd name="T7" fmla="*/ 5 h 28"/>
              <a:gd name="T8" fmla="*/ 15 w 45"/>
              <a:gd name="T9" fmla="*/ 8 h 28"/>
              <a:gd name="T10" fmla="*/ 2 w 45"/>
              <a:gd name="T11" fmla="*/ 8 h 28"/>
              <a:gd name="T12" fmla="*/ 0 w 45"/>
              <a:gd name="T13" fmla="*/ 11 h 28"/>
              <a:gd name="T14" fmla="*/ 0 w 45"/>
              <a:gd name="T15" fmla="*/ 12 h 28"/>
              <a:gd name="T16" fmla="*/ 1 w 45"/>
              <a:gd name="T17" fmla="*/ 15 h 28"/>
              <a:gd name="T18" fmla="*/ 2 w 45"/>
              <a:gd name="T19" fmla="*/ 17 h 28"/>
              <a:gd name="T20" fmla="*/ 4 w 45"/>
              <a:gd name="T21" fmla="*/ 20 h 28"/>
              <a:gd name="T22" fmla="*/ 6 w 45"/>
              <a:gd name="T23" fmla="*/ 21 h 28"/>
              <a:gd name="T24" fmla="*/ 8 w 45"/>
              <a:gd name="T25" fmla="*/ 22 h 28"/>
              <a:gd name="T26" fmla="*/ 7 w 45"/>
              <a:gd name="T27" fmla="*/ 25 h 28"/>
              <a:gd name="T28" fmla="*/ 4 w 45"/>
              <a:gd name="T29" fmla="*/ 25 h 28"/>
              <a:gd name="T30" fmla="*/ 5 w 45"/>
              <a:gd name="T31" fmla="*/ 27 h 28"/>
              <a:gd name="T32" fmla="*/ 9 w 45"/>
              <a:gd name="T33" fmla="*/ 26 h 28"/>
              <a:gd name="T34" fmla="*/ 15 w 45"/>
              <a:gd name="T35" fmla="*/ 27 h 28"/>
              <a:gd name="T36" fmla="*/ 17 w 45"/>
              <a:gd name="T37" fmla="*/ 24 h 28"/>
              <a:gd name="T38" fmla="*/ 21 w 45"/>
              <a:gd name="T39" fmla="*/ 27 h 28"/>
              <a:gd name="T40" fmla="*/ 22 w 45"/>
              <a:gd name="T41" fmla="*/ 27 h 28"/>
              <a:gd name="T42" fmla="*/ 23 w 45"/>
              <a:gd name="T43" fmla="*/ 27 h 28"/>
              <a:gd name="T44" fmla="*/ 26 w 45"/>
              <a:gd name="T45" fmla="*/ 28 h 28"/>
              <a:gd name="T46" fmla="*/ 27 w 45"/>
              <a:gd name="T47" fmla="*/ 25 h 28"/>
              <a:gd name="T48" fmla="*/ 27 w 45"/>
              <a:gd name="T49" fmla="*/ 22 h 28"/>
              <a:gd name="T50" fmla="*/ 31 w 45"/>
              <a:gd name="T51" fmla="*/ 20 h 28"/>
              <a:gd name="T52" fmla="*/ 32 w 45"/>
              <a:gd name="T53" fmla="*/ 16 h 28"/>
              <a:gd name="T54" fmla="*/ 30 w 45"/>
              <a:gd name="T55" fmla="*/ 14 h 28"/>
              <a:gd name="T56" fmla="*/ 37 w 45"/>
              <a:gd name="T57" fmla="*/ 11 h 28"/>
              <a:gd name="T58" fmla="*/ 37 w 45"/>
              <a:gd name="T59" fmla="*/ 9 h 28"/>
              <a:gd name="T60" fmla="*/ 40 w 45"/>
              <a:gd name="T61" fmla="*/ 9 h 28"/>
              <a:gd name="T62" fmla="*/ 39 w 45"/>
              <a:gd name="T63" fmla="*/ 8 h 28"/>
              <a:gd name="T64" fmla="*/ 40 w 45"/>
              <a:gd name="T65" fmla="*/ 6 h 28"/>
              <a:gd name="T66" fmla="*/ 43 w 45"/>
              <a:gd name="T67" fmla="*/ 8 h 28"/>
              <a:gd name="T68" fmla="*/ 45 w 45"/>
              <a:gd name="T69" fmla="*/ 8 h 28"/>
              <a:gd name="T70" fmla="*/ 40 w 45"/>
              <a:gd name="T71" fmla="*/ 1 h 28"/>
              <a:gd name="T72" fmla="*/ 37 w 45"/>
              <a:gd name="T73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5" h="28">
                <a:moveTo>
                  <a:pt x="37" y="0"/>
                </a:moveTo>
                <a:lnTo>
                  <a:pt x="35" y="1"/>
                </a:lnTo>
                <a:lnTo>
                  <a:pt x="35" y="4"/>
                </a:lnTo>
                <a:lnTo>
                  <a:pt x="29" y="2"/>
                </a:lnTo>
                <a:lnTo>
                  <a:pt x="29" y="2"/>
                </a:lnTo>
                <a:lnTo>
                  <a:pt x="27" y="5"/>
                </a:lnTo>
                <a:lnTo>
                  <a:pt x="22" y="4"/>
                </a:lnTo>
                <a:lnTo>
                  <a:pt x="19" y="5"/>
                </a:lnTo>
                <a:lnTo>
                  <a:pt x="17" y="7"/>
                </a:lnTo>
                <a:lnTo>
                  <a:pt x="15" y="8"/>
                </a:lnTo>
                <a:lnTo>
                  <a:pt x="7" y="8"/>
                </a:lnTo>
                <a:lnTo>
                  <a:pt x="2" y="8"/>
                </a:lnTo>
                <a:lnTo>
                  <a:pt x="0" y="10"/>
                </a:lnTo>
                <a:lnTo>
                  <a:pt x="0" y="11"/>
                </a:lnTo>
                <a:lnTo>
                  <a:pt x="0" y="12"/>
                </a:lnTo>
                <a:lnTo>
                  <a:pt x="0" y="12"/>
                </a:lnTo>
                <a:lnTo>
                  <a:pt x="2" y="12"/>
                </a:lnTo>
                <a:lnTo>
                  <a:pt x="1" y="15"/>
                </a:lnTo>
                <a:lnTo>
                  <a:pt x="1" y="16"/>
                </a:lnTo>
                <a:lnTo>
                  <a:pt x="2" y="17"/>
                </a:lnTo>
                <a:lnTo>
                  <a:pt x="2" y="19"/>
                </a:lnTo>
                <a:lnTo>
                  <a:pt x="4" y="20"/>
                </a:lnTo>
                <a:lnTo>
                  <a:pt x="6" y="20"/>
                </a:lnTo>
                <a:lnTo>
                  <a:pt x="6" y="21"/>
                </a:lnTo>
                <a:lnTo>
                  <a:pt x="7" y="22"/>
                </a:lnTo>
                <a:lnTo>
                  <a:pt x="8" y="22"/>
                </a:lnTo>
                <a:lnTo>
                  <a:pt x="8" y="24"/>
                </a:lnTo>
                <a:lnTo>
                  <a:pt x="7" y="25"/>
                </a:lnTo>
                <a:lnTo>
                  <a:pt x="6" y="25"/>
                </a:lnTo>
                <a:lnTo>
                  <a:pt x="4" y="25"/>
                </a:lnTo>
                <a:lnTo>
                  <a:pt x="2" y="26"/>
                </a:lnTo>
                <a:lnTo>
                  <a:pt x="5" y="27"/>
                </a:lnTo>
                <a:lnTo>
                  <a:pt x="8" y="27"/>
                </a:lnTo>
                <a:lnTo>
                  <a:pt x="9" y="26"/>
                </a:lnTo>
                <a:lnTo>
                  <a:pt x="10" y="27"/>
                </a:lnTo>
                <a:lnTo>
                  <a:pt x="15" y="27"/>
                </a:lnTo>
                <a:lnTo>
                  <a:pt x="16" y="24"/>
                </a:lnTo>
                <a:lnTo>
                  <a:pt x="17" y="24"/>
                </a:lnTo>
                <a:lnTo>
                  <a:pt x="20" y="28"/>
                </a:lnTo>
                <a:lnTo>
                  <a:pt x="21" y="27"/>
                </a:lnTo>
                <a:lnTo>
                  <a:pt x="21" y="27"/>
                </a:lnTo>
                <a:lnTo>
                  <a:pt x="22" y="27"/>
                </a:lnTo>
                <a:lnTo>
                  <a:pt x="22" y="27"/>
                </a:lnTo>
                <a:lnTo>
                  <a:pt x="23" y="27"/>
                </a:lnTo>
                <a:lnTo>
                  <a:pt x="25" y="28"/>
                </a:lnTo>
                <a:lnTo>
                  <a:pt x="26" y="28"/>
                </a:lnTo>
                <a:lnTo>
                  <a:pt x="27" y="28"/>
                </a:lnTo>
                <a:lnTo>
                  <a:pt x="27" y="25"/>
                </a:lnTo>
                <a:lnTo>
                  <a:pt x="28" y="24"/>
                </a:lnTo>
                <a:lnTo>
                  <a:pt x="27" y="22"/>
                </a:lnTo>
                <a:lnTo>
                  <a:pt x="29" y="20"/>
                </a:lnTo>
                <a:lnTo>
                  <a:pt x="31" y="20"/>
                </a:lnTo>
                <a:lnTo>
                  <a:pt x="32" y="19"/>
                </a:lnTo>
                <a:lnTo>
                  <a:pt x="32" y="16"/>
                </a:lnTo>
                <a:lnTo>
                  <a:pt x="30" y="15"/>
                </a:lnTo>
                <a:lnTo>
                  <a:pt x="30" y="14"/>
                </a:lnTo>
                <a:lnTo>
                  <a:pt x="31" y="12"/>
                </a:lnTo>
                <a:lnTo>
                  <a:pt x="37" y="11"/>
                </a:lnTo>
                <a:lnTo>
                  <a:pt x="37" y="10"/>
                </a:lnTo>
                <a:lnTo>
                  <a:pt x="37" y="9"/>
                </a:lnTo>
                <a:lnTo>
                  <a:pt x="39" y="9"/>
                </a:lnTo>
                <a:lnTo>
                  <a:pt x="40" y="9"/>
                </a:lnTo>
                <a:lnTo>
                  <a:pt x="40" y="9"/>
                </a:lnTo>
                <a:lnTo>
                  <a:pt x="39" y="8"/>
                </a:lnTo>
                <a:lnTo>
                  <a:pt x="39" y="7"/>
                </a:lnTo>
                <a:lnTo>
                  <a:pt x="40" y="6"/>
                </a:lnTo>
                <a:lnTo>
                  <a:pt x="41" y="6"/>
                </a:lnTo>
                <a:lnTo>
                  <a:pt x="43" y="8"/>
                </a:lnTo>
                <a:lnTo>
                  <a:pt x="45" y="7"/>
                </a:lnTo>
                <a:lnTo>
                  <a:pt x="45" y="8"/>
                </a:lnTo>
                <a:lnTo>
                  <a:pt x="42" y="5"/>
                </a:lnTo>
                <a:lnTo>
                  <a:pt x="40" y="1"/>
                </a:lnTo>
                <a:lnTo>
                  <a:pt x="39" y="1"/>
                </a:lnTo>
                <a:lnTo>
                  <a:pt x="37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96" name="Freeform 1396"/>
          <p:cNvSpPr>
            <a:spLocks/>
          </p:cNvSpPr>
          <p:nvPr/>
        </p:nvSpPr>
        <p:spPr bwMode="auto">
          <a:xfrm>
            <a:off x="4826000" y="2357403"/>
            <a:ext cx="58737" cy="42863"/>
          </a:xfrm>
          <a:custGeom>
            <a:avLst/>
            <a:gdLst>
              <a:gd name="T0" fmla="*/ 9 w 37"/>
              <a:gd name="T1" fmla="*/ 27 h 27"/>
              <a:gd name="T2" fmla="*/ 3 w 37"/>
              <a:gd name="T3" fmla="*/ 23 h 27"/>
              <a:gd name="T4" fmla="*/ 1 w 37"/>
              <a:gd name="T5" fmla="*/ 17 h 27"/>
              <a:gd name="T6" fmla="*/ 0 w 37"/>
              <a:gd name="T7" fmla="*/ 14 h 27"/>
              <a:gd name="T8" fmla="*/ 1 w 37"/>
              <a:gd name="T9" fmla="*/ 5 h 27"/>
              <a:gd name="T10" fmla="*/ 2 w 37"/>
              <a:gd name="T11" fmla="*/ 5 h 27"/>
              <a:gd name="T12" fmla="*/ 2 w 37"/>
              <a:gd name="T13" fmla="*/ 5 h 27"/>
              <a:gd name="T14" fmla="*/ 3 w 37"/>
              <a:gd name="T15" fmla="*/ 4 h 27"/>
              <a:gd name="T16" fmla="*/ 3 w 37"/>
              <a:gd name="T17" fmla="*/ 2 h 27"/>
              <a:gd name="T18" fmla="*/ 8 w 37"/>
              <a:gd name="T19" fmla="*/ 0 h 27"/>
              <a:gd name="T20" fmla="*/ 9 w 37"/>
              <a:gd name="T21" fmla="*/ 0 h 27"/>
              <a:gd name="T22" fmla="*/ 11 w 37"/>
              <a:gd name="T23" fmla="*/ 3 h 27"/>
              <a:gd name="T24" fmla="*/ 11 w 37"/>
              <a:gd name="T25" fmla="*/ 3 h 27"/>
              <a:gd name="T26" fmla="*/ 11 w 37"/>
              <a:gd name="T27" fmla="*/ 2 h 27"/>
              <a:gd name="T28" fmla="*/ 13 w 37"/>
              <a:gd name="T29" fmla="*/ 0 h 27"/>
              <a:gd name="T30" fmla="*/ 18 w 37"/>
              <a:gd name="T31" fmla="*/ 2 h 27"/>
              <a:gd name="T32" fmla="*/ 19 w 37"/>
              <a:gd name="T33" fmla="*/ 0 h 27"/>
              <a:gd name="T34" fmla="*/ 22 w 37"/>
              <a:gd name="T35" fmla="*/ 0 h 27"/>
              <a:gd name="T36" fmla="*/ 25 w 37"/>
              <a:gd name="T37" fmla="*/ 0 h 27"/>
              <a:gd name="T38" fmla="*/ 27 w 37"/>
              <a:gd name="T39" fmla="*/ 2 h 27"/>
              <a:gd name="T40" fmla="*/ 33 w 37"/>
              <a:gd name="T41" fmla="*/ 6 h 27"/>
              <a:gd name="T42" fmla="*/ 35 w 37"/>
              <a:gd name="T43" fmla="*/ 13 h 27"/>
              <a:gd name="T44" fmla="*/ 37 w 37"/>
              <a:gd name="T45" fmla="*/ 17 h 27"/>
              <a:gd name="T46" fmla="*/ 34 w 37"/>
              <a:gd name="T47" fmla="*/ 18 h 27"/>
              <a:gd name="T48" fmla="*/ 31 w 37"/>
              <a:gd name="T49" fmla="*/ 21 h 27"/>
              <a:gd name="T50" fmla="*/ 25 w 37"/>
              <a:gd name="T51" fmla="*/ 21 h 27"/>
              <a:gd name="T52" fmla="*/ 21 w 37"/>
              <a:gd name="T53" fmla="*/ 23 h 27"/>
              <a:gd name="T54" fmla="*/ 19 w 37"/>
              <a:gd name="T55" fmla="*/ 25 h 27"/>
              <a:gd name="T56" fmla="*/ 9 w 37"/>
              <a:gd name="T57" fmla="*/ 27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7" h="27">
                <a:moveTo>
                  <a:pt x="9" y="27"/>
                </a:moveTo>
                <a:lnTo>
                  <a:pt x="3" y="23"/>
                </a:lnTo>
                <a:lnTo>
                  <a:pt x="1" y="17"/>
                </a:lnTo>
                <a:lnTo>
                  <a:pt x="0" y="14"/>
                </a:lnTo>
                <a:lnTo>
                  <a:pt x="1" y="5"/>
                </a:lnTo>
                <a:lnTo>
                  <a:pt x="2" y="5"/>
                </a:lnTo>
                <a:lnTo>
                  <a:pt x="2" y="5"/>
                </a:lnTo>
                <a:lnTo>
                  <a:pt x="3" y="4"/>
                </a:lnTo>
                <a:lnTo>
                  <a:pt x="3" y="2"/>
                </a:lnTo>
                <a:lnTo>
                  <a:pt x="8" y="0"/>
                </a:lnTo>
                <a:lnTo>
                  <a:pt x="9" y="0"/>
                </a:lnTo>
                <a:lnTo>
                  <a:pt x="11" y="3"/>
                </a:lnTo>
                <a:lnTo>
                  <a:pt x="11" y="3"/>
                </a:lnTo>
                <a:lnTo>
                  <a:pt x="11" y="2"/>
                </a:lnTo>
                <a:lnTo>
                  <a:pt x="13" y="0"/>
                </a:lnTo>
                <a:lnTo>
                  <a:pt x="18" y="2"/>
                </a:lnTo>
                <a:lnTo>
                  <a:pt x="19" y="0"/>
                </a:lnTo>
                <a:lnTo>
                  <a:pt x="22" y="0"/>
                </a:lnTo>
                <a:lnTo>
                  <a:pt x="25" y="0"/>
                </a:lnTo>
                <a:lnTo>
                  <a:pt x="27" y="2"/>
                </a:lnTo>
                <a:lnTo>
                  <a:pt x="33" y="6"/>
                </a:lnTo>
                <a:lnTo>
                  <a:pt x="35" y="13"/>
                </a:lnTo>
                <a:lnTo>
                  <a:pt x="37" y="17"/>
                </a:lnTo>
                <a:lnTo>
                  <a:pt x="34" y="18"/>
                </a:lnTo>
                <a:lnTo>
                  <a:pt x="31" y="21"/>
                </a:lnTo>
                <a:lnTo>
                  <a:pt x="25" y="21"/>
                </a:lnTo>
                <a:lnTo>
                  <a:pt x="21" y="23"/>
                </a:lnTo>
                <a:lnTo>
                  <a:pt x="19" y="25"/>
                </a:lnTo>
                <a:lnTo>
                  <a:pt x="9" y="27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97" name="Freeform 1397"/>
          <p:cNvSpPr>
            <a:spLocks/>
          </p:cNvSpPr>
          <p:nvPr/>
        </p:nvSpPr>
        <p:spPr bwMode="auto">
          <a:xfrm>
            <a:off x="4826000" y="2357403"/>
            <a:ext cx="58737" cy="42863"/>
          </a:xfrm>
          <a:custGeom>
            <a:avLst/>
            <a:gdLst>
              <a:gd name="T0" fmla="*/ 9 w 37"/>
              <a:gd name="T1" fmla="*/ 27 h 27"/>
              <a:gd name="T2" fmla="*/ 3 w 37"/>
              <a:gd name="T3" fmla="*/ 23 h 27"/>
              <a:gd name="T4" fmla="*/ 1 w 37"/>
              <a:gd name="T5" fmla="*/ 17 h 27"/>
              <a:gd name="T6" fmla="*/ 0 w 37"/>
              <a:gd name="T7" fmla="*/ 14 h 27"/>
              <a:gd name="T8" fmla="*/ 1 w 37"/>
              <a:gd name="T9" fmla="*/ 5 h 27"/>
              <a:gd name="T10" fmla="*/ 2 w 37"/>
              <a:gd name="T11" fmla="*/ 5 h 27"/>
              <a:gd name="T12" fmla="*/ 2 w 37"/>
              <a:gd name="T13" fmla="*/ 5 h 27"/>
              <a:gd name="T14" fmla="*/ 3 w 37"/>
              <a:gd name="T15" fmla="*/ 4 h 27"/>
              <a:gd name="T16" fmla="*/ 3 w 37"/>
              <a:gd name="T17" fmla="*/ 2 h 27"/>
              <a:gd name="T18" fmla="*/ 8 w 37"/>
              <a:gd name="T19" fmla="*/ 0 h 27"/>
              <a:gd name="T20" fmla="*/ 9 w 37"/>
              <a:gd name="T21" fmla="*/ 0 h 27"/>
              <a:gd name="T22" fmla="*/ 11 w 37"/>
              <a:gd name="T23" fmla="*/ 3 h 27"/>
              <a:gd name="T24" fmla="*/ 11 w 37"/>
              <a:gd name="T25" fmla="*/ 3 h 27"/>
              <a:gd name="T26" fmla="*/ 11 w 37"/>
              <a:gd name="T27" fmla="*/ 2 h 27"/>
              <a:gd name="T28" fmla="*/ 13 w 37"/>
              <a:gd name="T29" fmla="*/ 0 h 27"/>
              <a:gd name="T30" fmla="*/ 18 w 37"/>
              <a:gd name="T31" fmla="*/ 2 h 27"/>
              <a:gd name="T32" fmla="*/ 19 w 37"/>
              <a:gd name="T33" fmla="*/ 0 h 27"/>
              <a:gd name="T34" fmla="*/ 22 w 37"/>
              <a:gd name="T35" fmla="*/ 0 h 27"/>
              <a:gd name="T36" fmla="*/ 25 w 37"/>
              <a:gd name="T37" fmla="*/ 0 h 27"/>
              <a:gd name="T38" fmla="*/ 27 w 37"/>
              <a:gd name="T39" fmla="*/ 2 h 27"/>
              <a:gd name="T40" fmla="*/ 33 w 37"/>
              <a:gd name="T41" fmla="*/ 6 h 27"/>
              <a:gd name="T42" fmla="*/ 35 w 37"/>
              <a:gd name="T43" fmla="*/ 13 h 27"/>
              <a:gd name="T44" fmla="*/ 37 w 37"/>
              <a:gd name="T45" fmla="*/ 17 h 27"/>
              <a:gd name="T46" fmla="*/ 34 w 37"/>
              <a:gd name="T47" fmla="*/ 18 h 27"/>
              <a:gd name="T48" fmla="*/ 31 w 37"/>
              <a:gd name="T49" fmla="*/ 21 h 27"/>
              <a:gd name="T50" fmla="*/ 25 w 37"/>
              <a:gd name="T51" fmla="*/ 21 h 27"/>
              <a:gd name="T52" fmla="*/ 21 w 37"/>
              <a:gd name="T53" fmla="*/ 23 h 27"/>
              <a:gd name="T54" fmla="*/ 19 w 37"/>
              <a:gd name="T55" fmla="*/ 25 h 27"/>
              <a:gd name="T56" fmla="*/ 9 w 37"/>
              <a:gd name="T57" fmla="*/ 27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7" h="27">
                <a:moveTo>
                  <a:pt x="9" y="27"/>
                </a:moveTo>
                <a:lnTo>
                  <a:pt x="3" y="23"/>
                </a:lnTo>
                <a:lnTo>
                  <a:pt x="1" y="17"/>
                </a:lnTo>
                <a:lnTo>
                  <a:pt x="0" y="14"/>
                </a:lnTo>
                <a:lnTo>
                  <a:pt x="1" y="5"/>
                </a:lnTo>
                <a:lnTo>
                  <a:pt x="2" y="5"/>
                </a:lnTo>
                <a:lnTo>
                  <a:pt x="2" y="5"/>
                </a:lnTo>
                <a:lnTo>
                  <a:pt x="3" y="4"/>
                </a:lnTo>
                <a:lnTo>
                  <a:pt x="3" y="2"/>
                </a:lnTo>
                <a:lnTo>
                  <a:pt x="8" y="0"/>
                </a:lnTo>
                <a:lnTo>
                  <a:pt x="9" y="0"/>
                </a:lnTo>
                <a:lnTo>
                  <a:pt x="11" y="3"/>
                </a:lnTo>
                <a:lnTo>
                  <a:pt x="11" y="3"/>
                </a:lnTo>
                <a:lnTo>
                  <a:pt x="11" y="2"/>
                </a:lnTo>
                <a:lnTo>
                  <a:pt x="13" y="0"/>
                </a:lnTo>
                <a:lnTo>
                  <a:pt x="18" y="2"/>
                </a:lnTo>
                <a:lnTo>
                  <a:pt x="19" y="0"/>
                </a:lnTo>
                <a:lnTo>
                  <a:pt x="22" y="0"/>
                </a:lnTo>
                <a:lnTo>
                  <a:pt x="25" y="0"/>
                </a:lnTo>
                <a:lnTo>
                  <a:pt x="27" y="2"/>
                </a:lnTo>
                <a:lnTo>
                  <a:pt x="33" y="6"/>
                </a:lnTo>
                <a:lnTo>
                  <a:pt x="35" y="13"/>
                </a:lnTo>
                <a:lnTo>
                  <a:pt x="37" y="17"/>
                </a:lnTo>
                <a:lnTo>
                  <a:pt x="34" y="18"/>
                </a:lnTo>
                <a:lnTo>
                  <a:pt x="31" y="21"/>
                </a:lnTo>
                <a:lnTo>
                  <a:pt x="25" y="21"/>
                </a:lnTo>
                <a:lnTo>
                  <a:pt x="21" y="23"/>
                </a:lnTo>
                <a:lnTo>
                  <a:pt x="19" y="25"/>
                </a:lnTo>
                <a:lnTo>
                  <a:pt x="9" y="27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98" name="Freeform 1398"/>
          <p:cNvSpPr>
            <a:spLocks/>
          </p:cNvSpPr>
          <p:nvPr/>
        </p:nvSpPr>
        <p:spPr bwMode="auto">
          <a:xfrm>
            <a:off x="6853237" y="2928903"/>
            <a:ext cx="206375" cy="244475"/>
          </a:xfrm>
          <a:custGeom>
            <a:avLst/>
            <a:gdLst>
              <a:gd name="T0" fmla="*/ 34 w 130"/>
              <a:gd name="T1" fmla="*/ 12 h 154"/>
              <a:gd name="T2" fmla="*/ 40 w 130"/>
              <a:gd name="T3" fmla="*/ 22 h 154"/>
              <a:gd name="T4" fmla="*/ 51 w 130"/>
              <a:gd name="T5" fmla="*/ 30 h 154"/>
              <a:gd name="T6" fmla="*/ 66 w 130"/>
              <a:gd name="T7" fmla="*/ 32 h 154"/>
              <a:gd name="T8" fmla="*/ 70 w 130"/>
              <a:gd name="T9" fmla="*/ 39 h 154"/>
              <a:gd name="T10" fmla="*/ 74 w 130"/>
              <a:gd name="T11" fmla="*/ 47 h 154"/>
              <a:gd name="T12" fmla="*/ 66 w 130"/>
              <a:gd name="T13" fmla="*/ 51 h 154"/>
              <a:gd name="T14" fmla="*/ 62 w 130"/>
              <a:gd name="T15" fmla="*/ 57 h 154"/>
              <a:gd name="T16" fmla="*/ 68 w 130"/>
              <a:gd name="T17" fmla="*/ 61 h 154"/>
              <a:gd name="T18" fmla="*/ 84 w 130"/>
              <a:gd name="T19" fmla="*/ 74 h 154"/>
              <a:gd name="T20" fmla="*/ 99 w 130"/>
              <a:gd name="T21" fmla="*/ 90 h 154"/>
              <a:gd name="T22" fmla="*/ 108 w 130"/>
              <a:gd name="T23" fmla="*/ 99 h 154"/>
              <a:gd name="T24" fmla="*/ 110 w 130"/>
              <a:gd name="T25" fmla="*/ 104 h 154"/>
              <a:gd name="T26" fmla="*/ 119 w 130"/>
              <a:gd name="T27" fmla="*/ 111 h 154"/>
              <a:gd name="T28" fmla="*/ 128 w 130"/>
              <a:gd name="T29" fmla="*/ 129 h 154"/>
              <a:gd name="T30" fmla="*/ 129 w 130"/>
              <a:gd name="T31" fmla="*/ 143 h 154"/>
              <a:gd name="T32" fmla="*/ 121 w 130"/>
              <a:gd name="T33" fmla="*/ 148 h 154"/>
              <a:gd name="T34" fmla="*/ 113 w 130"/>
              <a:gd name="T35" fmla="*/ 146 h 154"/>
              <a:gd name="T36" fmla="*/ 107 w 130"/>
              <a:gd name="T37" fmla="*/ 154 h 154"/>
              <a:gd name="T38" fmla="*/ 95 w 130"/>
              <a:gd name="T39" fmla="*/ 150 h 154"/>
              <a:gd name="T40" fmla="*/ 99 w 130"/>
              <a:gd name="T41" fmla="*/ 145 h 154"/>
              <a:gd name="T42" fmla="*/ 97 w 130"/>
              <a:gd name="T43" fmla="*/ 125 h 154"/>
              <a:gd name="T44" fmla="*/ 92 w 130"/>
              <a:gd name="T45" fmla="*/ 120 h 154"/>
              <a:gd name="T46" fmla="*/ 85 w 130"/>
              <a:gd name="T47" fmla="*/ 115 h 154"/>
              <a:gd name="T48" fmla="*/ 81 w 130"/>
              <a:gd name="T49" fmla="*/ 101 h 154"/>
              <a:gd name="T50" fmla="*/ 77 w 130"/>
              <a:gd name="T51" fmla="*/ 90 h 154"/>
              <a:gd name="T52" fmla="*/ 71 w 130"/>
              <a:gd name="T53" fmla="*/ 84 h 154"/>
              <a:gd name="T54" fmla="*/ 62 w 130"/>
              <a:gd name="T55" fmla="*/ 74 h 154"/>
              <a:gd name="T56" fmla="*/ 52 w 130"/>
              <a:gd name="T57" fmla="*/ 75 h 154"/>
              <a:gd name="T58" fmla="*/ 49 w 130"/>
              <a:gd name="T59" fmla="*/ 81 h 154"/>
              <a:gd name="T60" fmla="*/ 40 w 130"/>
              <a:gd name="T61" fmla="*/ 81 h 154"/>
              <a:gd name="T62" fmla="*/ 33 w 130"/>
              <a:gd name="T63" fmla="*/ 79 h 154"/>
              <a:gd name="T64" fmla="*/ 23 w 130"/>
              <a:gd name="T65" fmla="*/ 85 h 154"/>
              <a:gd name="T66" fmla="*/ 20 w 130"/>
              <a:gd name="T67" fmla="*/ 88 h 154"/>
              <a:gd name="T68" fmla="*/ 19 w 130"/>
              <a:gd name="T69" fmla="*/ 72 h 154"/>
              <a:gd name="T70" fmla="*/ 20 w 130"/>
              <a:gd name="T71" fmla="*/ 63 h 154"/>
              <a:gd name="T72" fmla="*/ 17 w 130"/>
              <a:gd name="T73" fmla="*/ 51 h 154"/>
              <a:gd name="T74" fmla="*/ 8 w 130"/>
              <a:gd name="T75" fmla="*/ 50 h 154"/>
              <a:gd name="T76" fmla="*/ 3 w 130"/>
              <a:gd name="T77" fmla="*/ 38 h 154"/>
              <a:gd name="T78" fmla="*/ 0 w 130"/>
              <a:gd name="T79" fmla="*/ 34 h 154"/>
              <a:gd name="T80" fmla="*/ 1 w 130"/>
              <a:gd name="T81" fmla="*/ 31 h 154"/>
              <a:gd name="T82" fmla="*/ 6 w 130"/>
              <a:gd name="T83" fmla="*/ 29 h 154"/>
              <a:gd name="T84" fmla="*/ 11 w 130"/>
              <a:gd name="T85" fmla="*/ 19 h 154"/>
              <a:gd name="T86" fmla="*/ 16 w 130"/>
              <a:gd name="T87" fmla="*/ 23 h 154"/>
              <a:gd name="T88" fmla="*/ 21 w 130"/>
              <a:gd name="T89" fmla="*/ 17 h 154"/>
              <a:gd name="T90" fmla="*/ 17 w 130"/>
              <a:gd name="T91" fmla="*/ 2 h 154"/>
              <a:gd name="T92" fmla="*/ 24 w 130"/>
              <a:gd name="T93" fmla="*/ 1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30" h="154">
                <a:moveTo>
                  <a:pt x="24" y="1"/>
                </a:moveTo>
                <a:lnTo>
                  <a:pt x="29" y="6"/>
                </a:lnTo>
                <a:lnTo>
                  <a:pt x="34" y="12"/>
                </a:lnTo>
                <a:lnTo>
                  <a:pt x="38" y="14"/>
                </a:lnTo>
                <a:lnTo>
                  <a:pt x="40" y="18"/>
                </a:lnTo>
                <a:lnTo>
                  <a:pt x="40" y="22"/>
                </a:lnTo>
                <a:lnTo>
                  <a:pt x="41" y="24"/>
                </a:lnTo>
                <a:lnTo>
                  <a:pt x="46" y="29"/>
                </a:lnTo>
                <a:lnTo>
                  <a:pt x="51" y="30"/>
                </a:lnTo>
                <a:lnTo>
                  <a:pt x="57" y="29"/>
                </a:lnTo>
                <a:lnTo>
                  <a:pt x="61" y="29"/>
                </a:lnTo>
                <a:lnTo>
                  <a:pt x="66" y="32"/>
                </a:lnTo>
                <a:lnTo>
                  <a:pt x="67" y="35"/>
                </a:lnTo>
                <a:lnTo>
                  <a:pt x="68" y="38"/>
                </a:lnTo>
                <a:lnTo>
                  <a:pt x="70" y="39"/>
                </a:lnTo>
                <a:lnTo>
                  <a:pt x="72" y="42"/>
                </a:lnTo>
                <a:lnTo>
                  <a:pt x="73" y="44"/>
                </a:lnTo>
                <a:lnTo>
                  <a:pt x="74" y="47"/>
                </a:lnTo>
                <a:lnTo>
                  <a:pt x="70" y="51"/>
                </a:lnTo>
                <a:lnTo>
                  <a:pt x="69" y="52"/>
                </a:lnTo>
                <a:lnTo>
                  <a:pt x="66" y="51"/>
                </a:lnTo>
                <a:lnTo>
                  <a:pt x="63" y="51"/>
                </a:lnTo>
                <a:lnTo>
                  <a:pt x="62" y="53"/>
                </a:lnTo>
                <a:lnTo>
                  <a:pt x="62" y="57"/>
                </a:lnTo>
                <a:lnTo>
                  <a:pt x="63" y="58"/>
                </a:lnTo>
                <a:lnTo>
                  <a:pt x="64" y="59"/>
                </a:lnTo>
                <a:lnTo>
                  <a:pt x="68" y="61"/>
                </a:lnTo>
                <a:lnTo>
                  <a:pt x="73" y="64"/>
                </a:lnTo>
                <a:lnTo>
                  <a:pt x="82" y="70"/>
                </a:lnTo>
                <a:lnTo>
                  <a:pt x="84" y="74"/>
                </a:lnTo>
                <a:lnTo>
                  <a:pt x="91" y="81"/>
                </a:lnTo>
                <a:lnTo>
                  <a:pt x="93" y="84"/>
                </a:lnTo>
                <a:lnTo>
                  <a:pt x="99" y="90"/>
                </a:lnTo>
                <a:lnTo>
                  <a:pt x="101" y="91"/>
                </a:lnTo>
                <a:lnTo>
                  <a:pt x="105" y="94"/>
                </a:lnTo>
                <a:lnTo>
                  <a:pt x="108" y="99"/>
                </a:lnTo>
                <a:lnTo>
                  <a:pt x="110" y="103"/>
                </a:lnTo>
                <a:lnTo>
                  <a:pt x="109" y="103"/>
                </a:lnTo>
                <a:lnTo>
                  <a:pt x="110" y="104"/>
                </a:lnTo>
                <a:lnTo>
                  <a:pt x="111" y="108"/>
                </a:lnTo>
                <a:lnTo>
                  <a:pt x="114" y="108"/>
                </a:lnTo>
                <a:lnTo>
                  <a:pt x="119" y="111"/>
                </a:lnTo>
                <a:lnTo>
                  <a:pt x="121" y="114"/>
                </a:lnTo>
                <a:lnTo>
                  <a:pt x="123" y="120"/>
                </a:lnTo>
                <a:lnTo>
                  <a:pt x="128" y="129"/>
                </a:lnTo>
                <a:lnTo>
                  <a:pt x="129" y="131"/>
                </a:lnTo>
                <a:lnTo>
                  <a:pt x="130" y="142"/>
                </a:lnTo>
                <a:lnTo>
                  <a:pt x="129" y="143"/>
                </a:lnTo>
                <a:lnTo>
                  <a:pt x="127" y="146"/>
                </a:lnTo>
                <a:lnTo>
                  <a:pt x="123" y="148"/>
                </a:lnTo>
                <a:lnTo>
                  <a:pt x="121" y="148"/>
                </a:lnTo>
                <a:lnTo>
                  <a:pt x="119" y="145"/>
                </a:lnTo>
                <a:lnTo>
                  <a:pt x="117" y="145"/>
                </a:lnTo>
                <a:lnTo>
                  <a:pt x="113" y="146"/>
                </a:lnTo>
                <a:lnTo>
                  <a:pt x="109" y="149"/>
                </a:lnTo>
                <a:lnTo>
                  <a:pt x="109" y="154"/>
                </a:lnTo>
                <a:lnTo>
                  <a:pt x="107" y="154"/>
                </a:lnTo>
                <a:lnTo>
                  <a:pt x="103" y="153"/>
                </a:lnTo>
                <a:lnTo>
                  <a:pt x="98" y="152"/>
                </a:lnTo>
                <a:lnTo>
                  <a:pt x="95" y="150"/>
                </a:lnTo>
                <a:lnTo>
                  <a:pt x="95" y="149"/>
                </a:lnTo>
                <a:lnTo>
                  <a:pt x="97" y="149"/>
                </a:lnTo>
                <a:lnTo>
                  <a:pt x="99" y="145"/>
                </a:lnTo>
                <a:lnTo>
                  <a:pt x="97" y="131"/>
                </a:lnTo>
                <a:lnTo>
                  <a:pt x="98" y="128"/>
                </a:lnTo>
                <a:lnTo>
                  <a:pt x="97" y="125"/>
                </a:lnTo>
                <a:lnTo>
                  <a:pt x="95" y="123"/>
                </a:lnTo>
                <a:lnTo>
                  <a:pt x="94" y="121"/>
                </a:lnTo>
                <a:lnTo>
                  <a:pt x="92" y="120"/>
                </a:lnTo>
                <a:lnTo>
                  <a:pt x="91" y="118"/>
                </a:lnTo>
                <a:lnTo>
                  <a:pt x="88" y="116"/>
                </a:lnTo>
                <a:lnTo>
                  <a:pt x="85" y="115"/>
                </a:lnTo>
                <a:lnTo>
                  <a:pt x="83" y="112"/>
                </a:lnTo>
                <a:lnTo>
                  <a:pt x="81" y="109"/>
                </a:lnTo>
                <a:lnTo>
                  <a:pt x="81" y="101"/>
                </a:lnTo>
                <a:lnTo>
                  <a:pt x="80" y="97"/>
                </a:lnTo>
                <a:lnTo>
                  <a:pt x="78" y="92"/>
                </a:lnTo>
                <a:lnTo>
                  <a:pt x="77" y="90"/>
                </a:lnTo>
                <a:lnTo>
                  <a:pt x="74" y="88"/>
                </a:lnTo>
                <a:lnTo>
                  <a:pt x="73" y="85"/>
                </a:lnTo>
                <a:lnTo>
                  <a:pt x="71" y="84"/>
                </a:lnTo>
                <a:lnTo>
                  <a:pt x="68" y="82"/>
                </a:lnTo>
                <a:lnTo>
                  <a:pt x="67" y="80"/>
                </a:lnTo>
                <a:lnTo>
                  <a:pt x="62" y="74"/>
                </a:lnTo>
                <a:lnTo>
                  <a:pt x="59" y="74"/>
                </a:lnTo>
                <a:lnTo>
                  <a:pt x="56" y="74"/>
                </a:lnTo>
                <a:lnTo>
                  <a:pt x="52" y="75"/>
                </a:lnTo>
                <a:lnTo>
                  <a:pt x="52" y="79"/>
                </a:lnTo>
                <a:lnTo>
                  <a:pt x="51" y="81"/>
                </a:lnTo>
                <a:lnTo>
                  <a:pt x="49" y="81"/>
                </a:lnTo>
                <a:lnTo>
                  <a:pt x="46" y="83"/>
                </a:lnTo>
                <a:lnTo>
                  <a:pt x="43" y="83"/>
                </a:lnTo>
                <a:lnTo>
                  <a:pt x="40" y="81"/>
                </a:lnTo>
                <a:lnTo>
                  <a:pt x="38" y="79"/>
                </a:lnTo>
                <a:lnTo>
                  <a:pt x="36" y="78"/>
                </a:lnTo>
                <a:lnTo>
                  <a:pt x="33" y="79"/>
                </a:lnTo>
                <a:lnTo>
                  <a:pt x="30" y="80"/>
                </a:lnTo>
                <a:lnTo>
                  <a:pt x="27" y="83"/>
                </a:lnTo>
                <a:lnTo>
                  <a:pt x="23" y="85"/>
                </a:lnTo>
                <a:lnTo>
                  <a:pt x="22" y="89"/>
                </a:lnTo>
                <a:lnTo>
                  <a:pt x="20" y="90"/>
                </a:lnTo>
                <a:lnTo>
                  <a:pt x="20" y="88"/>
                </a:lnTo>
                <a:lnTo>
                  <a:pt x="19" y="84"/>
                </a:lnTo>
                <a:lnTo>
                  <a:pt x="20" y="80"/>
                </a:lnTo>
                <a:lnTo>
                  <a:pt x="19" y="72"/>
                </a:lnTo>
                <a:lnTo>
                  <a:pt x="20" y="68"/>
                </a:lnTo>
                <a:lnTo>
                  <a:pt x="20" y="65"/>
                </a:lnTo>
                <a:lnTo>
                  <a:pt x="20" y="63"/>
                </a:lnTo>
                <a:lnTo>
                  <a:pt x="18" y="58"/>
                </a:lnTo>
                <a:lnTo>
                  <a:pt x="18" y="52"/>
                </a:lnTo>
                <a:lnTo>
                  <a:pt x="17" y="51"/>
                </a:lnTo>
                <a:lnTo>
                  <a:pt x="11" y="51"/>
                </a:lnTo>
                <a:lnTo>
                  <a:pt x="9" y="51"/>
                </a:lnTo>
                <a:lnTo>
                  <a:pt x="8" y="50"/>
                </a:lnTo>
                <a:lnTo>
                  <a:pt x="8" y="44"/>
                </a:lnTo>
                <a:lnTo>
                  <a:pt x="6" y="40"/>
                </a:lnTo>
                <a:lnTo>
                  <a:pt x="3" y="38"/>
                </a:lnTo>
                <a:lnTo>
                  <a:pt x="2" y="37"/>
                </a:lnTo>
                <a:lnTo>
                  <a:pt x="1" y="37"/>
                </a:lnTo>
                <a:lnTo>
                  <a:pt x="0" y="34"/>
                </a:lnTo>
                <a:lnTo>
                  <a:pt x="0" y="32"/>
                </a:lnTo>
                <a:lnTo>
                  <a:pt x="0" y="32"/>
                </a:lnTo>
                <a:lnTo>
                  <a:pt x="1" y="31"/>
                </a:lnTo>
                <a:lnTo>
                  <a:pt x="2" y="29"/>
                </a:lnTo>
                <a:lnTo>
                  <a:pt x="3" y="29"/>
                </a:lnTo>
                <a:lnTo>
                  <a:pt x="6" y="29"/>
                </a:lnTo>
                <a:lnTo>
                  <a:pt x="4" y="27"/>
                </a:lnTo>
                <a:lnTo>
                  <a:pt x="4" y="24"/>
                </a:lnTo>
                <a:lnTo>
                  <a:pt x="11" y="19"/>
                </a:lnTo>
                <a:lnTo>
                  <a:pt x="12" y="17"/>
                </a:lnTo>
                <a:lnTo>
                  <a:pt x="12" y="15"/>
                </a:lnTo>
                <a:lnTo>
                  <a:pt x="16" y="23"/>
                </a:lnTo>
                <a:lnTo>
                  <a:pt x="20" y="21"/>
                </a:lnTo>
                <a:lnTo>
                  <a:pt x="22" y="21"/>
                </a:lnTo>
                <a:lnTo>
                  <a:pt x="21" y="17"/>
                </a:lnTo>
                <a:lnTo>
                  <a:pt x="19" y="11"/>
                </a:lnTo>
                <a:lnTo>
                  <a:pt x="17" y="6"/>
                </a:lnTo>
                <a:lnTo>
                  <a:pt x="17" y="2"/>
                </a:lnTo>
                <a:lnTo>
                  <a:pt x="19" y="0"/>
                </a:lnTo>
                <a:lnTo>
                  <a:pt x="24" y="0"/>
                </a:lnTo>
                <a:lnTo>
                  <a:pt x="24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399" name="Freeform 1399"/>
          <p:cNvSpPr>
            <a:spLocks/>
          </p:cNvSpPr>
          <p:nvPr/>
        </p:nvSpPr>
        <p:spPr bwMode="auto">
          <a:xfrm>
            <a:off x="6853237" y="2928903"/>
            <a:ext cx="206375" cy="244475"/>
          </a:xfrm>
          <a:custGeom>
            <a:avLst/>
            <a:gdLst>
              <a:gd name="T0" fmla="*/ 34 w 130"/>
              <a:gd name="T1" fmla="*/ 12 h 154"/>
              <a:gd name="T2" fmla="*/ 40 w 130"/>
              <a:gd name="T3" fmla="*/ 22 h 154"/>
              <a:gd name="T4" fmla="*/ 51 w 130"/>
              <a:gd name="T5" fmla="*/ 30 h 154"/>
              <a:gd name="T6" fmla="*/ 66 w 130"/>
              <a:gd name="T7" fmla="*/ 32 h 154"/>
              <a:gd name="T8" fmla="*/ 70 w 130"/>
              <a:gd name="T9" fmla="*/ 39 h 154"/>
              <a:gd name="T10" fmla="*/ 74 w 130"/>
              <a:gd name="T11" fmla="*/ 47 h 154"/>
              <a:gd name="T12" fmla="*/ 66 w 130"/>
              <a:gd name="T13" fmla="*/ 51 h 154"/>
              <a:gd name="T14" fmla="*/ 62 w 130"/>
              <a:gd name="T15" fmla="*/ 57 h 154"/>
              <a:gd name="T16" fmla="*/ 68 w 130"/>
              <a:gd name="T17" fmla="*/ 61 h 154"/>
              <a:gd name="T18" fmla="*/ 84 w 130"/>
              <a:gd name="T19" fmla="*/ 74 h 154"/>
              <a:gd name="T20" fmla="*/ 99 w 130"/>
              <a:gd name="T21" fmla="*/ 90 h 154"/>
              <a:gd name="T22" fmla="*/ 108 w 130"/>
              <a:gd name="T23" fmla="*/ 99 h 154"/>
              <a:gd name="T24" fmla="*/ 110 w 130"/>
              <a:gd name="T25" fmla="*/ 104 h 154"/>
              <a:gd name="T26" fmla="*/ 119 w 130"/>
              <a:gd name="T27" fmla="*/ 111 h 154"/>
              <a:gd name="T28" fmla="*/ 128 w 130"/>
              <a:gd name="T29" fmla="*/ 129 h 154"/>
              <a:gd name="T30" fmla="*/ 129 w 130"/>
              <a:gd name="T31" fmla="*/ 143 h 154"/>
              <a:gd name="T32" fmla="*/ 121 w 130"/>
              <a:gd name="T33" fmla="*/ 148 h 154"/>
              <a:gd name="T34" fmla="*/ 113 w 130"/>
              <a:gd name="T35" fmla="*/ 146 h 154"/>
              <a:gd name="T36" fmla="*/ 107 w 130"/>
              <a:gd name="T37" fmla="*/ 154 h 154"/>
              <a:gd name="T38" fmla="*/ 95 w 130"/>
              <a:gd name="T39" fmla="*/ 150 h 154"/>
              <a:gd name="T40" fmla="*/ 99 w 130"/>
              <a:gd name="T41" fmla="*/ 145 h 154"/>
              <a:gd name="T42" fmla="*/ 97 w 130"/>
              <a:gd name="T43" fmla="*/ 125 h 154"/>
              <a:gd name="T44" fmla="*/ 92 w 130"/>
              <a:gd name="T45" fmla="*/ 120 h 154"/>
              <a:gd name="T46" fmla="*/ 85 w 130"/>
              <a:gd name="T47" fmla="*/ 115 h 154"/>
              <a:gd name="T48" fmla="*/ 81 w 130"/>
              <a:gd name="T49" fmla="*/ 101 h 154"/>
              <a:gd name="T50" fmla="*/ 77 w 130"/>
              <a:gd name="T51" fmla="*/ 90 h 154"/>
              <a:gd name="T52" fmla="*/ 71 w 130"/>
              <a:gd name="T53" fmla="*/ 84 h 154"/>
              <a:gd name="T54" fmla="*/ 62 w 130"/>
              <a:gd name="T55" fmla="*/ 74 h 154"/>
              <a:gd name="T56" fmla="*/ 52 w 130"/>
              <a:gd name="T57" fmla="*/ 75 h 154"/>
              <a:gd name="T58" fmla="*/ 49 w 130"/>
              <a:gd name="T59" fmla="*/ 81 h 154"/>
              <a:gd name="T60" fmla="*/ 40 w 130"/>
              <a:gd name="T61" fmla="*/ 81 h 154"/>
              <a:gd name="T62" fmla="*/ 33 w 130"/>
              <a:gd name="T63" fmla="*/ 79 h 154"/>
              <a:gd name="T64" fmla="*/ 23 w 130"/>
              <a:gd name="T65" fmla="*/ 85 h 154"/>
              <a:gd name="T66" fmla="*/ 20 w 130"/>
              <a:gd name="T67" fmla="*/ 88 h 154"/>
              <a:gd name="T68" fmla="*/ 19 w 130"/>
              <a:gd name="T69" fmla="*/ 72 h 154"/>
              <a:gd name="T70" fmla="*/ 20 w 130"/>
              <a:gd name="T71" fmla="*/ 63 h 154"/>
              <a:gd name="T72" fmla="*/ 17 w 130"/>
              <a:gd name="T73" fmla="*/ 51 h 154"/>
              <a:gd name="T74" fmla="*/ 8 w 130"/>
              <a:gd name="T75" fmla="*/ 50 h 154"/>
              <a:gd name="T76" fmla="*/ 3 w 130"/>
              <a:gd name="T77" fmla="*/ 38 h 154"/>
              <a:gd name="T78" fmla="*/ 0 w 130"/>
              <a:gd name="T79" fmla="*/ 34 h 154"/>
              <a:gd name="T80" fmla="*/ 1 w 130"/>
              <a:gd name="T81" fmla="*/ 31 h 154"/>
              <a:gd name="T82" fmla="*/ 6 w 130"/>
              <a:gd name="T83" fmla="*/ 29 h 154"/>
              <a:gd name="T84" fmla="*/ 11 w 130"/>
              <a:gd name="T85" fmla="*/ 19 h 154"/>
              <a:gd name="T86" fmla="*/ 16 w 130"/>
              <a:gd name="T87" fmla="*/ 23 h 154"/>
              <a:gd name="T88" fmla="*/ 21 w 130"/>
              <a:gd name="T89" fmla="*/ 17 h 154"/>
              <a:gd name="T90" fmla="*/ 17 w 130"/>
              <a:gd name="T91" fmla="*/ 2 h 154"/>
              <a:gd name="T92" fmla="*/ 24 w 130"/>
              <a:gd name="T93" fmla="*/ 1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30" h="154">
                <a:moveTo>
                  <a:pt x="24" y="1"/>
                </a:moveTo>
                <a:lnTo>
                  <a:pt x="29" y="6"/>
                </a:lnTo>
                <a:lnTo>
                  <a:pt x="34" y="12"/>
                </a:lnTo>
                <a:lnTo>
                  <a:pt x="38" y="14"/>
                </a:lnTo>
                <a:lnTo>
                  <a:pt x="40" y="18"/>
                </a:lnTo>
                <a:lnTo>
                  <a:pt x="40" y="22"/>
                </a:lnTo>
                <a:lnTo>
                  <a:pt x="41" y="24"/>
                </a:lnTo>
                <a:lnTo>
                  <a:pt x="46" y="29"/>
                </a:lnTo>
                <a:lnTo>
                  <a:pt x="51" y="30"/>
                </a:lnTo>
                <a:lnTo>
                  <a:pt x="57" y="29"/>
                </a:lnTo>
                <a:lnTo>
                  <a:pt x="61" y="29"/>
                </a:lnTo>
                <a:lnTo>
                  <a:pt x="66" y="32"/>
                </a:lnTo>
                <a:lnTo>
                  <a:pt x="67" y="35"/>
                </a:lnTo>
                <a:lnTo>
                  <a:pt x="68" y="38"/>
                </a:lnTo>
                <a:lnTo>
                  <a:pt x="70" y="39"/>
                </a:lnTo>
                <a:lnTo>
                  <a:pt x="72" y="42"/>
                </a:lnTo>
                <a:lnTo>
                  <a:pt x="73" y="44"/>
                </a:lnTo>
                <a:lnTo>
                  <a:pt x="74" y="47"/>
                </a:lnTo>
                <a:lnTo>
                  <a:pt x="70" y="51"/>
                </a:lnTo>
                <a:lnTo>
                  <a:pt x="69" y="52"/>
                </a:lnTo>
                <a:lnTo>
                  <a:pt x="66" y="51"/>
                </a:lnTo>
                <a:lnTo>
                  <a:pt x="63" y="51"/>
                </a:lnTo>
                <a:lnTo>
                  <a:pt x="62" y="53"/>
                </a:lnTo>
                <a:lnTo>
                  <a:pt x="62" y="57"/>
                </a:lnTo>
                <a:lnTo>
                  <a:pt x="63" y="58"/>
                </a:lnTo>
                <a:lnTo>
                  <a:pt x="64" y="59"/>
                </a:lnTo>
                <a:lnTo>
                  <a:pt x="68" y="61"/>
                </a:lnTo>
                <a:lnTo>
                  <a:pt x="73" y="64"/>
                </a:lnTo>
                <a:lnTo>
                  <a:pt x="82" y="70"/>
                </a:lnTo>
                <a:lnTo>
                  <a:pt x="84" y="74"/>
                </a:lnTo>
                <a:lnTo>
                  <a:pt x="91" y="81"/>
                </a:lnTo>
                <a:lnTo>
                  <a:pt x="93" y="84"/>
                </a:lnTo>
                <a:lnTo>
                  <a:pt x="99" y="90"/>
                </a:lnTo>
                <a:lnTo>
                  <a:pt x="101" y="91"/>
                </a:lnTo>
                <a:lnTo>
                  <a:pt x="105" y="94"/>
                </a:lnTo>
                <a:lnTo>
                  <a:pt x="108" y="99"/>
                </a:lnTo>
                <a:lnTo>
                  <a:pt x="110" y="103"/>
                </a:lnTo>
                <a:lnTo>
                  <a:pt x="109" y="103"/>
                </a:lnTo>
                <a:lnTo>
                  <a:pt x="110" y="104"/>
                </a:lnTo>
                <a:lnTo>
                  <a:pt x="111" y="108"/>
                </a:lnTo>
                <a:lnTo>
                  <a:pt x="114" y="108"/>
                </a:lnTo>
                <a:lnTo>
                  <a:pt x="119" y="111"/>
                </a:lnTo>
                <a:lnTo>
                  <a:pt x="121" y="114"/>
                </a:lnTo>
                <a:lnTo>
                  <a:pt x="123" y="120"/>
                </a:lnTo>
                <a:lnTo>
                  <a:pt x="128" y="129"/>
                </a:lnTo>
                <a:lnTo>
                  <a:pt x="129" y="131"/>
                </a:lnTo>
                <a:lnTo>
                  <a:pt x="130" y="142"/>
                </a:lnTo>
                <a:lnTo>
                  <a:pt x="129" y="143"/>
                </a:lnTo>
                <a:lnTo>
                  <a:pt x="127" y="146"/>
                </a:lnTo>
                <a:lnTo>
                  <a:pt x="123" y="148"/>
                </a:lnTo>
                <a:lnTo>
                  <a:pt x="121" y="148"/>
                </a:lnTo>
                <a:lnTo>
                  <a:pt x="119" y="145"/>
                </a:lnTo>
                <a:lnTo>
                  <a:pt x="117" y="145"/>
                </a:lnTo>
                <a:lnTo>
                  <a:pt x="113" y="146"/>
                </a:lnTo>
                <a:lnTo>
                  <a:pt x="109" y="149"/>
                </a:lnTo>
                <a:lnTo>
                  <a:pt x="109" y="154"/>
                </a:lnTo>
                <a:lnTo>
                  <a:pt x="107" y="154"/>
                </a:lnTo>
                <a:lnTo>
                  <a:pt x="103" y="153"/>
                </a:lnTo>
                <a:lnTo>
                  <a:pt x="98" y="152"/>
                </a:lnTo>
                <a:lnTo>
                  <a:pt x="95" y="150"/>
                </a:lnTo>
                <a:lnTo>
                  <a:pt x="95" y="149"/>
                </a:lnTo>
                <a:lnTo>
                  <a:pt x="97" y="149"/>
                </a:lnTo>
                <a:lnTo>
                  <a:pt x="99" y="145"/>
                </a:lnTo>
                <a:lnTo>
                  <a:pt x="97" y="131"/>
                </a:lnTo>
                <a:lnTo>
                  <a:pt x="98" y="128"/>
                </a:lnTo>
                <a:lnTo>
                  <a:pt x="97" y="125"/>
                </a:lnTo>
                <a:lnTo>
                  <a:pt x="95" y="123"/>
                </a:lnTo>
                <a:lnTo>
                  <a:pt x="94" y="121"/>
                </a:lnTo>
                <a:lnTo>
                  <a:pt x="92" y="120"/>
                </a:lnTo>
                <a:lnTo>
                  <a:pt x="91" y="118"/>
                </a:lnTo>
                <a:lnTo>
                  <a:pt x="88" y="116"/>
                </a:lnTo>
                <a:lnTo>
                  <a:pt x="85" y="115"/>
                </a:lnTo>
                <a:lnTo>
                  <a:pt x="83" y="112"/>
                </a:lnTo>
                <a:lnTo>
                  <a:pt x="81" y="109"/>
                </a:lnTo>
                <a:lnTo>
                  <a:pt x="81" y="101"/>
                </a:lnTo>
                <a:lnTo>
                  <a:pt x="80" y="97"/>
                </a:lnTo>
                <a:lnTo>
                  <a:pt x="78" y="92"/>
                </a:lnTo>
                <a:lnTo>
                  <a:pt x="77" y="90"/>
                </a:lnTo>
                <a:lnTo>
                  <a:pt x="74" y="88"/>
                </a:lnTo>
                <a:lnTo>
                  <a:pt x="73" y="85"/>
                </a:lnTo>
                <a:lnTo>
                  <a:pt x="71" y="84"/>
                </a:lnTo>
                <a:lnTo>
                  <a:pt x="68" y="82"/>
                </a:lnTo>
                <a:lnTo>
                  <a:pt x="67" y="80"/>
                </a:lnTo>
                <a:lnTo>
                  <a:pt x="62" y="74"/>
                </a:lnTo>
                <a:lnTo>
                  <a:pt x="59" y="74"/>
                </a:lnTo>
                <a:lnTo>
                  <a:pt x="56" y="74"/>
                </a:lnTo>
                <a:lnTo>
                  <a:pt x="52" y="75"/>
                </a:lnTo>
                <a:lnTo>
                  <a:pt x="52" y="79"/>
                </a:lnTo>
                <a:lnTo>
                  <a:pt x="51" y="81"/>
                </a:lnTo>
                <a:lnTo>
                  <a:pt x="49" y="81"/>
                </a:lnTo>
                <a:lnTo>
                  <a:pt x="46" y="83"/>
                </a:lnTo>
                <a:lnTo>
                  <a:pt x="43" y="83"/>
                </a:lnTo>
                <a:lnTo>
                  <a:pt x="40" y="81"/>
                </a:lnTo>
                <a:lnTo>
                  <a:pt x="38" y="79"/>
                </a:lnTo>
                <a:lnTo>
                  <a:pt x="36" y="78"/>
                </a:lnTo>
                <a:lnTo>
                  <a:pt x="33" y="79"/>
                </a:lnTo>
                <a:lnTo>
                  <a:pt x="30" y="80"/>
                </a:lnTo>
                <a:lnTo>
                  <a:pt x="27" y="83"/>
                </a:lnTo>
                <a:lnTo>
                  <a:pt x="23" y="85"/>
                </a:lnTo>
                <a:lnTo>
                  <a:pt x="22" y="89"/>
                </a:lnTo>
                <a:lnTo>
                  <a:pt x="20" y="90"/>
                </a:lnTo>
                <a:lnTo>
                  <a:pt x="20" y="88"/>
                </a:lnTo>
                <a:lnTo>
                  <a:pt x="19" y="84"/>
                </a:lnTo>
                <a:lnTo>
                  <a:pt x="20" y="80"/>
                </a:lnTo>
                <a:lnTo>
                  <a:pt x="19" y="72"/>
                </a:lnTo>
                <a:lnTo>
                  <a:pt x="20" y="68"/>
                </a:lnTo>
                <a:lnTo>
                  <a:pt x="20" y="65"/>
                </a:lnTo>
                <a:lnTo>
                  <a:pt x="20" y="63"/>
                </a:lnTo>
                <a:lnTo>
                  <a:pt x="18" y="58"/>
                </a:lnTo>
                <a:lnTo>
                  <a:pt x="18" y="52"/>
                </a:lnTo>
                <a:lnTo>
                  <a:pt x="17" y="51"/>
                </a:lnTo>
                <a:lnTo>
                  <a:pt x="11" y="51"/>
                </a:lnTo>
                <a:lnTo>
                  <a:pt x="9" y="51"/>
                </a:lnTo>
                <a:lnTo>
                  <a:pt x="8" y="50"/>
                </a:lnTo>
                <a:lnTo>
                  <a:pt x="8" y="44"/>
                </a:lnTo>
                <a:lnTo>
                  <a:pt x="6" y="40"/>
                </a:lnTo>
                <a:lnTo>
                  <a:pt x="3" y="38"/>
                </a:lnTo>
                <a:lnTo>
                  <a:pt x="2" y="37"/>
                </a:lnTo>
                <a:lnTo>
                  <a:pt x="1" y="37"/>
                </a:lnTo>
                <a:lnTo>
                  <a:pt x="0" y="34"/>
                </a:lnTo>
                <a:lnTo>
                  <a:pt x="0" y="32"/>
                </a:lnTo>
                <a:lnTo>
                  <a:pt x="0" y="32"/>
                </a:lnTo>
                <a:lnTo>
                  <a:pt x="1" y="31"/>
                </a:lnTo>
                <a:lnTo>
                  <a:pt x="2" y="29"/>
                </a:lnTo>
                <a:lnTo>
                  <a:pt x="3" y="29"/>
                </a:lnTo>
                <a:lnTo>
                  <a:pt x="6" y="29"/>
                </a:lnTo>
                <a:lnTo>
                  <a:pt x="4" y="27"/>
                </a:lnTo>
                <a:lnTo>
                  <a:pt x="4" y="24"/>
                </a:lnTo>
                <a:lnTo>
                  <a:pt x="11" y="19"/>
                </a:lnTo>
                <a:lnTo>
                  <a:pt x="12" y="17"/>
                </a:lnTo>
                <a:lnTo>
                  <a:pt x="12" y="15"/>
                </a:lnTo>
                <a:lnTo>
                  <a:pt x="16" y="23"/>
                </a:lnTo>
                <a:lnTo>
                  <a:pt x="20" y="21"/>
                </a:lnTo>
                <a:lnTo>
                  <a:pt x="22" y="21"/>
                </a:lnTo>
                <a:lnTo>
                  <a:pt x="21" y="17"/>
                </a:lnTo>
                <a:lnTo>
                  <a:pt x="19" y="11"/>
                </a:lnTo>
                <a:lnTo>
                  <a:pt x="17" y="6"/>
                </a:lnTo>
                <a:lnTo>
                  <a:pt x="17" y="2"/>
                </a:lnTo>
                <a:lnTo>
                  <a:pt x="19" y="0"/>
                </a:lnTo>
                <a:lnTo>
                  <a:pt x="24" y="0"/>
                </a:lnTo>
                <a:lnTo>
                  <a:pt x="24" y="1"/>
                </a:lnTo>
              </a:path>
            </a:pathLst>
          </a:custGeom>
          <a:solidFill>
            <a:srgbClr val="00A6D3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00" name="Freeform 1400"/>
          <p:cNvSpPr>
            <a:spLocks/>
          </p:cNvSpPr>
          <p:nvPr/>
        </p:nvSpPr>
        <p:spPr bwMode="auto">
          <a:xfrm>
            <a:off x="7270750" y="2341528"/>
            <a:ext cx="114300" cy="150813"/>
          </a:xfrm>
          <a:custGeom>
            <a:avLst/>
            <a:gdLst>
              <a:gd name="T0" fmla="*/ 70 w 72"/>
              <a:gd name="T1" fmla="*/ 77 h 95"/>
              <a:gd name="T2" fmla="*/ 57 w 72"/>
              <a:gd name="T3" fmla="*/ 69 h 95"/>
              <a:gd name="T4" fmla="*/ 51 w 72"/>
              <a:gd name="T5" fmla="*/ 66 h 95"/>
              <a:gd name="T6" fmla="*/ 52 w 72"/>
              <a:gd name="T7" fmla="*/ 65 h 95"/>
              <a:gd name="T8" fmla="*/ 48 w 72"/>
              <a:gd name="T9" fmla="*/ 58 h 95"/>
              <a:gd name="T10" fmla="*/ 50 w 72"/>
              <a:gd name="T11" fmla="*/ 56 h 95"/>
              <a:gd name="T12" fmla="*/ 52 w 72"/>
              <a:gd name="T13" fmla="*/ 53 h 95"/>
              <a:gd name="T14" fmla="*/ 60 w 72"/>
              <a:gd name="T15" fmla="*/ 49 h 95"/>
              <a:gd name="T16" fmla="*/ 63 w 72"/>
              <a:gd name="T17" fmla="*/ 45 h 95"/>
              <a:gd name="T18" fmla="*/ 69 w 72"/>
              <a:gd name="T19" fmla="*/ 38 h 95"/>
              <a:gd name="T20" fmla="*/ 65 w 72"/>
              <a:gd name="T21" fmla="*/ 29 h 95"/>
              <a:gd name="T22" fmla="*/ 62 w 72"/>
              <a:gd name="T23" fmla="*/ 25 h 95"/>
              <a:gd name="T24" fmla="*/ 63 w 72"/>
              <a:gd name="T25" fmla="*/ 19 h 95"/>
              <a:gd name="T26" fmla="*/ 68 w 72"/>
              <a:gd name="T27" fmla="*/ 12 h 95"/>
              <a:gd name="T28" fmla="*/ 68 w 72"/>
              <a:gd name="T29" fmla="*/ 9 h 95"/>
              <a:gd name="T30" fmla="*/ 64 w 72"/>
              <a:gd name="T31" fmla="*/ 6 h 95"/>
              <a:gd name="T32" fmla="*/ 58 w 72"/>
              <a:gd name="T33" fmla="*/ 3 h 95"/>
              <a:gd name="T34" fmla="*/ 52 w 72"/>
              <a:gd name="T35" fmla="*/ 2 h 95"/>
              <a:gd name="T36" fmla="*/ 52 w 72"/>
              <a:gd name="T37" fmla="*/ 10 h 95"/>
              <a:gd name="T38" fmla="*/ 42 w 72"/>
              <a:gd name="T39" fmla="*/ 18 h 95"/>
              <a:gd name="T40" fmla="*/ 37 w 72"/>
              <a:gd name="T41" fmla="*/ 19 h 95"/>
              <a:gd name="T42" fmla="*/ 32 w 72"/>
              <a:gd name="T43" fmla="*/ 28 h 95"/>
              <a:gd name="T44" fmla="*/ 21 w 72"/>
              <a:gd name="T45" fmla="*/ 25 h 95"/>
              <a:gd name="T46" fmla="*/ 17 w 72"/>
              <a:gd name="T47" fmla="*/ 35 h 95"/>
              <a:gd name="T48" fmla="*/ 6 w 72"/>
              <a:gd name="T49" fmla="*/ 44 h 95"/>
              <a:gd name="T50" fmla="*/ 0 w 72"/>
              <a:gd name="T51" fmla="*/ 54 h 95"/>
              <a:gd name="T52" fmla="*/ 4 w 72"/>
              <a:gd name="T53" fmla="*/ 58 h 95"/>
              <a:gd name="T54" fmla="*/ 10 w 72"/>
              <a:gd name="T55" fmla="*/ 59 h 95"/>
              <a:gd name="T56" fmla="*/ 18 w 72"/>
              <a:gd name="T57" fmla="*/ 60 h 95"/>
              <a:gd name="T58" fmla="*/ 20 w 72"/>
              <a:gd name="T59" fmla="*/ 64 h 95"/>
              <a:gd name="T60" fmla="*/ 23 w 72"/>
              <a:gd name="T61" fmla="*/ 75 h 95"/>
              <a:gd name="T62" fmla="*/ 27 w 72"/>
              <a:gd name="T63" fmla="*/ 77 h 95"/>
              <a:gd name="T64" fmla="*/ 23 w 72"/>
              <a:gd name="T65" fmla="*/ 79 h 95"/>
              <a:gd name="T66" fmla="*/ 23 w 72"/>
              <a:gd name="T67" fmla="*/ 85 h 95"/>
              <a:gd name="T68" fmla="*/ 27 w 72"/>
              <a:gd name="T69" fmla="*/ 88 h 95"/>
              <a:gd name="T70" fmla="*/ 30 w 72"/>
              <a:gd name="T71" fmla="*/ 89 h 95"/>
              <a:gd name="T72" fmla="*/ 28 w 72"/>
              <a:gd name="T73" fmla="*/ 90 h 95"/>
              <a:gd name="T74" fmla="*/ 30 w 72"/>
              <a:gd name="T75" fmla="*/ 91 h 95"/>
              <a:gd name="T76" fmla="*/ 33 w 72"/>
              <a:gd name="T77" fmla="*/ 95 h 95"/>
              <a:gd name="T78" fmla="*/ 36 w 72"/>
              <a:gd name="T79" fmla="*/ 94 h 95"/>
              <a:gd name="T80" fmla="*/ 37 w 72"/>
              <a:gd name="T81" fmla="*/ 90 h 95"/>
              <a:gd name="T82" fmla="*/ 38 w 72"/>
              <a:gd name="T83" fmla="*/ 89 h 95"/>
              <a:gd name="T84" fmla="*/ 43 w 72"/>
              <a:gd name="T85" fmla="*/ 92 h 95"/>
              <a:gd name="T86" fmla="*/ 46 w 72"/>
              <a:gd name="T87" fmla="*/ 92 h 95"/>
              <a:gd name="T88" fmla="*/ 51 w 72"/>
              <a:gd name="T89" fmla="*/ 94 h 95"/>
              <a:gd name="T90" fmla="*/ 57 w 72"/>
              <a:gd name="T91" fmla="*/ 86 h 95"/>
              <a:gd name="T92" fmla="*/ 67 w 72"/>
              <a:gd name="T93" fmla="*/ 85 h 95"/>
              <a:gd name="T94" fmla="*/ 72 w 72"/>
              <a:gd name="T95" fmla="*/ 79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2" h="95">
                <a:moveTo>
                  <a:pt x="72" y="79"/>
                </a:moveTo>
                <a:lnTo>
                  <a:pt x="70" y="77"/>
                </a:lnTo>
                <a:lnTo>
                  <a:pt x="61" y="72"/>
                </a:lnTo>
                <a:lnTo>
                  <a:pt x="57" y="69"/>
                </a:lnTo>
                <a:lnTo>
                  <a:pt x="52" y="67"/>
                </a:lnTo>
                <a:lnTo>
                  <a:pt x="51" y="66"/>
                </a:lnTo>
                <a:lnTo>
                  <a:pt x="50" y="63"/>
                </a:lnTo>
                <a:lnTo>
                  <a:pt x="52" y="65"/>
                </a:lnTo>
                <a:lnTo>
                  <a:pt x="51" y="63"/>
                </a:lnTo>
                <a:lnTo>
                  <a:pt x="48" y="58"/>
                </a:lnTo>
                <a:lnTo>
                  <a:pt x="48" y="57"/>
                </a:lnTo>
                <a:lnTo>
                  <a:pt x="50" y="56"/>
                </a:lnTo>
                <a:lnTo>
                  <a:pt x="52" y="54"/>
                </a:lnTo>
                <a:lnTo>
                  <a:pt x="52" y="53"/>
                </a:lnTo>
                <a:lnTo>
                  <a:pt x="58" y="51"/>
                </a:lnTo>
                <a:lnTo>
                  <a:pt x="60" y="49"/>
                </a:lnTo>
                <a:lnTo>
                  <a:pt x="60" y="48"/>
                </a:lnTo>
                <a:lnTo>
                  <a:pt x="63" y="45"/>
                </a:lnTo>
                <a:lnTo>
                  <a:pt x="65" y="39"/>
                </a:lnTo>
                <a:lnTo>
                  <a:pt x="69" y="38"/>
                </a:lnTo>
                <a:lnTo>
                  <a:pt x="69" y="36"/>
                </a:lnTo>
                <a:lnTo>
                  <a:pt x="65" y="29"/>
                </a:lnTo>
                <a:lnTo>
                  <a:pt x="63" y="27"/>
                </a:lnTo>
                <a:lnTo>
                  <a:pt x="62" y="25"/>
                </a:lnTo>
                <a:lnTo>
                  <a:pt x="63" y="21"/>
                </a:lnTo>
                <a:lnTo>
                  <a:pt x="63" y="19"/>
                </a:lnTo>
                <a:lnTo>
                  <a:pt x="65" y="12"/>
                </a:lnTo>
                <a:lnTo>
                  <a:pt x="68" y="12"/>
                </a:lnTo>
                <a:lnTo>
                  <a:pt x="69" y="12"/>
                </a:lnTo>
                <a:lnTo>
                  <a:pt x="68" y="9"/>
                </a:lnTo>
                <a:lnTo>
                  <a:pt x="65" y="8"/>
                </a:lnTo>
                <a:lnTo>
                  <a:pt x="64" y="6"/>
                </a:lnTo>
                <a:lnTo>
                  <a:pt x="62" y="6"/>
                </a:lnTo>
                <a:lnTo>
                  <a:pt x="58" y="3"/>
                </a:lnTo>
                <a:lnTo>
                  <a:pt x="53" y="0"/>
                </a:lnTo>
                <a:lnTo>
                  <a:pt x="52" y="2"/>
                </a:lnTo>
                <a:lnTo>
                  <a:pt x="53" y="7"/>
                </a:lnTo>
                <a:lnTo>
                  <a:pt x="52" y="10"/>
                </a:lnTo>
                <a:lnTo>
                  <a:pt x="48" y="16"/>
                </a:lnTo>
                <a:lnTo>
                  <a:pt x="42" y="18"/>
                </a:lnTo>
                <a:lnTo>
                  <a:pt x="37" y="18"/>
                </a:lnTo>
                <a:lnTo>
                  <a:pt x="37" y="19"/>
                </a:lnTo>
                <a:lnTo>
                  <a:pt x="42" y="28"/>
                </a:lnTo>
                <a:lnTo>
                  <a:pt x="32" y="28"/>
                </a:lnTo>
                <a:lnTo>
                  <a:pt x="27" y="26"/>
                </a:lnTo>
                <a:lnTo>
                  <a:pt x="21" y="25"/>
                </a:lnTo>
                <a:lnTo>
                  <a:pt x="19" y="27"/>
                </a:lnTo>
                <a:lnTo>
                  <a:pt x="17" y="35"/>
                </a:lnTo>
                <a:lnTo>
                  <a:pt x="13" y="38"/>
                </a:lnTo>
                <a:lnTo>
                  <a:pt x="6" y="44"/>
                </a:lnTo>
                <a:lnTo>
                  <a:pt x="2" y="45"/>
                </a:lnTo>
                <a:lnTo>
                  <a:pt x="0" y="54"/>
                </a:lnTo>
                <a:lnTo>
                  <a:pt x="0" y="55"/>
                </a:lnTo>
                <a:lnTo>
                  <a:pt x="4" y="58"/>
                </a:lnTo>
                <a:lnTo>
                  <a:pt x="7" y="60"/>
                </a:lnTo>
                <a:lnTo>
                  <a:pt x="10" y="59"/>
                </a:lnTo>
                <a:lnTo>
                  <a:pt x="13" y="60"/>
                </a:lnTo>
                <a:lnTo>
                  <a:pt x="18" y="60"/>
                </a:lnTo>
                <a:lnTo>
                  <a:pt x="20" y="61"/>
                </a:lnTo>
                <a:lnTo>
                  <a:pt x="20" y="64"/>
                </a:lnTo>
                <a:lnTo>
                  <a:pt x="21" y="69"/>
                </a:lnTo>
                <a:lnTo>
                  <a:pt x="23" y="75"/>
                </a:lnTo>
                <a:lnTo>
                  <a:pt x="24" y="77"/>
                </a:lnTo>
                <a:lnTo>
                  <a:pt x="27" y="77"/>
                </a:lnTo>
                <a:lnTo>
                  <a:pt x="23" y="78"/>
                </a:lnTo>
                <a:lnTo>
                  <a:pt x="23" y="79"/>
                </a:lnTo>
                <a:lnTo>
                  <a:pt x="22" y="80"/>
                </a:lnTo>
                <a:lnTo>
                  <a:pt x="23" y="85"/>
                </a:lnTo>
                <a:lnTo>
                  <a:pt x="22" y="88"/>
                </a:lnTo>
                <a:lnTo>
                  <a:pt x="27" y="88"/>
                </a:lnTo>
                <a:lnTo>
                  <a:pt x="29" y="88"/>
                </a:lnTo>
                <a:lnTo>
                  <a:pt x="30" y="89"/>
                </a:lnTo>
                <a:lnTo>
                  <a:pt x="29" y="90"/>
                </a:lnTo>
                <a:lnTo>
                  <a:pt x="28" y="90"/>
                </a:lnTo>
                <a:lnTo>
                  <a:pt x="29" y="92"/>
                </a:lnTo>
                <a:lnTo>
                  <a:pt x="30" y="91"/>
                </a:lnTo>
                <a:lnTo>
                  <a:pt x="32" y="95"/>
                </a:lnTo>
                <a:lnTo>
                  <a:pt x="33" y="95"/>
                </a:lnTo>
                <a:lnTo>
                  <a:pt x="36" y="95"/>
                </a:lnTo>
                <a:lnTo>
                  <a:pt x="36" y="94"/>
                </a:lnTo>
                <a:lnTo>
                  <a:pt x="38" y="92"/>
                </a:lnTo>
                <a:lnTo>
                  <a:pt x="37" y="90"/>
                </a:lnTo>
                <a:lnTo>
                  <a:pt x="36" y="89"/>
                </a:lnTo>
                <a:lnTo>
                  <a:pt x="38" y="89"/>
                </a:lnTo>
                <a:lnTo>
                  <a:pt x="40" y="91"/>
                </a:lnTo>
                <a:lnTo>
                  <a:pt x="43" y="92"/>
                </a:lnTo>
                <a:lnTo>
                  <a:pt x="46" y="94"/>
                </a:lnTo>
                <a:lnTo>
                  <a:pt x="46" y="92"/>
                </a:lnTo>
                <a:lnTo>
                  <a:pt x="48" y="91"/>
                </a:lnTo>
                <a:lnTo>
                  <a:pt x="51" y="94"/>
                </a:lnTo>
                <a:lnTo>
                  <a:pt x="53" y="91"/>
                </a:lnTo>
                <a:lnTo>
                  <a:pt x="57" y="86"/>
                </a:lnTo>
                <a:lnTo>
                  <a:pt x="61" y="85"/>
                </a:lnTo>
                <a:lnTo>
                  <a:pt x="67" y="85"/>
                </a:lnTo>
                <a:lnTo>
                  <a:pt x="70" y="84"/>
                </a:lnTo>
                <a:lnTo>
                  <a:pt x="72" y="79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01" name="Freeform 1401"/>
          <p:cNvSpPr>
            <a:spLocks/>
          </p:cNvSpPr>
          <p:nvPr/>
        </p:nvSpPr>
        <p:spPr bwMode="auto">
          <a:xfrm>
            <a:off x="7270750" y="2341528"/>
            <a:ext cx="114300" cy="150813"/>
          </a:xfrm>
          <a:custGeom>
            <a:avLst/>
            <a:gdLst>
              <a:gd name="T0" fmla="*/ 70 w 72"/>
              <a:gd name="T1" fmla="*/ 77 h 95"/>
              <a:gd name="T2" fmla="*/ 57 w 72"/>
              <a:gd name="T3" fmla="*/ 69 h 95"/>
              <a:gd name="T4" fmla="*/ 51 w 72"/>
              <a:gd name="T5" fmla="*/ 66 h 95"/>
              <a:gd name="T6" fmla="*/ 52 w 72"/>
              <a:gd name="T7" fmla="*/ 65 h 95"/>
              <a:gd name="T8" fmla="*/ 48 w 72"/>
              <a:gd name="T9" fmla="*/ 58 h 95"/>
              <a:gd name="T10" fmla="*/ 50 w 72"/>
              <a:gd name="T11" fmla="*/ 56 h 95"/>
              <a:gd name="T12" fmla="*/ 52 w 72"/>
              <a:gd name="T13" fmla="*/ 53 h 95"/>
              <a:gd name="T14" fmla="*/ 60 w 72"/>
              <a:gd name="T15" fmla="*/ 49 h 95"/>
              <a:gd name="T16" fmla="*/ 63 w 72"/>
              <a:gd name="T17" fmla="*/ 45 h 95"/>
              <a:gd name="T18" fmla="*/ 69 w 72"/>
              <a:gd name="T19" fmla="*/ 38 h 95"/>
              <a:gd name="T20" fmla="*/ 65 w 72"/>
              <a:gd name="T21" fmla="*/ 29 h 95"/>
              <a:gd name="T22" fmla="*/ 62 w 72"/>
              <a:gd name="T23" fmla="*/ 25 h 95"/>
              <a:gd name="T24" fmla="*/ 63 w 72"/>
              <a:gd name="T25" fmla="*/ 19 h 95"/>
              <a:gd name="T26" fmla="*/ 68 w 72"/>
              <a:gd name="T27" fmla="*/ 12 h 95"/>
              <a:gd name="T28" fmla="*/ 68 w 72"/>
              <a:gd name="T29" fmla="*/ 9 h 95"/>
              <a:gd name="T30" fmla="*/ 64 w 72"/>
              <a:gd name="T31" fmla="*/ 6 h 95"/>
              <a:gd name="T32" fmla="*/ 58 w 72"/>
              <a:gd name="T33" fmla="*/ 3 h 95"/>
              <a:gd name="T34" fmla="*/ 52 w 72"/>
              <a:gd name="T35" fmla="*/ 2 h 95"/>
              <a:gd name="T36" fmla="*/ 52 w 72"/>
              <a:gd name="T37" fmla="*/ 10 h 95"/>
              <a:gd name="T38" fmla="*/ 42 w 72"/>
              <a:gd name="T39" fmla="*/ 18 h 95"/>
              <a:gd name="T40" fmla="*/ 37 w 72"/>
              <a:gd name="T41" fmla="*/ 19 h 95"/>
              <a:gd name="T42" fmla="*/ 32 w 72"/>
              <a:gd name="T43" fmla="*/ 28 h 95"/>
              <a:gd name="T44" fmla="*/ 21 w 72"/>
              <a:gd name="T45" fmla="*/ 25 h 95"/>
              <a:gd name="T46" fmla="*/ 17 w 72"/>
              <a:gd name="T47" fmla="*/ 35 h 95"/>
              <a:gd name="T48" fmla="*/ 6 w 72"/>
              <a:gd name="T49" fmla="*/ 44 h 95"/>
              <a:gd name="T50" fmla="*/ 0 w 72"/>
              <a:gd name="T51" fmla="*/ 54 h 95"/>
              <a:gd name="T52" fmla="*/ 4 w 72"/>
              <a:gd name="T53" fmla="*/ 58 h 95"/>
              <a:gd name="T54" fmla="*/ 10 w 72"/>
              <a:gd name="T55" fmla="*/ 59 h 95"/>
              <a:gd name="T56" fmla="*/ 18 w 72"/>
              <a:gd name="T57" fmla="*/ 60 h 95"/>
              <a:gd name="T58" fmla="*/ 20 w 72"/>
              <a:gd name="T59" fmla="*/ 64 h 95"/>
              <a:gd name="T60" fmla="*/ 23 w 72"/>
              <a:gd name="T61" fmla="*/ 75 h 95"/>
              <a:gd name="T62" fmla="*/ 27 w 72"/>
              <a:gd name="T63" fmla="*/ 77 h 95"/>
              <a:gd name="T64" fmla="*/ 23 w 72"/>
              <a:gd name="T65" fmla="*/ 79 h 95"/>
              <a:gd name="T66" fmla="*/ 23 w 72"/>
              <a:gd name="T67" fmla="*/ 85 h 95"/>
              <a:gd name="T68" fmla="*/ 27 w 72"/>
              <a:gd name="T69" fmla="*/ 88 h 95"/>
              <a:gd name="T70" fmla="*/ 30 w 72"/>
              <a:gd name="T71" fmla="*/ 89 h 95"/>
              <a:gd name="T72" fmla="*/ 28 w 72"/>
              <a:gd name="T73" fmla="*/ 90 h 95"/>
              <a:gd name="T74" fmla="*/ 30 w 72"/>
              <a:gd name="T75" fmla="*/ 91 h 95"/>
              <a:gd name="T76" fmla="*/ 33 w 72"/>
              <a:gd name="T77" fmla="*/ 95 h 95"/>
              <a:gd name="T78" fmla="*/ 36 w 72"/>
              <a:gd name="T79" fmla="*/ 94 h 95"/>
              <a:gd name="T80" fmla="*/ 37 w 72"/>
              <a:gd name="T81" fmla="*/ 90 h 95"/>
              <a:gd name="T82" fmla="*/ 38 w 72"/>
              <a:gd name="T83" fmla="*/ 89 h 95"/>
              <a:gd name="T84" fmla="*/ 43 w 72"/>
              <a:gd name="T85" fmla="*/ 92 h 95"/>
              <a:gd name="T86" fmla="*/ 46 w 72"/>
              <a:gd name="T87" fmla="*/ 92 h 95"/>
              <a:gd name="T88" fmla="*/ 51 w 72"/>
              <a:gd name="T89" fmla="*/ 94 h 95"/>
              <a:gd name="T90" fmla="*/ 57 w 72"/>
              <a:gd name="T91" fmla="*/ 86 h 95"/>
              <a:gd name="T92" fmla="*/ 67 w 72"/>
              <a:gd name="T93" fmla="*/ 85 h 95"/>
              <a:gd name="T94" fmla="*/ 72 w 72"/>
              <a:gd name="T95" fmla="*/ 79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2" h="95">
                <a:moveTo>
                  <a:pt x="72" y="79"/>
                </a:moveTo>
                <a:lnTo>
                  <a:pt x="70" y="77"/>
                </a:lnTo>
                <a:lnTo>
                  <a:pt x="61" y="72"/>
                </a:lnTo>
                <a:lnTo>
                  <a:pt x="57" y="69"/>
                </a:lnTo>
                <a:lnTo>
                  <a:pt x="52" y="67"/>
                </a:lnTo>
                <a:lnTo>
                  <a:pt x="51" y="66"/>
                </a:lnTo>
                <a:lnTo>
                  <a:pt x="50" y="63"/>
                </a:lnTo>
                <a:lnTo>
                  <a:pt x="52" y="65"/>
                </a:lnTo>
                <a:lnTo>
                  <a:pt x="51" y="63"/>
                </a:lnTo>
                <a:lnTo>
                  <a:pt x="48" y="58"/>
                </a:lnTo>
                <a:lnTo>
                  <a:pt x="48" y="57"/>
                </a:lnTo>
                <a:lnTo>
                  <a:pt x="50" y="56"/>
                </a:lnTo>
                <a:lnTo>
                  <a:pt x="52" y="54"/>
                </a:lnTo>
                <a:lnTo>
                  <a:pt x="52" y="53"/>
                </a:lnTo>
                <a:lnTo>
                  <a:pt x="58" y="51"/>
                </a:lnTo>
                <a:lnTo>
                  <a:pt x="60" y="49"/>
                </a:lnTo>
                <a:lnTo>
                  <a:pt x="60" y="48"/>
                </a:lnTo>
                <a:lnTo>
                  <a:pt x="63" y="45"/>
                </a:lnTo>
                <a:lnTo>
                  <a:pt x="65" y="39"/>
                </a:lnTo>
                <a:lnTo>
                  <a:pt x="69" y="38"/>
                </a:lnTo>
                <a:lnTo>
                  <a:pt x="69" y="36"/>
                </a:lnTo>
                <a:lnTo>
                  <a:pt x="65" y="29"/>
                </a:lnTo>
                <a:lnTo>
                  <a:pt x="63" y="27"/>
                </a:lnTo>
                <a:lnTo>
                  <a:pt x="62" y="25"/>
                </a:lnTo>
                <a:lnTo>
                  <a:pt x="63" y="21"/>
                </a:lnTo>
                <a:lnTo>
                  <a:pt x="63" y="19"/>
                </a:lnTo>
                <a:lnTo>
                  <a:pt x="65" y="12"/>
                </a:lnTo>
                <a:lnTo>
                  <a:pt x="68" y="12"/>
                </a:lnTo>
                <a:lnTo>
                  <a:pt x="69" y="12"/>
                </a:lnTo>
                <a:lnTo>
                  <a:pt x="68" y="9"/>
                </a:lnTo>
                <a:lnTo>
                  <a:pt x="65" y="8"/>
                </a:lnTo>
                <a:lnTo>
                  <a:pt x="64" y="6"/>
                </a:lnTo>
                <a:lnTo>
                  <a:pt x="62" y="6"/>
                </a:lnTo>
                <a:lnTo>
                  <a:pt x="58" y="3"/>
                </a:lnTo>
                <a:lnTo>
                  <a:pt x="53" y="0"/>
                </a:lnTo>
                <a:lnTo>
                  <a:pt x="52" y="2"/>
                </a:lnTo>
                <a:lnTo>
                  <a:pt x="53" y="7"/>
                </a:lnTo>
                <a:lnTo>
                  <a:pt x="52" y="10"/>
                </a:lnTo>
                <a:lnTo>
                  <a:pt x="48" y="16"/>
                </a:lnTo>
                <a:lnTo>
                  <a:pt x="42" y="18"/>
                </a:lnTo>
                <a:lnTo>
                  <a:pt x="37" y="18"/>
                </a:lnTo>
                <a:lnTo>
                  <a:pt x="37" y="19"/>
                </a:lnTo>
                <a:lnTo>
                  <a:pt x="42" y="28"/>
                </a:lnTo>
                <a:lnTo>
                  <a:pt x="32" y="28"/>
                </a:lnTo>
                <a:lnTo>
                  <a:pt x="27" y="26"/>
                </a:lnTo>
                <a:lnTo>
                  <a:pt x="21" y="25"/>
                </a:lnTo>
                <a:lnTo>
                  <a:pt x="19" y="27"/>
                </a:lnTo>
                <a:lnTo>
                  <a:pt x="17" y="35"/>
                </a:lnTo>
                <a:lnTo>
                  <a:pt x="13" y="38"/>
                </a:lnTo>
                <a:lnTo>
                  <a:pt x="6" y="44"/>
                </a:lnTo>
                <a:lnTo>
                  <a:pt x="2" y="45"/>
                </a:lnTo>
                <a:lnTo>
                  <a:pt x="0" y="54"/>
                </a:lnTo>
                <a:lnTo>
                  <a:pt x="0" y="55"/>
                </a:lnTo>
                <a:lnTo>
                  <a:pt x="4" y="58"/>
                </a:lnTo>
                <a:lnTo>
                  <a:pt x="7" y="60"/>
                </a:lnTo>
                <a:lnTo>
                  <a:pt x="10" y="59"/>
                </a:lnTo>
                <a:lnTo>
                  <a:pt x="13" y="60"/>
                </a:lnTo>
                <a:lnTo>
                  <a:pt x="18" y="60"/>
                </a:lnTo>
                <a:lnTo>
                  <a:pt x="20" y="61"/>
                </a:lnTo>
                <a:lnTo>
                  <a:pt x="20" y="64"/>
                </a:lnTo>
                <a:lnTo>
                  <a:pt x="21" y="69"/>
                </a:lnTo>
                <a:lnTo>
                  <a:pt x="23" y="75"/>
                </a:lnTo>
                <a:lnTo>
                  <a:pt x="24" y="77"/>
                </a:lnTo>
                <a:lnTo>
                  <a:pt x="27" y="77"/>
                </a:lnTo>
                <a:lnTo>
                  <a:pt x="23" y="78"/>
                </a:lnTo>
                <a:lnTo>
                  <a:pt x="23" y="79"/>
                </a:lnTo>
                <a:lnTo>
                  <a:pt x="22" y="80"/>
                </a:lnTo>
                <a:lnTo>
                  <a:pt x="23" y="85"/>
                </a:lnTo>
                <a:lnTo>
                  <a:pt x="22" y="88"/>
                </a:lnTo>
                <a:lnTo>
                  <a:pt x="27" y="88"/>
                </a:lnTo>
                <a:lnTo>
                  <a:pt x="29" y="88"/>
                </a:lnTo>
                <a:lnTo>
                  <a:pt x="30" y="89"/>
                </a:lnTo>
                <a:lnTo>
                  <a:pt x="29" y="90"/>
                </a:lnTo>
                <a:lnTo>
                  <a:pt x="28" y="90"/>
                </a:lnTo>
                <a:lnTo>
                  <a:pt x="29" y="92"/>
                </a:lnTo>
                <a:lnTo>
                  <a:pt x="30" y="91"/>
                </a:lnTo>
                <a:lnTo>
                  <a:pt x="32" y="95"/>
                </a:lnTo>
                <a:lnTo>
                  <a:pt x="33" y="95"/>
                </a:lnTo>
                <a:lnTo>
                  <a:pt x="36" y="95"/>
                </a:lnTo>
                <a:lnTo>
                  <a:pt x="36" y="94"/>
                </a:lnTo>
                <a:lnTo>
                  <a:pt x="38" y="92"/>
                </a:lnTo>
                <a:lnTo>
                  <a:pt x="37" y="90"/>
                </a:lnTo>
                <a:lnTo>
                  <a:pt x="36" y="89"/>
                </a:lnTo>
                <a:lnTo>
                  <a:pt x="38" y="89"/>
                </a:lnTo>
                <a:lnTo>
                  <a:pt x="40" y="91"/>
                </a:lnTo>
                <a:lnTo>
                  <a:pt x="43" y="92"/>
                </a:lnTo>
                <a:lnTo>
                  <a:pt x="46" y="94"/>
                </a:lnTo>
                <a:lnTo>
                  <a:pt x="46" y="92"/>
                </a:lnTo>
                <a:lnTo>
                  <a:pt x="48" y="91"/>
                </a:lnTo>
                <a:lnTo>
                  <a:pt x="51" y="94"/>
                </a:lnTo>
                <a:lnTo>
                  <a:pt x="53" y="91"/>
                </a:lnTo>
                <a:lnTo>
                  <a:pt x="57" y="86"/>
                </a:lnTo>
                <a:lnTo>
                  <a:pt x="61" y="85"/>
                </a:lnTo>
                <a:lnTo>
                  <a:pt x="67" y="85"/>
                </a:lnTo>
                <a:lnTo>
                  <a:pt x="70" y="84"/>
                </a:lnTo>
                <a:lnTo>
                  <a:pt x="72" y="79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02" name="Freeform 1402"/>
          <p:cNvSpPr>
            <a:spLocks/>
          </p:cNvSpPr>
          <p:nvPr/>
        </p:nvSpPr>
        <p:spPr bwMode="auto">
          <a:xfrm>
            <a:off x="7124700" y="3452778"/>
            <a:ext cx="254000" cy="246063"/>
          </a:xfrm>
          <a:custGeom>
            <a:avLst/>
            <a:gdLst>
              <a:gd name="T0" fmla="*/ 136 w 160"/>
              <a:gd name="T1" fmla="*/ 4 h 155"/>
              <a:gd name="T2" fmla="*/ 136 w 160"/>
              <a:gd name="T3" fmla="*/ 6 h 155"/>
              <a:gd name="T4" fmla="*/ 140 w 160"/>
              <a:gd name="T5" fmla="*/ 12 h 155"/>
              <a:gd name="T6" fmla="*/ 136 w 160"/>
              <a:gd name="T7" fmla="*/ 13 h 155"/>
              <a:gd name="T8" fmla="*/ 133 w 160"/>
              <a:gd name="T9" fmla="*/ 18 h 155"/>
              <a:gd name="T10" fmla="*/ 134 w 160"/>
              <a:gd name="T11" fmla="*/ 21 h 155"/>
              <a:gd name="T12" fmla="*/ 138 w 160"/>
              <a:gd name="T13" fmla="*/ 26 h 155"/>
              <a:gd name="T14" fmla="*/ 144 w 160"/>
              <a:gd name="T15" fmla="*/ 40 h 155"/>
              <a:gd name="T16" fmla="*/ 143 w 160"/>
              <a:gd name="T17" fmla="*/ 43 h 155"/>
              <a:gd name="T18" fmla="*/ 160 w 160"/>
              <a:gd name="T19" fmla="*/ 61 h 155"/>
              <a:gd name="T20" fmla="*/ 152 w 160"/>
              <a:gd name="T21" fmla="*/ 64 h 155"/>
              <a:gd name="T22" fmla="*/ 144 w 160"/>
              <a:gd name="T23" fmla="*/ 61 h 155"/>
              <a:gd name="T24" fmla="*/ 142 w 160"/>
              <a:gd name="T25" fmla="*/ 66 h 155"/>
              <a:gd name="T26" fmla="*/ 138 w 160"/>
              <a:gd name="T27" fmla="*/ 75 h 155"/>
              <a:gd name="T28" fmla="*/ 136 w 160"/>
              <a:gd name="T29" fmla="*/ 87 h 155"/>
              <a:gd name="T30" fmla="*/ 128 w 160"/>
              <a:gd name="T31" fmla="*/ 103 h 155"/>
              <a:gd name="T32" fmla="*/ 118 w 160"/>
              <a:gd name="T33" fmla="*/ 111 h 155"/>
              <a:gd name="T34" fmla="*/ 120 w 160"/>
              <a:gd name="T35" fmla="*/ 116 h 155"/>
              <a:gd name="T36" fmla="*/ 121 w 160"/>
              <a:gd name="T37" fmla="*/ 126 h 155"/>
              <a:gd name="T38" fmla="*/ 119 w 160"/>
              <a:gd name="T39" fmla="*/ 131 h 155"/>
              <a:gd name="T40" fmla="*/ 115 w 160"/>
              <a:gd name="T41" fmla="*/ 135 h 155"/>
              <a:gd name="T42" fmla="*/ 114 w 160"/>
              <a:gd name="T43" fmla="*/ 138 h 155"/>
              <a:gd name="T44" fmla="*/ 109 w 160"/>
              <a:gd name="T45" fmla="*/ 146 h 155"/>
              <a:gd name="T46" fmla="*/ 93 w 160"/>
              <a:gd name="T47" fmla="*/ 154 h 155"/>
              <a:gd name="T48" fmla="*/ 89 w 160"/>
              <a:gd name="T49" fmla="*/ 144 h 155"/>
              <a:gd name="T50" fmla="*/ 84 w 160"/>
              <a:gd name="T51" fmla="*/ 141 h 155"/>
              <a:gd name="T52" fmla="*/ 75 w 160"/>
              <a:gd name="T53" fmla="*/ 142 h 155"/>
              <a:gd name="T54" fmla="*/ 69 w 160"/>
              <a:gd name="T55" fmla="*/ 137 h 155"/>
              <a:gd name="T56" fmla="*/ 63 w 160"/>
              <a:gd name="T57" fmla="*/ 135 h 155"/>
              <a:gd name="T58" fmla="*/ 58 w 160"/>
              <a:gd name="T59" fmla="*/ 141 h 155"/>
              <a:gd name="T60" fmla="*/ 50 w 160"/>
              <a:gd name="T61" fmla="*/ 142 h 155"/>
              <a:gd name="T62" fmla="*/ 45 w 160"/>
              <a:gd name="T63" fmla="*/ 143 h 155"/>
              <a:gd name="T64" fmla="*/ 42 w 160"/>
              <a:gd name="T65" fmla="*/ 132 h 155"/>
              <a:gd name="T66" fmla="*/ 37 w 160"/>
              <a:gd name="T67" fmla="*/ 132 h 155"/>
              <a:gd name="T68" fmla="*/ 31 w 160"/>
              <a:gd name="T69" fmla="*/ 134 h 155"/>
              <a:gd name="T70" fmla="*/ 23 w 160"/>
              <a:gd name="T71" fmla="*/ 132 h 155"/>
              <a:gd name="T72" fmla="*/ 20 w 160"/>
              <a:gd name="T73" fmla="*/ 128 h 155"/>
              <a:gd name="T74" fmla="*/ 18 w 160"/>
              <a:gd name="T75" fmla="*/ 116 h 155"/>
              <a:gd name="T76" fmla="*/ 17 w 160"/>
              <a:gd name="T77" fmla="*/ 111 h 155"/>
              <a:gd name="T78" fmla="*/ 15 w 160"/>
              <a:gd name="T79" fmla="*/ 101 h 155"/>
              <a:gd name="T80" fmla="*/ 11 w 160"/>
              <a:gd name="T81" fmla="*/ 92 h 155"/>
              <a:gd name="T82" fmla="*/ 5 w 160"/>
              <a:gd name="T83" fmla="*/ 88 h 155"/>
              <a:gd name="T84" fmla="*/ 3 w 160"/>
              <a:gd name="T85" fmla="*/ 76 h 155"/>
              <a:gd name="T86" fmla="*/ 0 w 160"/>
              <a:gd name="T87" fmla="*/ 71 h 155"/>
              <a:gd name="T88" fmla="*/ 2 w 160"/>
              <a:gd name="T89" fmla="*/ 53 h 155"/>
              <a:gd name="T90" fmla="*/ 7 w 160"/>
              <a:gd name="T91" fmla="*/ 44 h 155"/>
              <a:gd name="T92" fmla="*/ 18 w 160"/>
              <a:gd name="T93" fmla="*/ 57 h 155"/>
              <a:gd name="T94" fmla="*/ 29 w 160"/>
              <a:gd name="T95" fmla="*/ 61 h 155"/>
              <a:gd name="T96" fmla="*/ 38 w 160"/>
              <a:gd name="T97" fmla="*/ 61 h 155"/>
              <a:gd name="T98" fmla="*/ 45 w 160"/>
              <a:gd name="T99" fmla="*/ 61 h 155"/>
              <a:gd name="T100" fmla="*/ 53 w 160"/>
              <a:gd name="T101" fmla="*/ 51 h 155"/>
              <a:gd name="T102" fmla="*/ 63 w 160"/>
              <a:gd name="T103" fmla="*/ 54 h 155"/>
              <a:gd name="T104" fmla="*/ 73 w 160"/>
              <a:gd name="T105" fmla="*/ 56 h 155"/>
              <a:gd name="T106" fmla="*/ 83 w 160"/>
              <a:gd name="T107" fmla="*/ 53 h 155"/>
              <a:gd name="T108" fmla="*/ 90 w 160"/>
              <a:gd name="T109" fmla="*/ 47 h 155"/>
              <a:gd name="T110" fmla="*/ 95 w 160"/>
              <a:gd name="T111" fmla="*/ 30 h 155"/>
              <a:gd name="T112" fmla="*/ 104 w 160"/>
              <a:gd name="T113" fmla="*/ 8 h 155"/>
              <a:gd name="T114" fmla="*/ 113 w 160"/>
              <a:gd name="T115" fmla="*/ 0 h 155"/>
              <a:gd name="T116" fmla="*/ 135 w 160"/>
              <a:gd name="T117" fmla="*/ 3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60" h="155">
                <a:moveTo>
                  <a:pt x="136" y="3"/>
                </a:moveTo>
                <a:lnTo>
                  <a:pt x="138" y="3"/>
                </a:lnTo>
                <a:lnTo>
                  <a:pt x="136" y="4"/>
                </a:lnTo>
                <a:lnTo>
                  <a:pt x="135" y="5"/>
                </a:lnTo>
                <a:lnTo>
                  <a:pt x="134" y="5"/>
                </a:lnTo>
                <a:lnTo>
                  <a:pt x="136" y="6"/>
                </a:lnTo>
                <a:lnTo>
                  <a:pt x="138" y="8"/>
                </a:lnTo>
                <a:lnTo>
                  <a:pt x="140" y="8"/>
                </a:lnTo>
                <a:lnTo>
                  <a:pt x="140" y="12"/>
                </a:lnTo>
                <a:lnTo>
                  <a:pt x="139" y="13"/>
                </a:lnTo>
                <a:lnTo>
                  <a:pt x="136" y="12"/>
                </a:lnTo>
                <a:lnTo>
                  <a:pt x="136" y="13"/>
                </a:lnTo>
                <a:lnTo>
                  <a:pt x="132" y="13"/>
                </a:lnTo>
                <a:lnTo>
                  <a:pt x="131" y="15"/>
                </a:lnTo>
                <a:lnTo>
                  <a:pt x="133" y="18"/>
                </a:lnTo>
                <a:lnTo>
                  <a:pt x="134" y="18"/>
                </a:lnTo>
                <a:lnTo>
                  <a:pt x="135" y="20"/>
                </a:lnTo>
                <a:lnTo>
                  <a:pt x="134" y="21"/>
                </a:lnTo>
                <a:lnTo>
                  <a:pt x="134" y="23"/>
                </a:lnTo>
                <a:lnTo>
                  <a:pt x="136" y="24"/>
                </a:lnTo>
                <a:lnTo>
                  <a:pt x="138" y="26"/>
                </a:lnTo>
                <a:lnTo>
                  <a:pt x="139" y="28"/>
                </a:lnTo>
                <a:lnTo>
                  <a:pt x="144" y="37"/>
                </a:lnTo>
                <a:lnTo>
                  <a:pt x="144" y="40"/>
                </a:lnTo>
                <a:lnTo>
                  <a:pt x="143" y="41"/>
                </a:lnTo>
                <a:lnTo>
                  <a:pt x="143" y="42"/>
                </a:lnTo>
                <a:lnTo>
                  <a:pt x="143" y="43"/>
                </a:lnTo>
                <a:lnTo>
                  <a:pt x="143" y="45"/>
                </a:lnTo>
                <a:lnTo>
                  <a:pt x="159" y="58"/>
                </a:lnTo>
                <a:lnTo>
                  <a:pt x="160" y="61"/>
                </a:lnTo>
                <a:lnTo>
                  <a:pt x="160" y="63"/>
                </a:lnTo>
                <a:lnTo>
                  <a:pt x="157" y="64"/>
                </a:lnTo>
                <a:lnTo>
                  <a:pt x="152" y="64"/>
                </a:lnTo>
                <a:lnTo>
                  <a:pt x="148" y="63"/>
                </a:lnTo>
                <a:lnTo>
                  <a:pt x="145" y="60"/>
                </a:lnTo>
                <a:lnTo>
                  <a:pt x="144" y="61"/>
                </a:lnTo>
                <a:lnTo>
                  <a:pt x="145" y="64"/>
                </a:lnTo>
                <a:lnTo>
                  <a:pt x="145" y="65"/>
                </a:lnTo>
                <a:lnTo>
                  <a:pt x="142" y="66"/>
                </a:lnTo>
                <a:lnTo>
                  <a:pt x="140" y="70"/>
                </a:lnTo>
                <a:lnTo>
                  <a:pt x="139" y="72"/>
                </a:lnTo>
                <a:lnTo>
                  <a:pt x="138" y="75"/>
                </a:lnTo>
                <a:lnTo>
                  <a:pt x="138" y="78"/>
                </a:lnTo>
                <a:lnTo>
                  <a:pt x="138" y="82"/>
                </a:lnTo>
                <a:lnTo>
                  <a:pt x="136" y="87"/>
                </a:lnTo>
                <a:lnTo>
                  <a:pt x="134" y="91"/>
                </a:lnTo>
                <a:lnTo>
                  <a:pt x="131" y="101"/>
                </a:lnTo>
                <a:lnTo>
                  <a:pt x="128" y="103"/>
                </a:lnTo>
                <a:lnTo>
                  <a:pt x="126" y="102"/>
                </a:lnTo>
                <a:lnTo>
                  <a:pt x="125" y="104"/>
                </a:lnTo>
                <a:lnTo>
                  <a:pt x="118" y="111"/>
                </a:lnTo>
                <a:lnTo>
                  <a:pt x="118" y="112"/>
                </a:lnTo>
                <a:lnTo>
                  <a:pt x="120" y="113"/>
                </a:lnTo>
                <a:lnTo>
                  <a:pt x="120" y="116"/>
                </a:lnTo>
                <a:lnTo>
                  <a:pt x="120" y="118"/>
                </a:lnTo>
                <a:lnTo>
                  <a:pt x="123" y="119"/>
                </a:lnTo>
                <a:lnTo>
                  <a:pt x="121" y="126"/>
                </a:lnTo>
                <a:lnTo>
                  <a:pt x="120" y="125"/>
                </a:lnTo>
                <a:lnTo>
                  <a:pt x="119" y="126"/>
                </a:lnTo>
                <a:lnTo>
                  <a:pt x="119" y="131"/>
                </a:lnTo>
                <a:lnTo>
                  <a:pt x="116" y="133"/>
                </a:lnTo>
                <a:lnTo>
                  <a:pt x="115" y="133"/>
                </a:lnTo>
                <a:lnTo>
                  <a:pt x="115" y="135"/>
                </a:lnTo>
                <a:lnTo>
                  <a:pt x="115" y="136"/>
                </a:lnTo>
                <a:lnTo>
                  <a:pt x="115" y="137"/>
                </a:lnTo>
                <a:lnTo>
                  <a:pt x="114" y="138"/>
                </a:lnTo>
                <a:lnTo>
                  <a:pt x="113" y="139"/>
                </a:lnTo>
                <a:lnTo>
                  <a:pt x="112" y="144"/>
                </a:lnTo>
                <a:lnTo>
                  <a:pt x="109" y="146"/>
                </a:lnTo>
                <a:lnTo>
                  <a:pt x="108" y="146"/>
                </a:lnTo>
                <a:lnTo>
                  <a:pt x="104" y="148"/>
                </a:lnTo>
                <a:lnTo>
                  <a:pt x="93" y="154"/>
                </a:lnTo>
                <a:lnTo>
                  <a:pt x="91" y="155"/>
                </a:lnTo>
                <a:lnTo>
                  <a:pt x="90" y="146"/>
                </a:lnTo>
                <a:lnTo>
                  <a:pt x="89" y="144"/>
                </a:lnTo>
                <a:lnTo>
                  <a:pt x="88" y="143"/>
                </a:lnTo>
                <a:lnTo>
                  <a:pt x="86" y="143"/>
                </a:lnTo>
                <a:lnTo>
                  <a:pt x="84" y="141"/>
                </a:lnTo>
                <a:lnTo>
                  <a:pt x="81" y="141"/>
                </a:lnTo>
                <a:lnTo>
                  <a:pt x="78" y="141"/>
                </a:lnTo>
                <a:lnTo>
                  <a:pt x="75" y="142"/>
                </a:lnTo>
                <a:lnTo>
                  <a:pt x="74" y="139"/>
                </a:lnTo>
                <a:lnTo>
                  <a:pt x="74" y="137"/>
                </a:lnTo>
                <a:lnTo>
                  <a:pt x="69" y="137"/>
                </a:lnTo>
                <a:lnTo>
                  <a:pt x="65" y="135"/>
                </a:lnTo>
                <a:lnTo>
                  <a:pt x="64" y="134"/>
                </a:lnTo>
                <a:lnTo>
                  <a:pt x="63" y="135"/>
                </a:lnTo>
                <a:lnTo>
                  <a:pt x="64" y="137"/>
                </a:lnTo>
                <a:lnTo>
                  <a:pt x="61" y="138"/>
                </a:lnTo>
                <a:lnTo>
                  <a:pt x="58" y="141"/>
                </a:lnTo>
                <a:lnTo>
                  <a:pt x="55" y="141"/>
                </a:lnTo>
                <a:lnTo>
                  <a:pt x="52" y="141"/>
                </a:lnTo>
                <a:lnTo>
                  <a:pt x="50" y="142"/>
                </a:lnTo>
                <a:lnTo>
                  <a:pt x="48" y="142"/>
                </a:lnTo>
                <a:lnTo>
                  <a:pt x="47" y="143"/>
                </a:lnTo>
                <a:lnTo>
                  <a:pt x="45" y="143"/>
                </a:lnTo>
                <a:lnTo>
                  <a:pt x="45" y="136"/>
                </a:lnTo>
                <a:lnTo>
                  <a:pt x="43" y="129"/>
                </a:lnTo>
                <a:lnTo>
                  <a:pt x="42" y="132"/>
                </a:lnTo>
                <a:lnTo>
                  <a:pt x="41" y="133"/>
                </a:lnTo>
                <a:lnTo>
                  <a:pt x="38" y="132"/>
                </a:lnTo>
                <a:lnTo>
                  <a:pt x="37" y="132"/>
                </a:lnTo>
                <a:lnTo>
                  <a:pt x="35" y="134"/>
                </a:lnTo>
                <a:lnTo>
                  <a:pt x="33" y="134"/>
                </a:lnTo>
                <a:lnTo>
                  <a:pt x="31" y="134"/>
                </a:lnTo>
                <a:lnTo>
                  <a:pt x="30" y="134"/>
                </a:lnTo>
                <a:lnTo>
                  <a:pt x="27" y="134"/>
                </a:lnTo>
                <a:lnTo>
                  <a:pt x="23" y="132"/>
                </a:lnTo>
                <a:lnTo>
                  <a:pt x="22" y="133"/>
                </a:lnTo>
                <a:lnTo>
                  <a:pt x="20" y="133"/>
                </a:lnTo>
                <a:lnTo>
                  <a:pt x="20" y="128"/>
                </a:lnTo>
                <a:lnTo>
                  <a:pt x="20" y="125"/>
                </a:lnTo>
                <a:lnTo>
                  <a:pt x="19" y="123"/>
                </a:lnTo>
                <a:lnTo>
                  <a:pt x="18" y="116"/>
                </a:lnTo>
                <a:lnTo>
                  <a:pt x="17" y="113"/>
                </a:lnTo>
                <a:lnTo>
                  <a:pt x="15" y="111"/>
                </a:lnTo>
                <a:lnTo>
                  <a:pt x="17" y="111"/>
                </a:lnTo>
                <a:lnTo>
                  <a:pt x="17" y="107"/>
                </a:lnTo>
                <a:lnTo>
                  <a:pt x="17" y="104"/>
                </a:lnTo>
                <a:lnTo>
                  <a:pt x="15" y="101"/>
                </a:lnTo>
                <a:lnTo>
                  <a:pt x="13" y="95"/>
                </a:lnTo>
                <a:lnTo>
                  <a:pt x="12" y="93"/>
                </a:lnTo>
                <a:lnTo>
                  <a:pt x="11" y="92"/>
                </a:lnTo>
                <a:lnTo>
                  <a:pt x="9" y="91"/>
                </a:lnTo>
                <a:lnTo>
                  <a:pt x="7" y="88"/>
                </a:lnTo>
                <a:lnTo>
                  <a:pt x="5" y="88"/>
                </a:lnTo>
                <a:lnTo>
                  <a:pt x="4" y="87"/>
                </a:lnTo>
                <a:lnTo>
                  <a:pt x="3" y="84"/>
                </a:lnTo>
                <a:lnTo>
                  <a:pt x="3" y="76"/>
                </a:lnTo>
                <a:lnTo>
                  <a:pt x="2" y="73"/>
                </a:lnTo>
                <a:lnTo>
                  <a:pt x="1" y="72"/>
                </a:lnTo>
                <a:lnTo>
                  <a:pt x="0" y="71"/>
                </a:lnTo>
                <a:lnTo>
                  <a:pt x="0" y="64"/>
                </a:lnTo>
                <a:lnTo>
                  <a:pt x="0" y="60"/>
                </a:lnTo>
                <a:lnTo>
                  <a:pt x="2" y="53"/>
                </a:lnTo>
                <a:lnTo>
                  <a:pt x="3" y="51"/>
                </a:lnTo>
                <a:lnTo>
                  <a:pt x="5" y="47"/>
                </a:lnTo>
                <a:lnTo>
                  <a:pt x="7" y="44"/>
                </a:lnTo>
                <a:lnTo>
                  <a:pt x="9" y="42"/>
                </a:lnTo>
                <a:lnTo>
                  <a:pt x="9" y="44"/>
                </a:lnTo>
                <a:lnTo>
                  <a:pt x="18" y="57"/>
                </a:lnTo>
                <a:lnTo>
                  <a:pt x="21" y="61"/>
                </a:lnTo>
                <a:lnTo>
                  <a:pt x="25" y="62"/>
                </a:lnTo>
                <a:lnTo>
                  <a:pt x="29" y="61"/>
                </a:lnTo>
                <a:lnTo>
                  <a:pt x="32" y="61"/>
                </a:lnTo>
                <a:lnTo>
                  <a:pt x="34" y="62"/>
                </a:lnTo>
                <a:lnTo>
                  <a:pt x="38" y="61"/>
                </a:lnTo>
                <a:lnTo>
                  <a:pt x="41" y="61"/>
                </a:lnTo>
                <a:lnTo>
                  <a:pt x="43" y="62"/>
                </a:lnTo>
                <a:lnTo>
                  <a:pt x="45" y="61"/>
                </a:lnTo>
                <a:lnTo>
                  <a:pt x="50" y="54"/>
                </a:lnTo>
                <a:lnTo>
                  <a:pt x="52" y="52"/>
                </a:lnTo>
                <a:lnTo>
                  <a:pt x="53" y="51"/>
                </a:lnTo>
                <a:lnTo>
                  <a:pt x="61" y="52"/>
                </a:lnTo>
                <a:lnTo>
                  <a:pt x="63" y="52"/>
                </a:lnTo>
                <a:lnTo>
                  <a:pt x="63" y="54"/>
                </a:lnTo>
                <a:lnTo>
                  <a:pt x="64" y="54"/>
                </a:lnTo>
                <a:lnTo>
                  <a:pt x="71" y="56"/>
                </a:lnTo>
                <a:lnTo>
                  <a:pt x="73" y="56"/>
                </a:lnTo>
                <a:lnTo>
                  <a:pt x="76" y="55"/>
                </a:lnTo>
                <a:lnTo>
                  <a:pt x="80" y="54"/>
                </a:lnTo>
                <a:lnTo>
                  <a:pt x="83" y="53"/>
                </a:lnTo>
                <a:lnTo>
                  <a:pt x="86" y="52"/>
                </a:lnTo>
                <a:lnTo>
                  <a:pt x="89" y="51"/>
                </a:lnTo>
                <a:lnTo>
                  <a:pt x="90" y="47"/>
                </a:lnTo>
                <a:lnTo>
                  <a:pt x="92" y="44"/>
                </a:lnTo>
                <a:lnTo>
                  <a:pt x="94" y="38"/>
                </a:lnTo>
                <a:lnTo>
                  <a:pt x="95" y="30"/>
                </a:lnTo>
                <a:lnTo>
                  <a:pt x="103" y="20"/>
                </a:lnTo>
                <a:lnTo>
                  <a:pt x="104" y="15"/>
                </a:lnTo>
                <a:lnTo>
                  <a:pt x="104" y="8"/>
                </a:lnTo>
                <a:lnTo>
                  <a:pt x="106" y="3"/>
                </a:lnTo>
                <a:lnTo>
                  <a:pt x="108" y="0"/>
                </a:lnTo>
                <a:lnTo>
                  <a:pt x="113" y="0"/>
                </a:lnTo>
                <a:lnTo>
                  <a:pt x="129" y="0"/>
                </a:lnTo>
                <a:lnTo>
                  <a:pt x="131" y="2"/>
                </a:lnTo>
                <a:lnTo>
                  <a:pt x="135" y="3"/>
                </a:lnTo>
                <a:lnTo>
                  <a:pt x="136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03" name="Freeform 1403"/>
          <p:cNvSpPr>
            <a:spLocks/>
          </p:cNvSpPr>
          <p:nvPr/>
        </p:nvSpPr>
        <p:spPr bwMode="auto">
          <a:xfrm>
            <a:off x="7124700" y="3452778"/>
            <a:ext cx="254000" cy="246063"/>
          </a:xfrm>
          <a:custGeom>
            <a:avLst/>
            <a:gdLst>
              <a:gd name="T0" fmla="*/ 136 w 160"/>
              <a:gd name="T1" fmla="*/ 4 h 155"/>
              <a:gd name="T2" fmla="*/ 136 w 160"/>
              <a:gd name="T3" fmla="*/ 6 h 155"/>
              <a:gd name="T4" fmla="*/ 140 w 160"/>
              <a:gd name="T5" fmla="*/ 12 h 155"/>
              <a:gd name="T6" fmla="*/ 136 w 160"/>
              <a:gd name="T7" fmla="*/ 13 h 155"/>
              <a:gd name="T8" fmla="*/ 133 w 160"/>
              <a:gd name="T9" fmla="*/ 18 h 155"/>
              <a:gd name="T10" fmla="*/ 134 w 160"/>
              <a:gd name="T11" fmla="*/ 21 h 155"/>
              <a:gd name="T12" fmla="*/ 138 w 160"/>
              <a:gd name="T13" fmla="*/ 26 h 155"/>
              <a:gd name="T14" fmla="*/ 144 w 160"/>
              <a:gd name="T15" fmla="*/ 40 h 155"/>
              <a:gd name="T16" fmla="*/ 143 w 160"/>
              <a:gd name="T17" fmla="*/ 43 h 155"/>
              <a:gd name="T18" fmla="*/ 160 w 160"/>
              <a:gd name="T19" fmla="*/ 61 h 155"/>
              <a:gd name="T20" fmla="*/ 152 w 160"/>
              <a:gd name="T21" fmla="*/ 64 h 155"/>
              <a:gd name="T22" fmla="*/ 144 w 160"/>
              <a:gd name="T23" fmla="*/ 61 h 155"/>
              <a:gd name="T24" fmla="*/ 142 w 160"/>
              <a:gd name="T25" fmla="*/ 66 h 155"/>
              <a:gd name="T26" fmla="*/ 138 w 160"/>
              <a:gd name="T27" fmla="*/ 75 h 155"/>
              <a:gd name="T28" fmla="*/ 136 w 160"/>
              <a:gd name="T29" fmla="*/ 87 h 155"/>
              <a:gd name="T30" fmla="*/ 128 w 160"/>
              <a:gd name="T31" fmla="*/ 103 h 155"/>
              <a:gd name="T32" fmla="*/ 118 w 160"/>
              <a:gd name="T33" fmla="*/ 111 h 155"/>
              <a:gd name="T34" fmla="*/ 120 w 160"/>
              <a:gd name="T35" fmla="*/ 116 h 155"/>
              <a:gd name="T36" fmla="*/ 121 w 160"/>
              <a:gd name="T37" fmla="*/ 126 h 155"/>
              <a:gd name="T38" fmla="*/ 119 w 160"/>
              <a:gd name="T39" fmla="*/ 131 h 155"/>
              <a:gd name="T40" fmla="*/ 115 w 160"/>
              <a:gd name="T41" fmla="*/ 135 h 155"/>
              <a:gd name="T42" fmla="*/ 114 w 160"/>
              <a:gd name="T43" fmla="*/ 138 h 155"/>
              <a:gd name="T44" fmla="*/ 109 w 160"/>
              <a:gd name="T45" fmla="*/ 146 h 155"/>
              <a:gd name="T46" fmla="*/ 93 w 160"/>
              <a:gd name="T47" fmla="*/ 154 h 155"/>
              <a:gd name="T48" fmla="*/ 89 w 160"/>
              <a:gd name="T49" fmla="*/ 144 h 155"/>
              <a:gd name="T50" fmla="*/ 84 w 160"/>
              <a:gd name="T51" fmla="*/ 141 h 155"/>
              <a:gd name="T52" fmla="*/ 75 w 160"/>
              <a:gd name="T53" fmla="*/ 142 h 155"/>
              <a:gd name="T54" fmla="*/ 69 w 160"/>
              <a:gd name="T55" fmla="*/ 137 h 155"/>
              <a:gd name="T56" fmla="*/ 63 w 160"/>
              <a:gd name="T57" fmla="*/ 135 h 155"/>
              <a:gd name="T58" fmla="*/ 58 w 160"/>
              <a:gd name="T59" fmla="*/ 141 h 155"/>
              <a:gd name="T60" fmla="*/ 50 w 160"/>
              <a:gd name="T61" fmla="*/ 142 h 155"/>
              <a:gd name="T62" fmla="*/ 45 w 160"/>
              <a:gd name="T63" fmla="*/ 143 h 155"/>
              <a:gd name="T64" fmla="*/ 42 w 160"/>
              <a:gd name="T65" fmla="*/ 132 h 155"/>
              <a:gd name="T66" fmla="*/ 37 w 160"/>
              <a:gd name="T67" fmla="*/ 132 h 155"/>
              <a:gd name="T68" fmla="*/ 31 w 160"/>
              <a:gd name="T69" fmla="*/ 134 h 155"/>
              <a:gd name="T70" fmla="*/ 23 w 160"/>
              <a:gd name="T71" fmla="*/ 132 h 155"/>
              <a:gd name="T72" fmla="*/ 20 w 160"/>
              <a:gd name="T73" fmla="*/ 128 h 155"/>
              <a:gd name="T74" fmla="*/ 18 w 160"/>
              <a:gd name="T75" fmla="*/ 116 h 155"/>
              <a:gd name="T76" fmla="*/ 17 w 160"/>
              <a:gd name="T77" fmla="*/ 111 h 155"/>
              <a:gd name="T78" fmla="*/ 15 w 160"/>
              <a:gd name="T79" fmla="*/ 101 h 155"/>
              <a:gd name="T80" fmla="*/ 11 w 160"/>
              <a:gd name="T81" fmla="*/ 92 h 155"/>
              <a:gd name="T82" fmla="*/ 5 w 160"/>
              <a:gd name="T83" fmla="*/ 88 h 155"/>
              <a:gd name="T84" fmla="*/ 3 w 160"/>
              <a:gd name="T85" fmla="*/ 76 h 155"/>
              <a:gd name="T86" fmla="*/ 0 w 160"/>
              <a:gd name="T87" fmla="*/ 71 h 155"/>
              <a:gd name="T88" fmla="*/ 2 w 160"/>
              <a:gd name="T89" fmla="*/ 53 h 155"/>
              <a:gd name="T90" fmla="*/ 7 w 160"/>
              <a:gd name="T91" fmla="*/ 44 h 155"/>
              <a:gd name="T92" fmla="*/ 18 w 160"/>
              <a:gd name="T93" fmla="*/ 57 h 155"/>
              <a:gd name="T94" fmla="*/ 29 w 160"/>
              <a:gd name="T95" fmla="*/ 61 h 155"/>
              <a:gd name="T96" fmla="*/ 38 w 160"/>
              <a:gd name="T97" fmla="*/ 61 h 155"/>
              <a:gd name="T98" fmla="*/ 45 w 160"/>
              <a:gd name="T99" fmla="*/ 61 h 155"/>
              <a:gd name="T100" fmla="*/ 53 w 160"/>
              <a:gd name="T101" fmla="*/ 51 h 155"/>
              <a:gd name="T102" fmla="*/ 63 w 160"/>
              <a:gd name="T103" fmla="*/ 54 h 155"/>
              <a:gd name="T104" fmla="*/ 73 w 160"/>
              <a:gd name="T105" fmla="*/ 56 h 155"/>
              <a:gd name="T106" fmla="*/ 83 w 160"/>
              <a:gd name="T107" fmla="*/ 53 h 155"/>
              <a:gd name="T108" fmla="*/ 90 w 160"/>
              <a:gd name="T109" fmla="*/ 47 h 155"/>
              <a:gd name="T110" fmla="*/ 95 w 160"/>
              <a:gd name="T111" fmla="*/ 30 h 155"/>
              <a:gd name="T112" fmla="*/ 104 w 160"/>
              <a:gd name="T113" fmla="*/ 8 h 155"/>
              <a:gd name="T114" fmla="*/ 113 w 160"/>
              <a:gd name="T115" fmla="*/ 0 h 155"/>
              <a:gd name="T116" fmla="*/ 135 w 160"/>
              <a:gd name="T117" fmla="*/ 3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60" h="155">
                <a:moveTo>
                  <a:pt x="136" y="3"/>
                </a:moveTo>
                <a:lnTo>
                  <a:pt x="138" y="3"/>
                </a:lnTo>
                <a:lnTo>
                  <a:pt x="136" y="4"/>
                </a:lnTo>
                <a:lnTo>
                  <a:pt x="135" y="5"/>
                </a:lnTo>
                <a:lnTo>
                  <a:pt x="134" y="5"/>
                </a:lnTo>
                <a:lnTo>
                  <a:pt x="136" y="6"/>
                </a:lnTo>
                <a:lnTo>
                  <a:pt x="138" y="8"/>
                </a:lnTo>
                <a:lnTo>
                  <a:pt x="140" y="8"/>
                </a:lnTo>
                <a:lnTo>
                  <a:pt x="140" y="12"/>
                </a:lnTo>
                <a:lnTo>
                  <a:pt x="139" y="13"/>
                </a:lnTo>
                <a:lnTo>
                  <a:pt x="136" y="12"/>
                </a:lnTo>
                <a:lnTo>
                  <a:pt x="136" y="13"/>
                </a:lnTo>
                <a:lnTo>
                  <a:pt x="132" y="13"/>
                </a:lnTo>
                <a:lnTo>
                  <a:pt x="131" y="15"/>
                </a:lnTo>
                <a:lnTo>
                  <a:pt x="133" y="18"/>
                </a:lnTo>
                <a:lnTo>
                  <a:pt x="134" y="18"/>
                </a:lnTo>
                <a:lnTo>
                  <a:pt x="135" y="20"/>
                </a:lnTo>
                <a:lnTo>
                  <a:pt x="134" y="21"/>
                </a:lnTo>
                <a:lnTo>
                  <a:pt x="134" y="23"/>
                </a:lnTo>
                <a:lnTo>
                  <a:pt x="136" y="24"/>
                </a:lnTo>
                <a:lnTo>
                  <a:pt x="138" y="26"/>
                </a:lnTo>
                <a:lnTo>
                  <a:pt x="139" y="28"/>
                </a:lnTo>
                <a:lnTo>
                  <a:pt x="144" y="37"/>
                </a:lnTo>
                <a:lnTo>
                  <a:pt x="144" y="40"/>
                </a:lnTo>
                <a:lnTo>
                  <a:pt x="143" y="41"/>
                </a:lnTo>
                <a:lnTo>
                  <a:pt x="143" y="42"/>
                </a:lnTo>
                <a:lnTo>
                  <a:pt x="143" y="43"/>
                </a:lnTo>
                <a:lnTo>
                  <a:pt x="143" y="45"/>
                </a:lnTo>
                <a:lnTo>
                  <a:pt x="159" y="58"/>
                </a:lnTo>
                <a:lnTo>
                  <a:pt x="160" y="61"/>
                </a:lnTo>
                <a:lnTo>
                  <a:pt x="160" y="63"/>
                </a:lnTo>
                <a:lnTo>
                  <a:pt x="157" y="64"/>
                </a:lnTo>
                <a:lnTo>
                  <a:pt x="152" y="64"/>
                </a:lnTo>
                <a:lnTo>
                  <a:pt x="148" y="63"/>
                </a:lnTo>
                <a:lnTo>
                  <a:pt x="145" y="60"/>
                </a:lnTo>
                <a:lnTo>
                  <a:pt x="144" y="61"/>
                </a:lnTo>
                <a:lnTo>
                  <a:pt x="145" y="64"/>
                </a:lnTo>
                <a:lnTo>
                  <a:pt x="145" y="65"/>
                </a:lnTo>
                <a:lnTo>
                  <a:pt x="142" y="66"/>
                </a:lnTo>
                <a:lnTo>
                  <a:pt x="140" y="70"/>
                </a:lnTo>
                <a:lnTo>
                  <a:pt x="139" y="72"/>
                </a:lnTo>
                <a:lnTo>
                  <a:pt x="138" y="75"/>
                </a:lnTo>
                <a:lnTo>
                  <a:pt x="138" y="78"/>
                </a:lnTo>
                <a:lnTo>
                  <a:pt x="138" y="82"/>
                </a:lnTo>
                <a:lnTo>
                  <a:pt x="136" y="87"/>
                </a:lnTo>
                <a:lnTo>
                  <a:pt x="134" y="91"/>
                </a:lnTo>
                <a:lnTo>
                  <a:pt x="131" y="101"/>
                </a:lnTo>
                <a:lnTo>
                  <a:pt x="128" y="103"/>
                </a:lnTo>
                <a:lnTo>
                  <a:pt x="126" y="102"/>
                </a:lnTo>
                <a:lnTo>
                  <a:pt x="125" y="104"/>
                </a:lnTo>
                <a:lnTo>
                  <a:pt x="118" y="111"/>
                </a:lnTo>
                <a:lnTo>
                  <a:pt x="118" y="112"/>
                </a:lnTo>
                <a:lnTo>
                  <a:pt x="120" y="113"/>
                </a:lnTo>
                <a:lnTo>
                  <a:pt x="120" y="116"/>
                </a:lnTo>
                <a:lnTo>
                  <a:pt x="120" y="118"/>
                </a:lnTo>
                <a:lnTo>
                  <a:pt x="123" y="119"/>
                </a:lnTo>
                <a:lnTo>
                  <a:pt x="121" y="126"/>
                </a:lnTo>
                <a:lnTo>
                  <a:pt x="120" y="125"/>
                </a:lnTo>
                <a:lnTo>
                  <a:pt x="119" y="126"/>
                </a:lnTo>
                <a:lnTo>
                  <a:pt x="119" y="131"/>
                </a:lnTo>
                <a:lnTo>
                  <a:pt x="116" y="133"/>
                </a:lnTo>
                <a:lnTo>
                  <a:pt x="115" y="133"/>
                </a:lnTo>
                <a:lnTo>
                  <a:pt x="115" y="135"/>
                </a:lnTo>
                <a:lnTo>
                  <a:pt x="115" y="136"/>
                </a:lnTo>
                <a:lnTo>
                  <a:pt x="115" y="137"/>
                </a:lnTo>
                <a:lnTo>
                  <a:pt x="114" y="138"/>
                </a:lnTo>
                <a:lnTo>
                  <a:pt x="113" y="139"/>
                </a:lnTo>
                <a:lnTo>
                  <a:pt x="112" y="144"/>
                </a:lnTo>
                <a:lnTo>
                  <a:pt x="109" y="146"/>
                </a:lnTo>
                <a:lnTo>
                  <a:pt x="108" y="146"/>
                </a:lnTo>
                <a:lnTo>
                  <a:pt x="104" y="148"/>
                </a:lnTo>
                <a:lnTo>
                  <a:pt x="93" y="154"/>
                </a:lnTo>
                <a:lnTo>
                  <a:pt x="91" y="155"/>
                </a:lnTo>
                <a:lnTo>
                  <a:pt x="90" y="146"/>
                </a:lnTo>
                <a:lnTo>
                  <a:pt x="89" y="144"/>
                </a:lnTo>
                <a:lnTo>
                  <a:pt x="88" y="143"/>
                </a:lnTo>
                <a:lnTo>
                  <a:pt x="86" y="143"/>
                </a:lnTo>
                <a:lnTo>
                  <a:pt x="84" y="141"/>
                </a:lnTo>
                <a:lnTo>
                  <a:pt x="81" y="141"/>
                </a:lnTo>
                <a:lnTo>
                  <a:pt x="78" y="141"/>
                </a:lnTo>
                <a:lnTo>
                  <a:pt x="75" y="142"/>
                </a:lnTo>
                <a:lnTo>
                  <a:pt x="74" y="139"/>
                </a:lnTo>
                <a:lnTo>
                  <a:pt x="74" y="137"/>
                </a:lnTo>
                <a:lnTo>
                  <a:pt x="69" y="137"/>
                </a:lnTo>
                <a:lnTo>
                  <a:pt x="65" y="135"/>
                </a:lnTo>
                <a:lnTo>
                  <a:pt x="64" y="134"/>
                </a:lnTo>
                <a:lnTo>
                  <a:pt x="63" y="135"/>
                </a:lnTo>
                <a:lnTo>
                  <a:pt x="64" y="137"/>
                </a:lnTo>
                <a:lnTo>
                  <a:pt x="61" y="138"/>
                </a:lnTo>
                <a:lnTo>
                  <a:pt x="58" y="141"/>
                </a:lnTo>
                <a:lnTo>
                  <a:pt x="55" y="141"/>
                </a:lnTo>
                <a:lnTo>
                  <a:pt x="52" y="141"/>
                </a:lnTo>
                <a:lnTo>
                  <a:pt x="50" y="142"/>
                </a:lnTo>
                <a:lnTo>
                  <a:pt x="48" y="142"/>
                </a:lnTo>
                <a:lnTo>
                  <a:pt x="47" y="143"/>
                </a:lnTo>
                <a:lnTo>
                  <a:pt x="45" y="143"/>
                </a:lnTo>
                <a:lnTo>
                  <a:pt x="45" y="136"/>
                </a:lnTo>
                <a:lnTo>
                  <a:pt x="43" y="129"/>
                </a:lnTo>
                <a:lnTo>
                  <a:pt x="42" y="132"/>
                </a:lnTo>
                <a:lnTo>
                  <a:pt x="41" y="133"/>
                </a:lnTo>
                <a:lnTo>
                  <a:pt x="38" y="132"/>
                </a:lnTo>
                <a:lnTo>
                  <a:pt x="37" y="132"/>
                </a:lnTo>
                <a:lnTo>
                  <a:pt x="35" y="134"/>
                </a:lnTo>
                <a:lnTo>
                  <a:pt x="33" y="134"/>
                </a:lnTo>
                <a:lnTo>
                  <a:pt x="31" y="134"/>
                </a:lnTo>
                <a:lnTo>
                  <a:pt x="30" y="134"/>
                </a:lnTo>
                <a:lnTo>
                  <a:pt x="27" y="134"/>
                </a:lnTo>
                <a:lnTo>
                  <a:pt x="23" y="132"/>
                </a:lnTo>
                <a:lnTo>
                  <a:pt x="22" y="133"/>
                </a:lnTo>
                <a:lnTo>
                  <a:pt x="20" y="133"/>
                </a:lnTo>
                <a:lnTo>
                  <a:pt x="20" y="128"/>
                </a:lnTo>
                <a:lnTo>
                  <a:pt x="20" y="125"/>
                </a:lnTo>
                <a:lnTo>
                  <a:pt x="19" y="123"/>
                </a:lnTo>
                <a:lnTo>
                  <a:pt x="18" y="116"/>
                </a:lnTo>
                <a:lnTo>
                  <a:pt x="17" y="113"/>
                </a:lnTo>
                <a:lnTo>
                  <a:pt x="15" y="111"/>
                </a:lnTo>
                <a:lnTo>
                  <a:pt x="17" y="111"/>
                </a:lnTo>
                <a:lnTo>
                  <a:pt x="17" y="107"/>
                </a:lnTo>
                <a:lnTo>
                  <a:pt x="17" y="104"/>
                </a:lnTo>
                <a:lnTo>
                  <a:pt x="15" y="101"/>
                </a:lnTo>
                <a:lnTo>
                  <a:pt x="13" y="95"/>
                </a:lnTo>
                <a:lnTo>
                  <a:pt x="12" y="93"/>
                </a:lnTo>
                <a:lnTo>
                  <a:pt x="11" y="92"/>
                </a:lnTo>
                <a:lnTo>
                  <a:pt x="9" y="91"/>
                </a:lnTo>
                <a:lnTo>
                  <a:pt x="7" y="88"/>
                </a:lnTo>
                <a:lnTo>
                  <a:pt x="5" y="88"/>
                </a:lnTo>
                <a:lnTo>
                  <a:pt x="4" y="87"/>
                </a:lnTo>
                <a:lnTo>
                  <a:pt x="3" y="84"/>
                </a:lnTo>
                <a:lnTo>
                  <a:pt x="3" y="76"/>
                </a:lnTo>
                <a:lnTo>
                  <a:pt x="2" y="73"/>
                </a:lnTo>
                <a:lnTo>
                  <a:pt x="1" y="72"/>
                </a:lnTo>
                <a:lnTo>
                  <a:pt x="0" y="71"/>
                </a:lnTo>
                <a:lnTo>
                  <a:pt x="0" y="64"/>
                </a:lnTo>
                <a:lnTo>
                  <a:pt x="0" y="60"/>
                </a:lnTo>
                <a:lnTo>
                  <a:pt x="2" y="53"/>
                </a:lnTo>
                <a:lnTo>
                  <a:pt x="3" y="51"/>
                </a:lnTo>
                <a:lnTo>
                  <a:pt x="5" y="47"/>
                </a:lnTo>
                <a:lnTo>
                  <a:pt x="7" y="44"/>
                </a:lnTo>
                <a:lnTo>
                  <a:pt x="9" y="42"/>
                </a:lnTo>
                <a:lnTo>
                  <a:pt x="9" y="44"/>
                </a:lnTo>
                <a:lnTo>
                  <a:pt x="18" y="57"/>
                </a:lnTo>
                <a:lnTo>
                  <a:pt x="21" y="61"/>
                </a:lnTo>
                <a:lnTo>
                  <a:pt x="25" y="62"/>
                </a:lnTo>
                <a:lnTo>
                  <a:pt x="29" y="61"/>
                </a:lnTo>
                <a:lnTo>
                  <a:pt x="32" y="61"/>
                </a:lnTo>
                <a:lnTo>
                  <a:pt x="34" y="62"/>
                </a:lnTo>
                <a:lnTo>
                  <a:pt x="38" y="61"/>
                </a:lnTo>
                <a:lnTo>
                  <a:pt x="41" y="61"/>
                </a:lnTo>
                <a:lnTo>
                  <a:pt x="43" y="62"/>
                </a:lnTo>
                <a:lnTo>
                  <a:pt x="45" y="61"/>
                </a:lnTo>
                <a:lnTo>
                  <a:pt x="50" y="54"/>
                </a:lnTo>
                <a:lnTo>
                  <a:pt x="52" y="52"/>
                </a:lnTo>
                <a:lnTo>
                  <a:pt x="53" y="51"/>
                </a:lnTo>
                <a:lnTo>
                  <a:pt x="61" y="52"/>
                </a:lnTo>
                <a:lnTo>
                  <a:pt x="63" y="52"/>
                </a:lnTo>
                <a:lnTo>
                  <a:pt x="63" y="54"/>
                </a:lnTo>
                <a:lnTo>
                  <a:pt x="64" y="54"/>
                </a:lnTo>
                <a:lnTo>
                  <a:pt x="71" y="56"/>
                </a:lnTo>
                <a:lnTo>
                  <a:pt x="73" y="56"/>
                </a:lnTo>
                <a:lnTo>
                  <a:pt x="76" y="55"/>
                </a:lnTo>
                <a:lnTo>
                  <a:pt x="80" y="54"/>
                </a:lnTo>
                <a:lnTo>
                  <a:pt x="83" y="53"/>
                </a:lnTo>
                <a:lnTo>
                  <a:pt x="86" y="52"/>
                </a:lnTo>
                <a:lnTo>
                  <a:pt x="89" y="51"/>
                </a:lnTo>
                <a:lnTo>
                  <a:pt x="90" y="47"/>
                </a:lnTo>
                <a:lnTo>
                  <a:pt x="92" y="44"/>
                </a:lnTo>
                <a:lnTo>
                  <a:pt x="94" y="38"/>
                </a:lnTo>
                <a:lnTo>
                  <a:pt x="95" y="30"/>
                </a:lnTo>
                <a:lnTo>
                  <a:pt x="103" y="20"/>
                </a:lnTo>
                <a:lnTo>
                  <a:pt x="104" y="15"/>
                </a:lnTo>
                <a:lnTo>
                  <a:pt x="104" y="8"/>
                </a:lnTo>
                <a:lnTo>
                  <a:pt x="106" y="3"/>
                </a:lnTo>
                <a:lnTo>
                  <a:pt x="108" y="0"/>
                </a:lnTo>
                <a:lnTo>
                  <a:pt x="113" y="0"/>
                </a:lnTo>
                <a:lnTo>
                  <a:pt x="129" y="0"/>
                </a:lnTo>
                <a:lnTo>
                  <a:pt x="131" y="2"/>
                </a:lnTo>
                <a:lnTo>
                  <a:pt x="135" y="3"/>
                </a:lnTo>
                <a:lnTo>
                  <a:pt x="136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04" name="Freeform 1404"/>
          <p:cNvSpPr>
            <a:spLocks/>
          </p:cNvSpPr>
          <p:nvPr/>
        </p:nvSpPr>
        <p:spPr bwMode="auto">
          <a:xfrm>
            <a:off x="7683500" y="3587715"/>
            <a:ext cx="258762" cy="254000"/>
          </a:xfrm>
          <a:custGeom>
            <a:avLst/>
            <a:gdLst>
              <a:gd name="T0" fmla="*/ 153 w 163"/>
              <a:gd name="T1" fmla="*/ 157 h 160"/>
              <a:gd name="T2" fmla="*/ 141 w 163"/>
              <a:gd name="T3" fmla="*/ 143 h 160"/>
              <a:gd name="T4" fmla="*/ 132 w 163"/>
              <a:gd name="T5" fmla="*/ 142 h 160"/>
              <a:gd name="T6" fmla="*/ 122 w 163"/>
              <a:gd name="T7" fmla="*/ 144 h 160"/>
              <a:gd name="T8" fmla="*/ 118 w 163"/>
              <a:gd name="T9" fmla="*/ 144 h 160"/>
              <a:gd name="T10" fmla="*/ 104 w 163"/>
              <a:gd name="T11" fmla="*/ 144 h 160"/>
              <a:gd name="T12" fmla="*/ 117 w 163"/>
              <a:gd name="T13" fmla="*/ 128 h 160"/>
              <a:gd name="T14" fmla="*/ 124 w 163"/>
              <a:gd name="T15" fmla="*/ 129 h 160"/>
              <a:gd name="T16" fmla="*/ 122 w 163"/>
              <a:gd name="T17" fmla="*/ 123 h 160"/>
              <a:gd name="T18" fmla="*/ 120 w 163"/>
              <a:gd name="T19" fmla="*/ 112 h 160"/>
              <a:gd name="T20" fmla="*/ 115 w 163"/>
              <a:gd name="T21" fmla="*/ 98 h 160"/>
              <a:gd name="T22" fmla="*/ 107 w 163"/>
              <a:gd name="T23" fmla="*/ 90 h 160"/>
              <a:gd name="T24" fmla="*/ 98 w 163"/>
              <a:gd name="T25" fmla="*/ 84 h 160"/>
              <a:gd name="T26" fmla="*/ 83 w 163"/>
              <a:gd name="T27" fmla="*/ 79 h 160"/>
              <a:gd name="T28" fmla="*/ 65 w 163"/>
              <a:gd name="T29" fmla="*/ 74 h 160"/>
              <a:gd name="T30" fmla="*/ 60 w 163"/>
              <a:gd name="T31" fmla="*/ 70 h 160"/>
              <a:gd name="T32" fmla="*/ 53 w 163"/>
              <a:gd name="T33" fmla="*/ 69 h 160"/>
              <a:gd name="T34" fmla="*/ 47 w 163"/>
              <a:gd name="T35" fmla="*/ 62 h 160"/>
              <a:gd name="T36" fmla="*/ 46 w 163"/>
              <a:gd name="T37" fmla="*/ 51 h 160"/>
              <a:gd name="T38" fmla="*/ 44 w 163"/>
              <a:gd name="T39" fmla="*/ 57 h 160"/>
              <a:gd name="T40" fmla="*/ 37 w 163"/>
              <a:gd name="T41" fmla="*/ 69 h 160"/>
              <a:gd name="T42" fmla="*/ 30 w 163"/>
              <a:gd name="T43" fmla="*/ 64 h 160"/>
              <a:gd name="T44" fmla="*/ 27 w 163"/>
              <a:gd name="T45" fmla="*/ 56 h 160"/>
              <a:gd name="T46" fmla="*/ 15 w 163"/>
              <a:gd name="T47" fmla="*/ 48 h 160"/>
              <a:gd name="T48" fmla="*/ 27 w 163"/>
              <a:gd name="T49" fmla="*/ 44 h 160"/>
              <a:gd name="T50" fmla="*/ 43 w 163"/>
              <a:gd name="T51" fmla="*/ 41 h 160"/>
              <a:gd name="T52" fmla="*/ 47 w 163"/>
              <a:gd name="T53" fmla="*/ 31 h 160"/>
              <a:gd name="T54" fmla="*/ 27 w 163"/>
              <a:gd name="T55" fmla="*/ 37 h 160"/>
              <a:gd name="T56" fmla="*/ 16 w 163"/>
              <a:gd name="T57" fmla="*/ 29 h 160"/>
              <a:gd name="T58" fmla="*/ 7 w 163"/>
              <a:gd name="T59" fmla="*/ 22 h 160"/>
              <a:gd name="T60" fmla="*/ 1 w 163"/>
              <a:gd name="T61" fmla="*/ 18 h 160"/>
              <a:gd name="T62" fmla="*/ 10 w 163"/>
              <a:gd name="T63" fmla="*/ 8 h 160"/>
              <a:gd name="T64" fmla="*/ 24 w 163"/>
              <a:gd name="T65" fmla="*/ 0 h 160"/>
              <a:gd name="T66" fmla="*/ 37 w 163"/>
              <a:gd name="T67" fmla="*/ 7 h 160"/>
              <a:gd name="T68" fmla="*/ 52 w 163"/>
              <a:gd name="T69" fmla="*/ 17 h 160"/>
              <a:gd name="T70" fmla="*/ 52 w 163"/>
              <a:gd name="T71" fmla="*/ 39 h 160"/>
              <a:gd name="T72" fmla="*/ 60 w 163"/>
              <a:gd name="T73" fmla="*/ 41 h 160"/>
              <a:gd name="T74" fmla="*/ 67 w 163"/>
              <a:gd name="T75" fmla="*/ 56 h 160"/>
              <a:gd name="T76" fmla="*/ 77 w 163"/>
              <a:gd name="T77" fmla="*/ 50 h 160"/>
              <a:gd name="T78" fmla="*/ 88 w 163"/>
              <a:gd name="T79" fmla="*/ 36 h 160"/>
              <a:gd name="T80" fmla="*/ 101 w 163"/>
              <a:gd name="T81" fmla="*/ 31 h 160"/>
              <a:gd name="T82" fmla="*/ 112 w 163"/>
              <a:gd name="T83" fmla="*/ 20 h 160"/>
              <a:gd name="T84" fmla="*/ 123 w 163"/>
              <a:gd name="T85" fmla="*/ 27 h 160"/>
              <a:gd name="T86" fmla="*/ 137 w 163"/>
              <a:gd name="T87" fmla="*/ 34 h 160"/>
              <a:gd name="T88" fmla="*/ 147 w 163"/>
              <a:gd name="T89" fmla="*/ 36 h 160"/>
              <a:gd name="T90" fmla="*/ 156 w 163"/>
              <a:gd name="T91" fmla="*/ 39 h 160"/>
              <a:gd name="T92" fmla="*/ 158 w 163"/>
              <a:gd name="T93" fmla="*/ 41 h 160"/>
              <a:gd name="T94" fmla="*/ 162 w 163"/>
              <a:gd name="T95" fmla="*/ 43 h 160"/>
              <a:gd name="T96" fmla="*/ 157 w 163"/>
              <a:gd name="T97" fmla="*/ 118 h 160"/>
              <a:gd name="T98" fmla="*/ 158 w 163"/>
              <a:gd name="T99" fmla="*/ 160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63" h="160">
                <a:moveTo>
                  <a:pt x="158" y="160"/>
                </a:moveTo>
                <a:lnTo>
                  <a:pt x="158" y="160"/>
                </a:lnTo>
                <a:lnTo>
                  <a:pt x="155" y="159"/>
                </a:lnTo>
                <a:lnTo>
                  <a:pt x="153" y="157"/>
                </a:lnTo>
                <a:lnTo>
                  <a:pt x="148" y="152"/>
                </a:lnTo>
                <a:lnTo>
                  <a:pt x="146" y="148"/>
                </a:lnTo>
                <a:lnTo>
                  <a:pt x="143" y="144"/>
                </a:lnTo>
                <a:lnTo>
                  <a:pt x="141" y="143"/>
                </a:lnTo>
                <a:lnTo>
                  <a:pt x="141" y="142"/>
                </a:lnTo>
                <a:lnTo>
                  <a:pt x="138" y="140"/>
                </a:lnTo>
                <a:lnTo>
                  <a:pt x="135" y="141"/>
                </a:lnTo>
                <a:lnTo>
                  <a:pt x="132" y="142"/>
                </a:lnTo>
                <a:lnTo>
                  <a:pt x="126" y="142"/>
                </a:lnTo>
                <a:lnTo>
                  <a:pt x="124" y="144"/>
                </a:lnTo>
                <a:lnTo>
                  <a:pt x="123" y="142"/>
                </a:lnTo>
                <a:lnTo>
                  <a:pt x="122" y="144"/>
                </a:lnTo>
                <a:lnTo>
                  <a:pt x="122" y="145"/>
                </a:lnTo>
                <a:lnTo>
                  <a:pt x="122" y="145"/>
                </a:lnTo>
                <a:lnTo>
                  <a:pt x="120" y="145"/>
                </a:lnTo>
                <a:lnTo>
                  <a:pt x="118" y="144"/>
                </a:lnTo>
                <a:lnTo>
                  <a:pt x="112" y="147"/>
                </a:lnTo>
                <a:lnTo>
                  <a:pt x="106" y="148"/>
                </a:lnTo>
                <a:lnTo>
                  <a:pt x="104" y="147"/>
                </a:lnTo>
                <a:lnTo>
                  <a:pt x="104" y="144"/>
                </a:lnTo>
                <a:lnTo>
                  <a:pt x="106" y="140"/>
                </a:lnTo>
                <a:lnTo>
                  <a:pt x="108" y="135"/>
                </a:lnTo>
                <a:lnTo>
                  <a:pt x="114" y="130"/>
                </a:lnTo>
                <a:lnTo>
                  <a:pt x="117" y="128"/>
                </a:lnTo>
                <a:lnTo>
                  <a:pt x="120" y="128"/>
                </a:lnTo>
                <a:lnTo>
                  <a:pt x="122" y="130"/>
                </a:lnTo>
                <a:lnTo>
                  <a:pt x="124" y="131"/>
                </a:lnTo>
                <a:lnTo>
                  <a:pt x="124" y="129"/>
                </a:lnTo>
                <a:lnTo>
                  <a:pt x="122" y="125"/>
                </a:lnTo>
                <a:lnTo>
                  <a:pt x="122" y="124"/>
                </a:lnTo>
                <a:lnTo>
                  <a:pt x="124" y="124"/>
                </a:lnTo>
                <a:lnTo>
                  <a:pt x="122" y="123"/>
                </a:lnTo>
                <a:lnTo>
                  <a:pt x="118" y="120"/>
                </a:lnTo>
                <a:lnTo>
                  <a:pt x="120" y="120"/>
                </a:lnTo>
                <a:lnTo>
                  <a:pt x="122" y="114"/>
                </a:lnTo>
                <a:lnTo>
                  <a:pt x="120" y="112"/>
                </a:lnTo>
                <a:lnTo>
                  <a:pt x="117" y="108"/>
                </a:lnTo>
                <a:lnTo>
                  <a:pt x="116" y="101"/>
                </a:lnTo>
                <a:lnTo>
                  <a:pt x="116" y="100"/>
                </a:lnTo>
                <a:lnTo>
                  <a:pt x="115" y="98"/>
                </a:lnTo>
                <a:lnTo>
                  <a:pt x="113" y="93"/>
                </a:lnTo>
                <a:lnTo>
                  <a:pt x="111" y="93"/>
                </a:lnTo>
                <a:lnTo>
                  <a:pt x="110" y="92"/>
                </a:lnTo>
                <a:lnTo>
                  <a:pt x="107" y="90"/>
                </a:lnTo>
                <a:lnTo>
                  <a:pt x="107" y="90"/>
                </a:lnTo>
                <a:lnTo>
                  <a:pt x="106" y="88"/>
                </a:lnTo>
                <a:lnTo>
                  <a:pt x="103" y="88"/>
                </a:lnTo>
                <a:lnTo>
                  <a:pt x="98" y="84"/>
                </a:lnTo>
                <a:lnTo>
                  <a:pt x="95" y="84"/>
                </a:lnTo>
                <a:lnTo>
                  <a:pt x="90" y="81"/>
                </a:lnTo>
                <a:lnTo>
                  <a:pt x="85" y="80"/>
                </a:lnTo>
                <a:lnTo>
                  <a:pt x="83" y="79"/>
                </a:lnTo>
                <a:lnTo>
                  <a:pt x="77" y="77"/>
                </a:lnTo>
                <a:lnTo>
                  <a:pt x="74" y="77"/>
                </a:lnTo>
                <a:lnTo>
                  <a:pt x="70" y="76"/>
                </a:lnTo>
                <a:lnTo>
                  <a:pt x="65" y="74"/>
                </a:lnTo>
                <a:lnTo>
                  <a:pt x="65" y="73"/>
                </a:lnTo>
                <a:lnTo>
                  <a:pt x="64" y="73"/>
                </a:lnTo>
                <a:lnTo>
                  <a:pt x="61" y="72"/>
                </a:lnTo>
                <a:lnTo>
                  <a:pt x="60" y="70"/>
                </a:lnTo>
                <a:lnTo>
                  <a:pt x="60" y="67"/>
                </a:lnTo>
                <a:lnTo>
                  <a:pt x="56" y="67"/>
                </a:lnTo>
                <a:lnTo>
                  <a:pt x="54" y="67"/>
                </a:lnTo>
                <a:lnTo>
                  <a:pt x="53" y="69"/>
                </a:lnTo>
                <a:lnTo>
                  <a:pt x="53" y="67"/>
                </a:lnTo>
                <a:lnTo>
                  <a:pt x="50" y="64"/>
                </a:lnTo>
                <a:lnTo>
                  <a:pt x="48" y="63"/>
                </a:lnTo>
                <a:lnTo>
                  <a:pt x="47" y="62"/>
                </a:lnTo>
                <a:lnTo>
                  <a:pt x="45" y="60"/>
                </a:lnTo>
                <a:lnTo>
                  <a:pt x="44" y="58"/>
                </a:lnTo>
                <a:lnTo>
                  <a:pt x="45" y="54"/>
                </a:lnTo>
                <a:lnTo>
                  <a:pt x="46" y="51"/>
                </a:lnTo>
                <a:lnTo>
                  <a:pt x="46" y="48"/>
                </a:lnTo>
                <a:lnTo>
                  <a:pt x="45" y="50"/>
                </a:lnTo>
                <a:lnTo>
                  <a:pt x="44" y="53"/>
                </a:lnTo>
                <a:lnTo>
                  <a:pt x="44" y="57"/>
                </a:lnTo>
                <a:lnTo>
                  <a:pt x="41" y="61"/>
                </a:lnTo>
                <a:lnTo>
                  <a:pt x="41" y="63"/>
                </a:lnTo>
                <a:lnTo>
                  <a:pt x="40" y="66"/>
                </a:lnTo>
                <a:lnTo>
                  <a:pt x="37" y="69"/>
                </a:lnTo>
                <a:lnTo>
                  <a:pt x="32" y="69"/>
                </a:lnTo>
                <a:lnTo>
                  <a:pt x="30" y="69"/>
                </a:lnTo>
                <a:lnTo>
                  <a:pt x="30" y="67"/>
                </a:lnTo>
                <a:lnTo>
                  <a:pt x="30" y="64"/>
                </a:lnTo>
                <a:lnTo>
                  <a:pt x="29" y="60"/>
                </a:lnTo>
                <a:lnTo>
                  <a:pt x="30" y="59"/>
                </a:lnTo>
                <a:lnTo>
                  <a:pt x="30" y="56"/>
                </a:lnTo>
                <a:lnTo>
                  <a:pt x="27" y="56"/>
                </a:lnTo>
                <a:lnTo>
                  <a:pt x="25" y="51"/>
                </a:lnTo>
                <a:lnTo>
                  <a:pt x="22" y="49"/>
                </a:lnTo>
                <a:lnTo>
                  <a:pt x="19" y="49"/>
                </a:lnTo>
                <a:lnTo>
                  <a:pt x="15" y="48"/>
                </a:lnTo>
                <a:lnTo>
                  <a:pt x="16" y="44"/>
                </a:lnTo>
                <a:lnTo>
                  <a:pt x="20" y="43"/>
                </a:lnTo>
                <a:lnTo>
                  <a:pt x="23" y="43"/>
                </a:lnTo>
                <a:lnTo>
                  <a:pt x="27" y="44"/>
                </a:lnTo>
                <a:lnTo>
                  <a:pt x="33" y="40"/>
                </a:lnTo>
                <a:lnTo>
                  <a:pt x="36" y="39"/>
                </a:lnTo>
                <a:lnTo>
                  <a:pt x="39" y="40"/>
                </a:lnTo>
                <a:lnTo>
                  <a:pt x="43" y="41"/>
                </a:lnTo>
                <a:lnTo>
                  <a:pt x="45" y="39"/>
                </a:lnTo>
                <a:lnTo>
                  <a:pt x="45" y="36"/>
                </a:lnTo>
                <a:lnTo>
                  <a:pt x="46" y="33"/>
                </a:lnTo>
                <a:lnTo>
                  <a:pt x="47" y="31"/>
                </a:lnTo>
                <a:lnTo>
                  <a:pt x="44" y="33"/>
                </a:lnTo>
                <a:lnTo>
                  <a:pt x="39" y="34"/>
                </a:lnTo>
                <a:lnTo>
                  <a:pt x="32" y="37"/>
                </a:lnTo>
                <a:lnTo>
                  <a:pt x="27" y="37"/>
                </a:lnTo>
                <a:lnTo>
                  <a:pt x="25" y="36"/>
                </a:lnTo>
                <a:lnTo>
                  <a:pt x="22" y="37"/>
                </a:lnTo>
                <a:lnTo>
                  <a:pt x="19" y="33"/>
                </a:lnTo>
                <a:lnTo>
                  <a:pt x="16" y="29"/>
                </a:lnTo>
                <a:lnTo>
                  <a:pt x="15" y="24"/>
                </a:lnTo>
                <a:lnTo>
                  <a:pt x="13" y="23"/>
                </a:lnTo>
                <a:lnTo>
                  <a:pt x="11" y="21"/>
                </a:lnTo>
                <a:lnTo>
                  <a:pt x="7" y="22"/>
                </a:lnTo>
                <a:lnTo>
                  <a:pt x="6" y="20"/>
                </a:lnTo>
                <a:lnTo>
                  <a:pt x="5" y="22"/>
                </a:lnTo>
                <a:lnTo>
                  <a:pt x="0" y="20"/>
                </a:lnTo>
                <a:lnTo>
                  <a:pt x="1" y="18"/>
                </a:lnTo>
                <a:lnTo>
                  <a:pt x="2" y="16"/>
                </a:lnTo>
                <a:lnTo>
                  <a:pt x="5" y="10"/>
                </a:lnTo>
                <a:lnTo>
                  <a:pt x="6" y="9"/>
                </a:lnTo>
                <a:lnTo>
                  <a:pt x="10" y="8"/>
                </a:lnTo>
                <a:lnTo>
                  <a:pt x="12" y="8"/>
                </a:lnTo>
                <a:lnTo>
                  <a:pt x="14" y="7"/>
                </a:lnTo>
                <a:lnTo>
                  <a:pt x="20" y="1"/>
                </a:lnTo>
                <a:lnTo>
                  <a:pt x="24" y="0"/>
                </a:lnTo>
                <a:lnTo>
                  <a:pt x="27" y="0"/>
                </a:lnTo>
                <a:lnTo>
                  <a:pt x="32" y="1"/>
                </a:lnTo>
                <a:lnTo>
                  <a:pt x="35" y="5"/>
                </a:lnTo>
                <a:lnTo>
                  <a:pt x="37" y="7"/>
                </a:lnTo>
                <a:lnTo>
                  <a:pt x="40" y="9"/>
                </a:lnTo>
                <a:lnTo>
                  <a:pt x="50" y="9"/>
                </a:lnTo>
                <a:lnTo>
                  <a:pt x="51" y="13"/>
                </a:lnTo>
                <a:lnTo>
                  <a:pt x="52" y="17"/>
                </a:lnTo>
                <a:lnTo>
                  <a:pt x="53" y="22"/>
                </a:lnTo>
                <a:lnTo>
                  <a:pt x="51" y="27"/>
                </a:lnTo>
                <a:lnTo>
                  <a:pt x="51" y="31"/>
                </a:lnTo>
                <a:lnTo>
                  <a:pt x="52" y="39"/>
                </a:lnTo>
                <a:lnTo>
                  <a:pt x="56" y="44"/>
                </a:lnTo>
                <a:lnTo>
                  <a:pt x="56" y="43"/>
                </a:lnTo>
                <a:lnTo>
                  <a:pt x="56" y="40"/>
                </a:lnTo>
                <a:lnTo>
                  <a:pt x="60" y="41"/>
                </a:lnTo>
                <a:lnTo>
                  <a:pt x="61" y="47"/>
                </a:lnTo>
                <a:lnTo>
                  <a:pt x="62" y="48"/>
                </a:lnTo>
                <a:lnTo>
                  <a:pt x="63" y="52"/>
                </a:lnTo>
                <a:lnTo>
                  <a:pt x="67" y="56"/>
                </a:lnTo>
                <a:lnTo>
                  <a:pt x="70" y="56"/>
                </a:lnTo>
                <a:lnTo>
                  <a:pt x="74" y="56"/>
                </a:lnTo>
                <a:lnTo>
                  <a:pt x="75" y="51"/>
                </a:lnTo>
                <a:lnTo>
                  <a:pt x="77" y="50"/>
                </a:lnTo>
                <a:lnTo>
                  <a:pt x="80" y="49"/>
                </a:lnTo>
                <a:lnTo>
                  <a:pt x="81" y="46"/>
                </a:lnTo>
                <a:lnTo>
                  <a:pt x="86" y="41"/>
                </a:lnTo>
                <a:lnTo>
                  <a:pt x="88" y="36"/>
                </a:lnTo>
                <a:lnTo>
                  <a:pt x="91" y="34"/>
                </a:lnTo>
                <a:lnTo>
                  <a:pt x="93" y="34"/>
                </a:lnTo>
                <a:lnTo>
                  <a:pt x="98" y="33"/>
                </a:lnTo>
                <a:lnTo>
                  <a:pt x="101" y="31"/>
                </a:lnTo>
                <a:lnTo>
                  <a:pt x="101" y="28"/>
                </a:lnTo>
                <a:lnTo>
                  <a:pt x="102" y="27"/>
                </a:lnTo>
                <a:lnTo>
                  <a:pt x="106" y="23"/>
                </a:lnTo>
                <a:lnTo>
                  <a:pt x="112" y="20"/>
                </a:lnTo>
                <a:lnTo>
                  <a:pt x="113" y="21"/>
                </a:lnTo>
                <a:lnTo>
                  <a:pt x="114" y="22"/>
                </a:lnTo>
                <a:lnTo>
                  <a:pt x="120" y="24"/>
                </a:lnTo>
                <a:lnTo>
                  <a:pt x="123" y="27"/>
                </a:lnTo>
                <a:lnTo>
                  <a:pt x="125" y="27"/>
                </a:lnTo>
                <a:lnTo>
                  <a:pt x="126" y="28"/>
                </a:lnTo>
                <a:lnTo>
                  <a:pt x="133" y="31"/>
                </a:lnTo>
                <a:lnTo>
                  <a:pt x="137" y="34"/>
                </a:lnTo>
                <a:lnTo>
                  <a:pt x="139" y="36"/>
                </a:lnTo>
                <a:lnTo>
                  <a:pt x="144" y="37"/>
                </a:lnTo>
                <a:lnTo>
                  <a:pt x="146" y="37"/>
                </a:lnTo>
                <a:lnTo>
                  <a:pt x="147" y="36"/>
                </a:lnTo>
                <a:lnTo>
                  <a:pt x="149" y="37"/>
                </a:lnTo>
                <a:lnTo>
                  <a:pt x="152" y="37"/>
                </a:lnTo>
                <a:lnTo>
                  <a:pt x="153" y="37"/>
                </a:lnTo>
                <a:lnTo>
                  <a:pt x="156" y="39"/>
                </a:lnTo>
                <a:lnTo>
                  <a:pt x="157" y="39"/>
                </a:lnTo>
                <a:lnTo>
                  <a:pt x="158" y="39"/>
                </a:lnTo>
                <a:lnTo>
                  <a:pt x="157" y="40"/>
                </a:lnTo>
                <a:lnTo>
                  <a:pt x="158" y="41"/>
                </a:lnTo>
                <a:lnTo>
                  <a:pt x="159" y="41"/>
                </a:lnTo>
                <a:lnTo>
                  <a:pt x="161" y="41"/>
                </a:lnTo>
                <a:lnTo>
                  <a:pt x="163" y="41"/>
                </a:lnTo>
                <a:lnTo>
                  <a:pt x="162" y="43"/>
                </a:lnTo>
                <a:lnTo>
                  <a:pt x="162" y="86"/>
                </a:lnTo>
                <a:lnTo>
                  <a:pt x="159" y="110"/>
                </a:lnTo>
                <a:lnTo>
                  <a:pt x="158" y="117"/>
                </a:lnTo>
                <a:lnTo>
                  <a:pt x="157" y="118"/>
                </a:lnTo>
                <a:lnTo>
                  <a:pt x="159" y="123"/>
                </a:lnTo>
                <a:lnTo>
                  <a:pt x="158" y="137"/>
                </a:lnTo>
                <a:lnTo>
                  <a:pt x="157" y="155"/>
                </a:lnTo>
                <a:lnTo>
                  <a:pt x="158" y="16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05" name="Freeform 1405"/>
          <p:cNvSpPr>
            <a:spLocks/>
          </p:cNvSpPr>
          <p:nvPr/>
        </p:nvSpPr>
        <p:spPr bwMode="auto">
          <a:xfrm>
            <a:off x="7683500" y="3587715"/>
            <a:ext cx="258762" cy="254000"/>
          </a:xfrm>
          <a:custGeom>
            <a:avLst/>
            <a:gdLst>
              <a:gd name="T0" fmla="*/ 153 w 163"/>
              <a:gd name="T1" fmla="*/ 157 h 160"/>
              <a:gd name="T2" fmla="*/ 141 w 163"/>
              <a:gd name="T3" fmla="*/ 143 h 160"/>
              <a:gd name="T4" fmla="*/ 132 w 163"/>
              <a:gd name="T5" fmla="*/ 142 h 160"/>
              <a:gd name="T6" fmla="*/ 122 w 163"/>
              <a:gd name="T7" fmla="*/ 144 h 160"/>
              <a:gd name="T8" fmla="*/ 118 w 163"/>
              <a:gd name="T9" fmla="*/ 144 h 160"/>
              <a:gd name="T10" fmla="*/ 104 w 163"/>
              <a:gd name="T11" fmla="*/ 144 h 160"/>
              <a:gd name="T12" fmla="*/ 117 w 163"/>
              <a:gd name="T13" fmla="*/ 128 h 160"/>
              <a:gd name="T14" fmla="*/ 124 w 163"/>
              <a:gd name="T15" fmla="*/ 129 h 160"/>
              <a:gd name="T16" fmla="*/ 122 w 163"/>
              <a:gd name="T17" fmla="*/ 123 h 160"/>
              <a:gd name="T18" fmla="*/ 120 w 163"/>
              <a:gd name="T19" fmla="*/ 112 h 160"/>
              <a:gd name="T20" fmla="*/ 115 w 163"/>
              <a:gd name="T21" fmla="*/ 98 h 160"/>
              <a:gd name="T22" fmla="*/ 107 w 163"/>
              <a:gd name="T23" fmla="*/ 90 h 160"/>
              <a:gd name="T24" fmla="*/ 98 w 163"/>
              <a:gd name="T25" fmla="*/ 84 h 160"/>
              <a:gd name="T26" fmla="*/ 83 w 163"/>
              <a:gd name="T27" fmla="*/ 79 h 160"/>
              <a:gd name="T28" fmla="*/ 65 w 163"/>
              <a:gd name="T29" fmla="*/ 74 h 160"/>
              <a:gd name="T30" fmla="*/ 60 w 163"/>
              <a:gd name="T31" fmla="*/ 70 h 160"/>
              <a:gd name="T32" fmla="*/ 53 w 163"/>
              <a:gd name="T33" fmla="*/ 69 h 160"/>
              <a:gd name="T34" fmla="*/ 47 w 163"/>
              <a:gd name="T35" fmla="*/ 62 h 160"/>
              <a:gd name="T36" fmla="*/ 46 w 163"/>
              <a:gd name="T37" fmla="*/ 51 h 160"/>
              <a:gd name="T38" fmla="*/ 44 w 163"/>
              <a:gd name="T39" fmla="*/ 57 h 160"/>
              <a:gd name="T40" fmla="*/ 37 w 163"/>
              <a:gd name="T41" fmla="*/ 69 h 160"/>
              <a:gd name="T42" fmla="*/ 30 w 163"/>
              <a:gd name="T43" fmla="*/ 64 h 160"/>
              <a:gd name="T44" fmla="*/ 27 w 163"/>
              <a:gd name="T45" fmla="*/ 56 h 160"/>
              <a:gd name="T46" fmla="*/ 15 w 163"/>
              <a:gd name="T47" fmla="*/ 48 h 160"/>
              <a:gd name="T48" fmla="*/ 27 w 163"/>
              <a:gd name="T49" fmla="*/ 44 h 160"/>
              <a:gd name="T50" fmla="*/ 43 w 163"/>
              <a:gd name="T51" fmla="*/ 41 h 160"/>
              <a:gd name="T52" fmla="*/ 47 w 163"/>
              <a:gd name="T53" fmla="*/ 31 h 160"/>
              <a:gd name="T54" fmla="*/ 27 w 163"/>
              <a:gd name="T55" fmla="*/ 37 h 160"/>
              <a:gd name="T56" fmla="*/ 16 w 163"/>
              <a:gd name="T57" fmla="*/ 29 h 160"/>
              <a:gd name="T58" fmla="*/ 7 w 163"/>
              <a:gd name="T59" fmla="*/ 22 h 160"/>
              <a:gd name="T60" fmla="*/ 1 w 163"/>
              <a:gd name="T61" fmla="*/ 18 h 160"/>
              <a:gd name="T62" fmla="*/ 10 w 163"/>
              <a:gd name="T63" fmla="*/ 8 h 160"/>
              <a:gd name="T64" fmla="*/ 24 w 163"/>
              <a:gd name="T65" fmla="*/ 0 h 160"/>
              <a:gd name="T66" fmla="*/ 37 w 163"/>
              <a:gd name="T67" fmla="*/ 7 h 160"/>
              <a:gd name="T68" fmla="*/ 52 w 163"/>
              <a:gd name="T69" fmla="*/ 17 h 160"/>
              <a:gd name="T70" fmla="*/ 52 w 163"/>
              <a:gd name="T71" fmla="*/ 39 h 160"/>
              <a:gd name="T72" fmla="*/ 60 w 163"/>
              <a:gd name="T73" fmla="*/ 41 h 160"/>
              <a:gd name="T74" fmla="*/ 67 w 163"/>
              <a:gd name="T75" fmla="*/ 56 h 160"/>
              <a:gd name="T76" fmla="*/ 77 w 163"/>
              <a:gd name="T77" fmla="*/ 50 h 160"/>
              <a:gd name="T78" fmla="*/ 88 w 163"/>
              <a:gd name="T79" fmla="*/ 36 h 160"/>
              <a:gd name="T80" fmla="*/ 101 w 163"/>
              <a:gd name="T81" fmla="*/ 31 h 160"/>
              <a:gd name="T82" fmla="*/ 112 w 163"/>
              <a:gd name="T83" fmla="*/ 20 h 160"/>
              <a:gd name="T84" fmla="*/ 123 w 163"/>
              <a:gd name="T85" fmla="*/ 27 h 160"/>
              <a:gd name="T86" fmla="*/ 137 w 163"/>
              <a:gd name="T87" fmla="*/ 34 h 160"/>
              <a:gd name="T88" fmla="*/ 147 w 163"/>
              <a:gd name="T89" fmla="*/ 36 h 160"/>
              <a:gd name="T90" fmla="*/ 156 w 163"/>
              <a:gd name="T91" fmla="*/ 39 h 160"/>
              <a:gd name="T92" fmla="*/ 158 w 163"/>
              <a:gd name="T93" fmla="*/ 41 h 160"/>
              <a:gd name="T94" fmla="*/ 162 w 163"/>
              <a:gd name="T95" fmla="*/ 43 h 160"/>
              <a:gd name="T96" fmla="*/ 157 w 163"/>
              <a:gd name="T97" fmla="*/ 118 h 160"/>
              <a:gd name="T98" fmla="*/ 158 w 163"/>
              <a:gd name="T99" fmla="*/ 160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63" h="160">
                <a:moveTo>
                  <a:pt x="158" y="160"/>
                </a:moveTo>
                <a:lnTo>
                  <a:pt x="158" y="160"/>
                </a:lnTo>
                <a:lnTo>
                  <a:pt x="155" y="159"/>
                </a:lnTo>
                <a:lnTo>
                  <a:pt x="153" y="157"/>
                </a:lnTo>
                <a:lnTo>
                  <a:pt x="148" y="152"/>
                </a:lnTo>
                <a:lnTo>
                  <a:pt x="146" y="148"/>
                </a:lnTo>
                <a:lnTo>
                  <a:pt x="143" y="144"/>
                </a:lnTo>
                <a:lnTo>
                  <a:pt x="141" y="143"/>
                </a:lnTo>
                <a:lnTo>
                  <a:pt x="141" y="142"/>
                </a:lnTo>
                <a:lnTo>
                  <a:pt x="138" y="140"/>
                </a:lnTo>
                <a:lnTo>
                  <a:pt x="135" y="141"/>
                </a:lnTo>
                <a:lnTo>
                  <a:pt x="132" y="142"/>
                </a:lnTo>
                <a:lnTo>
                  <a:pt x="126" y="142"/>
                </a:lnTo>
                <a:lnTo>
                  <a:pt x="124" y="144"/>
                </a:lnTo>
                <a:lnTo>
                  <a:pt x="123" y="142"/>
                </a:lnTo>
                <a:lnTo>
                  <a:pt x="122" y="144"/>
                </a:lnTo>
                <a:lnTo>
                  <a:pt x="122" y="145"/>
                </a:lnTo>
                <a:lnTo>
                  <a:pt x="122" y="145"/>
                </a:lnTo>
                <a:lnTo>
                  <a:pt x="120" y="145"/>
                </a:lnTo>
                <a:lnTo>
                  <a:pt x="118" y="144"/>
                </a:lnTo>
                <a:lnTo>
                  <a:pt x="112" y="147"/>
                </a:lnTo>
                <a:lnTo>
                  <a:pt x="106" y="148"/>
                </a:lnTo>
                <a:lnTo>
                  <a:pt x="104" y="147"/>
                </a:lnTo>
                <a:lnTo>
                  <a:pt x="104" y="144"/>
                </a:lnTo>
                <a:lnTo>
                  <a:pt x="106" y="140"/>
                </a:lnTo>
                <a:lnTo>
                  <a:pt x="108" y="135"/>
                </a:lnTo>
                <a:lnTo>
                  <a:pt x="114" y="130"/>
                </a:lnTo>
                <a:lnTo>
                  <a:pt x="117" y="128"/>
                </a:lnTo>
                <a:lnTo>
                  <a:pt x="120" y="128"/>
                </a:lnTo>
                <a:lnTo>
                  <a:pt x="122" y="130"/>
                </a:lnTo>
                <a:lnTo>
                  <a:pt x="124" y="131"/>
                </a:lnTo>
                <a:lnTo>
                  <a:pt x="124" y="129"/>
                </a:lnTo>
                <a:lnTo>
                  <a:pt x="122" y="125"/>
                </a:lnTo>
                <a:lnTo>
                  <a:pt x="122" y="124"/>
                </a:lnTo>
                <a:lnTo>
                  <a:pt x="124" y="124"/>
                </a:lnTo>
                <a:lnTo>
                  <a:pt x="122" y="123"/>
                </a:lnTo>
                <a:lnTo>
                  <a:pt x="118" y="120"/>
                </a:lnTo>
                <a:lnTo>
                  <a:pt x="120" y="120"/>
                </a:lnTo>
                <a:lnTo>
                  <a:pt x="122" y="114"/>
                </a:lnTo>
                <a:lnTo>
                  <a:pt x="120" y="112"/>
                </a:lnTo>
                <a:lnTo>
                  <a:pt x="117" y="108"/>
                </a:lnTo>
                <a:lnTo>
                  <a:pt x="116" y="101"/>
                </a:lnTo>
                <a:lnTo>
                  <a:pt x="116" y="100"/>
                </a:lnTo>
                <a:lnTo>
                  <a:pt x="115" y="98"/>
                </a:lnTo>
                <a:lnTo>
                  <a:pt x="113" y="93"/>
                </a:lnTo>
                <a:lnTo>
                  <a:pt x="111" y="93"/>
                </a:lnTo>
                <a:lnTo>
                  <a:pt x="110" y="92"/>
                </a:lnTo>
                <a:lnTo>
                  <a:pt x="107" y="90"/>
                </a:lnTo>
                <a:lnTo>
                  <a:pt x="107" y="90"/>
                </a:lnTo>
                <a:lnTo>
                  <a:pt x="106" y="88"/>
                </a:lnTo>
                <a:lnTo>
                  <a:pt x="103" y="88"/>
                </a:lnTo>
                <a:lnTo>
                  <a:pt x="98" y="84"/>
                </a:lnTo>
                <a:lnTo>
                  <a:pt x="95" y="84"/>
                </a:lnTo>
                <a:lnTo>
                  <a:pt x="90" y="81"/>
                </a:lnTo>
                <a:lnTo>
                  <a:pt x="85" y="80"/>
                </a:lnTo>
                <a:lnTo>
                  <a:pt x="83" y="79"/>
                </a:lnTo>
                <a:lnTo>
                  <a:pt x="77" y="77"/>
                </a:lnTo>
                <a:lnTo>
                  <a:pt x="74" y="77"/>
                </a:lnTo>
                <a:lnTo>
                  <a:pt x="70" y="76"/>
                </a:lnTo>
                <a:lnTo>
                  <a:pt x="65" y="74"/>
                </a:lnTo>
                <a:lnTo>
                  <a:pt x="65" y="73"/>
                </a:lnTo>
                <a:lnTo>
                  <a:pt x="64" y="73"/>
                </a:lnTo>
                <a:lnTo>
                  <a:pt x="61" y="72"/>
                </a:lnTo>
                <a:lnTo>
                  <a:pt x="60" y="70"/>
                </a:lnTo>
                <a:lnTo>
                  <a:pt x="60" y="67"/>
                </a:lnTo>
                <a:lnTo>
                  <a:pt x="56" y="67"/>
                </a:lnTo>
                <a:lnTo>
                  <a:pt x="54" y="67"/>
                </a:lnTo>
                <a:lnTo>
                  <a:pt x="53" y="69"/>
                </a:lnTo>
                <a:lnTo>
                  <a:pt x="53" y="67"/>
                </a:lnTo>
                <a:lnTo>
                  <a:pt x="50" y="64"/>
                </a:lnTo>
                <a:lnTo>
                  <a:pt x="48" y="63"/>
                </a:lnTo>
                <a:lnTo>
                  <a:pt x="47" y="62"/>
                </a:lnTo>
                <a:lnTo>
                  <a:pt x="45" y="60"/>
                </a:lnTo>
                <a:lnTo>
                  <a:pt x="44" y="58"/>
                </a:lnTo>
                <a:lnTo>
                  <a:pt x="45" y="54"/>
                </a:lnTo>
                <a:lnTo>
                  <a:pt x="46" y="51"/>
                </a:lnTo>
                <a:lnTo>
                  <a:pt x="46" y="48"/>
                </a:lnTo>
                <a:lnTo>
                  <a:pt x="45" y="50"/>
                </a:lnTo>
                <a:lnTo>
                  <a:pt x="44" y="53"/>
                </a:lnTo>
                <a:lnTo>
                  <a:pt x="44" y="57"/>
                </a:lnTo>
                <a:lnTo>
                  <a:pt x="41" y="61"/>
                </a:lnTo>
                <a:lnTo>
                  <a:pt x="41" y="63"/>
                </a:lnTo>
                <a:lnTo>
                  <a:pt x="40" y="66"/>
                </a:lnTo>
                <a:lnTo>
                  <a:pt x="37" y="69"/>
                </a:lnTo>
                <a:lnTo>
                  <a:pt x="32" y="69"/>
                </a:lnTo>
                <a:lnTo>
                  <a:pt x="30" y="69"/>
                </a:lnTo>
                <a:lnTo>
                  <a:pt x="30" y="67"/>
                </a:lnTo>
                <a:lnTo>
                  <a:pt x="30" y="64"/>
                </a:lnTo>
                <a:lnTo>
                  <a:pt x="29" y="60"/>
                </a:lnTo>
                <a:lnTo>
                  <a:pt x="30" y="59"/>
                </a:lnTo>
                <a:lnTo>
                  <a:pt x="30" y="56"/>
                </a:lnTo>
                <a:lnTo>
                  <a:pt x="27" y="56"/>
                </a:lnTo>
                <a:lnTo>
                  <a:pt x="25" y="51"/>
                </a:lnTo>
                <a:lnTo>
                  <a:pt x="22" y="49"/>
                </a:lnTo>
                <a:lnTo>
                  <a:pt x="19" y="49"/>
                </a:lnTo>
                <a:lnTo>
                  <a:pt x="15" y="48"/>
                </a:lnTo>
                <a:lnTo>
                  <a:pt x="16" y="44"/>
                </a:lnTo>
                <a:lnTo>
                  <a:pt x="20" y="43"/>
                </a:lnTo>
                <a:lnTo>
                  <a:pt x="23" y="43"/>
                </a:lnTo>
                <a:lnTo>
                  <a:pt x="27" y="44"/>
                </a:lnTo>
                <a:lnTo>
                  <a:pt x="33" y="40"/>
                </a:lnTo>
                <a:lnTo>
                  <a:pt x="36" y="39"/>
                </a:lnTo>
                <a:lnTo>
                  <a:pt x="39" y="40"/>
                </a:lnTo>
                <a:lnTo>
                  <a:pt x="43" y="41"/>
                </a:lnTo>
                <a:lnTo>
                  <a:pt x="45" y="39"/>
                </a:lnTo>
                <a:lnTo>
                  <a:pt x="45" y="36"/>
                </a:lnTo>
                <a:lnTo>
                  <a:pt x="46" y="33"/>
                </a:lnTo>
                <a:lnTo>
                  <a:pt x="47" y="31"/>
                </a:lnTo>
                <a:lnTo>
                  <a:pt x="44" y="33"/>
                </a:lnTo>
                <a:lnTo>
                  <a:pt x="39" y="34"/>
                </a:lnTo>
                <a:lnTo>
                  <a:pt x="32" y="37"/>
                </a:lnTo>
                <a:lnTo>
                  <a:pt x="27" y="37"/>
                </a:lnTo>
                <a:lnTo>
                  <a:pt x="25" y="36"/>
                </a:lnTo>
                <a:lnTo>
                  <a:pt x="22" y="37"/>
                </a:lnTo>
                <a:lnTo>
                  <a:pt x="19" y="33"/>
                </a:lnTo>
                <a:lnTo>
                  <a:pt x="16" y="29"/>
                </a:lnTo>
                <a:lnTo>
                  <a:pt x="15" y="24"/>
                </a:lnTo>
                <a:lnTo>
                  <a:pt x="13" y="23"/>
                </a:lnTo>
                <a:lnTo>
                  <a:pt x="11" y="21"/>
                </a:lnTo>
                <a:lnTo>
                  <a:pt x="7" y="22"/>
                </a:lnTo>
                <a:lnTo>
                  <a:pt x="6" y="20"/>
                </a:lnTo>
                <a:lnTo>
                  <a:pt x="5" y="22"/>
                </a:lnTo>
                <a:lnTo>
                  <a:pt x="0" y="20"/>
                </a:lnTo>
                <a:lnTo>
                  <a:pt x="1" y="18"/>
                </a:lnTo>
                <a:lnTo>
                  <a:pt x="2" y="16"/>
                </a:lnTo>
                <a:lnTo>
                  <a:pt x="5" y="10"/>
                </a:lnTo>
                <a:lnTo>
                  <a:pt x="6" y="9"/>
                </a:lnTo>
                <a:lnTo>
                  <a:pt x="10" y="8"/>
                </a:lnTo>
                <a:lnTo>
                  <a:pt x="12" y="8"/>
                </a:lnTo>
                <a:lnTo>
                  <a:pt x="14" y="7"/>
                </a:lnTo>
                <a:lnTo>
                  <a:pt x="20" y="1"/>
                </a:lnTo>
                <a:lnTo>
                  <a:pt x="24" y="0"/>
                </a:lnTo>
                <a:lnTo>
                  <a:pt x="27" y="0"/>
                </a:lnTo>
                <a:lnTo>
                  <a:pt x="32" y="1"/>
                </a:lnTo>
                <a:lnTo>
                  <a:pt x="35" y="5"/>
                </a:lnTo>
                <a:lnTo>
                  <a:pt x="37" y="7"/>
                </a:lnTo>
                <a:lnTo>
                  <a:pt x="40" y="9"/>
                </a:lnTo>
                <a:lnTo>
                  <a:pt x="50" y="9"/>
                </a:lnTo>
                <a:lnTo>
                  <a:pt x="51" y="13"/>
                </a:lnTo>
                <a:lnTo>
                  <a:pt x="52" y="17"/>
                </a:lnTo>
                <a:lnTo>
                  <a:pt x="53" y="22"/>
                </a:lnTo>
                <a:lnTo>
                  <a:pt x="51" y="27"/>
                </a:lnTo>
                <a:lnTo>
                  <a:pt x="51" y="31"/>
                </a:lnTo>
                <a:lnTo>
                  <a:pt x="52" y="39"/>
                </a:lnTo>
                <a:lnTo>
                  <a:pt x="56" y="44"/>
                </a:lnTo>
                <a:lnTo>
                  <a:pt x="56" y="43"/>
                </a:lnTo>
                <a:lnTo>
                  <a:pt x="56" y="40"/>
                </a:lnTo>
                <a:lnTo>
                  <a:pt x="60" y="41"/>
                </a:lnTo>
                <a:lnTo>
                  <a:pt x="61" y="47"/>
                </a:lnTo>
                <a:lnTo>
                  <a:pt x="62" y="48"/>
                </a:lnTo>
                <a:lnTo>
                  <a:pt x="63" y="52"/>
                </a:lnTo>
                <a:lnTo>
                  <a:pt x="67" y="56"/>
                </a:lnTo>
                <a:lnTo>
                  <a:pt x="70" y="56"/>
                </a:lnTo>
                <a:lnTo>
                  <a:pt x="74" y="56"/>
                </a:lnTo>
                <a:lnTo>
                  <a:pt x="75" y="51"/>
                </a:lnTo>
                <a:lnTo>
                  <a:pt x="77" y="50"/>
                </a:lnTo>
                <a:lnTo>
                  <a:pt x="80" y="49"/>
                </a:lnTo>
                <a:lnTo>
                  <a:pt x="81" y="46"/>
                </a:lnTo>
                <a:lnTo>
                  <a:pt x="86" y="41"/>
                </a:lnTo>
                <a:lnTo>
                  <a:pt x="88" y="36"/>
                </a:lnTo>
                <a:lnTo>
                  <a:pt x="91" y="34"/>
                </a:lnTo>
                <a:lnTo>
                  <a:pt x="93" y="34"/>
                </a:lnTo>
                <a:lnTo>
                  <a:pt x="98" y="33"/>
                </a:lnTo>
                <a:lnTo>
                  <a:pt x="101" y="31"/>
                </a:lnTo>
                <a:lnTo>
                  <a:pt x="101" y="28"/>
                </a:lnTo>
                <a:lnTo>
                  <a:pt x="102" y="27"/>
                </a:lnTo>
                <a:lnTo>
                  <a:pt x="106" y="23"/>
                </a:lnTo>
                <a:lnTo>
                  <a:pt x="112" y="20"/>
                </a:lnTo>
                <a:lnTo>
                  <a:pt x="113" y="21"/>
                </a:lnTo>
                <a:lnTo>
                  <a:pt x="114" y="22"/>
                </a:lnTo>
                <a:lnTo>
                  <a:pt x="120" y="24"/>
                </a:lnTo>
                <a:lnTo>
                  <a:pt x="123" y="27"/>
                </a:lnTo>
                <a:lnTo>
                  <a:pt x="125" y="27"/>
                </a:lnTo>
                <a:lnTo>
                  <a:pt x="126" y="28"/>
                </a:lnTo>
                <a:lnTo>
                  <a:pt x="133" y="31"/>
                </a:lnTo>
                <a:lnTo>
                  <a:pt x="137" y="34"/>
                </a:lnTo>
                <a:lnTo>
                  <a:pt x="139" y="36"/>
                </a:lnTo>
                <a:lnTo>
                  <a:pt x="144" y="37"/>
                </a:lnTo>
                <a:lnTo>
                  <a:pt x="146" y="37"/>
                </a:lnTo>
                <a:lnTo>
                  <a:pt x="147" y="36"/>
                </a:lnTo>
                <a:lnTo>
                  <a:pt x="149" y="37"/>
                </a:lnTo>
                <a:lnTo>
                  <a:pt x="152" y="37"/>
                </a:lnTo>
                <a:lnTo>
                  <a:pt x="153" y="37"/>
                </a:lnTo>
                <a:lnTo>
                  <a:pt x="156" y="39"/>
                </a:lnTo>
                <a:lnTo>
                  <a:pt x="157" y="39"/>
                </a:lnTo>
                <a:lnTo>
                  <a:pt x="158" y="39"/>
                </a:lnTo>
                <a:lnTo>
                  <a:pt x="157" y="40"/>
                </a:lnTo>
                <a:lnTo>
                  <a:pt x="158" y="41"/>
                </a:lnTo>
                <a:lnTo>
                  <a:pt x="159" y="41"/>
                </a:lnTo>
                <a:lnTo>
                  <a:pt x="161" y="41"/>
                </a:lnTo>
                <a:lnTo>
                  <a:pt x="163" y="41"/>
                </a:lnTo>
                <a:lnTo>
                  <a:pt x="162" y="43"/>
                </a:lnTo>
                <a:lnTo>
                  <a:pt x="162" y="86"/>
                </a:lnTo>
                <a:lnTo>
                  <a:pt x="159" y="110"/>
                </a:lnTo>
                <a:lnTo>
                  <a:pt x="158" y="117"/>
                </a:lnTo>
                <a:lnTo>
                  <a:pt x="157" y="118"/>
                </a:lnTo>
                <a:lnTo>
                  <a:pt x="159" y="123"/>
                </a:lnTo>
                <a:lnTo>
                  <a:pt x="158" y="137"/>
                </a:lnTo>
                <a:lnTo>
                  <a:pt x="157" y="155"/>
                </a:lnTo>
                <a:lnTo>
                  <a:pt x="158" y="16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06" name="Freeform 1406"/>
          <p:cNvSpPr>
            <a:spLocks/>
          </p:cNvSpPr>
          <p:nvPr/>
        </p:nvSpPr>
        <p:spPr bwMode="auto">
          <a:xfrm>
            <a:off x="4806950" y="2189128"/>
            <a:ext cx="219075" cy="130175"/>
          </a:xfrm>
          <a:custGeom>
            <a:avLst/>
            <a:gdLst>
              <a:gd name="T0" fmla="*/ 122 w 138"/>
              <a:gd name="T1" fmla="*/ 81 h 82"/>
              <a:gd name="T2" fmla="*/ 108 w 138"/>
              <a:gd name="T3" fmla="*/ 75 h 82"/>
              <a:gd name="T4" fmla="*/ 102 w 138"/>
              <a:gd name="T5" fmla="*/ 74 h 82"/>
              <a:gd name="T6" fmla="*/ 90 w 138"/>
              <a:gd name="T7" fmla="*/ 79 h 82"/>
              <a:gd name="T8" fmla="*/ 81 w 138"/>
              <a:gd name="T9" fmla="*/ 82 h 82"/>
              <a:gd name="T10" fmla="*/ 57 w 138"/>
              <a:gd name="T11" fmla="*/ 81 h 82"/>
              <a:gd name="T12" fmla="*/ 45 w 138"/>
              <a:gd name="T13" fmla="*/ 80 h 82"/>
              <a:gd name="T14" fmla="*/ 43 w 138"/>
              <a:gd name="T15" fmla="*/ 74 h 82"/>
              <a:gd name="T16" fmla="*/ 37 w 138"/>
              <a:gd name="T17" fmla="*/ 72 h 82"/>
              <a:gd name="T18" fmla="*/ 37 w 138"/>
              <a:gd name="T19" fmla="*/ 66 h 82"/>
              <a:gd name="T20" fmla="*/ 32 w 138"/>
              <a:gd name="T21" fmla="*/ 65 h 82"/>
              <a:gd name="T22" fmla="*/ 21 w 138"/>
              <a:gd name="T23" fmla="*/ 61 h 82"/>
              <a:gd name="T24" fmla="*/ 19 w 138"/>
              <a:gd name="T25" fmla="*/ 55 h 82"/>
              <a:gd name="T26" fmla="*/ 14 w 138"/>
              <a:gd name="T27" fmla="*/ 53 h 82"/>
              <a:gd name="T28" fmla="*/ 10 w 138"/>
              <a:gd name="T29" fmla="*/ 45 h 82"/>
              <a:gd name="T30" fmla="*/ 5 w 138"/>
              <a:gd name="T31" fmla="*/ 40 h 82"/>
              <a:gd name="T32" fmla="*/ 0 w 138"/>
              <a:gd name="T33" fmla="*/ 38 h 82"/>
              <a:gd name="T34" fmla="*/ 9 w 138"/>
              <a:gd name="T35" fmla="*/ 35 h 82"/>
              <a:gd name="T36" fmla="*/ 14 w 138"/>
              <a:gd name="T37" fmla="*/ 30 h 82"/>
              <a:gd name="T38" fmla="*/ 17 w 138"/>
              <a:gd name="T39" fmla="*/ 24 h 82"/>
              <a:gd name="T40" fmla="*/ 21 w 138"/>
              <a:gd name="T41" fmla="*/ 19 h 82"/>
              <a:gd name="T42" fmla="*/ 23 w 138"/>
              <a:gd name="T43" fmla="*/ 14 h 82"/>
              <a:gd name="T44" fmla="*/ 25 w 138"/>
              <a:gd name="T45" fmla="*/ 10 h 82"/>
              <a:gd name="T46" fmla="*/ 31 w 138"/>
              <a:gd name="T47" fmla="*/ 9 h 82"/>
              <a:gd name="T48" fmla="*/ 33 w 138"/>
              <a:gd name="T49" fmla="*/ 5 h 82"/>
              <a:gd name="T50" fmla="*/ 39 w 138"/>
              <a:gd name="T51" fmla="*/ 5 h 82"/>
              <a:gd name="T52" fmla="*/ 50 w 138"/>
              <a:gd name="T53" fmla="*/ 5 h 82"/>
              <a:gd name="T54" fmla="*/ 57 w 138"/>
              <a:gd name="T55" fmla="*/ 5 h 82"/>
              <a:gd name="T56" fmla="*/ 64 w 138"/>
              <a:gd name="T57" fmla="*/ 8 h 82"/>
              <a:gd name="T58" fmla="*/ 72 w 138"/>
              <a:gd name="T59" fmla="*/ 4 h 82"/>
              <a:gd name="T60" fmla="*/ 84 w 138"/>
              <a:gd name="T61" fmla="*/ 0 h 82"/>
              <a:gd name="T62" fmla="*/ 87 w 138"/>
              <a:gd name="T63" fmla="*/ 0 h 82"/>
              <a:gd name="T64" fmla="*/ 95 w 138"/>
              <a:gd name="T65" fmla="*/ 5 h 82"/>
              <a:gd name="T66" fmla="*/ 100 w 138"/>
              <a:gd name="T67" fmla="*/ 12 h 82"/>
              <a:gd name="T68" fmla="*/ 107 w 138"/>
              <a:gd name="T69" fmla="*/ 21 h 82"/>
              <a:gd name="T70" fmla="*/ 113 w 138"/>
              <a:gd name="T71" fmla="*/ 32 h 82"/>
              <a:gd name="T72" fmla="*/ 113 w 138"/>
              <a:gd name="T73" fmla="*/ 40 h 82"/>
              <a:gd name="T74" fmla="*/ 115 w 138"/>
              <a:gd name="T75" fmla="*/ 45 h 82"/>
              <a:gd name="T76" fmla="*/ 115 w 138"/>
              <a:gd name="T77" fmla="*/ 50 h 82"/>
              <a:gd name="T78" fmla="*/ 122 w 138"/>
              <a:gd name="T79" fmla="*/ 53 h 82"/>
              <a:gd name="T80" fmla="*/ 127 w 138"/>
              <a:gd name="T81" fmla="*/ 52 h 82"/>
              <a:gd name="T82" fmla="*/ 133 w 138"/>
              <a:gd name="T83" fmla="*/ 50 h 82"/>
              <a:gd name="T84" fmla="*/ 136 w 138"/>
              <a:gd name="T85" fmla="*/ 51 h 82"/>
              <a:gd name="T86" fmla="*/ 138 w 138"/>
              <a:gd name="T87" fmla="*/ 56 h 82"/>
              <a:gd name="T88" fmla="*/ 137 w 138"/>
              <a:gd name="T89" fmla="*/ 61 h 82"/>
              <a:gd name="T90" fmla="*/ 134 w 138"/>
              <a:gd name="T91" fmla="*/ 62 h 82"/>
              <a:gd name="T92" fmla="*/ 130 w 138"/>
              <a:gd name="T93" fmla="*/ 66 h 82"/>
              <a:gd name="T94" fmla="*/ 127 w 138"/>
              <a:gd name="T95" fmla="*/ 66 h 82"/>
              <a:gd name="T96" fmla="*/ 130 w 138"/>
              <a:gd name="T97" fmla="*/ 62 h 82"/>
              <a:gd name="T98" fmla="*/ 127 w 138"/>
              <a:gd name="T99" fmla="*/ 59 h 82"/>
              <a:gd name="T100" fmla="*/ 126 w 138"/>
              <a:gd name="T101" fmla="*/ 66 h 82"/>
              <a:gd name="T102" fmla="*/ 125 w 138"/>
              <a:gd name="T103" fmla="*/ 72 h 82"/>
              <a:gd name="T104" fmla="*/ 126 w 138"/>
              <a:gd name="T105" fmla="*/ 78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38" h="82">
                <a:moveTo>
                  <a:pt x="126" y="80"/>
                </a:moveTo>
                <a:lnTo>
                  <a:pt x="122" y="81"/>
                </a:lnTo>
                <a:lnTo>
                  <a:pt x="116" y="78"/>
                </a:lnTo>
                <a:lnTo>
                  <a:pt x="108" y="75"/>
                </a:lnTo>
                <a:lnTo>
                  <a:pt x="106" y="74"/>
                </a:lnTo>
                <a:lnTo>
                  <a:pt x="102" y="74"/>
                </a:lnTo>
                <a:lnTo>
                  <a:pt x="95" y="76"/>
                </a:lnTo>
                <a:lnTo>
                  <a:pt x="90" y="79"/>
                </a:lnTo>
                <a:lnTo>
                  <a:pt x="85" y="81"/>
                </a:lnTo>
                <a:lnTo>
                  <a:pt x="81" y="82"/>
                </a:lnTo>
                <a:lnTo>
                  <a:pt x="69" y="81"/>
                </a:lnTo>
                <a:lnTo>
                  <a:pt x="57" y="81"/>
                </a:lnTo>
                <a:lnTo>
                  <a:pt x="49" y="80"/>
                </a:lnTo>
                <a:lnTo>
                  <a:pt x="45" y="80"/>
                </a:lnTo>
                <a:lnTo>
                  <a:pt x="42" y="78"/>
                </a:lnTo>
                <a:lnTo>
                  <a:pt x="43" y="74"/>
                </a:lnTo>
                <a:lnTo>
                  <a:pt x="40" y="73"/>
                </a:lnTo>
                <a:lnTo>
                  <a:pt x="37" y="72"/>
                </a:lnTo>
                <a:lnTo>
                  <a:pt x="35" y="69"/>
                </a:lnTo>
                <a:lnTo>
                  <a:pt x="37" y="66"/>
                </a:lnTo>
                <a:lnTo>
                  <a:pt x="35" y="63"/>
                </a:lnTo>
                <a:lnTo>
                  <a:pt x="32" y="65"/>
                </a:lnTo>
                <a:lnTo>
                  <a:pt x="24" y="63"/>
                </a:lnTo>
                <a:lnTo>
                  <a:pt x="21" y="61"/>
                </a:lnTo>
                <a:lnTo>
                  <a:pt x="20" y="56"/>
                </a:lnTo>
                <a:lnTo>
                  <a:pt x="19" y="55"/>
                </a:lnTo>
                <a:lnTo>
                  <a:pt x="16" y="53"/>
                </a:lnTo>
                <a:lnTo>
                  <a:pt x="14" y="53"/>
                </a:lnTo>
                <a:lnTo>
                  <a:pt x="11" y="50"/>
                </a:lnTo>
                <a:lnTo>
                  <a:pt x="10" y="45"/>
                </a:lnTo>
                <a:lnTo>
                  <a:pt x="7" y="43"/>
                </a:lnTo>
                <a:lnTo>
                  <a:pt x="5" y="40"/>
                </a:lnTo>
                <a:lnTo>
                  <a:pt x="1" y="39"/>
                </a:lnTo>
                <a:lnTo>
                  <a:pt x="0" y="38"/>
                </a:lnTo>
                <a:lnTo>
                  <a:pt x="0" y="38"/>
                </a:lnTo>
                <a:lnTo>
                  <a:pt x="9" y="35"/>
                </a:lnTo>
                <a:lnTo>
                  <a:pt x="12" y="34"/>
                </a:lnTo>
                <a:lnTo>
                  <a:pt x="14" y="30"/>
                </a:lnTo>
                <a:lnTo>
                  <a:pt x="15" y="28"/>
                </a:lnTo>
                <a:lnTo>
                  <a:pt x="17" y="24"/>
                </a:lnTo>
                <a:lnTo>
                  <a:pt x="19" y="22"/>
                </a:lnTo>
                <a:lnTo>
                  <a:pt x="21" y="19"/>
                </a:lnTo>
                <a:lnTo>
                  <a:pt x="21" y="16"/>
                </a:lnTo>
                <a:lnTo>
                  <a:pt x="23" y="14"/>
                </a:lnTo>
                <a:lnTo>
                  <a:pt x="23" y="12"/>
                </a:lnTo>
                <a:lnTo>
                  <a:pt x="25" y="10"/>
                </a:lnTo>
                <a:lnTo>
                  <a:pt x="29" y="9"/>
                </a:lnTo>
                <a:lnTo>
                  <a:pt x="31" y="9"/>
                </a:lnTo>
                <a:lnTo>
                  <a:pt x="32" y="7"/>
                </a:lnTo>
                <a:lnTo>
                  <a:pt x="33" y="5"/>
                </a:lnTo>
                <a:lnTo>
                  <a:pt x="35" y="5"/>
                </a:lnTo>
                <a:lnTo>
                  <a:pt x="39" y="5"/>
                </a:lnTo>
                <a:lnTo>
                  <a:pt x="44" y="5"/>
                </a:lnTo>
                <a:lnTo>
                  <a:pt x="50" y="5"/>
                </a:lnTo>
                <a:lnTo>
                  <a:pt x="54" y="5"/>
                </a:lnTo>
                <a:lnTo>
                  <a:pt x="57" y="5"/>
                </a:lnTo>
                <a:lnTo>
                  <a:pt x="61" y="7"/>
                </a:lnTo>
                <a:lnTo>
                  <a:pt x="64" y="8"/>
                </a:lnTo>
                <a:lnTo>
                  <a:pt x="67" y="5"/>
                </a:lnTo>
                <a:lnTo>
                  <a:pt x="72" y="4"/>
                </a:lnTo>
                <a:lnTo>
                  <a:pt x="76" y="4"/>
                </a:lnTo>
                <a:lnTo>
                  <a:pt x="84" y="0"/>
                </a:lnTo>
                <a:lnTo>
                  <a:pt x="86" y="0"/>
                </a:lnTo>
                <a:lnTo>
                  <a:pt x="87" y="0"/>
                </a:lnTo>
                <a:lnTo>
                  <a:pt x="92" y="2"/>
                </a:lnTo>
                <a:lnTo>
                  <a:pt x="95" y="5"/>
                </a:lnTo>
                <a:lnTo>
                  <a:pt x="97" y="9"/>
                </a:lnTo>
                <a:lnTo>
                  <a:pt x="100" y="12"/>
                </a:lnTo>
                <a:lnTo>
                  <a:pt x="103" y="16"/>
                </a:lnTo>
                <a:lnTo>
                  <a:pt x="107" y="21"/>
                </a:lnTo>
                <a:lnTo>
                  <a:pt x="111" y="25"/>
                </a:lnTo>
                <a:lnTo>
                  <a:pt x="113" y="32"/>
                </a:lnTo>
                <a:lnTo>
                  <a:pt x="113" y="36"/>
                </a:lnTo>
                <a:lnTo>
                  <a:pt x="113" y="40"/>
                </a:lnTo>
                <a:lnTo>
                  <a:pt x="114" y="43"/>
                </a:lnTo>
                <a:lnTo>
                  <a:pt x="115" y="45"/>
                </a:lnTo>
                <a:lnTo>
                  <a:pt x="115" y="49"/>
                </a:lnTo>
                <a:lnTo>
                  <a:pt x="115" y="50"/>
                </a:lnTo>
                <a:lnTo>
                  <a:pt x="117" y="50"/>
                </a:lnTo>
                <a:lnTo>
                  <a:pt x="122" y="53"/>
                </a:lnTo>
                <a:lnTo>
                  <a:pt x="124" y="53"/>
                </a:lnTo>
                <a:lnTo>
                  <a:pt x="127" y="52"/>
                </a:lnTo>
                <a:lnTo>
                  <a:pt x="131" y="51"/>
                </a:lnTo>
                <a:lnTo>
                  <a:pt x="133" y="50"/>
                </a:lnTo>
                <a:lnTo>
                  <a:pt x="135" y="51"/>
                </a:lnTo>
                <a:lnTo>
                  <a:pt x="136" y="51"/>
                </a:lnTo>
                <a:lnTo>
                  <a:pt x="137" y="53"/>
                </a:lnTo>
                <a:lnTo>
                  <a:pt x="138" y="56"/>
                </a:lnTo>
                <a:lnTo>
                  <a:pt x="138" y="60"/>
                </a:lnTo>
                <a:lnTo>
                  <a:pt x="137" y="61"/>
                </a:lnTo>
                <a:lnTo>
                  <a:pt x="136" y="62"/>
                </a:lnTo>
                <a:lnTo>
                  <a:pt x="134" y="62"/>
                </a:lnTo>
                <a:lnTo>
                  <a:pt x="132" y="64"/>
                </a:lnTo>
                <a:lnTo>
                  <a:pt x="130" y="66"/>
                </a:lnTo>
                <a:lnTo>
                  <a:pt x="127" y="68"/>
                </a:lnTo>
                <a:lnTo>
                  <a:pt x="127" y="66"/>
                </a:lnTo>
                <a:lnTo>
                  <a:pt x="128" y="65"/>
                </a:lnTo>
                <a:lnTo>
                  <a:pt x="130" y="62"/>
                </a:lnTo>
                <a:lnTo>
                  <a:pt x="130" y="59"/>
                </a:lnTo>
                <a:lnTo>
                  <a:pt x="127" y="59"/>
                </a:lnTo>
                <a:lnTo>
                  <a:pt x="127" y="64"/>
                </a:lnTo>
                <a:lnTo>
                  <a:pt x="126" y="66"/>
                </a:lnTo>
                <a:lnTo>
                  <a:pt x="126" y="70"/>
                </a:lnTo>
                <a:lnTo>
                  <a:pt x="125" y="72"/>
                </a:lnTo>
                <a:lnTo>
                  <a:pt x="126" y="75"/>
                </a:lnTo>
                <a:lnTo>
                  <a:pt x="126" y="78"/>
                </a:lnTo>
                <a:lnTo>
                  <a:pt x="126" y="8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07" name="Freeform 1407"/>
          <p:cNvSpPr>
            <a:spLocks/>
          </p:cNvSpPr>
          <p:nvPr/>
        </p:nvSpPr>
        <p:spPr bwMode="auto">
          <a:xfrm>
            <a:off x="4806950" y="2189128"/>
            <a:ext cx="219075" cy="130175"/>
          </a:xfrm>
          <a:custGeom>
            <a:avLst/>
            <a:gdLst>
              <a:gd name="T0" fmla="*/ 122 w 138"/>
              <a:gd name="T1" fmla="*/ 81 h 82"/>
              <a:gd name="T2" fmla="*/ 108 w 138"/>
              <a:gd name="T3" fmla="*/ 75 h 82"/>
              <a:gd name="T4" fmla="*/ 102 w 138"/>
              <a:gd name="T5" fmla="*/ 74 h 82"/>
              <a:gd name="T6" fmla="*/ 90 w 138"/>
              <a:gd name="T7" fmla="*/ 79 h 82"/>
              <a:gd name="T8" fmla="*/ 81 w 138"/>
              <a:gd name="T9" fmla="*/ 82 h 82"/>
              <a:gd name="T10" fmla="*/ 57 w 138"/>
              <a:gd name="T11" fmla="*/ 81 h 82"/>
              <a:gd name="T12" fmla="*/ 45 w 138"/>
              <a:gd name="T13" fmla="*/ 80 h 82"/>
              <a:gd name="T14" fmla="*/ 43 w 138"/>
              <a:gd name="T15" fmla="*/ 74 h 82"/>
              <a:gd name="T16" fmla="*/ 37 w 138"/>
              <a:gd name="T17" fmla="*/ 72 h 82"/>
              <a:gd name="T18" fmla="*/ 37 w 138"/>
              <a:gd name="T19" fmla="*/ 66 h 82"/>
              <a:gd name="T20" fmla="*/ 32 w 138"/>
              <a:gd name="T21" fmla="*/ 65 h 82"/>
              <a:gd name="T22" fmla="*/ 21 w 138"/>
              <a:gd name="T23" fmla="*/ 61 h 82"/>
              <a:gd name="T24" fmla="*/ 19 w 138"/>
              <a:gd name="T25" fmla="*/ 55 h 82"/>
              <a:gd name="T26" fmla="*/ 14 w 138"/>
              <a:gd name="T27" fmla="*/ 53 h 82"/>
              <a:gd name="T28" fmla="*/ 10 w 138"/>
              <a:gd name="T29" fmla="*/ 45 h 82"/>
              <a:gd name="T30" fmla="*/ 5 w 138"/>
              <a:gd name="T31" fmla="*/ 40 h 82"/>
              <a:gd name="T32" fmla="*/ 0 w 138"/>
              <a:gd name="T33" fmla="*/ 38 h 82"/>
              <a:gd name="T34" fmla="*/ 9 w 138"/>
              <a:gd name="T35" fmla="*/ 35 h 82"/>
              <a:gd name="T36" fmla="*/ 14 w 138"/>
              <a:gd name="T37" fmla="*/ 30 h 82"/>
              <a:gd name="T38" fmla="*/ 17 w 138"/>
              <a:gd name="T39" fmla="*/ 24 h 82"/>
              <a:gd name="T40" fmla="*/ 21 w 138"/>
              <a:gd name="T41" fmla="*/ 19 h 82"/>
              <a:gd name="T42" fmla="*/ 23 w 138"/>
              <a:gd name="T43" fmla="*/ 14 h 82"/>
              <a:gd name="T44" fmla="*/ 25 w 138"/>
              <a:gd name="T45" fmla="*/ 10 h 82"/>
              <a:gd name="T46" fmla="*/ 31 w 138"/>
              <a:gd name="T47" fmla="*/ 9 h 82"/>
              <a:gd name="T48" fmla="*/ 33 w 138"/>
              <a:gd name="T49" fmla="*/ 5 h 82"/>
              <a:gd name="T50" fmla="*/ 39 w 138"/>
              <a:gd name="T51" fmla="*/ 5 h 82"/>
              <a:gd name="T52" fmla="*/ 50 w 138"/>
              <a:gd name="T53" fmla="*/ 5 h 82"/>
              <a:gd name="T54" fmla="*/ 57 w 138"/>
              <a:gd name="T55" fmla="*/ 5 h 82"/>
              <a:gd name="T56" fmla="*/ 64 w 138"/>
              <a:gd name="T57" fmla="*/ 8 h 82"/>
              <a:gd name="T58" fmla="*/ 72 w 138"/>
              <a:gd name="T59" fmla="*/ 4 h 82"/>
              <a:gd name="T60" fmla="*/ 84 w 138"/>
              <a:gd name="T61" fmla="*/ 0 h 82"/>
              <a:gd name="T62" fmla="*/ 87 w 138"/>
              <a:gd name="T63" fmla="*/ 0 h 82"/>
              <a:gd name="T64" fmla="*/ 95 w 138"/>
              <a:gd name="T65" fmla="*/ 5 h 82"/>
              <a:gd name="T66" fmla="*/ 100 w 138"/>
              <a:gd name="T67" fmla="*/ 12 h 82"/>
              <a:gd name="T68" fmla="*/ 107 w 138"/>
              <a:gd name="T69" fmla="*/ 21 h 82"/>
              <a:gd name="T70" fmla="*/ 113 w 138"/>
              <a:gd name="T71" fmla="*/ 32 h 82"/>
              <a:gd name="T72" fmla="*/ 113 w 138"/>
              <a:gd name="T73" fmla="*/ 40 h 82"/>
              <a:gd name="T74" fmla="*/ 115 w 138"/>
              <a:gd name="T75" fmla="*/ 45 h 82"/>
              <a:gd name="T76" fmla="*/ 115 w 138"/>
              <a:gd name="T77" fmla="*/ 50 h 82"/>
              <a:gd name="T78" fmla="*/ 122 w 138"/>
              <a:gd name="T79" fmla="*/ 53 h 82"/>
              <a:gd name="T80" fmla="*/ 127 w 138"/>
              <a:gd name="T81" fmla="*/ 52 h 82"/>
              <a:gd name="T82" fmla="*/ 133 w 138"/>
              <a:gd name="T83" fmla="*/ 50 h 82"/>
              <a:gd name="T84" fmla="*/ 136 w 138"/>
              <a:gd name="T85" fmla="*/ 51 h 82"/>
              <a:gd name="T86" fmla="*/ 138 w 138"/>
              <a:gd name="T87" fmla="*/ 56 h 82"/>
              <a:gd name="T88" fmla="*/ 137 w 138"/>
              <a:gd name="T89" fmla="*/ 61 h 82"/>
              <a:gd name="T90" fmla="*/ 134 w 138"/>
              <a:gd name="T91" fmla="*/ 62 h 82"/>
              <a:gd name="T92" fmla="*/ 130 w 138"/>
              <a:gd name="T93" fmla="*/ 66 h 82"/>
              <a:gd name="T94" fmla="*/ 127 w 138"/>
              <a:gd name="T95" fmla="*/ 66 h 82"/>
              <a:gd name="T96" fmla="*/ 130 w 138"/>
              <a:gd name="T97" fmla="*/ 62 h 82"/>
              <a:gd name="T98" fmla="*/ 127 w 138"/>
              <a:gd name="T99" fmla="*/ 59 h 82"/>
              <a:gd name="T100" fmla="*/ 126 w 138"/>
              <a:gd name="T101" fmla="*/ 66 h 82"/>
              <a:gd name="T102" fmla="*/ 125 w 138"/>
              <a:gd name="T103" fmla="*/ 72 h 82"/>
              <a:gd name="T104" fmla="*/ 126 w 138"/>
              <a:gd name="T105" fmla="*/ 78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38" h="82">
                <a:moveTo>
                  <a:pt x="126" y="80"/>
                </a:moveTo>
                <a:lnTo>
                  <a:pt x="122" y="81"/>
                </a:lnTo>
                <a:lnTo>
                  <a:pt x="116" y="78"/>
                </a:lnTo>
                <a:lnTo>
                  <a:pt x="108" y="75"/>
                </a:lnTo>
                <a:lnTo>
                  <a:pt x="106" y="74"/>
                </a:lnTo>
                <a:lnTo>
                  <a:pt x="102" y="74"/>
                </a:lnTo>
                <a:lnTo>
                  <a:pt x="95" y="76"/>
                </a:lnTo>
                <a:lnTo>
                  <a:pt x="90" y="79"/>
                </a:lnTo>
                <a:lnTo>
                  <a:pt x="85" y="81"/>
                </a:lnTo>
                <a:lnTo>
                  <a:pt x="81" y="82"/>
                </a:lnTo>
                <a:lnTo>
                  <a:pt x="69" y="81"/>
                </a:lnTo>
                <a:lnTo>
                  <a:pt x="57" y="81"/>
                </a:lnTo>
                <a:lnTo>
                  <a:pt x="49" y="80"/>
                </a:lnTo>
                <a:lnTo>
                  <a:pt x="45" y="80"/>
                </a:lnTo>
                <a:lnTo>
                  <a:pt x="42" y="78"/>
                </a:lnTo>
                <a:lnTo>
                  <a:pt x="43" y="74"/>
                </a:lnTo>
                <a:lnTo>
                  <a:pt x="40" y="73"/>
                </a:lnTo>
                <a:lnTo>
                  <a:pt x="37" y="72"/>
                </a:lnTo>
                <a:lnTo>
                  <a:pt x="35" y="69"/>
                </a:lnTo>
                <a:lnTo>
                  <a:pt x="37" y="66"/>
                </a:lnTo>
                <a:lnTo>
                  <a:pt x="35" y="63"/>
                </a:lnTo>
                <a:lnTo>
                  <a:pt x="32" y="65"/>
                </a:lnTo>
                <a:lnTo>
                  <a:pt x="24" y="63"/>
                </a:lnTo>
                <a:lnTo>
                  <a:pt x="21" y="61"/>
                </a:lnTo>
                <a:lnTo>
                  <a:pt x="20" y="56"/>
                </a:lnTo>
                <a:lnTo>
                  <a:pt x="19" y="55"/>
                </a:lnTo>
                <a:lnTo>
                  <a:pt x="16" y="53"/>
                </a:lnTo>
                <a:lnTo>
                  <a:pt x="14" y="53"/>
                </a:lnTo>
                <a:lnTo>
                  <a:pt x="11" y="50"/>
                </a:lnTo>
                <a:lnTo>
                  <a:pt x="10" y="45"/>
                </a:lnTo>
                <a:lnTo>
                  <a:pt x="7" y="43"/>
                </a:lnTo>
                <a:lnTo>
                  <a:pt x="5" y="40"/>
                </a:lnTo>
                <a:lnTo>
                  <a:pt x="1" y="39"/>
                </a:lnTo>
                <a:lnTo>
                  <a:pt x="0" y="38"/>
                </a:lnTo>
                <a:lnTo>
                  <a:pt x="0" y="38"/>
                </a:lnTo>
                <a:lnTo>
                  <a:pt x="9" y="35"/>
                </a:lnTo>
                <a:lnTo>
                  <a:pt x="12" y="34"/>
                </a:lnTo>
                <a:lnTo>
                  <a:pt x="14" y="30"/>
                </a:lnTo>
                <a:lnTo>
                  <a:pt x="15" y="28"/>
                </a:lnTo>
                <a:lnTo>
                  <a:pt x="17" y="24"/>
                </a:lnTo>
                <a:lnTo>
                  <a:pt x="19" y="22"/>
                </a:lnTo>
                <a:lnTo>
                  <a:pt x="21" y="19"/>
                </a:lnTo>
                <a:lnTo>
                  <a:pt x="21" y="16"/>
                </a:lnTo>
                <a:lnTo>
                  <a:pt x="23" y="14"/>
                </a:lnTo>
                <a:lnTo>
                  <a:pt x="23" y="12"/>
                </a:lnTo>
                <a:lnTo>
                  <a:pt x="25" y="10"/>
                </a:lnTo>
                <a:lnTo>
                  <a:pt x="29" y="9"/>
                </a:lnTo>
                <a:lnTo>
                  <a:pt x="31" y="9"/>
                </a:lnTo>
                <a:lnTo>
                  <a:pt x="32" y="7"/>
                </a:lnTo>
                <a:lnTo>
                  <a:pt x="33" y="5"/>
                </a:lnTo>
                <a:lnTo>
                  <a:pt x="35" y="5"/>
                </a:lnTo>
                <a:lnTo>
                  <a:pt x="39" y="5"/>
                </a:lnTo>
                <a:lnTo>
                  <a:pt x="44" y="5"/>
                </a:lnTo>
                <a:lnTo>
                  <a:pt x="50" y="5"/>
                </a:lnTo>
                <a:lnTo>
                  <a:pt x="54" y="5"/>
                </a:lnTo>
                <a:lnTo>
                  <a:pt x="57" y="5"/>
                </a:lnTo>
                <a:lnTo>
                  <a:pt x="61" y="7"/>
                </a:lnTo>
                <a:lnTo>
                  <a:pt x="64" y="8"/>
                </a:lnTo>
                <a:lnTo>
                  <a:pt x="67" y="5"/>
                </a:lnTo>
                <a:lnTo>
                  <a:pt x="72" y="4"/>
                </a:lnTo>
                <a:lnTo>
                  <a:pt x="76" y="4"/>
                </a:lnTo>
                <a:lnTo>
                  <a:pt x="84" y="0"/>
                </a:lnTo>
                <a:lnTo>
                  <a:pt x="86" y="0"/>
                </a:lnTo>
                <a:lnTo>
                  <a:pt x="87" y="0"/>
                </a:lnTo>
                <a:lnTo>
                  <a:pt x="92" y="2"/>
                </a:lnTo>
                <a:lnTo>
                  <a:pt x="95" y="5"/>
                </a:lnTo>
                <a:lnTo>
                  <a:pt x="97" y="9"/>
                </a:lnTo>
                <a:lnTo>
                  <a:pt x="100" y="12"/>
                </a:lnTo>
                <a:lnTo>
                  <a:pt x="103" y="16"/>
                </a:lnTo>
                <a:lnTo>
                  <a:pt x="107" y="21"/>
                </a:lnTo>
                <a:lnTo>
                  <a:pt x="111" y="25"/>
                </a:lnTo>
                <a:lnTo>
                  <a:pt x="113" y="32"/>
                </a:lnTo>
                <a:lnTo>
                  <a:pt x="113" y="36"/>
                </a:lnTo>
                <a:lnTo>
                  <a:pt x="113" y="40"/>
                </a:lnTo>
                <a:lnTo>
                  <a:pt x="114" y="43"/>
                </a:lnTo>
                <a:lnTo>
                  <a:pt x="115" y="45"/>
                </a:lnTo>
                <a:lnTo>
                  <a:pt x="115" y="49"/>
                </a:lnTo>
                <a:lnTo>
                  <a:pt x="115" y="50"/>
                </a:lnTo>
                <a:lnTo>
                  <a:pt x="117" y="50"/>
                </a:lnTo>
                <a:lnTo>
                  <a:pt x="122" y="53"/>
                </a:lnTo>
                <a:lnTo>
                  <a:pt x="124" y="53"/>
                </a:lnTo>
                <a:lnTo>
                  <a:pt x="127" y="52"/>
                </a:lnTo>
                <a:lnTo>
                  <a:pt x="131" y="51"/>
                </a:lnTo>
                <a:lnTo>
                  <a:pt x="133" y="50"/>
                </a:lnTo>
                <a:lnTo>
                  <a:pt x="135" y="51"/>
                </a:lnTo>
                <a:lnTo>
                  <a:pt x="136" y="51"/>
                </a:lnTo>
                <a:lnTo>
                  <a:pt x="137" y="53"/>
                </a:lnTo>
                <a:lnTo>
                  <a:pt x="138" y="56"/>
                </a:lnTo>
                <a:lnTo>
                  <a:pt x="138" y="60"/>
                </a:lnTo>
                <a:lnTo>
                  <a:pt x="137" y="61"/>
                </a:lnTo>
                <a:lnTo>
                  <a:pt x="136" y="62"/>
                </a:lnTo>
                <a:lnTo>
                  <a:pt x="134" y="62"/>
                </a:lnTo>
                <a:lnTo>
                  <a:pt x="132" y="64"/>
                </a:lnTo>
                <a:lnTo>
                  <a:pt x="130" y="66"/>
                </a:lnTo>
                <a:lnTo>
                  <a:pt x="127" y="68"/>
                </a:lnTo>
                <a:lnTo>
                  <a:pt x="127" y="66"/>
                </a:lnTo>
                <a:lnTo>
                  <a:pt x="128" y="65"/>
                </a:lnTo>
                <a:lnTo>
                  <a:pt x="130" y="62"/>
                </a:lnTo>
                <a:lnTo>
                  <a:pt x="130" y="59"/>
                </a:lnTo>
                <a:lnTo>
                  <a:pt x="127" y="59"/>
                </a:lnTo>
                <a:lnTo>
                  <a:pt x="127" y="64"/>
                </a:lnTo>
                <a:lnTo>
                  <a:pt x="126" y="66"/>
                </a:lnTo>
                <a:lnTo>
                  <a:pt x="126" y="70"/>
                </a:lnTo>
                <a:lnTo>
                  <a:pt x="125" y="72"/>
                </a:lnTo>
                <a:lnTo>
                  <a:pt x="126" y="75"/>
                </a:lnTo>
                <a:lnTo>
                  <a:pt x="126" y="78"/>
                </a:lnTo>
                <a:lnTo>
                  <a:pt x="126" y="8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08" name="Freeform 1408"/>
          <p:cNvSpPr>
            <a:spLocks/>
          </p:cNvSpPr>
          <p:nvPr/>
        </p:nvSpPr>
        <p:spPr bwMode="auto">
          <a:xfrm>
            <a:off x="4799012" y="1904965"/>
            <a:ext cx="28575" cy="17463"/>
          </a:xfrm>
          <a:custGeom>
            <a:avLst/>
            <a:gdLst>
              <a:gd name="T0" fmla="*/ 15 w 18"/>
              <a:gd name="T1" fmla="*/ 0 h 11"/>
              <a:gd name="T2" fmla="*/ 12 w 18"/>
              <a:gd name="T3" fmla="*/ 0 h 11"/>
              <a:gd name="T4" fmla="*/ 9 w 18"/>
              <a:gd name="T5" fmla="*/ 0 h 11"/>
              <a:gd name="T6" fmla="*/ 6 w 18"/>
              <a:gd name="T7" fmla="*/ 0 h 11"/>
              <a:gd name="T8" fmla="*/ 5 w 18"/>
              <a:gd name="T9" fmla="*/ 2 h 11"/>
              <a:gd name="T10" fmla="*/ 4 w 18"/>
              <a:gd name="T11" fmla="*/ 2 h 11"/>
              <a:gd name="T12" fmla="*/ 2 w 18"/>
              <a:gd name="T13" fmla="*/ 2 h 11"/>
              <a:gd name="T14" fmla="*/ 0 w 18"/>
              <a:gd name="T15" fmla="*/ 2 h 11"/>
              <a:gd name="T16" fmla="*/ 0 w 18"/>
              <a:gd name="T17" fmla="*/ 6 h 11"/>
              <a:gd name="T18" fmla="*/ 2 w 18"/>
              <a:gd name="T19" fmla="*/ 7 h 11"/>
              <a:gd name="T20" fmla="*/ 4 w 18"/>
              <a:gd name="T21" fmla="*/ 8 h 11"/>
              <a:gd name="T22" fmla="*/ 4 w 18"/>
              <a:gd name="T23" fmla="*/ 9 h 11"/>
              <a:gd name="T24" fmla="*/ 2 w 18"/>
              <a:gd name="T25" fmla="*/ 10 h 11"/>
              <a:gd name="T26" fmla="*/ 2 w 18"/>
              <a:gd name="T27" fmla="*/ 11 h 11"/>
              <a:gd name="T28" fmla="*/ 5 w 18"/>
              <a:gd name="T29" fmla="*/ 9 h 11"/>
              <a:gd name="T30" fmla="*/ 6 w 18"/>
              <a:gd name="T31" fmla="*/ 8 h 11"/>
              <a:gd name="T32" fmla="*/ 7 w 18"/>
              <a:gd name="T33" fmla="*/ 6 h 11"/>
              <a:gd name="T34" fmla="*/ 9 w 18"/>
              <a:gd name="T35" fmla="*/ 7 h 11"/>
              <a:gd name="T36" fmla="*/ 10 w 18"/>
              <a:gd name="T37" fmla="*/ 7 h 11"/>
              <a:gd name="T38" fmla="*/ 11 w 18"/>
              <a:gd name="T39" fmla="*/ 6 h 11"/>
              <a:gd name="T40" fmla="*/ 12 w 18"/>
              <a:gd name="T41" fmla="*/ 5 h 11"/>
              <a:gd name="T42" fmla="*/ 15 w 18"/>
              <a:gd name="T43" fmla="*/ 3 h 11"/>
              <a:gd name="T44" fmla="*/ 16 w 18"/>
              <a:gd name="T45" fmla="*/ 3 h 11"/>
              <a:gd name="T46" fmla="*/ 18 w 18"/>
              <a:gd name="T47" fmla="*/ 2 h 11"/>
              <a:gd name="T48" fmla="*/ 17 w 18"/>
              <a:gd name="T49" fmla="*/ 2 h 11"/>
              <a:gd name="T50" fmla="*/ 15 w 18"/>
              <a:gd name="T51" fmla="*/ 1 h 11"/>
              <a:gd name="T52" fmla="*/ 15 w 18"/>
              <a:gd name="T53" fmla="*/ 0 h 11"/>
              <a:gd name="T54" fmla="*/ 15 w 18"/>
              <a:gd name="T55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8" h="11">
                <a:moveTo>
                  <a:pt x="15" y="0"/>
                </a:moveTo>
                <a:lnTo>
                  <a:pt x="12" y="0"/>
                </a:lnTo>
                <a:lnTo>
                  <a:pt x="9" y="0"/>
                </a:lnTo>
                <a:lnTo>
                  <a:pt x="6" y="0"/>
                </a:lnTo>
                <a:lnTo>
                  <a:pt x="5" y="2"/>
                </a:lnTo>
                <a:lnTo>
                  <a:pt x="4" y="2"/>
                </a:lnTo>
                <a:lnTo>
                  <a:pt x="2" y="2"/>
                </a:lnTo>
                <a:lnTo>
                  <a:pt x="0" y="2"/>
                </a:lnTo>
                <a:lnTo>
                  <a:pt x="0" y="6"/>
                </a:lnTo>
                <a:lnTo>
                  <a:pt x="2" y="7"/>
                </a:lnTo>
                <a:lnTo>
                  <a:pt x="4" y="8"/>
                </a:lnTo>
                <a:lnTo>
                  <a:pt x="4" y="9"/>
                </a:lnTo>
                <a:lnTo>
                  <a:pt x="2" y="10"/>
                </a:lnTo>
                <a:lnTo>
                  <a:pt x="2" y="11"/>
                </a:lnTo>
                <a:lnTo>
                  <a:pt x="5" y="9"/>
                </a:lnTo>
                <a:lnTo>
                  <a:pt x="6" y="8"/>
                </a:lnTo>
                <a:lnTo>
                  <a:pt x="7" y="6"/>
                </a:lnTo>
                <a:lnTo>
                  <a:pt x="9" y="7"/>
                </a:lnTo>
                <a:lnTo>
                  <a:pt x="10" y="7"/>
                </a:lnTo>
                <a:lnTo>
                  <a:pt x="11" y="6"/>
                </a:lnTo>
                <a:lnTo>
                  <a:pt x="12" y="5"/>
                </a:lnTo>
                <a:lnTo>
                  <a:pt x="15" y="3"/>
                </a:lnTo>
                <a:lnTo>
                  <a:pt x="16" y="3"/>
                </a:lnTo>
                <a:lnTo>
                  <a:pt x="18" y="2"/>
                </a:lnTo>
                <a:lnTo>
                  <a:pt x="17" y="2"/>
                </a:lnTo>
                <a:lnTo>
                  <a:pt x="15" y="1"/>
                </a:lnTo>
                <a:lnTo>
                  <a:pt x="15" y="0"/>
                </a:lnTo>
                <a:lnTo>
                  <a:pt x="15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09" name="Freeform 1409"/>
          <p:cNvSpPr>
            <a:spLocks/>
          </p:cNvSpPr>
          <p:nvPr/>
        </p:nvSpPr>
        <p:spPr bwMode="auto">
          <a:xfrm>
            <a:off x="4799012" y="1904965"/>
            <a:ext cx="28575" cy="17463"/>
          </a:xfrm>
          <a:custGeom>
            <a:avLst/>
            <a:gdLst>
              <a:gd name="T0" fmla="*/ 15 w 18"/>
              <a:gd name="T1" fmla="*/ 0 h 11"/>
              <a:gd name="T2" fmla="*/ 12 w 18"/>
              <a:gd name="T3" fmla="*/ 0 h 11"/>
              <a:gd name="T4" fmla="*/ 9 w 18"/>
              <a:gd name="T5" fmla="*/ 0 h 11"/>
              <a:gd name="T6" fmla="*/ 6 w 18"/>
              <a:gd name="T7" fmla="*/ 0 h 11"/>
              <a:gd name="T8" fmla="*/ 5 w 18"/>
              <a:gd name="T9" fmla="*/ 2 h 11"/>
              <a:gd name="T10" fmla="*/ 4 w 18"/>
              <a:gd name="T11" fmla="*/ 2 h 11"/>
              <a:gd name="T12" fmla="*/ 2 w 18"/>
              <a:gd name="T13" fmla="*/ 2 h 11"/>
              <a:gd name="T14" fmla="*/ 0 w 18"/>
              <a:gd name="T15" fmla="*/ 2 h 11"/>
              <a:gd name="T16" fmla="*/ 0 w 18"/>
              <a:gd name="T17" fmla="*/ 6 h 11"/>
              <a:gd name="T18" fmla="*/ 2 w 18"/>
              <a:gd name="T19" fmla="*/ 7 h 11"/>
              <a:gd name="T20" fmla="*/ 4 w 18"/>
              <a:gd name="T21" fmla="*/ 8 h 11"/>
              <a:gd name="T22" fmla="*/ 4 w 18"/>
              <a:gd name="T23" fmla="*/ 9 h 11"/>
              <a:gd name="T24" fmla="*/ 2 w 18"/>
              <a:gd name="T25" fmla="*/ 10 h 11"/>
              <a:gd name="T26" fmla="*/ 2 w 18"/>
              <a:gd name="T27" fmla="*/ 11 h 11"/>
              <a:gd name="T28" fmla="*/ 5 w 18"/>
              <a:gd name="T29" fmla="*/ 9 h 11"/>
              <a:gd name="T30" fmla="*/ 6 w 18"/>
              <a:gd name="T31" fmla="*/ 8 h 11"/>
              <a:gd name="T32" fmla="*/ 7 w 18"/>
              <a:gd name="T33" fmla="*/ 6 h 11"/>
              <a:gd name="T34" fmla="*/ 9 w 18"/>
              <a:gd name="T35" fmla="*/ 7 h 11"/>
              <a:gd name="T36" fmla="*/ 10 w 18"/>
              <a:gd name="T37" fmla="*/ 7 h 11"/>
              <a:gd name="T38" fmla="*/ 11 w 18"/>
              <a:gd name="T39" fmla="*/ 6 h 11"/>
              <a:gd name="T40" fmla="*/ 12 w 18"/>
              <a:gd name="T41" fmla="*/ 5 h 11"/>
              <a:gd name="T42" fmla="*/ 15 w 18"/>
              <a:gd name="T43" fmla="*/ 3 h 11"/>
              <a:gd name="T44" fmla="*/ 16 w 18"/>
              <a:gd name="T45" fmla="*/ 3 h 11"/>
              <a:gd name="T46" fmla="*/ 18 w 18"/>
              <a:gd name="T47" fmla="*/ 2 h 11"/>
              <a:gd name="T48" fmla="*/ 17 w 18"/>
              <a:gd name="T49" fmla="*/ 2 h 11"/>
              <a:gd name="T50" fmla="*/ 15 w 18"/>
              <a:gd name="T51" fmla="*/ 1 h 11"/>
              <a:gd name="T52" fmla="*/ 15 w 18"/>
              <a:gd name="T53" fmla="*/ 0 h 11"/>
              <a:gd name="T54" fmla="*/ 15 w 18"/>
              <a:gd name="T55" fmla="*/ 0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8" h="11">
                <a:moveTo>
                  <a:pt x="15" y="0"/>
                </a:moveTo>
                <a:lnTo>
                  <a:pt x="12" y="0"/>
                </a:lnTo>
                <a:lnTo>
                  <a:pt x="9" y="0"/>
                </a:lnTo>
                <a:lnTo>
                  <a:pt x="6" y="0"/>
                </a:lnTo>
                <a:lnTo>
                  <a:pt x="5" y="2"/>
                </a:lnTo>
                <a:lnTo>
                  <a:pt x="4" y="2"/>
                </a:lnTo>
                <a:lnTo>
                  <a:pt x="2" y="2"/>
                </a:lnTo>
                <a:lnTo>
                  <a:pt x="0" y="2"/>
                </a:lnTo>
                <a:lnTo>
                  <a:pt x="0" y="6"/>
                </a:lnTo>
                <a:lnTo>
                  <a:pt x="2" y="7"/>
                </a:lnTo>
                <a:lnTo>
                  <a:pt x="4" y="8"/>
                </a:lnTo>
                <a:lnTo>
                  <a:pt x="4" y="9"/>
                </a:lnTo>
                <a:lnTo>
                  <a:pt x="2" y="10"/>
                </a:lnTo>
                <a:lnTo>
                  <a:pt x="2" y="11"/>
                </a:lnTo>
                <a:lnTo>
                  <a:pt x="5" y="9"/>
                </a:lnTo>
                <a:lnTo>
                  <a:pt x="6" y="8"/>
                </a:lnTo>
                <a:lnTo>
                  <a:pt x="7" y="6"/>
                </a:lnTo>
                <a:lnTo>
                  <a:pt x="9" y="7"/>
                </a:lnTo>
                <a:lnTo>
                  <a:pt x="10" y="7"/>
                </a:lnTo>
                <a:lnTo>
                  <a:pt x="11" y="6"/>
                </a:lnTo>
                <a:lnTo>
                  <a:pt x="12" y="5"/>
                </a:lnTo>
                <a:lnTo>
                  <a:pt x="15" y="3"/>
                </a:lnTo>
                <a:lnTo>
                  <a:pt x="16" y="3"/>
                </a:lnTo>
                <a:lnTo>
                  <a:pt x="18" y="2"/>
                </a:lnTo>
                <a:lnTo>
                  <a:pt x="17" y="2"/>
                </a:lnTo>
                <a:lnTo>
                  <a:pt x="15" y="1"/>
                </a:lnTo>
                <a:lnTo>
                  <a:pt x="15" y="0"/>
                </a:lnTo>
                <a:lnTo>
                  <a:pt x="15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10" name="Freeform 1410"/>
          <p:cNvSpPr>
            <a:spLocks/>
          </p:cNvSpPr>
          <p:nvPr/>
        </p:nvSpPr>
        <p:spPr bwMode="auto">
          <a:xfrm>
            <a:off x="4800600" y="1892265"/>
            <a:ext cx="20637" cy="11113"/>
          </a:xfrm>
          <a:custGeom>
            <a:avLst/>
            <a:gdLst>
              <a:gd name="T0" fmla="*/ 4 w 13"/>
              <a:gd name="T1" fmla="*/ 3 h 7"/>
              <a:gd name="T2" fmla="*/ 0 w 13"/>
              <a:gd name="T3" fmla="*/ 3 h 7"/>
              <a:gd name="T4" fmla="*/ 0 w 13"/>
              <a:gd name="T5" fmla="*/ 4 h 7"/>
              <a:gd name="T6" fmla="*/ 1 w 13"/>
              <a:gd name="T7" fmla="*/ 4 h 7"/>
              <a:gd name="T8" fmla="*/ 4 w 13"/>
              <a:gd name="T9" fmla="*/ 4 h 7"/>
              <a:gd name="T10" fmla="*/ 5 w 13"/>
              <a:gd name="T11" fmla="*/ 5 h 7"/>
              <a:gd name="T12" fmla="*/ 6 w 13"/>
              <a:gd name="T13" fmla="*/ 7 h 7"/>
              <a:gd name="T14" fmla="*/ 7 w 13"/>
              <a:gd name="T15" fmla="*/ 6 h 7"/>
              <a:gd name="T16" fmla="*/ 8 w 13"/>
              <a:gd name="T17" fmla="*/ 5 h 7"/>
              <a:gd name="T18" fmla="*/ 13 w 13"/>
              <a:gd name="T19" fmla="*/ 4 h 7"/>
              <a:gd name="T20" fmla="*/ 11 w 13"/>
              <a:gd name="T21" fmla="*/ 3 h 7"/>
              <a:gd name="T22" fmla="*/ 10 w 13"/>
              <a:gd name="T23" fmla="*/ 1 h 7"/>
              <a:gd name="T24" fmla="*/ 9 w 13"/>
              <a:gd name="T25" fmla="*/ 1 h 7"/>
              <a:gd name="T26" fmla="*/ 7 w 13"/>
              <a:gd name="T27" fmla="*/ 0 h 7"/>
              <a:gd name="T28" fmla="*/ 6 w 13"/>
              <a:gd name="T29" fmla="*/ 0 h 7"/>
              <a:gd name="T30" fmla="*/ 5 w 13"/>
              <a:gd name="T31" fmla="*/ 1 h 7"/>
              <a:gd name="T32" fmla="*/ 4 w 13"/>
              <a:gd name="T33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3" h="7">
                <a:moveTo>
                  <a:pt x="4" y="3"/>
                </a:moveTo>
                <a:lnTo>
                  <a:pt x="0" y="3"/>
                </a:lnTo>
                <a:lnTo>
                  <a:pt x="0" y="4"/>
                </a:lnTo>
                <a:lnTo>
                  <a:pt x="1" y="4"/>
                </a:lnTo>
                <a:lnTo>
                  <a:pt x="4" y="4"/>
                </a:lnTo>
                <a:lnTo>
                  <a:pt x="5" y="5"/>
                </a:lnTo>
                <a:lnTo>
                  <a:pt x="6" y="7"/>
                </a:lnTo>
                <a:lnTo>
                  <a:pt x="7" y="6"/>
                </a:lnTo>
                <a:lnTo>
                  <a:pt x="8" y="5"/>
                </a:lnTo>
                <a:lnTo>
                  <a:pt x="13" y="4"/>
                </a:lnTo>
                <a:lnTo>
                  <a:pt x="11" y="3"/>
                </a:lnTo>
                <a:lnTo>
                  <a:pt x="10" y="1"/>
                </a:lnTo>
                <a:lnTo>
                  <a:pt x="9" y="1"/>
                </a:lnTo>
                <a:lnTo>
                  <a:pt x="7" y="0"/>
                </a:lnTo>
                <a:lnTo>
                  <a:pt x="6" y="0"/>
                </a:lnTo>
                <a:lnTo>
                  <a:pt x="5" y="1"/>
                </a:lnTo>
                <a:lnTo>
                  <a:pt x="4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11" name="Freeform 1412"/>
          <p:cNvSpPr>
            <a:spLocks/>
          </p:cNvSpPr>
          <p:nvPr/>
        </p:nvSpPr>
        <p:spPr bwMode="auto">
          <a:xfrm>
            <a:off x="4800600" y="1892265"/>
            <a:ext cx="20637" cy="11113"/>
          </a:xfrm>
          <a:custGeom>
            <a:avLst/>
            <a:gdLst>
              <a:gd name="T0" fmla="*/ 4 w 13"/>
              <a:gd name="T1" fmla="*/ 3 h 7"/>
              <a:gd name="T2" fmla="*/ 0 w 13"/>
              <a:gd name="T3" fmla="*/ 3 h 7"/>
              <a:gd name="T4" fmla="*/ 0 w 13"/>
              <a:gd name="T5" fmla="*/ 4 h 7"/>
              <a:gd name="T6" fmla="*/ 1 w 13"/>
              <a:gd name="T7" fmla="*/ 4 h 7"/>
              <a:gd name="T8" fmla="*/ 4 w 13"/>
              <a:gd name="T9" fmla="*/ 4 h 7"/>
              <a:gd name="T10" fmla="*/ 5 w 13"/>
              <a:gd name="T11" fmla="*/ 5 h 7"/>
              <a:gd name="T12" fmla="*/ 6 w 13"/>
              <a:gd name="T13" fmla="*/ 7 h 7"/>
              <a:gd name="T14" fmla="*/ 7 w 13"/>
              <a:gd name="T15" fmla="*/ 6 h 7"/>
              <a:gd name="T16" fmla="*/ 8 w 13"/>
              <a:gd name="T17" fmla="*/ 5 h 7"/>
              <a:gd name="T18" fmla="*/ 13 w 13"/>
              <a:gd name="T19" fmla="*/ 4 h 7"/>
              <a:gd name="T20" fmla="*/ 11 w 13"/>
              <a:gd name="T21" fmla="*/ 3 h 7"/>
              <a:gd name="T22" fmla="*/ 10 w 13"/>
              <a:gd name="T23" fmla="*/ 1 h 7"/>
              <a:gd name="T24" fmla="*/ 9 w 13"/>
              <a:gd name="T25" fmla="*/ 1 h 7"/>
              <a:gd name="T26" fmla="*/ 7 w 13"/>
              <a:gd name="T27" fmla="*/ 0 h 7"/>
              <a:gd name="T28" fmla="*/ 6 w 13"/>
              <a:gd name="T29" fmla="*/ 0 h 7"/>
              <a:gd name="T30" fmla="*/ 5 w 13"/>
              <a:gd name="T31" fmla="*/ 1 h 7"/>
              <a:gd name="T32" fmla="*/ 4 w 13"/>
              <a:gd name="T33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3" h="7">
                <a:moveTo>
                  <a:pt x="4" y="3"/>
                </a:moveTo>
                <a:lnTo>
                  <a:pt x="0" y="3"/>
                </a:lnTo>
                <a:lnTo>
                  <a:pt x="0" y="4"/>
                </a:lnTo>
                <a:lnTo>
                  <a:pt x="1" y="4"/>
                </a:lnTo>
                <a:lnTo>
                  <a:pt x="4" y="4"/>
                </a:lnTo>
                <a:lnTo>
                  <a:pt x="5" y="5"/>
                </a:lnTo>
                <a:lnTo>
                  <a:pt x="6" y="7"/>
                </a:lnTo>
                <a:lnTo>
                  <a:pt x="7" y="6"/>
                </a:lnTo>
                <a:lnTo>
                  <a:pt x="8" y="5"/>
                </a:lnTo>
                <a:lnTo>
                  <a:pt x="13" y="4"/>
                </a:lnTo>
                <a:lnTo>
                  <a:pt x="11" y="3"/>
                </a:lnTo>
                <a:lnTo>
                  <a:pt x="10" y="1"/>
                </a:lnTo>
                <a:lnTo>
                  <a:pt x="9" y="1"/>
                </a:lnTo>
                <a:lnTo>
                  <a:pt x="7" y="0"/>
                </a:lnTo>
                <a:lnTo>
                  <a:pt x="6" y="0"/>
                </a:lnTo>
                <a:lnTo>
                  <a:pt x="5" y="1"/>
                </a:lnTo>
                <a:lnTo>
                  <a:pt x="4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12" name="Freeform 1413"/>
          <p:cNvSpPr>
            <a:spLocks/>
          </p:cNvSpPr>
          <p:nvPr/>
        </p:nvSpPr>
        <p:spPr bwMode="auto">
          <a:xfrm>
            <a:off x="4829175" y="1876390"/>
            <a:ext cx="101600" cy="57150"/>
          </a:xfrm>
          <a:custGeom>
            <a:avLst/>
            <a:gdLst>
              <a:gd name="T0" fmla="*/ 27 w 64"/>
              <a:gd name="T1" fmla="*/ 0 h 36"/>
              <a:gd name="T2" fmla="*/ 31 w 64"/>
              <a:gd name="T3" fmla="*/ 1 h 36"/>
              <a:gd name="T4" fmla="*/ 36 w 64"/>
              <a:gd name="T5" fmla="*/ 3 h 36"/>
              <a:gd name="T6" fmla="*/ 41 w 64"/>
              <a:gd name="T7" fmla="*/ 4 h 36"/>
              <a:gd name="T8" fmla="*/ 55 w 64"/>
              <a:gd name="T9" fmla="*/ 5 h 36"/>
              <a:gd name="T10" fmla="*/ 58 w 64"/>
              <a:gd name="T11" fmla="*/ 3 h 36"/>
              <a:gd name="T12" fmla="*/ 61 w 64"/>
              <a:gd name="T13" fmla="*/ 4 h 36"/>
              <a:gd name="T14" fmla="*/ 61 w 64"/>
              <a:gd name="T15" fmla="*/ 6 h 36"/>
              <a:gd name="T16" fmla="*/ 58 w 64"/>
              <a:gd name="T17" fmla="*/ 10 h 36"/>
              <a:gd name="T18" fmla="*/ 58 w 64"/>
              <a:gd name="T19" fmla="*/ 15 h 36"/>
              <a:gd name="T20" fmla="*/ 58 w 64"/>
              <a:gd name="T21" fmla="*/ 18 h 36"/>
              <a:gd name="T22" fmla="*/ 59 w 64"/>
              <a:gd name="T23" fmla="*/ 20 h 36"/>
              <a:gd name="T24" fmla="*/ 57 w 64"/>
              <a:gd name="T25" fmla="*/ 23 h 36"/>
              <a:gd name="T26" fmla="*/ 56 w 64"/>
              <a:gd name="T27" fmla="*/ 25 h 36"/>
              <a:gd name="T28" fmla="*/ 59 w 64"/>
              <a:gd name="T29" fmla="*/ 26 h 36"/>
              <a:gd name="T30" fmla="*/ 64 w 64"/>
              <a:gd name="T31" fmla="*/ 29 h 36"/>
              <a:gd name="T32" fmla="*/ 62 w 64"/>
              <a:gd name="T33" fmla="*/ 31 h 36"/>
              <a:gd name="T34" fmla="*/ 58 w 64"/>
              <a:gd name="T35" fmla="*/ 28 h 36"/>
              <a:gd name="T36" fmla="*/ 58 w 64"/>
              <a:gd name="T37" fmla="*/ 31 h 36"/>
              <a:gd name="T38" fmla="*/ 58 w 64"/>
              <a:gd name="T39" fmla="*/ 36 h 36"/>
              <a:gd name="T40" fmla="*/ 53 w 64"/>
              <a:gd name="T41" fmla="*/ 35 h 36"/>
              <a:gd name="T42" fmla="*/ 48 w 64"/>
              <a:gd name="T43" fmla="*/ 36 h 36"/>
              <a:gd name="T44" fmla="*/ 40 w 64"/>
              <a:gd name="T45" fmla="*/ 33 h 36"/>
              <a:gd name="T46" fmla="*/ 35 w 64"/>
              <a:gd name="T47" fmla="*/ 30 h 36"/>
              <a:gd name="T48" fmla="*/ 27 w 64"/>
              <a:gd name="T49" fmla="*/ 28 h 36"/>
              <a:gd name="T50" fmla="*/ 18 w 64"/>
              <a:gd name="T51" fmla="*/ 30 h 36"/>
              <a:gd name="T52" fmla="*/ 16 w 64"/>
              <a:gd name="T53" fmla="*/ 31 h 36"/>
              <a:gd name="T54" fmla="*/ 16 w 64"/>
              <a:gd name="T55" fmla="*/ 25 h 36"/>
              <a:gd name="T56" fmla="*/ 16 w 64"/>
              <a:gd name="T57" fmla="*/ 23 h 36"/>
              <a:gd name="T58" fmla="*/ 11 w 64"/>
              <a:gd name="T59" fmla="*/ 24 h 36"/>
              <a:gd name="T60" fmla="*/ 8 w 64"/>
              <a:gd name="T61" fmla="*/ 23 h 36"/>
              <a:gd name="T62" fmla="*/ 6 w 64"/>
              <a:gd name="T63" fmla="*/ 23 h 36"/>
              <a:gd name="T64" fmla="*/ 2 w 64"/>
              <a:gd name="T65" fmla="*/ 19 h 36"/>
              <a:gd name="T66" fmla="*/ 2 w 64"/>
              <a:gd name="T67" fmla="*/ 16 h 36"/>
              <a:gd name="T68" fmla="*/ 5 w 64"/>
              <a:gd name="T69" fmla="*/ 15 h 36"/>
              <a:gd name="T70" fmla="*/ 1 w 64"/>
              <a:gd name="T71" fmla="*/ 13 h 36"/>
              <a:gd name="T72" fmla="*/ 1 w 64"/>
              <a:gd name="T73" fmla="*/ 11 h 36"/>
              <a:gd name="T74" fmla="*/ 0 w 64"/>
              <a:gd name="T75" fmla="*/ 8 h 36"/>
              <a:gd name="T76" fmla="*/ 7 w 64"/>
              <a:gd name="T77" fmla="*/ 6 h 36"/>
              <a:gd name="T78" fmla="*/ 8 w 64"/>
              <a:gd name="T79" fmla="*/ 5 h 36"/>
              <a:gd name="T80" fmla="*/ 11 w 64"/>
              <a:gd name="T81" fmla="*/ 4 h 36"/>
              <a:gd name="T82" fmla="*/ 17 w 64"/>
              <a:gd name="T83" fmla="*/ 3 h 36"/>
              <a:gd name="T84" fmla="*/ 23 w 64"/>
              <a:gd name="T85" fmla="*/ 3 h 36"/>
              <a:gd name="T86" fmla="*/ 25 w 64"/>
              <a:gd name="T87" fmla="*/ 1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4" h="36">
                <a:moveTo>
                  <a:pt x="27" y="1"/>
                </a:moveTo>
                <a:lnTo>
                  <a:pt x="27" y="0"/>
                </a:lnTo>
                <a:lnTo>
                  <a:pt x="29" y="1"/>
                </a:lnTo>
                <a:lnTo>
                  <a:pt x="31" y="1"/>
                </a:lnTo>
                <a:lnTo>
                  <a:pt x="32" y="1"/>
                </a:lnTo>
                <a:lnTo>
                  <a:pt x="36" y="3"/>
                </a:lnTo>
                <a:lnTo>
                  <a:pt x="40" y="3"/>
                </a:lnTo>
                <a:lnTo>
                  <a:pt x="41" y="4"/>
                </a:lnTo>
                <a:lnTo>
                  <a:pt x="45" y="5"/>
                </a:lnTo>
                <a:lnTo>
                  <a:pt x="55" y="5"/>
                </a:lnTo>
                <a:lnTo>
                  <a:pt x="58" y="4"/>
                </a:lnTo>
                <a:lnTo>
                  <a:pt x="58" y="3"/>
                </a:lnTo>
                <a:lnTo>
                  <a:pt x="59" y="3"/>
                </a:lnTo>
                <a:lnTo>
                  <a:pt x="61" y="4"/>
                </a:lnTo>
                <a:lnTo>
                  <a:pt x="61" y="5"/>
                </a:lnTo>
                <a:lnTo>
                  <a:pt x="61" y="6"/>
                </a:lnTo>
                <a:lnTo>
                  <a:pt x="59" y="8"/>
                </a:lnTo>
                <a:lnTo>
                  <a:pt x="58" y="10"/>
                </a:lnTo>
                <a:lnTo>
                  <a:pt x="57" y="13"/>
                </a:lnTo>
                <a:lnTo>
                  <a:pt x="58" y="15"/>
                </a:lnTo>
                <a:lnTo>
                  <a:pt x="58" y="18"/>
                </a:lnTo>
                <a:lnTo>
                  <a:pt x="58" y="18"/>
                </a:lnTo>
                <a:lnTo>
                  <a:pt x="59" y="19"/>
                </a:lnTo>
                <a:lnTo>
                  <a:pt x="59" y="20"/>
                </a:lnTo>
                <a:lnTo>
                  <a:pt x="59" y="21"/>
                </a:lnTo>
                <a:lnTo>
                  <a:pt x="57" y="23"/>
                </a:lnTo>
                <a:lnTo>
                  <a:pt x="56" y="24"/>
                </a:lnTo>
                <a:lnTo>
                  <a:pt x="56" y="25"/>
                </a:lnTo>
                <a:lnTo>
                  <a:pt x="57" y="26"/>
                </a:lnTo>
                <a:lnTo>
                  <a:pt x="59" y="26"/>
                </a:lnTo>
                <a:lnTo>
                  <a:pt x="62" y="26"/>
                </a:lnTo>
                <a:lnTo>
                  <a:pt x="64" y="29"/>
                </a:lnTo>
                <a:lnTo>
                  <a:pt x="64" y="31"/>
                </a:lnTo>
                <a:lnTo>
                  <a:pt x="62" y="31"/>
                </a:lnTo>
                <a:lnTo>
                  <a:pt x="60" y="29"/>
                </a:lnTo>
                <a:lnTo>
                  <a:pt x="58" y="28"/>
                </a:lnTo>
                <a:lnTo>
                  <a:pt x="59" y="30"/>
                </a:lnTo>
                <a:lnTo>
                  <a:pt x="58" y="31"/>
                </a:lnTo>
                <a:lnTo>
                  <a:pt x="57" y="35"/>
                </a:lnTo>
                <a:lnTo>
                  <a:pt x="58" y="36"/>
                </a:lnTo>
                <a:lnTo>
                  <a:pt x="57" y="36"/>
                </a:lnTo>
                <a:lnTo>
                  <a:pt x="53" y="35"/>
                </a:lnTo>
                <a:lnTo>
                  <a:pt x="49" y="35"/>
                </a:lnTo>
                <a:lnTo>
                  <a:pt x="48" y="36"/>
                </a:lnTo>
                <a:lnTo>
                  <a:pt x="46" y="36"/>
                </a:lnTo>
                <a:lnTo>
                  <a:pt x="40" y="33"/>
                </a:lnTo>
                <a:lnTo>
                  <a:pt x="38" y="30"/>
                </a:lnTo>
                <a:lnTo>
                  <a:pt x="35" y="30"/>
                </a:lnTo>
                <a:lnTo>
                  <a:pt x="31" y="28"/>
                </a:lnTo>
                <a:lnTo>
                  <a:pt x="27" y="28"/>
                </a:lnTo>
                <a:lnTo>
                  <a:pt x="21" y="28"/>
                </a:lnTo>
                <a:lnTo>
                  <a:pt x="18" y="30"/>
                </a:lnTo>
                <a:lnTo>
                  <a:pt x="17" y="30"/>
                </a:lnTo>
                <a:lnTo>
                  <a:pt x="16" y="31"/>
                </a:lnTo>
                <a:lnTo>
                  <a:pt x="16" y="29"/>
                </a:lnTo>
                <a:lnTo>
                  <a:pt x="16" y="25"/>
                </a:lnTo>
                <a:lnTo>
                  <a:pt x="16" y="24"/>
                </a:lnTo>
                <a:lnTo>
                  <a:pt x="16" y="23"/>
                </a:lnTo>
                <a:lnTo>
                  <a:pt x="12" y="21"/>
                </a:lnTo>
                <a:lnTo>
                  <a:pt x="11" y="24"/>
                </a:lnTo>
                <a:lnTo>
                  <a:pt x="10" y="24"/>
                </a:lnTo>
                <a:lnTo>
                  <a:pt x="8" y="23"/>
                </a:lnTo>
                <a:lnTo>
                  <a:pt x="7" y="23"/>
                </a:lnTo>
                <a:lnTo>
                  <a:pt x="6" y="23"/>
                </a:lnTo>
                <a:lnTo>
                  <a:pt x="3" y="20"/>
                </a:lnTo>
                <a:lnTo>
                  <a:pt x="2" y="19"/>
                </a:lnTo>
                <a:lnTo>
                  <a:pt x="1" y="17"/>
                </a:lnTo>
                <a:lnTo>
                  <a:pt x="2" y="16"/>
                </a:lnTo>
                <a:lnTo>
                  <a:pt x="5" y="16"/>
                </a:lnTo>
                <a:lnTo>
                  <a:pt x="5" y="15"/>
                </a:lnTo>
                <a:lnTo>
                  <a:pt x="1" y="15"/>
                </a:lnTo>
                <a:lnTo>
                  <a:pt x="1" y="13"/>
                </a:lnTo>
                <a:lnTo>
                  <a:pt x="1" y="13"/>
                </a:lnTo>
                <a:lnTo>
                  <a:pt x="1" y="11"/>
                </a:lnTo>
                <a:lnTo>
                  <a:pt x="0" y="11"/>
                </a:lnTo>
                <a:lnTo>
                  <a:pt x="0" y="8"/>
                </a:lnTo>
                <a:lnTo>
                  <a:pt x="1" y="7"/>
                </a:lnTo>
                <a:lnTo>
                  <a:pt x="7" y="6"/>
                </a:lnTo>
                <a:lnTo>
                  <a:pt x="7" y="6"/>
                </a:lnTo>
                <a:lnTo>
                  <a:pt x="8" y="5"/>
                </a:lnTo>
                <a:lnTo>
                  <a:pt x="10" y="5"/>
                </a:lnTo>
                <a:lnTo>
                  <a:pt x="11" y="4"/>
                </a:lnTo>
                <a:lnTo>
                  <a:pt x="16" y="4"/>
                </a:lnTo>
                <a:lnTo>
                  <a:pt x="17" y="3"/>
                </a:lnTo>
                <a:lnTo>
                  <a:pt x="19" y="4"/>
                </a:lnTo>
                <a:lnTo>
                  <a:pt x="23" y="3"/>
                </a:lnTo>
                <a:lnTo>
                  <a:pt x="25" y="3"/>
                </a:lnTo>
                <a:lnTo>
                  <a:pt x="25" y="1"/>
                </a:lnTo>
                <a:lnTo>
                  <a:pt x="27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13" name="Freeform 1414"/>
          <p:cNvSpPr>
            <a:spLocks/>
          </p:cNvSpPr>
          <p:nvPr/>
        </p:nvSpPr>
        <p:spPr bwMode="auto">
          <a:xfrm>
            <a:off x="4829175" y="1876390"/>
            <a:ext cx="101600" cy="57150"/>
          </a:xfrm>
          <a:custGeom>
            <a:avLst/>
            <a:gdLst>
              <a:gd name="T0" fmla="*/ 27 w 64"/>
              <a:gd name="T1" fmla="*/ 0 h 36"/>
              <a:gd name="T2" fmla="*/ 31 w 64"/>
              <a:gd name="T3" fmla="*/ 1 h 36"/>
              <a:gd name="T4" fmla="*/ 36 w 64"/>
              <a:gd name="T5" fmla="*/ 3 h 36"/>
              <a:gd name="T6" fmla="*/ 41 w 64"/>
              <a:gd name="T7" fmla="*/ 4 h 36"/>
              <a:gd name="T8" fmla="*/ 55 w 64"/>
              <a:gd name="T9" fmla="*/ 5 h 36"/>
              <a:gd name="T10" fmla="*/ 58 w 64"/>
              <a:gd name="T11" fmla="*/ 3 h 36"/>
              <a:gd name="T12" fmla="*/ 61 w 64"/>
              <a:gd name="T13" fmla="*/ 4 h 36"/>
              <a:gd name="T14" fmla="*/ 61 w 64"/>
              <a:gd name="T15" fmla="*/ 6 h 36"/>
              <a:gd name="T16" fmla="*/ 58 w 64"/>
              <a:gd name="T17" fmla="*/ 10 h 36"/>
              <a:gd name="T18" fmla="*/ 58 w 64"/>
              <a:gd name="T19" fmla="*/ 15 h 36"/>
              <a:gd name="T20" fmla="*/ 58 w 64"/>
              <a:gd name="T21" fmla="*/ 18 h 36"/>
              <a:gd name="T22" fmla="*/ 59 w 64"/>
              <a:gd name="T23" fmla="*/ 20 h 36"/>
              <a:gd name="T24" fmla="*/ 57 w 64"/>
              <a:gd name="T25" fmla="*/ 23 h 36"/>
              <a:gd name="T26" fmla="*/ 56 w 64"/>
              <a:gd name="T27" fmla="*/ 25 h 36"/>
              <a:gd name="T28" fmla="*/ 59 w 64"/>
              <a:gd name="T29" fmla="*/ 26 h 36"/>
              <a:gd name="T30" fmla="*/ 64 w 64"/>
              <a:gd name="T31" fmla="*/ 29 h 36"/>
              <a:gd name="T32" fmla="*/ 62 w 64"/>
              <a:gd name="T33" fmla="*/ 31 h 36"/>
              <a:gd name="T34" fmla="*/ 58 w 64"/>
              <a:gd name="T35" fmla="*/ 28 h 36"/>
              <a:gd name="T36" fmla="*/ 58 w 64"/>
              <a:gd name="T37" fmla="*/ 31 h 36"/>
              <a:gd name="T38" fmla="*/ 58 w 64"/>
              <a:gd name="T39" fmla="*/ 36 h 36"/>
              <a:gd name="T40" fmla="*/ 53 w 64"/>
              <a:gd name="T41" fmla="*/ 35 h 36"/>
              <a:gd name="T42" fmla="*/ 48 w 64"/>
              <a:gd name="T43" fmla="*/ 36 h 36"/>
              <a:gd name="T44" fmla="*/ 40 w 64"/>
              <a:gd name="T45" fmla="*/ 33 h 36"/>
              <a:gd name="T46" fmla="*/ 35 w 64"/>
              <a:gd name="T47" fmla="*/ 30 h 36"/>
              <a:gd name="T48" fmla="*/ 27 w 64"/>
              <a:gd name="T49" fmla="*/ 28 h 36"/>
              <a:gd name="T50" fmla="*/ 18 w 64"/>
              <a:gd name="T51" fmla="*/ 30 h 36"/>
              <a:gd name="T52" fmla="*/ 16 w 64"/>
              <a:gd name="T53" fmla="*/ 31 h 36"/>
              <a:gd name="T54" fmla="*/ 16 w 64"/>
              <a:gd name="T55" fmla="*/ 25 h 36"/>
              <a:gd name="T56" fmla="*/ 16 w 64"/>
              <a:gd name="T57" fmla="*/ 23 h 36"/>
              <a:gd name="T58" fmla="*/ 11 w 64"/>
              <a:gd name="T59" fmla="*/ 24 h 36"/>
              <a:gd name="T60" fmla="*/ 8 w 64"/>
              <a:gd name="T61" fmla="*/ 23 h 36"/>
              <a:gd name="T62" fmla="*/ 6 w 64"/>
              <a:gd name="T63" fmla="*/ 23 h 36"/>
              <a:gd name="T64" fmla="*/ 2 w 64"/>
              <a:gd name="T65" fmla="*/ 19 h 36"/>
              <a:gd name="T66" fmla="*/ 2 w 64"/>
              <a:gd name="T67" fmla="*/ 16 h 36"/>
              <a:gd name="T68" fmla="*/ 5 w 64"/>
              <a:gd name="T69" fmla="*/ 15 h 36"/>
              <a:gd name="T70" fmla="*/ 1 w 64"/>
              <a:gd name="T71" fmla="*/ 13 h 36"/>
              <a:gd name="T72" fmla="*/ 1 w 64"/>
              <a:gd name="T73" fmla="*/ 11 h 36"/>
              <a:gd name="T74" fmla="*/ 0 w 64"/>
              <a:gd name="T75" fmla="*/ 8 h 36"/>
              <a:gd name="T76" fmla="*/ 7 w 64"/>
              <a:gd name="T77" fmla="*/ 6 h 36"/>
              <a:gd name="T78" fmla="*/ 8 w 64"/>
              <a:gd name="T79" fmla="*/ 5 h 36"/>
              <a:gd name="T80" fmla="*/ 11 w 64"/>
              <a:gd name="T81" fmla="*/ 4 h 36"/>
              <a:gd name="T82" fmla="*/ 17 w 64"/>
              <a:gd name="T83" fmla="*/ 3 h 36"/>
              <a:gd name="T84" fmla="*/ 23 w 64"/>
              <a:gd name="T85" fmla="*/ 3 h 36"/>
              <a:gd name="T86" fmla="*/ 25 w 64"/>
              <a:gd name="T87" fmla="*/ 1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4" h="36">
                <a:moveTo>
                  <a:pt x="27" y="1"/>
                </a:moveTo>
                <a:lnTo>
                  <a:pt x="27" y="0"/>
                </a:lnTo>
                <a:lnTo>
                  <a:pt x="29" y="1"/>
                </a:lnTo>
                <a:lnTo>
                  <a:pt x="31" y="1"/>
                </a:lnTo>
                <a:lnTo>
                  <a:pt x="32" y="1"/>
                </a:lnTo>
                <a:lnTo>
                  <a:pt x="36" y="3"/>
                </a:lnTo>
                <a:lnTo>
                  <a:pt x="40" y="3"/>
                </a:lnTo>
                <a:lnTo>
                  <a:pt x="41" y="4"/>
                </a:lnTo>
                <a:lnTo>
                  <a:pt x="45" y="5"/>
                </a:lnTo>
                <a:lnTo>
                  <a:pt x="55" y="5"/>
                </a:lnTo>
                <a:lnTo>
                  <a:pt x="58" y="4"/>
                </a:lnTo>
                <a:lnTo>
                  <a:pt x="58" y="3"/>
                </a:lnTo>
                <a:lnTo>
                  <a:pt x="59" y="3"/>
                </a:lnTo>
                <a:lnTo>
                  <a:pt x="61" y="4"/>
                </a:lnTo>
                <a:lnTo>
                  <a:pt x="61" y="5"/>
                </a:lnTo>
                <a:lnTo>
                  <a:pt x="61" y="6"/>
                </a:lnTo>
                <a:lnTo>
                  <a:pt x="59" y="8"/>
                </a:lnTo>
                <a:lnTo>
                  <a:pt x="58" y="10"/>
                </a:lnTo>
                <a:lnTo>
                  <a:pt x="57" y="13"/>
                </a:lnTo>
                <a:lnTo>
                  <a:pt x="58" y="15"/>
                </a:lnTo>
                <a:lnTo>
                  <a:pt x="58" y="18"/>
                </a:lnTo>
                <a:lnTo>
                  <a:pt x="58" y="18"/>
                </a:lnTo>
                <a:lnTo>
                  <a:pt x="59" y="19"/>
                </a:lnTo>
                <a:lnTo>
                  <a:pt x="59" y="20"/>
                </a:lnTo>
                <a:lnTo>
                  <a:pt x="59" y="21"/>
                </a:lnTo>
                <a:lnTo>
                  <a:pt x="57" y="23"/>
                </a:lnTo>
                <a:lnTo>
                  <a:pt x="56" y="24"/>
                </a:lnTo>
                <a:lnTo>
                  <a:pt x="56" y="25"/>
                </a:lnTo>
                <a:lnTo>
                  <a:pt x="57" y="26"/>
                </a:lnTo>
                <a:lnTo>
                  <a:pt x="59" y="26"/>
                </a:lnTo>
                <a:lnTo>
                  <a:pt x="62" y="26"/>
                </a:lnTo>
                <a:lnTo>
                  <a:pt x="64" y="29"/>
                </a:lnTo>
                <a:lnTo>
                  <a:pt x="64" y="31"/>
                </a:lnTo>
                <a:lnTo>
                  <a:pt x="62" y="31"/>
                </a:lnTo>
                <a:lnTo>
                  <a:pt x="60" y="29"/>
                </a:lnTo>
                <a:lnTo>
                  <a:pt x="58" y="28"/>
                </a:lnTo>
                <a:lnTo>
                  <a:pt x="59" y="30"/>
                </a:lnTo>
                <a:lnTo>
                  <a:pt x="58" y="31"/>
                </a:lnTo>
                <a:lnTo>
                  <a:pt x="57" y="35"/>
                </a:lnTo>
                <a:lnTo>
                  <a:pt x="58" y="36"/>
                </a:lnTo>
                <a:lnTo>
                  <a:pt x="57" y="36"/>
                </a:lnTo>
                <a:lnTo>
                  <a:pt x="53" y="35"/>
                </a:lnTo>
                <a:lnTo>
                  <a:pt x="49" y="35"/>
                </a:lnTo>
                <a:lnTo>
                  <a:pt x="48" y="36"/>
                </a:lnTo>
                <a:lnTo>
                  <a:pt x="46" y="36"/>
                </a:lnTo>
                <a:lnTo>
                  <a:pt x="40" y="33"/>
                </a:lnTo>
                <a:lnTo>
                  <a:pt x="38" y="30"/>
                </a:lnTo>
                <a:lnTo>
                  <a:pt x="35" y="30"/>
                </a:lnTo>
                <a:lnTo>
                  <a:pt x="31" y="28"/>
                </a:lnTo>
                <a:lnTo>
                  <a:pt x="27" y="28"/>
                </a:lnTo>
                <a:lnTo>
                  <a:pt x="21" y="28"/>
                </a:lnTo>
                <a:lnTo>
                  <a:pt x="18" y="30"/>
                </a:lnTo>
                <a:lnTo>
                  <a:pt x="17" y="30"/>
                </a:lnTo>
                <a:lnTo>
                  <a:pt x="16" y="31"/>
                </a:lnTo>
                <a:lnTo>
                  <a:pt x="16" y="29"/>
                </a:lnTo>
                <a:lnTo>
                  <a:pt x="16" y="25"/>
                </a:lnTo>
                <a:lnTo>
                  <a:pt x="16" y="24"/>
                </a:lnTo>
                <a:lnTo>
                  <a:pt x="16" y="23"/>
                </a:lnTo>
                <a:lnTo>
                  <a:pt x="12" y="21"/>
                </a:lnTo>
                <a:lnTo>
                  <a:pt x="11" y="24"/>
                </a:lnTo>
                <a:lnTo>
                  <a:pt x="10" y="24"/>
                </a:lnTo>
                <a:lnTo>
                  <a:pt x="8" y="23"/>
                </a:lnTo>
                <a:lnTo>
                  <a:pt x="7" y="23"/>
                </a:lnTo>
                <a:lnTo>
                  <a:pt x="6" y="23"/>
                </a:lnTo>
                <a:lnTo>
                  <a:pt x="3" y="20"/>
                </a:lnTo>
                <a:lnTo>
                  <a:pt x="2" y="19"/>
                </a:lnTo>
                <a:lnTo>
                  <a:pt x="1" y="17"/>
                </a:lnTo>
                <a:lnTo>
                  <a:pt x="2" y="16"/>
                </a:lnTo>
                <a:lnTo>
                  <a:pt x="5" y="16"/>
                </a:lnTo>
                <a:lnTo>
                  <a:pt x="5" y="15"/>
                </a:lnTo>
                <a:lnTo>
                  <a:pt x="1" y="15"/>
                </a:lnTo>
                <a:lnTo>
                  <a:pt x="1" y="13"/>
                </a:lnTo>
                <a:lnTo>
                  <a:pt x="1" y="13"/>
                </a:lnTo>
                <a:lnTo>
                  <a:pt x="1" y="11"/>
                </a:lnTo>
                <a:lnTo>
                  <a:pt x="0" y="11"/>
                </a:lnTo>
                <a:lnTo>
                  <a:pt x="0" y="8"/>
                </a:lnTo>
                <a:lnTo>
                  <a:pt x="1" y="7"/>
                </a:lnTo>
                <a:lnTo>
                  <a:pt x="7" y="6"/>
                </a:lnTo>
                <a:lnTo>
                  <a:pt x="7" y="6"/>
                </a:lnTo>
                <a:lnTo>
                  <a:pt x="8" y="5"/>
                </a:lnTo>
                <a:lnTo>
                  <a:pt x="10" y="5"/>
                </a:lnTo>
                <a:lnTo>
                  <a:pt x="11" y="4"/>
                </a:lnTo>
                <a:lnTo>
                  <a:pt x="16" y="4"/>
                </a:lnTo>
                <a:lnTo>
                  <a:pt x="17" y="3"/>
                </a:lnTo>
                <a:lnTo>
                  <a:pt x="19" y="4"/>
                </a:lnTo>
                <a:lnTo>
                  <a:pt x="23" y="3"/>
                </a:lnTo>
                <a:lnTo>
                  <a:pt x="25" y="3"/>
                </a:lnTo>
                <a:lnTo>
                  <a:pt x="25" y="1"/>
                </a:lnTo>
                <a:lnTo>
                  <a:pt x="27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14" name="Freeform 1415"/>
          <p:cNvSpPr>
            <a:spLocks/>
          </p:cNvSpPr>
          <p:nvPr/>
        </p:nvSpPr>
        <p:spPr bwMode="auto">
          <a:xfrm>
            <a:off x="4478338" y="2004978"/>
            <a:ext cx="195262" cy="209550"/>
          </a:xfrm>
          <a:custGeom>
            <a:avLst/>
            <a:gdLst>
              <a:gd name="T0" fmla="*/ 65 w 123"/>
              <a:gd name="T1" fmla="*/ 13 h 132"/>
              <a:gd name="T2" fmla="*/ 61 w 123"/>
              <a:gd name="T3" fmla="*/ 10 h 132"/>
              <a:gd name="T4" fmla="*/ 55 w 123"/>
              <a:gd name="T5" fmla="*/ 9 h 132"/>
              <a:gd name="T6" fmla="*/ 50 w 123"/>
              <a:gd name="T7" fmla="*/ 7 h 132"/>
              <a:gd name="T8" fmla="*/ 46 w 123"/>
              <a:gd name="T9" fmla="*/ 2 h 132"/>
              <a:gd name="T10" fmla="*/ 37 w 123"/>
              <a:gd name="T11" fmla="*/ 0 h 132"/>
              <a:gd name="T12" fmla="*/ 38 w 123"/>
              <a:gd name="T13" fmla="*/ 6 h 132"/>
              <a:gd name="T14" fmla="*/ 35 w 123"/>
              <a:gd name="T15" fmla="*/ 10 h 132"/>
              <a:gd name="T16" fmla="*/ 38 w 123"/>
              <a:gd name="T17" fmla="*/ 14 h 132"/>
              <a:gd name="T18" fmla="*/ 38 w 123"/>
              <a:gd name="T19" fmla="*/ 17 h 132"/>
              <a:gd name="T20" fmla="*/ 35 w 123"/>
              <a:gd name="T21" fmla="*/ 20 h 132"/>
              <a:gd name="T22" fmla="*/ 35 w 123"/>
              <a:gd name="T23" fmla="*/ 27 h 132"/>
              <a:gd name="T24" fmla="*/ 29 w 123"/>
              <a:gd name="T25" fmla="*/ 26 h 132"/>
              <a:gd name="T26" fmla="*/ 17 w 123"/>
              <a:gd name="T27" fmla="*/ 23 h 132"/>
              <a:gd name="T28" fmla="*/ 15 w 123"/>
              <a:gd name="T29" fmla="*/ 26 h 132"/>
              <a:gd name="T30" fmla="*/ 20 w 123"/>
              <a:gd name="T31" fmla="*/ 30 h 132"/>
              <a:gd name="T32" fmla="*/ 13 w 123"/>
              <a:gd name="T33" fmla="*/ 38 h 132"/>
              <a:gd name="T34" fmla="*/ 14 w 123"/>
              <a:gd name="T35" fmla="*/ 46 h 132"/>
              <a:gd name="T36" fmla="*/ 8 w 123"/>
              <a:gd name="T37" fmla="*/ 53 h 132"/>
              <a:gd name="T38" fmla="*/ 0 w 123"/>
              <a:gd name="T39" fmla="*/ 54 h 132"/>
              <a:gd name="T40" fmla="*/ 1 w 123"/>
              <a:gd name="T41" fmla="*/ 65 h 132"/>
              <a:gd name="T42" fmla="*/ 1 w 123"/>
              <a:gd name="T43" fmla="*/ 73 h 132"/>
              <a:gd name="T44" fmla="*/ 5 w 123"/>
              <a:gd name="T45" fmla="*/ 79 h 132"/>
              <a:gd name="T46" fmla="*/ 4 w 123"/>
              <a:gd name="T47" fmla="*/ 87 h 132"/>
              <a:gd name="T48" fmla="*/ 6 w 123"/>
              <a:gd name="T49" fmla="*/ 94 h 132"/>
              <a:gd name="T50" fmla="*/ 17 w 123"/>
              <a:gd name="T51" fmla="*/ 100 h 132"/>
              <a:gd name="T52" fmla="*/ 26 w 123"/>
              <a:gd name="T53" fmla="*/ 111 h 132"/>
              <a:gd name="T54" fmla="*/ 25 w 123"/>
              <a:gd name="T55" fmla="*/ 127 h 132"/>
              <a:gd name="T56" fmla="*/ 42 w 123"/>
              <a:gd name="T57" fmla="*/ 127 h 132"/>
              <a:gd name="T58" fmla="*/ 57 w 123"/>
              <a:gd name="T59" fmla="*/ 129 h 132"/>
              <a:gd name="T60" fmla="*/ 65 w 123"/>
              <a:gd name="T61" fmla="*/ 131 h 132"/>
              <a:gd name="T62" fmla="*/ 74 w 123"/>
              <a:gd name="T63" fmla="*/ 131 h 132"/>
              <a:gd name="T64" fmla="*/ 91 w 123"/>
              <a:gd name="T65" fmla="*/ 126 h 132"/>
              <a:gd name="T66" fmla="*/ 101 w 123"/>
              <a:gd name="T67" fmla="*/ 128 h 132"/>
              <a:gd name="T68" fmla="*/ 100 w 123"/>
              <a:gd name="T69" fmla="*/ 117 h 132"/>
              <a:gd name="T70" fmla="*/ 111 w 123"/>
              <a:gd name="T71" fmla="*/ 109 h 132"/>
              <a:gd name="T72" fmla="*/ 101 w 123"/>
              <a:gd name="T73" fmla="*/ 99 h 132"/>
              <a:gd name="T74" fmla="*/ 89 w 123"/>
              <a:gd name="T75" fmla="*/ 86 h 132"/>
              <a:gd name="T76" fmla="*/ 85 w 123"/>
              <a:gd name="T77" fmla="*/ 79 h 132"/>
              <a:gd name="T78" fmla="*/ 94 w 123"/>
              <a:gd name="T79" fmla="*/ 78 h 132"/>
              <a:gd name="T80" fmla="*/ 114 w 123"/>
              <a:gd name="T81" fmla="*/ 70 h 132"/>
              <a:gd name="T82" fmla="*/ 120 w 123"/>
              <a:gd name="T83" fmla="*/ 70 h 132"/>
              <a:gd name="T84" fmla="*/ 123 w 123"/>
              <a:gd name="T85" fmla="*/ 61 h 132"/>
              <a:gd name="T86" fmla="*/ 118 w 123"/>
              <a:gd name="T87" fmla="*/ 50 h 132"/>
              <a:gd name="T88" fmla="*/ 115 w 123"/>
              <a:gd name="T89" fmla="*/ 38 h 132"/>
              <a:gd name="T90" fmla="*/ 112 w 123"/>
              <a:gd name="T91" fmla="*/ 30 h 132"/>
              <a:gd name="T92" fmla="*/ 109 w 123"/>
              <a:gd name="T93" fmla="*/ 20 h 132"/>
              <a:gd name="T94" fmla="*/ 98 w 123"/>
              <a:gd name="T95" fmla="*/ 14 h 132"/>
              <a:gd name="T96" fmla="*/ 94 w 123"/>
              <a:gd name="T97" fmla="*/ 10 h 132"/>
              <a:gd name="T98" fmla="*/ 85 w 123"/>
              <a:gd name="T99" fmla="*/ 12 h 132"/>
              <a:gd name="T100" fmla="*/ 87 w 123"/>
              <a:gd name="T101" fmla="*/ 8 h 132"/>
              <a:gd name="T102" fmla="*/ 80 w 123"/>
              <a:gd name="T103" fmla="*/ 14 h 132"/>
              <a:gd name="T104" fmla="*/ 72 w 123"/>
              <a:gd name="T105" fmla="*/ 17 h 132"/>
              <a:gd name="T106" fmla="*/ 64 w 123"/>
              <a:gd name="T107" fmla="*/ 17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23" h="132">
                <a:moveTo>
                  <a:pt x="64" y="17"/>
                </a:moveTo>
                <a:lnTo>
                  <a:pt x="62" y="16"/>
                </a:lnTo>
                <a:lnTo>
                  <a:pt x="64" y="14"/>
                </a:lnTo>
                <a:lnTo>
                  <a:pt x="65" y="13"/>
                </a:lnTo>
                <a:lnTo>
                  <a:pt x="66" y="12"/>
                </a:lnTo>
                <a:lnTo>
                  <a:pt x="66" y="10"/>
                </a:lnTo>
                <a:lnTo>
                  <a:pt x="65" y="9"/>
                </a:lnTo>
                <a:lnTo>
                  <a:pt x="61" y="10"/>
                </a:lnTo>
                <a:lnTo>
                  <a:pt x="59" y="10"/>
                </a:lnTo>
                <a:lnTo>
                  <a:pt x="58" y="9"/>
                </a:lnTo>
                <a:lnTo>
                  <a:pt x="56" y="8"/>
                </a:lnTo>
                <a:lnTo>
                  <a:pt x="55" y="9"/>
                </a:lnTo>
                <a:lnTo>
                  <a:pt x="54" y="9"/>
                </a:lnTo>
                <a:lnTo>
                  <a:pt x="52" y="8"/>
                </a:lnTo>
                <a:lnTo>
                  <a:pt x="51" y="8"/>
                </a:lnTo>
                <a:lnTo>
                  <a:pt x="50" y="7"/>
                </a:lnTo>
                <a:lnTo>
                  <a:pt x="51" y="6"/>
                </a:lnTo>
                <a:lnTo>
                  <a:pt x="51" y="5"/>
                </a:lnTo>
                <a:lnTo>
                  <a:pt x="50" y="3"/>
                </a:lnTo>
                <a:lnTo>
                  <a:pt x="46" y="2"/>
                </a:lnTo>
                <a:lnTo>
                  <a:pt x="45" y="2"/>
                </a:lnTo>
                <a:lnTo>
                  <a:pt x="45" y="0"/>
                </a:lnTo>
                <a:lnTo>
                  <a:pt x="42" y="2"/>
                </a:lnTo>
                <a:lnTo>
                  <a:pt x="37" y="0"/>
                </a:lnTo>
                <a:lnTo>
                  <a:pt x="35" y="0"/>
                </a:lnTo>
                <a:lnTo>
                  <a:pt x="35" y="3"/>
                </a:lnTo>
                <a:lnTo>
                  <a:pt x="37" y="5"/>
                </a:lnTo>
                <a:lnTo>
                  <a:pt x="38" y="6"/>
                </a:lnTo>
                <a:lnTo>
                  <a:pt x="39" y="7"/>
                </a:lnTo>
                <a:lnTo>
                  <a:pt x="36" y="9"/>
                </a:lnTo>
                <a:lnTo>
                  <a:pt x="36" y="9"/>
                </a:lnTo>
                <a:lnTo>
                  <a:pt x="35" y="10"/>
                </a:lnTo>
                <a:lnTo>
                  <a:pt x="37" y="10"/>
                </a:lnTo>
                <a:lnTo>
                  <a:pt x="38" y="12"/>
                </a:lnTo>
                <a:lnTo>
                  <a:pt x="37" y="13"/>
                </a:lnTo>
                <a:lnTo>
                  <a:pt x="38" y="14"/>
                </a:lnTo>
                <a:lnTo>
                  <a:pt x="39" y="14"/>
                </a:lnTo>
                <a:lnTo>
                  <a:pt x="39" y="15"/>
                </a:lnTo>
                <a:lnTo>
                  <a:pt x="38" y="15"/>
                </a:lnTo>
                <a:lnTo>
                  <a:pt x="38" y="17"/>
                </a:lnTo>
                <a:lnTo>
                  <a:pt x="41" y="18"/>
                </a:lnTo>
                <a:lnTo>
                  <a:pt x="40" y="18"/>
                </a:lnTo>
                <a:lnTo>
                  <a:pt x="35" y="19"/>
                </a:lnTo>
                <a:lnTo>
                  <a:pt x="35" y="20"/>
                </a:lnTo>
                <a:lnTo>
                  <a:pt x="34" y="20"/>
                </a:lnTo>
                <a:lnTo>
                  <a:pt x="34" y="24"/>
                </a:lnTo>
                <a:lnTo>
                  <a:pt x="36" y="28"/>
                </a:lnTo>
                <a:lnTo>
                  <a:pt x="35" y="27"/>
                </a:lnTo>
                <a:lnTo>
                  <a:pt x="33" y="25"/>
                </a:lnTo>
                <a:lnTo>
                  <a:pt x="31" y="24"/>
                </a:lnTo>
                <a:lnTo>
                  <a:pt x="30" y="26"/>
                </a:lnTo>
                <a:lnTo>
                  <a:pt x="29" y="26"/>
                </a:lnTo>
                <a:lnTo>
                  <a:pt x="28" y="24"/>
                </a:lnTo>
                <a:lnTo>
                  <a:pt x="27" y="21"/>
                </a:lnTo>
                <a:lnTo>
                  <a:pt x="24" y="21"/>
                </a:lnTo>
                <a:lnTo>
                  <a:pt x="17" y="23"/>
                </a:lnTo>
                <a:lnTo>
                  <a:pt x="16" y="24"/>
                </a:lnTo>
                <a:lnTo>
                  <a:pt x="15" y="25"/>
                </a:lnTo>
                <a:lnTo>
                  <a:pt x="15" y="26"/>
                </a:lnTo>
                <a:lnTo>
                  <a:pt x="15" y="26"/>
                </a:lnTo>
                <a:lnTo>
                  <a:pt x="17" y="27"/>
                </a:lnTo>
                <a:lnTo>
                  <a:pt x="18" y="27"/>
                </a:lnTo>
                <a:lnTo>
                  <a:pt x="19" y="28"/>
                </a:lnTo>
                <a:lnTo>
                  <a:pt x="20" y="30"/>
                </a:lnTo>
                <a:lnTo>
                  <a:pt x="20" y="30"/>
                </a:lnTo>
                <a:lnTo>
                  <a:pt x="18" y="28"/>
                </a:lnTo>
                <a:lnTo>
                  <a:pt x="15" y="29"/>
                </a:lnTo>
                <a:lnTo>
                  <a:pt x="13" y="38"/>
                </a:lnTo>
                <a:lnTo>
                  <a:pt x="9" y="40"/>
                </a:lnTo>
                <a:lnTo>
                  <a:pt x="9" y="41"/>
                </a:lnTo>
                <a:lnTo>
                  <a:pt x="15" y="44"/>
                </a:lnTo>
                <a:lnTo>
                  <a:pt x="14" y="46"/>
                </a:lnTo>
                <a:lnTo>
                  <a:pt x="13" y="47"/>
                </a:lnTo>
                <a:lnTo>
                  <a:pt x="10" y="49"/>
                </a:lnTo>
                <a:lnTo>
                  <a:pt x="9" y="51"/>
                </a:lnTo>
                <a:lnTo>
                  <a:pt x="8" y="53"/>
                </a:lnTo>
                <a:lnTo>
                  <a:pt x="7" y="54"/>
                </a:lnTo>
                <a:lnTo>
                  <a:pt x="4" y="53"/>
                </a:lnTo>
                <a:lnTo>
                  <a:pt x="0" y="53"/>
                </a:lnTo>
                <a:lnTo>
                  <a:pt x="0" y="54"/>
                </a:lnTo>
                <a:lnTo>
                  <a:pt x="1" y="57"/>
                </a:lnTo>
                <a:lnTo>
                  <a:pt x="3" y="59"/>
                </a:lnTo>
                <a:lnTo>
                  <a:pt x="1" y="61"/>
                </a:lnTo>
                <a:lnTo>
                  <a:pt x="1" y="65"/>
                </a:lnTo>
                <a:lnTo>
                  <a:pt x="0" y="67"/>
                </a:lnTo>
                <a:lnTo>
                  <a:pt x="0" y="68"/>
                </a:lnTo>
                <a:lnTo>
                  <a:pt x="1" y="71"/>
                </a:lnTo>
                <a:lnTo>
                  <a:pt x="1" y="73"/>
                </a:lnTo>
                <a:lnTo>
                  <a:pt x="3" y="74"/>
                </a:lnTo>
                <a:lnTo>
                  <a:pt x="4" y="76"/>
                </a:lnTo>
                <a:lnTo>
                  <a:pt x="5" y="78"/>
                </a:lnTo>
                <a:lnTo>
                  <a:pt x="5" y="79"/>
                </a:lnTo>
                <a:lnTo>
                  <a:pt x="3" y="83"/>
                </a:lnTo>
                <a:lnTo>
                  <a:pt x="5" y="84"/>
                </a:lnTo>
                <a:lnTo>
                  <a:pt x="4" y="85"/>
                </a:lnTo>
                <a:lnTo>
                  <a:pt x="4" y="87"/>
                </a:lnTo>
                <a:lnTo>
                  <a:pt x="6" y="88"/>
                </a:lnTo>
                <a:lnTo>
                  <a:pt x="6" y="90"/>
                </a:lnTo>
                <a:lnTo>
                  <a:pt x="7" y="93"/>
                </a:lnTo>
                <a:lnTo>
                  <a:pt x="6" y="94"/>
                </a:lnTo>
                <a:lnTo>
                  <a:pt x="9" y="96"/>
                </a:lnTo>
                <a:lnTo>
                  <a:pt x="10" y="97"/>
                </a:lnTo>
                <a:lnTo>
                  <a:pt x="13" y="99"/>
                </a:lnTo>
                <a:lnTo>
                  <a:pt x="17" y="100"/>
                </a:lnTo>
                <a:lnTo>
                  <a:pt x="28" y="103"/>
                </a:lnTo>
                <a:lnTo>
                  <a:pt x="31" y="104"/>
                </a:lnTo>
                <a:lnTo>
                  <a:pt x="30" y="106"/>
                </a:lnTo>
                <a:lnTo>
                  <a:pt x="26" y="111"/>
                </a:lnTo>
                <a:lnTo>
                  <a:pt x="26" y="114"/>
                </a:lnTo>
                <a:lnTo>
                  <a:pt x="24" y="119"/>
                </a:lnTo>
                <a:lnTo>
                  <a:pt x="24" y="125"/>
                </a:lnTo>
                <a:lnTo>
                  <a:pt x="25" y="127"/>
                </a:lnTo>
                <a:lnTo>
                  <a:pt x="25" y="128"/>
                </a:lnTo>
                <a:lnTo>
                  <a:pt x="27" y="129"/>
                </a:lnTo>
                <a:lnTo>
                  <a:pt x="36" y="128"/>
                </a:lnTo>
                <a:lnTo>
                  <a:pt x="42" y="127"/>
                </a:lnTo>
                <a:lnTo>
                  <a:pt x="48" y="128"/>
                </a:lnTo>
                <a:lnTo>
                  <a:pt x="52" y="130"/>
                </a:lnTo>
                <a:lnTo>
                  <a:pt x="55" y="129"/>
                </a:lnTo>
                <a:lnTo>
                  <a:pt x="57" y="129"/>
                </a:lnTo>
                <a:lnTo>
                  <a:pt x="59" y="129"/>
                </a:lnTo>
                <a:lnTo>
                  <a:pt x="61" y="131"/>
                </a:lnTo>
                <a:lnTo>
                  <a:pt x="64" y="132"/>
                </a:lnTo>
                <a:lnTo>
                  <a:pt x="65" y="131"/>
                </a:lnTo>
                <a:lnTo>
                  <a:pt x="66" y="130"/>
                </a:lnTo>
                <a:lnTo>
                  <a:pt x="67" y="129"/>
                </a:lnTo>
                <a:lnTo>
                  <a:pt x="70" y="129"/>
                </a:lnTo>
                <a:lnTo>
                  <a:pt x="74" y="131"/>
                </a:lnTo>
                <a:lnTo>
                  <a:pt x="77" y="131"/>
                </a:lnTo>
                <a:lnTo>
                  <a:pt x="82" y="128"/>
                </a:lnTo>
                <a:lnTo>
                  <a:pt x="90" y="127"/>
                </a:lnTo>
                <a:lnTo>
                  <a:pt x="91" y="126"/>
                </a:lnTo>
                <a:lnTo>
                  <a:pt x="95" y="127"/>
                </a:lnTo>
                <a:lnTo>
                  <a:pt x="98" y="127"/>
                </a:lnTo>
                <a:lnTo>
                  <a:pt x="99" y="128"/>
                </a:lnTo>
                <a:lnTo>
                  <a:pt x="101" y="128"/>
                </a:lnTo>
                <a:lnTo>
                  <a:pt x="101" y="126"/>
                </a:lnTo>
                <a:lnTo>
                  <a:pt x="99" y="123"/>
                </a:lnTo>
                <a:lnTo>
                  <a:pt x="99" y="119"/>
                </a:lnTo>
                <a:lnTo>
                  <a:pt x="100" y="117"/>
                </a:lnTo>
                <a:lnTo>
                  <a:pt x="106" y="115"/>
                </a:lnTo>
                <a:lnTo>
                  <a:pt x="106" y="113"/>
                </a:lnTo>
                <a:lnTo>
                  <a:pt x="107" y="111"/>
                </a:lnTo>
                <a:lnTo>
                  <a:pt x="111" y="109"/>
                </a:lnTo>
                <a:lnTo>
                  <a:pt x="111" y="108"/>
                </a:lnTo>
                <a:lnTo>
                  <a:pt x="110" y="106"/>
                </a:lnTo>
                <a:lnTo>
                  <a:pt x="104" y="103"/>
                </a:lnTo>
                <a:lnTo>
                  <a:pt x="101" y="99"/>
                </a:lnTo>
                <a:lnTo>
                  <a:pt x="94" y="95"/>
                </a:lnTo>
                <a:lnTo>
                  <a:pt x="90" y="91"/>
                </a:lnTo>
                <a:lnTo>
                  <a:pt x="90" y="88"/>
                </a:lnTo>
                <a:lnTo>
                  <a:pt x="89" y="86"/>
                </a:lnTo>
                <a:lnTo>
                  <a:pt x="87" y="85"/>
                </a:lnTo>
                <a:lnTo>
                  <a:pt x="85" y="83"/>
                </a:lnTo>
                <a:lnTo>
                  <a:pt x="84" y="80"/>
                </a:lnTo>
                <a:lnTo>
                  <a:pt x="85" y="79"/>
                </a:lnTo>
                <a:lnTo>
                  <a:pt x="88" y="83"/>
                </a:lnTo>
                <a:lnTo>
                  <a:pt x="89" y="83"/>
                </a:lnTo>
                <a:lnTo>
                  <a:pt x="90" y="80"/>
                </a:lnTo>
                <a:lnTo>
                  <a:pt x="94" y="78"/>
                </a:lnTo>
                <a:lnTo>
                  <a:pt x="98" y="77"/>
                </a:lnTo>
                <a:lnTo>
                  <a:pt x="102" y="76"/>
                </a:lnTo>
                <a:lnTo>
                  <a:pt x="104" y="74"/>
                </a:lnTo>
                <a:lnTo>
                  <a:pt x="114" y="70"/>
                </a:lnTo>
                <a:lnTo>
                  <a:pt x="114" y="66"/>
                </a:lnTo>
                <a:lnTo>
                  <a:pt x="117" y="66"/>
                </a:lnTo>
                <a:lnTo>
                  <a:pt x="118" y="69"/>
                </a:lnTo>
                <a:lnTo>
                  <a:pt x="120" y="70"/>
                </a:lnTo>
                <a:lnTo>
                  <a:pt x="122" y="70"/>
                </a:lnTo>
                <a:lnTo>
                  <a:pt x="122" y="69"/>
                </a:lnTo>
                <a:lnTo>
                  <a:pt x="123" y="66"/>
                </a:lnTo>
                <a:lnTo>
                  <a:pt x="123" y="61"/>
                </a:lnTo>
                <a:lnTo>
                  <a:pt x="123" y="60"/>
                </a:lnTo>
                <a:lnTo>
                  <a:pt x="119" y="57"/>
                </a:lnTo>
                <a:lnTo>
                  <a:pt x="118" y="51"/>
                </a:lnTo>
                <a:lnTo>
                  <a:pt x="118" y="50"/>
                </a:lnTo>
                <a:lnTo>
                  <a:pt x="117" y="47"/>
                </a:lnTo>
                <a:lnTo>
                  <a:pt x="116" y="45"/>
                </a:lnTo>
                <a:lnTo>
                  <a:pt x="115" y="40"/>
                </a:lnTo>
                <a:lnTo>
                  <a:pt x="115" y="38"/>
                </a:lnTo>
                <a:lnTo>
                  <a:pt x="110" y="37"/>
                </a:lnTo>
                <a:lnTo>
                  <a:pt x="110" y="35"/>
                </a:lnTo>
                <a:lnTo>
                  <a:pt x="111" y="33"/>
                </a:lnTo>
                <a:lnTo>
                  <a:pt x="112" y="30"/>
                </a:lnTo>
                <a:lnTo>
                  <a:pt x="112" y="28"/>
                </a:lnTo>
                <a:lnTo>
                  <a:pt x="112" y="25"/>
                </a:lnTo>
                <a:lnTo>
                  <a:pt x="110" y="21"/>
                </a:lnTo>
                <a:lnTo>
                  <a:pt x="109" y="20"/>
                </a:lnTo>
                <a:lnTo>
                  <a:pt x="104" y="19"/>
                </a:lnTo>
                <a:lnTo>
                  <a:pt x="104" y="16"/>
                </a:lnTo>
                <a:lnTo>
                  <a:pt x="100" y="14"/>
                </a:lnTo>
                <a:lnTo>
                  <a:pt x="98" y="14"/>
                </a:lnTo>
                <a:lnTo>
                  <a:pt x="97" y="13"/>
                </a:lnTo>
                <a:lnTo>
                  <a:pt x="96" y="13"/>
                </a:lnTo>
                <a:lnTo>
                  <a:pt x="96" y="12"/>
                </a:lnTo>
                <a:lnTo>
                  <a:pt x="94" y="10"/>
                </a:lnTo>
                <a:lnTo>
                  <a:pt x="91" y="9"/>
                </a:lnTo>
                <a:lnTo>
                  <a:pt x="88" y="10"/>
                </a:lnTo>
                <a:lnTo>
                  <a:pt x="86" y="10"/>
                </a:lnTo>
                <a:lnTo>
                  <a:pt x="85" y="12"/>
                </a:lnTo>
                <a:lnTo>
                  <a:pt x="85" y="10"/>
                </a:lnTo>
                <a:lnTo>
                  <a:pt x="87" y="9"/>
                </a:lnTo>
                <a:lnTo>
                  <a:pt x="89" y="8"/>
                </a:lnTo>
                <a:lnTo>
                  <a:pt x="87" y="8"/>
                </a:lnTo>
                <a:lnTo>
                  <a:pt x="85" y="8"/>
                </a:lnTo>
                <a:lnTo>
                  <a:pt x="81" y="12"/>
                </a:lnTo>
                <a:lnTo>
                  <a:pt x="81" y="14"/>
                </a:lnTo>
                <a:lnTo>
                  <a:pt x="80" y="14"/>
                </a:lnTo>
                <a:lnTo>
                  <a:pt x="80" y="13"/>
                </a:lnTo>
                <a:lnTo>
                  <a:pt x="75" y="14"/>
                </a:lnTo>
                <a:lnTo>
                  <a:pt x="71" y="16"/>
                </a:lnTo>
                <a:lnTo>
                  <a:pt x="72" y="17"/>
                </a:lnTo>
                <a:lnTo>
                  <a:pt x="70" y="17"/>
                </a:lnTo>
                <a:lnTo>
                  <a:pt x="67" y="16"/>
                </a:lnTo>
                <a:lnTo>
                  <a:pt x="64" y="18"/>
                </a:lnTo>
                <a:lnTo>
                  <a:pt x="64" y="17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15" name="Freeform 1416"/>
          <p:cNvSpPr>
            <a:spLocks/>
          </p:cNvSpPr>
          <p:nvPr/>
        </p:nvSpPr>
        <p:spPr bwMode="auto">
          <a:xfrm>
            <a:off x="4478338" y="2004978"/>
            <a:ext cx="195262" cy="209550"/>
          </a:xfrm>
          <a:custGeom>
            <a:avLst/>
            <a:gdLst>
              <a:gd name="T0" fmla="*/ 65 w 123"/>
              <a:gd name="T1" fmla="*/ 13 h 132"/>
              <a:gd name="T2" fmla="*/ 61 w 123"/>
              <a:gd name="T3" fmla="*/ 10 h 132"/>
              <a:gd name="T4" fmla="*/ 55 w 123"/>
              <a:gd name="T5" fmla="*/ 9 h 132"/>
              <a:gd name="T6" fmla="*/ 50 w 123"/>
              <a:gd name="T7" fmla="*/ 7 h 132"/>
              <a:gd name="T8" fmla="*/ 46 w 123"/>
              <a:gd name="T9" fmla="*/ 2 h 132"/>
              <a:gd name="T10" fmla="*/ 37 w 123"/>
              <a:gd name="T11" fmla="*/ 0 h 132"/>
              <a:gd name="T12" fmla="*/ 38 w 123"/>
              <a:gd name="T13" fmla="*/ 6 h 132"/>
              <a:gd name="T14" fmla="*/ 35 w 123"/>
              <a:gd name="T15" fmla="*/ 10 h 132"/>
              <a:gd name="T16" fmla="*/ 38 w 123"/>
              <a:gd name="T17" fmla="*/ 14 h 132"/>
              <a:gd name="T18" fmla="*/ 38 w 123"/>
              <a:gd name="T19" fmla="*/ 17 h 132"/>
              <a:gd name="T20" fmla="*/ 35 w 123"/>
              <a:gd name="T21" fmla="*/ 20 h 132"/>
              <a:gd name="T22" fmla="*/ 35 w 123"/>
              <a:gd name="T23" fmla="*/ 27 h 132"/>
              <a:gd name="T24" fmla="*/ 29 w 123"/>
              <a:gd name="T25" fmla="*/ 26 h 132"/>
              <a:gd name="T26" fmla="*/ 17 w 123"/>
              <a:gd name="T27" fmla="*/ 23 h 132"/>
              <a:gd name="T28" fmla="*/ 15 w 123"/>
              <a:gd name="T29" fmla="*/ 26 h 132"/>
              <a:gd name="T30" fmla="*/ 20 w 123"/>
              <a:gd name="T31" fmla="*/ 30 h 132"/>
              <a:gd name="T32" fmla="*/ 13 w 123"/>
              <a:gd name="T33" fmla="*/ 38 h 132"/>
              <a:gd name="T34" fmla="*/ 14 w 123"/>
              <a:gd name="T35" fmla="*/ 46 h 132"/>
              <a:gd name="T36" fmla="*/ 8 w 123"/>
              <a:gd name="T37" fmla="*/ 53 h 132"/>
              <a:gd name="T38" fmla="*/ 0 w 123"/>
              <a:gd name="T39" fmla="*/ 54 h 132"/>
              <a:gd name="T40" fmla="*/ 1 w 123"/>
              <a:gd name="T41" fmla="*/ 65 h 132"/>
              <a:gd name="T42" fmla="*/ 1 w 123"/>
              <a:gd name="T43" fmla="*/ 73 h 132"/>
              <a:gd name="T44" fmla="*/ 5 w 123"/>
              <a:gd name="T45" fmla="*/ 79 h 132"/>
              <a:gd name="T46" fmla="*/ 4 w 123"/>
              <a:gd name="T47" fmla="*/ 87 h 132"/>
              <a:gd name="T48" fmla="*/ 6 w 123"/>
              <a:gd name="T49" fmla="*/ 94 h 132"/>
              <a:gd name="T50" fmla="*/ 17 w 123"/>
              <a:gd name="T51" fmla="*/ 100 h 132"/>
              <a:gd name="T52" fmla="*/ 26 w 123"/>
              <a:gd name="T53" fmla="*/ 111 h 132"/>
              <a:gd name="T54" fmla="*/ 25 w 123"/>
              <a:gd name="T55" fmla="*/ 127 h 132"/>
              <a:gd name="T56" fmla="*/ 42 w 123"/>
              <a:gd name="T57" fmla="*/ 127 h 132"/>
              <a:gd name="T58" fmla="*/ 57 w 123"/>
              <a:gd name="T59" fmla="*/ 129 h 132"/>
              <a:gd name="T60" fmla="*/ 65 w 123"/>
              <a:gd name="T61" fmla="*/ 131 h 132"/>
              <a:gd name="T62" fmla="*/ 74 w 123"/>
              <a:gd name="T63" fmla="*/ 131 h 132"/>
              <a:gd name="T64" fmla="*/ 91 w 123"/>
              <a:gd name="T65" fmla="*/ 126 h 132"/>
              <a:gd name="T66" fmla="*/ 101 w 123"/>
              <a:gd name="T67" fmla="*/ 128 h 132"/>
              <a:gd name="T68" fmla="*/ 100 w 123"/>
              <a:gd name="T69" fmla="*/ 117 h 132"/>
              <a:gd name="T70" fmla="*/ 111 w 123"/>
              <a:gd name="T71" fmla="*/ 109 h 132"/>
              <a:gd name="T72" fmla="*/ 101 w 123"/>
              <a:gd name="T73" fmla="*/ 99 h 132"/>
              <a:gd name="T74" fmla="*/ 89 w 123"/>
              <a:gd name="T75" fmla="*/ 86 h 132"/>
              <a:gd name="T76" fmla="*/ 85 w 123"/>
              <a:gd name="T77" fmla="*/ 79 h 132"/>
              <a:gd name="T78" fmla="*/ 94 w 123"/>
              <a:gd name="T79" fmla="*/ 78 h 132"/>
              <a:gd name="T80" fmla="*/ 114 w 123"/>
              <a:gd name="T81" fmla="*/ 70 h 132"/>
              <a:gd name="T82" fmla="*/ 120 w 123"/>
              <a:gd name="T83" fmla="*/ 70 h 132"/>
              <a:gd name="T84" fmla="*/ 123 w 123"/>
              <a:gd name="T85" fmla="*/ 61 h 132"/>
              <a:gd name="T86" fmla="*/ 118 w 123"/>
              <a:gd name="T87" fmla="*/ 50 h 132"/>
              <a:gd name="T88" fmla="*/ 115 w 123"/>
              <a:gd name="T89" fmla="*/ 38 h 132"/>
              <a:gd name="T90" fmla="*/ 112 w 123"/>
              <a:gd name="T91" fmla="*/ 30 h 132"/>
              <a:gd name="T92" fmla="*/ 109 w 123"/>
              <a:gd name="T93" fmla="*/ 20 h 132"/>
              <a:gd name="T94" fmla="*/ 98 w 123"/>
              <a:gd name="T95" fmla="*/ 14 h 132"/>
              <a:gd name="T96" fmla="*/ 94 w 123"/>
              <a:gd name="T97" fmla="*/ 10 h 132"/>
              <a:gd name="T98" fmla="*/ 85 w 123"/>
              <a:gd name="T99" fmla="*/ 12 h 132"/>
              <a:gd name="T100" fmla="*/ 87 w 123"/>
              <a:gd name="T101" fmla="*/ 8 h 132"/>
              <a:gd name="T102" fmla="*/ 80 w 123"/>
              <a:gd name="T103" fmla="*/ 14 h 132"/>
              <a:gd name="T104" fmla="*/ 72 w 123"/>
              <a:gd name="T105" fmla="*/ 17 h 132"/>
              <a:gd name="T106" fmla="*/ 64 w 123"/>
              <a:gd name="T107" fmla="*/ 17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23" h="132">
                <a:moveTo>
                  <a:pt x="64" y="17"/>
                </a:moveTo>
                <a:lnTo>
                  <a:pt x="62" y="16"/>
                </a:lnTo>
                <a:lnTo>
                  <a:pt x="64" y="14"/>
                </a:lnTo>
                <a:lnTo>
                  <a:pt x="65" y="13"/>
                </a:lnTo>
                <a:lnTo>
                  <a:pt x="66" y="12"/>
                </a:lnTo>
                <a:lnTo>
                  <a:pt x="66" y="10"/>
                </a:lnTo>
                <a:lnTo>
                  <a:pt x="65" y="9"/>
                </a:lnTo>
                <a:lnTo>
                  <a:pt x="61" y="10"/>
                </a:lnTo>
                <a:lnTo>
                  <a:pt x="59" y="10"/>
                </a:lnTo>
                <a:lnTo>
                  <a:pt x="58" y="9"/>
                </a:lnTo>
                <a:lnTo>
                  <a:pt x="56" y="8"/>
                </a:lnTo>
                <a:lnTo>
                  <a:pt x="55" y="9"/>
                </a:lnTo>
                <a:lnTo>
                  <a:pt x="54" y="9"/>
                </a:lnTo>
                <a:lnTo>
                  <a:pt x="52" y="8"/>
                </a:lnTo>
                <a:lnTo>
                  <a:pt x="51" y="8"/>
                </a:lnTo>
                <a:lnTo>
                  <a:pt x="50" y="7"/>
                </a:lnTo>
                <a:lnTo>
                  <a:pt x="51" y="6"/>
                </a:lnTo>
                <a:lnTo>
                  <a:pt x="51" y="5"/>
                </a:lnTo>
                <a:lnTo>
                  <a:pt x="50" y="3"/>
                </a:lnTo>
                <a:lnTo>
                  <a:pt x="46" y="2"/>
                </a:lnTo>
                <a:lnTo>
                  <a:pt x="45" y="2"/>
                </a:lnTo>
                <a:lnTo>
                  <a:pt x="45" y="0"/>
                </a:lnTo>
                <a:lnTo>
                  <a:pt x="42" y="2"/>
                </a:lnTo>
                <a:lnTo>
                  <a:pt x="37" y="0"/>
                </a:lnTo>
                <a:lnTo>
                  <a:pt x="35" y="0"/>
                </a:lnTo>
                <a:lnTo>
                  <a:pt x="35" y="3"/>
                </a:lnTo>
                <a:lnTo>
                  <a:pt x="37" y="5"/>
                </a:lnTo>
                <a:lnTo>
                  <a:pt x="38" y="6"/>
                </a:lnTo>
                <a:lnTo>
                  <a:pt x="39" y="7"/>
                </a:lnTo>
                <a:lnTo>
                  <a:pt x="36" y="9"/>
                </a:lnTo>
                <a:lnTo>
                  <a:pt x="36" y="9"/>
                </a:lnTo>
                <a:lnTo>
                  <a:pt x="35" y="10"/>
                </a:lnTo>
                <a:lnTo>
                  <a:pt x="37" y="10"/>
                </a:lnTo>
                <a:lnTo>
                  <a:pt x="38" y="12"/>
                </a:lnTo>
                <a:lnTo>
                  <a:pt x="37" y="13"/>
                </a:lnTo>
                <a:lnTo>
                  <a:pt x="38" y="14"/>
                </a:lnTo>
                <a:lnTo>
                  <a:pt x="39" y="14"/>
                </a:lnTo>
                <a:lnTo>
                  <a:pt x="39" y="15"/>
                </a:lnTo>
                <a:lnTo>
                  <a:pt x="38" y="15"/>
                </a:lnTo>
                <a:lnTo>
                  <a:pt x="38" y="17"/>
                </a:lnTo>
                <a:lnTo>
                  <a:pt x="41" y="18"/>
                </a:lnTo>
                <a:lnTo>
                  <a:pt x="40" y="18"/>
                </a:lnTo>
                <a:lnTo>
                  <a:pt x="35" y="19"/>
                </a:lnTo>
                <a:lnTo>
                  <a:pt x="35" y="20"/>
                </a:lnTo>
                <a:lnTo>
                  <a:pt x="34" y="20"/>
                </a:lnTo>
                <a:lnTo>
                  <a:pt x="34" y="24"/>
                </a:lnTo>
                <a:lnTo>
                  <a:pt x="36" y="28"/>
                </a:lnTo>
                <a:lnTo>
                  <a:pt x="35" y="27"/>
                </a:lnTo>
                <a:lnTo>
                  <a:pt x="33" y="25"/>
                </a:lnTo>
                <a:lnTo>
                  <a:pt x="31" y="24"/>
                </a:lnTo>
                <a:lnTo>
                  <a:pt x="30" y="26"/>
                </a:lnTo>
                <a:lnTo>
                  <a:pt x="29" y="26"/>
                </a:lnTo>
                <a:lnTo>
                  <a:pt x="28" y="24"/>
                </a:lnTo>
                <a:lnTo>
                  <a:pt x="27" y="21"/>
                </a:lnTo>
                <a:lnTo>
                  <a:pt x="24" y="21"/>
                </a:lnTo>
                <a:lnTo>
                  <a:pt x="17" y="23"/>
                </a:lnTo>
                <a:lnTo>
                  <a:pt x="16" y="24"/>
                </a:lnTo>
                <a:lnTo>
                  <a:pt x="15" y="25"/>
                </a:lnTo>
                <a:lnTo>
                  <a:pt x="15" y="26"/>
                </a:lnTo>
                <a:lnTo>
                  <a:pt x="15" y="26"/>
                </a:lnTo>
                <a:lnTo>
                  <a:pt x="17" y="27"/>
                </a:lnTo>
                <a:lnTo>
                  <a:pt x="18" y="27"/>
                </a:lnTo>
                <a:lnTo>
                  <a:pt x="19" y="28"/>
                </a:lnTo>
                <a:lnTo>
                  <a:pt x="20" y="30"/>
                </a:lnTo>
                <a:lnTo>
                  <a:pt x="20" y="30"/>
                </a:lnTo>
                <a:lnTo>
                  <a:pt x="18" y="28"/>
                </a:lnTo>
                <a:lnTo>
                  <a:pt x="15" y="29"/>
                </a:lnTo>
                <a:lnTo>
                  <a:pt x="13" y="38"/>
                </a:lnTo>
                <a:lnTo>
                  <a:pt x="9" y="40"/>
                </a:lnTo>
                <a:lnTo>
                  <a:pt x="9" y="41"/>
                </a:lnTo>
                <a:lnTo>
                  <a:pt x="15" y="44"/>
                </a:lnTo>
                <a:lnTo>
                  <a:pt x="14" y="46"/>
                </a:lnTo>
                <a:lnTo>
                  <a:pt x="13" y="47"/>
                </a:lnTo>
                <a:lnTo>
                  <a:pt x="10" y="49"/>
                </a:lnTo>
                <a:lnTo>
                  <a:pt x="9" y="51"/>
                </a:lnTo>
                <a:lnTo>
                  <a:pt x="8" y="53"/>
                </a:lnTo>
                <a:lnTo>
                  <a:pt x="7" y="54"/>
                </a:lnTo>
                <a:lnTo>
                  <a:pt x="4" y="53"/>
                </a:lnTo>
                <a:lnTo>
                  <a:pt x="0" y="53"/>
                </a:lnTo>
                <a:lnTo>
                  <a:pt x="0" y="54"/>
                </a:lnTo>
                <a:lnTo>
                  <a:pt x="1" y="57"/>
                </a:lnTo>
                <a:lnTo>
                  <a:pt x="3" y="59"/>
                </a:lnTo>
                <a:lnTo>
                  <a:pt x="1" y="61"/>
                </a:lnTo>
                <a:lnTo>
                  <a:pt x="1" y="65"/>
                </a:lnTo>
                <a:lnTo>
                  <a:pt x="0" y="67"/>
                </a:lnTo>
                <a:lnTo>
                  <a:pt x="0" y="68"/>
                </a:lnTo>
                <a:lnTo>
                  <a:pt x="1" y="71"/>
                </a:lnTo>
                <a:lnTo>
                  <a:pt x="1" y="73"/>
                </a:lnTo>
                <a:lnTo>
                  <a:pt x="3" y="74"/>
                </a:lnTo>
                <a:lnTo>
                  <a:pt x="4" y="76"/>
                </a:lnTo>
                <a:lnTo>
                  <a:pt x="5" y="78"/>
                </a:lnTo>
                <a:lnTo>
                  <a:pt x="5" y="79"/>
                </a:lnTo>
                <a:lnTo>
                  <a:pt x="3" y="83"/>
                </a:lnTo>
                <a:lnTo>
                  <a:pt x="5" y="84"/>
                </a:lnTo>
                <a:lnTo>
                  <a:pt x="4" y="85"/>
                </a:lnTo>
                <a:lnTo>
                  <a:pt x="4" y="87"/>
                </a:lnTo>
                <a:lnTo>
                  <a:pt x="6" y="88"/>
                </a:lnTo>
                <a:lnTo>
                  <a:pt x="6" y="90"/>
                </a:lnTo>
                <a:lnTo>
                  <a:pt x="7" y="93"/>
                </a:lnTo>
                <a:lnTo>
                  <a:pt x="6" y="94"/>
                </a:lnTo>
                <a:lnTo>
                  <a:pt x="9" y="96"/>
                </a:lnTo>
                <a:lnTo>
                  <a:pt x="10" y="97"/>
                </a:lnTo>
                <a:lnTo>
                  <a:pt x="13" y="99"/>
                </a:lnTo>
                <a:lnTo>
                  <a:pt x="17" y="100"/>
                </a:lnTo>
                <a:lnTo>
                  <a:pt x="28" y="103"/>
                </a:lnTo>
                <a:lnTo>
                  <a:pt x="31" y="104"/>
                </a:lnTo>
                <a:lnTo>
                  <a:pt x="30" y="106"/>
                </a:lnTo>
                <a:lnTo>
                  <a:pt x="26" y="111"/>
                </a:lnTo>
                <a:lnTo>
                  <a:pt x="26" y="114"/>
                </a:lnTo>
                <a:lnTo>
                  <a:pt x="24" y="119"/>
                </a:lnTo>
                <a:lnTo>
                  <a:pt x="24" y="125"/>
                </a:lnTo>
                <a:lnTo>
                  <a:pt x="25" y="127"/>
                </a:lnTo>
                <a:lnTo>
                  <a:pt x="25" y="128"/>
                </a:lnTo>
                <a:lnTo>
                  <a:pt x="27" y="129"/>
                </a:lnTo>
                <a:lnTo>
                  <a:pt x="36" y="128"/>
                </a:lnTo>
                <a:lnTo>
                  <a:pt x="42" y="127"/>
                </a:lnTo>
                <a:lnTo>
                  <a:pt x="48" y="128"/>
                </a:lnTo>
                <a:lnTo>
                  <a:pt x="52" y="130"/>
                </a:lnTo>
                <a:lnTo>
                  <a:pt x="55" y="129"/>
                </a:lnTo>
                <a:lnTo>
                  <a:pt x="57" y="129"/>
                </a:lnTo>
                <a:lnTo>
                  <a:pt x="59" y="129"/>
                </a:lnTo>
                <a:lnTo>
                  <a:pt x="61" y="131"/>
                </a:lnTo>
                <a:lnTo>
                  <a:pt x="64" y="132"/>
                </a:lnTo>
                <a:lnTo>
                  <a:pt x="65" y="131"/>
                </a:lnTo>
                <a:lnTo>
                  <a:pt x="66" y="130"/>
                </a:lnTo>
                <a:lnTo>
                  <a:pt x="67" y="129"/>
                </a:lnTo>
                <a:lnTo>
                  <a:pt x="70" y="129"/>
                </a:lnTo>
                <a:lnTo>
                  <a:pt x="74" y="131"/>
                </a:lnTo>
                <a:lnTo>
                  <a:pt x="77" y="131"/>
                </a:lnTo>
                <a:lnTo>
                  <a:pt x="82" y="128"/>
                </a:lnTo>
                <a:lnTo>
                  <a:pt x="90" y="127"/>
                </a:lnTo>
                <a:lnTo>
                  <a:pt x="91" y="126"/>
                </a:lnTo>
                <a:lnTo>
                  <a:pt x="95" y="127"/>
                </a:lnTo>
                <a:lnTo>
                  <a:pt x="98" y="127"/>
                </a:lnTo>
                <a:lnTo>
                  <a:pt x="99" y="128"/>
                </a:lnTo>
                <a:lnTo>
                  <a:pt x="101" y="128"/>
                </a:lnTo>
                <a:lnTo>
                  <a:pt x="101" y="126"/>
                </a:lnTo>
                <a:lnTo>
                  <a:pt x="99" y="123"/>
                </a:lnTo>
                <a:lnTo>
                  <a:pt x="99" y="119"/>
                </a:lnTo>
                <a:lnTo>
                  <a:pt x="100" y="117"/>
                </a:lnTo>
                <a:lnTo>
                  <a:pt x="106" y="115"/>
                </a:lnTo>
                <a:lnTo>
                  <a:pt x="106" y="113"/>
                </a:lnTo>
                <a:lnTo>
                  <a:pt x="107" y="111"/>
                </a:lnTo>
                <a:lnTo>
                  <a:pt x="111" y="109"/>
                </a:lnTo>
                <a:lnTo>
                  <a:pt x="111" y="108"/>
                </a:lnTo>
                <a:lnTo>
                  <a:pt x="110" y="106"/>
                </a:lnTo>
                <a:lnTo>
                  <a:pt x="104" y="103"/>
                </a:lnTo>
                <a:lnTo>
                  <a:pt x="101" y="99"/>
                </a:lnTo>
                <a:lnTo>
                  <a:pt x="94" y="95"/>
                </a:lnTo>
                <a:lnTo>
                  <a:pt x="90" y="91"/>
                </a:lnTo>
                <a:lnTo>
                  <a:pt x="90" y="88"/>
                </a:lnTo>
                <a:lnTo>
                  <a:pt x="89" y="86"/>
                </a:lnTo>
                <a:lnTo>
                  <a:pt x="87" y="85"/>
                </a:lnTo>
                <a:lnTo>
                  <a:pt x="85" y="83"/>
                </a:lnTo>
                <a:lnTo>
                  <a:pt x="84" y="80"/>
                </a:lnTo>
                <a:lnTo>
                  <a:pt x="85" y="79"/>
                </a:lnTo>
                <a:lnTo>
                  <a:pt x="88" y="83"/>
                </a:lnTo>
                <a:lnTo>
                  <a:pt x="89" y="83"/>
                </a:lnTo>
                <a:lnTo>
                  <a:pt x="90" y="80"/>
                </a:lnTo>
                <a:lnTo>
                  <a:pt x="94" y="78"/>
                </a:lnTo>
                <a:lnTo>
                  <a:pt x="98" y="77"/>
                </a:lnTo>
                <a:lnTo>
                  <a:pt x="102" y="76"/>
                </a:lnTo>
                <a:lnTo>
                  <a:pt x="104" y="74"/>
                </a:lnTo>
                <a:lnTo>
                  <a:pt x="114" y="70"/>
                </a:lnTo>
                <a:lnTo>
                  <a:pt x="114" y="66"/>
                </a:lnTo>
                <a:lnTo>
                  <a:pt x="117" y="66"/>
                </a:lnTo>
                <a:lnTo>
                  <a:pt x="118" y="69"/>
                </a:lnTo>
                <a:lnTo>
                  <a:pt x="120" y="70"/>
                </a:lnTo>
                <a:lnTo>
                  <a:pt x="122" y="70"/>
                </a:lnTo>
                <a:lnTo>
                  <a:pt x="122" y="69"/>
                </a:lnTo>
                <a:lnTo>
                  <a:pt x="123" y="66"/>
                </a:lnTo>
                <a:lnTo>
                  <a:pt x="123" y="61"/>
                </a:lnTo>
                <a:lnTo>
                  <a:pt x="123" y="60"/>
                </a:lnTo>
                <a:lnTo>
                  <a:pt x="119" y="57"/>
                </a:lnTo>
                <a:lnTo>
                  <a:pt x="118" y="51"/>
                </a:lnTo>
                <a:lnTo>
                  <a:pt x="118" y="50"/>
                </a:lnTo>
                <a:lnTo>
                  <a:pt x="117" y="47"/>
                </a:lnTo>
                <a:lnTo>
                  <a:pt x="116" y="45"/>
                </a:lnTo>
                <a:lnTo>
                  <a:pt x="115" y="40"/>
                </a:lnTo>
                <a:lnTo>
                  <a:pt x="115" y="38"/>
                </a:lnTo>
                <a:lnTo>
                  <a:pt x="110" y="37"/>
                </a:lnTo>
                <a:lnTo>
                  <a:pt x="110" y="35"/>
                </a:lnTo>
                <a:lnTo>
                  <a:pt x="111" y="33"/>
                </a:lnTo>
                <a:lnTo>
                  <a:pt x="112" y="30"/>
                </a:lnTo>
                <a:lnTo>
                  <a:pt x="112" y="28"/>
                </a:lnTo>
                <a:lnTo>
                  <a:pt x="112" y="25"/>
                </a:lnTo>
                <a:lnTo>
                  <a:pt x="110" y="21"/>
                </a:lnTo>
                <a:lnTo>
                  <a:pt x="109" y="20"/>
                </a:lnTo>
                <a:lnTo>
                  <a:pt x="104" y="19"/>
                </a:lnTo>
                <a:lnTo>
                  <a:pt x="104" y="16"/>
                </a:lnTo>
                <a:lnTo>
                  <a:pt x="100" y="14"/>
                </a:lnTo>
                <a:lnTo>
                  <a:pt x="98" y="14"/>
                </a:lnTo>
                <a:lnTo>
                  <a:pt x="97" y="13"/>
                </a:lnTo>
                <a:lnTo>
                  <a:pt x="96" y="13"/>
                </a:lnTo>
                <a:lnTo>
                  <a:pt x="96" y="12"/>
                </a:lnTo>
                <a:lnTo>
                  <a:pt x="94" y="10"/>
                </a:lnTo>
                <a:lnTo>
                  <a:pt x="91" y="9"/>
                </a:lnTo>
                <a:lnTo>
                  <a:pt x="88" y="10"/>
                </a:lnTo>
                <a:lnTo>
                  <a:pt x="86" y="10"/>
                </a:lnTo>
                <a:lnTo>
                  <a:pt x="85" y="12"/>
                </a:lnTo>
                <a:lnTo>
                  <a:pt x="85" y="10"/>
                </a:lnTo>
                <a:lnTo>
                  <a:pt x="87" y="9"/>
                </a:lnTo>
                <a:lnTo>
                  <a:pt x="89" y="8"/>
                </a:lnTo>
                <a:lnTo>
                  <a:pt x="87" y="8"/>
                </a:lnTo>
                <a:lnTo>
                  <a:pt x="85" y="8"/>
                </a:lnTo>
                <a:lnTo>
                  <a:pt x="81" y="12"/>
                </a:lnTo>
                <a:lnTo>
                  <a:pt x="81" y="14"/>
                </a:lnTo>
                <a:lnTo>
                  <a:pt x="80" y="14"/>
                </a:lnTo>
                <a:lnTo>
                  <a:pt x="80" y="13"/>
                </a:lnTo>
                <a:lnTo>
                  <a:pt x="75" y="14"/>
                </a:lnTo>
                <a:lnTo>
                  <a:pt x="71" y="16"/>
                </a:lnTo>
                <a:lnTo>
                  <a:pt x="72" y="17"/>
                </a:lnTo>
                <a:lnTo>
                  <a:pt x="70" y="17"/>
                </a:lnTo>
                <a:lnTo>
                  <a:pt x="67" y="16"/>
                </a:lnTo>
                <a:lnTo>
                  <a:pt x="64" y="18"/>
                </a:lnTo>
                <a:lnTo>
                  <a:pt x="64" y="17"/>
                </a:lnTo>
              </a:path>
            </a:pathLst>
          </a:custGeom>
          <a:solidFill>
            <a:schemeClr val="accent1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16" name="Freeform 1417"/>
          <p:cNvSpPr>
            <a:spLocks/>
          </p:cNvSpPr>
          <p:nvPr/>
        </p:nvSpPr>
        <p:spPr bwMode="auto">
          <a:xfrm>
            <a:off x="4629150" y="2012915"/>
            <a:ext cx="9525" cy="11113"/>
          </a:xfrm>
          <a:custGeom>
            <a:avLst/>
            <a:gdLst>
              <a:gd name="T0" fmla="*/ 5 w 6"/>
              <a:gd name="T1" fmla="*/ 3 h 7"/>
              <a:gd name="T2" fmla="*/ 5 w 6"/>
              <a:gd name="T3" fmla="*/ 4 h 7"/>
              <a:gd name="T4" fmla="*/ 6 w 6"/>
              <a:gd name="T5" fmla="*/ 5 h 7"/>
              <a:gd name="T6" fmla="*/ 6 w 6"/>
              <a:gd name="T7" fmla="*/ 7 h 7"/>
              <a:gd name="T8" fmla="*/ 5 w 6"/>
              <a:gd name="T9" fmla="*/ 5 h 7"/>
              <a:gd name="T10" fmla="*/ 4 w 6"/>
              <a:gd name="T11" fmla="*/ 5 h 7"/>
              <a:gd name="T12" fmla="*/ 3 w 6"/>
              <a:gd name="T13" fmla="*/ 7 h 7"/>
              <a:gd name="T14" fmla="*/ 1 w 6"/>
              <a:gd name="T15" fmla="*/ 7 h 7"/>
              <a:gd name="T16" fmla="*/ 0 w 6"/>
              <a:gd name="T17" fmla="*/ 5 h 7"/>
              <a:gd name="T18" fmla="*/ 0 w 6"/>
              <a:gd name="T19" fmla="*/ 4 h 7"/>
              <a:gd name="T20" fmla="*/ 0 w 6"/>
              <a:gd name="T21" fmla="*/ 3 h 7"/>
              <a:gd name="T22" fmla="*/ 0 w 6"/>
              <a:gd name="T23" fmla="*/ 2 h 7"/>
              <a:gd name="T24" fmla="*/ 0 w 6"/>
              <a:gd name="T25" fmla="*/ 2 h 7"/>
              <a:gd name="T26" fmla="*/ 3 w 6"/>
              <a:gd name="T27" fmla="*/ 3 h 7"/>
              <a:gd name="T28" fmla="*/ 3 w 6"/>
              <a:gd name="T29" fmla="*/ 2 h 7"/>
              <a:gd name="T30" fmla="*/ 2 w 6"/>
              <a:gd name="T31" fmla="*/ 1 h 7"/>
              <a:gd name="T32" fmla="*/ 1 w 6"/>
              <a:gd name="T33" fmla="*/ 0 h 7"/>
              <a:gd name="T34" fmla="*/ 1 w 6"/>
              <a:gd name="T35" fmla="*/ 0 h 7"/>
              <a:gd name="T36" fmla="*/ 2 w 6"/>
              <a:gd name="T37" fmla="*/ 0 h 7"/>
              <a:gd name="T38" fmla="*/ 3 w 6"/>
              <a:gd name="T39" fmla="*/ 1 h 7"/>
              <a:gd name="T40" fmla="*/ 4 w 6"/>
              <a:gd name="T41" fmla="*/ 1 h 7"/>
              <a:gd name="T42" fmla="*/ 6 w 6"/>
              <a:gd name="T43" fmla="*/ 1 h 7"/>
              <a:gd name="T44" fmla="*/ 5 w 6"/>
              <a:gd name="T45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" h="7">
                <a:moveTo>
                  <a:pt x="5" y="3"/>
                </a:moveTo>
                <a:lnTo>
                  <a:pt x="5" y="4"/>
                </a:lnTo>
                <a:lnTo>
                  <a:pt x="6" y="5"/>
                </a:lnTo>
                <a:lnTo>
                  <a:pt x="6" y="7"/>
                </a:lnTo>
                <a:lnTo>
                  <a:pt x="5" y="5"/>
                </a:lnTo>
                <a:lnTo>
                  <a:pt x="4" y="5"/>
                </a:lnTo>
                <a:lnTo>
                  <a:pt x="3" y="7"/>
                </a:lnTo>
                <a:lnTo>
                  <a:pt x="1" y="7"/>
                </a:lnTo>
                <a:lnTo>
                  <a:pt x="0" y="5"/>
                </a:lnTo>
                <a:lnTo>
                  <a:pt x="0" y="4"/>
                </a:lnTo>
                <a:lnTo>
                  <a:pt x="0" y="3"/>
                </a:lnTo>
                <a:lnTo>
                  <a:pt x="0" y="2"/>
                </a:lnTo>
                <a:lnTo>
                  <a:pt x="0" y="2"/>
                </a:lnTo>
                <a:lnTo>
                  <a:pt x="3" y="3"/>
                </a:lnTo>
                <a:lnTo>
                  <a:pt x="3" y="2"/>
                </a:lnTo>
                <a:lnTo>
                  <a:pt x="2" y="1"/>
                </a:lnTo>
                <a:lnTo>
                  <a:pt x="1" y="0"/>
                </a:lnTo>
                <a:lnTo>
                  <a:pt x="1" y="0"/>
                </a:lnTo>
                <a:lnTo>
                  <a:pt x="2" y="0"/>
                </a:lnTo>
                <a:lnTo>
                  <a:pt x="3" y="1"/>
                </a:lnTo>
                <a:lnTo>
                  <a:pt x="4" y="1"/>
                </a:lnTo>
                <a:lnTo>
                  <a:pt x="6" y="1"/>
                </a:lnTo>
                <a:lnTo>
                  <a:pt x="5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17" name="Freeform 1418"/>
          <p:cNvSpPr>
            <a:spLocks/>
          </p:cNvSpPr>
          <p:nvPr/>
        </p:nvSpPr>
        <p:spPr bwMode="auto">
          <a:xfrm>
            <a:off x="4629150" y="2012915"/>
            <a:ext cx="9525" cy="11113"/>
          </a:xfrm>
          <a:custGeom>
            <a:avLst/>
            <a:gdLst>
              <a:gd name="T0" fmla="*/ 5 w 6"/>
              <a:gd name="T1" fmla="*/ 3 h 7"/>
              <a:gd name="T2" fmla="*/ 5 w 6"/>
              <a:gd name="T3" fmla="*/ 4 h 7"/>
              <a:gd name="T4" fmla="*/ 6 w 6"/>
              <a:gd name="T5" fmla="*/ 5 h 7"/>
              <a:gd name="T6" fmla="*/ 6 w 6"/>
              <a:gd name="T7" fmla="*/ 7 h 7"/>
              <a:gd name="T8" fmla="*/ 5 w 6"/>
              <a:gd name="T9" fmla="*/ 5 h 7"/>
              <a:gd name="T10" fmla="*/ 4 w 6"/>
              <a:gd name="T11" fmla="*/ 5 h 7"/>
              <a:gd name="T12" fmla="*/ 3 w 6"/>
              <a:gd name="T13" fmla="*/ 7 h 7"/>
              <a:gd name="T14" fmla="*/ 1 w 6"/>
              <a:gd name="T15" fmla="*/ 7 h 7"/>
              <a:gd name="T16" fmla="*/ 0 w 6"/>
              <a:gd name="T17" fmla="*/ 5 h 7"/>
              <a:gd name="T18" fmla="*/ 0 w 6"/>
              <a:gd name="T19" fmla="*/ 4 h 7"/>
              <a:gd name="T20" fmla="*/ 0 w 6"/>
              <a:gd name="T21" fmla="*/ 3 h 7"/>
              <a:gd name="T22" fmla="*/ 0 w 6"/>
              <a:gd name="T23" fmla="*/ 2 h 7"/>
              <a:gd name="T24" fmla="*/ 0 w 6"/>
              <a:gd name="T25" fmla="*/ 2 h 7"/>
              <a:gd name="T26" fmla="*/ 3 w 6"/>
              <a:gd name="T27" fmla="*/ 3 h 7"/>
              <a:gd name="T28" fmla="*/ 3 w 6"/>
              <a:gd name="T29" fmla="*/ 2 h 7"/>
              <a:gd name="T30" fmla="*/ 2 w 6"/>
              <a:gd name="T31" fmla="*/ 1 h 7"/>
              <a:gd name="T32" fmla="*/ 1 w 6"/>
              <a:gd name="T33" fmla="*/ 0 h 7"/>
              <a:gd name="T34" fmla="*/ 1 w 6"/>
              <a:gd name="T35" fmla="*/ 0 h 7"/>
              <a:gd name="T36" fmla="*/ 2 w 6"/>
              <a:gd name="T37" fmla="*/ 0 h 7"/>
              <a:gd name="T38" fmla="*/ 3 w 6"/>
              <a:gd name="T39" fmla="*/ 1 h 7"/>
              <a:gd name="T40" fmla="*/ 4 w 6"/>
              <a:gd name="T41" fmla="*/ 1 h 7"/>
              <a:gd name="T42" fmla="*/ 6 w 6"/>
              <a:gd name="T43" fmla="*/ 1 h 7"/>
              <a:gd name="T44" fmla="*/ 5 w 6"/>
              <a:gd name="T45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" h="7">
                <a:moveTo>
                  <a:pt x="5" y="3"/>
                </a:moveTo>
                <a:lnTo>
                  <a:pt x="5" y="4"/>
                </a:lnTo>
                <a:lnTo>
                  <a:pt x="6" y="5"/>
                </a:lnTo>
                <a:lnTo>
                  <a:pt x="6" y="7"/>
                </a:lnTo>
                <a:lnTo>
                  <a:pt x="5" y="5"/>
                </a:lnTo>
                <a:lnTo>
                  <a:pt x="4" y="5"/>
                </a:lnTo>
                <a:lnTo>
                  <a:pt x="3" y="7"/>
                </a:lnTo>
                <a:lnTo>
                  <a:pt x="1" y="7"/>
                </a:lnTo>
                <a:lnTo>
                  <a:pt x="0" y="5"/>
                </a:lnTo>
                <a:lnTo>
                  <a:pt x="0" y="4"/>
                </a:lnTo>
                <a:lnTo>
                  <a:pt x="0" y="3"/>
                </a:lnTo>
                <a:lnTo>
                  <a:pt x="0" y="2"/>
                </a:lnTo>
                <a:lnTo>
                  <a:pt x="0" y="2"/>
                </a:lnTo>
                <a:lnTo>
                  <a:pt x="3" y="3"/>
                </a:lnTo>
                <a:lnTo>
                  <a:pt x="3" y="2"/>
                </a:lnTo>
                <a:lnTo>
                  <a:pt x="2" y="1"/>
                </a:lnTo>
                <a:lnTo>
                  <a:pt x="1" y="0"/>
                </a:lnTo>
                <a:lnTo>
                  <a:pt x="1" y="0"/>
                </a:lnTo>
                <a:lnTo>
                  <a:pt x="2" y="0"/>
                </a:lnTo>
                <a:lnTo>
                  <a:pt x="3" y="1"/>
                </a:lnTo>
                <a:lnTo>
                  <a:pt x="4" y="1"/>
                </a:lnTo>
                <a:lnTo>
                  <a:pt x="6" y="1"/>
                </a:lnTo>
                <a:lnTo>
                  <a:pt x="5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18" name="Freeform 1419"/>
          <p:cNvSpPr>
            <a:spLocks/>
          </p:cNvSpPr>
          <p:nvPr/>
        </p:nvSpPr>
        <p:spPr bwMode="auto">
          <a:xfrm>
            <a:off x="2768600" y="3074953"/>
            <a:ext cx="3175" cy="3175"/>
          </a:xfrm>
          <a:custGeom>
            <a:avLst/>
            <a:gdLst>
              <a:gd name="T0" fmla="*/ 2 w 2"/>
              <a:gd name="T1" fmla="*/ 0 h 2"/>
              <a:gd name="T2" fmla="*/ 0 w 2"/>
              <a:gd name="T3" fmla="*/ 0 h 2"/>
              <a:gd name="T4" fmla="*/ 1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1 h 2"/>
              <a:gd name="T12" fmla="*/ 2 w 2"/>
              <a:gd name="T13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1" y="2"/>
                </a:lnTo>
                <a:lnTo>
                  <a:pt x="2" y="2"/>
                </a:lnTo>
                <a:lnTo>
                  <a:pt x="2" y="2"/>
                </a:lnTo>
                <a:lnTo>
                  <a:pt x="2" y="1"/>
                </a:lnTo>
                <a:lnTo>
                  <a:pt x="2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19" name="Freeform 1420"/>
          <p:cNvSpPr>
            <a:spLocks/>
          </p:cNvSpPr>
          <p:nvPr/>
        </p:nvSpPr>
        <p:spPr bwMode="auto">
          <a:xfrm>
            <a:off x="2768600" y="3074953"/>
            <a:ext cx="3175" cy="3175"/>
          </a:xfrm>
          <a:custGeom>
            <a:avLst/>
            <a:gdLst>
              <a:gd name="T0" fmla="*/ 2 w 2"/>
              <a:gd name="T1" fmla="*/ 0 h 2"/>
              <a:gd name="T2" fmla="*/ 0 w 2"/>
              <a:gd name="T3" fmla="*/ 0 h 2"/>
              <a:gd name="T4" fmla="*/ 1 w 2"/>
              <a:gd name="T5" fmla="*/ 2 h 2"/>
              <a:gd name="T6" fmla="*/ 2 w 2"/>
              <a:gd name="T7" fmla="*/ 2 h 2"/>
              <a:gd name="T8" fmla="*/ 2 w 2"/>
              <a:gd name="T9" fmla="*/ 2 h 2"/>
              <a:gd name="T10" fmla="*/ 2 w 2"/>
              <a:gd name="T11" fmla="*/ 1 h 2"/>
              <a:gd name="T12" fmla="*/ 2 w 2"/>
              <a:gd name="T13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0"/>
                </a:lnTo>
                <a:lnTo>
                  <a:pt x="1" y="2"/>
                </a:lnTo>
                <a:lnTo>
                  <a:pt x="2" y="2"/>
                </a:lnTo>
                <a:lnTo>
                  <a:pt x="2" y="2"/>
                </a:lnTo>
                <a:lnTo>
                  <a:pt x="2" y="1"/>
                </a:lnTo>
                <a:lnTo>
                  <a:pt x="2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20" name="Freeform 1421"/>
          <p:cNvSpPr>
            <a:spLocks/>
          </p:cNvSpPr>
          <p:nvPr/>
        </p:nvSpPr>
        <p:spPr bwMode="auto">
          <a:xfrm>
            <a:off x="2808288" y="3173378"/>
            <a:ext cx="4762" cy="9525"/>
          </a:xfrm>
          <a:custGeom>
            <a:avLst/>
            <a:gdLst>
              <a:gd name="T0" fmla="*/ 2 w 3"/>
              <a:gd name="T1" fmla="*/ 0 h 6"/>
              <a:gd name="T2" fmla="*/ 0 w 3"/>
              <a:gd name="T3" fmla="*/ 6 h 6"/>
              <a:gd name="T4" fmla="*/ 2 w 3"/>
              <a:gd name="T5" fmla="*/ 6 h 6"/>
              <a:gd name="T6" fmla="*/ 3 w 3"/>
              <a:gd name="T7" fmla="*/ 5 h 6"/>
              <a:gd name="T8" fmla="*/ 3 w 3"/>
              <a:gd name="T9" fmla="*/ 4 h 6"/>
              <a:gd name="T10" fmla="*/ 3 w 3"/>
              <a:gd name="T11" fmla="*/ 1 h 6"/>
              <a:gd name="T12" fmla="*/ 2 w 3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" h="6">
                <a:moveTo>
                  <a:pt x="2" y="0"/>
                </a:moveTo>
                <a:lnTo>
                  <a:pt x="0" y="6"/>
                </a:lnTo>
                <a:lnTo>
                  <a:pt x="2" y="6"/>
                </a:lnTo>
                <a:lnTo>
                  <a:pt x="3" y="5"/>
                </a:lnTo>
                <a:lnTo>
                  <a:pt x="3" y="4"/>
                </a:lnTo>
                <a:lnTo>
                  <a:pt x="3" y="1"/>
                </a:lnTo>
                <a:lnTo>
                  <a:pt x="2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21" name="Freeform 1422"/>
          <p:cNvSpPr>
            <a:spLocks/>
          </p:cNvSpPr>
          <p:nvPr/>
        </p:nvSpPr>
        <p:spPr bwMode="auto">
          <a:xfrm>
            <a:off x="2808288" y="3173378"/>
            <a:ext cx="4762" cy="9525"/>
          </a:xfrm>
          <a:custGeom>
            <a:avLst/>
            <a:gdLst>
              <a:gd name="T0" fmla="*/ 2 w 3"/>
              <a:gd name="T1" fmla="*/ 0 h 6"/>
              <a:gd name="T2" fmla="*/ 0 w 3"/>
              <a:gd name="T3" fmla="*/ 6 h 6"/>
              <a:gd name="T4" fmla="*/ 2 w 3"/>
              <a:gd name="T5" fmla="*/ 6 h 6"/>
              <a:gd name="T6" fmla="*/ 3 w 3"/>
              <a:gd name="T7" fmla="*/ 5 h 6"/>
              <a:gd name="T8" fmla="*/ 3 w 3"/>
              <a:gd name="T9" fmla="*/ 4 h 6"/>
              <a:gd name="T10" fmla="*/ 3 w 3"/>
              <a:gd name="T11" fmla="*/ 1 h 6"/>
              <a:gd name="T12" fmla="*/ 2 w 3"/>
              <a:gd name="T1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" h="6">
                <a:moveTo>
                  <a:pt x="2" y="0"/>
                </a:moveTo>
                <a:lnTo>
                  <a:pt x="0" y="6"/>
                </a:lnTo>
                <a:lnTo>
                  <a:pt x="2" y="6"/>
                </a:lnTo>
                <a:lnTo>
                  <a:pt x="3" y="5"/>
                </a:lnTo>
                <a:lnTo>
                  <a:pt x="3" y="4"/>
                </a:lnTo>
                <a:lnTo>
                  <a:pt x="3" y="1"/>
                </a:lnTo>
                <a:lnTo>
                  <a:pt x="2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22" name="Freeform 1423"/>
          <p:cNvSpPr>
            <a:spLocks/>
          </p:cNvSpPr>
          <p:nvPr/>
        </p:nvSpPr>
        <p:spPr bwMode="auto">
          <a:xfrm>
            <a:off x="4660900" y="3425790"/>
            <a:ext cx="485775" cy="534988"/>
          </a:xfrm>
          <a:custGeom>
            <a:avLst/>
            <a:gdLst>
              <a:gd name="T0" fmla="*/ 279 w 306"/>
              <a:gd name="T1" fmla="*/ 223 h 337"/>
              <a:gd name="T2" fmla="*/ 274 w 306"/>
              <a:gd name="T3" fmla="*/ 203 h 337"/>
              <a:gd name="T4" fmla="*/ 273 w 306"/>
              <a:gd name="T5" fmla="*/ 175 h 337"/>
              <a:gd name="T6" fmla="*/ 273 w 306"/>
              <a:gd name="T7" fmla="*/ 162 h 337"/>
              <a:gd name="T8" fmla="*/ 271 w 306"/>
              <a:gd name="T9" fmla="*/ 144 h 337"/>
              <a:gd name="T10" fmla="*/ 274 w 306"/>
              <a:gd name="T11" fmla="*/ 131 h 337"/>
              <a:gd name="T12" fmla="*/ 280 w 306"/>
              <a:gd name="T13" fmla="*/ 112 h 337"/>
              <a:gd name="T14" fmla="*/ 287 w 306"/>
              <a:gd name="T15" fmla="*/ 82 h 337"/>
              <a:gd name="T16" fmla="*/ 297 w 306"/>
              <a:gd name="T17" fmla="*/ 68 h 337"/>
              <a:gd name="T18" fmla="*/ 306 w 306"/>
              <a:gd name="T19" fmla="*/ 55 h 337"/>
              <a:gd name="T20" fmla="*/ 298 w 306"/>
              <a:gd name="T21" fmla="*/ 48 h 337"/>
              <a:gd name="T22" fmla="*/ 298 w 306"/>
              <a:gd name="T23" fmla="*/ 30 h 337"/>
              <a:gd name="T24" fmla="*/ 279 w 306"/>
              <a:gd name="T25" fmla="*/ 11 h 337"/>
              <a:gd name="T26" fmla="*/ 260 w 306"/>
              <a:gd name="T27" fmla="*/ 18 h 337"/>
              <a:gd name="T28" fmla="*/ 245 w 306"/>
              <a:gd name="T29" fmla="*/ 1 h 337"/>
              <a:gd name="T30" fmla="*/ 225 w 306"/>
              <a:gd name="T31" fmla="*/ 0 h 337"/>
              <a:gd name="T32" fmla="*/ 204 w 306"/>
              <a:gd name="T33" fmla="*/ 6 h 337"/>
              <a:gd name="T34" fmla="*/ 197 w 306"/>
              <a:gd name="T35" fmla="*/ 3 h 337"/>
              <a:gd name="T36" fmla="*/ 176 w 306"/>
              <a:gd name="T37" fmla="*/ 9 h 337"/>
              <a:gd name="T38" fmla="*/ 148 w 306"/>
              <a:gd name="T39" fmla="*/ 18 h 337"/>
              <a:gd name="T40" fmla="*/ 127 w 306"/>
              <a:gd name="T41" fmla="*/ 8 h 337"/>
              <a:gd name="T42" fmla="*/ 112 w 306"/>
              <a:gd name="T43" fmla="*/ 6 h 337"/>
              <a:gd name="T44" fmla="*/ 105 w 306"/>
              <a:gd name="T45" fmla="*/ 25 h 337"/>
              <a:gd name="T46" fmla="*/ 95 w 306"/>
              <a:gd name="T47" fmla="*/ 52 h 337"/>
              <a:gd name="T48" fmla="*/ 87 w 306"/>
              <a:gd name="T49" fmla="*/ 109 h 337"/>
              <a:gd name="T50" fmla="*/ 63 w 306"/>
              <a:gd name="T51" fmla="*/ 141 h 337"/>
              <a:gd name="T52" fmla="*/ 53 w 306"/>
              <a:gd name="T53" fmla="*/ 172 h 337"/>
              <a:gd name="T54" fmla="*/ 33 w 306"/>
              <a:gd name="T55" fmla="*/ 176 h 337"/>
              <a:gd name="T56" fmla="*/ 20 w 306"/>
              <a:gd name="T57" fmla="*/ 183 h 337"/>
              <a:gd name="T58" fmla="*/ 5 w 306"/>
              <a:gd name="T59" fmla="*/ 186 h 337"/>
              <a:gd name="T60" fmla="*/ 1 w 306"/>
              <a:gd name="T61" fmla="*/ 203 h 337"/>
              <a:gd name="T62" fmla="*/ 3 w 306"/>
              <a:gd name="T63" fmla="*/ 208 h 337"/>
              <a:gd name="T64" fmla="*/ 21 w 306"/>
              <a:gd name="T65" fmla="*/ 202 h 337"/>
              <a:gd name="T66" fmla="*/ 45 w 306"/>
              <a:gd name="T67" fmla="*/ 202 h 337"/>
              <a:gd name="T68" fmla="*/ 65 w 306"/>
              <a:gd name="T69" fmla="*/ 204 h 337"/>
              <a:gd name="T70" fmla="*/ 71 w 306"/>
              <a:gd name="T71" fmla="*/ 218 h 337"/>
              <a:gd name="T72" fmla="*/ 84 w 306"/>
              <a:gd name="T73" fmla="*/ 242 h 337"/>
              <a:gd name="T74" fmla="*/ 106 w 306"/>
              <a:gd name="T75" fmla="*/ 241 h 337"/>
              <a:gd name="T76" fmla="*/ 115 w 306"/>
              <a:gd name="T77" fmla="*/ 231 h 337"/>
              <a:gd name="T78" fmla="*/ 129 w 306"/>
              <a:gd name="T79" fmla="*/ 221 h 337"/>
              <a:gd name="T80" fmla="*/ 152 w 306"/>
              <a:gd name="T81" fmla="*/ 232 h 337"/>
              <a:gd name="T82" fmla="*/ 153 w 306"/>
              <a:gd name="T83" fmla="*/ 260 h 337"/>
              <a:gd name="T84" fmla="*/ 157 w 306"/>
              <a:gd name="T85" fmla="*/ 282 h 337"/>
              <a:gd name="T86" fmla="*/ 154 w 306"/>
              <a:gd name="T87" fmla="*/ 296 h 337"/>
              <a:gd name="T88" fmla="*/ 159 w 306"/>
              <a:gd name="T89" fmla="*/ 301 h 337"/>
              <a:gd name="T90" fmla="*/ 177 w 306"/>
              <a:gd name="T91" fmla="*/ 295 h 337"/>
              <a:gd name="T92" fmla="*/ 187 w 306"/>
              <a:gd name="T93" fmla="*/ 293 h 337"/>
              <a:gd name="T94" fmla="*/ 193 w 306"/>
              <a:gd name="T95" fmla="*/ 300 h 337"/>
              <a:gd name="T96" fmla="*/ 202 w 306"/>
              <a:gd name="T97" fmla="*/ 299 h 337"/>
              <a:gd name="T98" fmla="*/ 213 w 306"/>
              <a:gd name="T99" fmla="*/ 306 h 337"/>
              <a:gd name="T100" fmla="*/ 232 w 306"/>
              <a:gd name="T101" fmla="*/ 310 h 337"/>
              <a:gd name="T102" fmla="*/ 248 w 306"/>
              <a:gd name="T103" fmla="*/ 319 h 337"/>
              <a:gd name="T104" fmla="*/ 259 w 306"/>
              <a:gd name="T105" fmla="*/ 331 h 337"/>
              <a:gd name="T106" fmla="*/ 273 w 306"/>
              <a:gd name="T107" fmla="*/ 334 h 337"/>
              <a:gd name="T108" fmla="*/ 277 w 306"/>
              <a:gd name="T109" fmla="*/ 337 h 337"/>
              <a:gd name="T110" fmla="*/ 277 w 306"/>
              <a:gd name="T111" fmla="*/ 317 h 337"/>
              <a:gd name="T112" fmla="*/ 264 w 306"/>
              <a:gd name="T113" fmla="*/ 316 h 337"/>
              <a:gd name="T114" fmla="*/ 259 w 306"/>
              <a:gd name="T115" fmla="*/ 304 h 337"/>
              <a:gd name="T116" fmla="*/ 265 w 306"/>
              <a:gd name="T117" fmla="*/ 272 h 337"/>
              <a:gd name="T118" fmla="*/ 266 w 306"/>
              <a:gd name="T119" fmla="*/ 256 h 337"/>
              <a:gd name="T120" fmla="*/ 274 w 306"/>
              <a:gd name="T121" fmla="*/ 249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06" h="337">
                <a:moveTo>
                  <a:pt x="293" y="244"/>
                </a:moveTo>
                <a:lnTo>
                  <a:pt x="290" y="233"/>
                </a:lnTo>
                <a:lnTo>
                  <a:pt x="287" y="229"/>
                </a:lnTo>
                <a:lnTo>
                  <a:pt x="284" y="227"/>
                </a:lnTo>
                <a:lnTo>
                  <a:pt x="279" y="223"/>
                </a:lnTo>
                <a:lnTo>
                  <a:pt x="278" y="220"/>
                </a:lnTo>
                <a:lnTo>
                  <a:pt x="276" y="215"/>
                </a:lnTo>
                <a:lnTo>
                  <a:pt x="275" y="212"/>
                </a:lnTo>
                <a:lnTo>
                  <a:pt x="274" y="208"/>
                </a:lnTo>
                <a:lnTo>
                  <a:pt x="274" y="203"/>
                </a:lnTo>
                <a:lnTo>
                  <a:pt x="275" y="199"/>
                </a:lnTo>
                <a:lnTo>
                  <a:pt x="273" y="194"/>
                </a:lnTo>
                <a:lnTo>
                  <a:pt x="270" y="189"/>
                </a:lnTo>
                <a:lnTo>
                  <a:pt x="271" y="183"/>
                </a:lnTo>
                <a:lnTo>
                  <a:pt x="273" y="175"/>
                </a:lnTo>
                <a:lnTo>
                  <a:pt x="273" y="172"/>
                </a:lnTo>
                <a:lnTo>
                  <a:pt x="271" y="173"/>
                </a:lnTo>
                <a:lnTo>
                  <a:pt x="270" y="171"/>
                </a:lnTo>
                <a:lnTo>
                  <a:pt x="271" y="168"/>
                </a:lnTo>
                <a:lnTo>
                  <a:pt x="273" y="162"/>
                </a:lnTo>
                <a:lnTo>
                  <a:pt x="274" y="159"/>
                </a:lnTo>
                <a:lnTo>
                  <a:pt x="274" y="156"/>
                </a:lnTo>
                <a:lnTo>
                  <a:pt x="274" y="149"/>
                </a:lnTo>
                <a:lnTo>
                  <a:pt x="273" y="146"/>
                </a:lnTo>
                <a:lnTo>
                  <a:pt x="271" y="144"/>
                </a:lnTo>
                <a:lnTo>
                  <a:pt x="269" y="142"/>
                </a:lnTo>
                <a:lnTo>
                  <a:pt x="269" y="141"/>
                </a:lnTo>
                <a:lnTo>
                  <a:pt x="269" y="139"/>
                </a:lnTo>
                <a:lnTo>
                  <a:pt x="273" y="134"/>
                </a:lnTo>
                <a:lnTo>
                  <a:pt x="274" y="131"/>
                </a:lnTo>
                <a:lnTo>
                  <a:pt x="276" y="125"/>
                </a:lnTo>
                <a:lnTo>
                  <a:pt x="278" y="122"/>
                </a:lnTo>
                <a:lnTo>
                  <a:pt x="280" y="120"/>
                </a:lnTo>
                <a:lnTo>
                  <a:pt x="280" y="119"/>
                </a:lnTo>
                <a:lnTo>
                  <a:pt x="280" y="112"/>
                </a:lnTo>
                <a:lnTo>
                  <a:pt x="281" y="103"/>
                </a:lnTo>
                <a:lnTo>
                  <a:pt x="281" y="98"/>
                </a:lnTo>
                <a:lnTo>
                  <a:pt x="284" y="88"/>
                </a:lnTo>
                <a:lnTo>
                  <a:pt x="286" y="84"/>
                </a:lnTo>
                <a:lnTo>
                  <a:pt x="287" y="82"/>
                </a:lnTo>
                <a:lnTo>
                  <a:pt x="290" y="78"/>
                </a:lnTo>
                <a:lnTo>
                  <a:pt x="294" y="73"/>
                </a:lnTo>
                <a:lnTo>
                  <a:pt x="295" y="71"/>
                </a:lnTo>
                <a:lnTo>
                  <a:pt x="296" y="70"/>
                </a:lnTo>
                <a:lnTo>
                  <a:pt x="297" y="68"/>
                </a:lnTo>
                <a:lnTo>
                  <a:pt x="300" y="65"/>
                </a:lnTo>
                <a:lnTo>
                  <a:pt x="303" y="63"/>
                </a:lnTo>
                <a:lnTo>
                  <a:pt x="305" y="61"/>
                </a:lnTo>
                <a:lnTo>
                  <a:pt x="306" y="58"/>
                </a:lnTo>
                <a:lnTo>
                  <a:pt x="306" y="55"/>
                </a:lnTo>
                <a:lnTo>
                  <a:pt x="305" y="54"/>
                </a:lnTo>
                <a:lnTo>
                  <a:pt x="303" y="53"/>
                </a:lnTo>
                <a:lnTo>
                  <a:pt x="300" y="52"/>
                </a:lnTo>
                <a:lnTo>
                  <a:pt x="299" y="50"/>
                </a:lnTo>
                <a:lnTo>
                  <a:pt x="298" y="48"/>
                </a:lnTo>
                <a:lnTo>
                  <a:pt x="298" y="40"/>
                </a:lnTo>
                <a:lnTo>
                  <a:pt x="299" y="34"/>
                </a:lnTo>
                <a:lnTo>
                  <a:pt x="300" y="31"/>
                </a:lnTo>
                <a:lnTo>
                  <a:pt x="300" y="30"/>
                </a:lnTo>
                <a:lnTo>
                  <a:pt x="298" y="30"/>
                </a:lnTo>
                <a:lnTo>
                  <a:pt x="296" y="28"/>
                </a:lnTo>
                <a:lnTo>
                  <a:pt x="294" y="25"/>
                </a:lnTo>
                <a:lnTo>
                  <a:pt x="289" y="22"/>
                </a:lnTo>
                <a:lnTo>
                  <a:pt x="283" y="13"/>
                </a:lnTo>
                <a:lnTo>
                  <a:pt x="279" y="11"/>
                </a:lnTo>
                <a:lnTo>
                  <a:pt x="276" y="15"/>
                </a:lnTo>
                <a:lnTo>
                  <a:pt x="273" y="15"/>
                </a:lnTo>
                <a:lnTo>
                  <a:pt x="265" y="13"/>
                </a:lnTo>
                <a:lnTo>
                  <a:pt x="263" y="17"/>
                </a:lnTo>
                <a:lnTo>
                  <a:pt x="260" y="18"/>
                </a:lnTo>
                <a:lnTo>
                  <a:pt x="254" y="14"/>
                </a:lnTo>
                <a:lnTo>
                  <a:pt x="253" y="11"/>
                </a:lnTo>
                <a:lnTo>
                  <a:pt x="250" y="8"/>
                </a:lnTo>
                <a:lnTo>
                  <a:pt x="247" y="6"/>
                </a:lnTo>
                <a:lnTo>
                  <a:pt x="245" y="1"/>
                </a:lnTo>
                <a:lnTo>
                  <a:pt x="237" y="1"/>
                </a:lnTo>
                <a:lnTo>
                  <a:pt x="235" y="6"/>
                </a:lnTo>
                <a:lnTo>
                  <a:pt x="232" y="2"/>
                </a:lnTo>
                <a:lnTo>
                  <a:pt x="229" y="6"/>
                </a:lnTo>
                <a:lnTo>
                  <a:pt x="225" y="0"/>
                </a:lnTo>
                <a:lnTo>
                  <a:pt x="220" y="1"/>
                </a:lnTo>
                <a:lnTo>
                  <a:pt x="214" y="2"/>
                </a:lnTo>
                <a:lnTo>
                  <a:pt x="208" y="1"/>
                </a:lnTo>
                <a:lnTo>
                  <a:pt x="207" y="6"/>
                </a:lnTo>
                <a:lnTo>
                  <a:pt x="204" y="6"/>
                </a:lnTo>
                <a:lnTo>
                  <a:pt x="202" y="7"/>
                </a:lnTo>
                <a:lnTo>
                  <a:pt x="199" y="6"/>
                </a:lnTo>
                <a:lnTo>
                  <a:pt x="199" y="6"/>
                </a:lnTo>
                <a:lnTo>
                  <a:pt x="199" y="3"/>
                </a:lnTo>
                <a:lnTo>
                  <a:pt x="197" y="3"/>
                </a:lnTo>
                <a:lnTo>
                  <a:pt x="194" y="6"/>
                </a:lnTo>
                <a:lnTo>
                  <a:pt x="187" y="7"/>
                </a:lnTo>
                <a:lnTo>
                  <a:pt x="184" y="9"/>
                </a:lnTo>
                <a:lnTo>
                  <a:pt x="178" y="11"/>
                </a:lnTo>
                <a:lnTo>
                  <a:pt x="176" y="9"/>
                </a:lnTo>
                <a:lnTo>
                  <a:pt x="170" y="8"/>
                </a:lnTo>
                <a:lnTo>
                  <a:pt x="166" y="11"/>
                </a:lnTo>
                <a:lnTo>
                  <a:pt x="166" y="17"/>
                </a:lnTo>
                <a:lnTo>
                  <a:pt x="164" y="18"/>
                </a:lnTo>
                <a:lnTo>
                  <a:pt x="148" y="18"/>
                </a:lnTo>
                <a:lnTo>
                  <a:pt x="142" y="15"/>
                </a:lnTo>
                <a:lnTo>
                  <a:pt x="138" y="12"/>
                </a:lnTo>
                <a:lnTo>
                  <a:pt x="136" y="14"/>
                </a:lnTo>
                <a:lnTo>
                  <a:pt x="134" y="14"/>
                </a:lnTo>
                <a:lnTo>
                  <a:pt x="127" y="8"/>
                </a:lnTo>
                <a:lnTo>
                  <a:pt x="127" y="6"/>
                </a:lnTo>
                <a:lnTo>
                  <a:pt x="125" y="2"/>
                </a:lnTo>
                <a:lnTo>
                  <a:pt x="119" y="1"/>
                </a:lnTo>
                <a:lnTo>
                  <a:pt x="116" y="1"/>
                </a:lnTo>
                <a:lnTo>
                  <a:pt x="112" y="6"/>
                </a:lnTo>
                <a:lnTo>
                  <a:pt x="111" y="7"/>
                </a:lnTo>
                <a:lnTo>
                  <a:pt x="108" y="12"/>
                </a:lnTo>
                <a:lnTo>
                  <a:pt x="106" y="13"/>
                </a:lnTo>
                <a:lnTo>
                  <a:pt x="105" y="19"/>
                </a:lnTo>
                <a:lnTo>
                  <a:pt x="105" y="25"/>
                </a:lnTo>
                <a:lnTo>
                  <a:pt x="106" y="28"/>
                </a:lnTo>
                <a:lnTo>
                  <a:pt x="102" y="29"/>
                </a:lnTo>
                <a:lnTo>
                  <a:pt x="103" y="34"/>
                </a:lnTo>
                <a:lnTo>
                  <a:pt x="102" y="41"/>
                </a:lnTo>
                <a:lnTo>
                  <a:pt x="95" y="52"/>
                </a:lnTo>
                <a:lnTo>
                  <a:pt x="93" y="61"/>
                </a:lnTo>
                <a:lnTo>
                  <a:pt x="91" y="75"/>
                </a:lnTo>
                <a:lnTo>
                  <a:pt x="89" y="98"/>
                </a:lnTo>
                <a:lnTo>
                  <a:pt x="87" y="108"/>
                </a:lnTo>
                <a:lnTo>
                  <a:pt x="87" y="109"/>
                </a:lnTo>
                <a:lnTo>
                  <a:pt x="83" y="113"/>
                </a:lnTo>
                <a:lnTo>
                  <a:pt x="77" y="117"/>
                </a:lnTo>
                <a:lnTo>
                  <a:pt x="73" y="122"/>
                </a:lnTo>
                <a:lnTo>
                  <a:pt x="65" y="134"/>
                </a:lnTo>
                <a:lnTo>
                  <a:pt x="63" y="141"/>
                </a:lnTo>
                <a:lnTo>
                  <a:pt x="63" y="148"/>
                </a:lnTo>
                <a:lnTo>
                  <a:pt x="63" y="154"/>
                </a:lnTo>
                <a:lnTo>
                  <a:pt x="62" y="160"/>
                </a:lnTo>
                <a:lnTo>
                  <a:pt x="57" y="166"/>
                </a:lnTo>
                <a:lnTo>
                  <a:pt x="53" y="172"/>
                </a:lnTo>
                <a:lnTo>
                  <a:pt x="48" y="174"/>
                </a:lnTo>
                <a:lnTo>
                  <a:pt x="42" y="181"/>
                </a:lnTo>
                <a:lnTo>
                  <a:pt x="36" y="183"/>
                </a:lnTo>
                <a:lnTo>
                  <a:pt x="33" y="183"/>
                </a:lnTo>
                <a:lnTo>
                  <a:pt x="33" y="176"/>
                </a:lnTo>
                <a:lnTo>
                  <a:pt x="32" y="175"/>
                </a:lnTo>
                <a:lnTo>
                  <a:pt x="28" y="176"/>
                </a:lnTo>
                <a:lnTo>
                  <a:pt x="24" y="178"/>
                </a:lnTo>
                <a:lnTo>
                  <a:pt x="22" y="180"/>
                </a:lnTo>
                <a:lnTo>
                  <a:pt x="20" y="183"/>
                </a:lnTo>
                <a:lnTo>
                  <a:pt x="16" y="184"/>
                </a:lnTo>
                <a:lnTo>
                  <a:pt x="12" y="181"/>
                </a:lnTo>
                <a:lnTo>
                  <a:pt x="11" y="181"/>
                </a:lnTo>
                <a:lnTo>
                  <a:pt x="7" y="183"/>
                </a:lnTo>
                <a:lnTo>
                  <a:pt x="5" y="186"/>
                </a:lnTo>
                <a:lnTo>
                  <a:pt x="4" y="192"/>
                </a:lnTo>
                <a:lnTo>
                  <a:pt x="3" y="196"/>
                </a:lnTo>
                <a:lnTo>
                  <a:pt x="3" y="201"/>
                </a:lnTo>
                <a:lnTo>
                  <a:pt x="1" y="202"/>
                </a:lnTo>
                <a:lnTo>
                  <a:pt x="1" y="203"/>
                </a:lnTo>
                <a:lnTo>
                  <a:pt x="1" y="206"/>
                </a:lnTo>
                <a:lnTo>
                  <a:pt x="0" y="208"/>
                </a:lnTo>
                <a:lnTo>
                  <a:pt x="1" y="210"/>
                </a:lnTo>
                <a:lnTo>
                  <a:pt x="1" y="209"/>
                </a:lnTo>
                <a:lnTo>
                  <a:pt x="3" y="208"/>
                </a:lnTo>
                <a:lnTo>
                  <a:pt x="7" y="206"/>
                </a:lnTo>
                <a:lnTo>
                  <a:pt x="12" y="204"/>
                </a:lnTo>
                <a:lnTo>
                  <a:pt x="16" y="202"/>
                </a:lnTo>
                <a:lnTo>
                  <a:pt x="18" y="202"/>
                </a:lnTo>
                <a:lnTo>
                  <a:pt x="21" y="202"/>
                </a:lnTo>
                <a:lnTo>
                  <a:pt x="27" y="202"/>
                </a:lnTo>
                <a:lnTo>
                  <a:pt x="34" y="201"/>
                </a:lnTo>
                <a:lnTo>
                  <a:pt x="36" y="202"/>
                </a:lnTo>
                <a:lnTo>
                  <a:pt x="42" y="202"/>
                </a:lnTo>
                <a:lnTo>
                  <a:pt x="45" y="202"/>
                </a:lnTo>
                <a:lnTo>
                  <a:pt x="50" y="202"/>
                </a:lnTo>
                <a:lnTo>
                  <a:pt x="58" y="201"/>
                </a:lnTo>
                <a:lnTo>
                  <a:pt x="64" y="201"/>
                </a:lnTo>
                <a:lnTo>
                  <a:pt x="64" y="202"/>
                </a:lnTo>
                <a:lnTo>
                  <a:pt x="65" y="204"/>
                </a:lnTo>
                <a:lnTo>
                  <a:pt x="66" y="204"/>
                </a:lnTo>
                <a:lnTo>
                  <a:pt x="68" y="204"/>
                </a:lnTo>
                <a:lnTo>
                  <a:pt x="70" y="206"/>
                </a:lnTo>
                <a:lnTo>
                  <a:pt x="71" y="213"/>
                </a:lnTo>
                <a:lnTo>
                  <a:pt x="71" y="218"/>
                </a:lnTo>
                <a:lnTo>
                  <a:pt x="72" y="219"/>
                </a:lnTo>
                <a:lnTo>
                  <a:pt x="74" y="223"/>
                </a:lnTo>
                <a:lnTo>
                  <a:pt x="74" y="229"/>
                </a:lnTo>
                <a:lnTo>
                  <a:pt x="78" y="233"/>
                </a:lnTo>
                <a:lnTo>
                  <a:pt x="84" y="242"/>
                </a:lnTo>
                <a:lnTo>
                  <a:pt x="87" y="243"/>
                </a:lnTo>
                <a:lnTo>
                  <a:pt x="92" y="243"/>
                </a:lnTo>
                <a:lnTo>
                  <a:pt x="97" y="241"/>
                </a:lnTo>
                <a:lnTo>
                  <a:pt x="102" y="240"/>
                </a:lnTo>
                <a:lnTo>
                  <a:pt x="106" y="241"/>
                </a:lnTo>
                <a:lnTo>
                  <a:pt x="112" y="241"/>
                </a:lnTo>
                <a:lnTo>
                  <a:pt x="113" y="236"/>
                </a:lnTo>
                <a:lnTo>
                  <a:pt x="113" y="233"/>
                </a:lnTo>
                <a:lnTo>
                  <a:pt x="114" y="232"/>
                </a:lnTo>
                <a:lnTo>
                  <a:pt x="115" y="231"/>
                </a:lnTo>
                <a:lnTo>
                  <a:pt x="115" y="230"/>
                </a:lnTo>
                <a:lnTo>
                  <a:pt x="115" y="225"/>
                </a:lnTo>
                <a:lnTo>
                  <a:pt x="116" y="223"/>
                </a:lnTo>
                <a:lnTo>
                  <a:pt x="128" y="223"/>
                </a:lnTo>
                <a:lnTo>
                  <a:pt x="129" y="221"/>
                </a:lnTo>
                <a:lnTo>
                  <a:pt x="136" y="221"/>
                </a:lnTo>
                <a:lnTo>
                  <a:pt x="136" y="229"/>
                </a:lnTo>
                <a:lnTo>
                  <a:pt x="149" y="229"/>
                </a:lnTo>
                <a:lnTo>
                  <a:pt x="151" y="230"/>
                </a:lnTo>
                <a:lnTo>
                  <a:pt x="152" y="232"/>
                </a:lnTo>
                <a:lnTo>
                  <a:pt x="152" y="243"/>
                </a:lnTo>
                <a:lnTo>
                  <a:pt x="153" y="247"/>
                </a:lnTo>
                <a:lnTo>
                  <a:pt x="153" y="252"/>
                </a:lnTo>
                <a:lnTo>
                  <a:pt x="153" y="257"/>
                </a:lnTo>
                <a:lnTo>
                  <a:pt x="153" y="260"/>
                </a:lnTo>
                <a:lnTo>
                  <a:pt x="152" y="263"/>
                </a:lnTo>
                <a:lnTo>
                  <a:pt x="152" y="267"/>
                </a:lnTo>
                <a:lnTo>
                  <a:pt x="153" y="271"/>
                </a:lnTo>
                <a:lnTo>
                  <a:pt x="155" y="275"/>
                </a:lnTo>
                <a:lnTo>
                  <a:pt x="157" y="282"/>
                </a:lnTo>
                <a:lnTo>
                  <a:pt x="158" y="287"/>
                </a:lnTo>
                <a:lnTo>
                  <a:pt x="158" y="290"/>
                </a:lnTo>
                <a:lnTo>
                  <a:pt x="157" y="292"/>
                </a:lnTo>
                <a:lnTo>
                  <a:pt x="154" y="296"/>
                </a:lnTo>
                <a:lnTo>
                  <a:pt x="154" y="296"/>
                </a:lnTo>
                <a:lnTo>
                  <a:pt x="154" y="297"/>
                </a:lnTo>
                <a:lnTo>
                  <a:pt x="154" y="299"/>
                </a:lnTo>
                <a:lnTo>
                  <a:pt x="156" y="299"/>
                </a:lnTo>
                <a:lnTo>
                  <a:pt x="157" y="301"/>
                </a:lnTo>
                <a:lnTo>
                  <a:pt x="159" y="301"/>
                </a:lnTo>
                <a:lnTo>
                  <a:pt x="159" y="301"/>
                </a:lnTo>
                <a:lnTo>
                  <a:pt x="161" y="299"/>
                </a:lnTo>
                <a:lnTo>
                  <a:pt x="161" y="296"/>
                </a:lnTo>
                <a:lnTo>
                  <a:pt x="163" y="295"/>
                </a:lnTo>
                <a:lnTo>
                  <a:pt x="177" y="295"/>
                </a:lnTo>
                <a:lnTo>
                  <a:pt x="180" y="294"/>
                </a:lnTo>
                <a:lnTo>
                  <a:pt x="183" y="295"/>
                </a:lnTo>
                <a:lnTo>
                  <a:pt x="184" y="295"/>
                </a:lnTo>
                <a:lnTo>
                  <a:pt x="186" y="293"/>
                </a:lnTo>
                <a:lnTo>
                  <a:pt x="187" y="293"/>
                </a:lnTo>
                <a:lnTo>
                  <a:pt x="189" y="292"/>
                </a:lnTo>
                <a:lnTo>
                  <a:pt x="190" y="292"/>
                </a:lnTo>
                <a:lnTo>
                  <a:pt x="192" y="292"/>
                </a:lnTo>
                <a:lnTo>
                  <a:pt x="194" y="295"/>
                </a:lnTo>
                <a:lnTo>
                  <a:pt x="193" y="300"/>
                </a:lnTo>
                <a:lnTo>
                  <a:pt x="194" y="301"/>
                </a:lnTo>
                <a:lnTo>
                  <a:pt x="195" y="301"/>
                </a:lnTo>
                <a:lnTo>
                  <a:pt x="198" y="300"/>
                </a:lnTo>
                <a:lnTo>
                  <a:pt x="200" y="299"/>
                </a:lnTo>
                <a:lnTo>
                  <a:pt x="202" y="299"/>
                </a:lnTo>
                <a:lnTo>
                  <a:pt x="205" y="297"/>
                </a:lnTo>
                <a:lnTo>
                  <a:pt x="207" y="300"/>
                </a:lnTo>
                <a:lnTo>
                  <a:pt x="208" y="303"/>
                </a:lnTo>
                <a:lnTo>
                  <a:pt x="209" y="305"/>
                </a:lnTo>
                <a:lnTo>
                  <a:pt x="213" y="306"/>
                </a:lnTo>
                <a:lnTo>
                  <a:pt x="217" y="310"/>
                </a:lnTo>
                <a:lnTo>
                  <a:pt x="222" y="312"/>
                </a:lnTo>
                <a:lnTo>
                  <a:pt x="225" y="312"/>
                </a:lnTo>
                <a:lnTo>
                  <a:pt x="227" y="311"/>
                </a:lnTo>
                <a:lnTo>
                  <a:pt x="232" y="310"/>
                </a:lnTo>
                <a:lnTo>
                  <a:pt x="234" y="309"/>
                </a:lnTo>
                <a:lnTo>
                  <a:pt x="236" y="309"/>
                </a:lnTo>
                <a:lnTo>
                  <a:pt x="242" y="315"/>
                </a:lnTo>
                <a:lnTo>
                  <a:pt x="245" y="317"/>
                </a:lnTo>
                <a:lnTo>
                  <a:pt x="248" y="319"/>
                </a:lnTo>
                <a:lnTo>
                  <a:pt x="251" y="319"/>
                </a:lnTo>
                <a:lnTo>
                  <a:pt x="254" y="321"/>
                </a:lnTo>
                <a:lnTo>
                  <a:pt x="255" y="325"/>
                </a:lnTo>
                <a:lnTo>
                  <a:pt x="256" y="327"/>
                </a:lnTo>
                <a:lnTo>
                  <a:pt x="259" y="331"/>
                </a:lnTo>
                <a:lnTo>
                  <a:pt x="264" y="334"/>
                </a:lnTo>
                <a:lnTo>
                  <a:pt x="266" y="335"/>
                </a:lnTo>
                <a:lnTo>
                  <a:pt x="269" y="335"/>
                </a:lnTo>
                <a:lnTo>
                  <a:pt x="270" y="335"/>
                </a:lnTo>
                <a:lnTo>
                  <a:pt x="273" y="334"/>
                </a:lnTo>
                <a:lnTo>
                  <a:pt x="273" y="334"/>
                </a:lnTo>
                <a:lnTo>
                  <a:pt x="274" y="334"/>
                </a:lnTo>
                <a:lnTo>
                  <a:pt x="275" y="336"/>
                </a:lnTo>
                <a:lnTo>
                  <a:pt x="276" y="337"/>
                </a:lnTo>
                <a:lnTo>
                  <a:pt x="277" y="337"/>
                </a:lnTo>
                <a:lnTo>
                  <a:pt x="278" y="336"/>
                </a:lnTo>
                <a:lnTo>
                  <a:pt x="278" y="334"/>
                </a:lnTo>
                <a:lnTo>
                  <a:pt x="277" y="332"/>
                </a:lnTo>
                <a:lnTo>
                  <a:pt x="277" y="321"/>
                </a:lnTo>
                <a:lnTo>
                  <a:pt x="277" y="317"/>
                </a:lnTo>
                <a:lnTo>
                  <a:pt x="275" y="317"/>
                </a:lnTo>
                <a:lnTo>
                  <a:pt x="273" y="319"/>
                </a:lnTo>
                <a:lnTo>
                  <a:pt x="269" y="319"/>
                </a:lnTo>
                <a:lnTo>
                  <a:pt x="266" y="319"/>
                </a:lnTo>
                <a:lnTo>
                  <a:pt x="264" y="316"/>
                </a:lnTo>
                <a:lnTo>
                  <a:pt x="260" y="312"/>
                </a:lnTo>
                <a:lnTo>
                  <a:pt x="259" y="311"/>
                </a:lnTo>
                <a:lnTo>
                  <a:pt x="258" y="310"/>
                </a:lnTo>
                <a:lnTo>
                  <a:pt x="258" y="306"/>
                </a:lnTo>
                <a:lnTo>
                  <a:pt x="259" y="304"/>
                </a:lnTo>
                <a:lnTo>
                  <a:pt x="260" y="300"/>
                </a:lnTo>
                <a:lnTo>
                  <a:pt x="265" y="287"/>
                </a:lnTo>
                <a:lnTo>
                  <a:pt x="265" y="285"/>
                </a:lnTo>
                <a:lnTo>
                  <a:pt x="266" y="277"/>
                </a:lnTo>
                <a:lnTo>
                  <a:pt x="265" y="272"/>
                </a:lnTo>
                <a:lnTo>
                  <a:pt x="263" y="266"/>
                </a:lnTo>
                <a:lnTo>
                  <a:pt x="263" y="263"/>
                </a:lnTo>
                <a:lnTo>
                  <a:pt x="264" y="262"/>
                </a:lnTo>
                <a:lnTo>
                  <a:pt x="265" y="259"/>
                </a:lnTo>
                <a:lnTo>
                  <a:pt x="266" y="256"/>
                </a:lnTo>
                <a:lnTo>
                  <a:pt x="268" y="252"/>
                </a:lnTo>
                <a:lnTo>
                  <a:pt x="269" y="251"/>
                </a:lnTo>
                <a:lnTo>
                  <a:pt x="270" y="250"/>
                </a:lnTo>
                <a:lnTo>
                  <a:pt x="271" y="250"/>
                </a:lnTo>
                <a:lnTo>
                  <a:pt x="274" y="249"/>
                </a:lnTo>
                <a:lnTo>
                  <a:pt x="293" y="24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23" name="Freeform 1424"/>
          <p:cNvSpPr>
            <a:spLocks/>
          </p:cNvSpPr>
          <p:nvPr/>
        </p:nvSpPr>
        <p:spPr bwMode="auto">
          <a:xfrm>
            <a:off x="4660900" y="3425790"/>
            <a:ext cx="485775" cy="534988"/>
          </a:xfrm>
          <a:custGeom>
            <a:avLst/>
            <a:gdLst>
              <a:gd name="T0" fmla="*/ 279 w 306"/>
              <a:gd name="T1" fmla="*/ 223 h 337"/>
              <a:gd name="T2" fmla="*/ 274 w 306"/>
              <a:gd name="T3" fmla="*/ 203 h 337"/>
              <a:gd name="T4" fmla="*/ 273 w 306"/>
              <a:gd name="T5" fmla="*/ 175 h 337"/>
              <a:gd name="T6" fmla="*/ 273 w 306"/>
              <a:gd name="T7" fmla="*/ 162 h 337"/>
              <a:gd name="T8" fmla="*/ 271 w 306"/>
              <a:gd name="T9" fmla="*/ 144 h 337"/>
              <a:gd name="T10" fmla="*/ 274 w 306"/>
              <a:gd name="T11" fmla="*/ 131 h 337"/>
              <a:gd name="T12" fmla="*/ 280 w 306"/>
              <a:gd name="T13" fmla="*/ 112 h 337"/>
              <a:gd name="T14" fmla="*/ 287 w 306"/>
              <a:gd name="T15" fmla="*/ 82 h 337"/>
              <a:gd name="T16" fmla="*/ 297 w 306"/>
              <a:gd name="T17" fmla="*/ 68 h 337"/>
              <a:gd name="T18" fmla="*/ 306 w 306"/>
              <a:gd name="T19" fmla="*/ 55 h 337"/>
              <a:gd name="T20" fmla="*/ 298 w 306"/>
              <a:gd name="T21" fmla="*/ 48 h 337"/>
              <a:gd name="T22" fmla="*/ 298 w 306"/>
              <a:gd name="T23" fmla="*/ 30 h 337"/>
              <a:gd name="T24" fmla="*/ 279 w 306"/>
              <a:gd name="T25" fmla="*/ 11 h 337"/>
              <a:gd name="T26" fmla="*/ 260 w 306"/>
              <a:gd name="T27" fmla="*/ 18 h 337"/>
              <a:gd name="T28" fmla="*/ 245 w 306"/>
              <a:gd name="T29" fmla="*/ 1 h 337"/>
              <a:gd name="T30" fmla="*/ 225 w 306"/>
              <a:gd name="T31" fmla="*/ 0 h 337"/>
              <a:gd name="T32" fmla="*/ 204 w 306"/>
              <a:gd name="T33" fmla="*/ 6 h 337"/>
              <a:gd name="T34" fmla="*/ 197 w 306"/>
              <a:gd name="T35" fmla="*/ 3 h 337"/>
              <a:gd name="T36" fmla="*/ 176 w 306"/>
              <a:gd name="T37" fmla="*/ 9 h 337"/>
              <a:gd name="T38" fmla="*/ 148 w 306"/>
              <a:gd name="T39" fmla="*/ 18 h 337"/>
              <a:gd name="T40" fmla="*/ 127 w 306"/>
              <a:gd name="T41" fmla="*/ 8 h 337"/>
              <a:gd name="T42" fmla="*/ 112 w 306"/>
              <a:gd name="T43" fmla="*/ 6 h 337"/>
              <a:gd name="T44" fmla="*/ 105 w 306"/>
              <a:gd name="T45" fmla="*/ 25 h 337"/>
              <a:gd name="T46" fmla="*/ 95 w 306"/>
              <a:gd name="T47" fmla="*/ 52 h 337"/>
              <a:gd name="T48" fmla="*/ 87 w 306"/>
              <a:gd name="T49" fmla="*/ 109 h 337"/>
              <a:gd name="T50" fmla="*/ 63 w 306"/>
              <a:gd name="T51" fmla="*/ 141 h 337"/>
              <a:gd name="T52" fmla="*/ 53 w 306"/>
              <a:gd name="T53" fmla="*/ 172 h 337"/>
              <a:gd name="T54" fmla="*/ 33 w 306"/>
              <a:gd name="T55" fmla="*/ 176 h 337"/>
              <a:gd name="T56" fmla="*/ 20 w 306"/>
              <a:gd name="T57" fmla="*/ 183 h 337"/>
              <a:gd name="T58" fmla="*/ 5 w 306"/>
              <a:gd name="T59" fmla="*/ 186 h 337"/>
              <a:gd name="T60" fmla="*/ 1 w 306"/>
              <a:gd name="T61" fmla="*/ 203 h 337"/>
              <a:gd name="T62" fmla="*/ 3 w 306"/>
              <a:gd name="T63" fmla="*/ 208 h 337"/>
              <a:gd name="T64" fmla="*/ 21 w 306"/>
              <a:gd name="T65" fmla="*/ 202 h 337"/>
              <a:gd name="T66" fmla="*/ 45 w 306"/>
              <a:gd name="T67" fmla="*/ 202 h 337"/>
              <a:gd name="T68" fmla="*/ 65 w 306"/>
              <a:gd name="T69" fmla="*/ 204 h 337"/>
              <a:gd name="T70" fmla="*/ 71 w 306"/>
              <a:gd name="T71" fmla="*/ 218 h 337"/>
              <a:gd name="T72" fmla="*/ 84 w 306"/>
              <a:gd name="T73" fmla="*/ 242 h 337"/>
              <a:gd name="T74" fmla="*/ 106 w 306"/>
              <a:gd name="T75" fmla="*/ 241 h 337"/>
              <a:gd name="T76" fmla="*/ 115 w 306"/>
              <a:gd name="T77" fmla="*/ 231 h 337"/>
              <a:gd name="T78" fmla="*/ 129 w 306"/>
              <a:gd name="T79" fmla="*/ 221 h 337"/>
              <a:gd name="T80" fmla="*/ 152 w 306"/>
              <a:gd name="T81" fmla="*/ 232 h 337"/>
              <a:gd name="T82" fmla="*/ 153 w 306"/>
              <a:gd name="T83" fmla="*/ 260 h 337"/>
              <a:gd name="T84" fmla="*/ 157 w 306"/>
              <a:gd name="T85" fmla="*/ 282 h 337"/>
              <a:gd name="T86" fmla="*/ 154 w 306"/>
              <a:gd name="T87" fmla="*/ 296 h 337"/>
              <a:gd name="T88" fmla="*/ 159 w 306"/>
              <a:gd name="T89" fmla="*/ 301 h 337"/>
              <a:gd name="T90" fmla="*/ 177 w 306"/>
              <a:gd name="T91" fmla="*/ 295 h 337"/>
              <a:gd name="T92" fmla="*/ 187 w 306"/>
              <a:gd name="T93" fmla="*/ 293 h 337"/>
              <a:gd name="T94" fmla="*/ 193 w 306"/>
              <a:gd name="T95" fmla="*/ 300 h 337"/>
              <a:gd name="T96" fmla="*/ 202 w 306"/>
              <a:gd name="T97" fmla="*/ 299 h 337"/>
              <a:gd name="T98" fmla="*/ 213 w 306"/>
              <a:gd name="T99" fmla="*/ 306 h 337"/>
              <a:gd name="T100" fmla="*/ 232 w 306"/>
              <a:gd name="T101" fmla="*/ 310 h 337"/>
              <a:gd name="T102" fmla="*/ 248 w 306"/>
              <a:gd name="T103" fmla="*/ 319 h 337"/>
              <a:gd name="T104" fmla="*/ 259 w 306"/>
              <a:gd name="T105" fmla="*/ 331 h 337"/>
              <a:gd name="T106" fmla="*/ 273 w 306"/>
              <a:gd name="T107" fmla="*/ 334 h 337"/>
              <a:gd name="T108" fmla="*/ 277 w 306"/>
              <a:gd name="T109" fmla="*/ 337 h 337"/>
              <a:gd name="T110" fmla="*/ 277 w 306"/>
              <a:gd name="T111" fmla="*/ 317 h 337"/>
              <a:gd name="T112" fmla="*/ 264 w 306"/>
              <a:gd name="T113" fmla="*/ 316 h 337"/>
              <a:gd name="T114" fmla="*/ 259 w 306"/>
              <a:gd name="T115" fmla="*/ 304 h 337"/>
              <a:gd name="T116" fmla="*/ 265 w 306"/>
              <a:gd name="T117" fmla="*/ 272 h 337"/>
              <a:gd name="T118" fmla="*/ 266 w 306"/>
              <a:gd name="T119" fmla="*/ 256 h 337"/>
              <a:gd name="T120" fmla="*/ 274 w 306"/>
              <a:gd name="T121" fmla="*/ 249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06" h="337">
                <a:moveTo>
                  <a:pt x="293" y="244"/>
                </a:moveTo>
                <a:lnTo>
                  <a:pt x="290" y="233"/>
                </a:lnTo>
                <a:lnTo>
                  <a:pt x="287" y="229"/>
                </a:lnTo>
                <a:lnTo>
                  <a:pt x="284" y="227"/>
                </a:lnTo>
                <a:lnTo>
                  <a:pt x="279" y="223"/>
                </a:lnTo>
                <a:lnTo>
                  <a:pt x="278" y="220"/>
                </a:lnTo>
                <a:lnTo>
                  <a:pt x="276" y="215"/>
                </a:lnTo>
                <a:lnTo>
                  <a:pt x="275" y="212"/>
                </a:lnTo>
                <a:lnTo>
                  <a:pt x="274" y="208"/>
                </a:lnTo>
                <a:lnTo>
                  <a:pt x="274" y="203"/>
                </a:lnTo>
                <a:lnTo>
                  <a:pt x="275" y="199"/>
                </a:lnTo>
                <a:lnTo>
                  <a:pt x="273" y="194"/>
                </a:lnTo>
                <a:lnTo>
                  <a:pt x="270" y="189"/>
                </a:lnTo>
                <a:lnTo>
                  <a:pt x="271" y="183"/>
                </a:lnTo>
                <a:lnTo>
                  <a:pt x="273" y="175"/>
                </a:lnTo>
                <a:lnTo>
                  <a:pt x="273" y="172"/>
                </a:lnTo>
                <a:lnTo>
                  <a:pt x="271" y="173"/>
                </a:lnTo>
                <a:lnTo>
                  <a:pt x="270" y="171"/>
                </a:lnTo>
                <a:lnTo>
                  <a:pt x="271" y="168"/>
                </a:lnTo>
                <a:lnTo>
                  <a:pt x="273" y="162"/>
                </a:lnTo>
                <a:lnTo>
                  <a:pt x="274" y="159"/>
                </a:lnTo>
                <a:lnTo>
                  <a:pt x="274" y="156"/>
                </a:lnTo>
                <a:lnTo>
                  <a:pt x="274" y="149"/>
                </a:lnTo>
                <a:lnTo>
                  <a:pt x="273" y="146"/>
                </a:lnTo>
                <a:lnTo>
                  <a:pt x="271" y="144"/>
                </a:lnTo>
                <a:lnTo>
                  <a:pt x="269" y="142"/>
                </a:lnTo>
                <a:lnTo>
                  <a:pt x="269" y="141"/>
                </a:lnTo>
                <a:lnTo>
                  <a:pt x="269" y="139"/>
                </a:lnTo>
                <a:lnTo>
                  <a:pt x="273" y="134"/>
                </a:lnTo>
                <a:lnTo>
                  <a:pt x="274" y="131"/>
                </a:lnTo>
                <a:lnTo>
                  <a:pt x="276" y="125"/>
                </a:lnTo>
                <a:lnTo>
                  <a:pt x="278" y="122"/>
                </a:lnTo>
                <a:lnTo>
                  <a:pt x="280" y="120"/>
                </a:lnTo>
                <a:lnTo>
                  <a:pt x="280" y="119"/>
                </a:lnTo>
                <a:lnTo>
                  <a:pt x="280" y="112"/>
                </a:lnTo>
                <a:lnTo>
                  <a:pt x="281" y="103"/>
                </a:lnTo>
                <a:lnTo>
                  <a:pt x="281" y="98"/>
                </a:lnTo>
                <a:lnTo>
                  <a:pt x="284" y="88"/>
                </a:lnTo>
                <a:lnTo>
                  <a:pt x="286" y="84"/>
                </a:lnTo>
                <a:lnTo>
                  <a:pt x="287" y="82"/>
                </a:lnTo>
                <a:lnTo>
                  <a:pt x="290" y="78"/>
                </a:lnTo>
                <a:lnTo>
                  <a:pt x="294" y="73"/>
                </a:lnTo>
                <a:lnTo>
                  <a:pt x="295" y="71"/>
                </a:lnTo>
                <a:lnTo>
                  <a:pt x="296" y="70"/>
                </a:lnTo>
                <a:lnTo>
                  <a:pt x="297" y="68"/>
                </a:lnTo>
                <a:lnTo>
                  <a:pt x="300" y="65"/>
                </a:lnTo>
                <a:lnTo>
                  <a:pt x="303" y="63"/>
                </a:lnTo>
                <a:lnTo>
                  <a:pt x="305" y="61"/>
                </a:lnTo>
                <a:lnTo>
                  <a:pt x="306" y="58"/>
                </a:lnTo>
                <a:lnTo>
                  <a:pt x="306" y="55"/>
                </a:lnTo>
                <a:lnTo>
                  <a:pt x="305" y="54"/>
                </a:lnTo>
                <a:lnTo>
                  <a:pt x="303" y="53"/>
                </a:lnTo>
                <a:lnTo>
                  <a:pt x="300" y="52"/>
                </a:lnTo>
                <a:lnTo>
                  <a:pt x="299" y="50"/>
                </a:lnTo>
                <a:lnTo>
                  <a:pt x="298" y="48"/>
                </a:lnTo>
                <a:lnTo>
                  <a:pt x="298" y="40"/>
                </a:lnTo>
                <a:lnTo>
                  <a:pt x="299" y="34"/>
                </a:lnTo>
                <a:lnTo>
                  <a:pt x="300" y="31"/>
                </a:lnTo>
                <a:lnTo>
                  <a:pt x="300" y="30"/>
                </a:lnTo>
                <a:lnTo>
                  <a:pt x="298" y="30"/>
                </a:lnTo>
                <a:lnTo>
                  <a:pt x="296" y="28"/>
                </a:lnTo>
                <a:lnTo>
                  <a:pt x="294" y="25"/>
                </a:lnTo>
                <a:lnTo>
                  <a:pt x="289" y="22"/>
                </a:lnTo>
                <a:lnTo>
                  <a:pt x="283" y="13"/>
                </a:lnTo>
                <a:lnTo>
                  <a:pt x="279" y="11"/>
                </a:lnTo>
                <a:lnTo>
                  <a:pt x="276" y="15"/>
                </a:lnTo>
                <a:lnTo>
                  <a:pt x="273" y="15"/>
                </a:lnTo>
                <a:lnTo>
                  <a:pt x="265" y="13"/>
                </a:lnTo>
                <a:lnTo>
                  <a:pt x="263" y="17"/>
                </a:lnTo>
                <a:lnTo>
                  <a:pt x="260" y="18"/>
                </a:lnTo>
                <a:lnTo>
                  <a:pt x="254" y="14"/>
                </a:lnTo>
                <a:lnTo>
                  <a:pt x="253" y="11"/>
                </a:lnTo>
                <a:lnTo>
                  <a:pt x="250" y="8"/>
                </a:lnTo>
                <a:lnTo>
                  <a:pt x="247" y="6"/>
                </a:lnTo>
                <a:lnTo>
                  <a:pt x="245" y="1"/>
                </a:lnTo>
                <a:lnTo>
                  <a:pt x="237" y="1"/>
                </a:lnTo>
                <a:lnTo>
                  <a:pt x="235" y="6"/>
                </a:lnTo>
                <a:lnTo>
                  <a:pt x="232" y="2"/>
                </a:lnTo>
                <a:lnTo>
                  <a:pt x="229" y="6"/>
                </a:lnTo>
                <a:lnTo>
                  <a:pt x="225" y="0"/>
                </a:lnTo>
                <a:lnTo>
                  <a:pt x="220" y="1"/>
                </a:lnTo>
                <a:lnTo>
                  <a:pt x="214" y="2"/>
                </a:lnTo>
                <a:lnTo>
                  <a:pt x="208" y="1"/>
                </a:lnTo>
                <a:lnTo>
                  <a:pt x="207" y="6"/>
                </a:lnTo>
                <a:lnTo>
                  <a:pt x="204" y="6"/>
                </a:lnTo>
                <a:lnTo>
                  <a:pt x="202" y="7"/>
                </a:lnTo>
                <a:lnTo>
                  <a:pt x="199" y="6"/>
                </a:lnTo>
                <a:lnTo>
                  <a:pt x="199" y="6"/>
                </a:lnTo>
                <a:lnTo>
                  <a:pt x="199" y="3"/>
                </a:lnTo>
                <a:lnTo>
                  <a:pt x="197" y="3"/>
                </a:lnTo>
                <a:lnTo>
                  <a:pt x="194" y="6"/>
                </a:lnTo>
                <a:lnTo>
                  <a:pt x="187" y="7"/>
                </a:lnTo>
                <a:lnTo>
                  <a:pt x="184" y="9"/>
                </a:lnTo>
                <a:lnTo>
                  <a:pt x="178" y="11"/>
                </a:lnTo>
                <a:lnTo>
                  <a:pt x="176" y="9"/>
                </a:lnTo>
                <a:lnTo>
                  <a:pt x="170" y="8"/>
                </a:lnTo>
                <a:lnTo>
                  <a:pt x="166" y="11"/>
                </a:lnTo>
                <a:lnTo>
                  <a:pt x="166" y="17"/>
                </a:lnTo>
                <a:lnTo>
                  <a:pt x="164" y="18"/>
                </a:lnTo>
                <a:lnTo>
                  <a:pt x="148" y="18"/>
                </a:lnTo>
                <a:lnTo>
                  <a:pt x="142" y="15"/>
                </a:lnTo>
                <a:lnTo>
                  <a:pt x="138" y="12"/>
                </a:lnTo>
                <a:lnTo>
                  <a:pt x="136" y="14"/>
                </a:lnTo>
                <a:lnTo>
                  <a:pt x="134" y="14"/>
                </a:lnTo>
                <a:lnTo>
                  <a:pt x="127" y="8"/>
                </a:lnTo>
                <a:lnTo>
                  <a:pt x="127" y="6"/>
                </a:lnTo>
                <a:lnTo>
                  <a:pt x="125" y="2"/>
                </a:lnTo>
                <a:lnTo>
                  <a:pt x="119" y="1"/>
                </a:lnTo>
                <a:lnTo>
                  <a:pt x="116" y="1"/>
                </a:lnTo>
                <a:lnTo>
                  <a:pt x="112" y="6"/>
                </a:lnTo>
                <a:lnTo>
                  <a:pt x="111" y="7"/>
                </a:lnTo>
                <a:lnTo>
                  <a:pt x="108" y="12"/>
                </a:lnTo>
                <a:lnTo>
                  <a:pt x="106" y="13"/>
                </a:lnTo>
                <a:lnTo>
                  <a:pt x="105" y="19"/>
                </a:lnTo>
                <a:lnTo>
                  <a:pt x="105" y="25"/>
                </a:lnTo>
                <a:lnTo>
                  <a:pt x="106" y="28"/>
                </a:lnTo>
                <a:lnTo>
                  <a:pt x="102" y="29"/>
                </a:lnTo>
                <a:lnTo>
                  <a:pt x="103" y="34"/>
                </a:lnTo>
                <a:lnTo>
                  <a:pt x="102" y="41"/>
                </a:lnTo>
                <a:lnTo>
                  <a:pt x="95" y="52"/>
                </a:lnTo>
                <a:lnTo>
                  <a:pt x="93" y="61"/>
                </a:lnTo>
                <a:lnTo>
                  <a:pt x="91" y="75"/>
                </a:lnTo>
                <a:lnTo>
                  <a:pt x="89" y="98"/>
                </a:lnTo>
                <a:lnTo>
                  <a:pt x="87" y="108"/>
                </a:lnTo>
                <a:lnTo>
                  <a:pt x="87" y="109"/>
                </a:lnTo>
                <a:lnTo>
                  <a:pt x="83" y="113"/>
                </a:lnTo>
                <a:lnTo>
                  <a:pt x="77" y="117"/>
                </a:lnTo>
                <a:lnTo>
                  <a:pt x="73" y="122"/>
                </a:lnTo>
                <a:lnTo>
                  <a:pt x="65" y="134"/>
                </a:lnTo>
                <a:lnTo>
                  <a:pt x="63" y="141"/>
                </a:lnTo>
                <a:lnTo>
                  <a:pt x="63" y="148"/>
                </a:lnTo>
                <a:lnTo>
                  <a:pt x="63" y="154"/>
                </a:lnTo>
                <a:lnTo>
                  <a:pt x="62" y="160"/>
                </a:lnTo>
                <a:lnTo>
                  <a:pt x="57" y="166"/>
                </a:lnTo>
                <a:lnTo>
                  <a:pt x="53" y="172"/>
                </a:lnTo>
                <a:lnTo>
                  <a:pt x="48" y="174"/>
                </a:lnTo>
                <a:lnTo>
                  <a:pt x="42" y="181"/>
                </a:lnTo>
                <a:lnTo>
                  <a:pt x="36" y="183"/>
                </a:lnTo>
                <a:lnTo>
                  <a:pt x="33" y="183"/>
                </a:lnTo>
                <a:lnTo>
                  <a:pt x="33" y="176"/>
                </a:lnTo>
                <a:lnTo>
                  <a:pt x="32" y="175"/>
                </a:lnTo>
                <a:lnTo>
                  <a:pt x="28" y="176"/>
                </a:lnTo>
                <a:lnTo>
                  <a:pt x="24" y="178"/>
                </a:lnTo>
                <a:lnTo>
                  <a:pt x="22" y="180"/>
                </a:lnTo>
                <a:lnTo>
                  <a:pt x="20" y="183"/>
                </a:lnTo>
                <a:lnTo>
                  <a:pt x="16" y="184"/>
                </a:lnTo>
                <a:lnTo>
                  <a:pt x="12" y="181"/>
                </a:lnTo>
                <a:lnTo>
                  <a:pt x="11" y="181"/>
                </a:lnTo>
                <a:lnTo>
                  <a:pt x="7" y="183"/>
                </a:lnTo>
                <a:lnTo>
                  <a:pt x="5" y="186"/>
                </a:lnTo>
                <a:lnTo>
                  <a:pt x="4" y="192"/>
                </a:lnTo>
                <a:lnTo>
                  <a:pt x="3" y="196"/>
                </a:lnTo>
                <a:lnTo>
                  <a:pt x="3" y="201"/>
                </a:lnTo>
                <a:lnTo>
                  <a:pt x="1" y="202"/>
                </a:lnTo>
                <a:lnTo>
                  <a:pt x="1" y="203"/>
                </a:lnTo>
                <a:lnTo>
                  <a:pt x="1" y="206"/>
                </a:lnTo>
                <a:lnTo>
                  <a:pt x="0" y="208"/>
                </a:lnTo>
                <a:lnTo>
                  <a:pt x="1" y="210"/>
                </a:lnTo>
                <a:lnTo>
                  <a:pt x="1" y="209"/>
                </a:lnTo>
                <a:lnTo>
                  <a:pt x="3" y="208"/>
                </a:lnTo>
                <a:lnTo>
                  <a:pt x="7" y="206"/>
                </a:lnTo>
                <a:lnTo>
                  <a:pt x="12" y="204"/>
                </a:lnTo>
                <a:lnTo>
                  <a:pt x="16" y="202"/>
                </a:lnTo>
                <a:lnTo>
                  <a:pt x="18" y="202"/>
                </a:lnTo>
                <a:lnTo>
                  <a:pt x="21" y="202"/>
                </a:lnTo>
                <a:lnTo>
                  <a:pt x="27" y="202"/>
                </a:lnTo>
                <a:lnTo>
                  <a:pt x="34" y="201"/>
                </a:lnTo>
                <a:lnTo>
                  <a:pt x="36" y="202"/>
                </a:lnTo>
                <a:lnTo>
                  <a:pt x="42" y="202"/>
                </a:lnTo>
                <a:lnTo>
                  <a:pt x="45" y="202"/>
                </a:lnTo>
                <a:lnTo>
                  <a:pt x="50" y="202"/>
                </a:lnTo>
                <a:lnTo>
                  <a:pt x="58" y="201"/>
                </a:lnTo>
                <a:lnTo>
                  <a:pt x="64" y="201"/>
                </a:lnTo>
                <a:lnTo>
                  <a:pt x="64" y="202"/>
                </a:lnTo>
                <a:lnTo>
                  <a:pt x="65" y="204"/>
                </a:lnTo>
                <a:lnTo>
                  <a:pt x="66" y="204"/>
                </a:lnTo>
                <a:lnTo>
                  <a:pt x="68" y="204"/>
                </a:lnTo>
                <a:lnTo>
                  <a:pt x="70" y="206"/>
                </a:lnTo>
                <a:lnTo>
                  <a:pt x="71" y="213"/>
                </a:lnTo>
                <a:lnTo>
                  <a:pt x="71" y="218"/>
                </a:lnTo>
                <a:lnTo>
                  <a:pt x="72" y="219"/>
                </a:lnTo>
                <a:lnTo>
                  <a:pt x="74" y="223"/>
                </a:lnTo>
                <a:lnTo>
                  <a:pt x="74" y="229"/>
                </a:lnTo>
                <a:lnTo>
                  <a:pt x="78" y="233"/>
                </a:lnTo>
                <a:lnTo>
                  <a:pt x="84" y="242"/>
                </a:lnTo>
                <a:lnTo>
                  <a:pt x="87" y="243"/>
                </a:lnTo>
                <a:lnTo>
                  <a:pt x="92" y="243"/>
                </a:lnTo>
                <a:lnTo>
                  <a:pt x="97" y="241"/>
                </a:lnTo>
                <a:lnTo>
                  <a:pt x="102" y="240"/>
                </a:lnTo>
                <a:lnTo>
                  <a:pt x="106" y="241"/>
                </a:lnTo>
                <a:lnTo>
                  <a:pt x="112" y="241"/>
                </a:lnTo>
                <a:lnTo>
                  <a:pt x="113" y="236"/>
                </a:lnTo>
                <a:lnTo>
                  <a:pt x="113" y="233"/>
                </a:lnTo>
                <a:lnTo>
                  <a:pt x="114" y="232"/>
                </a:lnTo>
                <a:lnTo>
                  <a:pt x="115" y="231"/>
                </a:lnTo>
                <a:lnTo>
                  <a:pt x="115" y="230"/>
                </a:lnTo>
                <a:lnTo>
                  <a:pt x="115" y="225"/>
                </a:lnTo>
                <a:lnTo>
                  <a:pt x="116" y="223"/>
                </a:lnTo>
                <a:lnTo>
                  <a:pt x="128" y="223"/>
                </a:lnTo>
                <a:lnTo>
                  <a:pt x="129" y="221"/>
                </a:lnTo>
                <a:lnTo>
                  <a:pt x="136" y="221"/>
                </a:lnTo>
                <a:lnTo>
                  <a:pt x="136" y="229"/>
                </a:lnTo>
                <a:lnTo>
                  <a:pt x="149" y="229"/>
                </a:lnTo>
                <a:lnTo>
                  <a:pt x="151" y="230"/>
                </a:lnTo>
                <a:lnTo>
                  <a:pt x="152" y="232"/>
                </a:lnTo>
                <a:lnTo>
                  <a:pt x="152" y="243"/>
                </a:lnTo>
                <a:lnTo>
                  <a:pt x="153" y="247"/>
                </a:lnTo>
                <a:lnTo>
                  <a:pt x="153" y="252"/>
                </a:lnTo>
                <a:lnTo>
                  <a:pt x="153" y="257"/>
                </a:lnTo>
                <a:lnTo>
                  <a:pt x="153" y="260"/>
                </a:lnTo>
                <a:lnTo>
                  <a:pt x="152" y="263"/>
                </a:lnTo>
                <a:lnTo>
                  <a:pt x="152" y="267"/>
                </a:lnTo>
                <a:lnTo>
                  <a:pt x="153" y="271"/>
                </a:lnTo>
                <a:lnTo>
                  <a:pt x="155" y="275"/>
                </a:lnTo>
                <a:lnTo>
                  <a:pt x="157" y="282"/>
                </a:lnTo>
                <a:lnTo>
                  <a:pt x="158" y="287"/>
                </a:lnTo>
                <a:lnTo>
                  <a:pt x="158" y="290"/>
                </a:lnTo>
                <a:lnTo>
                  <a:pt x="157" y="292"/>
                </a:lnTo>
                <a:lnTo>
                  <a:pt x="154" y="296"/>
                </a:lnTo>
                <a:lnTo>
                  <a:pt x="154" y="296"/>
                </a:lnTo>
                <a:lnTo>
                  <a:pt x="154" y="297"/>
                </a:lnTo>
                <a:lnTo>
                  <a:pt x="154" y="299"/>
                </a:lnTo>
                <a:lnTo>
                  <a:pt x="156" y="299"/>
                </a:lnTo>
                <a:lnTo>
                  <a:pt x="157" y="301"/>
                </a:lnTo>
                <a:lnTo>
                  <a:pt x="159" y="301"/>
                </a:lnTo>
                <a:lnTo>
                  <a:pt x="159" y="301"/>
                </a:lnTo>
                <a:lnTo>
                  <a:pt x="161" y="299"/>
                </a:lnTo>
                <a:lnTo>
                  <a:pt x="161" y="296"/>
                </a:lnTo>
                <a:lnTo>
                  <a:pt x="163" y="295"/>
                </a:lnTo>
                <a:lnTo>
                  <a:pt x="177" y="295"/>
                </a:lnTo>
                <a:lnTo>
                  <a:pt x="180" y="294"/>
                </a:lnTo>
                <a:lnTo>
                  <a:pt x="183" y="295"/>
                </a:lnTo>
                <a:lnTo>
                  <a:pt x="184" y="295"/>
                </a:lnTo>
                <a:lnTo>
                  <a:pt x="186" y="293"/>
                </a:lnTo>
                <a:lnTo>
                  <a:pt x="187" y="293"/>
                </a:lnTo>
                <a:lnTo>
                  <a:pt x="189" y="292"/>
                </a:lnTo>
                <a:lnTo>
                  <a:pt x="190" y="292"/>
                </a:lnTo>
                <a:lnTo>
                  <a:pt x="192" y="292"/>
                </a:lnTo>
                <a:lnTo>
                  <a:pt x="194" y="295"/>
                </a:lnTo>
                <a:lnTo>
                  <a:pt x="193" y="300"/>
                </a:lnTo>
                <a:lnTo>
                  <a:pt x="194" y="301"/>
                </a:lnTo>
                <a:lnTo>
                  <a:pt x="195" y="301"/>
                </a:lnTo>
                <a:lnTo>
                  <a:pt x="198" y="300"/>
                </a:lnTo>
                <a:lnTo>
                  <a:pt x="200" y="299"/>
                </a:lnTo>
                <a:lnTo>
                  <a:pt x="202" y="299"/>
                </a:lnTo>
                <a:lnTo>
                  <a:pt x="205" y="297"/>
                </a:lnTo>
                <a:lnTo>
                  <a:pt x="207" y="300"/>
                </a:lnTo>
                <a:lnTo>
                  <a:pt x="208" y="303"/>
                </a:lnTo>
                <a:lnTo>
                  <a:pt x="209" y="305"/>
                </a:lnTo>
                <a:lnTo>
                  <a:pt x="213" y="306"/>
                </a:lnTo>
                <a:lnTo>
                  <a:pt x="217" y="310"/>
                </a:lnTo>
                <a:lnTo>
                  <a:pt x="222" y="312"/>
                </a:lnTo>
                <a:lnTo>
                  <a:pt x="225" y="312"/>
                </a:lnTo>
                <a:lnTo>
                  <a:pt x="227" y="311"/>
                </a:lnTo>
                <a:lnTo>
                  <a:pt x="232" y="310"/>
                </a:lnTo>
                <a:lnTo>
                  <a:pt x="234" y="309"/>
                </a:lnTo>
                <a:lnTo>
                  <a:pt x="236" y="309"/>
                </a:lnTo>
                <a:lnTo>
                  <a:pt x="242" y="315"/>
                </a:lnTo>
                <a:lnTo>
                  <a:pt x="245" y="317"/>
                </a:lnTo>
                <a:lnTo>
                  <a:pt x="248" y="319"/>
                </a:lnTo>
                <a:lnTo>
                  <a:pt x="251" y="319"/>
                </a:lnTo>
                <a:lnTo>
                  <a:pt x="254" y="321"/>
                </a:lnTo>
                <a:lnTo>
                  <a:pt x="255" y="325"/>
                </a:lnTo>
                <a:lnTo>
                  <a:pt x="256" y="327"/>
                </a:lnTo>
                <a:lnTo>
                  <a:pt x="259" y="331"/>
                </a:lnTo>
                <a:lnTo>
                  <a:pt x="264" y="334"/>
                </a:lnTo>
                <a:lnTo>
                  <a:pt x="266" y="335"/>
                </a:lnTo>
                <a:lnTo>
                  <a:pt x="269" y="335"/>
                </a:lnTo>
                <a:lnTo>
                  <a:pt x="270" y="335"/>
                </a:lnTo>
                <a:lnTo>
                  <a:pt x="273" y="334"/>
                </a:lnTo>
                <a:lnTo>
                  <a:pt x="273" y="334"/>
                </a:lnTo>
                <a:lnTo>
                  <a:pt x="274" y="334"/>
                </a:lnTo>
                <a:lnTo>
                  <a:pt x="275" y="336"/>
                </a:lnTo>
                <a:lnTo>
                  <a:pt x="276" y="337"/>
                </a:lnTo>
                <a:lnTo>
                  <a:pt x="277" y="337"/>
                </a:lnTo>
                <a:lnTo>
                  <a:pt x="278" y="336"/>
                </a:lnTo>
                <a:lnTo>
                  <a:pt x="278" y="334"/>
                </a:lnTo>
                <a:lnTo>
                  <a:pt x="277" y="332"/>
                </a:lnTo>
                <a:lnTo>
                  <a:pt x="277" y="321"/>
                </a:lnTo>
                <a:lnTo>
                  <a:pt x="277" y="317"/>
                </a:lnTo>
                <a:lnTo>
                  <a:pt x="275" y="317"/>
                </a:lnTo>
                <a:lnTo>
                  <a:pt x="273" y="319"/>
                </a:lnTo>
                <a:lnTo>
                  <a:pt x="269" y="319"/>
                </a:lnTo>
                <a:lnTo>
                  <a:pt x="266" y="319"/>
                </a:lnTo>
                <a:lnTo>
                  <a:pt x="264" y="316"/>
                </a:lnTo>
                <a:lnTo>
                  <a:pt x="260" y="312"/>
                </a:lnTo>
                <a:lnTo>
                  <a:pt x="259" y="311"/>
                </a:lnTo>
                <a:lnTo>
                  <a:pt x="258" y="310"/>
                </a:lnTo>
                <a:lnTo>
                  <a:pt x="258" y="306"/>
                </a:lnTo>
                <a:lnTo>
                  <a:pt x="259" y="304"/>
                </a:lnTo>
                <a:lnTo>
                  <a:pt x="260" y="300"/>
                </a:lnTo>
                <a:lnTo>
                  <a:pt x="265" y="287"/>
                </a:lnTo>
                <a:lnTo>
                  <a:pt x="265" y="285"/>
                </a:lnTo>
                <a:lnTo>
                  <a:pt x="266" y="277"/>
                </a:lnTo>
                <a:lnTo>
                  <a:pt x="265" y="272"/>
                </a:lnTo>
                <a:lnTo>
                  <a:pt x="263" y="266"/>
                </a:lnTo>
                <a:lnTo>
                  <a:pt x="263" y="263"/>
                </a:lnTo>
                <a:lnTo>
                  <a:pt x="264" y="262"/>
                </a:lnTo>
                <a:lnTo>
                  <a:pt x="265" y="259"/>
                </a:lnTo>
                <a:lnTo>
                  <a:pt x="266" y="256"/>
                </a:lnTo>
                <a:lnTo>
                  <a:pt x="268" y="252"/>
                </a:lnTo>
                <a:lnTo>
                  <a:pt x="269" y="251"/>
                </a:lnTo>
                <a:lnTo>
                  <a:pt x="270" y="250"/>
                </a:lnTo>
                <a:lnTo>
                  <a:pt x="271" y="250"/>
                </a:lnTo>
                <a:lnTo>
                  <a:pt x="274" y="249"/>
                </a:lnTo>
                <a:lnTo>
                  <a:pt x="293" y="24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24" name="Freeform 1425"/>
          <p:cNvSpPr>
            <a:spLocks/>
          </p:cNvSpPr>
          <p:nvPr/>
        </p:nvSpPr>
        <p:spPr bwMode="auto">
          <a:xfrm>
            <a:off x="2698750" y="2382803"/>
            <a:ext cx="7937" cy="4763"/>
          </a:xfrm>
          <a:custGeom>
            <a:avLst/>
            <a:gdLst>
              <a:gd name="T0" fmla="*/ 4 w 5"/>
              <a:gd name="T1" fmla="*/ 0 h 3"/>
              <a:gd name="T2" fmla="*/ 2 w 5"/>
              <a:gd name="T3" fmla="*/ 0 h 3"/>
              <a:gd name="T4" fmla="*/ 1 w 5"/>
              <a:gd name="T5" fmla="*/ 2 h 3"/>
              <a:gd name="T6" fmla="*/ 0 w 5"/>
              <a:gd name="T7" fmla="*/ 2 h 3"/>
              <a:gd name="T8" fmla="*/ 0 w 5"/>
              <a:gd name="T9" fmla="*/ 3 h 3"/>
              <a:gd name="T10" fmla="*/ 2 w 5"/>
              <a:gd name="T11" fmla="*/ 2 h 3"/>
              <a:gd name="T12" fmla="*/ 4 w 5"/>
              <a:gd name="T13" fmla="*/ 2 h 3"/>
              <a:gd name="T14" fmla="*/ 5 w 5"/>
              <a:gd name="T15" fmla="*/ 2 h 3"/>
              <a:gd name="T16" fmla="*/ 5 w 5"/>
              <a:gd name="T17" fmla="*/ 0 h 3"/>
              <a:gd name="T18" fmla="*/ 4 w 5"/>
              <a:gd name="T19" fmla="*/ 1 h 3"/>
              <a:gd name="T20" fmla="*/ 4 w 5"/>
              <a:gd name="T21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" h="3">
                <a:moveTo>
                  <a:pt x="4" y="0"/>
                </a:moveTo>
                <a:lnTo>
                  <a:pt x="2" y="0"/>
                </a:lnTo>
                <a:lnTo>
                  <a:pt x="1" y="2"/>
                </a:lnTo>
                <a:lnTo>
                  <a:pt x="0" y="2"/>
                </a:lnTo>
                <a:lnTo>
                  <a:pt x="0" y="3"/>
                </a:lnTo>
                <a:lnTo>
                  <a:pt x="2" y="2"/>
                </a:lnTo>
                <a:lnTo>
                  <a:pt x="4" y="2"/>
                </a:lnTo>
                <a:lnTo>
                  <a:pt x="5" y="2"/>
                </a:lnTo>
                <a:lnTo>
                  <a:pt x="5" y="0"/>
                </a:lnTo>
                <a:lnTo>
                  <a:pt x="4" y="1"/>
                </a:lnTo>
                <a:lnTo>
                  <a:pt x="4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25" name="Freeform 1426"/>
          <p:cNvSpPr>
            <a:spLocks/>
          </p:cNvSpPr>
          <p:nvPr/>
        </p:nvSpPr>
        <p:spPr bwMode="auto">
          <a:xfrm>
            <a:off x="2698750" y="2382803"/>
            <a:ext cx="7937" cy="4763"/>
          </a:xfrm>
          <a:custGeom>
            <a:avLst/>
            <a:gdLst>
              <a:gd name="T0" fmla="*/ 4 w 5"/>
              <a:gd name="T1" fmla="*/ 0 h 3"/>
              <a:gd name="T2" fmla="*/ 2 w 5"/>
              <a:gd name="T3" fmla="*/ 0 h 3"/>
              <a:gd name="T4" fmla="*/ 1 w 5"/>
              <a:gd name="T5" fmla="*/ 2 h 3"/>
              <a:gd name="T6" fmla="*/ 0 w 5"/>
              <a:gd name="T7" fmla="*/ 2 h 3"/>
              <a:gd name="T8" fmla="*/ 0 w 5"/>
              <a:gd name="T9" fmla="*/ 3 h 3"/>
              <a:gd name="T10" fmla="*/ 2 w 5"/>
              <a:gd name="T11" fmla="*/ 2 h 3"/>
              <a:gd name="T12" fmla="*/ 4 w 5"/>
              <a:gd name="T13" fmla="*/ 2 h 3"/>
              <a:gd name="T14" fmla="*/ 5 w 5"/>
              <a:gd name="T15" fmla="*/ 2 h 3"/>
              <a:gd name="T16" fmla="*/ 5 w 5"/>
              <a:gd name="T17" fmla="*/ 0 h 3"/>
              <a:gd name="T18" fmla="*/ 4 w 5"/>
              <a:gd name="T19" fmla="*/ 1 h 3"/>
              <a:gd name="T20" fmla="*/ 4 w 5"/>
              <a:gd name="T21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" h="3">
                <a:moveTo>
                  <a:pt x="4" y="0"/>
                </a:moveTo>
                <a:lnTo>
                  <a:pt x="2" y="0"/>
                </a:lnTo>
                <a:lnTo>
                  <a:pt x="1" y="2"/>
                </a:lnTo>
                <a:lnTo>
                  <a:pt x="0" y="2"/>
                </a:lnTo>
                <a:lnTo>
                  <a:pt x="0" y="3"/>
                </a:lnTo>
                <a:lnTo>
                  <a:pt x="2" y="2"/>
                </a:lnTo>
                <a:lnTo>
                  <a:pt x="4" y="2"/>
                </a:lnTo>
                <a:lnTo>
                  <a:pt x="5" y="2"/>
                </a:lnTo>
                <a:lnTo>
                  <a:pt x="5" y="0"/>
                </a:lnTo>
                <a:lnTo>
                  <a:pt x="4" y="1"/>
                </a:lnTo>
                <a:lnTo>
                  <a:pt x="4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26" name="Freeform 1427"/>
          <p:cNvSpPr>
            <a:spLocks/>
          </p:cNvSpPr>
          <p:nvPr/>
        </p:nvSpPr>
        <p:spPr bwMode="auto">
          <a:xfrm>
            <a:off x="2709863" y="2384390"/>
            <a:ext cx="7937" cy="4763"/>
          </a:xfrm>
          <a:custGeom>
            <a:avLst/>
            <a:gdLst>
              <a:gd name="T0" fmla="*/ 4 w 5"/>
              <a:gd name="T1" fmla="*/ 1 h 3"/>
              <a:gd name="T2" fmla="*/ 3 w 5"/>
              <a:gd name="T3" fmla="*/ 2 h 3"/>
              <a:gd name="T4" fmla="*/ 1 w 5"/>
              <a:gd name="T5" fmla="*/ 1 h 3"/>
              <a:gd name="T6" fmla="*/ 0 w 5"/>
              <a:gd name="T7" fmla="*/ 2 h 3"/>
              <a:gd name="T8" fmla="*/ 1 w 5"/>
              <a:gd name="T9" fmla="*/ 3 h 3"/>
              <a:gd name="T10" fmla="*/ 4 w 5"/>
              <a:gd name="T11" fmla="*/ 3 h 3"/>
              <a:gd name="T12" fmla="*/ 5 w 5"/>
              <a:gd name="T13" fmla="*/ 2 h 3"/>
              <a:gd name="T14" fmla="*/ 5 w 5"/>
              <a:gd name="T15" fmla="*/ 0 h 3"/>
              <a:gd name="T16" fmla="*/ 4 w 5"/>
              <a:gd name="T17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" h="3">
                <a:moveTo>
                  <a:pt x="4" y="1"/>
                </a:moveTo>
                <a:lnTo>
                  <a:pt x="3" y="2"/>
                </a:lnTo>
                <a:lnTo>
                  <a:pt x="1" y="1"/>
                </a:lnTo>
                <a:lnTo>
                  <a:pt x="0" y="2"/>
                </a:lnTo>
                <a:lnTo>
                  <a:pt x="1" y="3"/>
                </a:lnTo>
                <a:lnTo>
                  <a:pt x="4" y="3"/>
                </a:lnTo>
                <a:lnTo>
                  <a:pt x="5" y="2"/>
                </a:lnTo>
                <a:lnTo>
                  <a:pt x="5" y="0"/>
                </a:lnTo>
                <a:lnTo>
                  <a:pt x="4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27" name="Freeform 1428"/>
          <p:cNvSpPr>
            <a:spLocks/>
          </p:cNvSpPr>
          <p:nvPr/>
        </p:nvSpPr>
        <p:spPr bwMode="auto">
          <a:xfrm>
            <a:off x="2709863" y="2384390"/>
            <a:ext cx="7937" cy="4763"/>
          </a:xfrm>
          <a:custGeom>
            <a:avLst/>
            <a:gdLst>
              <a:gd name="T0" fmla="*/ 4 w 5"/>
              <a:gd name="T1" fmla="*/ 1 h 3"/>
              <a:gd name="T2" fmla="*/ 3 w 5"/>
              <a:gd name="T3" fmla="*/ 2 h 3"/>
              <a:gd name="T4" fmla="*/ 1 w 5"/>
              <a:gd name="T5" fmla="*/ 1 h 3"/>
              <a:gd name="T6" fmla="*/ 0 w 5"/>
              <a:gd name="T7" fmla="*/ 2 h 3"/>
              <a:gd name="T8" fmla="*/ 1 w 5"/>
              <a:gd name="T9" fmla="*/ 3 h 3"/>
              <a:gd name="T10" fmla="*/ 4 w 5"/>
              <a:gd name="T11" fmla="*/ 3 h 3"/>
              <a:gd name="T12" fmla="*/ 5 w 5"/>
              <a:gd name="T13" fmla="*/ 2 h 3"/>
              <a:gd name="T14" fmla="*/ 5 w 5"/>
              <a:gd name="T15" fmla="*/ 0 h 3"/>
              <a:gd name="T16" fmla="*/ 4 w 5"/>
              <a:gd name="T17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" h="3">
                <a:moveTo>
                  <a:pt x="4" y="1"/>
                </a:moveTo>
                <a:lnTo>
                  <a:pt x="3" y="2"/>
                </a:lnTo>
                <a:lnTo>
                  <a:pt x="1" y="1"/>
                </a:lnTo>
                <a:lnTo>
                  <a:pt x="0" y="2"/>
                </a:lnTo>
                <a:lnTo>
                  <a:pt x="1" y="3"/>
                </a:lnTo>
                <a:lnTo>
                  <a:pt x="4" y="3"/>
                </a:lnTo>
                <a:lnTo>
                  <a:pt x="5" y="2"/>
                </a:lnTo>
                <a:lnTo>
                  <a:pt x="5" y="0"/>
                </a:lnTo>
                <a:lnTo>
                  <a:pt x="4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28" name="Freeform 1429"/>
          <p:cNvSpPr>
            <a:spLocks/>
          </p:cNvSpPr>
          <p:nvPr/>
        </p:nvSpPr>
        <p:spPr bwMode="auto">
          <a:xfrm>
            <a:off x="1433513" y="2157378"/>
            <a:ext cx="1387475" cy="695325"/>
          </a:xfrm>
          <a:custGeom>
            <a:avLst/>
            <a:gdLst>
              <a:gd name="T0" fmla="*/ 864 w 874"/>
              <a:gd name="T1" fmla="*/ 40 h 438"/>
              <a:gd name="T2" fmla="*/ 823 w 874"/>
              <a:gd name="T3" fmla="*/ 72 h 438"/>
              <a:gd name="T4" fmla="*/ 744 w 874"/>
              <a:gd name="T5" fmla="*/ 88 h 438"/>
              <a:gd name="T6" fmla="*/ 713 w 874"/>
              <a:gd name="T7" fmla="*/ 109 h 438"/>
              <a:gd name="T8" fmla="*/ 662 w 874"/>
              <a:gd name="T9" fmla="*/ 131 h 438"/>
              <a:gd name="T10" fmla="*/ 628 w 874"/>
              <a:gd name="T11" fmla="*/ 123 h 438"/>
              <a:gd name="T12" fmla="*/ 620 w 874"/>
              <a:gd name="T13" fmla="*/ 102 h 438"/>
              <a:gd name="T14" fmla="*/ 629 w 874"/>
              <a:gd name="T15" fmla="*/ 68 h 438"/>
              <a:gd name="T16" fmla="*/ 605 w 874"/>
              <a:gd name="T17" fmla="*/ 76 h 438"/>
              <a:gd name="T18" fmla="*/ 567 w 874"/>
              <a:gd name="T19" fmla="*/ 134 h 438"/>
              <a:gd name="T20" fmla="*/ 572 w 874"/>
              <a:gd name="T21" fmla="*/ 90 h 438"/>
              <a:gd name="T22" fmla="*/ 595 w 874"/>
              <a:gd name="T23" fmla="*/ 64 h 438"/>
              <a:gd name="T24" fmla="*/ 636 w 874"/>
              <a:gd name="T25" fmla="*/ 61 h 438"/>
              <a:gd name="T26" fmla="*/ 610 w 874"/>
              <a:gd name="T27" fmla="*/ 49 h 438"/>
              <a:gd name="T28" fmla="*/ 594 w 874"/>
              <a:gd name="T29" fmla="*/ 34 h 438"/>
              <a:gd name="T30" fmla="*/ 533 w 874"/>
              <a:gd name="T31" fmla="*/ 50 h 438"/>
              <a:gd name="T32" fmla="*/ 540 w 874"/>
              <a:gd name="T33" fmla="*/ 19 h 438"/>
              <a:gd name="T34" fmla="*/ 508 w 874"/>
              <a:gd name="T35" fmla="*/ 8 h 438"/>
              <a:gd name="T36" fmla="*/ 316 w 874"/>
              <a:gd name="T37" fmla="*/ 8 h 438"/>
              <a:gd name="T38" fmla="*/ 120 w 874"/>
              <a:gd name="T39" fmla="*/ 12 h 438"/>
              <a:gd name="T40" fmla="*/ 99 w 874"/>
              <a:gd name="T41" fmla="*/ 32 h 438"/>
              <a:gd name="T42" fmla="*/ 83 w 874"/>
              <a:gd name="T43" fmla="*/ 19 h 438"/>
              <a:gd name="T44" fmla="*/ 74 w 874"/>
              <a:gd name="T45" fmla="*/ 49 h 438"/>
              <a:gd name="T46" fmla="*/ 64 w 874"/>
              <a:gd name="T47" fmla="*/ 65 h 438"/>
              <a:gd name="T48" fmla="*/ 21 w 874"/>
              <a:gd name="T49" fmla="*/ 131 h 438"/>
              <a:gd name="T50" fmla="*/ 4 w 874"/>
              <a:gd name="T51" fmla="*/ 201 h 438"/>
              <a:gd name="T52" fmla="*/ 9 w 874"/>
              <a:gd name="T53" fmla="*/ 210 h 438"/>
              <a:gd name="T54" fmla="*/ 14 w 874"/>
              <a:gd name="T55" fmla="*/ 255 h 438"/>
              <a:gd name="T56" fmla="*/ 37 w 874"/>
              <a:gd name="T57" fmla="*/ 276 h 438"/>
              <a:gd name="T58" fmla="*/ 204 w 874"/>
              <a:gd name="T59" fmla="*/ 316 h 438"/>
              <a:gd name="T60" fmla="*/ 277 w 874"/>
              <a:gd name="T61" fmla="*/ 361 h 438"/>
              <a:gd name="T62" fmla="*/ 323 w 874"/>
              <a:gd name="T63" fmla="*/ 417 h 438"/>
              <a:gd name="T64" fmla="*/ 334 w 874"/>
              <a:gd name="T65" fmla="*/ 385 h 438"/>
              <a:gd name="T66" fmla="*/ 349 w 874"/>
              <a:gd name="T67" fmla="*/ 375 h 438"/>
              <a:gd name="T68" fmla="*/ 373 w 874"/>
              <a:gd name="T69" fmla="*/ 355 h 438"/>
              <a:gd name="T70" fmla="*/ 417 w 874"/>
              <a:gd name="T71" fmla="*/ 354 h 438"/>
              <a:gd name="T72" fmla="*/ 450 w 874"/>
              <a:gd name="T73" fmla="*/ 362 h 438"/>
              <a:gd name="T74" fmla="*/ 453 w 874"/>
              <a:gd name="T75" fmla="*/ 346 h 438"/>
              <a:gd name="T76" fmla="*/ 484 w 874"/>
              <a:gd name="T77" fmla="*/ 343 h 438"/>
              <a:gd name="T78" fmla="*/ 513 w 874"/>
              <a:gd name="T79" fmla="*/ 345 h 438"/>
              <a:gd name="T80" fmla="*/ 550 w 874"/>
              <a:gd name="T81" fmla="*/ 358 h 438"/>
              <a:gd name="T82" fmla="*/ 558 w 874"/>
              <a:gd name="T83" fmla="*/ 406 h 438"/>
              <a:gd name="T84" fmla="*/ 577 w 874"/>
              <a:gd name="T85" fmla="*/ 437 h 438"/>
              <a:gd name="T86" fmla="*/ 584 w 874"/>
              <a:gd name="T87" fmla="*/ 337 h 438"/>
              <a:gd name="T88" fmla="*/ 615 w 874"/>
              <a:gd name="T89" fmla="*/ 303 h 438"/>
              <a:gd name="T90" fmla="*/ 659 w 874"/>
              <a:gd name="T91" fmla="*/ 272 h 438"/>
              <a:gd name="T92" fmla="*/ 683 w 874"/>
              <a:gd name="T93" fmla="*/ 250 h 438"/>
              <a:gd name="T94" fmla="*/ 683 w 874"/>
              <a:gd name="T95" fmla="*/ 236 h 438"/>
              <a:gd name="T96" fmla="*/ 693 w 874"/>
              <a:gd name="T97" fmla="*/ 224 h 438"/>
              <a:gd name="T98" fmla="*/ 698 w 874"/>
              <a:gd name="T99" fmla="*/ 206 h 438"/>
              <a:gd name="T100" fmla="*/ 698 w 874"/>
              <a:gd name="T101" fmla="*/ 203 h 438"/>
              <a:gd name="T102" fmla="*/ 707 w 874"/>
              <a:gd name="T103" fmla="*/ 182 h 438"/>
              <a:gd name="T104" fmla="*/ 706 w 874"/>
              <a:gd name="T105" fmla="*/ 205 h 438"/>
              <a:gd name="T106" fmla="*/ 718 w 874"/>
              <a:gd name="T107" fmla="*/ 186 h 438"/>
              <a:gd name="T108" fmla="*/ 741 w 874"/>
              <a:gd name="T109" fmla="*/ 169 h 438"/>
              <a:gd name="T110" fmla="*/ 767 w 874"/>
              <a:gd name="T111" fmla="*/ 145 h 438"/>
              <a:gd name="T112" fmla="*/ 812 w 874"/>
              <a:gd name="T113" fmla="*/ 137 h 438"/>
              <a:gd name="T114" fmla="*/ 804 w 874"/>
              <a:gd name="T115" fmla="*/ 122 h 438"/>
              <a:gd name="T116" fmla="*/ 832 w 874"/>
              <a:gd name="T117" fmla="*/ 99 h 438"/>
              <a:gd name="T118" fmla="*/ 855 w 874"/>
              <a:gd name="T119" fmla="*/ 89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74" h="438">
                <a:moveTo>
                  <a:pt x="873" y="81"/>
                </a:moveTo>
                <a:lnTo>
                  <a:pt x="872" y="81"/>
                </a:lnTo>
                <a:lnTo>
                  <a:pt x="872" y="80"/>
                </a:lnTo>
                <a:lnTo>
                  <a:pt x="873" y="79"/>
                </a:lnTo>
                <a:lnTo>
                  <a:pt x="874" y="76"/>
                </a:lnTo>
                <a:lnTo>
                  <a:pt x="874" y="75"/>
                </a:lnTo>
                <a:lnTo>
                  <a:pt x="873" y="75"/>
                </a:lnTo>
                <a:lnTo>
                  <a:pt x="872" y="76"/>
                </a:lnTo>
                <a:lnTo>
                  <a:pt x="870" y="75"/>
                </a:lnTo>
                <a:lnTo>
                  <a:pt x="869" y="74"/>
                </a:lnTo>
                <a:lnTo>
                  <a:pt x="868" y="73"/>
                </a:lnTo>
                <a:lnTo>
                  <a:pt x="868" y="72"/>
                </a:lnTo>
                <a:lnTo>
                  <a:pt x="869" y="69"/>
                </a:lnTo>
                <a:lnTo>
                  <a:pt x="865" y="66"/>
                </a:lnTo>
                <a:lnTo>
                  <a:pt x="870" y="54"/>
                </a:lnTo>
                <a:lnTo>
                  <a:pt x="874" y="42"/>
                </a:lnTo>
                <a:lnTo>
                  <a:pt x="869" y="36"/>
                </a:lnTo>
                <a:lnTo>
                  <a:pt x="868" y="36"/>
                </a:lnTo>
                <a:lnTo>
                  <a:pt x="864" y="40"/>
                </a:lnTo>
                <a:lnTo>
                  <a:pt x="860" y="40"/>
                </a:lnTo>
                <a:lnTo>
                  <a:pt x="856" y="39"/>
                </a:lnTo>
                <a:lnTo>
                  <a:pt x="856" y="39"/>
                </a:lnTo>
                <a:lnTo>
                  <a:pt x="856" y="36"/>
                </a:lnTo>
                <a:lnTo>
                  <a:pt x="855" y="35"/>
                </a:lnTo>
                <a:lnTo>
                  <a:pt x="854" y="35"/>
                </a:lnTo>
                <a:lnTo>
                  <a:pt x="852" y="36"/>
                </a:lnTo>
                <a:lnTo>
                  <a:pt x="841" y="46"/>
                </a:lnTo>
                <a:lnTo>
                  <a:pt x="839" y="51"/>
                </a:lnTo>
                <a:lnTo>
                  <a:pt x="835" y="54"/>
                </a:lnTo>
                <a:lnTo>
                  <a:pt x="835" y="55"/>
                </a:lnTo>
                <a:lnTo>
                  <a:pt x="833" y="58"/>
                </a:lnTo>
                <a:lnTo>
                  <a:pt x="832" y="59"/>
                </a:lnTo>
                <a:lnTo>
                  <a:pt x="829" y="68"/>
                </a:lnTo>
                <a:lnTo>
                  <a:pt x="828" y="68"/>
                </a:lnTo>
                <a:lnTo>
                  <a:pt x="825" y="69"/>
                </a:lnTo>
                <a:lnTo>
                  <a:pt x="824" y="70"/>
                </a:lnTo>
                <a:lnTo>
                  <a:pt x="823" y="71"/>
                </a:lnTo>
                <a:lnTo>
                  <a:pt x="823" y="72"/>
                </a:lnTo>
                <a:lnTo>
                  <a:pt x="823" y="73"/>
                </a:lnTo>
                <a:lnTo>
                  <a:pt x="821" y="72"/>
                </a:lnTo>
                <a:lnTo>
                  <a:pt x="821" y="72"/>
                </a:lnTo>
                <a:lnTo>
                  <a:pt x="821" y="74"/>
                </a:lnTo>
                <a:lnTo>
                  <a:pt x="819" y="73"/>
                </a:lnTo>
                <a:lnTo>
                  <a:pt x="815" y="74"/>
                </a:lnTo>
                <a:lnTo>
                  <a:pt x="814" y="74"/>
                </a:lnTo>
                <a:lnTo>
                  <a:pt x="812" y="74"/>
                </a:lnTo>
                <a:lnTo>
                  <a:pt x="810" y="75"/>
                </a:lnTo>
                <a:lnTo>
                  <a:pt x="808" y="79"/>
                </a:lnTo>
                <a:lnTo>
                  <a:pt x="807" y="79"/>
                </a:lnTo>
                <a:lnTo>
                  <a:pt x="781" y="79"/>
                </a:lnTo>
                <a:lnTo>
                  <a:pt x="762" y="79"/>
                </a:lnTo>
                <a:lnTo>
                  <a:pt x="758" y="79"/>
                </a:lnTo>
                <a:lnTo>
                  <a:pt x="752" y="82"/>
                </a:lnTo>
                <a:lnTo>
                  <a:pt x="747" y="85"/>
                </a:lnTo>
                <a:lnTo>
                  <a:pt x="746" y="86"/>
                </a:lnTo>
                <a:lnTo>
                  <a:pt x="744" y="86"/>
                </a:lnTo>
                <a:lnTo>
                  <a:pt x="744" y="88"/>
                </a:lnTo>
                <a:lnTo>
                  <a:pt x="741" y="90"/>
                </a:lnTo>
                <a:lnTo>
                  <a:pt x="734" y="93"/>
                </a:lnTo>
                <a:lnTo>
                  <a:pt x="733" y="94"/>
                </a:lnTo>
                <a:lnTo>
                  <a:pt x="733" y="95"/>
                </a:lnTo>
                <a:lnTo>
                  <a:pt x="736" y="95"/>
                </a:lnTo>
                <a:lnTo>
                  <a:pt x="736" y="96"/>
                </a:lnTo>
                <a:lnTo>
                  <a:pt x="736" y="98"/>
                </a:lnTo>
                <a:lnTo>
                  <a:pt x="734" y="99"/>
                </a:lnTo>
                <a:lnTo>
                  <a:pt x="733" y="98"/>
                </a:lnTo>
                <a:lnTo>
                  <a:pt x="732" y="99"/>
                </a:lnTo>
                <a:lnTo>
                  <a:pt x="732" y="100"/>
                </a:lnTo>
                <a:lnTo>
                  <a:pt x="733" y="101"/>
                </a:lnTo>
                <a:lnTo>
                  <a:pt x="733" y="103"/>
                </a:lnTo>
                <a:lnTo>
                  <a:pt x="732" y="104"/>
                </a:lnTo>
                <a:lnTo>
                  <a:pt x="728" y="105"/>
                </a:lnTo>
                <a:lnTo>
                  <a:pt x="722" y="109"/>
                </a:lnTo>
                <a:lnTo>
                  <a:pt x="719" y="109"/>
                </a:lnTo>
                <a:lnTo>
                  <a:pt x="713" y="109"/>
                </a:lnTo>
                <a:lnTo>
                  <a:pt x="713" y="109"/>
                </a:lnTo>
                <a:lnTo>
                  <a:pt x="710" y="110"/>
                </a:lnTo>
                <a:lnTo>
                  <a:pt x="708" y="109"/>
                </a:lnTo>
                <a:lnTo>
                  <a:pt x="705" y="108"/>
                </a:lnTo>
                <a:lnTo>
                  <a:pt x="703" y="108"/>
                </a:lnTo>
                <a:lnTo>
                  <a:pt x="697" y="108"/>
                </a:lnTo>
                <a:lnTo>
                  <a:pt x="691" y="109"/>
                </a:lnTo>
                <a:lnTo>
                  <a:pt x="688" y="110"/>
                </a:lnTo>
                <a:lnTo>
                  <a:pt x="688" y="113"/>
                </a:lnTo>
                <a:lnTo>
                  <a:pt x="688" y="114"/>
                </a:lnTo>
                <a:lnTo>
                  <a:pt x="688" y="118"/>
                </a:lnTo>
                <a:lnTo>
                  <a:pt x="683" y="120"/>
                </a:lnTo>
                <a:lnTo>
                  <a:pt x="682" y="122"/>
                </a:lnTo>
                <a:lnTo>
                  <a:pt x="681" y="122"/>
                </a:lnTo>
                <a:lnTo>
                  <a:pt x="680" y="122"/>
                </a:lnTo>
                <a:lnTo>
                  <a:pt x="677" y="124"/>
                </a:lnTo>
                <a:lnTo>
                  <a:pt x="671" y="128"/>
                </a:lnTo>
                <a:lnTo>
                  <a:pt x="668" y="129"/>
                </a:lnTo>
                <a:lnTo>
                  <a:pt x="665" y="130"/>
                </a:lnTo>
                <a:lnTo>
                  <a:pt x="662" y="131"/>
                </a:lnTo>
                <a:lnTo>
                  <a:pt x="658" y="133"/>
                </a:lnTo>
                <a:lnTo>
                  <a:pt x="653" y="133"/>
                </a:lnTo>
                <a:lnTo>
                  <a:pt x="648" y="135"/>
                </a:lnTo>
                <a:lnTo>
                  <a:pt x="637" y="141"/>
                </a:lnTo>
                <a:lnTo>
                  <a:pt x="632" y="141"/>
                </a:lnTo>
                <a:lnTo>
                  <a:pt x="627" y="142"/>
                </a:lnTo>
                <a:lnTo>
                  <a:pt x="622" y="142"/>
                </a:lnTo>
                <a:lnTo>
                  <a:pt x="621" y="141"/>
                </a:lnTo>
                <a:lnTo>
                  <a:pt x="620" y="141"/>
                </a:lnTo>
                <a:lnTo>
                  <a:pt x="619" y="141"/>
                </a:lnTo>
                <a:lnTo>
                  <a:pt x="617" y="139"/>
                </a:lnTo>
                <a:lnTo>
                  <a:pt x="614" y="137"/>
                </a:lnTo>
                <a:lnTo>
                  <a:pt x="616" y="136"/>
                </a:lnTo>
                <a:lnTo>
                  <a:pt x="620" y="133"/>
                </a:lnTo>
                <a:lnTo>
                  <a:pt x="621" y="130"/>
                </a:lnTo>
                <a:lnTo>
                  <a:pt x="624" y="126"/>
                </a:lnTo>
                <a:lnTo>
                  <a:pt x="626" y="125"/>
                </a:lnTo>
                <a:lnTo>
                  <a:pt x="627" y="124"/>
                </a:lnTo>
                <a:lnTo>
                  <a:pt x="628" y="123"/>
                </a:lnTo>
                <a:lnTo>
                  <a:pt x="629" y="121"/>
                </a:lnTo>
                <a:lnTo>
                  <a:pt x="632" y="121"/>
                </a:lnTo>
                <a:lnTo>
                  <a:pt x="632" y="121"/>
                </a:lnTo>
                <a:lnTo>
                  <a:pt x="637" y="114"/>
                </a:lnTo>
                <a:lnTo>
                  <a:pt x="638" y="113"/>
                </a:lnTo>
                <a:lnTo>
                  <a:pt x="637" y="113"/>
                </a:lnTo>
                <a:lnTo>
                  <a:pt x="637" y="112"/>
                </a:lnTo>
                <a:lnTo>
                  <a:pt x="637" y="110"/>
                </a:lnTo>
                <a:lnTo>
                  <a:pt x="638" y="105"/>
                </a:lnTo>
                <a:lnTo>
                  <a:pt x="639" y="102"/>
                </a:lnTo>
                <a:lnTo>
                  <a:pt x="639" y="100"/>
                </a:lnTo>
                <a:lnTo>
                  <a:pt x="638" y="95"/>
                </a:lnTo>
                <a:lnTo>
                  <a:pt x="636" y="95"/>
                </a:lnTo>
                <a:lnTo>
                  <a:pt x="630" y="98"/>
                </a:lnTo>
                <a:lnTo>
                  <a:pt x="630" y="98"/>
                </a:lnTo>
                <a:lnTo>
                  <a:pt x="627" y="101"/>
                </a:lnTo>
                <a:lnTo>
                  <a:pt x="624" y="102"/>
                </a:lnTo>
                <a:lnTo>
                  <a:pt x="622" y="103"/>
                </a:lnTo>
                <a:lnTo>
                  <a:pt x="620" y="102"/>
                </a:lnTo>
                <a:lnTo>
                  <a:pt x="620" y="101"/>
                </a:lnTo>
                <a:lnTo>
                  <a:pt x="622" y="99"/>
                </a:lnTo>
                <a:lnTo>
                  <a:pt x="625" y="96"/>
                </a:lnTo>
                <a:lnTo>
                  <a:pt x="629" y="94"/>
                </a:lnTo>
                <a:lnTo>
                  <a:pt x="631" y="92"/>
                </a:lnTo>
                <a:lnTo>
                  <a:pt x="633" y="90"/>
                </a:lnTo>
                <a:lnTo>
                  <a:pt x="635" y="89"/>
                </a:lnTo>
                <a:lnTo>
                  <a:pt x="636" y="86"/>
                </a:lnTo>
                <a:lnTo>
                  <a:pt x="636" y="82"/>
                </a:lnTo>
                <a:lnTo>
                  <a:pt x="636" y="80"/>
                </a:lnTo>
                <a:lnTo>
                  <a:pt x="637" y="79"/>
                </a:lnTo>
                <a:lnTo>
                  <a:pt x="638" y="78"/>
                </a:lnTo>
                <a:lnTo>
                  <a:pt x="638" y="78"/>
                </a:lnTo>
                <a:lnTo>
                  <a:pt x="638" y="74"/>
                </a:lnTo>
                <a:lnTo>
                  <a:pt x="637" y="73"/>
                </a:lnTo>
                <a:lnTo>
                  <a:pt x="633" y="71"/>
                </a:lnTo>
                <a:lnTo>
                  <a:pt x="632" y="70"/>
                </a:lnTo>
                <a:lnTo>
                  <a:pt x="631" y="70"/>
                </a:lnTo>
                <a:lnTo>
                  <a:pt x="629" y="68"/>
                </a:lnTo>
                <a:lnTo>
                  <a:pt x="628" y="66"/>
                </a:lnTo>
                <a:lnTo>
                  <a:pt x="626" y="68"/>
                </a:lnTo>
                <a:lnTo>
                  <a:pt x="626" y="66"/>
                </a:lnTo>
                <a:lnTo>
                  <a:pt x="622" y="66"/>
                </a:lnTo>
                <a:lnTo>
                  <a:pt x="619" y="66"/>
                </a:lnTo>
                <a:lnTo>
                  <a:pt x="618" y="68"/>
                </a:lnTo>
                <a:lnTo>
                  <a:pt x="617" y="69"/>
                </a:lnTo>
                <a:lnTo>
                  <a:pt x="617" y="70"/>
                </a:lnTo>
                <a:lnTo>
                  <a:pt x="617" y="72"/>
                </a:lnTo>
                <a:lnTo>
                  <a:pt x="617" y="72"/>
                </a:lnTo>
                <a:lnTo>
                  <a:pt x="612" y="73"/>
                </a:lnTo>
                <a:lnTo>
                  <a:pt x="610" y="74"/>
                </a:lnTo>
                <a:lnTo>
                  <a:pt x="609" y="78"/>
                </a:lnTo>
                <a:lnTo>
                  <a:pt x="607" y="80"/>
                </a:lnTo>
                <a:lnTo>
                  <a:pt x="606" y="80"/>
                </a:lnTo>
                <a:lnTo>
                  <a:pt x="604" y="82"/>
                </a:lnTo>
                <a:lnTo>
                  <a:pt x="604" y="81"/>
                </a:lnTo>
                <a:lnTo>
                  <a:pt x="605" y="78"/>
                </a:lnTo>
                <a:lnTo>
                  <a:pt x="605" y="76"/>
                </a:lnTo>
                <a:lnTo>
                  <a:pt x="604" y="78"/>
                </a:lnTo>
                <a:lnTo>
                  <a:pt x="601" y="79"/>
                </a:lnTo>
                <a:lnTo>
                  <a:pt x="597" y="81"/>
                </a:lnTo>
                <a:lnTo>
                  <a:pt x="596" y="83"/>
                </a:lnTo>
                <a:lnTo>
                  <a:pt x="594" y="84"/>
                </a:lnTo>
                <a:lnTo>
                  <a:pt x="592" y="86"/>
                </a:lnTo>
                <a:lnTo>
                  <a:pt x="591" y="89"/>
                </a:lnTo>
                <a:lnTo>
                  <a:pt x="590" y="91"/>
                </a:lnTo>
                <a:lnTo>
                  <a:pt x="590" y="92"/>
                </a:lnTo>
                <a:lnTo>
                  <a:pt x="588" y="93"/>
                </a:lnTo>
                <a:lnTo>
                  <a:pt x="586" y="98"/>
                </a:lnTo>
                <a:lnTo>
                  <a:pt x="582" y="103"/>
                </a:lnTo>
                <a:lnTo>
                  <a:pt x="581" y="109"/>
                </a:lnTo>
                <a:lnTo>
                  <a:pt x="582" y="111"/>
                </a:lnTo>
                <a:lnTo>
                  <a:pt x="582" y="113"/>
                </a:lnTo>
                <a:lnTo>
                  <a:pt x="578" y="121"/>
                </a:lnTo>
                <a:lnTo>
                  <a:pt x="574" y="128"/>
                </a:lnTo>
                <a:lnTo>
                  <a:pt x="568" y="132"/>
                </a:lnTo>
                <a:lnTo>
                  <a:pt x="567" y="134"/>
                </a:lnTo>
                <a:lnTo>
                  <a:pt x="562" y="136"/>
                </a:lnTo>
                <a:lnTo>
                  <a:pt x="558" y="139"/>
                </a:lnTo>
                <a:lnTo>
                  <a:pt x="556" y="139"/>
                </a:lnTo>
                <a:lnTo>
                  <a:pt x="555" y="137"/>
                </a:lnTo>
                <a:lnTo>
                  <a:pt x="554" y="137"/>
                </a:lnTo>
                <a:lnTo>
                  <a:pt x="554" y="136"/>
                </a:lnTo>
                <a:lnTo>
                  <a:pt x="554" y="133"/>
                </a:lnTo>
                <a:lnTo>
                  <a:pt x="554" y="128"/>
                </a:lnTo>
                <a:lnTo>
                  <a:pt x="555" y="124"/>
                </a:lnTo>
                <a:lnTo>
                  <a:pt x="556" y="121"/>
                </a:lnTo>
                <a:lnTo>
                  <a:pt x="557" y="119"/>
                </a:lnTo>
                <a:lnTo>
                  <a:pt x="558" y="114"/>
                </a:lnTo>
                <a:lnTo>
                  <a:pt x="559" y="111"/>
                </a:lnTo>
                <a:lnTo>
                  <a:pt x="561" y="108"/>
                </a:lnTo>
                <a:lnTo>
                  <a:pt x="566" y="102"/>
                </a:lnTo>
                <a:lnTo>
                  <a:pt x="567" y="100"/>
                </a:lnTo>
                <a:lnTo>
                  <a:pt x="569" y="96"/>
                </a:lnTo>
                <a:lnTo>
                  <a:pt x="572" y="92"/>
                </a:lnTo>
                <a:lnTo>
                  <a:pt x="572" y="90"/>
                </a:lnTo>
                <a:lnTo>
                  <a:pt x="575" y="88"/>
                </a:lnTo>
                <a:lnTo>
                  <a:pt x="578" y="84"/>
                </a:lnTo>
                <a:lnTo>
                  <a:pt x="581" y="81"/>
                </a:lnTo>
                <a:lnTo>
                  <a:pt x="586" y="76"/>
                </a:lnTo>
                <a:lnTo>
                  <a:pt x="586" y="74"/>
                </a:lnTo>
                <a:lnTo>
                  <a:pt x="580" y="78"/>
                </a:lnTo>
                <a:lnTo>
                  <a:pt x="579" y="80"/>
                </a:lnTo>
                <a:lnTo>
                  <a:pt x="578" y="82"/>
                </a:lnTo>
                <a:lnTo>
                  <a:pt x="576" y="82"/>
                </a:lnTo>
                <a:lnTo>
                  <a:pt x="568" y="86"/>
                </a:lnTo>
                <a:lnTo>
                  <a:pt x="568" y="85"/>
                </a:lnTo>
                <a:lnTo>
                  <a:pt x="571" y="82"/>
                </a:lnTo>
                <a:lnTo>
                  <a:pt x="572" y="81"/>
                </a:lnTo>
                <a:lnTo>
                  <a:pt x="576" y="80"/>
                </a:lnTo>
                <a:lnTo>
                  <a:pt x="578" y="76"/>
                </a:lnTo>
                <a:lnTo>
                  <a:pt x="588" y="68"/>
                </a:lnTo>
                <a:lnTo>
                  <a:pt x="591" y="65"/>
                </a:lnTo>
                <a:lnTo>
                  <a:pt x="592" y="65"/>
                </a:lnTo>
                <a:lnTo>
                  <a:pt x="595" y="64"/>
                </a:lnTo>
                <a:lnTo>
                  <a:pt x="597" y="63"/>
                </a:lnTo>
                <a:lnTo>
                  <a:pt x="595" y="68"/>
                </a:lnTo>
                <a:lnTo>
                  <a:pt x="597" y="68"/>
                </a:lnTo>
                <a:lnTo>
                  <a:pt x="604" y="63"/>
                </a:lnTo>
                <a:lnTo>
                  <a:pt x="607" y="62"/>
                </a:lnTo>
                <a:lnTo>
                  <a:pt x="611" y="62"/>
                </a:lnTo>
                <a:lnTo>
                  <a:pt x="614" y="60"/>
                </a:lnTo>
                <a:lnTo>
                  <a:pt x="617" y="60"/>
                </a:lnTo>
                <a:lnTo>
                  <a:pt x="620" y="60"/>
                </a:lnTo>
                <a:lnTo>
                  <a:pt x="622" y="61"/>
                </a:lnTo>
                <a:lnTo>
                  <a:pt x="622" y="62"/>
                </a:lnTo>
                <a:lnTo>
                  <a:pt x="624" y="63"/>
                </a:lnTo>
                <a:lnTo>
                  <a:pt x="626" y="63"/>
                </a:lnTo>
                <a:lnTo>
                  <a:pt x="627" y="61"/>
                </a:lnTo>
                <a:lnTo>
                  <a:pt x="628" y="61"/>
                </a:lnTo>
                <a:lnTo>
                  <a:pt x="629" y="61"/>
                </a:lnTo>
                <a:lnTo>
                  <a:pt x="629" y="62"/>
                </a:lnTo>
                <a:lnTo>
                  <a:pt x="635" y="61"/>
                </a:lnTo>
                <a:lnTo>
                  <a:pt x="636" y="61"/>
                </a:lnTo>
                <a:lnTo>
                  <a:pt x="637" y="61"/>
                </a:lnTo>
                <a:lnTo>
                  <a:pt x="637" y="61"/>
                </a:lnTo>
                <a:lnTo>
                  <a:pt x="636" y="60"/>
                </a:lnTo>
                <a:lnTo>
                  <a:pt x="635" y="59"/>
                </a:lnTo>
                <a:lnTo>
                  <a:pt x="633" y="58"/>
                </a:lnTo>
                <a:lnTo>
                  <a:pt x="635" y="55"/>
                </a:lnTo>
                <a:lnTo>
                  <a:pt x="635" y="54"/>
                </a:lnTo>
                <a:lnTo>
                  <a:pt x="635" y="53"/>
                </a:lnTo>
                <a:lnTo>
                  <a:pt x="635" y="52"/>
                </a:lnTo>
                <a:lnTo>
                  <a:pt x="632" y="52"/>
                </a:lnTo>
                <a:lnTo>
                  <a:pt x="628" y="52"/>
                </a:lnTo>
                <a:lnTo>
                  <a:pt x="627" y="52"/>
                </a:lnTo>
                <a:lnTo>
                  <a:pt x="625" y="51"/>
                </a:lnTo>
                <a:lnTo>
                  <a:pt x="626" y="49"/>
                </a:lnTo>
                <a:lnTo>
                  <a:pt x="626" y="48"/>
                </a:lnTo>
                <a:lnTo>
                  <a:pt x="624" y="48"/>
                </a:lnTo>
                <a:lnTo>
                  <a:pt x="620" y="49"/>
                </a:lnTo>
                <a:lnTo>
                  <a:pt x="618" y="49"/>
                </a:lnTo>
                <a:lnTo>
                  <a:pt x="610" y="49"/>
                </a:lnTo>
                <a:lnTo>
                  <a:pt x="607" y="50"/>
                </a:lnTo>
                <a:lnTo>
                  <a:pt x="605" y="51"/>
                </a:lnTo>
                <a:lnTo>
                  <a:pt x="602" y="52"/>
                </a:lnTo>
                <a:lnTo>
                  <a:pt x="600" y="53"/>
                </a:lnTo>
                <a:lnTo>
                  <a:pt x="595" y="52"/>
                </a:lnTo>
                <a:lnTo>
                  <a:pt x="592" y="52"/>
                </a:lnTo>
                <a:lnTo>
                  <a:pt x="590" y="50"/>
                </a:lnTo>
                <a:lnTo>
                  <a:pt x="589" y="48"/>
                </a:lnTo>
                <a:lnTo>
                  <a:pt x="586" y="45"/>
                </a:lnTo>
                <a:lnTo>
                  <a:pt x="581" y="46"/>
                </a:lnTo>
                <a:lnTo>
                  <a:pt x="580" y="45"/>
                </a:lnTo>
                <a:lnTo>
                  <a:pt x="578" y="48"/>
                </a:lnTo>
                <a:lnTo>
                  <a:pt x="578" y="46"/>
                </a:lnTo>
                <a:lnTo>
                  <a:pt x="579" y="44"/>
                </a:lnTo>
                <a:lnTo>
                  <a:pt x="581" y="42"/>
                </a:lnTo>
                <a:lnTo>
                  <a:pt x="584" y="42"/>
                </a:lnTo>
                <a:lnTo>
                  <a:pt x="589" y="38"/>
                </a:lnTo>
                <a:lnTo>
                  <a:pt x="592" y="35"/>
                </a:lnTo>
                <a:lnTo>
                  <a:pt x="594" y="34"/>
                </a:lnTo>
                <a:lnTo>
                  <a:pt x="592" y="34"/>
                </a:lnTo>
                <a:lnTo>
                  <a:pt x="590" y="34"/>
                </a:lnTo>
                <a:lnTo>
                  <a:pt x="587" y="35"/>
                </a:lnTo>
                <a:lnTo>
                  <a:pt x="582" y="36"/>
                </a:lnTo>
                <a:lnTo>
                  <a:pt x="578" y="39"/>
                </a:lnTo>
                <a:lnTo>
                  <a:pt x="574" y="42"/>
                </a:lnTo>
                <a:lnTo>
                  <a:pt x="570" y="43"/>
                </a:lnTo>
                <a:lnTo>
                  <a:pt x="567" y="45"/>
                </a:lnTo>
                <a:lnTo>
                  <a:pt x="562" y="46"/>
                </a:lnTo>
                <a:lnTo>
                  <a:pt x="559" y="46"/>
                </a:lnTo>
                <a:lnTo>
                  <a:pt x="552" y="50"/>
                </a:lnTo>
                <a:lnTo>
                  <a:pt x="549" y="50"/>
                </a:lnTo>
                <a:lnTo>
                  <a:pt x="544" y="50"/>
                </a:lnTo>
                <a:lnTo>
                  <a:pt x="543" y="51"/>
                </a:lnTo>
                <a:lnTo>
                  <a:pt x="543" y="50"/>
                </a:lnTo>
                <a:lnTo>
                  <a:pt x="545" y="48"/>
                </a:lnTo>
                <a:lnTo>
                  <a:pt x="545" y="45"/>
                </a:lnTo>
                <a:lnTo>
                  <a:pt x="544" y="44"/>
                </a:lnTo>
                <a:lnTo>
                  <a:pt x="533" y="50"/>
                </a:lnTo>
                <a:lnTo>
                  <a:pt x="528" y="50"/>
                </a:lnTo>
                <a:lnTo>
                  <a:pt x="527" y="50"/>
                </a:lnTo>
                <a:lnTo>
                  <a:pt x="526" y="49"/>
                </a:lnTo>
                <a:lnTo>
                  <a:pt x="529" y="46"/>
                </a:lnTo>
                <a:lnTo>
                  <a:pt x="541" y="39"/>
                </a:lnTo>
                <a:lnTo>
                  <a:pt x="556" y="32"/>
                </a:lnTo>
                <a:lnTo>
                  <a:pt x="562" y="30"/>
                </a:lnTo>
                <a:lnTo>
                  <a:pt x="570" y="25"/>
                </a:lnTo>
                <a:lnTo>
                  <a:pt x="569" y="25"/>
                </a:lnTo>
                <a:lnTo>
                  <a:pt x="566" y="24"/>
                </a:lnTo>
                <a:lnTo>
                  <a:pt x="559" y="24"/>
                </a:lnTo>
                <a:lnTo>
                  <a:pt x="556" y="22"/>
                </a:lnTo>
                <a:lnTo>
                  <a:pt x="552" y="23"/>
                </a:lnTo>
                <a:lnTo>
                  <a:pt x="549" y="24"/>
                </a:lnTo>
                <a:lnTo>
                  <a:pt x="547" y="24"/>
                </a:lnTo>
                <a:lnTo>
                  <a:pt x="545" y="23"/>
                </a:lnTo>
                <a:lnTo>
                  <a:pt x="544" y="21"/>
                </a:lnTo>
                <a:lnTo>
                  <a:pt x="541" y="20"/>
                </a:lnTo>
                <a:lnTo>
                  <a:pt x="540" y="19"/>
                </a:lnTo>
                <a:lnTo>
                  <a:pt x="538" y="19"/>
                </a:lnTo>
                <a:lnTo>
                  <a:pt x="537" y="18"/>
                </a:lnTo>
                <a:lnTo>
                  <a:pt x="536" y="17"/>
                </a:lnTo>
                <a:lnTo>
                  <a:pt x="535" y="15"/>
                </a:lnTo>
                <a:lnTo>
                  <a:pt x="533" y="14"/>
                </a:lnTo>
                <a:lnTo>
                  <a:pt x="526" y="13"/>
                </a:lnTo>
                <a:lnTo>
                  <a:pt x="524" y="14"/>
                </a:lnTo>
                <a:lnTo>
                  <a:pt x="520" y="15"/>
                </a:lnTo>
                <a:lnTo>
                  <a:pt x="519" y="14"/>
                </a:lnTo>
                <a:lnTo>
                  <a:pt x="519" y="14"/>
                </a:lnTo>
                <a:lnTo>
                  <a:pt x="519" y="13"/>
                </a:lnTo>
                <a:lnTo>
                  <a:pt x="516" y="13"/>
                </a:lnTo>
                <a:lnTo>
                  <a:pt x="515" y="12"/>
                </a:lnTo>
                <a:lnTo>
                  <a:pt x="513" y="12"/>
                </a:lnTo>
                <a:lnTo>
                  <a:pt x="511" y="12"/>
                </a:lnTo>
                <a:lnTo>
                  <a:pt x="510" y="12"/>
                </a:lnTo>
                <a:lnTo>
                  <a:pt x="508" y="12"/>
                </a:lnTo>
                <a:lnTo>
                  <a:pt x="508" y="8"/>
                </a:lnTo>
                <a:lnTo>
                  <a:pt x="508" y="8"/>
                </a:lnTo>
                <a:lnTo>
                  <a:pt x="509" y="1"/>
                </a:lnTo>
                <a:lnTo>
                  <a:pt x="507" y="0"/>
                </a:lnTo>
                <a:lnTo>
                  <a:pt x="506" y="0"/>
                </a:lnTo>
                <a:lnTo>
                  <a:pt x="503" y="8"/>
                </a:lnTo>
                <a:lnTo>
                  <a:pt x="487" y="8"/>
                </a:lnTo>
                <a:lnTo>
                  <a:pt x="473" y="8"/>
                </a:lnTo>
                <a:lnTo>
                  <a:pt x="473" y="8"/>
                </a:lnTo>
                <a:lnTo>
                  <a:pt x="470" y="8"/>
                </a:lnTo>
                <a:lnTo>
                  <a:pt x="458" y="8"/>
                </a:lnTo>
                <a:lnTo>
                  <a:pt x="446" y="8"/>
                </a:lnTo>
                <a:lnTo>
                  <a:pt x="433" y="8"/>
                </a:lnTo>
                <a:lnTo>
                  <a:pt x="419" y="8"/>
                </a:lnTo>
                <a:lnTo>
                  <a:pt x="415" y="8"/>
                </a:lnTo>
                <a:lnTo>
                  <a:pt x="377" y="8"/>
                </a:lnTo>
                <a:lnTo>
                  <a:pt x="366" y="8"/>
                </a:lnTo>
                <a:lnTo>
                  <a:pt x="353" y="8"/>
                </a:lnTo>
                <a:lnTo>
                  <a:pt x="339" y="8"/>
                </a:lnTo>
                <a:lnTo>
                  <a:pt x="328" y="8"/>
                </a:lnTo>
                <a:lnTo>
                  <a:pt x="316" y="8"/>
                </a:lnTo>
                <a:lnTo>
                  <a:pt x="302" y="8"/>
                </a:lnTo>
                <a:lnTo>
                  <a:pt x="294" y="8"/>
                </a:lnTo>
                <a:lnTo>
                  <a:pt x="282" y="8"/>
                </a:lnTo>
                <a:lnTo>
                  <a:pt x="267" y="8"/>
                </a:lnTo>
                <a:lnTo>
                  <a:pt x="255" y="8"/>
                </a:lnTo>
                <a:lnTo>
                  <a:pt x="237" y="8"/>
                </a:lnTo>
                <a:lnTo>
                  <a:pt x="209" y="8"/>
                </a:lnTo>
                <a:lnTo>
                  <a:pt x="195" y="8"/>
                </a:lnTo>
                <a:lnTo>
                  <a:pt x="182" y="8"/>
                </a:lnTo>
                <a:lnTo>
                  <a:pt x="171" y="8"/>
                </a:lnTo>
                <a:lnTo>
                  <a:pt x="157" y="8"/>
                </a:lnTo>
                <a:lnTo>
                  <a:pt x="144" y="8"/>
                </a:lnTo>
                <a:lnTo>
                  <a:pt x="132" y="8"/>
                </a:lnTo>
                <a:lnTo>
                  <a:pt x="115" y="8"/>
                </a:lnTo>
                <a:lnTo>
                  <a:pt x="115" y="10"/>
                </a:lnTo>
                <a:lnTo>
                  <a:pt x="115" y="11"/>
                </a:lnTo>
                <a:lnTo>
                  <a:pt x="118" y="11"/>
                </a:lnTo>
                <a:lnTo>
                  <a:pt x="120" y="12"/>
                </a:lnTo>
                <a:lnTo>
                  <a:pt x="120" y="12"/>
                </a:lnTo>
                <a:lnTo>
                  <a:pt x="119" y="13"/>
                </a:lnTo>
                <a:lnTo>
                  <a:pt x="119" y="12"/>
                </a:lnTo>
                <a:lnTo>
                  <a:pt x="118" y="13"/>
                </a:lnTo>
                <a:lnTo>
                  <a:pt x="116" y="14"/>
                </a:lnTo>
                <a:lnTo>
                  <a:pt x="114" y="17"/>
                </a:lnTo>
                <a:lnTo>
                  <a:pt x="113" y="17"/>
                </a:lnTo>
                <a:lnTo>
                  <a:pt x="113" y="17"/>
                </a:lnTo>
                <a:lnTo>
                  <a:pt x="113" y="18"/>
                </a:lnTo>
                <a:lnTo>
                  <a:pt x="114" y="19"/>
                </a:lnTo>
                <a:lnTo>
                  <a:pt x="114" y="19"/>
                </a:lnTo>
                <a:lnTo>
                  <a:pt x="113" y="22"/>
                </a:lnTo>
                <a:lnTo>
                  <a:pt x="111" y="27"/>
                </a:lnTo>
                <a:lnTo>
                  <a:pt x="109" y="29"/>
                </a:lnTo>
                <a:lnTo>
                  <a:pt x="109" y="29"/>
                </a:lnTo>
                <a:lnTo>
                  <a:pt x="109" y="28"/>
                </a:lnTo>
                <a:lnTo>
                  <a:pt x="109" y="28"/>
                </a:lnTo>
                <a:lnTo>
                  <a:pt x="106" y="28"/>
                </a:lnTo>
                <a:lnTo>
                  <a:pt x="102" y="31"/>
                </a:lnTo>
                <a:lnTo>
                  <a:pt x="99" y="32"/>
                </a:lnTo>
                <a:lnTo>
                  <a:pt x="98" y="33"/>
                </a:lnTo>
                <a:lnTo>
                  <a:pt x="98" y="34"/>
                </a:lnTo>
                <a:lnTo>
                  <a:pt x="96" y="35"/>
                </a:lnTo>
                <a:lnTo>
                  <a:pt x="95" y="35"/>
                </a:lnTo>
                <a:lnTo>
                  <a:pt x="96" y="33"/>
                </a:lnTo>
                <a:lnTo>
                  <a:pt x="102" y="29"/>
                </a:lnTo>
                <a:lnTo>
                  <a:pt x="103" y="28"/>
                </a:lnTo>
                <a:lnTo>
                  <a:pt x="104" y="27"/>
                </a:lnTo>
                <a:lnTo>
                  <a:pt x="105" y="27"/>
                </a:lnTo>
                <a:lnTo>
                  <a:pt x="106" y="24"/>
                </a:lnTo>
                <a:lnTo>
                  <a:pt x="108" y="23"/>
                </a:lnTo>
                <a:lnTo>
                  <a:pt x="104" y="23"/>
                </a:lnTo>
                <a:lnTo>
                  <a:pt x="101" y="22"/>
                </a:lnTo>
                <a:lnTo>
                  <a:pt x="98" y="22"/>
                </a:lnTo>
                <a:lnTo>
                  <a:pt x="94" y="21"/>
                </a:lnTo>
                <a:lnTo>
                  <a:pt x="92" y="21"/>
                </a:lnTo>
                <a:lnTo>
                  <a:pt x="86" y="19"/>
                </a:lnTo>
                <a:lnTo>
                  <a:pt x="84" y="18"/>
                </a:lnTo>
                <a:lnTo>
                  <a:pt x="83" y="19"/>
                </a:lnTo>
                <a:lnTo>
                  <a:pt x="81" y="21"/>
                </a:lnTo>
                <a:lnTo>
                  <a:pt x="79" y="23"/>
                </a:lnTo>
                <a:lnTo>
                  <a:pt x="79" y="24"/>
                </a:lnTo>
                <a:lnTo>
                  <a:pt x="79" y="27"/>
                </a:lnTo>
                <a:lnTo>
                  <a:pt x="79" y="29"/>
                </a:lnTo>
                <a:lnTo>
                  <a:pt x="79" y="32"/>
                </a:lnTo>
                <a:lnTo>
                  <a:pt x="75" y="40"/>
                </a:lnTo>
                <a:lnTo>
                  <a:pt x="75" y="42"/>
                </a:lnTo>
                <a:lnTo>
                  <a:pt x="75" y="42"/>
                </a:lnTo>
                <a:lnTo>
                  <a:pt x="78" y="41"/>
                </a:lnTo>
                <a:lnTo>
                  <a:pt x="78" y="42"/>
                </a:lnTo>
                <a:lnTo>
                  <a:pt x="76" y="43"/>
                </a:lnTo>
                <a:lnTo>
                  <a:pt x="74" y="44"/>
                </a:lnTo>
                <a:lnTo>
                  <a:pt x="73" y="46"/>
                </a:lnTo>
                <a:lnTo>
                  <a:pt x="73" y="46"/>
                </a:lnTo>
                <a:lnTo>
                  <a:pt x="74" y="48"/>
                </a:lnTo>
                <a:lnTo>
                  <a:pt x="75" y="46"/>
                </a:lnTo>
                <a:lnTo>
                  <a:pt x="75" y="48"/>
                </a:lnTo>
                <a:lnTo>
                  <a:pt x="74" y="49"/>
                </a:lnTo>
                <a:lnTo>
                  <a:pt x="73" y="52"/>
                </a:lnTo>
                <a:lnTo>
                  <a:pt x="72" y="52"/>
                </a:lnTo>
                <a:lnTo>
                  <a:pt x="71" y="52"/>
                </a:lnTo>
                <a:lnTo>
                  <a:pt x="73" y="50"/>
                </a:lnTo>
                <a:lnTo>
                  <a:pt x="72" y="49"/>
                </a:lnTo>
                <a:lnTo>
                  <a:pt x="70" y="52"/>
                </a:lnTo>
                <a:lnTo>
                  <a:pt x="70" y="54"/>
                </a:lnTo>
                <a:lnTo>
                  <a:pt x="71" y="55"/>
                </a:lnTo>
                <a:lnTo>
                  <a:pt x="76" y="55"/>
                </a:lnTo>
                <a:lnTo>
                  <a:pt x="76" y="56"/>
                </a:lnTo>
                <a:lnTo>
                  <a:pt x="79" y="58"/>
                </a:lnTo>
                <a:lnTo>
                  <a:pt x="78" y="58"/>
                </a:lnTo>
                <a:lnTo>
                  <a:pt x="75" y="58"/>
                </a:lnTo>
                <a:lnTo>
                  <a:pt x="70" y="58"/>
                </a:lnTo>
                <a:lnTo>
                  <a:pt x="69" y="58"/>
                </a:lnTo>
                <a:lnTo>
                  <a:pt x="68" y="59"/>
                </a:lnTo>
                <a:lnTo>
                  <a:pt x="65" y="63"/>
                </a:lnTo>
                <a:lnTo>
                  <a:pt x="64" y="64"/>
                </a:lnTo>
                <a:lnTo>
                  <a:pt x="64" y="65"/>
                </a:lnTo>
                <a:lnTo>
                  <a:pt x="63" y="66"/>
                </a:lnTo>
                <a:lnTo>
                  <a:pt x="62" y="69"/>
                </a:lnTo>
                <a:lnTo>
                  <a:pt x="60" y="71"/>
                </a:lnTo>
                <a:lnTo>
                  <a:pt x="55" y="79"/>
                </a:lnTo>
                <a:lnTo>
                  <a:pt x="52" y="81"/>
                </a:lnTo>
                <a:lnTo>
                  <a:pt x="47" y="91"/>
                </a:lnTo>
                <a:lnTo>
                  <a:pt x="44" y="93"/>
                </a:lnTo>
                <a:lnTo>
                  <a:pt x="42" y="96"/>
                </a:lnTo>
                <a:lnTo>
                  <a:pt x="38" y="103"/>
                </a:lnTo>
                <a:lnTo>
                  <a:pt x="37" y="104"/>
                </a:lnTo>
                <a:lnTo>
                  <a:pt x="37" y="105"/>
                </a:lnTo>
                <a:lnTo>
                  <a:pt x="37" y="105"/>
                </a:lnTo>
                <a:lnTo>
                  <a:pt x="35" y="106"/>
                </a:lnTo>
                <a:lnTo>
                  <a:pt x="33" y="108"/>
                </a:lnTo>
                <a:lnTo>
                  <a:pt x="31" y="110"/>
                </a:lnTo>
                <a:lnTo>
                  <a:pt x="25" y="116"/>
                </a:lnTo>
                <a:lnTo>
                  <a:pt x="24" y="120"/>
                </a:lnTo>
                <a:lnTo>
                  <a:pt x="21" y="126"/>
                </a:lnTo>
                <a:lnTo>
                  <a:pt x="21" y="131"/>
                </a:lnTo>
                <a:lnTo>
                  <a:pt x="20" y="132"/>
                </a:lnTo>
                <a:lnTo>
                  <a:pt x="20" y="135"/>
                </a:lnTo>
                <a:lnTo>
                  <a:pt x="18" y="143"/>
                </a:lnTo>
                <a:lnTo>
                  <a:pt x="13" y="149"/>
                </a:lnTo>
                <a:lnTo>
                  <a:pt x="11" y="154"/>
                </a:lnTo>
                <a:lnTo>
                  <a:pt x="8" y="156"/>
                </a:lnTo>
                <a:lnTo>
                  <a:pt x="4" y="159"/>
                </a:lnTo>
                <a:lnTo>
                  <a:pt x="3" y="161"/>
                </a:lnTo>
                <a:lnTo>
                  <a:pt x="2" y="162"/>
                </a:lnTo>
                <a:lnTo>
                  <a:pt x="3" y="164"/>
                </a:lnTo>
                <a:lnTo>
                  <a:pt x="5" y="174"/>
                </a:lnTo>
                <a:lnTo>
                  <a:pt x="5" y="175"/>
                </a:lnTo>
                <a:lnTo>
                  <a:pt x="3" y="176"/>
                </a:lnTo>
                <a:lnTo>
                  <a:pt x="2" y="180"/>
                </a:lnTo>
                <a:lnTo>
                  <a:pt x="0" y="188"/>
                </a:lnTo>
                <a:lnTo>
                  <a:pt x="1" y="191"/>
                </a:lnTo>
                <a:lnTo>
                  <a:pt x="2" y="194"/>
                </a:lnTo>
                <a:lnTo>
                  <a:pt x="4" y="198"/>
                </a:lnTo>
                <a:lnTo>
                  <a:pt x="4" y="201"/>
                </a:lnTo>
                <a:lnTo>
                  <a:pt x="3" y="203"/>
                </a:lnTo>
                <a:lnTo>
                  <a:pt x="3" y="204"/>
                </a:lnTo>
                <a:lnTo>
                  <a:pt x="4" y="205"/>
                </a:lnTo>
                <a:lnTo>
                  <a:pt x="7" y="205"/>
                </a:lnTo>
                <a:lnTo>
                  <a:pt x="7" y="206"/>
                </a:lnTo>
                <a:lnTo>
                  <a:pt x="8" y="206"/>
                </a:lnTo>
                <a:lnTo>
                  <a:pt x="9" y="205"/>
                </a:lnTo>
                <a:lnTo>
                  <a:pt x="9" y="205"/>
                </a:lnTo>
                <a:lnTo>
                  <a:pt x="11" y="202"/>
                </a:lnTo>
                <a:lnTo>
                  <a:pt x="14" y="202"/>
                </a:lnTo>
                <a:lnTo>
                  <a:pt x="18" y="203"/>
                </a:lnTo>
                <a:lnTo>
                  <a:pt x="15" y="204"/>
                </a:lnTo>
                <a:lnTo>
                  <a:pt x="13" y="204"/>
                </a:lnTo>
                <a:lnTo>
                  <a:pt x="11" y="206"/>
                </a:lnTo>
                <a:lnTo>
                  <a:pt x="11" y="207"/>
                </a:lnTo>
                <a:lnTo>
                  <a:pt x="11" y="212"/>
                </a:lnTo>
                <a:lnTo>
                  <a:pt x="11" y="213"/>
                </a:lnTo>
                <a:lnTo>
                  <a:pt x="10" y="212"/>
                </a:lnTo>
                <a:lnTo>
                  <a:pt x="9" y="210"/>
                </a:lnTo>
                <a:lnTo>
                  <a:pt x="9" y="208"/>
                </a:lnTo>
                <a:lnTo>
                  <a:pt x="8" y="208"/>
                </a:lnTo>
                <a:lnTo>
                  <a:pt x="7" y="211"/>
                </a:lnTo>
                <a:lnTo>
                  <a:pt x="5" y="212"/>
                </a:lnTo>
                <a:lnTo>
                  <a:pt x="5" y="215"/>
                </a:lnTo>
                <a:lnTo>
                  <a:pt x="4" y="220"/>
                </a:lnTo>
                <a:lnTo>
                  <a:pt x="7" y="223"/>
                </a:lnTo>
                <a:lnTo>
                  <a:pt x="10" y="223"/>
                </a:lnTo>
                <a:lnTo>
                  <a:pt x="10" y="226"/>
                </a:lnTo>
                <a:lnTo>
                  <a:pt x="9" y="228"/>
                </a:lnTo>
                <a:lnTo>
                  <a:pt x="5" y="231"/>
                </a:lnTo>
                <a:lnTo>
                  <a:pt x="4" y="234"/>
                </a:lnTo>
                <a:lnTo>
                  <a:pt x="4" y="235"/>
                </a:lnTo>
                <a:lnTo>
                  <a:pt x="8" y="241"/>
                </a:lnTo>
                <a:lnTo>
                  <a:pt x="9" y="246"/>
                </a:lnTo>
                <a:lnTo>
                  <a:pt x="12" y="251"/>
                </a:lnTo>
                <a:lnTo>
                  <a:pt x="13" y="251"/>
                </a:lnTo>
                <a:lnTo>
                  <a:pt x="12" y="254"/>
                </a:lnTo>
                <a:lnTo>
                  <a:pt x="14" y="255"/>
                </a:lnTo>
                <a:lnTo>
                  <a:pt x="14" y="257"/>
                </a:lnTo>
                <a:lnTo>
                  <a:pt x="14" y="258"/>
                </a:lnTo>
                <a:lnTo>
                  <a:pt x="13" y="260"/>
                </a:lnTo>
                <a:lnTo>
                  <a:pt x="12" y="262"/>
                </a:lnTo>
                <a:lnTo>
                  <a:pt x="11" y="266"/>
                </a:lnTo>
                <a:lnTo>
                  <a:pt x="12" y="267"/>
                </a:lnTo>
                <a:lnTo>
                  <a:pt x="13" y="267"/>
                </a:lnTo>
                <a:lnTo>
                  <a:pt x="18" y="268"/>
                </a:lnTo>
                <a:lnTo>
                  <a:pt x="21" y="271"/>
                </a:lnTo>
                <a:lnTo>
                  <a:pt x="22" y="270"/>
                </a:lnTo>
                <a:lnTo>
                  <a:pt x="24" y="270"/>
                </a:lnTo>
                <a:lnTo>
                  <a:pt x="27" y="272"/>
                </a:lnTo>
                <a:lnTo>
                  <a:pt x="28" y="272"/>
                </a:lnTo>
                <a:lnTo>
                  <a:pt x="29" y="274"/>
                </a:lnTo>
                <a:lnTo>
                  <a:pt x="32" y="275"/>
                </a:lnTo>
                <a:lnTo>
                  <a:pt x="33" y="276"/>
                </a:lnTo>
                <a:lnTo>
                  <a:pt x="34" y="277"/>
                </a:lnTo>
                <a:lnTo>
                  <a:pt x="35" y="276"/>
                </a:lnTo>
                <a:lnTo>
                  <a:pt x="37" y="276"/>
                </a:lnTo>
                <a:lnTo>
                  <a:pt x="38" y="276"/>
                </a:lnTo>
                <a:lnTo>
                  <a:pt x="39" y="278"/>
                </a:lnTo>
                <a:lnTo>
                  <a:pt x="39" y="282"/>
                </a:lnTo>
                <a:lnTo>
                  <a:pt x="39" y="282"/>
                </a:lnTo>
                <a:lnTo>
                  <a:pt x="42" y="282"/>
                </a:lnTo>
                <a:lnTo>
                  <a:pt x="45" y="284"/>
                </a:lnTo>
                <a:lnTo>
                  <a:pt x="47" y="286"/>
                </a:lnTo>
                <a:lnTo>
                  <a:pt x="49" y="291"/>
                </a:lnTo>
                <a:lnTo>
                  <a:pt x="50" y="293"/>
                </a:lnTo>
                <a:lnTo>
                  <a:pt x="51" y="295"/>
                </a:lnTo>
                <a:lnTo>
                  <a:pt x="49" y="303"/>
                </a:lnTo>
                <a:lnTo>
                  <a:pt x="49" y="304"/>
                </a:lnTo>
                <a:lnTo>
                  <a:pt x="84" y="302"/>
                </a:lnTo>
                <a:lnTo>
                  <a:pt x="84" y="303"/>
                </a:lnTo>
                <a:lnTo>
                  <a:pt x="135" y="325"/>
                </a:lnTo>
                <a:lnTo>
                  <a:pt x="164" y="325"/>
                </a:lnTo>
                <a:lnTo>
                  <a:pt x="176" y="325"/>
                </a:lnTo>
                <a:lnTo>
                  <a:pt x="180" y="316"/>
                </a:lnTo>
                <a:lnTo>
                  <a:pt x="204" y="316"/>
                </a:lnTo>
                <a:lnTo>
                  <a:pt x="206" y="318"/>
                </a:lnTo>
                <a:lnTo>
                  <a:pt x="207" y="318"/>
                </a:lnTo>
                <a:lnTo>
                  <a:pt x="209" y="323"/>
                </a:lnTo>
                <a:lnTo>
                  <a:pt x="212" y="324"/>
                </a:lnTo>
                <a:lnTo>
                  <a:pt x="213" y="327"/>
                </a:lnTo>
                <a:lnTo>
                  <a:pt x="217" y="333"/>
                </a:lnTo>
                <a:lnTo>
                  <a:pt x="223" y="338"/>
                </a:lnTo>
                <a:lnTo>
                  <a:pt x="223" y="353"/>
                </a:lnTo>
                <a:lnTo>
                  <a:pt x="226" y="358"/>
                </a:lnTo>
                <a:lnTo>
                  <a:pt x="230" y="363"/>
                </a:lnTo>
                <a:lnTo>
                  <a:pt x="235" y="367"/>
                </a:lnTo>
                <a:lnTo>
                  <a:pt x="242" y="368"/>
                </a:lnTo>
                <a:lnTo>
                  <a:pt x="252" y="355"/>
                </a:lnTo>
                <a:lnTo>
                  <a:pt x="253" y="354"/>
                </a:lnTo>
                <a:lnTo>
                  <a:pt x="256" y="353"/>
                </a:lnTo>
                <a:lnTo>
                  <a:pt x="260" y="354"/>
                </a:lnTo>
                <a:lnTo>
                  <a:pt x="272" y="353"/>
                </a:lnTo>
                <a:lnTo>
                  <a:pt x="274" y="356"/>
                </a:lnTo>
                <a:lnTo>
                  <a:pt x="277" y="361"/>
                </a:lnTo>
                <a:lnTo>
                  <a:pt x="278" y="364"/>
                </a:lnTo>
                <a:lnTo>
                  <a:pt x="281" y="366"/>
                </a:lnTo>
                <a:lnTo>
                  <a:pt x="283" y="379"/>
                </a:lnTo>
                <a:lnTo>
                  <a:pt x="286" y="384"/>
                </a:lnTo>
                <a:lnTo>
                  <a:pt x="287" y="389"/>
                </a:lnTo>
                <a:lnTo>
                  <a:pt x="292" y="393"/>
                </a:lnTo>
                <a:lnTo>
                  <a:pt x="293" y="407"/>
                </a:lnTo>
                <a:lnTo>
                  <a:pt x="296" y="415"/>
                </a:lnTo>
                <a:lnTo>
                  <a:pt x="300" y="418"/>
                </a:lnTo>
                <a:lnTo>
                  <a:pt x="304" y="418"/>
                </a:lnTo>
                <a:lnTo>
                  <a:pt x="307" y="422"/>
                </a:lnTo>
                <a:lnTo>
                  <a:pt x="315" y="422"/>
                </a:lnTo>
                <a:lnTo>
                  <a:pt x="319" y="425"/>
                </a:lnTo>
                <a:lnTo>
                  <a:pt x="324" y="425"/>
                </a:lnTo>
                <a:lnTo>
                  <a:pt x="325" y="424"/>
                </a:lnTo>
                <a:lnTo>
                  <a:pt x="324" y="424"/>
                </a:lnTo>
                <a:lnTo>
                  <a:pt x="323" y="420"/>
                </a:lnTo>
                <a:lnTo>
                  <a:pt x="323" y="418"/>
                </a:lnTo>
                <a:lnTo>
                  <a:pt x="323" y="417"/>
                </a:lnTo>
                <a:lnTo>
                  <a:pt x="323" y="409"/>
                </a:lnTo>
                <a:lnTo>
                  <a:pt x="323" y="407"/>
                </a:lnTo>
                <a:lnTo>
                  <a:pt x="324" y="406"/>
                </a:lnTo>
                <a:lnTo>
                  <a:pt x="325" y="403"/>
                </a:lnTo>
                <a:lnTo>
                  <a:pt x="325" y="402"/>
                </a:lnTo>
                <a:lnTo>
                  <a:pt x="323" y="402"/>
                </a:lnTo>
                <a:lnTo>
                  <a:pt x="323" y="400"/>
                </a:lnTo>
                <a:lnTo>
                  <a:pt x="323" y="399"/>
                </a:lnTo>
                <a:lnTo>
                  <a:pt x="325" y="399"/>
                </a:lnTo>
                <a:lnTo>
                  <a:pt x="326" y="400"/>
                </a:lnTo>
                <a:lnTo>
                  <a:pt x="327" y="399"/>
                </a:lnTo>
                <a:lnTo>
                  <a:pt x="328" y="397"/>
                </a:lnTo>
                <a:lnTo>
                  <a:pt x="329" y="394"/>
                </a:lnTo>
                <a:lnTo>
                  <a:pt x="328" y="391"/>
                </a:lnTo>
                <a:lnTo>
                  <a:pt x="333" y="389"/>
                </a:lnTo>
                <a:lnTo>
                  <a:pt x="335" y="387"/>
                </a:lnTo>
                <a:lnTo>
                  <a:pt x="335" y="386"/>
                </a:lnTo>
                <a:lnTo>
                  <a:pt x="333" y="386"/>
                </a:lnTo>
                <a:lnTo>
                  <a:pt x="334" y="385"/>
                </a:lnTo>
                <a:lnTo>
                  <a:pt x="336" y="384"/>
                </a:lnTo>
                <a:lnTo>
                  <a:pt x="337" y="384"/>
                </a:lnTo>
                <a:lnTo>
                  <a:pt x="339" y="382"/>
                </a:lnTo>
                <a:lnTo>
                  <a:pt x="341" y="381"/>
                </a:lnTo>
                <a:lnTo>
                  <a:pt x="341" y="379"/>
                </a:lnTo>
                <a:lnTo>
                  <a:pt x="344" y="379"/>
                </a:lnTo>
                <a:lnTo>
                  <a:pt x="345" y="379"/>
                </a:lnTo>
                <a:lnTo>
                  <a:pt x="345" y="377"/>
                </a:lnTo>
                <a:lnTo>
                  <a:pt x="344" y="376"/>
                </a:lnTo>
                <a:lnTo>
                  <a:pt x="345" y="375"/>
                </a:lnTo>
                <a:lnTo>
                  <a:pt x="345" y="374"/>
                </a:lnTo>
                <a:lnTo>
                  <a:pt x="346" y="375"/>
                </a:lnTo>
                <a:lnTo>
                  <a:pt x="347" y="376"/>
                </a:lnTo>
                <a:lnTo>
                  <a:pt x="347" y="375"/>
                </a:lnTo>
                <a:lnTo>
                  <a:pt x="347" y="374"/>
                </a:lnTo>
                <a:lnTo>
                  <a:pt x="348" y="374"/>
                </a:lnTo>
                <a:lnTo>
                  <a:pt x="348" y="374"/>
                </a:lnTo>
                <a:lnTo>
                  <a:pt x="349" y="375"/>
                </a:lnTo>
                <a:lnTo>
                  <a:pt x="349" y="375"/>
                </a:lnTo>
                <a:lnTo>
                  <a:pt x="351" y="375"/>
                </a:lnTo>
                <a:lnTo>
                  <a:pt x="352" y="374"/>
                </a:lnTo>
                <a:lnTo>
                  <a:pt x="352" y="373"/>
                </a:lnTo>
                <a:lnTo>
                  <a:pt x="352" y="376"/>
                </a:lnTo>
                <a:lnTo>
                  <a:pt x="356" y="374"/>
                </a:lnTo>
                <a:lnTo>
                  <a:pt x="357" y="374"/>
                </a:lnTo>
                <a:lnTo>
                  <a:pt x="357" y="375"/>
                </a:lnTo>
                <a:lnTo>
                  <a:pt x="356" y="375"/>
                </a:lnTo>
                <a:lnTo>
                  <a:pt x="353" y="376"/>
                </a:lnTo>
                <a:lnTo>
                  <a:pt x="349" y="377"/>
                </a:lnTo>
                <a:lnTo>
                  <a:pt x="349" y="378"/>
                </a:lnTo>
                <a:lnTo>
                  <a:pt x="349" y="378"/>
                </a:lnTo>
                <a:lnTo>
                  <a:pt x="355" y="377"/>
                </a:lnTo>
                <a:lnTo>
                  <a:pt x="359" y="375"/>
                </a:lnTo>
                <a:lnTo>
                  <a:pt x="362" y="373"/>
                </a:lnTo>
                <a:lnTo>
                  <a:pt x="366" y="371"/>
                </a:lnTo>
                <a:lnTo>
                  <a:pt x="367" y="368"/>
                </a:lnTo>
                <a:lnTo>
                  <a:pt x="371" y="364"/>
                </a:lnTo>
                <a:lnTo>
                  <a:pt x="373" y="355"/>
                </a:lnTo>
                <a:lnTo>
                  <a:pt x="374" y="354"/>
                </a:lnTo>
                <a:lnTo>
                  <a:pt x="375" y="354"/>
                </a:lnTo>
                <a:lnTo>
                  <a:pt x="375" y="354"/>
                </a:lnTo>
                <a:lnTo>
                  <a:pt x="375" y="357"/>
                </a:lnTo>
                <a:lnTo>
                  <a:pt x="377" y="357"/>
                </a:lnTo>
                <a:lnTo>
                  <a:pt x="376" y="358"/>
                </a:lnTo>
                <a:lnTo>
                  <a:pt x="374" y="359"/>
                </a:lnTo>
                <a:lnTo>
                  <a:pt x="375" y="359"/>
                </a:lnTo>
                <a:lnTo>
                  <a:pt x="381" y="357"/>
                </a:lnTo>
                <a:lnTo>
                  <a:pt x="385" y="355"/>
                </a:lnTo>
                <a:lnTo>
                  <a:pt x="389" y="355"/>
                </a:lnTo>
                <a:lnTo>
                  <a:pt x="398" y="354"/>
                </a:lnTo>
                <a:lnTo>
                  <a:pt x="404" y="355"/>
                </a:lnTo>
                <a:lnTo>
                  <a:pt x="406" y="357"/>
                </a:lnTo>
                <a:lnTo>
                  <a:pt x="410" y="357"/>
                </a:lnTo>
                <a:lnTo>
                  <a:pt x="414" y="357"/>
                </a:lnTo>
                <a:lnTo>
                  <a:pt x="415" y="356"/>
                </a:lnTo>
                <a:lnTo>
                  <a:pt x="416" y="354"/>
                </a:lnTo>
                <a:lnTo>
                  <a:pt x="417" y="354"/>
                </a:lnTo>
                <a:lnTo>
                  <a:pt x="419" y="354"/>
                </a:lnTo>
                <a:lnTo>
                  <a:pt x="424" y="356"/>
                </a:lnTo>
                <a:lnTo>
                  <a:pt x="425" y="358"/>
                </a:lnTo>
                <a:lnTo>
                  <a:pt x="426" y="358"/>
                </a:lnTo>
                <a:lnTo>
                  <a:pt x="428" y="363"/>
                </a:lnTo>
                <a:lnTo>
                  <a:pt x="432" y="363"/>
                </a:lnTo>
                <a:lnTo>
                  <a:pt x="433" y="364"/>
                </a:lnTo>
                <a:lnTo>
                  <a:pt x="435" y="365"/>
                </a:lnTo>
                <a:lnTo>
                  <a:pt x="437" y="364"/>
                </a:lnTo>
                <a:lnTo>
                  <a:pt x="438" y="365"/>
                </a:lnTo>
                <a:lnTo>
                  <a:pt x="439" y="364"/>
                </a:lnTo>
                <a:lnTo>
                  <a:pt x="442" y="364"/>
                </a:lnTo>
                <a:lnTo>
                  <a:pt x="444" y="365"/>
                </a:lnTo>
                <a:lnTo>
                  <a:pt x="446" y="362"/>
                </a:lnTo>
                <a:lnTo>
                  <a:pt x="447" y="362"/>
                </a:lnTo>
                <a:lnTo>
                  <a:pt x="447" y="361"/>
                </a:lnTo>
                <a:lnTo>
                  <a:pt x="447" y="359"/>
                </a:lnTo>
                <a:lnTo>
                  <a:pt x="449" y="359"/>
                </a:lnTo>
                <a:lnTo>
                  <a:pt x="450" y="362"/>
                </a:lnTo>
                <a:lnTo>
                  <a:pt x="454" y="363"/>
                </a:lnTo>
                <a:lnTo>
                  <a:pt x="456" y="367"/>
                </a:lnTo>
                <a:lnTo>
                  <a:pt x="457" y="367"/>
                </a:lnTo>
                <a:lnTo>
                  <a:pt x="459" y="366"/>
                </a:lnTo>
                <a:lnTo>
                  <a:pt x="459" y="365"/>
                </a:lnTo>
                <a:lnTo>
                  <a:pt x="459" y="363"/>
                </a:lnTo>
                <a:lnTo>
                  <a:pt x="455" y="361"/>
                </a:lnTo>
                <a:lnTo>
                  <a:pt x="454" y="357"/>
                </a:lnTo>
                <a:lnTo>
                  <a:pt x="454" y="357"/>
                </a:lnTo>
                <a:lnTo>
                  <a:pt x="455" y="355"/>
                </a:lnTo>
                <a:lnTo>
                  <a:pt x="459" y="352"/>
                </a:lnTo>
                <a:lnTo>
                  <a:pt x="460" y="348"/>
                </a:lnTo>
                <a:lnTo>
                  <a:pt x="460" y="347"/>
                </a:lnTo>
                <a:lnTo>
                  <a:pt x="459" y="347"/>
                </a:lnTo>
                <a:lnTo>
                  <a:pt x="456" y="348"/>
                </a:lnTo>
                <a:lnTo>
                  <a:pt x="454" y="351"/>
                </a:lnTo>
                <a:lnTo>
                  <a:pt x="453" y="351"/>
                </a:lnTo>
                <a:lnTo>
                  <a:pt x="453" y="347"/>
                </a:lnTo>
                <a:lnTo>
                  <a:pt x="453" y="346"/>
                </a:lnTo>
                <a:lnTo>
                  <a:pt x="452" y="347"/>
                </a:lnTo>
                <a:lnTo>
                  <a:pt x="449" y="348"/>
                </a:lnTo>
                <a:lnTo>
                  <a:pt x="446" y="348"/>
                </a:lnTo>
                <a:lnTo>
                  <a:pt x="444" y="346"/>
                </a:lnTo>
                <a:lnTo>
                  <a:pt x="446" y="344"/>
                </a:lnTo>
                <a:lnTo>
                  <a:pt x="449" y="343"/>
                </a:lnTo>
                <a:lnTo>
                  <a:pt x="454" y="344"/>
                </a:lnTo>
                <a:lnTo>
                  <a:pt x="457" y="345"/>
                </a:lnTo>
                <a:lnTo>
                  <a:pt x="462" y="343"/>
                </a:lnTo>
                <a:lnTo>
                  <a:pt x="464" y="344"/>
                </a:lnTo>
                <a:lnTo>
                  <a:pt x="467" y="342"/>
                </a:lnTo>
                <a:lnTo>
                  <a:pt x="476" y="343"/>
                </a:lnTo>
                <a:lnTo>
                  <a:pt x="478" y="343"/>
                </a:lnTo>
                <a:lnTo>
                  <a:pt x="480" y="343"/>
                </a:lnTo>
                <a:lnTo>
                  <a:pt x="485" y="333"/>
                </a:lnTo>
                <a:lnTo>
                  <a:pt x="485" y="335"/>
                </a:lnTo>
                <a:lnTo>
                  <a:pt x="484" y="337"/>
                </a:lnTo>
                <a:lnTo>
                  <a:pt x="484" y="341"/>
                </a:lnTo>
                <a:lnTo>
                  <a:pt x="484" y="343"/>
                </a:lnTo>
                <a:lnTo>
                  <a:pt x="483" y="344"/>
                </a:lnTo>
                <a:lnTo>
                  <a:pt x="483" y="345"/>
                </a:lnTo>
                <a:lnTo>
                  <a:pt x="485" y="345"/>
                </a:lnTo>
                <a:lnTo>
                  <a:pt x="491" y="343"/>
                </a:lnTo>
                <a:lnTo>
                  <a:pt x="495" y="341"/>
                </a:lnTo>
                <a:lnTo>
                  <a:pt x="496" y="341"/>
                </a:lnTo>
                <a:lnTo>
                  <a:pt x="498" y="339"/>
                </a:lnTo>
                <a:lnTo>
                  <a:pt x="498" y="339"/>
                </a:lnTo>
                <a:lnTo>
                  <a:pt x="498" y="339"/>
                </a:lnTo>
                <a:lnTo>
                  <a:pt x="497" y="342"/>
                </a:lnTo>
                <a:lnTo>
                  <a:pt x="498" y="342"/>
                </a:lnTo>
                <a:lnTo>
                  <a:pt x="505" y="341"/>
                </a:lnTo>
                <a:lnTo>
                  <a:pt x="508" y="341"/>
                </a:lnTo>
                <a:lnTo>
                  <a:pt x="509" y="341"/>
                </a:lnTo>
                <a:lnTo>
                  <a:pt x="509" y="342"/>
                </a:lnTo>
                <a:lnTo>
                  <a:pt x="508" y="343"/>
                </a:lnTo>
                <a:lnTo>
                  <a:pt x="508" y="343"/>
                </a:lnTo>
                <a:lnTo>
                  <a:pt x="509" y="344"/>
                </a:lnTo>
                <a:lnTo>
                  <a:pt x="513" y="345"/>
                </a:lnTo>
                <a:lnTo>
                  <a:pt x="519" y="349"/>
                </a:lnTo>
                <a:lnTo>
                  <a:pt x="519" y="351"/>
                </a:lnTo>
                <a:lnTo>
                  <a:pt x="520" y="354"/>
                </a:lnTo>
                <a:lnTo>
                  <a:pt x="521" y="355"/>
                </a:lnTo>
                <a:lnTo>
                  <a:pt x="526" y="354"/>
                </a:lnTo>
                <a:lnTo>
                  <a:pt x="529" y="353"/>
                </a:lnTo>
                <a:lnTo>
                  <a:pt x="534" y="351"/>
                </a:lnTo>
                <a:lnTo>
                  <a:pt x="536" y="351"/>
                </a:lnTo>
                <a:lnTo>
                  <a:pt x="536" y="351"/>
                </a:lnTo>
                <a:lnTo>
                  <a:pt x="537" y="349"/>
                </a:lnTo>
                <a:lnTo>
                  <a:pt x="538" y="348"/>
                </a:lnTo>
                <a:lnTo>
                  <a:pt x="541" y="348"/>
                </a:lnTo>
                <a:lnTo>
                  <a:pt x="543" y="348"/>
                </a:lnTo>
                <a:lnTo>
                  <a:pt x="545" y="349"/>
                </a:lnTo>
                <a:lnTo>
                  <a:pt x="547" y="351"/>
                </a:lnTo>
                <a:lnTo>
                  <a:pt x="548" y="355"/>
                </a:lnTo>
                <a:lnTo>
                  <a:pt x="550" y="355"/>
                </a:lnTo>
                <a:lnTo>
                  <a:pt x="549" y="358"/>
                </a:lnTo>
                <a:lnTo>
                  <a:pt x="550" y="358"/>
                </a:lnTo>
                <a:lnTo>
                  <a:pt x="552" y="363"/>
                </a:lnTo>
                <a:lnTo>
                  <a:pt x="555" y="364"/>
                </a:lnTo>
                <a:lnTo>
                  <a:pt x="557" y="365"/>
                </a:lnTo>
                <a:lnTo>
                  <a:pt x="558" y="366"/>
                </a:lnTo>
                <a:lnTo>
                  <a:pt x="558" y="368"/>
                </a:lnTo>
                <a:lnTo>
                  <a:pt x="557" y="374"/>
                </a:lnTo>
                <a:lnTo>
                  <a:pt x="554" y="384"/>
                </a:lnTo>
                <a:lnTo>
                  <a:pt x="554" y="386"/>
                </a:lnTo>
                <a:lnTo>
                  <a:pt x="552" y="388"/>
                </a:lnTo>
                <a:lnTo>
                  <a:pt x="554" y="389"/>
                </a:lnTo>
                <a:lnTo>
                  <a:pt x="555" y="389"/>
                </a:lnTo>
                <a:lnTo>
                  <a:pt x="555" y="386"/>
                </a:lnTo>
                <a:lnTo>
                  <a:pt x="556" y="387"/>
                </a:lnTo>
                <a:lnTo>
                  <a:pt x="557" y="388"/>
                </a:lnTo>
                <a:lnTo>
                  <a:pt x="556" y="392"/>
                </a:lnTo>
                <a:lnTo>
                  <a:pt x="555" y="394"/>
                </a:lnTo>
                <a:lnTo>
                  <a:pt x="554" y="397"/>
                </a:lnTo>
                <a:lnTo>
                  <a:pt x="555" y="400"/>
                </a:lnTo>
                <a:lnTo>
                  <a:pt x="558" y="406"/>
                </a:lnTo>
                <a:lnTo>
                  <a:pt x="558" y="407"/>
                </a:lnTo>
                <a:lnTo>
                  <a:pt x="560" y="406"/>
                </a:lnTo>
                <a:lnTo>
                  <a:pt x="560" y="410"/>
                </a:lnTo>
                <a:lnTo>
                  <a:pt x="561" y="410"/>
                </a:lnTo>
                <a:lnTo>
                  <a:pt x="562" y="410"/>
                </a:lnTo>
                <a:lnTo>
                  <a:pt x="561" y="412"/>
                </a:lnTo>
                <a:lnTo>
                  <a:pt x="560" y="413"/>
                </a:lnTo>
                <a:lnTo>
                  <a:pt x="562" y="417"/>
                </a:lnTo>
                <a:lnTo>
                  <a:pt x="562" y="420"/>
                </a:lnTo>
                <a:lnTo>
                  <a:pt x="564" y="423"/>
                </a:lnTo>
                <a:lnTo>
                  <a:pt x="565" y="425"/>
                </a:lnTo>
                <a:lnTo>
                  <a:pt x="567" y="425"/>
                </a:lnTo>
                <a:lnTo>
                  <a:pt x="568" y="426"/>
                </a:lnTo>
                <a:lnTo>
                  <a:pt x="570" y="433"/>
                </a:lnTo>
                <a:lnTo>
                  <a:pt x="569" y="436"/>
                </a:lnTo>
                <a:lnTo>
                  <a:pt x="569" y="437"/>
                </a:lnTo>
                <a:lnTo>
                  <a:pt x="570" y="438"/>
                </a:lnTo>
                <a:lnTo>
                  <a:pt x="574" y="438"/>
                </a:lnTo>
                <a:lnTo>
                  <a:pt x="577" y="437"/>
                </a:lnTo>
                <a:lnTo>
                  <a:pt x="580" y="436"/>
                </a:lnTo>
                <a:lnTo>
                  <a:pt x="582" y="437"/>
                </a:lnTo>
                <a:lnTo>
                  <a:pt x="585" y="435"/>
                </a:lnTo>
                <a:lnTo>
                  <a:pt x="584" y="434"/>
                </a:lnTo>
                <a:lnTo>
                  <a:pt x="586" y="427"/>
                </a:lnTo>
                <a:lnTo>
                  <a:pt x="588" y="422"/>
                </a:lnTo>
                <a:lnTo>
                  <a:pt x="590" y="415"/>
                </a:lnTo>
                <a:lnTo>
                  <a:pt x="590" y="409"/>
                </a:lnTo>
                <a:lnTo>
                  <a:pt x="591" y="405"/>
                </a:lnTo>
                <a:lnTo>
                  <a:pt x="589" y="393"/>
                </a:lnTo>
                <a:lnTo>
                  <a:pt x="587" y="387"/>
                </a:lnTo>
                <a:lnTo>
                  <a:pt x="587" y="384"/>
                </a:lnTo>
                <a:lnTo>
                  <a:pt x="589" y="378"/>
                </a:lnTo>
                <a:lnTo>
                  <a:pt x="589" y="376"/>
                </a:lnTo>
                <a:lnTo>
                  <a:pt x="588" y="372"/>
                </a:lnTo>
                <a:lnTo>
                  <a:pt x="585" y="364"/>
                </a:lnTo>
                <a:lnTo>
                  <a:pt x="582" y="352"/>
                </a:lnTo>
                <a:lnTo>
                  <a:pt x="582" y="338"/>
                </a:lnTo>
                <a:lnTo>
                  <a:pt x="584" y="337"/>
                </a:lnTo>
                <a:lnTo>
                  <a:pt x="585" y="332"/>
                </a:lnTo>
                <a:lnTo>
                  <a:pt x="587" y="329"/>
                </a:lnTo>
                <a:lnTo>
                  <a:pt x="589" y="326"/>
                </a:lnTo>
                <a:lnTo>
                  <a:pt x="590" y="324"/>
                </a:lnTo>
                <a:lnTo>
                  <a:pt x="596" y="315"/>
                </a:lnTo>
                <a:lnTo>
                  <a:pt x="598" y="313"/>
                </a:lnTo>
                <a:lnTo>
                  <a:pt x="599" y="313"/>
                </a:lnTo>
                <a:lnTo>
                  <a:pt x="599" y="312"/>
                </a:lnTo>
                <a:lnTo>
                  <a:pt x="599" y="311"/>
                </a:lnTo>
                <a:lnTo>
                  <a:pt x="602" y="309"/>
                </a:lnTo>
                <a:lnTo>
                  <a:pt x="604" y="309"/>
                </a:lnTo>
                <a:lnTo>
                  <a:pt x="605" y="308"/>
                </a:lnTo>
                <a:lnTo>
                  <a:pt x="605" y="306"/>
                </a:lnTo>
                <a:lnTo>
                  <a:pt x="604" y="305"/>
                </a:lnTo>
                <a:lnTo>
                  <a:pt x="604" y="304"/>
                </a:lnTo>
                <a:lnTo>
                  <a:pt x="605" y="303"/>
                </a:lnTo>
                <a:lnTo>
                  <a:pt x="609" y="303"/>
                </a:lnTo>
                <a:lnTo>
                  <a:pt x="612" y="303"/>
                </a:lnTo>
                <a:lnTo>
                  <a:pt x="615" y="303"/>
                </a:lnTo>
                <a:lnTo>
                  <a:pt x="622" y="297"/>
                </a:lnTo>
                <a:lnTo>
                  <a:pt x="622" y="297"/>
                </a:lnTo>
                <a:lnTo>
                  <a:pt x="624" y="296"/>
                </a:lnTo>
                <a:lnTo>
                  <a:pt x="625" y="295"/>
                </a:lnTo>
                <a:lnTo>
                  <a:pt x="628" y="294"/>
                </a:lnTo>
                <a:lnTo>
                  <a:pt x="630" y="293"/>
                </a:lnTo>
                <a:lnTo>
                  <a:pt x="631" y="291"/>
                </a:lnTo>
                <a:lnTo>
                  <a:pt x="631" y="289"/>
                </a:lnTo>
                <a:lnTo>
                  <a:pt x="632" y="288"/>
                </a:lnTo>
                <a:lnTo>
                  <a:pt x="636" y="285"/>
                </a:lnTo>
                <a:lnTo>
                  <a:pt x="638" y="283"/>
                </a:lnTo>
                <a:lnTo>
                  <a:pt x="642" y="281"/>
                </a:lnTo>
                <a:lnTo>
                  <a:pt x="642" y="280"/>
                </a:lnTo>
                <a:lnTo>
                  <a:pt x="645" y="280"/>
                </a:lnTo>
                <a:lnTo>
                  <a:pt x="649" y="278"/>
                </a:lnTo>
                <a:lnTo>
                  <a:pt x="656" y="276"/>
                </a:lnTo>
                <a:lnTo>
                  <a:pt x="656" y="274"/>
                </a:lnTo>
                <a:lnTo>
                  <a:pt x="657" y="274"/>
                </a:lnTo>
                <a:lnTo>
                  <a:pt x="659" y="272"/>
                </a:lnTo>
                <a:lnTo>
                  <a:pt x="661" y="270"/>
                </a:lnTo>
                <a:lnTo>
                  <a:pt x="663" y="268"/>
                </a:lnTo>
                <a:lnTo>
                  <a:pt x="669" y="266"/>
                </a:lnTo>
                <a:lnTo>
                  <a:pt x="676" y="265"/>
                </a:lnTo>
                <a:lnTo>
                  <a:pt x="680" y="263"/>
                </a:lnTo>
                <a:lnTo>
                  <a:pt x="681" y="262"/>
                </a:lnTo>
                <a:lnTo>
                  <a:pt x="681" y="260"/>
                </a:lnTo>
                <a:lnTo>
                  <a:pt x="679" y="258"/>
                </a:lnTo>
                <a:lnTo>
                  <a:pt x="678" y="260"/>
                </a:lnTo>
                <a:lnTo>
                  <a:pt x="678" y="260"/>
                </a:lnTo>
                <a:lnTo>
                  <a:pt x="678" y="260"/>
                </a:lnTo>
                <a:lnTo>
                  <a:pt x="678" y="257"/>
                </a:lnTo>
                <a:lnTo>
                  <a:pt x="679" y="256"/>
                </a:lnTo>
                <a:lnTo>
                  <a:pt x="680" y="255"/>
                </a:lnTo>
                <a:lnTo>
                  <a:pt x="682" y="254"/>
                </a:lnTo>
                <a:lnTo>
                  <a:pt x="681" y="253"/>
                </a:lnTo>
                <a:lnTo>
                  <a:pt x="678" y="252"/>
                </a:lnTo>
                <a:lnTo>
                  <a:pt x="681" y="252"/>
                </a:lnTo>
                <a:lnTo>
                  <a:pt x="683" y="250"/>
                </a:lnTo>
                <a:lnTo>
                  <a:pt x="683" y="252"/>
                </a:lnTo>
                <a:lnTo>
                  <a:pt x="685" y="252"/>
                </a:lnTo>
                <a:lnTo>
                  <a:pt x="685" y="253"/>
                </a:lnTo>
                <a:lnTo>
                  <a:pt x="688" y="253"/>
                </a:lnTo>
                <a:lnTo>
                  <a:pt x="689" y="252"/>
                </a:lnTo>
                <a:lnTo>
                  <a:pt x="693" y="248"/>
                </a:lnTo>
                <a:lnTo>
                  <a:pt x="695" y="247"/>
                </a:lnTo>
                <a:lnTo>
                  <a:pt x="696" y="245"/>
                </a:lnTo>
                <a:lnTo>
                  <a:pt x="696" y="244"/>
                </a:lnTo>
                <a:lnTo>
                  <a:pt x="695" y="242"/>
                </a:lnTo>
                <a:lnTo>
                  <a:pt x="693" y="244"/>
                </a:lnTo>
                <a:lnTo>
                  <a:pt x="691" y="246"/>
                </a:lnTo>
                <a:lnTo>
                  <a:pt x="691" y="246"/>
                </a:lnTo>
                <a:lnTo>
                  <a:pt x="690" y="245"/>
                </a:lnTo>
                <a:lnTo>
                  <a:pt x="691" y="242"/>
                </a:lnTo>
                <a:lnTo>
                  <a:pt x="683" y="243"/>
                </a:lnTo>
                <a:lnTo>
                  <a:pt x="682" y="243"/>
                </a:lnTo>
                <a:lnTo>
                  <a:pt x="682" y="241"/>
                </a:lnTo>
                <a:lnTo>
                  <a:pt x="683" y="236"/>
                </a:lnTo>
                <a:lnTo>
                  <a:pt x="685" y="236"/>
                </a:lnTo>
                <a:lnTo>
                  <a:pt x="685" y="240"/>
                </a:lnTo>
                <a:lnTo>
                  <a:pt x="685" y="241"/>
                </a:lnTo>
                <a:lnTo>
                  <a:pt x="687" y="241"/>
                </a:lnTo>
                <a:lnTo>
                  <a:pt x="691" y="238"/>
                </a:lnTo>
                <a:lnTo>
                  <a:pt x="692" y="238"/>
                </a:lnTo>
                <a:lnTo>
                  <a:pt x="692" y="237"/>
                </a:lnTo>
                <a:lnTo>
                  <a:pt x="693" y="237"/>
                </a:lnTo>
                <a:lnTo>
                  <a:pt x="696" y="237"/>
                </a:lnTo>
                <a:lnTo>
                  <a:pt x="696" y="240"/>
                </a:lnTo>
                <a:lnTo>
                  <a:pt x="696" y="240"/>
                </a:lnTo>
                <a:lnTo>
                  <a:pt x="696" y="237"/>
                </a:lnTo>
                <a:lnTo>
                  <a:pt x="696" y="236"/>
                </a:lnTo>
                <a:lnTo>
                  <a:pt x="696" y="234"/>
                </a:lnTo>
                <a:lnTo>
                  <a:pt x="696" y="233"/>
                </a:lnTo>
                <a:lnTo>
                  <a:pt x="698" y="228"/>
                </a:lnTo>
                <a:lnTo>
                  <a:pt x="698" y="225"/>
                </a:lnTo>
                <a:lnTo>
                  <a:pt x="693" y="224"/>
                </a:lnTo>
                <a:lnTo>
                  <a:pt x="693" y="224"/>
                </a:lnTo>
                <a:lnTo>
                  <a:pt x="692" y="225"/>
                </a:lnTo>
                <a:lnTo>
                  <a:pt x="691" y="224"/>
                </a:lnTo>
                <a:lnTo>
                  <a:pt x="690" y="223"/>
                </a:lnTo>
                <a:lnTo>
                  <a:pt x="690" y="222"/>
                </a:lnTo>
                <a:lnTo>
                  <a:pt x="693" y="222"/>
                </a:lnTo>
                <a:lnTo>
                  <a:pt x="695" y="221"/>
                </a:lnTo>
                <a:lnTo>
                  <a:pt x="695" y="220"/>
                </a:lnTo>
                <a:lnTo>
                  <a:pt x="693" y="220"/>
                </a:lnTo>
                <a:lnTo>
                  <a:pt x="693" y="217"/>
                </a:lnTo>
                <a:lnTo>
                  <a:pt x="693" y="217"/>
                </a:lnTo>
                <a:lnTo>
                  <a:pt x="695" y="216"/>
                </a:lnTo>
                <a:lnTo>
                  <a:pt x="696" y="216"/>
                </a:lnTo>
                <a:lnTo>
                  <a:pt x="696" y="214"/>
                </a:lnTo>
                <a:lnTo>
                  <a:pt x="695" y="213"/>
                </a:lnTo>
                <a:lnTo>
                  <a:pt x="695" y="211"/>
                </a:lnTo>
                <a:lnTo>
                  <a:pt x="695" y="211"/>
                </a:lnTo>
                <a:lnTo>
                  <a:pt x="696" y="211"/>
                </a:lnTo>
                <a:lnTo>
                  <a:pt x="697" y="207"/>
                </a:lnTo>
                <a:lnTo>
                  <a:pt x="698" y="206"/>
                </a:lnTo>
                <a:lnTo>
                  <a:pt x="697" y="204"/>
                </a:lnTo>
                <a:lnTo>
                  <a:pt x="693" y="203"/>
                </a:lnTo>
                <a:lnTo>
                  <a:pt x="691" y="202"/>
                </a:lnTo>
                <a:lnTo>
                  <a:pt x="689" y="200"/>
                </a:lnTo>
                <a:lnTo>
                  <a:pt x="686" y="197"/>
                </a:lnTo>
                <a:lnTo>
                  <a:pt x="686" y="196"/>
                </a:lnTo>
                <a:lnTo>
                  <a:pt x="686" y="196"/>
                </a:lnTo>
                <a:lnTo>
                  <a:pt x="687" y="194"/>
                </a:lnTo>
                <a:lnTo>
                  <a:pt x="688" y="194"/>
                </a:lnTo>
                <a:lnTo>
                  <a:pt x="688" y="194"/>
                </a:lnTo>
                <a:lnTo>
                  <a:pt x="687" y="196"/>
                </a:lnTo>
                <a:lnTo>
                  <a:pt x="687" y="196"/>
                </a:lnTo>
                <a:lnTo>
                  <a:pt x="689" y="197"/>
                </a:lnTo>
                <a:lnTo>
                  <a:pt x="691" y="198"/>
                </a:lnTo>
                <a:lnTo>
                  <a:pt x="692" y="198"/>
                </a:lnTo>
                <a:lnTo>
                  <a:pt x="693" y="200"/>
                </a:lnTo>
                <a:lnTo>
                  <a:pt x="696" y="200"/>
                </a:lnTo>
                <a:lnTo>
                  <a:pt x="697" y="202"/>
                </a:lnTo>
                <a:lnTo>
                  <a:pt x="698" y="203"/>
                </a:lnTo>
                <a:lnTo>
                  <a:pt x="698" y="198"/>
                </a:lnTo>
                <a:lnTo>
                  <a:pt x="697" y="196"/>
                </a:lnTo>
                <a:lnTo>
                  <a:pt x="698" y="196"/>
                </a:lnTo>
                <a:lnTo>
                  <a:pt x="698" y="196"/>
                </a:lnTo>
                <a:lnTo>
                  <a:pt x="698" y="195"/>
                </a:lnTo>
                <a:lnTo>
                  <a:pt x="699" y="192"/>
                </a:lnTo>
                <a:lnTo>
                  <a:pt x="701" y="185"/>
                </a:lnTo>
                <a:lnTo>
                  <a:pt x="701" y="183"/>
                </a:lnTo>
                <a:lnTo>
                  <a:pt x="703" y="182"/>
                </a:lnTo>
                <a:lnTo>
                  <a:pt x="708" y="179"/>
                </a:lnTo>
                <a:lnTo>
                  <a:pt x="709" y="177"/>
                </a:lnTo>
                <a:lnTo>
                  <a:pt x="711" y="176"/>
                </a:lnTo>
                <a:lnTo>
                  <a:pt x="711" y="176"/>
                </a:lnTo>
                <a:lnTo>
                  <a:pt x="712" y="176"/>
                </a:lnTo>
                <a:lnTo>
                  <a:pt x="712" y="177"/>
                </a:lnTo>
                <a:lnTo>
                  <a:pt x="711" y="179"/>
                </a:lnTo>
                <a:lnTo>
                  <a:pt x="710" y="180"/>
                </a:lnTo>
                <a:lnTo>
                  <a:pt x="708" y="181"/>
                </a:lnTo>
                <a:lnTo>
                  <a:pt x="707" y="182"/>
                </a:lnTo>
                <a:lnTo>
                  <a:pt x="707" y="183"/>
                </a:lnTo>
                <a:lnTo>
                  <a:pt x="707" y="184"/>
                </a:lnTo>
                <a:lnTo>
                  <a:pt x="706" y="185"/>
                </a:lnTo>
                <a:lnTo>
                  <a:pt x="703" y="187"/>
                </a:lnTo>
                <a:lnTo>
                  <a:pt x="703" y="188"/>
                </a:lnTo>
                <a:lnTo>
                  <a:pt x="706" y="188"/>
                </a:lnTo>
                <a:lnTo>
                  <a:pt x="706" y="188"/>
                </a:lnTo>
                <a:lnTo>
                  <a:pt x="705" y="191"/>
                </a:lnTo>
                <a:lnTo>
                  <a:pt x="705" y="193"/>
                </a:lnTo>
                <a:lnTo>
                  <a:pt x="703" y="194"/>
                </a:lnTo>
                <a:lnTo>
                  <a:pt x="702" y="194"/>
                </a:lnTo>
                <a:lnTo>
                  <a:pt x="701" y="196"/>
                </a:lnTo>
                <a:lnTo>
                  <a:pt x="701" y="197"/>
                </a:lnTo>
                <a:lnTo>
                  <a:pt x="702" y="200"/>
                </a:lnTo>
                <a:lnTo>
                  <a:pt x="705" y="200"/>
                </a:lnTo>
                <a:lnTo>
                  <a:pt x="706" y="200"/>
                </a:lnTo>
                <a:lnTo>
                  <a:pt x="706" y="203"/>
                </a:lnTo>
                <a:lnTo>
                  <a:pt x="706" y="204"/>
                </a:lnTo>
                <a:lnTo>
                  <a:pt x="706" y="205"/>
                </a:lnTo>
                <a:lnTo>
                  <a:pt x="707" y="205"/>
                </a:lnTo>
                <a:lnTo>
                  <a:pt x="707" y="207"/>
                </a:lnTo>
                <a:lnTo>
                  <a:pt x="705" y="207"/>
                </a:lnTo>
                <a:lnTo>
                  <a:pt x="705" y="208"/>
                </a:lnTo>
                <a:lnTo>
                  <a:pt x="700" y="214"/>
                </a:lnTo>
                <a:lnTo>
                  <a:pt x="699" y="216"/>
                </a:lnTo>
                <a:lnTo>
                  <a:pt x="699" y="220"/>
                </a:lnTo>
                <a:lnTo>
                  <a:pt x="699" y="220"/>
                </a:lnTo>
                <a:lnTo>
                  <a:pt x="701" y="220"/>
                </a:lnTo>
                <a:lnTo>
                  <a:pt x="702" y="220"/>
                </a:lnTo>
                <a:lnTo>
                  <a:pt x="703" y="217"/>
                </a:lnTo>
                <a:lnTo>
                  <a:pt x="707" y="212"/>
                </a:lnTo>
                <a:lnTo>
                  <a:pt x="713" y="204"/>
                </a:lnTo>
                <a:lnTo>
                  <a:pt x="714" y="202"/>
                </a:lnTo>
                <a:lnTo>
                  <a:pt x="717" y="198"/>
                </a:lnTo>
                <a:lnTo>
                  <a:pt x="719" y="196"/>
                </a:lnTo>
                <a:lnTo>
                  <a:pt x="720" y="195"/>
                </a:lnTo>
                <a:lnTo>
                  <a:pt x="720" y="191"/>
                </a:lnTo>
                <a:lnTo>
                  <a:pt x="718" y="186"/>
                </a:lnTo>
                <a:lnTo>
                  <a:pt x="717" y="180"/>
                </a:lnTo>
                <a:lnTo>
                  <a:pt x="717" y="179"/>
                </a:lnTo>
                <a:lnTo>
                  <a:pt x="718" y="176"/>
                </a:lnTo>
                <a:lnTo>
                  <a:pt x="719" y="179"/>
                </a:lnTo>
                <a:lnTo>
                  <a:pt x="720" y="181"/>
                </a:lnTo>
                <a:lnTo>
                  <a:pt x="722" y="181"/>
                </a:lnTo>
                <a:lnTo>
                  <a:pt x="723" y="183"/>
                </a:lnTo>
                <a:lnTo>
                  <a:pt x="726" y="183"/>
                </a:lnTo>
                <a:lnTo>
                  <a:pt x="724" y="186"/>
                </a:lnTo>
                <a:lnTo>
                  <a:pt x="724" y="186"/>
                </a:lnTo>
                <a:lnTo>
                  <a:pt x="728" y="185"/>
                </a:lnTo>
                <a:lnTo>
                  <a:pt x="731" y="181"/>
                </a:lnTo>
                <a:lnTo>
                  <a:pt x="734" y="179"/>
                </a:lnTo>
                <a:lnTo>
                  <a:pt x="736" y="177"/>
                </a:lnTo>
                <a:lnTo>
                  <a:pt x="736" y="176"/>
                </a:lnTo>
                <a:lnTo>
                  <a:pt x="738" y="175"/>
                </a:lnTo>
                <a:lnTo>
                  <a:pt x="738" y="174"/>
                </a:lnTo>
                <a:lnTo>
                  <a:pt x="741" y="170"/>
                </a:lnTo>
                <a:lnTo>
                  <a:pt x="741" y="169"/>
                </a:lnTo>
                <a:lnTo>
                  <a:pt x="742" y="170"/>
                </a:lnTo>
                <a:lnTo>
                  <a:pt x="742" y="169"/>
                </a:lnTo>
                <a:lnTo>
                  <a:pt x="744" y="165"/>
                </a:lnTo>
                <a:lnTo>
                  <a:pt x="746" y="164"/>
                </a:lnTo>
                <a:lnTo>
                  <a:pt x="746" y="163"/>
                </a:lnTo>
                <a:lnTo>
                  <a:pt x="744" y="161"/>
                </a:lnTo>
                <a:lnTo>
                  <a:pt x="742" y="160"/>
                </a:lnTo>
                <a:lnTo>
                  <a:pt x="742" y="160"/>
                </a:lnTo>
                <a:lnTo>
                  <a:pt x="743" y="159"/>
                </a:lnTo>
                <a:lnTo>
                  <a:pt x="744" y="156"/>
                </a:lnTo>
                <a:lnTo>
                  <a:pt x="746" y="155"/>
                </a:lnTo>
                <a:lnTo>
                  <a:pt x="749" y="153"/>
                </a:lnTo>
                <a:lnTo>
                  <a:pt x="751" y="153"/>
                </a:lnTo>
                <a:lnTo>
                  <a:pt x="753" y="150"/>
                </a:lnTo>
                <a:lnTo>
                  <a:pt x="757" y="150"/>
                </a:lnTo>
                <a:lnTo>
                  <a:pt x="760" y="147"/>
                </a:lnTo>
                <a:lnTo>
                  <a:pt x="763" y="147"/>
                </a:lnTo>
                <a:lnTo>
                  <a:pt x="764" y="145"/>
                </a:lnTo>
                <a:lnTo>
                  <a:pt x="767" y="145"/>
                </a:lnTo>
                <a:lnTo>
                  <a:pt x="771" y="145"/>
                </a:lnTo>
                <a:lnTo>
                  <a:pt x="774" y="145"/>
                </a:lnTo>
                <a:lnTo>
                  <a:pt x="781" y="144"/>
                </a:lnTo>
                <a:lnTo>
                  <a:pt x="787" y="143"/>
                </a:lnTo>
                <a:lnTo>
                  <a:pt x="788" y="143"/>
                </a:lnTo>
                <a:lnTo>
                  <a:pt x="790" y="142"/>
                </a:lnTo>
                <a:lnTo>
                  <a:pt x="792" y="139"/>
                </a:lnTo>
                <a:lnTo>
                  <a:pt x="793" y="137"/>
                </a:lnTo>
                <a:lnTo>
                  <a:pt x="794" y="139"/>
                </a:lnTo>
                <a:lnTo>
                  <a:pt x="793" y="141"/>
                </a:lnTo>
                <a:lnTo>
                  <a:pt x="794" y="141"/>
                </a:lnTo>
                <a:lnTo>
                  <a:pt x="797" y="141"/>
                </a:lnTo>
                <a:lnTo>
                  <a:pt x="801" y="139"/>
                </a:lnTo>
                <a:lnTo>
                  <a:pt x="802" y="139"/>
                </a:lnTo>
                <a:lnTo>
                  <a:pt x="802" y="140"/>
                </a:lnTo>
                <a:lnTo>
                  <a:pt x="803" y="141"/>
                </a:lnTo>
                <a:lnTo>
                  <a:pt x="808" y="140"/>
                </a:lnTo>
                <a:lnTo>
                  <a:pt x="809" y="140"/>
                </a:lnTo>
                <a:lnTo>
                  <a:pt x="812" y="137"/>
                </a:lnTo>
                <a:lnTo>
                  <a:pt x="813" y="137"/>
                </a:lnTo>
                <a:lnTo>
                  <a:pt x="814" y="134"/>
                </a:lnTo>
                <a:lnTo>
                  <a:pt x="813" y="133"/>
                </a:lnTo>
                <a:lnTo>
                  <a:pt x="813" y="133"/>
                </a:lnTo>
                <a:lnTo>
                  <a:pt x="812" y="136"/>
                </a:lnTo>
                <a:lnTo>
                  <a:pt x="811" y="137"/>
                </a:lnTo>
                <a:lnTo>
                  <a:pt x="809" y="137"/>
                </a:lnTo>
                <a:lnTo>
                  <a:pt x="807" y="137"/>
                </a:lnTo>
                <a:lnTo>
                  <a:pt x="804" y="135"/>
                </a:lnTo>
                <a:lnTo>
                  <a:pt x="804" y="133"/>
                </a:lnTo>
                <a:lnTo>
                  <a:pt x="803" y="132"/>
                </a:lnTo>
                <a:lnTo>
                  <a:pt x="803" y="130"/>
                </a:lnTo>
                <a:lnTo>
                  <a:pt x="803" y="129"/>
                </a:lnTo>
                <a:lnTo>
                  <a:pt x="801" y="128"/>
                </a:lnTo>
                <a:lnTo>
                  <a:pt x="801" y="126"/>
                </a:lnTo>
                <a:lnTo>
                  <a:pt x="801" y="125"/>
                </a:lnTo>
                <a:lnTo>
                  <a:pt x="802" y="124"/>
                </a:lnTo>
                <a:lnTo>
                  <a:pt x="803" y="124"/>
                </a:lnTo>
                <a:lnTo>
                  <a:pt x="804" y="122"/>
                </a:lnTo>
                <a:lnTo>
                  <a:pt x="807" y="122"/>
                </a:lnTo>
                <a:lnTo>
                  <a:pt x="805" y="120"/>
                </a:lnTo>
                <a:lnTo>
                  <a:pt x="805" y="116"/>
                </a:lnTo>
                <a:lnTo>
                  <a:pt x="808" y="113"/>
                </a:lnTo>
                <a:lnTo>
                  <a:pt x="812" y="110"/>
                </a:lnTo>
                <a:lnTo>
                  <a:pt x="817" y="106"/>
                </a:lnTo>
                <a:lnTo>
                  <a:pt x="819" y="104"/>
                </a:lnTo>
                <a:lnTo>
                  <a:pt x="820" y="102"/>
                </a:lnTo>
                <a:lnTo>
                  <a:pt x="822" y="100"/>
                </a:lnTo>
                <a:lnTo>
                  <a:pt x="825" y="99"/>
                </a:lnTo>
                <a:lnTo>
                  <a:pt x="825" y="100"/>
                </a:lnTo>
                <a:lnTo>
                  <a:pt x="826" y="101"/>
                </a:lnTo>
                <a:lnTo>
                  <a:pt x="826" y="101"/>
                </a:lnTo>
                <a:lnTo>
                  <a:pt x="828" y="100"/>
                </a:lnTo>
                <a:lnTo>
                  <a:pt x="830" y="98"/>
                </a:lnTo>
                <a:lnTo>
                  <a:pt x="830" y="98"/>
                </a:lnTo>
                <a:lnTo>
                  <a:pt x="830" y="99"/>
                </a:lnTo>
                <a:lnTo>
                  <a:pt x="831" y="99"/>
                </a:lnTo>
                <a:lnTo>
                  <a:pt x="832" y="99"/>
                </a:lnTo>
                <a:lnTo>
                  <a:pt x="834" y="96"/>
                </a:lnTo>
                <a:lnTo>
                  <a:pt x="835" y="96"/>
                </a:lnTo>
                <a:lnTo>
                  <a:pt x="836" y="96"/>
                </a:lnTo>
                <a:lnTo>
                  <a:pt x="838" y="96"/>
                </a:lnTo>
                <a:lnTo>
                  <a:pt x="840" y="94"/>
                </a:lnTo>
                <a:lnTo>
                  <a:pt x="840" y="93"/>
                </a:lnTo>
                <a:lnTo>
                  <a:pt x="842" y="91"/>
                </a:lnTo>
                <a:lnTo>
                  <a:pt x="843" y="89"/>
                </a:lnTo>
                <a:lnTo>
                  <a:pt x="844" y="88"/>
                </a:lnTo>
                <a:lnTo>
                  <a:pt x="845" y="88"/>
                </a:lnTo>
                <a:lnTo>
                  <a:pt x="846" y="88"/>
                </a:lnTo>
                <a:lnTo>
                  <a:pt x="845" y="89"/>
                </a:lnTo>
                <a:lnTo>
                  <a:pt x="845" y="91"/>
                </a:lnTo>
                <a:lnTo>
                  <a:pt x="848" y="91"/>
                </a:lnTo>
                <a:lnTo>
                  <a:pt x="849" y="90"/>
                </a:lnTo>
                <a:lnTo>
                  <a:pt x="851" y="92"/>
                </a:lnTo>
                <a:lnTo>
                  <a:pt x="852" y="92"/>
                </a:lnTo>
                <a:lnTo>
                  <a:pt x="853" y="91"/>
                </a:lnTo>
                <a:lnTo>
                  <a:pt x="855" y="89"/>
                </a:lnTo>
                <a:lnTo>
                  <a:pt x="856" y="89"/>
                </a:lnTo>
                <a:lnTo>
                  <a:pt x="859" y="89"/>
                </a:lnTo>
                <a:lnTo>
                  <a:pt x="860" y="86"/>
                </a:lnTo>
                <a:lnTo>
                  <a:pt x="863" y="86"/>
                </a:lnTo>
                <a:lnTo>
                  <a:pt x="864" y="86"/>
                </a:lnTo>
                <a:lnTo>
                  <a:pt x="865" y="85"/>
                </a:lnTo>
                <a:lnTo>
                  <a:pt x="868" y="85"/>
                </a:lnTo>
                <a:lnTo>
                  <a:pt x="869" y="84"/>
                </a:lnTo>
                <a:lnTo>
                  <a:pt x="871" y="84"/>
                </a:lnTo>
                <a:lnTo>
                  <a:pt x="872" y="83"/>
                </a:lnTo>
                <a:lnTo>
                  <a:pt x="873" y="82"/>
                </a:lnTo>
                <a:lnTo>
                  <a:pt x="873" y="8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29" name="Freeform 1430"/>
          <p:cNvSpPr>
            <a:spLocks/>
          </p:cNvSpPr>
          <p:nvPr/>
        </p:nvSpPr>
        <p:spPr bwMode="auto">
          <a:xfrm>
            <a:off x="1433513" y="2157378"/>
            <a:ext cx="1387475" cy="695325"/>
          </a:xfrm>
          <a:custGeom>
            <a:avLst/>
            <a:gdLst>
              <a:gd name="T0" fmla="*/ 864 w 874"/>
              <a:gd name="T1" fmla="*/ 40 h 438"/>
              <a:gd name="T2" fmla="*/ 823 w 874"/>
              <a:gd name="T3" fmla="*/ 72 h 438"/>
              <a:gd name="T4" fmla="*/ 744 w 874"/>
              <a:gd name="T5" fmla="*/ 88 h 438"/>
              <a:gd name="T6" fmla="*/ 713 w 874"/>
              <a:gd name="T7" fmla="*/ 109 h 438"/>
              <a:gd name="T8" fmla="*/ 662 w 874"/>
              <a:gd name="T9" fmla="*/ 131 h 438"/>
              <a:gd name="T10" fmla="*/ 628 w 874"/>
              <a:gd name="T11" fmla="*/ 123 h 438"/>
              <a:gd name="T12" fmla="*/ 620 w 874"/>
              <a:gd name="T13" fmla="*/ 102 h 438"/>
              <a:gd name="T14" fmla="*/ 629 w 874"/>
              <a:gd name="T15" fmla="*/ 68 h 438"/>
              <a:gd name="T16" fmla="*/ 605 w 874"/>
              <a:gd name="T17" fmla="*/ 76 h 438"/>
              <a:gd name="T18" fmla="*/ 567 w 874"/>
              <a:gd name="T19" fmla="*/ 134 h 438"/>
              <a:gd name="T20" fmla="*/ 572 w 874"/>
              <a:gd name="T21" fmla="*/ 90 h 438"/>
              <a:gd name="T22" fmla="*/ 595 w 874"/>
              <a:gd name="T23" fmla="*/ 64 h 438"/>
              <a:gd name="T24" fmla="*/ 636 w 874"/>
              <a:gd name="T25" fmla="*/ 61 h 438"/>
              <a:gd name="T26" fmla="*/ 610 w 874"/>
              <a:gd name="T27" fmla="*/ 49 h 438"/>
              <a:gd name="T28" fmla="*/ 594 w 874"/>
              <a:gd name="T29" fmla="*/ 34 h 438"/>
              <a:gd name="T30" fmla="*/ 533 w 874"/>
              <a:gd name="T31" fmla="*/ 50 h 438"/>
              <a:gd name="T32" fmla="*/ 540 w 874"/>
              <a:gd name="T33" fmla="*/ 19 h 438"/>
              <a:gd name="T34" fmla="*/ 508 w 874"/>
              <a:gd name="T35" fmla="*/ 8 h 438"/>
              <a:gd name="T36" fmla="*/ 316 w 874"/>
              <a:gd name="T37" fmla="*/ 8 h 438"/>
              <a:gd name="T38" fmla="*/ 120 w 874"/>
              <a:gd name="T39" fmla="*/ 12 h 438"/>
              <a:gd name="T40" fmla="*/ 99 w 874"/>
              <a:gd name="T41" fmla="*/ 32 h 438"/>
              <a:gd name="T42" fmla="*/ 83 w 874"/>
              <a:gd name="T43" fmla="*/ 19 h 438"/>
              <a:gd name="T44" fmla="*/ 74 w 874"/>
              <a:gd name="T45" fmla="*/ 49 h 438"/>
              <a:gd name="T46" fmla="*/ 64 w 874"/>
              <a:gd name="T47" fmla="*/ 65 h 438"/>
              <a:gd name="T48" fmla="*/ 21 w 874"/>
              <a:gd name="T49" fmla="*/ 131 h 438"/>
              <a:gd name="T50" fmla="*/ 4 w 874"/>
              <a:gd name="T51" fmla="*/ 201 h 438"/>
              <a:gd name="T52" fmla="*/ 9 w 874"/>
              <a:gd name="T53" fmla="*/ 210 h 438"/>
              <a:gd name="T54" fmla="*/ 14 w 874"/>
              <a:gd name="T55" fmla="*/ 255 h 438"/>
              <a:gd name="T56" fmla="*/ 37 w 874"/>
              <a:gd name="T57" fmla="*/ 276 h 438"/>
              <a:gd name="T58" fmla="*/ 204 w 874"/>
              <a:gd name="T59" fmla="*/ 316 h 438"/>
              <a:gd name="T60" fmla="*/ 277 w 874"/>
              <a:gd name="T61" fmla="*/ 361 h 438"/>
              <a:gd name="T62" fmla="*/ 323 w 874"/>
              <a:gd name="T63" fmla="*/ 417 h 438"/>
              <a:gd name="T64" fmla="*/ 334 w 874"/>
              <a:gd name="T65" fmla="*/ 385 h 438"/>
              <a:gd name="T66" fmla="*/ 349 w 874"/>
              <a:gd name="T67" fmla="*/ 375 h 438"/>
              <a:gd name="T68" fmla="*/ 373 w 874"/>
              <a:gd name="T69" fmla="*/ 355 h 438"/>
              <a:gd name="T70" fmla="*/ 417 w 874"/>
              <a:gd name="T71" fmla="*/ 354 h 438"/>
              <a:gd name="T72" fmla="*/ 450 w 874"/>
              <a:gd name="T73" fmla="*/ 362 h 438"/>
              <a:gd name="T74" fmla="*/ 453 w 874"/>
              <a:gd name="T75" fmla="*/ 346 h 438"/>
              <a:gd name="T76" fmla="*/ 484 w 874"/>
              <a:gd name="T77" fmla="*/ 343 h 438"/>
              <a:gd name="T78" fmla="*/ 513 w 874"/>
              <a:gd name="T79" fmla="*/ 345 h 438"/>
              <a:gd name="T80" fmla="*/ 550 w 874"/>
              <a:gd name="T81" fmla="*/ 358 h 438"/>
              <a:gd name="T82" fmla="*/ 558 w 874"/>
              <a:gd name="T83" fmla="*/ 406 h 438"/>
              <a:gd name="T84" fmla="*/ 577 w 874"/>
              <a:gd name="T85" fmla="*/ 437 h 438"/>
              <a:gd name="T86" fmla="*/ 584 w 874"/>
              <a:gd name="T87" fmla="*/ 337 h 438"/>
              <a:gd name="T88" fmla="*/ 615 w 874"/>
              <a:gd name="T89" fmla="*/ 303 h 438"/>
              <a:gd name="T90" fmla="*/ 659 w 874"/>
              <a:gd name="T91" fmla="*/ 272 h 438"/>
              <a:gd name="T92" fmla="*/ 683 w 874"/>
              <a:gd name="T93" fmla="*/ 250 h 438"/>
              <a:gd name="T94" fmla="*/ 683 w 874"/>
              <a:gd name="T95" fmla="*/ 236 h 438"/>
              <a:gd name="T96" fmla="*/ 693 w 874"/>
              <a:gd name="T97" fmla="*/ 224 h 438"/>
              <a:gd name="T98" fmla="*/ 698 w 874"/>
              <a:gd name="T99" fmla="*/ 206 h 438"/>
              <a:gd name="T100" fmla="*/ 698 w 874"/>
              <a:gd name="T101" fmla="*/ 203 h 438"/>
              <a:gd name="T102" fmla="*/ 707 w 874"/>
              <a:gd name="T103" fmla="*/ 182 h 438"/>
              <a:gd name="T104" fmla="*/ 706 w 874"/>
              <a:gd name="T105" fmla="*/ 205 h 438"/>
              <a:gd name="T106" fmla="*/ 718 w 874"/>
              <a:gd name="T107" fmla="*/ 186 h 438"/>
              <a:gd name="T108" fmla="*/ 741 w 874"/>
              <a:gd name="T109" fmla="*/ 169 h 438"/>
              <a:gd name="T110" fmla="*/ 767 w 874"/>
              <a:gd name="T111" fmla="*/ 145 h 438"/>
              <a:gd name="T112" fmla="*/ 812 w 874"/>
              <a:gd name="T113" fmla="*/ 137 h 438"/>
              <a:gd name="T114" fmla="*/ 804 w 874"/>
              <a:gd name="T115" fmla="*/ 122 h 438"/>
              <a:gd name="T116" fmla="*/ 832 w 874"/>
              <a:gd name="T117" fmla="*/ 99 h 438"/>
              <a:gd name="T118" fmla="*/ 855 w 874"/>
              <a:gd name="T119" fmla="*/ 89 h 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74" h="438">
                <a:moveTo>
                  <a:pt x="873" y="81"/>
                </a:moveTo>
                <a:lnTo>
                  <a:pt x="872" y="81"/>
                </a:lnTo>
                <a:lnTo>
                  <a:pt x="872" y="80"/>
                </a:lnTo>
                <a:lnTo>
                  <a:pt x="873" y="79"/>
                </a:lnTo>
                <a:lnTo>
                  <a:pt x="874" y="76"/>
                </a:lnTo>
                <a:lnTo>
                  <a:pt x="874" y="75"/>
                </a:lnTo>
                <a:lnTo>
                  <a:pt x="873" y="75"/>
                </a:lnTo>
                <a:lnTo>
                  <a:pt x="872" y="76"/>
                </a:lnTo>
                <a:lnTo>
                  <a:pt x="870" y="75"/>
                </a:lnTo>
                <a:lnTo>
                  <a:pt x="869" y="74"/>
                </a:lnTo>
                <a:lnTo>
                  <a:pt x="868" y="73"/>
                </a:lnTo>
                <a:lnTo>
                  <a:pt x="868" y="72"/>
                </a:lnTo>
                <a:lnTo>
                  <a:pt x="869" y="69"/>
                </a:lnTo>
                <a:lnTo>
                  <a:pt x="865" y="66"/>
                </a:lnTo>
                <a:lnTo>
                  <a:pt x="870" y="54"/>
                </a:lnTo>
                <a:lnTo>
                  <a:pt x="874" y="42"/>
                </a:lnTo>
                <a:lnTo>
                  <a:pt x="869" y="36"/>
                </a:lnTo>
                <a:lnTo>
                  <a:pt x="868" y="36"/>
                </a:lnTo>
                <a:lnTo>
                  <a:pt x="864" y="40"/>
                </a:lnTo>
                <a:lnTo>
                  <a:pt x="860" y="40"/>
                </a:lnTo>
                <a:lnTo>
                  <a:pt x="856" y="39"/>
                </a:lnTo>
                <a:lnTo>
                  <a:pt x="856" y="39"/>
                </a:lnTo>
                <a:lnTo>
                  <a:pt x="856" y="36"/>
                </a:lnTo>
                <a:lnTo>
                  <a:pt x="855" y="35"/>
                </a:lnTo>
                <a:lnTo>
                  <a:pt x="854" y="35"/>
                </a:lnTo>
                <a:lnTo>
                  <a:pt x="852" y="36"/>
                </a:lnTo>
                <a:lnTo>
                  <a:pt x="841" y="46"/>
                </a:lnTo>
                <a:lnTo>
                  <a:pt x="839" y="51"/>
                </a:lnTo>
                <a:lnTo>
                  <a:pt x="835" y="54"/>
                </a:lnTo>
                <a:lnTo>
                  <a:pt x="835" y="55"/>
                </a:lnTo>
                <a:lnTo>
                  <a:pt x="833" y="58"/>
                </a:lnTo>
                <a:lnTo>
                  <a:pt x="832" y="59"/>
                </a:lnTo>
                <a:lnTo>
                  <a:pt x="829" y="68"/>
                </a:lnTo>
                <a:lnTo>
                  <a:pt x="828" y="68"/>
                </a:lnTo>
                <a:lnTo>
                  <a:pt x="825" y="69"/>
                </a:lnTo>
                <a:lnTo>
                  <a:pt x="824" y="70"/>
                </a:lnTo>
                <a:lnTo>
                  <a:pt x="823" y="71"/>
                </a:lnTo>
                <a:lnTo>
                  <a:pt x="823" y="72"/>
                </a:lnTo>
                <a:lnTo>
                  <a:pt x="823" y="73"/>
                </a:lnTo>
                <a:lnTo>
                  <a:pt x="821" y="72"/>
                </a:lnTo>
                <a:lnTo>
                  <a:pt x="821" y="72"/>
                </a:lnTo>
                <a:lnTo>
                  <a:pt x="821" y="74"/>
                </a:lnTo>
                <a:lnTo>
                  <a:pt x="819" y="73"/>
                </a:lnTo>
                <a:lnTo>
                  <a:pt x="815" y="74"/>
                </a:lnTo>
                <a:lnTo>
                  <a:pt x="814" y="74"/>
                </a:lnTo>
                <a:lnTo>
                  <a:pt x="812" y="74"/>
                </a:lnTo>
                <a:lnTo>
                  <a:pt x="810" y="75"/>
                </a:lnTo>
                <a:lnTo>
                  <a:pt x="808" y="79"/>
                </a:lnTo>
                <a:lnTo>
                  <a:pt x="807" y="79"/>
                </a:lnTo>
                <a:lnTo>
                  <a:pt x="781" y="79"/>
                </a:lnTo>
                <a:lnTo>
                  <a:pt x="762" y="79"/>
                </a:lnTo>
                <a:lnTo>
                  <a:pt x="758" y="79"/>
                </a:lnTo>
                <a:lnTo>
                  <a:pt x="752" y="82"/>
                </a:lnTo>
                <a:lnTo>
                  <a:pt x="747" y="85"/>
                </a:lnTo>
                <a:lnTo>
                  <a:pt x="746" y="86"/>
                </a:lnTo>
                <a:lnTo>
                  <a:pt x="744" y="86"/>
                </a:lnTo>
                <a:lnTo>
                  <a:pt x="744" y="88"/>
                </a:lnTo>
                <a:lnTo>
                  <a:pt x="741" y="90"/>
                </a:lnTo>
                <a:lnTo>
                  <a:pt x="734" y="93"/>
                </a:lnTo>
                <a:lnTo>
                  <a:pt x="733" y="94"/>
                </a:lnTo>
                <a:lnTo>
                  <a:pt x="733" y="95"/>
                </a:lnTo>
                <a:lnTo>
                  <a:pt x="736" y="95"/>
                </a:lnTo>
                <a:lnTo>
                  <a:pt x="736" y="96"/>
                </a:lnTo>
                <a:lnTo>
                  <a:pt x="736" y="98"/>
                </a:lnTo>
                <a:lnTo>
                  <a:pt x="734" y="99"/>
                </a:lnTo>
                <a:lnTo>
                  <a:pt x="733" y="98"/>
                </a:lnTo>
                <a:lnTo>
                  <a:pt x="732" y="99"/>
                </a:lnTo>
                <a:lnTo>
                  <a:pt x="732" y="100"/>
                </a:lnTo>
                <a:lnTo>
                  <a:pt x="733" y="101"/>
                </a:lnTo>
                <a:lnTo>
                  <a:pt x="733" y="103"/>
                </a:lnTo>
                <a:lnTo>
                  <a:pt x="732" y="104"/>
                </a:lnTo>
                <a:lnTo>
                  <a:pt x="728" y="105"/>
                </a:lnTo>
                <a:lnTo>
                  <a:pt x="722" y="109"/>
                </a:lnTo>
                <a:lnTo>
                  <a:pt x="719" y="109"/>
                </a:lnTo>
                <a:lnTo>
                  <a:pt x="713" y="109"/>
                </a:lnTo>
                <a:lnTo>
                  <a:pt x="713" y="109"/>
                </a:lnTo>
                <a:lnTo>
                  <a:pt x="710" y="110"/>
                </a:lnTo>
                <a:lnTo>
                  <a:pt x="708" y="109"/>
                </a:lnTo>
                <a:lnTo>
                  <a:pt x="705" y="108"/>
                </a:lnTo>
                <a:lnTo>
                  <a:pt x="703" y="108"/>
                </a:lnTo>
                <a:lnTo>
                  <a:pt x="697" y="108"/>
                </a:lnTo>
                <a:lnTo>
                  <a:pt x="691" y="109"/>
                </a:lnTo>
                <a:lnTo>
                  <a:pt x="688" y="110"/>
                </a:lnTo>
                <a:lnTo>
                  <a:pt x="688" y="113"/>
                </a:lnTo>
                <a:lnTo>
                  <a:pt x="688" y="114"/>
                </a:lnTo>
                <a:lnTo>
                  <a:pt x="688" y="118"/>
                </a:lnTo>
                <a:lnTo>
                  <a:pt x="683" y="120"/>
                </a:lnTo>
                <a:lnTo>
                  <a:pt x="682" y="122"/>
                </a:lnTo>
                <a:lnTo>
                  <a:pt x="681" y="122"/>
                </a:lnTo>
                <a:lnTo>
                  <a:pt x="680" y="122"/>
                </a:lnTo>
                <a:lnTo>
                  <a:pt x="677" y="124"/>
                </a:lnTo>
                <a:lnTo>
                  <a:pt x="671" y="128"/>
                </a:lnTo>
                <a:lnTo>
                  <a:pt x="668" y="129"/>
                </a:lnTo>
                <a:lnTo>
                  <a:pt x="665" y="130"/>
                </a:lnTo>
                <a:lnTo>
                  <a:pt x="662" y="131"/>
                </a:lnTo>
                <a:lnTo>
                  <a:pt x="658" y="133"/>
                </a:lnTo>
                <a:lnTo>
                  <a:pt x="653" y="133"/>
                </a:lnTo>
                <a:lnTo>
                  <a:pt x="648" y="135"/>
                </a:lnTo>
                <a:lnTo>
                  <a:pt x="637" y="141"/>
                </a:lnTo>
                <a:lnTo>
                  <a:pt x="632" y="141"/>
                </a:lnTo>
                <a:lnTo>
                  <a:pt x="627" y="142"/>
                </a:lnTo>
                <a:lnTo>
                  <a:pt x="622" y="142"/>
                </a:lnTo>
                <a:lnTo>
                  <a:pt x="621" y="141"/>
                </a:lnTo>
                <a:lnTo>
                  <a:pt x="620" y="141"/>
                </a:lnTo>
                <a:lnTo>
                  <a:pt x="619" y="141"/>
                </a:lnTo>
                <a:lnTo>
                  <a:pt x="617" y="139"/>
                </a:lnTo>
                <a:lnTo>
                  <a:pt x="614" y="137"/>
                </a:lnTo>
                <a:lnTo>
                  <a:pt x="616" y="136"/>
                </a:lnTo>
                <a:lnTo>
                  <a:pt x="620" y="133"/>
                </a:lnTo>
                <a:lnTo>
                  <a:pt x="621" y="130"/>
                </a:lnTo>
                <a:lnTo>
                  <a:pt x="624" y="126"/>
                </a:lnTo>
                <a:lnTo>
                  <a:pt x="626" y="125"/>
                </a:lnTo>
                <a:lnTo>
                  <a:pt x="627" y="124"/>
                </a:lnTo>
                <a:lnTo>
                  <a:pt x="628" y="123"/>
                </a:lnTo>
                <a:lnTo>
                  <a:pt x="629" y="121"/>
                </a:lnTo>
                <a:lnTo>
                  <a:pt x="632" y="121"/>
                </a:lnTo>
                <a:lnTo>
                  <a:pt x="632" y="121"/>
                </a:lnTo>
                <a:lnTo>
                  <a:pt x="637" y="114"/>
                </a:lnTo>
                <a:lnTo>
                  <a:pt x="638" y="113"/>
                </a:lnTo>
                <a:lnTo>
                  <a:pt x="637" y="113"/>
                </a:lnTo>
                <a:lnTo>
                  <a:pt x="637" y="112"/>
                </a:lnTo>
                <a:lnTo>
                  <a:pt x="637" y="110"/>
                </a:lnTo>
                <a:lnTo>
                  <a:pt x="638" y="105"/>
                </a:lnTo>
                <a:lnTo>
                  <a:pt x="639" y="102"/>
                </a:lnTo>
                <a:lnTo>
                  <a:pt x="639" y="100"/>
                </a:lnTo>
                <a:lnTo>
                  <a:pt x="638" y="95"/>
                </a:lnTo>
                <a:lnTo>
                  <a:pt x="636" y="95"/>
                </a:lnTo>
                <a:lnTo>
                  <a:pt x="630" y="98"/>
                </a:lnTo>
                <a:lnTo>
                  <a:pt x="630" y="98"/>
                </a:lnTo>
                <a:lnTo>
                  <a:pt x="627" y="101"/>
                </a:lnTo>
                <a:lnTo>
                  <a:pt x="624" y="102"/>
                </a:lnTo>
                <a:lnTo>
                  <a:pt x="622" y="103"/>
                </a:lnTo>
                <a:lnTo>
                  <a:pt x="620" y="102"/>
                </a:lnTo>
                <a:lnTo>
                  <a:pt x="620" y="101"/>
                </a:lnTo>
                <a:lnTo>
                  <a:pt x="622" y="99"/>
                </a:lnTo>
                <a:lnTo>
                  <a:pt x="625" y="96"/>
                </a:lnTo>
                <a:lnTo>
                  <a:pt x="629" y="94"/>
                </a:lnTo>
                <a:lnTo>
                  <a:pt x="631" y="92"/>
                </a:lnTo>
                <a:lnTo>
                  <a:pt x="633" y="90"/>
                </a:lnTo>
                <a:lnTo>
                  <a:pt x="635" y="89"/>
                </a:lnTo>
                <a:lnTo>
                  <a:pt x="636" y="86"/>
                </a:lnTo>
                <a:lnTo>
                  <a:pt x="636" y="82"/>
                </a:lnTo>
                <a:lnTo>
                  <a:pt x="636" y="80"/>
                </a:lnTo>
                <a:lnTo>
                  <a:pt x="637" y="79"/>
                </a:lnTo>
                <a:lnTo>
                  <a:pt x="638" y="78"/>
                </a:lnTo>
                <a:lnTo>
                  <a:pt x="638" y="78"/>
                </a:lnTo>
                <a:lnTo>
                  <a:pt x="638" y="74"/>
                </a:lnTo>
                <a:lnTo>
                  <a:pt x="637" y="73"/>
                </a:lnTo>
                <a:lnTo>
                  <a:pt x="633" y="71"/>
                </a:lnTo>
                <a:lnTo>
                  <a:pt x="632" y="70"/>
                </a:lnTo>
                <a:lnTo>
                  <a:pt x="631" y="70"/>
                </a:lnTo>
                <a:lnTo>
                  <a:pt x="629" y="68"/>
                </a:lnTo>
                <a:lnTo>
                  <a:pt x="628" y="66"/>
                </a:lnTo>
                <a:lnTo>
                  <a:pt x="626" y="68"/>
                </a:lnTo>
                <a:lnTo>
                  <a:pt x="626" y="66"/>
                </a:lnTo>
                <a:lnTo>
                  <a:pt x="622" y="66"/>
                </a:lnTo>
                <a:lnTo>
                  <a:pt x="619" y="66"/>
                </a:lnTo>
                <a:lnTo>
                  <a:pt x="618" y="68"/>
                </a:lnTo>
                <a:lnTo>
                  <a:pt x="617" y="69"/>
                </a:lnTo>
                <a:lnTo>
                  <a:pt x="617" y="70"/>
                </a:lnTo>
                <a:lnTo>
                  <a:pt x="617" y="72"/>
                </a:lnTo>
                <a:lnTo>
                  <a:pt x="617" y="72"/>
                </a:lnTo>
                <a:lnTo>
                  <a:pt x="612" y="73"/>
                </a:lnTo>
                <a:lnTo>
                  <a:pt x="610" y="74"/>
                </a:lnTo>
                <a:lnTo>
                  <a:pt x="609" y="78"/>
                </a:lnTo>
                <a:lnTo>
                  <a:pt x="607" y="80"/>
                </a:lnTo>
                <a:lnTo>
                  <a:pt x="606" y="80"/>
                </a:lnTo>
                <a:lnTo>
                  <a:pt x="604" y="82"/>
                </a:lnTo>
                <a:lnTo>
                  <a:pt x="604" y="81"/>
                </a:lnTo>
                <a:lnTo>
                  <a:pt x="605" y="78"/>
                </a:lnTo>
                <a:lnTo>
                  <a:pt x="605" y="76"/>
                </a:lnTo>
                <a:lnTo>
                  <a:pt x="604" y="78"/>
                </a:lnTo>
                <a:lnTo>
                  <a:pt x="601" y="79"/>
                </a:lnTo>
                <a:lnTo>
                  <a:pt x="597" y="81"/>
                </a:lnTo>
                <a:lnTo>
                  <a:pt x="596" y="83"/>
                </a:lnTo>
                <a:lnTo>
                  <a:pt x="594" y="84"/>
                </a:lnTo>
                <a:lnTo>
                  <a:pt x="592" y="86"/>
                </a:lnTo>
                <a:lnTo>
                  <a:pt x="591" y="89"/>
                </a:lnTo>
                <a:lnTo>
                  <a:pt x="590" y="91"/>
                </a:lnTo>
                <a:lnTo>
                  <a:pt x="590" y="92"/>
                </a:lnTo>
                <a:lnTo>
                  <a:pt x="588" y="93"/>
                </a:lnTo>
                <a:lnTo>
                  <a:pt x="586" y="98"/>
                </a:lnTo>
                <a:lnTo>
                  <a:pt x="582" y="103"/>
                </a:lnTo>
                <a:lnTo>
                  <a:pt x="581" y="109"/>
                </a:lnTo>
                <a:lnTo>
                  <a:pt x="582" y="111"/>
                </a:lnTo>
                <a:lnTo>
                  <a:pt x="582" y="113"/>
                </a:lnTo>
                <a:lnTo>
                  <a:pt x="578" y="121"/>
                </a:lnTo>
                <a:lnTo>
                  <a:pt x="574" y="128"/>
                </a:lnTo>
                <a:lnTo>
                  <a:pt x="568" y="132"/>
                </a:lnTo>
                <a:lnTo>
                  <a:pt x="567" y="134"/>
                </a:lnTo>
                <a:lnTo>
                  <a:pt x="562" y="136"/>
                </a:lnTo>
                <a:lnTo>
                  <a:pt x="558" y="139"/>
                </a:lnTo>
                <a:lnTo>
                  <a:pt x="556" y="139"/>
                </a:lnTo>
                <a:lnTo>
                  <a:pt x="555" y="137"/>
                </a:lnTo>
                <a:lnTo>
                  <a:pt x="554" y="137"/>
                </a:lnTo>
                <a:lnTo>
                  <a:pt x="554" y="136"/>
                </a:lnTo>
                <a:lnTo>
                  <a:pt x="554" y="133"/>
                </a:lnTo>
                <a:lnTo>
                  <a:pt x="554" y="128"/>
                </a:lnTo>
                <a:lnTo>
                  <a:pt x="555" y="124"/>
                </a:lnTo>
                <a:lnTo>
                  <a:pt x="556" y="121"/>
                </a:lnTo>
                <a:lnTo>
                  <a:pt x="557" y="119"/>
                </a:lnTo>
                <a:lnTo>
                  <a:pt x="558" y="114"/>
                </a:lnTo>
                <a:lnTo>
                  <a:pt x="559" y="111"/>
                </a:lnTo>
                <a:lnTo>
                  <a:pt x="561" y="108"/>
                </a:lnTo>
                <a:lnTo>
                  <a:pt x="566" y="102"/>
                </a:lnTo>
                <a:lnTo>
                  <a:pt x="567" y="100"/>
                </a:lnTo>
                <a:lnTo>
                  <a:pt x="569" y="96"/>
                </a:lnTo>
                <a:lnTo>
                  <a:pt x="572" y="92"/>
                </a:lnTo>
                <a:lnTo>
                  <a:pt x="572" y="90"/>
                </a:lnTo>
                <a:lnTo>
                  <a:pt x="575" y="88"/>
                </a:lnTo>
                <a:lnTo>
                  <a:pt x="578" y="84"/>
                </a:lnTo>
                <a:lnTo>
                  <a:pt x="581" y="81"/>
                </a:lnTo>
                <a:lnTo>
                  <a:pt x="586" y="76"/>
                </a:lnTo>
                <a:lnTo>
                  <a:pt x="586" y="74"/>
                </a:lnTo>
                <a:lnTo>
                  <a:pt x="580" y="78"/>
                </a:lnTo>
                <a:lnTo>
                  <a:pt x="579" y="80"/>
                </a:lnTo>
                <a:lnTo>
                  <a:pt x="578" y="82"/>
                </a:lnTo>
                <a:lnTo>
                  <a:pt x="576" y="82"/>
                </a:lnTo>
                <a:lnTo>
                  <a:pt x="568" y="86"/>
                </a:lnTo>
                <a:lnTo>
                  <a:pt x="568" y="85"/>
                </a:lnTo>
                <a:lnTo>
                  <a:pt x="571" y="82"/>
                </a:lnTo>
                <a:lnTo>
                  <a:pt x="572" y="81"/>
                </a:lnTo>
                <a:lnTo>
                  <a:pt x="576" y="80"/>
                </a:lnTo>
                <a:lnTo>
                  <a:pt x="578" y="76"/>
                </a:lnTo>
                <a:lnTo>
                  <a:pt x="588" y="68"/>
                </a:lnTo>
                <a:lnTo>
                  <a:pt x="591" y="65"/>
                </a:lnTo>
                <a:lnTo>
                  <a:pt x="592" y="65"/>
                </a:lnTo>
                <a:lnTo>
                  <a:pt x="595" y="64"/>
                </a:lnTo>
                <a:lnTo>
                  <a:pt x="597" y="63"/>
                </a:lnTo>
                <a:lnTo>
                  <a:pt x="595" y="68"/>
                </a:lnTo>
                <a:lnTo>
                  <a:pt x="597" y="68"/>
                </a:lnTo>
                <a:lnTo>
                  <a:pt x="604" y="63"/>
                </a:lnTo>
                <a:lnTo>
                  <a:pt x="607" y="62"/>
                </a:lnTo>
                <a:lnTo>
                  <a:pt x="611" y="62"/>
                </a:lnTo>
                <a:lnTo>
                  <a:pt x="614" y="60"/>
                </a:lnTo>
                <a:lnTo>
                  <a:pt x="617" y="60"/>
                </a:lnTo>
                <a:lnTo>
                  <a:pt x="620" y="60"/>
                </a:lnTo>
                <a:lnTo>
                  <a:pt x="622" y="61"/>
                </a:lnTo>
                <a:lnTo>
                  <a:pt x="622" y="62"/>
                </a:lnTo>
                <a:lnTo>
                  <a:pt x="624" y="63"/>
                </a:lnTo>
                <a:lnTo>
                  <a:pt x="626" y="63"/>
                </a:lnTo>
                <a:lnTo>
                  <a:pt x="627" y="61"/>
                </a:lnTo>
                <a:lnTo>
                  <a:pt x="628" y="61"/>
                </a:lnTo>
                <a:lnTo>
                  <a:pt x="629" y="61"/>
                </a:lnTo>
                <a:lnTo>
                  <a:pt x="629" y="62"/>
                </a:lnTo>
                <a:lnTo>
                  <a:pt x="635" y="61"/>
                </a:lnTo>
                <a:lnTo>
                  <a:pt x="636" y="61"/>
                </a:lnTo>
                <a:lnTo>
                  <a:pt x="637" y="61"/>
                </a:lnTo>
                <a:lnTo>
                  <a:pt x="637" y="61"/>
                </a:lnTo>
                <a:lnTo>
                  <a:pt x="636" y="60"/>
                </a:lnTo>
                <a:lnTo>
                  <a:pt x="635" y="59"/>
                </a:lnTo>
                <a:lnTo>
                  <a:pt x="633" y="58"/>
                </a:lnTo>
                <a:lnTo>
                  <a:pt x="635" y="55"/>
                </a:lnTo>
                <a:lnTo>
                  <a:pt x="635" y="54"/>
                </a:lnTo>
                <a:lnTo>
                  <a:pt x="635" y="53"/>
                </a:lnTo>
                <a:lnTo>
                  <a:pt x="635" y="52"/>
                </a:lnTo>
                <a:lnTo>
                  <a:pt x="632" y="52"/>
                </a:lnTo>
                <a:lnTo>
                  <a:pt x="628" y="52"/>
                </a:lnTo>
                <a:lnTo>
                  <a:pt x="627" y="52"/>
                </a:lnTo>
                <a:lnTo>
                  <a:pt x="625" y="51"/>
                </a:lnTo>
                <a:lnTo>
                  <a:pt x="626" y="49"/>
                </a:lnTo>
                <a:lnTo>
                  <a:pt x="626" y="48"/>
                </a:lnTo>
                <a:lnTo>
                  <a:pt x="624" y="48"/>
                </a:lnTo>
                <a:lnTo>
                  <a:pt x="620" y="49"/>
                </a:lnTo>
                <a:lnTo>
                  <a:pt x="618" y="49"/>
                </a:lnTo>
                <a:lnTo>
                  <a:pt x="610" y="49"/>
                </a:lnTo>
                <a:lnTo>
                  <a:pt x="607" y="50"/>
                </a:lnTo>
                <a:lnTo>
                  <a:pt x="605" y="51"/>
                </a:lnTo>
                <a:lnTo>
                  <a:pt x="602" y="52"/>
                </a:lnTo>
                <a:lnTo>
                  <a:pt x="600" y="53"/>
                </a:lnTo>
                <a:lnTo>
                  <a:pt x="595" y="52"/>
                </a:lnTo>
                <a:lnTo>
                  <a:pt x="592" y="52"/>
                </a:lnTo>
                <a:lnTo>
                  <a:pt x="590" y="50"/>
                </a:lnTo>
                <a:lnTo>
                  <a:pt x="589" y="48"/>
                </a:lnTo>
                <a:lnTo>
                  <a:pt x="586" y="45"/>
                </a:lnTo>
                <a:lnTo>
                  <a:pt x="581" y="46"/>
                </a:lnTo>
                <a:lnTo>
                  <a:pt x="580" y="45"/>
                </a:lnTo>
                <a:lnTo>
                  <a:pt x="578" y="48"/>
                </a:lnTo>
                <a:lnTo>
                  <a:pt x="578" y="46"/>
                </a:lnTo>
                <a:lnTo>
                  <a:pt x="579" y="44"/>
                </a:lnTo>
                <a:lnTo>
                  <a:pt x="581" y="42"/>
                </a:lnTo>
                <a:lnTo>
                  <a:pt x="584" y="42"/>
                </a:lnTo>
                <a:lnTo>
                  <a:pt x="589" y="38"/>
                </a:lnTo>
                <a:lnTo>
                  <a:pt x="592" y="35"/>
                </a:lnTo>
                <a:lnTo>
                  <a:pt x="594" y="34"/>
                </a:lnTo>
                <a:lnTo>
                  <a:pt x="592" y="34"/>
                </a:lnTo>
                <a:lnTo>
                  <a:pt x="590" y="34"/>
                </a:lnTo>
                <a:lnTo>
                  <a:pt x="587" y="35"/>
                </a:lnTo>
                <a:lnTo>
                  <a:pt x="582" y="36"/>
                </a:lnTo>
                <a:lnTo>
                  <a:pt x="578" y="39"/>
                </a:lnTo>
                <a:lnTo>
                  <a:pt x="574" y="42"/>
                </a:lnTo>
                <a:lnTo>
                  <a:pt x="570" y="43"/>
                </a:lnTo>
                <a:lnTo>
                  <a:pt x="567" y="45"/>
                </a:lnTo>
                <a:lnTo>
                  <a:pt x="562" y="46"/>
                </a:lnTo>
                <a:lnTo>
                  <a:pt x="559" y="46"/>
                </a:lnTo>
                <a:lnTo>
                  <a:pt x="552" y="50"/>
                </a:lnTo>
                <a:lnTo>
                  <a:pt x="549" y="50"/>
                </a:lnTo>
                <a:lnTo>
                  <a:pt x="544" y="50"/>
                </a:lnTo>
                <a:lnTo>
                  <a:pt x="543" y="51"/>
                </a:lnTo>
                <a:lnTo>
                  <a:pt x="543" y="50"/>
                </a:lnTo>
                <a:lnTo>
                  <a:pt x="545" y="48"/>
                </a:lnTo>
                <a:lnTo>
                  <a:pt x="545" y="45"/>
                </a:lnTo>
                <a:lnTo>
                  <a:pt x="544" y="44"/>
                </a:lnTo>
                <a:lnTo>
                  <a:pt x="533" y="50"/>
                </a:lnTo>
                <a:lnTo>
                  <a:pt x="528" y="50"/>
                </a:lnTo>
                <a:lnTo>
                  <a:pt x="527" y="50"/>
                </a:lnTo>
                <a:lnTo>
                  <a:pt x="526" y="49"/>
                </a:lnTo>
                <a:lnTo>
                  <a:pt x="529" y="46"/>
                </a:lnTo>
                <a:lnTo>
                  <a:pt x="541" y="39"/>
                </a:lnTo>
                <a:lnTo>
                  <a:pt x="556" y="32"/>
                </a:lnTo>
                <a:lnTo>
                  <a:pt x="562" y="30"/>
                </a:lnTo>
                <a:lnTo>
                  <a:pt x="570" y="25"/>
                </a:lnTo>
                <a:lnTo>
                  <a:pt x="569" y="25"/>
                </a:lnTo>
                <a:lnTo>
                  <a:pt x="566" y="24"/>
                </a:lnTo>
                <a:lnTo>
                  <a:pt x="559" y="24"/>
                </a:lnTo>
                <a:lnTo>
                  <a:pt x="556" y="22"/>
                </a:lnTo>
                <a:lnTo>
                  <a:pt x="552" y="23"/>
                </a:lnTo>
                <a:lnTo>
                  <a:pt x="549" y="24"/>
                </a:lnTo>
                <a:lnTo>
                  <a:pt x="547" y="24"/>
                </a:lnTo>
                <a:lnTo>
                  <a:pt x="545" y="23"/>
                </a:lnTo>
                <a:lnTo>
                  <a:pt x="544" y="21"/>
                </a:lnTo>
                <a:lnTo>
                  <a:pt x="541" y="20"/>
                </a:lnTo>
                <a:lnTo>
                  <a:pt x="540" y="19"/>
                </a:lnTo>
                <a:lnTo>
                  <a:pt x="538" y="19"/>
                </a:lnTo>
                <a:lnTo>
                  <a:pt x="537" y="18"/>
                </a:lnTo>
                <a:lnTo>
                  <a:pt x="536" y="17"/>
                </a:lnTo>
                <a:lnTo>
                  <a:pt x="535" y="15"/>
                </a:lnTo>
                <a:lnTo>
                  <a:pt x="533" y="14"/>
                </a:lnTo>
                <a:lnTo>
                  <a:pt x="526" y="13"/>
                </a:lnTo>
                <a:lnTo>
                  <a:pt x="524" y="14"/>
                </a:lnTo>
                <a:lnTo>
                  <a:pt x="520" y="15"/>
                </a:lnTo>
                <a:lnTo>
                  <a:pt x="519" y="14"/>
                </a:lnTo>
                <a:lnTo>
                  <a:pt x="519" y="14"/>
                </a:lnTo>
                <a:lnTo>
                  <a:pt x="519" y="13"/>
                </a:lnTo>
                <a:lnTo>
                  <a:pt x="516" y="13"/>
                </a:lnTo>
                <a:lnTo>
                  <a:pt x="515" y="12"/>
                </a:lnTo>
                <a:lnTo>
                  <a:pt x="513" y="12"/>
                </a:lnTo>
                <a:lnTo>
                  <a:pt x="511" y="12"/>
                </a:lnTo>
                <a:lnTo>
                  <a:pt x="510" y="12"/>
                </a:lnTo>
                <a:lnTo>
                  <a:pt x="508" y="12"/>
                </a:lnTo>
                <a:lnTo>
                  <a:pt x="508" y="8"/>
                </a:lnTo>
                <a:lnTo>
                  <a:pt x="508" y="8"/>
                </a:lnTo>
                <a:lnTo>
                  <a:pt x="509" y="1"/>
                </a:lnTo>
                <a:lnTo>
                  <a:pt x="507" y="0"/>
                </a:lnTo>
                <a:lnTo>
                  <a:pt x="506" y="0"/>
                </a:lnTo>
                <a:lnTo>
                  <a:pt x="503" y="8"/>
                </a:lnTo>
                <a:lnTo>
                  <a:pt x="487" y="8"/>
                </a:lnTo>
                <a:lnTo>
                  <a:pt x="473" y="8"/>
                </a:lnTo>
                <a:lnTo>
                  <a:pt x="473" y="8"/>
                </a:lnTo>
                <a:lnTo>
                  <a:pt x="470" y="8"/>
                </a:lnTo>
                <a:lnTo>
                  <a:pt x="458" y="8"/>
                </a:lnTo>
                <a:lnTo>
                  <a:pt x="446" y="8"/>
                </a:lnTo>
                <a:lnTo>
                  <a:pt x="433" y="8"/>
                </a:lnTo>
                <a:lnTo>
                  <a:pt x="419" y="8"/>
                </a:lnTo>
                <a:lnTo>
                  <a:pt x="415" y="8"/>
                </a:lnTo>
                <a:lnTo>
                  <a:pt x="377" y="8"/>
                </a:lnTo>
                <a:lnTo>
                  <a:pt x="366" y="8"/>
                </a:lnTo>
                <a:lnTo>
                  <a:pt x="353" y="8"/>
                </a:lnTo>
                <a:lnTo>
                  <a:pt x="339" y="8"/>
                </a:lnTo>
                <a:lnTo>
                  <a:pt x="328" y="8"/>
                </a:lnTo>
                <a:lnTo>
                  <a:pt x="316" y="8"/>
                </a:lnTo>
                <a:lnTo>
                  <a:pt x="302" y="8"/>
                </a:lnTo>
                <a:lnTo>
                  <a:pt x="294" y="8"/>
                </a:lnTo>
                <a:lnTo>
                  <a:pt x="282" y="8"/>
                </a:lnTo>
                <a:lnTo>
                  <a:pt x="267" y="8"/>
                </a:lnTo>
                <a:lnTo>
                  <a:pt x="255" y="8"/>
                </a:lnTo>
                <a:lnTo>
                  <a:pt x="237" y="8"/>
                </a:lnTo>
                <a:lnTo>
                  <a:pt x="209" y="8"/>
                </a:lnTo>
                <a:lnTo>
                  <a:pt x="195" y="8"/>
                </a:lnTo>
                <a:lnTo>
                  <a:pt x="182" y="8"/>
                </a:lnTo>
                <a:lnTo>
                  <a:pt x="171" y="8"/>
                </a:lnTo>
                <a:lnTo>
                  <a:pt x="157" y="8"/>
                </a:lnTo>
                <a:lnTo>
                  <a:pt x="144" y="8"/>
                </a:lnTo>
                <a:lnTo>
                  <a:pt x="132" y="8"/>
                </a:lnTo>
                <a:lnTo>
                  <a:pt x="115" y="8"/>
                </a:lnTo>
                <a:lnTo>
                  <a:pt x="115" y="10"/>
                </a:lnTo>
                <a:lnTo>
                  <a:pt x="115" y="11"/>
                </a:lnTo>
                <a:lnTo>
                  <a:pt x="118" y="11"/>
                </a:lnTo>
                <a:lnTo>
                  <a:pt x="120" y="12"/>
                </a:lnTo>
                <a:lnTo>
                  <a:pt x="120" y="12"/>
                </a:lnTo>
                <a:lnTo>
                  <a:pt x="119" y="13"/>
                </a:lnTo>
                <a:lnTo>
                  <a:pt x="119" y="12"/>
                </a:lnTo>
                <a:lnTo>
                  <a:pt x="118" y="13"/>
                </a:lnTo>
                <a:lnTo>
                  <a:pt x="116" y="14"/>
                </a:lnTo>
                <a:lnTo>
                  <a:pt x="114" y="17"/>
                </a:lnTo>
                <a:lnTo>
                  <a:pt x="113" y="17"/>
                </a:lnTo>
                <a:lnTo>
                  <a:pt x="113" y="17"/>
                </a:lnTo>
                <a:lnTo>
                  <a:pt x="113" y="18"/>
                </a:lnTo>
                <a:lnTo>
                  <a:pt x="114" y="19"/>
                </a:lnTo>
                <a:lnTo>
                  <a:pt x="114" y="19"/>
                </a:lnTo>
                <a:lnTo>
                  <a:pt x="113" y="22"/>
                </a:lnTo>
                <a:lnTo>
                  <a:pt x="111" y="27"/>
                </a:lnTo>
                <a:lnTo>
                  <a:pt x="109" y="29"/>
                </a:lnTo>
                <a:lnTo>
                  <a:pt x="109" y="29"/>
                </a:lnTo>
                <a:lnTo>
                  <a:pt x="109" y="28"/>
                </a:lnTo>
                <a:lnTo>
                  <a:pt x="109" y="28"/>
                </a:lnTo>
                <a:lnTo>
                  <a:pt x="106" y="28"/>
                </a:lnTo>
                <a:lnTo>
                  <a:pt x="102" y="31"/>
                </a:lnTo>
                <a:lnTo>
                  <a:pt x="99" y="32"/>
                </a:lnTo>
                <a:lnTo>
                  <a:pt x="98" y="33"/>
                </a:lnTo>
                <a:lnTo>
                  <a:pt x="98" y="34"/>
                </a:lnTo>
                <a:lnTo>
                  <a:pt x="96" y="35"/>
                </a:lnTo>
                <a:lnTo>
                  <a:pt x="95" y="35"/>
                </a:lnTo>
                <a:lnTo>
                  <a:pt x="96" y="33"/>
                </a:lnTo>
                <a:lnTo>
                  <a:pt x="102" y="29"/>
                </a:lnTo>
                <a:lnTo>
                  <a:pt x="103" y="28"/>
                </a:lnTo>
                <a:lnTo>
                  <a:pt x="104" y="27"/>
                </a:lnTo>
                <a:lnTo>
                  <a:pt x="105" y="27"/>
                </a:lnTo>
                <a:lnTo>
                  <a:pt x="106" y="24"/>
                </a:lnTo>
                <a:lnTo>
                  <a:pt x="108" y="23"/>
                </a:lnTo>
                <a:lnTo>
                  <a:pt x="104" y="23"/>
                </a:lnTo>
                <a:lnTo>
                  <a:pt x="101" y="22"/>
                </a:lnTo>
                <a:lnTo>
                  <a:pt x="98" y="22"/>
                </a:lnTo>
                <a:lnTo>
                  <a:pt x="94" y="21"/>
                </a:lnTo>
                <a:lnTo>
                  <a:pt x="92" y="21"/>
                </a:lnTo>
                <a:lnTo>
                  <a:pt x="86" y="19"/>
                </a:lnTo>
                <a:lnTo>
                  <a:pt x="84" y="18"/>
                </a:lnTo>
                <a:lnTo>
                  <a:pt x="83" y="19"/>
                </a:lnTo>
                <a:lnTo>
                  <a:pt x="81" y="21"/>
                </a:lnTo>
                <a:lnTo>
                  <a:pt x="79" y="23"/>
                </a:lnTo>
                <a:lnTo>
                  <a:pt x="79" y="24"/>
                </a:lnTo>
                <a:lnTo>
                  <a:pt x="79" y="27"/>
                </a:lnTo>
                <a:lnTo>
                  <a:pt x="79" y="29"/>
                </a:lnTo>
                <a:lnTo>
                  <a:pt x="79" y="32"/>
                </a:lnTo>
                <a:lnTo>
                  <a:pt x="75" y="40"/>
                </a:lnTo>
                <a:lnTo>
                  <a:pt x="75" y="42"/>
                </a:lnTo>
                <a:lnTo>
                  <a:pt x="75" y="42"/>
                </a:lnTo>
                <a:lnTo>
                  <a:pt x="78" y="41"/>
                </a:lnTo>
                <a:lnTo>
                  <a:pt x="78" y="42"/>
                </a:lnTo>
                <a:lnTo>
                  <a:pt x="76" y="43"/>
                </a:lnTo>
                <a:lnTo>
                  <a:pt x="74" y="44"/>
                </a:lnTo>
                <a:lnTo>
                  <a:pt x="73" y="46"/>
                </a:lnTo>
                <a:lnTo>
                  <a:pt x="73" y="46"/>
                </a:lnTo>
                <a:lnTo>
                  <a:pt x="74" y="48"/>
                </a:lnTo>
                <a:lnTo>
                  <a:pt x="75" y="46"/>
                </a:lnTo>
                <a:lnTo>
                  <a:pt x="75" y="48"/>
                </a:lnTo>
                <a:lnTo>
                  <a:pt x="74" y="49"/>
                </a:lnTo>
                <a:lnTo>
                  <a:pt x="73" y="52"/>
                </a:lnTo>
                <a:lnTo>
                  <a:pt x="72" y="52"/>
                </a:lnTo>
                <a:lnTo>
                  <a:pt x="71" y="52"/>
                </a:lnTo>
                <a:lnTo>
                  <a:pt x="73" y="50"/>
                </a:lnTo>
                <a:lnTo>
                  <a:pt x="72" y="49"/>
                </a:lnTo>
                <a:lnTo>
                  <a:pt x="70" y="52"/>
                </a:lnTo>
                <a:lnTo>
                  <a:pt x="70" y="54"/>
                </a:lnTo>
                <a:lnTo>
                  <a:pt x="71" y="55"/>
                </a:lnTo>
                <a:lnTo>
                  <a:pt x="76" y="55"/>
                </a:lnTo>
                <a:lnTo>
                  <a:pt x="76" y="56"/>
                </a:lnTo>
                <a:lnTo>
                  <a:pt x="79" y="58"/>
                </a:lnTo>
                <a:lnTo>
                  <a:pt x="78" y="58"/>
                </a:lnTo>
                <a:lnTo>
                  <a:pt x="75" y="58"/>
                </a:lnTo>
                <a:lnTo>
                  <a:pt x="70" y="58"/>
                </a:lnTo>
                <a:lnTo>
                  <a:pt x="69" y="58"/>
                </a:lnTo>
                <a:lnTo>
                  <a:pt x="68" y="59"/>
                </a:lnTo>
                <a:lnTo>
                  <a:pt x="65" y="63"/>
                </a:lnTo>
                <a:lnTo>
                  <a:pt x="64" y="64"/>
                </a:lnTo>
                <a:lnTo>
                  <a:pt x="64" y="65"/>
                </a:lnTo>
                <a:lnTo>
                  <a:pt x="63" y="66"/>
                </a:lnTo>
                <a:lnTo>
                  <a:pt x="62" y="69"/>
                </a:lnTo>
                <a:lnTo>
                  <a:pt x="60" y="71"/>
                </a:lnTo>
                <a:lnTo>
                  <a:pt x="55" y="79"/>
                </a:lnTo>
                <a:lnTo>
                  <a:pt x="52" y="81"/>
                </a:lnTo>
                <a:lnTo>
                  <a:pt x="47" y="91"/>
                </a:lnTo>
                <a:lnTo>
                  <a:pt x="44" y="93"/>
                </a:lnTo>
                <a:lnTo>
                  <a:pt x="42" y="96"/>
                </a:lnTo>
                <a:lnTo>
                  <a:pt x="38" y="103"/>
                </a:lnTo>
                <a:lnTo>
                  <a:pt x="37" y="104"/>
                </a:lnTo>
                <a:lnTo>
                  <a:pt x="37" y="105"/>
                </a:lnTo>
                <a:lnTo>
                  <a:pt x="37" y="105"/>
                </a:lnTo>
                <a:lnTo>
                  <a:pt x="35" y="106"/>
                </a:lnTo>
                <a:lnTo>
                  <a:pt x="33" y="108"/>
                </a:lnTo>
                <a:lnTo>
                  <a:pt x="31" y="110"/>
                </a:lnTo>
                <a:lnTo>
                  <a:pt x="25" y="116"/>
                </a:lnTo>
                <a:lnTo>
                  <a:pt x="24" y="120"/>
                </a:lnTo>
                <a:lnTo>
                  <a:pt x="21" y="126"/>
                </a:lnTo>
                <a:lnTo>
                  <a:pt x="21" y="131"/>
                </a:lnTo>
                <a:lnTo>
                  <a:pt x="20" y="132"/>
                </a:lnTo>
                <a:lnTo>
                  <a:pt x="20" y="135"/>
                </a:lnTo>
                <a:lnTo>
                  <a:pt x="18" y="143"/>
                </a:lnTo>
                <a:lnTo>
                  <a:pt x="13" y="149"/>
                </a:lnTo>
                <a:lnTo>
                  <a:pt x="11" y="154"/>
                </a:lnTo>
                <a:lnTo>
                  <a:pt x="8" y="156"/>
                </a:lnTo>
                <a:lnTo>
                  <a:pt x="4" y="159"/>
                </a:lnTo>
                <a:lnTo>
                  <a:pt x="3" y="161"/>
                </a:lnTo>
                <a:lnTo>
                  <a:pt x="2" y="162"/>
                </a:lnTo>
                <a:lnTo>
                  <a:pt x="3" y="164"/>
                </a:lnTo>
                <a:lnTo>
                  <a:pt x="5" y="174"/>
                </a:lnTo>
                <a:lnTo>
                  <a:pt x="5" y="175"/>
                </a:lnTo>
                <a:lnTo>
                  <a:pt x="3" y="176"/>
                </a:lnTo>
                <a:lnTo>
                  <a:pt x="2" y="180"/>
                </a:lnTo>
                <a:lnTo>
                  <a:pt x="0" y="188"/>
                </a:lnTo>
                <a:lnTo>
                  <a:pt x="1" y="191"/>
                </a:lnTo>
                <a:lnTo>
                  <a:pt x="2" y="194"/>
                </a:lnTo>
                <a:lnTo>
                  <a:pt x="4" y="198"/>
                </a:lnTo>
                <a:lnTo>
                  <a:pt x="4" y="201"/>
                </a:lnTo>
                <a:lnTo>
                  <a:pt x="3" y="203"/>
                </a:lnTo>
                <a:lnTo>
                  <a:pt x="3" y="204"/>
                </a:lnTo>
                <a:lnTo>
                  <a:pt x="4" y="205"/>
                </a:lnTo>
                <a:lnTo>
                  <a:pt x="7" y="205"/>
                </a:lnTo>
                <a:lnTo>
                  <a:pt x="7" y="206"/>
                </a:lnTo>
                <a:lnTo>
                  <a:pt x="8" y="206"/>
                </a:lnTo>
                <a:lnTo>
                  <a:pt x="9" y="205"/>
                </a:lnTo>
                <a:lnTo>
                  <a:pt x="9" y="205"/>
                </a:lnTo>
                <a:lnTo>
                  <a:pt x="11" y="202"/>
                </a:lnTo>
                <a:lnTo>
                  <a:pt x="14" y="202"/>
                </a:lnTo>
                <a:lnTo>
                  <a:pt x="18" y="203"/>
                </a:lnTo>
                <a:lnTo>
                  <a:pt x="15" y="204"/>
                </a:lnTo>
                <a:lnTo>
                  <a:pt x="13" y="204"/>
                </a:lnTo>
                <a:lnTo>
                  <a:pt x="11" y="206"/>
                </a:lnTo>
                <a:lnTo>
                  <a:pt x="11" y="207"/>
                </a:lnTo>
                <a:lnTo>
                  <a:pt x="11" y="212"/>
                </a:lnTo>
                <a:lnTo>
                  <a:pt x="11" y="213"/>
                </a:lnTo>
                <a:lnTo>
                  <a:pt x="10" y="212"/>
                </a:lnTo>
                <a:lnTo>
                  <a:pt x="9" y="210"/>
                </a:lnTo>
                <a:lnTo>
                  <a:pt x="9" y="208"/>
                </a:lnTo>
                <a:lnTo>
                  <a:pt x="8" y="208"/>
                </a:lnTo>
                <a:lnTo>
                  <a:pt x="7" y="211"/>
                </a:lnTo>
                <a:lnTo>
                  <a:pt x="5" y="212"/>
                </a:lnTo>
                <a:lnTo>
                  <a:pt x="5" y="215"/>
                </a:lnTo>
                <a:lnTo>
                  <a:pt x="4" y="220"/>
                </a:lnTo>
                <a:lnTo>
                  <a:pt x="7" y="223"/>
                </a:lnTo>
                <a:lnTo>
                  <a:pt x="10" y="223"/>
                </a:lnTo>
                <a:lnTo>
                  <a:pt x="10" y="226"/>
                </a:lnTo>
                <a:lnTo>
                  <a:pt x="9" y="228"/>
                </a:lnTo>
                <a:lnTo>
                  <a:pt x="5" y="231"/>
                </a:lnTo>
                <a:lnTo>
                  <a:pt x="4" y="234"/>
                </a:lnTo>
                <a:lnTo>
                  <a:pt x="4" y="235"/>
                </a:lnTo>
                <a:lnTo>
                  <a:pt x="8" y="241"/>
                </a:lnTo>
                <a:lnTo>
                  <a:pt x="9" y="246"/>
                </a:lnTo>
                <a:lnTo>
                  <a:pt x="12" y="251"/>
                </a:lnTo>
                <a:lnTo>
                  <a:pt x="13" y="251"/>
                </a:lnTo>
                <a:lnTo>
                  <a:pt x="12" y="254"/>
                </a:lnTo>
                <a:lnTo>
                  <a:pt x="14" y="255"/>
                </a:lnTo>
                <a:lnTo>
                  <a:pt x="14" y="257"/>
                </a:lnTo>
                <a:lnTo>
                  <a:pt x="14" y="258"/>
                </a:lnTo>
                <a:lnTo>
                  <a:pt x="13" y="260"/>
                </a:lnTo>
                <a:lnTo>
                  <a:pt x="12" y="262"/>
                </a:lnTo>
                <a:lnTo>
                  <a:pt x="11" y="266"/>
                </a:lnTo>
                <a:lnTo>
                  <a:pt x="12" y="267"/>
                </a:lnTo>
                <a:lnTo>
                  <a:pt x="13" y="267"/>
                </a:lnTo>
                <a:lnTo>
                  <a:pt x="18" y="268"/>
                </a:lnTo>
                <a:lnTo>
                  <a:pt x="21" y="271"/>
                </a:lnTo>
                <a:lnTo>
                  <a:pt x="22" y="270"/>
                </a:lnTo>
                <a:lnTo>
                  <a:pt x="24" y="270"/>
                </a:lnTo>
                <a:lnTo>
                  <a:pt x="27" y="272"/>
                </a:lnTo>
                <a:lnTo>
                  <a:pt x="28" y="272"/>
                </a:lnTo>
                <a:lnTo>
                  <a:pt x="29" y="274"/>
                </a:lnTo>
                <a:lnTo>
                  <a:pt x="32" y="275"/>
                </a:lnTo>
                <a:lnTo>
                  <a:pt x="33" y="276"/>
                </a:lnTo>
                <a:lnTo>
                  <a:pt x="34" y="277"/>
                </a:lnTo>
                <a:lnTo>
                  <a:pt x="35" y="276"/>
                </a:lnTo>
                <a:lnTo>
                  <a:pt x="37" y="276"/>
                </a:lnTo>
                <a:lnTo>
                  <a:pt x="38" y="276"/>
                </a:lnTo>
                <a:lnTo>
                  <a:pt x="39" y="278"/>
                </a:lnTo>
                <a:lnTo>
                  <a:pt x="39" y="282"/>
                </a:lnTo>
                <a:lnTo>
                  <a:pt x="39" y="282"/>
                </a:lnTo>
                <a:lnTo>
                  <a:pt x="42" y="282"/>
                </a:lnTo>
                <a:lnTo>
                  <a:pt x="45" y="284"/>
                </a:lnTo>
                <a:lnTo>
                  <a:pt x="47" y="286"/>
                </a:lnTo>
                <a:lnTo>
                  <a:pt x="49" y="291"/>
                </a:lnTo>
                <a:lnTo>
                  <a:pt x="50" y="293"/>
                </a:lnTo>
                <a:lnTo>
                  <a:pt x="51" y="295"/>
                </a:lnTo>
                <a:lnTo>
                  <a:pt x="49" y="303"/>
                </a:lnTo>
                <a:lnTo>
                  <a:pt x="49" y="304"/>
                </a:lnTo>
                <a:lnTo>
                  <a:pt x="84" y="302"/>
                </a:lnTo>
                <a:lnTo>
                  <a:pt x="84" y="303"/>
                </a:lnTo>
                <a:lnTo>
                  <a:pt x="135" y="325"/>
                </a:lnTo>
                <a:lnTo>
                  <a:pt x="164" y="325"/>
                </a:lnTo>
                <a:lnTo>
                  <a:pt x="176" y="325"/>
                </a:lnTo>
                <a:lnTo>
                  <a:pt x="180" y="316"/>
                </a:lnTo>
                <a:lnTo>
                  <a:pt x="204" y="316"/>
                </a:lnTo>
                <a:lnTo>
                  <a:pt x="206" y="318"/>
                </a:lnTo>
                <a:lnTo>
                  <a:pt x="207" y="318"/>
                </a:lnTo>
                <a:lnTo>
                  <a:pt x="209" y="323"/>
                </a:lnTo>
                <a:lnTo>
                  <a:pt x="212" y="324"/>
                </a:lnTo>
                <a:lnTo>
                  <a:pt x="213" y="327"/>
                </a:lnTo>
                <a:lnTo>
                  <a:pt x="217" y="333"/>
                </a:lnTo>
                <a:lnTo>
                  <a:pt x="223" y="338"/>
                </a:lnTo>
                <a:lnTo>
                  <a:pt x="223" y="353"/>
                </a:lnTo>
                <a:lnTo>
                  <a:pt x="226" y="358"/>
                </a:lnTo>
                <a:lnTo>
                  <a:pt x="230" y="363"/>
                </a:lnTo>
                <a:lnTo>
                  <a:pt x="235" y="367"/>
                </a:lnTo>
                <a:lnTo>
                  <a:pt x="242" y="368"/>
                </a:lnTo>
                <a:lnTo>
                  <a:pt x="252" y="355"/>
                </a:lnTo>
                <a:lnTo>
                  <a:pt x="253" y="354"/>
                </a:lnTo>
                <a:lnTo>
                  <a:pt x="256" y="353"/>
                </a:lnTo>
                <a:lnTo>
                  <a:pt x="260" y="354"/>
                </a:lnTo>
                <a:lnTo>
                  <a:pt x="272" y="353"/>
                </a:lnTo>
                <a:lnTo>
                  <a:pt x="274" y="356"/>
                </a:lnTo>
                <a:lnTo>
                  <a:pt x="277" y="361"/>
                </a:lnTo>
                <a:lnTo>
                  <a:pt x="278" y="364"/>
                </a:lnTo>
                <a:lnTo>
                  <a:pt x="281" y="366"/>
                </a:lnTo>
                <a:lnTo>
                  <a:pt x="283" y="379"/>
                </a:lnTo>
                <a:lnTo>
                  <a:pt x="286" y="384"/>
                </a:lnTo>
                <a:lnTo>
                  <a:pt x="287" y="389"/>
                </a:lnTo>
                <a:lnTo>
                  <a:pt x="292" y="393"/>
                </a:lnTo>
                <a:lnTo>
                  <a:pt x="293" y="407"/>
                </a:lnTo>
                <a:lnTo>
                  <a:pt x="296" y="415"/>
                </a:lnTo>
                <a:lnTo>
                  <a:pt x="300" y="418"/>
                </a:lnTo>
                <a:lnTo>
                  <a:pt x="304" y="418"/>
                </a:lnTo>
                <a:lnTo>
                  <a:pt x="307" y="422"/>
                </a:lnTo>
                <a:lnTo>
                  <a:pt x="315" y="422"/>
                </a:lnTo>
                <a:lnTo>
                  <a:pt x="319" y="425"/>
                </a:lnTo>
                <a:lnTo>
                  <a:pt x="324" y="425"/>
                </a:lnTo>
                <a:lnTo>
                  <a:pt x="325" y="424"/>
                </a:lnTo>
                <a:lnTo>
                  <a:pt x="324" y="424"/>
                </a:lnTo>
                <a:lnTo>
                  <a:pt x="323" y="420"/>
                </a:lnTo>
                <a:lnTo>
                  <a:pt x="323" y="418"/>
                </a:lnTo>
                <a:lnTo>
                  <a:pt x="323" y="417"/>
                </a:lnTo>
                <a:lnTo>
                  <a:pt x="323" y="409"/>
                </a:lnTo>
                <a:lnTo>
                  <a:pt x="323" y="407"/>
                </a:lnTo>
                <a:lnTo>
                  <a:pt x="324" y="406"/>
                </a:lnTo>
                <a:lnTo>
                  <a:pt x="325" y="403"/>
                </a:lnTo>
                <a:lnTo>
                  <a:pt x="325" y="402"/>
                </a:lnTo>
                <a:lnTo>
                  <a:pt x="323" y="402"/>
                </a:lnTo>
                <a:lnTo>
                  <a:pt x="323" y="400"/>
                </a:lnTo>
                <a:lnTo>
                  <a:pt x="323" y="399"/>
                </a:lnTo>
                <a:lnTo>
                  <a:pt x="325" y="399"/>
                </a:lnTo>
                <a:lnTo>
                  <a:pt x="326" y="400"/>
                </a:lnTo>
                <a:lnTo>
                  <a:pt x="327" y="399"/>
                </a:lnTo>
                <a:lnTo>
                  <a:pt x="328" y="397"/>
                </a:lnTo>
                <a:lnTo>
                  <a:pt x="329" y="394"/>
                </a:lnTo>
                <a:lnTo>
                  <a:pt x="328" y="391"/>
                </a:lnTo>
                <a:lnTo>
                  <a:pt x="333" y="389"/>
                </a:lnTo>
                <a:lnTo>
                  <a:pt x="335" y="387"/>
                </a:lnTo>
                <a:lnTo>
                  <a:pt x="335" y="386"/>
                </a:lnTo>
                <a:lnTo>
                  <a:pt x="333" y="386"/>
                </a:lnTo>
                <a:lnTo>
                  <a:pt x="334" y="385"/>
                </a:lnTo>
                <a:lnTo>
                  <a:pt x="336" y="384"/>
                </a:lnTo>
                <a:lnTo>
                  <a:pt x="337" y="384"/>
                </a:lnTo>
                <a:lnTo>
                  <a:pt x="339" y="382"/>
                </a:lnTo>
                <a:lnTo>
                  <a:pt x="341" y="381"/>
                </a:lnTo>
                <a:lnTo>
                  <a:pt x="341" y="379"/>
                </a:lnTo>
                <a:lnTo>
                  <a:pt x="344" y="379"/>
                </a:lnTo>
                <a:lnTo>
                  <a:pt x="345" y="379"/>
                </a:lnTo>
                <a:lnTo>
                  <a:pt x="345" y="377"/>
                </a:lnTo>
                <a:lnTo>
                  <a:pt x="344" y="376"/>
                </a:lnTo>
                <a:lnTo>
                  <a:pt x="345" y="375"/>
                </a:lnTo>
                <a:lnTo>
                  <a:pt x="345" y="374"/>
                </a:lnTo>
                <a:lnTo>
                  <a:pt x="346" y="375"/>
                </a:lnTo>
                <a:lnTo>
                  <a:pt x="347" y="376"/>
                </a:lnTo>
                <a:lnTo>
                  <a:pt x="347" y="375"/>
                </a:lnTo>
                <a:lnTo>
                  <a:pt x="347" y="374"/>
                </a:lnTo>
                <a:lnTo>
                  <a:pt x="348" y="374"/>
                </a:lnTo>
                <a:lnTo>
                  <a:pt x="348" y="374"/>
                </a:lnTo>
                <a:lnTo>
                  <a:pt x="349" y="375"/>
                </a:lnTo>
                <a:lnTo>
                  <a:pt x="349" y="375"/>
                </a:lnTo>
                <a:lnTo>
                  <a:pt x="351" y="375"/>
                </a:lnTo>
                <a:lnTo>
                  <a:pt x="352" y="374"/>
                </a:lnTo>
                <a:lnTo>
                  <a:pt x="352" y="373"/>
                </a:lnTo>
                <a:lnTo>
                  <a:pt x="352" y="376"/>
                </a:lnTo>
                <a:lnTo>
                  <a:pt x="356" y="374"/>
                </a:lnTo>
                <a:lnTo>
                  <a:pt x="357" y="374"/>
                </a:lnTo>
                <a:lnTo>
                  <a:pt x="357" y="375"/>
                </a:lnTo>
                <a:lnTo>
                  <a:pt x="356" y="375"/>
                </a:lnTo>
                <a:lnTo>
                  <a:pt x="353" y="376"/>
                </a:lnTo>
                <a:lnTo>
                  <a:pt x="349" y="377"/>
                </a:lnTo>
                <a:lnTo>
                  <a:pt x="349" y="378"/>
                </a:lnTo>
                <a:lnTo>
                  <a:pt x="349" y="378"/>
                </a:lnTo>
                <a:lnTo>
                  <a:pt x="355" y="377"/>
                </a:lnTo>
                <a:lnTo>
                  <a:pt x="359" y="375"/>
                </a:lnTo>
                <a:lnTo>
                  <a:pt x="362" y="373"/>
                </a:lnTo>
                <a:lnTo>
                  <a:pt x="366" y="371"/>
                </a:lnTo>
                <a:lnTo>
                  <a:pt x="367" y="368"/>
                </a:lnTo>
                <a:lnTo>
                  <a:pt x="371" y="364"/>
                </a:lnTo>
                <a:lnTo>
                  <a:pt x="373" y="355"/>
                </a:lnTo>
                <a:lnTo>
                  <a:pt x="374" y="354"/>
                </a:lnTo>
                <a:lnTo>
                  <a:pt x="375" y="354"/>
                </a:lnTo>
                <a:lnTo>
                  <a:pt x="375" y="354"/>
                </a:lnTo>
                <a:lnTo>
                  <a:pt x="375" y="357"/>
                </a:lnTo>
                <a:lnTo>
                  <a:pt x="377" y="357"/>
                </a:lnTo>
                <a:lnTo>
                  <a:pt x="376" y="358"/>
                </a:lnTo>
                <a:lnTo>
                  <a:pt x="374" y="359"/>
                </a:lnTo>
                <a:lnTo>
                  <a:pt x="375" y="359"/>
                </a:lnTo>
                <a:lnTo>
                  <a:pt x="381" y="357"/>
                </a:lnTo>
                <a:lnTo>
                  <a:pt x="385" y="355"/>
                </a:lnTo>
                <a:lnTo>
                  <a:pt x="389" y="355"/>
                </a:lnTo>
                <a:lnTo>
                  <a:pt x="398" y="354"/>
                </a:lnTo>
                <a:lnTo>
                  <a:pt x="404" y="355"/>
                </a:lnTo>
                <a:lnTo>
                  <a:pt x="406" y="357"/>
                </a:lnTo>
                <a:lnTo>
                  <a:pt x="410" y="357"/>
                </a:lnTo>
                <a:lnTo>
                  <a:pt x="414" y="357"/>
                </a:lnTo>
                <a:lnTo>
                  <a:pt x="415" y="356"/>
                </a:lnTo>
                <a:lnTo>
                  <a:pt x="416" y="354"/>
                </a:lnTo>
                <a:lnTo>
                  <a:pt x="417" y="354"/>
                </a:lnTo>
                <a:lnTo>
                  <a:pt x="419" y="354"/>
                </a:lnTo>
                <a:lnTo>
                  <a:pt x="424" y="356"/>
                </a:lnTo>
                <a:lnTo>
                  <a:pt x="425" y="358"/>
                </a:lnTo>
                <a:lnTo>
                  <a:pt x="426" y="358"/>
                </a:lnTo>
                <a:lnTo>
                  <a:pt x="428" y="363"/>
                </a:lnTo>
                <a:lnTo>
                  <a:pt x="432" y="363"/>
                </a:lnTo>
                <a:lnTo>
                  <a:pt x="433" y="364"/>
                </a:lnTo>
                <a:lnTo>
                  <a:pt x="435" y="365"/>
                </a:lnTo>
                <a:lnTo>
                  <a:pt x="437" y="364"/>
                </a:lnTo>
                <a:lnTo>
                  <a:pt x="438" y="365"/>
                </a:lnTo>
                <a:lnTo>
                  <a:pt x="439" y="364"/>
                </a:lnTo>
                <a:lnTo>
                  <a:pt x="442" y="364"/>
                </a:lnTo>
                <a:lnTo>
                  <a:pt x="444" y="365"/>
                </a:lnTo>
                <a:lnTo>
                  <a:pt x="446" y="362"/>
                </a:lnTo>
                <a:lnTo>
                  <a:pt x="447" y="362"/>
                </a:lnTo>
                <a:lnTo>
                  <a:pt x="447" y="361"/>
                </a:lnTo>
                <a:lnTo>
                  <a:pt x="447" y="359"/>
                </a:lnTo>
                <a:lnTo>
                  <a:pt x="449" y="359"/>
                </a:lnTo>
                <a:lnTo>
                  <a:pt x="450" y="362"/>
                </a:lnTo>
                <a:lnTo>
                  <a:pt x="454" y="363"/>
                </a:lnTo>
                <a:lnTo>
                  <a:pt x="456" y="367"/>
                </a:lnTo>
                <a:lnTo>
                  <a:pt x="457" y="367"/>
                </a:lnTo>
                <a:lnTo>
                  <a:pt x="459" y="366"/>
                </a:lnTo>
                <a:lnTo>
                  <a:pt x="459" y="365"/>
                </a:lnTo>
                <a:lnTo>
                  <a:pt x="459" y="363"/>
                </a:lnTo>
                <a:lnTo>
                  <a:pt x="455" y="361"/>
                </a:lnTo>
                <a:lnTo>
                  <a:pt x="454" y="357"/>
                </a:lnTo>
                <a:lnTo>
                  <a:pt x="454" y="357"/>
                </a:lnTo>
                <a:lnTo>
                  <a:pt x="455" y="355"/>
                </a:lnTo>
                <a:lnTo>
                  <a:pt x="459" y="352"/>
                </a:lnTo>
                <a:lnTo>
                  <a:pt x="460" y="348"/>
                </a:lnTo>
                <a:lnTo>
                  <a:pt x="460" y="347"/>
                </a:lnTo>
                <a:lnTo>
                  <a:pt x="459" y="347"/>
                </a:lnTo>
                <a:lnTo>
                  <a:pt x="456" y="348"/>
                </a:lnTo>
                <a:lnTo>
                  <a:pt x="454" y="351"/>
                </a:lnTo>
                <a:lnTo>
                  <a:pt x="453" y="351"/>
                </a:lnTo>
                <a:lnTo>
                  <a:pt x="453" y="347"/>
                </a:lnTo>
                <a:lnTo>
                  <a:pt x="453" y="346"/>
                </a:lnTo>
                <a:lnTo>
                  <a:pt x="452" y="347"/>
                </a:lnTo>
                <a:lnTo>
                  <a:pt x="449" y="348"/>
                </a:lnTo>
                <a:lnTo>
                  <a:pt x="446" y="348"/>
                </a:lnTo>
                <a:lnTo>
                  <a:pt x="444" y="346"/>
                </a:lnTo>
                <a:lnTo>
                  <a:pt x="446" y="344"/>
                </a:lnTo>
                <a:lnTo>
                  <a:pt x="449" y="343"/>
                </a:lnTo>
                <a:lnTo>
                  <a:pt x="454" y="344"/>
                </a:lnTo>
                <a:lnTo>
                  <a:pt x="457" y="345"/>
                </a:lnTo>
                <a:lnTo>
                  <a:pt x="462" y="343"/>
                </a:lnTo>
                <a:lnTo>
                  <a:pt x="464" y="344"/>
                </a:lnTo>
                <a:lnTo>
                  <a:pt x="467" y="342"/>
                </a:lnTo>
                <a:lnTo>
                  <a:pt x="476" y="343"/>
                </a:lnTo>
                <a:lnTo>
                  <a:pt x="478" y="343"/>
                </a:lnTo>
                <a:lnTo>
                  <a:pt x="480" y="343"/>
                </a:lnTo>
                <a:lnTo>
                  <a:pt x="485" y="333"/>
                </a:lnTo>
                <a:lnTo>
                  <a:pt x="485" y="335"/>
                </a:lnTo>
                <a:lnTo>
                  <a:pt x="484" y="337"/>
                </a:lnTo>
                <a:lnTo>
                  <a:pt x="484" y="341"/>
                </a:lnTo>
                <a:lnTo>
                  <a:pt x="484" y="343"/>
                </a:lnTo>
                <a:lnTo>
                  <a:pt x="483" y="344"/>
                </a:lnTo>
                <a:lnTo>
                  <a:pt x="483" y="345"/>
                </a:lnTo>
                <a:lnTo>
                  <a:pt x="485" y="345"/>
                </a:lnTo>
                <a:lnTo>
                  <a:pt x="491" y="343"/>
                </a:lnTo>
                <a:lnTo>
                  <a:pt x="495" y="341"/>
                </a:lnTo>
                <a:lnTo>
                  <a:pt x="496" y="341"/>
                </a:lnTo>
                <a:lnTo>
                  <a:pt x="498" y="339"/>
                </a:lnTo>
                <a:lnTo>
                  <a:pt x="498" y="339"/>
                </a:lnTo>
                <a:lnTo>
                  <a:pt x="498" y="339"/>
                </a:lnTo>
                <a:lnTo>
                  <a:pt x="497" y="342"/>
                </a:lnTo>
                <a:lnTo>
                  <a:pt x="498" y="342"/>
                </a:lnTo>
                <a:lnTo>
                  <a:pt x="505" y="341"/>
                </a:lnTo>
                <a:lnTo>
                  <a:pt x="508" y="341"/>
                </a:lnTo>
                <a:lnTo>
                  <a:pt x="509" y="341"/>
                </a:lnTo>
                <a:lnTo>
                  <a:pt x="509" y="342"/>
                </a:lnTo>
                <a:lnTo>
                  <a:pt x="508" y="343"/>
                </a:lnTo>
                <a:lnTo>
                  <a:pt x="508" y="343"/>
                </a:lnTo>
                <a:lnTo>
                  <a:pt x="509" y="344"/>
                </a:lnTo>
                <a:lnTo>
                  <a:pt x="513" y="345"/>
                </a:lnTo>
                <a:lnTo>
                  <a:pt x="519" y="349"/>
                </a:lnTo>
                <a:lnTo>
                  <a:pt x="519" y="351"/>
                </a:lnTo>
                <a:lnTo>
                  <a:pt x="520" y="354"/>
                </a:lnTo>
                <a:lnTo>
                  <a:pt x="521" y="355"/>
                </a:lnTo>
                <a:lnTo>
                  <a:pt x="526" y="354"/>
                </a:lnTo>
                <a:lnTo>
                  <a:pt x="529" y="353"/>
                </a:lnTo>
                <a:lnTo>
                  <a:pt x="534" y="351"/>
                </a:lnTo>
                <a:lnTo>
                  <a:pt x="536" y="351"/>
                </a:lnTo>
                <a:lnTo>
                  <a:pt x="536" y="351"/>
                </a:lnTo>
                <a:lnTo>
                  <a:pt x="537" y="349"/>
                </a:lnTo>
                <a:lnTo>
                  <a:pt x="538" y="348"/>
                </a:lnTo>
                <a:lnTo>
                  <a:pt x="541" y="348"/>
                </a:lnTo>
                <a:lnTo>
                  <a:pt x="543" y="348"/>
                </a:lnTo>
                <a:lnTo>
                  <a:pt x="545" y="349"/>
                </a:lnTo>
                <a:lnTo>
                  <a:pt x="547" y="351"/>
                </a:lnTo>
                <a:lnTo>
                  <a:pt x="548" y="355"/>
                </a:lnTo>
                <a:lnTo>
                  <a:pt x="550" y="355"/>
                </a:lnTo>
                <a:lnTo>
                  <a:pt x="549" y="358"/>
                </a:lnTo>
                <a:lnTo>
                  <a:pt x="550" y="358"/>
                </a:lnTo>
                <a:lnTo>
                  <a:pt x="552" y="363"/>
                </a:lnTo>
                <a:lnTo>
                  <a:pt x="555" y="364"/>
                </a:lnTo>
                <a:lnTo>
                  <a:pt x="557" y="365"/>
                </a:lnTo>
                <a:lnTo>
                  <a:pt x="558" y="366"/>
                </a:lnTo>
                <a:lnTo>
                  <a:pt x="558" y="368"/>
                </a:lnTo>
                <a:lnTo>
                  <a:pt x="557" y="374"/>
                </a:lnTo>
                <a:lnTo>
                  <a:pt x="554" y="384"/>
                </a:lnTo>
                <a:lnTo>
                  <a:pt x="554" y="386"/>
                </a:lnTo>
                <a:lnTo>
                  <a:pt x="552" y="388"/>
                </a:lnTo>
                <a:lnTo>
                  <a:pt x="554" y="389"/>
                </a:lnTo>
                <a:lnTo>
                  <a:pt x="555" y="389"/>
                </a:lnTo>
                <a:lnTo>
                  <a:pt x="555" y="386"/>
                </a:lnTo>
                <a:lnTo>
                  <a:pt x="556" y="387"/>
                </a:lnTo>
                <a:lnTo>
                  <a:pt x="557" y="388"/>
                </a:lnTo>
                <a:lnTo>
                  <a:pt x="556" y="392"/>
                </a:lnTo>
                <a:lnTo>
                  <a:pt x="555" y="394"/>
                </a:lnTo>
                <a:lnTo>
                  <a:pt x="554" y="397"/>
                </a:lnTo>
                <a:lnTo>
                  <a:pt x="555" y="400"/>
                </a:lnTo>
                <a:lnTo>
                  <a:pt x="558" y="406"/>
                </a:lnTo>
                <a:lnTo>
                  <a:pt x="558" y="407"/>
                </a:lnTo>
                <a:lnTo>
                  <a:pt x="560" y="406"/>
                </a:lnTo>
                <a:lnTo>
                  <a:pt x="560" y="410"/>
                </a:lnTo>
                <a:lnTo>
                  <a:pt x="561" y="410"/>
                </a:lnTo>
                <a:lnTo>
                  <a:pt x="562" y="410"/>
                </a:lnTo>
                <a:lnTo>
                  <a:pt x="561" y="412"/>
                </a:lnTo>
                <a:lnTo>
                  <a:pt x="560" y="413"/>
                </a:lnTo>
                <a:lnTo>
                  <a:pt x="562" y="417"/>
                </a:lnTo>
                <a:lnTo>
                  <a:pt x="562" y="420"/>
                </a:lnTo>
                <a:lnTo>
                  <a:pt x="564" y="423"/>
                </a:lnTo>
                <a:lnTo>
                  <a:pt x="565" y="425"/>
                </a:lnTo>
                <a:lnTo>
                  <a:pt x="567" y="425"/>
                </a:lnTo>
                <a:lnTo>
                  <a:pt x="568" y="426"/>
                </a:lnTo>
                <a:lnTo>
                  <a:pt x="570" y="433"/>
                </a:lnTo>
                <a:lnTo>
                  <a:pt x="569" y="436"/>
                </a:lnTo>
                <a:lnTo>
                  <a:pt x="569" y="437"/>
                </a:lnTo>
                <a:lnTo>
                  <a:pt x="570" y="438"/>
                </a:lnTo>
                <a:lnTo>
                  <a:pt x="574" y="438"/>
                </a:lnTo>
                <a:lnTo>
                  <a:pt x="577" y="437"/>
                </a:lnTo>
                <a:lnTo>
                  <a:pt x="580" y="436"/>
                </a:lnTo>
                <a:lnTo>
                  <a:pt x="582" y="437"/>
                </a:lnTo>
                <a:lnTo>
                  <a:pt x="585" y="435"/>
                </a:lnTo>
                <a:lnTo>
                  <a:pt x="584" y="434"/>
                </a:lnTo>
                <a:lnTo>
                  <a:pt x="586" y="427"/>
                </a:lnTo>
                <a:lnTo>
                  <a:pt x="588" y="422"/>
                </a:lnTo>
                <a:lnTo>
                  <a:pt x="590" y="415"/>
                </a:lnTo>
                <a:lnTo>
                  <a:pt x="590" y="409"/>
                </a:lnTo>
                <a:lnTo>
                  <a:pt x="591" y="405"/>
                </a:lnTo>
                <a:lnTo>
                  <a:pt x="589" y="393"/>
                </a:lnTo>
                <a:lnTo>
                  <a:pt x="587" y="387"/>
                </a:lnTo>
                <a:lnTo>
                  <a:pt x="587" y="384"/>
                </a:lnTo>
                <a:lnTo>
                  <a:pt x="589" y="378"/>
                </a:lnTo>
                <a:lnTo>
                  <a:pt x="589" y="376"/>
                </a:lnTo>
                <a:lnTo>
                  <a:pt x="588" y="372"/>
                </a:lnTo>
                <a:lnTo>
                  <a:pt x="585" y="364"/>
                </a:lnTo>
                <a:lnTo>
                  <a:pt x="582" y="352"/>
                </a:lnTo>
                <a:lnTo>
                  <a:pt x="582" y="338"/>
                </a:lnTo>
                <a:lnTo>
                  <a:pt x="584" y="337"/>
                </a:lnTo>
                <a:lnTo>
                  <a:pt x="585" y="332"/>
                </a:lnTo>
                <a:lnTo>
                  <a:pt x="587" y="329"/>
                </a:lnTo>
                <a:lnTo>
                  <a:pt x="589" y="326"/>
                </a:lnTo>
                <a:lnTo>
                  <a:pt x="590" y="324"/>
                </a:lnTo>
                <a:lnTo>
                  <a:pt x="596" y="315"/>
                </a:lnTo>
                <a:lnTo>
                  <a:pt x="598" y="313"/>
                </a:lnTo>
                <a:lnTo>
                  <a:pt x="599" y="313"/>
                </a:lnTo>
                <a:lnTo>
                  <a:pt x="599" y="312"/>
                </a:lnTo>
                <a:lnTo>
                  <a:pt x="599" y="311"/>
                </a:lnTo>
                <a:lnTo>
                  <a:pt x="602" y="309"/>
                </a:lnTo>
                <a:lnTo>
                  <a:pt x="604" y="309"/>
                </a:lnTo>
                <a:lnTo>
                  <a:pt x="605" y="308"/>
                </a:lnTo>
                <a:lnTo>
                  <a:pt x="605" y="306"/>
                </a:lnTo>
                <a:lnTo>
                  <a:pt x="604" y="305"/>
                </a:lnTo>
                <a:lnTo>
                  <a:pt x="604" y="304"/>
                </a:lnTo>
                <a:lnTo>
                  <a:pt x="605" y="303"/>
                </a:lnTo>
                <a:lnTo>
                  <a:pt x="609" y="303"/>
                </a:lnTo>
                <a:lnTo>
                  <a:pt x="612" y="303"/>
                </a:lnTo>
                <a:lnTo>
                  <a:pt x="615" y="303"/>
                </a:lnTo>
                <a:lnTo>
                  <a:pt x="622" y="297"/>
                </a:lnTo>
                <a:lnTo>
                  <a:pt x="622" y="297"/>
                </a:lnTo>
                <a:lnTo>
                  <a:pt x="624" y="296"/>
                </a:lnTo>
                <a:lnTo>
                  <a:pt x="625" y="295"/>
                </a:lnTo>
                <a:lnTo>
                  <a:pt x="628" y="294"/>
                </a:lnTo>
                <a:lnTo>
                  <a:pt x="630" y="293"/>
                </a:lnTo>
                <a:lnTo>
                  <a:pt x="631" y="291"/>
                </a:lnTo>
                <a:lnTo>
                  <a:pt x="631" y="289"/>
                </a:lnTo>
                <a:lnTo>
                  <a:pt x="632" y="288"/>
                </a:lnTo>
                <a:lnTo>
                  <a:pt x="636" y="285"/>
                </a:lnTo>
                <a:lnTo>
                  <a:pt x="638" y="283"/>
                </a:lnTo>
                <a:lnTo>
                  <a:pt x="642" y="281"/>
                </a:lnTo>
                <a:lnTo>
                  <a:pt x="642" y="280"/>
                </a:lnTo>
                <a:lnTo>
                  <a:pt x="645" y="280"/>
                </a:lnTo>
                <a:lnTo>
                  <a:pt x="649" y="278"/>
                </a:lnTo>
                <a:lnTo>
                  <a:pt x="656" y="276"/>
                </a:lnTo>
                <a:lnTo>
                  <a:pt x="656" y="274"/>
                </a:lnTo>
                <a:lnTo>
                  <a:pt x="657" y="274"/>
                </a:lnTo>
                <a:lnTo>
                  <a:pt x="659" y="272"/>
                </a:lnTo>
                <a:lnTo>
                  <a:pt x="661" y="270"/>
                </a:lnTo>
                <a:lnTo>
                  <a:pt x="663" y="268"/>
                </a:lnTo>
                <a:lnTo>
                  <a:pt x="669" y="266"/>
                </a:lnTo>
                <a:lnTo>
                  <a:pt x="676" y="265"/>
                </a:lnTo>
                <a:lnTo>
                  <a:pt x="680" y="263"/>
                </a:lnTo>
                <a:lnTo>
                  <a:pt x="681" y="262"/>
                </a:lnTo>
                <a:lnTo>
                  <a:pt x="681" y="260"/>
                </a:lnTo>
                <a:lnTo>
                  <a:pt x="679" y="258"/>
                </a:lnTo>
                <a:lnTo>
                  <a:pt x="678" y="260"/>
                </a:lnTo>
                <a:lnTo>
                  <a:pt x="678" y="260"/>
                </a:lnTo>
                <a:lnTo>
                  <a:pt x="678" y="260"/>
                </a:lnTo>
                <a:lnTo>
                  <a:pt x="678" y="257"/>
                </a:lnTo>
                <a:lnTo>
                  <a:pt x="679" y="256"/>
                </a:lnTo>
                <a:lnTo>
                  <a:pt x="680" y="255"/>
                </a:lnTo>
                <a:lnTo>
                  <a:pt x="682" y="254"/>
                </a:lnTo>
                <a:lnTo>
                  <a:pt x="681" y="253"/>
                </a:lnTo>
                <a:lnTo>
                  <a:pt x="678" y="252"/>
                </a:lnTo>
                <a:lnTo>
                  <a:pt x="681" y="252"/>
                </a:lnTo>
                <a:lnTo>
                  <a:pt x="683" y="250"/>
                </a:lnTo>
                <a:lnTo>
                  <a:pt x="683" y="252"/>
                </a:lnTo>
                <a:lnTo>
                  <a:pt x="685" y="252"/>
                </a:lnTo>
                <a:lnTo>
                  <a:pt x="685" y="253"/>
                </a:lnTo>
                <a:lnTo>
                  <a:pt x="688" y="253"/>
                </a:lnTo>
                <a:lnTo>
                  <a:pt x="689" y="252"/>
                </a:lnTo>
                <a:lnTo>
                  <a:pt x="693" y="248"/>
                </a:lnTo>
                <a:lnTo>
                  <a:pt x="695" y="247"/>
                </a:lnTo>
                <a:lnTo>
                  <a:pt x="696" y="245"/>
                </a:lnTo>
                <a:lnTo>
                  <a:pt x="696" y="244"/>
                </a:lnTo>
                <a:lnTo>
                  <a:pt x="695" y="242"/>
                </a:lnTo>
                <a:lnTo>
                  <a:pt x="693" y="244"/>
                </a:lnTo>
                <a:lnTo>
                  <a:pt x="691" y="246"/>
                </a:lnTo>
                <a:lnTo>
                  <a:pt x="691" y="246"/>
                </a:lnTo>
                <a:lnTo>
                  <a:pt x="690" y="245"/>
                </a:lnTo>
                <a:lnTo>
                  <a:pt x="691" y="242"/>
                </a:lnTo>
                <a:lnTo>
                  <a:pt x="683" y="243"/>
                </a:lnTo>
                <a:lnTo>
                  <a:pt x="682" y="243"/>
                </a:lnTo>
                <a:lnTo>
                  <a:pt x="682" y="241"/>
                </a:lnTo>
                <a:lnTo>
                  <a:pt x="683" y="236"/>
                </a:lnTo>
                <a:lnTo>
                  <a:pt x="685" y="236"/>
                </a:lnTo>
                <a:lnTo>
                  <a:pt x="685" y="240"/>
                </a:lnTo>
                <a:lnTo>
                  <a:pt x="685" y="241"/>
                </a:lnTo>
                <a:lnTo>
                  <a:pt x="687" y="241"/>
                </a:lnTo>
                <a:lnTo>
                  <a:pt x="691" y="238"/>
                </a:lnTo>
                <a:lnTo>
                  <a:pt x="692" y="238"/>
                </a:lnTo>
                <a:lnTo>
                  <a:pt x="692" y="237"/>
                </a:lnTo>
                <a:lnTo>
                  <a:pt x="693" y="237"/>
                </a:lnTo>
                <a:lnTo>
                  <a:pt x="696" y="237"/>
                </a:lnTo>
                <a:lnTo>
                  <a:pt x="696" y="240"/>
                </a:lnTo>
                <a:lnTo>
                  <a:pt x="696" y="240"/>
                </a:lnTo>
                <a:lnTo>
                  <a:pt x="696" y="237"/>
                </a:lnTo>
                <a:lnTo>
                  <a:pt x="696" y="236"/>
                </a:lnTo>
                <a:lnTo>
                  <a:pt x="696" y="234"/>
                </a:lnTo>
                <a:lnTo>
                  <a:pt x="696" y="233"/>
                </a:lnTo>
                <a:lnTo>
                  <a:pt x="698" y="228"/>
                </a:lnTo>
                <a:lnTo>
                  <a:pt x="698" y="225"/>
                </a:lnTo>
                <a:lnTo>
                  <a:pt x="693" y="224"/>
                </a:lnTo>
                <a:lnTo>
                  <a:pt x="693" y="224"/>
                </a:lnTo>
                <a:lnTo>
                  <a:pt x="692" y="225"/>
                </a:lnTo>
                <a:lnTo>
                  <a:pt x="691" y="224"/>
                </a:lnTo>
                <a:lnTo>
                  <a:pt x="690" y="223"/>
                </a:lnTo>
                <a:lnTo>
                  <a:pt x="690" y="222"/>
                </a:lnTo>
                <a:lnTo>
                  <a:pt x="693" y="222"/>
                </a:lnTo>
                <a:lnTo>
                  <a:pt x="695" y="221"/>
                </a:lnTo>
                <a:lnTo>
                  <a:pt x="695" y="220"/>
                </a:lnTo>
                <a:lnTo>
                  <a:pt x="693" y="220"/>
                </a:lnTo>
                <a:lnTo>
                  <a:pt x="693" y="217"/>
                </a:lnTo>
                <a:lnTo>
                  <a:pt x="693" y="217"/>
                </a:lnTo>
                <a:lnTo>
                  <a:pt x="695" y="216"/>
                </a:lnTo>
                <a:lnTo>
                  <a:pt x="696" y="216"/>
                </a:lnTo>
                <a:lnTo>
                  <a:pt x="696" y="214"/>
                </a:lnTo>
                <a:lnTo>
                  <a:pt x="695" y="213"/>
                </a:lnTo>
                <a:lnTo>
                  <a:pt x="695" y="211"/>
                </a:lnTo>
                <a:lnTo>
                  <a:pt x="695" y="211"/>
                </a:lnTo>
                <a:lnTo>
                  <a:pt x="696" y="211"/>
                </a:lnTo>
                <a:lnTo>
                  <a:pt x="697" y="207"/>
                </a:lnTo>
                <a:lnTo>
                  <a:pt x="698" y="206"/>
                </a:lnTo>
                <a:lnTo>
                  <a:pt x="697" y="204"/>
                </a:lnTo>
                <a:lnTo>
                  <a:pt x="693" y="203"/>
                </a:lnTo>
                <a:lnTo>
                  <a:pt x="691" y="202"/>
                </a:lnTo>
                <a:lnTo>
                  <a:pt x="689" y="200"/>
                </a:lnTo>
                <a:lnTo>
                  <a:pt x="686" y="197"/>
                </a:lnTo>
                <a:lnTo>
                  <a:pt x="686" y="196"/>
                </a:lnTo>
                <a:lnTo>
                  <a:pt x="686" y="196"/>
                </a:lnTo>
                <a:lnTo>
                  <a:pt x="687" y="194"/>
                </a:lnTo>
                <a:lnTo>
                  <a:pt x="688" y="194"/>
                </a:lnTo>
                <a:lnTo>
                  <a:pt x="688" y="194"/>
                </a:lnTo>
                <a:lnTo>
                  <a:pt x="687" y="196"/>
                </a:lnTo>
                <a:lnTo>
                  <a:pt x="687" y="196"/>
                </a:lnTo>
                <a:lnTo>
                  <a:pt x="689" y="197"/>
                </a:lnTo>
                <a:lnTo>
                  <a:pt x="691" y="198"/>
                </a:lnTo>
                <a:lnTo>
                  <a:pt x="692" y="198"/>
                </a:lnTo>
                <a:lnTo>
                  <a:pt x="693" y="200"/>
                </a:lnTo>
                <a:lnTo>
                  <a:pt x="696" y="200"/>
                </a:lnTo>
                <a:lnTo>
                  <a:pt x="697" y="202"/>
                </a:lnTo>
                <a:lnTo>
                  <a:pt x="698" y="203"/>
                </a:lnTo>
                <a:lnTo>
                  <a:pt x="698" y="198"/>
                </a:lnTo>
                <a:lnTo>
                  <a:pt x="697" y="196"/>
                </a:lnTo>
                <a:lnTo>
                  <a:pt x="698" y="196"/>
                </a:lnTo>
                <a:lnTo>
                  <a:pt x="698" y="196"/>
                </a:lnTo>
                <a:lnTo>
                  <a:pt x="698" y="195"/>
                </a:lnTo>
                <a:lnTo>
                  <a:pt x="699" y="192"/>
                </a:lnTo>
                <a:lnTo>
                  <a:pt x="701" y="185"/>
                </a:lnTo>
                <a:lnTo>
                  <a:pt x="701" y="183"/>
                </a:lnTo>
                <a:lnTo>
                  <a:pt x="703" y="182"/>
                </a:lnTo>
                <a:lnTo>
                  <a:pt x="708" y="179"/>
                </a:lnTo>
                <a:lnTo>
                  <a:pt x="709" y="177"/>
                </a:lnTo>
                <a:lnTo>
                  <a:pt x="711" y="176"/>
                </a:lnTo>
                <a:lnTo>
                  <a:pt x="711" y="176"/>
                </a:lnTo>
                <a:lnTo>
                  <a:pt x="712" y="176"/>
                </a:lnTo>
                <a:lnTo>
                  <a:pt x="712" y="177"/>
                </a:lnTo>
                <a:lnTo>
                  <a:pt x="711" y="179"/>
                </a:lnTo>
                <a:lnTo>
                  <a:pt x="710" y="180"/>
                </a:lnTo>
                <a:lnTo>
                  <a:pt x="708" y="181"/>
                </a:lnTo>
                <a:lnTo>
                  <a:pt x="707" y="182"/>
                </a:lnTo>
                <a:lnTo>
                  <a:pt x="707" y="183"/>
                </a:lnTo>
                <a:lnTo>
                  <a:pt x="707" y="184"/>
                </a:lnTo>
                <a:lnTo>
                  <a:pt x="706" y="185"/>
                </a:lnTo>
                <a:lnTo>
                  <a:pt x="703" y="187"/>
                </a:lnTo>
                <a:lnTo>
                  <a:pt x="703" y="188"/>
                </a:lnTo>
                <a:lnTo>
                  <a:pt x="706" y="188"/>
                </a:lnTo>
                <a:lnTo>
                  <a:pt x="706" y="188"/>
                </a:lnTo>
                <a:lnTo>
                  <a:pt x="705" y="191"/>
                </a:lnTo>
                <a:lnTo>
                  <a:pt x="705" y="193"/>
                </a:lnTo>
                <a:lnTo>
                  <a:pt x="703" y="194"/>
                </a:lnTo>
                <a:lnTo>
                  <a:pt x="702" y="194"/>
                </a:lnTo>
                <a:lnTo>
                  <a:pt x="701" y="196"/>
                </a:lnTo>
                <a:lnTo>
                  <a:pt x="701" y="197"/>
                </a:lnTo>
                <a:lnTo>
                  <a:pt x="702" y="200"/>
                </a:lnTo>
                <a:lnTo>
                  <a:pt x="705" y="200"/>
                </a:lnTo>
                <a:lnTo>
                  <a:pt x="706" y="200"/>
                </a:lnTo>
                <a:lnTo>
                  <a:pt x="706" y="203"/>
                </a:lnTo>
                <a:lnTo>
                  <a:pt x="706" y="204"/>
                </a:lnTo>
                <a:lnTo>
                  <a:pt x="706" y="205"/>
                </a:lnTo>
                <a:lnTo>
                  <a:pt x="707" y="205"/>
                </a:lnTo>
                <a:lnTo>
                  <a:pt x="707" y="207"/>
                </a:lnTo>
                <a:lnTo>
                  <a:pt x="705" y="207"/>
                </a:lnTo>
                <a:lnTo>
                  <a:pt x="705" y="208"/>
                </a:lnTo>
                <a:lnTo>
                  <a:pt x="700" y="214"/>
                </a:lnTo>
                <a:lnTo>
                  <a:pt x="699" y="216"/>
                </a:lnTo>
                <a:lnTo>
                  <a:pt x="699" y="220"/>
                </a:lnTo>
                <a:lnTo>
                  <a:pt x="699" y="220"/>
                </a:lnTo>
                <a:lnTo>
                  <a:pt x="701" y="220"/>
                </a:lnTo>
                <a:lnTo>
                  <a:pt x="702" y="220"/>
                </a:lnTo>
                <a:lnTo>
                  <a:pt x="703" y="217"/>
                </a:lnTo>
                <a:lnTo>
                  <a:pt x="707" y="212"/>
                </a:lnTo>
                <a:lnTo>
                  <a:pt x="713" y="204"/>
                </a:lnTo>
                <a:lnTo>
                  <a:pt x="714" y="202"/>
                </a:lnTo>
                <a:lnTo>
                  <a:pt x="717" y="198"/>
                </a:lnTo>
                <a:lnTo>
                  <a:pt x="719" y="196"/>
                </a:lnTo>
                <a:lnTo>
                  <a:pt x="720" y="195"/>
                </a:lnTo>
                <a:lnTo>
                  <a:pt x="720" y="191"/>
                </a:lnTo>
                <a:lnTo>
                  <a:pt x="718" y="186"/>
                </a:lnTo>
                <a:lnTo>
                  <a:pt x="717" y="180"/>
                </a:lnTo>
                <a:lnTo>
                  <a:pt x="717" y="179"/>
                </a:lnTo>
                <a:lnTo>
                  <a:pt x="718" y="176"/>
                </a:lnTo>
                <a:lnTo>
                  <a:pt x="719" y="179"/>
                </a:lnTo>
                <a:lnTo>
                  <a:pt x="720" y="181"/>
                </a:lnTo>
                <a:lnTo>
                  <a:pt x="722" y="181"/>
                </a:lnTo>
                <a:lnTo>
                  <a:pt x="723" y="183"/>
                </a:lnTo>
                <a:lnTo>
                  <a:pt x="726" y="183"/>
                </a:lnTo>
                <a:lnTo>
                  <a:pt x="724" y="186"/>
                </a:lnTo>
                <a:lnTo>
                  <a:pt x="724" y="186"/>
                </a:lnTo>
                <a:lnTo>
                  <a:pt x="728" y="185"/>
                </a:lnTo>
                <a:lnTo>
                  <a:pt x="731" y="181"/>
                </a:lnTo>
                <a:lnTo>
                  <a:pt x="734" y="179"/>
                </a:lnTo>
                <a:lnTo>
                  <a:pt x="736" y="177"/>
                </a:lnTo>
                <a:lnTo>
                  <a:pt x="736" y="176"/>
                </a:lnTo>
                <a:lnTo>
                  <a:pt x="738" y="175"/>
                </a:lnTo>
                <a:lnTo>
                  <a:pt x="738" y="174"/>
                </a:lnTo>
                <a:lnTo>
                  <a:pt x="741" y="170"/>
                </a:lnTo>
                <a:lnTo>
                  <a:pt x="741" y="169"/>
                </a:lnTo>
                <a:lnTo>
                  <a:pt x="742" y="170"/>
                </a:lnTo>
                <a:lnTo>
                  <a:pt x="742" y="169"/>
                </a:lnTo>
                <a:lnTo>
                  <a:pt x="744" y="165"/>
                </a:lnTo>
                <a:lnTo>
                  <a:pt x="746" y="164"/>
                </a:lnTo>
                <a:lnTo>
                  <a:pt x="746" y="163"/>
                </a:lnTo>
                <a:lnTo>
                  <a:pt x="744" y="161"/>
                </a:lnTo>
                <a:lnTo>
                  <a:pt x="742" y="160"/>
                </a:lnTo>
                <a:lnTo>
                  <a:pt x="742" y="160"/>
                </a:lnTo>
                <a:lnTo>
                  <a:pt x="743" y="159"/>
                </a:lnTo>
                <a:lnTo>
                  <a:pt x="744" y="156"/>
                </a:lnTo>
                <a:lnTo>
                  <a:pt x="746" y="155"/>
                </a:lnTo>
                <a:lnTo>
                  <a:pt x="749" y="153"/>
                </a:lnTo>
                <a:lnTo>
                  <a:pt x="751" y="153"/>
                </a:lnTo>
                <a:lnTo>
                  <a:pt x="753" y="150"/>
                </a:lnTo>
                <a:lnTo>
                  <a:pt x="757" y="150"/>
                </a:lnTo>
                <a:lnTo>
                  <a:pt x="760" y="147"/>
                </a:lnTo>
                <a:lnTo>
                  <a:pt x="763" y="147"/>
                </a:lnTo>
                <a:lnTo>
                  <a:pt x="764" y="145"/>
                </a:lnTo>
                <a:lnTo>
                  <a:pt x="767" y="145"/>
                </a:lnTo>
                <a:lnTo>
                  <a:pt x="771" y="145"/>
                </a:lnTo>
                <a:lnTo>
                  <a:pt x="774" y="145"/>
                </a:lnTo>
                <a:lnTo>
                  <a:pt x="781" y="144"/>
                </a:lnTo>
                <a:lnTo>
                  <a:pt x="787" y="143"/>
                </a:lnTo>
                <a:lnTo>
                  <a:pt x="788" y="143"/>
                </a:lnTo>
                <a:lnTo>
                  <a:pt x="790" y="142"/>
                </a:lnTo>
                <a:lnTo>
                  <a:pt x="792" y="139"/>
                </a:lnTo>
                <a:lnTo>
                  <a:pt x="793" y="137"/>
                </a:lnTo>
                <a:lnTo>
                  <a:pt x="794" y="139"/>
                </a:lnTo>
                <a:lnTo>
                  <a:pt x="793" y="141"/>
                </a:lnTo>
                <a:lnTo>
                  <a:pt x="794" y="141"/>
                </a:lnTo>
                <a:lnTo>
                  <a:pt x="797" y="141"/>
                </a:lnTo>
                <a:lnTo>
                  <a:pt x="801" y="139"/>
                </a:lnTo>
                <a:lnTo>
                  <a:pt x="802" y="139"/>
                </a:lnTo>
                <a:lnTo>
                  <a:pt x="802" y="140"/>
                </a:lnTo>
                <a:lnTo>
                  <a:pt x="803" y="141"/>
                </a:lnTo>
                <a:lnTo>
                  <a:pt x="808" y="140"/>
                </a:lnTo>
                <a:lnTo>
                  <a:pt x="809" y="140"/>
                </a:lnTo>
                <a:lnTo>
                  <a:pt x="812" y="137"/>
                </a:lnTo>
                <a:lnTo>
                  <a:pt x="813" y="137"/>
                </a:lnTo>
                <a:lnTo>
                  <a:pt x="814" y="134"/>
                </a:lnTo>
                <a:lnTo>
                  <a:pt x="813" y="133"/>
                </a:lnTo>
                <a:lnTo>
                  <a:pt x="813" y="133"/>
                </a:lnTo>
                <a:lnTo>
                  <a:pt x="812" y="136"/>
                </a:lnTo>
                <a:lnTo>
                  <a:pt x="811" y="137"/>
                </a:lnTo>
                <a:lnTo>
                  <a:pt x="809" y="137"/>
                </a:lnTo>
                <a:lnTo>
                  <a:pt x="807" y="137"/>
                </a:lnTo>
                <a:lnTo>
                  <a:pt x="804" y="135"/>
                </a:lnTo>
                <a:lnTo>
                  <a:pt x="804" y="133"/>
                </a:lnTo>
                <a:lnTo>
                  <a:pt x="803" y="132"/>
                </a:lnTo>
                <a:lnTo>
                  <a:pt x="803" y="130"/>
                </a:lnTo>
                <a:lnTo>
                  <a:pt x="803" y="129"/>
                </a:lnTo>
                <a:lnTo>
                  <a:pt x="801" y="128"/>
                </a:lnTo>
                <a:lnTo>
                  <a:pt x="801" y="126"/>
                </a:lnTo>
                <a:lnTo>
                  <a:pt x="801" y="125"/>
                </a:lnTo>
                <a:lnTo>
                  <a:pt x="802" y="124"/>
                </a:lnTo>
                <a:lnTo>
                  <a:pt x="803" y="124"/>
                </a:lnTo>
                <a:lnTo>
                  <a:pt x="804" y="122"/>
                </a:lnTo>
                <a:lnTo>
                  <a:pt x="807" y="122"/>
                </a:lnTo>
                <a:lnTo>
                  <a:pt x="805" y="120"/>
                </a:lnTo>
                <a:lnTo>
                  <a:pt x="805" y="116"/>
                </a:lnTo>
                <a:lnTo>
                  <a:pt x="808" y="113"/>
                </a:lnTo>
                <a:lnTo>
                  <a:pt x="812" y="110"/>
                </a:lnTo>
                <a:lnTo>
                  <a:pt x="817" y="106"/>
                </a:lnTo>
                <a:lnTo>
                  <a:pt x="819" y="104"/>
                </a:lnTo>
                <a:lnTo>
                  <a:pt x="820" y="102"/>
                </a:lnTo>
                <a:lnTo>
                  <a:pt x="822" y="100"/>
                </a:lnTo>
                <a:lnTo>
                  <a:pt x="825" y="99"/>
                </a:lnTo>
                <a:lnTo>
                  <a:pt x="825" y="100"/>
                </a:lnTo>
                <a:lnTo>
                  <a:pt x="826" y="101"/>
                </a:lnTo>
                <a:lnTo>
                  <a:pt x="826" y="101"/>
                </a:lnTo>
                <a:lnTo>
                  <a:pt x="828" y="100"/>
                </a:lnTo>
                <a:lnTo>
                  <a:pt x="830" y="98"/>
                </a:lnTo>
                <a:lnTo>
                  <a:pt x="830" y="98"/>
                </a:lnTo>
                <a:lnTo>
                  <a:pt x="830" y="99"/>
                </a:lnTo>
                <a:lnTo>
                  <a:pt x="831" y="99"/>
                </a:lnTo>
                <a:lnTo>
                  <a:pt x="832" y="99"/>
                </a:lnTo>
                <a:lnTo>
                  <a:pt x="834" y="96"/>
                </a:lnTo>
                <a:lnTo>
                  <a:pt x="835" y="96"/>
                </a:lnTo>
                <a:lnTo>
                  <a:pt x="836" y="96"/>
                </a:lnTo>
                <a:lnTo>
                  <a:pt x="838" y="96"/>
                </a:lnTo>
                <a:lnTo>
                  <a:pt x="840" y="94"/>
                </a:lnTo>
                <a:lnTo>
                  <a:pt x="840" y="93"/>
                </a:lnTo>
                <a:lnTo>
                  <a:pt x="842" y="91"/>
                </a:lnTo>
                <a:lnTo>
                  <a:pt x="843" y="89"/>
                </a:lnTo>
                <a:lnTo>
                  <a:pt x="844" y="88"/>
                </a:lnTo>
                <a:lnTo>
                  <a:pt x="845" y="88"/>
                </a:lnTo>
                <a:lnTo>
                  <a:pt x="846" y="88"/>
                </a:lnTo>
                <a:lnTo>
                  <a:pt x="845" y="89"/>
                </a:lnTo>
                <a:lnTo>
                  <a:pt x="845" y="91"/>
                </a:lnTo>
                <a:lnTo>
                  <a:pt x="848" y="91"/>
                </a:lnTo>
                <a:lnTo>
                  <a:pt x="849" y="90"/>
                </a:lnTo>
                <a:lnTo>
                  <a:pt x="851" y="92"/>
                </a:lnTo>
                <a:lnTo>
                  <a:pt x="852" y="92"/>
                </a:lnTo>
                <a:lnTo>
                  <a:pt x="853" y="91"/>
                </a:lnTo>
                <a:lnTo>
                  <a:pt x="855" y="89"/>
                </a:lnTo>
                <a:lnTo>
                  <a:pt x="856" y="89"/>
                </a:lnTo>
                <a:lnTo>
                  <a:pt x="859" y="89"/>
                </a:lnTo>
                <a:lnTo>
                  <a:pt x="860" y="86"/>
                </a:lnTo>
                <a:lnTo>
                  <a:pt x="863" y="86"/>
                </a:lnTo>
                <a:lnTo>
                  <a:pt x="864" y="86"/>
                </a:lnTo>
                <a:lnTo>
                  <a:pt x="865" y="85"/>
                </a:lnTo>
                <a:lnTo>
                  <a:pt x="868" y="85"/>
                </a:lnTo>
                <a:lnTo>
                  <a:pt x="869" y="84"/>
                </a:lnTo>
                <a:lnTo>
                  <a:pt x="871" y="84"/>
                </a:lnTo>
                <a:lnTo>
                  <a:pt x="872" y="83"/>
                </a:lnTo>
                <a:lnTo>
                  <a:pt x="873" y="82"/>
                </a:lnTo>
                <a:lnTo>
                  <a:pt x="873" y="8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30" name="Rectangle 1431"/>
          <p:cNvSpPr>
            <a:spLocks noChangeArrowheads="1"/>
          </p:cNvSpPr>
          <p:nvPr/>
        </p:nvSpPr>
        <p:spPr bwMode="auto">
          <a:xfrm>
            <a:off x="2528888" y="2459003"/>
            <a:ext cx="1587" cy="1588"/>
          </a:xfrm>
          <a:prstGeom prst="rect">
            <a:avLst/>
          </a:pr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31" name="Freeform 1432"/>
          <p:cNvSpPr>
            <a:spLocks/>
          </p:cNvSpPr>
          <p:nvPr/>
        </p:nvSpPr>
        <p:spPr bwMode="auto">
          <a:xfrm>
            <a:off x="2528888" y="2459003"/>
            <a:ext cx="0" cy="1588"/>
          </a:xfrm>
          <a:custGeom>
            <a:avLst/>
            <a:gdLst>
              <a:gd name="T0" fmla="*/ 1 h 1"/>
              <a:gd name="T1" fmla="*/ 0 h 1"/>
              <a:gd name="T2" fmla="*/ 0 h 1"/>
              <a:gd name="T3" fmla="*/ 1 h 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</a:cxnLst>
            <a:rect l="0" t="0" r="r" b="b"/>
            <a:pathLst>
              <a:path h="1">
                <a:moveTo>
                  <a:pt x="0" y="1"/>
                </a:moveTo>
                <a:lnTo>
                  <a:pt x="0" y="0"/>
                </a:lnTo>
                <a:lnTo>
                  <a:pt x="0" y="0"/>
                </a:lnTo>
                <a:lnTo>
                  <a:pt x="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32" name="Freeform 1433"/>
          <p:cNvSpPr>
            <a:spLocks/>
          </p:cNvSpPr>
          <p:nvPr/>
        </p:nvSpPr>
        <p:spPr bwMode="auto">
          <a:xfrm>
            <a:off x="2528888" y="2454240"/>
            <a:ext cx="1587" cy="1588"/>
          </a:xfrm>
          <a:custGeom>
            <a:avLst/>
            <a:gdLst>
              <a:gd name="T0" fmla="*/ 1 w 1"/>
              <a:gd name="T1" fmla="*/ 1 h 1"/>
              <a:gd name="T2" fmla="*/ 0 w 1"/>
              <a:gd name="T3" fmla="*/ 0 h 1"/>
              <a:gd name="T4" fmla="*/ 1 w 1"/>
              <a:gd name="T5" fmla="*/ 1 h 1"/>
              <a:gd name="T6" fmla="*/ 1 w 1"/>
              <a:gd name="T7" fmla="*/ 1 h 1"/>
              <a:gd name="T8" fmla="*/ 1 w 1"/>
              <a:gd name="T9" fmla="*/ 1 h 1"/>
              <a:gd name="T10" fmla="*/ 1 w 1"/>
              <a:gd name="T11" fmla="*/ 1 h 1"/>
              <a:gd name="T12" fmla="*/ 1 w 1"/>
              <a:gd name="T13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0" y="0"/>
                </a:lnTo>
                <a:lnTo>
                  <a:pt x="1" y="1"/>
                </a:lnTo>
                <a:lnTo>
                  <a:pt x="1" y="1"/>
                </a:lnTo>
                <a:lnTo>
                  <a:pt x="1" y="1"/>
                </a:lnTo>
                <a:lnTo>
                  <a:pt x="1" y="1"/>
                </a:lnTo>
                <a:lnTo>
                  <a:pt x="1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33" name="Freeform 1434"/>
          <p:cNvSpPr>
            <a:spLocks/>
          </p:cNvSpPr>
          <p:nvPr/>
        </p:nvSpPr>
        <p:spPr bwMode="auto">
          <a:xfrm>
            <a:off x="2528888" y="2454240"/>
            <a:ext cx="1587" cy="1588"/>
          </a:xfrm>
          <a:custGeom>
            <a:avLst/>
            <a:gdLst>
              <a:gd name="T0" fmla="*/ 1 w 1"/>
              <a:gd name="T1" fmla="*/ 1 h 1"/>
              <a:gd name="T2" fmla="*/ 0 w 1"/>
              <a:gd name="T3" fmla="*/ 0 h 1"/>
              <a:gd name="T4" fmla="*/ 1 w 1"/>
              <a:gd name="T5" fmla="*/ 1 h 1"/>
              <a:gd name="T6" fmla="*/ 1 w 1"/>
              <a:gd name="T7" fmla="*/ 1 h 1"/>
              <a:gd name="T8" fmla="*/ 1 w 1"/>
              <a:gd name="T9" fmla="*/ 1 h 1"/>
              <a:gd name="T10" fmla="*/ 1 w 1"/>
              <a:gd name="T11" fmla="*/ 1 h 1"/>
              <a:gd name="T12" fmla="*/ 1 w 1"/>
              <a:gd name="T13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" h="1">
                <a:moveTo>
                  <a:pt x="1" y="1"/>
                </a:moveTo>
                <a:lnTo>
                  <a:pt x="0" y="0"/>
                </a:lnTo>
                <a:lnTo>
                  <a:pt x="1" y="1"/>
                </a:lnTo>
                <a:lnTo>
                  <a:pt x="1" y="1"/>
                </a:lnTo>
                <a:lnTo>
                  <a:pt x="1" y="1"/>
                </a:lnTo>
                <a:lnTo>
                  <a:pt x="1" y="1"/>
                </a:lnTo>
                <a:lnTo>
                  <a:pt x="1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34" name="Freeform 1435"/>
          <p:cNvSpPr>
            <a:spLocks/>
          </p:cNvSpPr>
          <p:nvPr/>
        </p:nvSpPr>
        <p:spPr bwMode="auto">
          <a:xfrm>
            <a:off x="1266825" y="1690653"/>
            <a:ext cx="7937" cy="6350"/>
          </a:xfrm>
          <a:custGeom>
            <a:avLst/>
            <a:gdLst>
              <a:gd name="T0" fmla="*/ 2 w 5"/>
              <a:gd name="T1" fmla="*/ 1 h 4"/>
              <a:gd name="T2" fmla="*/ 3 w 5"/>
              <a:gd name="T3" fmla="*/ 1 h 4"/>
              <a:gd name="T4" fmla="*/ 4 w 5"/>
              <a:gd name="T5" fmla="*/ 0 h 4"/>
              <a:gd name="T6" fmla="*/ 5 w 5"/>
              <a:gd name="T7" fmla="*/ 0 h 4"/>
              <a:gd name="T8" fmla="*/ 4 w 5"/>
              <a:gd name="T9" fmla="*/ 1 h 4"/>
              <a:gd name="T10" fmla="*/ 4 w 5"/>
              <a:gd name="T11" fmla="*/ 3 h 4"/>
              <a:gd name="T12" fmla="*/ 3 w 5"/>
              <a:gd name="T13" fmla="*/ 4 h 4"/>
              <a:gd name="T14" fmla="*/ 0 w 5"/>
              <a:gd name="T15" fmla="*/ 3 h 4"/>
              <a:gd name="T16" fmla="*/ 0 w 5"/>
              <a:gd name="T17" fmla="*/ 3 h 4"/>
              <a:gd name="T18" fmla="*/ 0 w 5"/>
              <a:gd name="T19" fmla="*/ 2 h 4"/>
              <a:gd name="T20" fmla="*/ 0 w 5"/>
              <a:gd name="T21" fmla="*/ 1 h 4"/>
              <a:gd name="T22" fmla="*/ 2 w 5"/>
              <a:gd name="T23" fmla="*/ 1 h 4"/>
              <a:gd name="T24" fmla="*/ 2 w 5"/>
              <a:gd name="T25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" h="4">
                <a:moveTo>
                  <a:pt x="2" y="1"/>
                </a:moveTo>
                <a:lnTo>
                  <a:pt x="3" y="1"/>
                </a:lnTo>
                <a:lnTo>
                  <a:pt x="4" y="0"/>
                </a:lnTo>
                <a:lnTo>
                  <a:pt x="5" y="0"/>
                </a:lnTo>
                <a:lnTo>
                  <a:pt x="4" y="1"/>
                </a:lnTo>
                <a:lnTo>
                  <a:pt x="4" y="3"/>
                </a:lnTo>
                <a:lnTo>
                  <a:pt x="3" y="4"/>
                </a:lnTo>
                <a:lnTo>
                  <a:pt x="0" y="3"/>
                </a:lnTo>
                <a:lnTo>
                  <a:pt x="0" y="3"/>
                </a:lnTo>
                <a:lnTo>
                  <a:pt x="0" y="2"/>
                </a:lnTo>
                <a:lnTo>
                  <a:pt x="0" y="1"/>
                </a:lnTo>
                <a:lnTo>
                  <a:pt x="2" y="1"/>
                </a:lnTo>
                <a:lnTo>
                  <a:pt x="2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35" name="Freeform 1436"/>
          <p:cNvSpPr>
            <a:spLocks/>
          </p:cNvSpPr>
          <p:nvPr/>
        </p:nvSpPr>
        <p:spPr bwMode="auto">
          <a:xfrm>
            <a:off x="1266825" y="1690653"/>
            <a:ext cx="7937" cy="6350"/>
          </a:xfrm>
          <a:custGeom>
            <a:avLst/>
            <a:gdLst>
              <a:gd name="T0" fmla="*/ 2 w 5"/>
              <a:gd name="T1" fmla="*/ 1 h 4"/>
              <a:gd name="T2" fmla="*/ 3 w 5"/>
              <a:gd name="T3" fmla="*/ 1 h 4"/>
              <a:gd name="T4" fmla="*/ 4 w 5"/>
              <a:gd name="T5" fmla="*/ 0 h 4"/>
              <a:gd name="T6" fmla="*/ 5 w 5"/>
              <a:gd name="T7" fmla="*/ 0 h 4"/>
              <a:gd name="T8" fmla="*/ 4 w 5"/>
              <a:gd name="T9" fmla="*/ 1 h 4"/>
              <a:gd name="T10" fmla="*/ 4 w 5"/>
              <a:gd name="T11" fmla="*/ 3 h 4"/>
              <a:gd name="T12" fmla="*/ 3 w 5"/>
              <a:gd name="T13" fmla="*/ 4 h 4"/>
              <a:gd name="T14" fmla="*/ 0 w 5"/>
              <a:gd name="T15" fmla="*/ 3 h 4"/>
              <a:gd name="T16" fmla="*/ 0 w 5"/>
              <a:gd name="T17" fmla="*/ 3 h 4"/>
              <a:gd name="T18" fmla="*/ 0 w 5"/>
              <a:gd name="T19" fmla="*/ 2 h 4"/>
              <a:gd name="T20" fmla="*/ 0 w 5"/>
              <a:gd name="T21" fmla="*/ 1 h 4"/>
              <a:gd name="T22" fmla="*/ 2 w 5"/>
              <a:gd name="T23" fmla="*/ 1 h 4"/>
              <a:gd name="T24" fmla="*/ 2 w 5"/>
              <a:gd name="T25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" h="4">
                <a:moveTo>
                  <a:pt x="2" y="1"/>
                </a:moveTo>
                <a:lnTo>
                  <a:pt x="3" y="1"/>
                </a:lnTo>
                <a:lnTo>
                  <a:pt x="4" y="0"/>
                </a:lnTo>
                <a:lnTo>
                  <a:pt x="5" y="0"/>
                </a:lnTo>
                <a:lnTo>
                  <a:pt x="4" y="1"/>
                </a:lnTo>
                <a:lnTo>
                  <a:pt x="4" y="3"/>
                </a:lnTo>
                <a:lnTo>
                  <a:pt x="3" y="4"/>
                </a:lnTo>
                <a:lnTo>
                  <a:pt x="0" y="3"/>
                </a:lnTo>
                <a:lnTo>
                  <a:pt x="0" y="3"/>
                </a:lnTo>
                <a:lnTo>
                  <a:pt x="0" y="2"/>
                </a:lnTo>
                <a:lnTo>
                  <a:pt x="0" y="1"/>
                </a:lnTo>
                <a:lnTo>
                  <a:pt x="2" y="1"/>
                </a:lnTo>
                <a:lnTo>
                  <a:pt x="2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36" name="Freeform 1437"/>
          <p:cNvSpPr>
            <a:spLocks/>
          </p:cNvSpPr>
          <p:nvPr/>
        </p:nvSpPr>
        <p:spPr bwMode="auto">
          <a:xfrm>
            <a:off x="968375" y="1771615"/>
            <a:ext cx="55562" cy="19050"/>
          </a:xfrm>
          <a:custGeom>
            <a:avLst/>
            <a:gdLst>
              <a:gd name="T0" fmla="*/ 18 w 35"/>
              <a:gd name="T1" fmla="*/ 12 h 12"/>
              <a:gd name="T2" fmla="*/ 18 w 35"/>
              <a:gd name="T3" fmla="*/ 11 h 12"/>
              <a:gd name="T4" fmla="*/ 18 w 35"/>
              <a:gd name="T5" fmla="*/ 10 h 12"/>
              <a:gd name="T6" fmla="*/ 14 w 35"/>
              <a:gd name="T7" fmla="*/ 9 h 12"/>
              <a:gd name="T8" fmla="*/ 13 w 35"/>
              <a:gd name="T9" fmla="*/ 6 h 12"/>
              <a:gd name="T10" fmla="*/ 12 w 35"/>
              <a:gd name="T11" fmla="*/ 6 h 12"/>
              <a:gd name="T12" fmla="*/ 11 w 35"/>
              <a:gd name="T13" fmla="*/ 6 h 12"/>
              <a:gd name="T14" fmla="*/ 7 w 35"/>
              <a:gd name="T15" fmla="*/ 6 h 12"/>
              <a:gd name="T16" fmla="*/ 4 w 35"/>
              <a:gd name="T17" fmla="*/ 6 h 12"/>
              <a:gd name="T18" fmla="*/ 2 w 35"/>
              <a:gd name="T19" fmla="*/ 8 h 12"/>
              <a:gd name="T20" fmla="*/ 1 w 35"/>
              <a:gd name="T21" fmla="*/ 6 h 12"/>
              <a:gd name="T22" fmla="*/ 0 w 35"/>
              <a:gd name="T23" fmla="*/ 6 h 12"/>
              <a:gd name="T24" fmla="*/ 1 w 35"/>
              <a:gd name="T25" fmla="*/ 4 h 12"/>
              <a:gd name="T26" fmla="*/ 1 w 35"/>
              <a:gd name="T27" fmla="*/ 4 h 12"/>
              <a:gd name="T28" fmla="*/ 4 w 35"/>
              <a:gd name="T29" fmla="*/ 2 h 12"/>
              <a:gd name="T30" fmla="*/ 8 w 35"/>
              <a:gd name="T31" fmla="*/ 1 h 12"/>
              <a:gd name="T32" fmla="*/ 9 w 35"/>
              <a:gd name="T33" fmla="*/ 0 h 12"/>
              <a:gd name="T34" fmla="*/ 9 w 35"/>
              <a:gd name="T35" fmla="*/ 1 h 12"/>
              <a:gd name="T36" fmla="*/ 11 w 35"/>
              <a:gd name="T37" fmla="*/ 1 h 12"/>
              <a:gd name="T38" fmla="*/ 13 w 35"/>
              <a:gd name="T39" fmla="*/ 2 h 12"/>
              <a:gd name="T40" fmla="*/ 14 w 35"/>
              <a:gd name="T41" fmla="*/ 2 h 12"/>
              <a:gd name="T42" fmla="*/ 17 w 35"/>
              <a:gd name="T43" fmla="*/ 2 h 12"/>
              <a:gd name="T44" fmla="*/ 18 w 35"/>
              <a:gd name="T45" fmla="*/ 2 h 12"/>
              <a:gd name="T46" fmla="*/ 20 w 35"/>
              <a:gd name="T47" fmla="*/ 2 h 12"/>
              <a:gd name="T48" fmla="*/ 22 w 35"/>
              <a:gd name="T49" fmla="*/ 1 h 12"/>
              <a:gd name="T50" fmla="*/ 23 w 35"/>
              <a:gd name="T51" fmla="*/ 1 h 12"/>
              <a:gd name="T52" fmla="*/ 24 w 35"/>
              <a:gd name="T53" fmla="*/ 1 h 12"/>
              <a:gd name="T54" fmla="*/ 26 w 35"/>
              <a:gd name="T55" fmla="*/ 2 h 12"/>
              <a:gd name="T56" fmla="*/ 26 w 35"/>
              <a:gd name="T57" fmla="*/ 2 h 12"/>
              <a:gd name="T58" fmla="*/ 26 w 35"/>
              <a:gd name="T59" fmla="*/ 3 h 12"/>
              <a:gd name="T60" fmla="*/ 24 w 35"/>
              <a:gd name="T61" fmla="*/ 4 h 12"/>
              <a:gd name="T62" fmla="*/ 28 w 35"/>
              <a:gd name="T63" fmla="*/ 5 h 12"/>
              <a:gd name="T64" fmla="*/ 27 w 35"/>
              <a:gd name="T65" fmla="*/ 6 h 12"/>
              <a:gd name="T66" fmla="*/ 30 w 35"/>
              <a:gd name="T67" fmla="*/ 8 h 12"/>
              <a:gd name="T68" fmla="*/ 32 w 35"/>
              <a:gd name="T69" fmla="*/ 6 h 12"/>
              <a:gd name="T70" fmla="*/ 34 w 35"/>
              <a:gd name="T71" fmla="*/ 6 h 12"/>
              <a:gd name="T72" fmla="*/ 34 w 35"/>
              <a:gd name="T73" fmla="*/ 8 h 12"/>
              <a:gd name="T74" fmla="*/ 35 w 35"/>
              <a:gd name="T75" fmla="*/ 8 h 12"/>
              <a:gd name="T76" fmla="*/ 35 w 35"/>
              <a:gd name="T77" fmla="*/ 8 h 12"/>
              <a:gd name="T78" fmla="*/ 34 w 35"/>
              <a:gd name="T79" fmla="*/ 9 h 12"/>
              <a:gd name="T80" fmla="*/ 32 w 35"/>
              <a:gd name="T81" fmla="*/ 10 h 12"/>
              <a:gd name="T82" fmla="*/ 30 w 35"/>
              <a:gd name="T83" fmla="*/ 10 h 12"/>
              <a:gd name="T84" fmla="*/ 28 w 35"/>
              <a:gd name="T85" fmla="*/ 9 h 12"/>
              <a:gd name="T86" fmla="*/ 27 w 35"/>
              <a:gd name="T87" fmla="*/ 9 h 12"/>
              <a:gd name="T88" fmla="*/ 21 w 35"/>
              <a:gd name="T89" fmla="*/ 11 h 12"/>
              <a:gd name="T90" fmla="*/ 21 w 35"/>
              <a:gd name="T91" fmla="*/ 11 h 12"/>
              <a:gd name="T92" fmla="*/ 18 w 35"/>
              <a:gd name="T93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5" h="12">
                <a:moveTo>
                  <a:pt x="18" y="12"/>
                </a:moveTo>
                <a:lnTo>
                  <a:pt x="18" y="11"/>
                </a:lnTo>
                <a:lnTo>
                  <a:pt x="18" y="10"/>
                </a:lnTo>
                <a:lnTo>
                  <a:pt x="14" y="9"/>
                </a:lnTo>
                <a:lnTo>
                  <a:pt x="13" y="6"/>
                </a:lnTo>
                <a:lnTo>
                  <a:pt x="12" y="6"/>
                </a:lnTo>
                <a:lnTo>
                  <a:pt x="11" y="6"/>
                </a:lnTo>
                <a:lnTo>
                  <a:pt x="7" y="6"/>
                </a:lnTo>
                <a:lnTo>
                  <a:pt x="4" y="6"/>
                </a:lnTo>
                <a:lnTo>
                  <a:pt x="2" y="8"/>
                </a:lnTo>
                <a:lnTo>
                  <a:pt x="1" y="6"/>
                </a:lnTo>
                <a:lnTo>
                  <a:pt x="0" y="6"/>
                </a:lnTo>
                <a:lnTo>
                  <a:pt x="1" y="4"/>
                </a:lnTo>
                <a:lnTo>
                  <a:pt x="1" y="4"/>
                </a:lnTo>
                <a:lnTo>
                  <a:pt x="4" y="2"/>
                </a:lnTo>
                <a:lnTo>
                  <a:pt x="8" y="1"/>
                </a:lnTo>
                <a:lnTo>
                  <a:pt x="9" y="0"/>
                </a:lnTo>
                <a:lnTo>
                  <a:pt x="9" y="1"/>
                </a:lnTo>
                <a:lnTo>
                  <a:pt x="11" y="1"/>
                </a:lnTo>
                <a:lnTo>
                  <a:pt x="13" y="2"/>
                </a:lnTo>
                <a:lnTo>
                  <a:pt x="14" y="2"/>
                </a:lnTo>
                <a:lnTo>
                  <a:pt x="17" y="2"/>
                </a:lnTo>
                <a:lnTo>
                  <a:pt x="18" y="2"/>
                </a:lnTo>
                <a:lnTo>
                  <a:pt x="20" y="2"/>
                </a:lnTo>
                <a:lnTo>
                  <a:pt x="22" y="1"/>
                </a:lnTo>
                <a:lnTo>
                  <a:pt x="23" y="1"/>
                </a:lnTo>
                <a:lnTo>
                  <a:pt x="24" y="1"/>
                </a:lnTo>
                <a:lnTo>
                  <a:pt x="26" y="2"/>
                </a:lnTo>
                <a:lnTo>
                  <a:pt x="26" y="2"/>
                </a:lnTo>
                <a:lnTo>
                  <a:pt x="26" y="3"/>
                </a:lnTo>
                <a:lnTo>
                  <a:pt x="24" y="4"/>
                </a:lnTo>
                <a:lnTo>
                  <a:pt x="28" y="5"/>
                </a:lnTo>
                <a:lnTo>
                  <a:pt x="27" y="6"/>
                </a:lnTo>
                <a:lnTo>
                  <a:pt x="30" y="8"/>
                </a:lnTo>
                <a:lnTo>
                  <a:pt x="32" y="6"/>
                </a:lnTo>
                <a:lnTo>
                  <a:pt x="34" y="6"/>
                </a:lnTo>
                <a:lnTo>
                  <a:pt x="34" y="8"/>
                </a:lnTo>
                <a:lnTo>
                  <a:pt x="35" y="8"/>
                </a:lnTo>
                <a:lnTo>
                  <a:pt x="35" y="8"/>
                </a:lnTo>
                <a:lnTo>
                  <a:pt x="34" y="9"/>
                </a:lnTo>
                <a:lnTo>
                  <a:pt x="32" y="10"/>
                </a:lnTo>
                <a:lnTo>
                  <a:pt x="30" y="10"/>
                </a:lnTo>
                <a:lnTo>
                  <a:pt x="28" y="9"/>
                </a:lnTo>
                <a:lnTo>
                  <a:pt x="27" y="9"/>
                </a:lnTo>
                <a:lnTo>
                  <a:pt x="21" y="11"/>
                </a:lnTo>
                <a:lnTo>
                  <a:pt x="21" y="11"/>
                </a:lnTo>
                <a:lnTo>
                  <a:pt x="18" y="1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37" name="Freeform 1438"/>
          <p:cNvSpPr>
            <a:spLocks/>
          </p:cNvSpPr>
          <p:nvPr/>
        </p:nvSpPr>
        <p:spPr bwMode="auto">
          <a:xfrm>
            <a:off x="968375" y="1771615"/>
            <a:ext cx="55562" cy="19050"/>
          </a:xfrm>
          <a:custGeom>
            <a:avLst/>
            <a:gdLst>
              <a:gd name="T0" fmla="*/ 18 w 35"/>
              <a:gd name="T1" fmla="*/ 12 h 12"/>
              <a:gd name="T2" fmla="*/ 18 w 35"/>
              <a:gd name="T3" fmla="*/ 11 h 12"/>
              <a:gd name="T4" fmla="*/ 18 w 35"/>
              <a:gd name="T5" fmla="*/ 10 h 12"/>
              <a:gd name="T6" fmla="*/ 14 w 35"/>
              <a:gd name="T7" fmla="*/ 9 h 12"/>
              <a:gd name="T8" fmla="*/ 13 w 35"/>
              <a:gd name="T9" fmla="*/ 6 h 12"/>
              <a:gd name="T10" fmla="*/ 12 w 35"/>
              <a:gd name="T11" fmla="*/ 6 h 12"/>
              <a:gd name="T12" fmla="*/ 11 w 35"/>
              <a:gd name="T13" fmla="*/ 6 h 12"/>
              <a:gd name="T14" fmla="*/ 7 w 35"/>
              <a:gd name="T15" fmla="*/ 6 h 12"/>
              <a:gd name="T16" fmla="*/ 4 w 35"/>
              <a:gd name="T17" fmla="*/ 6 h 12"/>
              <a:gd name="T18" fmla="*/ 2 w 35"/>
              <a:gd name="T19" fmla="*/ 8 h 12"/>
              <a:gd name="T20" fmla="*/ 1 w 35"/>
              <a:gd name="T21" fmla="*/ 6 h 12"/>
              <a:gd name="T22" fmla="*/ 0 w 35"/>
              <a:gd name="T23" fmla="*/ 6 h 12"/>
              <a:gd name="T24" fmla="*/ 1 w 35"/>
              <a:gd name="T25" fmla="*/ 4 h 12"/>
              <a:gd name="T26" fmla="*/ 1 w 35"/>
              <a:gd name="T27" fmla="*/ 4 h 12"/>
              <a:gd name="T28" fmla="*/ 4 w 35"/>
              <a:gd name="T29" fmla="*/ 2 h 12"/>
              <a:gd name="T30" fmla="*/ 8 w 35"/>
              <a:gd name="T31" fmla="*/ 1 h 12"/>
              <a:gd name="T32" fmla="*/ 9 w 35"/>
              <a:gd name="T33" fmla="*/ 0 h 12"/>
              <a:gd name="T34" fmla="*/ 9 w 35"/>
              <a:gd name="T35" fmla="*/ 1 h 12"/>
              <a:gd name="T36" fmla="*/ 11 w 35"/>
              <a:gd name="T37" fmla="*/ 1 h 12"/>
              <a:gd name="T38" fmla="*/ 13 w 35"/>
              <a:gd name="T39" fmla="*/ 2 h 12"/>
              <a:gd name="T40" fmla="*/ 14 w 35"/>
              <a:gd name="T41" fmla="*/ 2 h 12"/>
              <a:gd name="T42" fmla="*/ 17 w 35"/>
              <a:gd name="T43" fmla="*/ 2 h 12"/>
              <a:gd name="T44" fmla="*/ 18 w 35"/>
              <a:gd name="T45" fmla="*/ 2 h 12"/>
              <a:gd name="T46" fmla="*/ 20 w 35"/>
              <a:gd name="T47" fmla="*/ 2 h 12"/>
              <a:gd name="T48" fmla="*/ 22 w 35"/>
              <a:gd name="T49" fmla="*/ 1 h 12"/>
              <a:gd name="T50" fmla="*/ 23 w 35"/>
              <a:gd name="T51" fmla="*/ 1 h 12"/>
              <a:gd name="T52" fmla="*/ 24 w 35"/>
              <a:gd name="T53" fmla="*/ 1 h 12"/>
              <a:gd name="T54" fmla="*/ 26 w 35"/>
              <a:gd name="T55" fmla="*/ 2 h 12"/>
              <a:gd name="T56" fmla="*/ 26 w 35"/>
              <a:gd name="T57" fmla="*/ 2 h 12"/>
              <a:gd name="T58" fmla="*/ 26 w 35"/>
              <a:gd name="T59" fmla="*/ 3 h 12"/>
              <a:gd name="T60" fmla="*/ 24 w 35"/>
              <a:gd name="T61" fmla="*/ 4 h 12"/>
              <a:gd name="T62" fmla="*/ 28 w 35"/>
              <a:gd name="T63" fmla="*/ 5 h 12"/>
              <a:gd name="T64" fmla="*/ 27 w 35"/>
              <a:gd name="T65" fmla="*/ 6 h 12"/>
              <a:gd name="T66" fmla="*/ 30 w 35"/>
              <a:gd name="T67" fmla="*/ 8 h 12"/>
              <a:gd name="T68" fmla="*/ 32 w 35"/>
              <a:gd name="T69" fmla="*/ 6 h 12"/>
              <a:gd name="T70" fmla="*/ 34 w 35"/>
              <a:gd name="T71" fmla="*/ 6 h 12"/>
              <a:gd name="T72" fmla="*/ 34 w 35"/>
              <a:gd name="T73" fmla="*/ 8 h 12"/>
              <a:gd name="T74" fmla="*/ 35 w 35"/>
              <a:gd name="T75" fmla="*/ 8 h 12"/>
              <a:gd name="T76" fmla="*/ 35 w 35"/>
              <a:gd name="T77" fmla="*/ 8 h 12"/>
              <a:gd name="T78" fmla="*/ 34 w 35"/>
              <a:gd name="T79" fmla="*/ 9 h 12"/>
              <a:gd name="T80" fmla="*/ 32 w 35"/>
              <a:gd name="T81" fmla="*/ 10 h 12"/>
              <a:gd name="T82" fmla="*/ 30 w 35"/>
              <a:gd name="T83" fmla="*/ 10 h 12"/>
              <a:gd name="T84" fmla="*/ 28 w 35"/>
              <a:gd name="T85" fmla="*/ 9 h 12"/>
              <a:gd name="T86" fmla="*/ 27 w 35"/>
              <a:gd name="T87" fmla="*/ 9 h 12"/>
              <a:gd name="T88" fmla="*/ 21 w 35"/>
              <a:gd name="T89" fmla="*/ 11 h 12"/>
              <a:gd name="T90" fmla="*/ 21 w 35"/>
              <a:gd name="T91" fmla="*/ 11 h 12"/>
              <a:gd name="T92" fmla="*/ 18 w 35"/>
              <a:gd name="T93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5" h="12">
                <a:moveTo>
                  <a:pt x="18" y="12"/>
                </a:moveTo>
                <a:lnTo>
                  <a:pt x="18" y="11"/>
                </a:lnTo>
                <a:lnTo>
                  <a:pt x="18" y="10"/>
                </a:lnTo>
                <a:lnTo>
                  <a:pt x="14" y="9"/>
                </a:lnTo>
                <a:lnTo>
                  <a:pt x="13" y="6"/>
                </a:lnTo>
                <a:lnTo>
                  <a:pt x="12" y="6"/>
                </a:lnTo>
                <a:lnTo>
                  <a:pt x="11" y="6"/>
                </a:lnTo>
                <a:lnTo>
                  <a:pt x="7" y="6"/>
                </a:lnTo>
                <a:lnTo>
                  <a:pt x="4" y="6"/>
                </a:lnTo>
                <a:lnTo>
                  <a:pt x="2" y="8"/>
                </a:lnTo>
                <a:lnTo>
                  <a:pt x="1" y="6"/>
                </a:lnTo>
                <a:lnTo>
                  <a:pt x="0" y="6"/>
                </a:lnTo>
                <a:lnTo>
                  <a:pt x="1" y="4"/>
                </a:lnTo>
                <a:lnTo>
                  <a:pt x="1" y="4"/>
                </a:lnTo>
                <a:lnTo>
                  <a:pt x="4" y="2"/>
                </a:lnTo>
                <a:lnTo>
                  <a:pt x="8" y="1"/>
                </a:lnTo>
                <a:lnTo>
                  <a:pt x="9" y="0"/>
                </a:lnTo>
                <a:lnTo>
                  <a:pt x="9" y="1"/>
                </a:lnTo>
                <a:lnTo>
                  <a:pt x="11" y="1"/>
                </a:lnTo>
                <a:lnTo>
                  <a:pt x="13" y="2"/>
                </a:lnTo>
                <a:lnTo>
                  <a:pt x="14" y="2"/>
                </a:lnTo>
                <a:lnTo>
                  <a:pt x="17" y="2"/>
                </a:lnTo>
                <a:lnTo>
                  <a:pt x="18" y="2"/>
                </a:lnTo>
                <a:lnTo>
                  <a:pt x="20" y="2"/>
                </a:lnTo>
                <a:lnTo>
                  <a:pt x="22" y="1"/>
                </a:lnTo>
                <a:lnTo>
                  <a:pt x="23" y="1"/>
                </a:lnTo>
                <a:lnTo>
                  <a:pt x="24" y="1"/>
                </a:lnTo>
                <a:lnTo>
                  <a:pt x="26" y="2"/>
                </a:lnTo>
                <a:lnTo>
                  <a:pt x="26" y="2"/>
                </a:lnTo>
                <a:lnTo>
                  <a:pt x="26" y="3"/>
                </a:lnTo>
                <a:lnTo>
                  <a:pt x="24" y="4"/>
                </a:lnTo>
                <a:lnTo>
                  <a:pt x="28" y="5"/>
                </a:lnTo>
                <a:lnTo>
                  <a:pt x="27" y="6"/>
                </a:lnTo>
                <a:lnTo>
                  <a:pt x="30" y="8"/>
                </a:lnTo>
                <a:lnTo>
                  <a:pt x="32" y="6"/>
                </a:lnTo>
                <a:lnTo>
                  <a:pt x="34" y="6"/>
                </a:lnTo>
                <a:lnTo>
                  <a:pt x="34" y="8"/>
                </a:lnTo>
                <a:lnTo>
                  <a:pt x="35" y="8"/>
                </a:lnTo>
                <a:lnTo>
                  <a:pt x="35" y="8"/>
                </a:lnTo>
                <a:lnTo>
                  <a:pt x="34" y="9"/>
                </a:lnTo>
                <a:lnTo>
                  <a:pt x="32" y="10"/>
                </a:lnTo>
                <a:lnTo>
                  <a:pt x="30" y="10"/>
                </a:lnTo>
                <a:lnTo>
                  <a:pt x="28" y="9"/>
                </a:lnTo>
                <a:lnTo>
                  <a:pt x="27" y="9"/>
                </a:lnTo>
                <a:lnTo>
                  <a:pt x="21" y="11"/>
                </a:lnTo>
                <a:lnTo>
                  <a:pt x="21" y="11"/>
                </a:lnTo>
                <a:lnTo>
                  <a:pt x="18" y="1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38" name="Freeform 1439"/>
          <p:cNvSpPr>
            <a:spLocks/>
          </p:cNvSpPr>
          <p:nvPr/>
        </p:nvSpPr>
        <p:spPr bwMode="auto">
          <a:xfrm>
            <a:off x="1511300" y="1935128"/>
            <a:ext cx="25400" cy="34925"/>
          </a:xfrm>
          <a:custGeom>
            <a:avLst/>
            <a:gdLst>
              <a:gd name="T0" fmla="*/ 15 w 16"/>
              <a:gd name="T1" fmla="*/ 4 h 22"/>
              <a:gd name="T2" fmla="*/ 16 w 16"/>
              <a:gd name="T3" fmla="*/ 3 h 22"/>
              <a:gd name="T4" fmla="*/ 14 w 16"/>
              <a:gd name="T5" fmla="*/ 6 h 22"/>
              <a:gd name="T6" fmla="*/ 11 w 16"/>
              <a:gd name="T7" fmla="*/ 9 h 22"/>
              <a:gd name="T8" fmla="*/ 13 w 16"/>
              <a:gd name="T9" fmla="*/ 8 h 22"/>
              <a:gd name="T10" fmla="*/ 13 w 16"/>
              <a:gd name="T11" fmla="*/ 8 h 22"/>
              <a:gd name="T12" fmla="*/ 13 w 16"/>
              <a:gd name="T13" fmla="*/ 9 h 22"/>
              <a:gd name="T14" fmla="*/ 12 w 16"/>
              <a:gd name="T15" fmla="*/ 10 h 22"/>
              <a:gd name="T16" fmla="*/ 11 w 16"/>
              <a:gd name="T17" fmla="*/ 10 h 22"/>
              <a:gd name="T18" fmla="*/ 11 w 16"/>
              <a:gd name="T19" fmla="*/ 11 h 22"/>
              <a:gd name="T20" fmla="*/ 10 w 16"/>
              <a:gd name="T21" fmla="*/ 12 h 22"/>
              <a:gd name="T22" fmla="*/ 10 w 16"/>
              <a:gd name="T23" fmla="*/ 13 h 22"/>
              <a:gd name="T24" fmla="*/ 8 w 16"/>
              <a:gd name="T25" fmla="*/ 16 h 22"/>
              <a:gd name="T26" fmla="*/ 5 w 16"/>
              <a:gd name="T27" fmla="*/ 18 h 22"/>
              <a:gd name="T28" fmla="*/ 2 w 16"/>
              <a:gd name="T29" fmla="*/ 21 h 22"/>
              <a:gd name="T30" fmla="*/ 1 w 16"/>
              <a:gd name="T31" fmla="*/ 22 h 22"/>
              <a:gd name="T32" fmla="*/ 0 w 16"/>
              <a:gd name="T33" fmla="*/ 22 h 22"/>
              <a:gd name="T34" fmla="*/ 2 w 16"/>
              <a:gd name="T35" fmla="*/ 20 h 22"/>
              <a:gd name="T36" fmla="*/ 1 w 16"/>
              <a:gd name="T37" fmla="*/ 20 h 22"/>
              <a:gd name="T38" fmla="*/ 2 w 16"/>
              <a:gd name="T39" fmla="*/ 18 h 22"/>
              <a:gd name="T40" fmla="*/ 3 w 16"/>
              <a:gd name="T41" fmla="*/ 16 h 22"/>
              <a:gd name="T42" fmla="*/ 3 w 16"/>
              <a:gd name="T43" fmla="*/ 14 h 22"/>
              <a:gd name="T44" fmla="*/ 5 w 16"/>
              <a:gd name="T45" fmla="*/ 13 h 22"/>
              <a:gd name="T46" fmla="*/ 8 w 16"/>
              <a:gd name="T47" fmla="*/ 12 h 22"/>
              <a:gd name="T48" fmla="*/ 9 w 16"/>
              <a:gd name="T49" fmla="*/ 11 h 22"/>
              <a:gd name="T50" fmla="*/ 6 w 16"/>
              <a:gd name="T51" fmla="*/ 13 h 22"/>
              <a:gd name="T52" fmla="*/ 5 w 16"/>
              <a:gd name="T53" fmla="*/ 13 h 22"/>
              <a:gd name="T54" fmla="*/ 4 w 16"/>
              <a:gd name="T55" fmla="*/ 13 h 22"/>
              <a:gd name="T56" fmla="*/ 4 w 16"/>
              <a:gd name="T57" fmla="*/ 13 h 22"/>
              <a:gd name="T58" fmla="*/ 4 w 16"/>
              <a:gd name="T59" fmla="*/ 12 h 22"/>
              <a:gd name="T60" fmla="*/ 3 w 16"/>
              <a:gd name="T61" fmla="*/ 11 h 22"/>
              <a:gd name="T62" fmla="*/ 3 w 16"/>
              <a:gd name="T63" fmla="*/ 11 h 22"/>
              <a:gd name="T64" fmla="*/ 4 w 16"/>
              <a:gd name="T65" fmla="*/ 11 h 22"/>
              <a:gd name="T66" fmla="*/ 5 w 16"/>
              <a:gd name="T67" fmla="*/ 10 h 22"/>
              <a:gd name="T68" fmla="*/ 5 w 16"/>
              <a:gd name="T69" fmla="*/ 9 h 22"/>
              <a:gd name="T70" fmla="*/ 6 w 16"/>
              <a:gd name="T71" fmla="*/ 9 h 22"/>
              <a:gd name="T72" fmla="*/ 8 w 16"/>
              <a:gd name="T73" fmla="*/ 8 h 22"/>
              <a:gd name="T74" fmla="*/ 8 w 16"/>
              <a:gd name="T75" fmla="*/ 7 h 22"/>
              <a:gd name="T76" fmla="*/ 8 w 16"/>
              <a:gd name="T77" fmla="*/ 4 h 22"/>
              <a:gd name="T78" fmla="*/ 6 w 16"/>
              <a:gd name="T79" fmla="*/ 3 h 22"/>
              <a:gd name="T80" fmla="*/ 6 w 16"/>
              <a:gd name="T81" fmla="*/ 3 h 22"/>
              <a:gd name="T82" fmla="*/ 8 w 16"/>
              <a:gd name="T83" fmla="*/ 2 h 22"/>
              <a:gd name="T84" fmla="*/ 9 w 16"/>
              <a:gd name="T85" fmla="*/ 1 h 22"/>
              <a:gd name="T86" fmla="*/ 10 w 16"/>
              <a:gd name="T87" fmla="*/ 0 h 22"/>
              <a:gd name="T88" fmla="*/ 12 w 16"/>
              <a:gd name="T89" fmla="*/ 0 h 22"/>
              <a:gd name="T90" fmla="*/ 12 w 16"/>
              <a:gd name="T91" fmla="*/ 1 h 22"/>
              <a:gd name="T92" fmla="*/ 13 w 16"/>
              <a:gd name="T93" fmla="*/ 1 h 22"/>
              <a:gd name="T94" fmla="*/ 14 w 16"/>
              <a:gd name="T95" fmla="*/ 2 h 22"/>
              <a:gd name="T96" fmla="*/ 14 w 16"/>
              <a:gd name="T97" fmla="*/ 3 h 22"/>
              <a:gd name="T98" fmla="*/ 14 w 16"/>
              <a:gd name="T99" fmla="*/ 3 h 22"/>
              <a:gd name="T100" fmla="*/ 15 w 16"/>
              <a:gd name="T101" fmla="*/ 4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" h="22">
                <a:moveTo>
                  <a:pt x="15" y="4"/>
                </a:moveTo>
                <a:lnTo>
                  <a:pt x="16" y="3"/>
                </a:lnTo>
                <a:lnTo>
                  <a:pt x="14" y="6"/>
                </a:lnTo>
                <a:lnTo>
                  <a:pt x="11" y="9"/>
                </a:lnTo>
                <a:lnTo>
                  <a:pt x="13" y="8"/>
                </a:lnTo>
                <a:lnTo>
                  <a:pt x="13" y="8"/>
                </a:lnTo>
                <a:lnTo>
                  <a:pt x="13" y="9"/>
                </a:lnTo>
                <a:lnTo>
                  <a:pt x="12" y="10"/>
                </a:lnTo>
                <a:lnTo>
                  <a:pt x="11" y="10"/>
                </a:lnTo>
                <a:lnTo>
                  <a:pt x="11" y="11"/>
                </a:lnTo>
                <a:lnTo>
                  <a:pt x="10" y="12"/>
                </a:lnTo>
                <a:lnTo>
                  <a:pt x="10" y="13"/>
                </a:lnTo>
                <a:lnTo>
                  <a:pt x="8" y="16"/>
                </a:lnTo>
                <a:lnTo>
                  <a:pt x="5" y="18"/>
                </a:lnTo>
                <a:lnTo>
                  <a:pt x="2" y="21"/>
                </a:lnTo>
                <a:lnTo>
                  <a:pt x="1" y="22"/>
                </a:lnTo>
                <a:lnTo>
                  <a:pt x="0" y="22"/>
                </a:lnTo>
                <a:lnTo>
                  <a:pt x="2" y="20"/>
                </a:lnTo>
                <a:lnTo>
                  <a:pt x="1" y="20"/>
                </a:lnTo>
                <a:lnTo>
                  <a:pt x="2" y="18"/>
                </a:lnTo>
                <a:lnTo>
                  <a:pt x="3" y="16"/>
                </a:lnTo>
                <a:lnTo>
                  <a:pt x="3" y="14"/>
                </a:lnTo>
                <a:lnTo>
                  <a:pt x="5" y="13"/>
                </a:lnTo>
                <a:lnTo>
                  <a:pt x="8" y="12"/>
                </a:lnTo>
                <a:lnTo>
                  <a:pt x="9" y="11"/>
                </a:lnTo>
                <a:lnTo>
                  <a:pt x="6" y="13"/>
                </a:lnTo>
                <a:lnTo>
                  <a:pt x="5" y="13"/>
                </a:lnTo>
                <a:lnTo>
                  <a:pt x="4" y="13"/>
                </a:lnTo>
                <a:lnTo>
                  <a:pt x="4" y="13"/>
                </a:lnTo>
                <a:lnTo>
                  <a:pt x="4" y="12"/>
                </a:lnTo>
                <a:lnTo>
                  <a:pt x="3" y="11"/>
                </a:lnTo>
                <a:lnTo>
                  <a:pt x="3" y="11"/>
                </a:lnTo>
                <a:lnTo>
                  <a:pt x="4" y="11"/>
                </a:lnTo>
                <a:lnTo>
                  <a:pt x="5" y="10"/>
                </a:lnTo>
                <a:lnTo>
                  <a:pt x="5" y="9"/>
                </a:lnTo>
                <a:lnTo>
                  <a:pt x="6" y="9"/>
                </a:lnTo>
                <a:lnTo>
                  <a:pt x="8" y="8"/>
                </a:lnTo>
                <a:lnTo>
                  <a:pt x="8" y="7"/>
                </a:lnTo>
                <a:lnTo>
                  <a:pt x="8" y="4"/>
                </a:lnTo>
                <a:lnTo>
                  <a:pt x="6" y="3"/>
                </a:lnTo>
                <a:lnTo>
                  <a:pt x="6" y="3"/>
                </a:lnTo>
                <a:lnTo>
                  <a:pt x="8" y="2"/>
                </a:lnTo>
                <a:lnTo>
                  <a:pt x="9" y="1"/>
                </a:lnTo>
                <a:lnTo>
                  <a:pt x="10" y="0"/>
                </a:lnTo>
                <a:lnTo>
                  <a:pt x="12" y="0"/>
                </a:lnTo>
                <a:lnTo>
                  <a:pt x="12" y="1"/>
                </a:lnTo>
                <a:lnTo>
                  <a:pt x="13" y="1"/>
                </a:lnTo>
                <a:lnTo>
                  <a:pt x="14" y="2"/>
                </a:lnTo>
                <a:lnTo>
                  <a:pt x="14" y="3"/>
                </a:lnTo>
                <a:lnTo>
                  <a:pt x="14" y="3"/>
                </a:lnTo>
                <a:lnTo>
                  <a:pt x="15" y="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39" name="Freeform 1440"/>
          <p:cNvSpPr>
            <a:spLocks/>
          </p:cNvSpPr>
          <p:nvPr/>
        </p:nvSpPr>
        <p:spPr bwMode="auto">
          <a:xfrm>
            <a:off x="1511300" y="1935128"/>
            <a:ext cx="25400" cy="34925"/>
          </a:xfrm>
          <a:custGeom>
            <a:avLst/>
            <a:gdLst>
              <a:gd name="T0" fmla="*/ 15 w 16"/>
              <a:gd name="T1" fmla="*/ 4 h 22"/>
              <a:gd name="T2" fmla="*/ 16 w 16"/>
              <a:gd name="T3" fmla="*/ 3 h 22"/>
              <a:gd name="T4" fmla="*/ 14 w 16"/>
              <a:gd name="T5" fmla="*/ 6 h 22"/>
              <a:gd name="T6" fmla="*/ 11 w 16"/>
              <a:gd name="T7" fmla="*/ 9 h 22"/>
              <a:gd name="T8" fmla="*/ 13 w 16"/>
              <a:gd name="T9" fmla="*/ 8 h 22"/>
              <a:gd name="T10" fmla="*/ 13 w 16"/>
              <a:gd name="T11" fmla="*/ 8 h 22"/>
              <a:gd name="T12" fmla="*/ 13 w 16"/>
              <a:gd name="T13" fmla="*/ 9 h 22"/>
              <a:gd name="T14" fmla="*/ 12 w 16"/>
              <a:gd name="T15" fmla="*/ 10 h 22"/>
              <a:gd name="T16" fmla="*/ 11 w 16"/>
              <a:gd name="T17" fmla="*/ 10 h 22"/>
              <a:gd name="T18" fmla="*/ 11 w 16"/>
              <a:gd name="T19" fmla="*/ 11 h 22"/>
              <a:gd name="T20" fmla="*/ 10 w 16"/>
              <a:gd name="T21" fmla="*/ 12 h 22"/>
              <a:gd name="T22" fmla="*/ 10 w 16"/>
              <a:gd name="T23" fmla="*/ 13 h 22"/>
              <a:gd name="T24" fmla="*/ 8 w 16"/>
              <a:gd name="T25" fmla="*/ 16 h 22"/>
              <a:gd name="T26" fmla="*/ 5 w 16"/>
              <a:gd name="T27" fmla="*/ 18 h 22"/>
              <a:gd name="T28" fmla="*/ 2 w 16"/>
              <a:gd name="T29" fmla="*/ 21 h 22"/>
              <a:gd name="T30" fmla="*/ 1 w 16"/>
              <a:gd name="T31" fmla="*/ 22 h 22"/>
              <a:gd name="T32" fmla="*/ 0 w 16"/>
              <a:gd name="T33" fmla="*/ 22 h 22"/>
              <a:gd name="T34" fmla="*/ 2 w 16"/>
              <a:gd name="T35" fmla="*/ 20 h 22"/>
              <a:gd name="T36" fmla="*/ 1 w 16"/>
              <a:gd name="T37" fmla="*/ 20 h 22"/>
              <a:gd name="T38" fmla="*/ 2 w 16"/>
              <a:gd name="T39" fmla="*/ 18 h 22"/>
              <a:gd name="T40" fmla="*/ 3 w 16"/>
              <a:gd name="T41" fmla="*/ 16 h 22"/>
              <a:gd name="T42" fmla="*/ 3 w 16"/>
              <a:gd name="T43" fmla="*/ 14 h 22"/>
              <a:gd name="T44" fmla="*/ 5 w 16"/>
              <a:gd name="T45" fmla="*/ 13 h 22"/>
              <a:gd name="T46" fmla="*/ 8 w 16"/>
              <a:gd name="T47" fmla="*/ 12 h 22"/>
              <a:gd name="T48" fmla="*/ 9 w 16"/>
              <a:gd name="T49" fmla="*/ 11 h 22"/>
              <a:gd name="T50" fmla="*/ 6 w 16"/>
              <a:gd name="T51" fmla="*/ 13 h 22"/>
              <a:gd name="T52" fmla="*/ 5 w 16"/>
              <a:gd name="T53" fmla="*/ 13 h 22"/>
              <a:gd name="T54" fmla="*/ 4 w 16"/>
              <a:gd name="T55" fmla="*/ 13 h 22"/>
              <a:gd name="T56" fmla="*/ 4 w 16"/>
              <a:gd name="T57" fmla="*/ 13 h 22"/>
              <a:gd name="T58" fmla="*/ 4 w 16"/>
              <a:gd name="T59" fmla="*/ 12 h 22"/>
              <a:gd name="T60" fmla="*/ 3 w 16"/>
              <a:gd name="T61" fmla="*/ 11 h 22"/>
              <a:gd name="T62" fmla="*/ 3 w 16"/>
              <a:gd name="T63" fmla="*/ 11 h 22"/>
              <a:gd name="T64" fmla="*/ 4 w 16"/>
              <a:gd name="T65" fmla="*/ 11 h 22"/>
              <a:gd name="T66" fmla="*/ 5 w 16"/>
              <a:gd name="T67" fmla="*/ 10 h 22"/>
              <a:gd name="T68" fmla="*/ 5 w 16"/>
              <a:gd name="T69" fmla="*/ 9 h 22"/>
              <a:gd name="T70" fmla="*/ 6 w 16"/>
              <a:gd name="T71" fmla="*/ 9 h 22"/>
              <a:gd name="T72" fmla="*/ 8 w 16"/>
              <a:gd name="T73" fmla="*/ 8 h 22"/>
              <a:gd name="T74" fmla="*/ 8 w 16"/>
              <a:gd name="T75" fmla="*/ 7 h 22"/>
              <a:gd name="T76" fmla="*/ 8 w 16"/>
              <a:gd name="T77" fmla="*/ 4 h 22"/>
              <a:gd name="T78" fmla="*/ 6 w 16"/>
              <a:gd name="T79" fmla="*/ 3 h 22"/>
              <a:gd name="T80" fmla="*/ 6 w 16"/>
              <a:gd name="T81" fmla="*/ 3 h 22"/>
              <a:gd name="T82" fmla="*/ 8 w 16"/>
              <a:gd name="T83" fmla="*/ 2 h 22"/>
              <a:gd name="T84" fmla="*/ 9 w 16"/>
              <a:gd name="T85" fmla="*/ 1 h 22"/>
              <a:gd name="T86" fmla="*/ 10 w 16"/>
              <a:gd name="T87" fmla="*/ 0 h 22"/>
              <a:gd name="T88" fmla="*/ 12 w 16"/>
              <a:gd name="T89" fmla="*/ 0 h 22"/>
              <a:gd name="T90" fmla="*/ 12 w 16"/>
              <a:gd name="T91" fmla="*/ 1 h 22"/>
              <a:gd name="T92" fmla="*/ 13 w 16"/>
              <a:gd name="T93" fmla="*/ 1 h 22"/>
              <a:gd name="T94" fmla="*/ 14 w 16"/>
              <a:gd name="T95" fmla="*/ 2 h 22"/>
              <a:gd name="T96" fmla="*/ 14 w 16"/>
              <a:gd name="T97" fmla="*/ 3 h 22"/>
              <a:gd name="T98" fmla="*/ 14 w 16"/>
              <a:gd name="T99" fmla="*/ 3 h 22"/>
              <a:gd name="T100" fmla="*/ 15 w 16"/>
              <a:gd name="T101" fmla="*/ 4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" h="22">
                <a:moveTo>
                  <a:pt x="15" y="4"/>
                </a:moveTo>
                <a:lnTo>
                  <a:pt x="16" y="3"/>
                </a:lnTo>
                <a:lnTo>
                  <a:pt x="14" y="6"/>
                </a:lnTo>
                <a:lnTo>
                  <a:pt x="11" y="9"/>
                </a:lnTo>
                <a:lnTo>
                  <a:pt x="13" y="8"/>
                </a:lnTo>
                <a:lnTo>
                  <a:pt x="13" y="8"/>
                </a:lnTo>
                <a:lnTo>
                  <a:pt x="13" y="9"/>
                </a:lnTo>
                <a:lnTo>
                  <a:pt x="12" y="10"/>
                </a:lnTo>
                <a:lnTo>
                  <a:pt x="11" y="10"/>
                </a:lnTo>
                <a:lnTo>
                  <a:pt x="11" y="11"/>
                </a:lnTo>
                <a:lnTo>
                  <a:pt x="10" y="12"/>
                </a:lnTo>
                <a:lnTo>
                  <a:pt x="10" y="13"/>
                </a:lnTo>
                <a:lnTo>
                  <a:pt x="8" y="16"/>
                </a:lnTo>
                <a:lnTo>
                  <a:pt x="5" y="18"/>
                </a:lnTo>
                <a:lnTo>
                  <a:pt x="2" y="21"/>
                </a:lnTo>
                <a:lnTo>
                  <a:pt x="1" y="22"/>
                </a:lnTo>
                <a:lnTo>
                  <a:pt x="0" y="22"/>
                </a:lnTo>
                <a:lnTo>
                  <a:pt x="2" y="20"/>
                </a:lnTo>
                <a:lnTo>
                  <a:pt x="1" y="20"/>
                </a:lnTo>
                <a:lnTo>
                  <a:pt x="2" y="18"/>
                </a:lnTo>
                <a:lnTo>
                  <a:pt x="3" y="16"/>
                </a:lnTo>
                <a:lnTo>
                  <a:pt x="3" y="14"/>
                </a:lnTo>
                <a:lnTo>
                  <a:pt x="5" y="13"/>
                </a:lnTo>
                <a:lnTo>
                  <a:pt x="8" y="12"/>
                </a:lnTo>
                <a:lnTo>
                  <a:pt x="9" y="11"/>
                </a:lnTo>
                <a:lnTo>
                  <a:pt x="6" y="13"/>
                </a:lnTo>
                <a:lnTo>
                  <a:pt x="5" y="13"/>
                </a:lnTo>
                <a:lnTo>
                  <a:pt x="4" y="13"/>
                </a:lnTo>
                <a:lnTo>
                  <a:pt x="4" y="13"/>
                </a:lnTo>
                <a:lnTo>
                  <a:pt x="4" y="12"/>
                </a:lnTo>
                <a:lnTo>
                  <a:pt x="3" y="11"/>
                </a:lnTo>
                <a:lnTo>
                  <a:pt x="3" y="11"/>
                </a:lnTo>
                <a:lnTo>
                  <a:pt x="4" y="11"/>
                </a:lnTo>
                <a:lnTo>
                  <a:pt x="5" y="10"/>
                </a:lnTo>
                <a:lnTo>
                  <a:pt x="5" y="9"/>
                </a:lnTo>
                <a:lnTo>
                  <a:pt x="6" y="9"/>
                </a:lnTo>
                <a:lnTo>
                  <a:pt x="8" y="8"/>
                </a:lnTo>
                <a:lnTo>
                  <a:pt x="8" y="7"/>
                </a:lnTo>
                <a:lnTo>
                  <a:pt x="8" y="4"/>
                </a:lnTo>
                <a:lnTo>
                  <a:pt x="6" y="3"/>
                </a:lnTo>
                <a:lnTo>
                  <a:pt x="6" y="3"/>
                </a:lnTo>
                <a:lnTo>
                  <a:pt x="8" y="2"/>
                </a:lnTo>
                <a:lnTo>
                  <a:pt x="9" y="1"/>
                </a:lnTo>
                <a:lnTo>
                  <a:pt x="10" y="0"/>
                </a:lnTo>
                <a:lnTo>
                  <a:pt x="12" y="0"/>
                </a:lnTo>
                <a:lnTo>
                  <a:pt x="12" y="1"/>
                </a:lnTo>
                <a:lnTo>
                  <a:pt x="13" y="1"/>
                </a:lnTo>
                <a:lnTo>
                  <a:pt x="14" y="2"/>
                </a:lnTo>
                <a:lnTo>
                  <a:pt x="14" y="3"/>
                </a:lnTo>
                <a:lnTo>
                  <a:pt x="14" y="3"/>
                </a:lnTo>
                <a:lnTo>
                  <a:pt x="15" y="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40" name="Freeform 1441"/>
          <p:cNvSpPr>
            <a:spLocks/>
          </p:cNvSpPr>
          <p:nvPr/>
        </p:nvSpPr>
        <p:spPr bwMode="auto">
          <a:xfrm>
            <a:off x="1536700" y="1917665"/>
            <a:ext cx="33337" cy="30163"/>
          </a:xfrm>
          <a:custGeom>
            <a:avLst/>
            <a:gdLst>
              <a:gd name="T0" fmla="*/ 8 w 21"/>
              <a:gd name="T1" fmla="*/ 10 h 19"/>
              <a:gd name="T2" fmla="*/ 8 w 21"/>
              <a:gd name="T3" fmla="*/ 10 h 19"/>
              <a:gd name="T4" fmla="*/ 9 w 21"/>
              <a:gd name="T5" fmla="*/ 8 h 19"/>
              <a:gd name="T6" fmla="*/ 9 w 21"/>
              <a:gd name="T7" fmla="*/ 5 h 19"/>
              <a:gd name="T8" fmla="*/ 10 w 21"/>
              <a:gd name="T9" fmla="*/ 4 h 19"/>
              <a:gd name="T10" fmla="*/ 13 w 21"/>
              <a:gd name="T11" fmla="*/ 2 h 19"/>
              <a:gd name="T12" fmla="*/ 15 w 21"/>
              <a:gd name="T13" fmla="*/ 0 h 19"/>
              <a:gd name="T14" fmla="*/ 16 w 21"/>
              <a:gd name="T15" fmla="*/ 0 h 19"/>
              <a:gd name="T16" fmla="*/ 20 w 21"/>
              <a:gd name="T17" fmla="*/ 0 h 19"/>
              <a:gd name="T18" fmla="*/ 21 w 21"/>
              <a:gd name="T19" fmla="*/ 0 h 19"/>
              <a:gd name="T20" fmla="*/ 21 w 21"/>
              <a:gd name="T21" fmla="*/ 1 h 19"/>
              <a:gd name="T22" fmla="*/ 21 w 21"/>
              <a:gd name="T23" fmla="*/ 4 h 19"/>
              <a:gd name="T24" fmla="*/ 19 w 21"/>
              <a:gd name="T25" fmla="*/ 8 h 19"/>
              <a:gd name="T26" fmla="*/ 19 w 21"/>
              <a:gd name="T27" fmla="*/ 8 h 19"/>
              <a:gd name="T28" fmla="*/ 18 w 21"/>
              <a:gd name="T29" fmla="*/ 10 h 19"/>
              <a:gd name="T30" fmla="*/ 19 w 21"/>
              <a:gd name="T31" fmla="*/ 4 h 19"/>
              <a:gd name="T32" fmla="*/ 20 w 21"/>
              <a:gd name="T33" fmla="*/ 2 h 19"/>
              <a:gd name="T34" fmla="*/ 20 w 21"/>
              <a:gd name="T35" fmla="*/ 2 h 19"/>
              <a:gd name="T36" fmla="*/ 19 w 21"/>
              <a:gd name="T37" fmla="*/ 3 h 19"/>
              <a:gd name="T38" fmla="*/ 18 w 21"/>
              <a:gd name="T39" fmla="*/ 3 h 19"/>
              <a:gd name="T40" fmla="*/ 17 w 21"/>
              <a:gd name="T41" fmla="*/ 4 h 19"/>
              <a:gd name="T42" fmla="*/ 16 w 21"/>
              <a:gd name="T43" fmla="*/ 5 h 19"/>
              <a:gd name="T44" fmla="*/ 16 w 21"/>
              <a:gd name="T45" fmla="*/ 7 h 19"/>
              <a:gd name="T46" fmla="*/ 16 w 21"/>
              <a:gd name="T47" fmla="*/ 8 h 19"/>
              <a:gd name="T48" fmla="*/ 16 w 21"/>
              <a:gd name="T49" fmla="*/ 9 h 19"/>
              <a:gd name="T50" fmla="*/ 16 w 21"/>
              <a:gd name="T51" fmla="*/ 9 h 19"/>
              <a:gd name="T52" fmla="*/ 16 w 21"/>
              <a:gd name="T53" fmla="*/ 11 h 19"/>
              <a:gd name="T54" fmla="*/ 15 w 21"/>
              <a:gd name="T55" fmla="*/ 11 h 19"/>
              <a:gd name="T56" fmla="*/ 14 w 21"/>
              <a:gd name="T57" fmla="*/ 11 h 19"/>
              <a:gd name="T58" fmla="*/ 14 w 21"/>
              <a:gd name="T59" fmla="*/ 12 h 19"/>
              <a:gd name="T60" fmla="*/ 14 w 21"/>
              <a:gd name="T61" fmla="*/ 12 h 19"/>
              <a:gd name="T62" fmla="*/ 14 w 21"/>
              <a:gd name="T63" fmla="*/ 13 h 19"/>
              <a:gd name="T64" fmla="*/ 11 w 21"/>
              <a:gd name="T65" fmla="*/ 13 h 19"/>
              <a:gd name="T66" fmla="*/ 10 w 21"/>
              <a:gd name="T67" fmla="*/ 13 h 19"/>
              <a:gd name="T68" fmla="*/ 8 w 21"/>
              <a:gd name="T69" fmla="*/ 15 h 19"/>
              <a:gd name="T70" fmla="*/ 8 w 21"/>
              <a:gd name="T71" fmla="*/ 17 h 19"/>
              <a:gd name="T72" fmla="*/ 7 w 21"/>
              <a:gd name="T73" fmla="*/ 15 h 19"/>
              <a:gd name="T74" fmla="*/ 3 w 21"/>
              <a:gd name="T75" fmla="*/ 19 h 19"/>
              <a:gd name="T76" fmla="*/ 0 w 21"/>
              <a:gd name="T77" fmla="*/ 19 h 19"/>
              <a:gd name="T78" fmla="*/ 0 w 21"/>
              <a:gd name="T79" fmla="*/ 19 h 19"/>
              <a:gd name="T80" fmla="*/ 0 w 21"/>
              <a:gd name="T81" fmla="*/ 18 h 19"/>
              <a:gd name="T82" fmla="*/ 1 w 21"/>
              <a:gd name="T83" fmla="*/ 17 h 19"/>
              <a:gd name="T84" fmla="*/ 5 w 21"/>
              <a:gd name="T85" fmla="*/ 13 h 19"/>
              <a:gd name="T86" fmla="*/ 6 w 21"/>
              <a:gd name="T87" fmla="*/ 13 h 19"/>
              <a:gd name="T88" fmla="*/ 7 w 21"/>
              <a:gd name="T89" fmla="*/ 13 h 19"/>
              <a:gd name="T90" fmla="*/ 8 w 21"/>
              <a:gd name="T91" fmla="*/ 13 h 19"/>
              <a:gd name="T92" fmla="*/ 7 w 21"/>
              <a:gd name="T93" fmla="*/ 12 h 19"/>
              <a:gd name="T94" fmla="*/ 7 w 21"/>
              <a:gd name="T95" fmla="*/ 11 h 19"/>
              <a:gd name="T96" fmla="*/ 9 w 21"/>
              <a:gd name="T97" fmla="*/ 11 h 19"/>
              <a:gd name="T98" fmla="*/ 11 w 21"/>
              <a:gd name="T99" fmla="*/ 10 h 19"/>
              <a:gd name="T100" fmla="*/ 10 w 21"/>
              <a:gd name="T101" fmla="*/ 10 h 19"/>
              <a:gd name="T102" fmla="*/ 8 w 21"/>
              <a:gd name="T103" fmla="*/ 11 h 19"/>
              <a:gd name="T104" fmla="*/ 8 w 21"/>
              <a:gd name="T105" fmla="*/ 1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1" h="19">
                <a:moveTo>
                  <a:pt x="8" y="10"/>
                </a:moveTo>
                <a:lnTo>
                  <a:pt x="8" y="10"/>
                </a:lnTo>
                <a:lnTo>
                  <a:pt x="9" y="8"/>
                </a:lnTo>
                <a:lnTo>
                  <a:pt x="9" y="5"/>
                </a:lnTo>
                <a:lnTo>
                  <a:pt x="10" y="4"/>
                </a:lnTo>
                <a:lnTo>
                  <a:pt x="13" y="2"/>
                </a:lnTo>
                <a:lnTo>
                  <a:pt x="15" y="0"/>
                </a:lnTo>
                <a:lnTo>
                  <a:pt x="16" y="0"/>
                </a:lnTo>
                <a:lnTo>
                  <a:pt x="20" y="0"/>
                </a:lnTo>
                <a:lnTo>
                  <a:pt x="21" y="0"/>
                </a:lnTo>
                <a:lnTo>
                  <a:pt x="21" y="1"/>
                </a:lnTo>
                <a:lnTo>
                  <a:pt x="21" y="4"/>
                </a:lnTo>
                <a:lnTo>
                  <a:pt x="19" y="8"/>
                </a:lnTo>
                <a:lnTo>
                  <a:pt x="19" y="8"/>
                </a:lnTo>
                <a:lnTo>
                  <a:pt x="18" y="10"/>
                </a:lnTo>
                <a:lnTo>
                  <a:pt x="19" y="4"/>
                </a:lnTo>
                <a:lnTo>
                  <a:pt x="20" y="2"/>
                </a:lnTo>
                <a:lnTo>
                  <a:pt x="20" y="2"/>
                </a:lnTo>
                <a:lnTo>
                  <a:pt x="19" y="3"/>
                </a:lnTo>
                <a:lnTo>
                  <a:pt x="18" y="3"/>
                </a:lnTo>
                <a:lnTo>
                  <a:pt x="17" y="4"/>
                </a:lnTo>
                <a:lnTo>
                  <a:pt x="16" y="5"/>
                </a:lnTo>
                <a:lnTo>
                  <a:pt x="16" y="7"/>
                </a:lnTo>
                <a:lnTo>
                  <a:pt x="16" y="8"/>
                </a:lnTo>
                <a:lnTo>
                  <a:pt x="16" y="9"/>
                </a:lnTo>
                <a:lnTo>
                  <a:pt x="16" y="9"/>
                </a:lnTo>
                <a:lnTo>
                  <a:pt x="16" y="11"/>
                </a:lnTo>
                <a:lnTo>
                  <a:pt x="15" y="11"/>
                </a:lnTo>
                <a:lnTo>
                  <a:pt x="14" y="11"/>
                </a:lnTo>
                <a:lnTo>
                  <a:pt x="14" y="12"/>
                </a:lnTo>
                <a:lnTo>
                  <a:pt x="14" y="12"/>
                </a:lnTo>
                <a:lnTo>
                  <a:pt x="14" y="13"/>
                </a:lnTo>
                <a:lnTo>
                  <a:pt x="11" y="13"/>
                </a:lnTo>
                <a:lnTo>
                  <a:pt x="10" y="13"/>
                </a:lnTo>
                <a:lnTo>
                  <a:pt x="8" y="15"/>
                </a:lnTo>
                <a:lnTo>
                  <a:pt x="8" y="17"/>
                </a:lnTo>
                <a:lnTo>
                  <a:pt x="7" y="15"/>
                </a:lnTo>
                <a:lnTo>
                  <a:pt x="3" y="19"/>
                </a:lnTo>
                <a:lnTo>
                  <a:pt x="0" y="19"/>
                </a:lnTo>
                <a:lnTo>
                  <a:pt x="0" y="19"/>
                </a:lnTo>
                <a:lnTo>
                  <a:pt x="0" y="18"/>
                </a:lnTo>
                <a:lnTo>
                  <a:pt x="1" y="17"/>
                </a:lnTo>
                <a:lnTo>
                  <a:pt x="5" y="13"/>
                </a:lnTo>
                <a:lnTo>
                  <a:pt x="6" y="13"/>
                </a:lnTo>
                <a:lnTo>
                  <a:pt x="7" y="13"/>
                </a:lnTo>
                <a:lnTo>
                  <a:pt x="8" y="13"/>
                </a:lnTo>
                <a:lnTo>
                  <a:pt x="7" y="12"/>
                </a:lnTo>
                <a:lnTo>
                  <a:pt x="7" y="11"/>
                </a:lnTo>
                <a:lnTo>
                  <a:pt x="9" y="11"/>
                </a:lnTo>
                <a:lnTo>
                  <a:pt x="11" y="10"/>
                </a:lnTo>
                <a:lnTo>
                  <a:pt x="10" y="10"/>
                </a:lnTo>
                <a:lnTo>
                  <a:pt x="8" y="11"/>
                </a:lnTo>
                <a:lnTo>
                  <a:pt x="8" y="1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41" name="Freeform 1442"/>
          <p:cNvSpPr>
            <a:spLocks/>
          </p:cNvSpPr>
          <p:nvPr/>
        </p:nvSpPr>
        <p:spPr bwMode="auto">
          <a:xfrm>
            <a:off x="1536700" y="1917665"/>
            <a:ext cx="33337" cy="30163"/>
          </a:xfrm>
          <a:custGeom>
            <a:avLst/>
            <a:gdLst>
              <a:gd name="T0" fmla="*/ 8 w 21"/>
              <a:gd name="T1" fmla="*/ 10 h 19"/>
              <a:gd name="T2" fmla="*/ 8 w 21"/>
              <a:gd name="T3" fmla="*/ 10 h 19"/>
              <a:gd name="T4" fmla="*/ 9 w 21"/>
              <a:gd name="T5" fmla="*/ 8 h 19"/>
              <a:gd name="T6" fmla="*/ 9 w 21"/>
              <a:gd name="T7" fmla="*/ 5 h 19"/>
              <a:gd name="T8" fmla="*/ 10 w 21"/>
              <a:gd name="T9" fmla="*/ 4 h 19"/>
              <a:gd name="T10" fmla="*/ 13 w 21"/>
              <a:gd name="T11" fmla="*/ 2 h 19"/>
              <a:gd name="T12" fmla="*/ 15 w 21"/>
              <a:gd name="T13" fmla="*/ 0 h 19"/>
              <a:gd name="T14" fmla="*/ 16 w 21"/>
              <a:gd name="T15" fmla="*/ 0 h 19"/>
              <a:gd name="T16" fmla="*/ 20 w 21"/>
              <a:gd name="T17" fmla="*/ 0 h 19"/>
              <a:gd name="T18" fmla="*/ 21 w 21"/>
              <a:gd name="T19" fmla="*/ 0 h 19"/>
              <a:gd name="T20" fmla="*/ 21 w 21"/>
              <a:gd name="T21" fmla="*/ 1 h 19"/>
              <a:gd name="T22" fmla="*/ 21 w 21"/>
              <a:gd name="T23" fmla="*/ 4 h 19"/>
              <a:gd name="T24" fmla="*/ 19 w 21"/>
              <a:gd name="T25" fmla="*/ 8 h 19"/>
              <a:gd name="T26" fmla="*/ 19 w 21"/>
              <a:gd name="T27" fmla="*/ 8 h 19"/>
              <a:gd name="T28" fmla="*/ 18 w 21"/>
              <a:gd name="T29" fmla="*/ 10 h 19"/>
              <a:gd name="T30" fmla="*/ 19 w 21"/>
              <a:gd name="T31" fmla="*/ 4 h 19"/>
              <a:gd name="T32" fmla="*/ 20 w 21"/>
              <a:gd name="T33" fmla="*/ 2 h 19"/>
              <a:gd name="T34" fmla="*/ 20 w 21"/>
              <a:gd name="T35" fmla="*/ 2 h 19"/>
              <a:gd name="T36" fmla="*/ 19 w 21"/>
              <a:gd name="T37" fmla="*/ 3 h 19"/>
              <a:gd name="T38" fmla="*/ 18 w 21"/>
              <a:gd name="T39" fmla="*/ 3 h 19"/>
              <a:gd name="T40" fmla="*/ 17 w 21"/>
              <a:gd name="T41" fmla="*/ 4 h 19"/>
              <a:gd name="T42" fmla="*/ 16 w 21"/>
              <a:gd name="T43" fmla="*/ 5 h 19"/>
              <a:gd name="T44" fmla="*/ 16 w 21"/>
              <a:gd name="T45" fmla="*/ 7 h 19"/>
              <a:gd name="T46" fmla="*/ 16 w 21"/>
              <a:gd name="T47" fmla="*/ 8 h 19"/>
              <a:gd name="T48" fmla="*/ 16 w 21"/>
              <a:gd name="T49" fmla="*/ 9 h 19"/>
              <a:gd name="T50" fmla="*/ 16 w 21"/>
              <a:gd name="T51" fmla="*/ 9 h 19"/>
              <a:gd name="T52" fmla="*/ 16 w 21"/>
              <a:gd name="T53" fmla="*/ 11 h 19"/>
              <a:gd name="T54" fmla="*/ 15 w 21"/>
              <a:gd name="T55" fmla="*/ 11 h 19"/>
              <a:gd name="T56" fmla="*/ 14 w 21"/>
              <a:gd name="T57" fmla="*/ 11 h 19"/>
              <a:gd name="T58" fmla="*/ 14 w 21"/>
              <a:gd name="T59" fmla="*/ 12 h 19"/>
              <a:gd name="T60" fmla="*/ 14 w 21"/>
              <a:gd name="T61" fmla="*/ 12 h 19"/>
              <a:gd name="T62" fmla="*/ 14 w 21"/>
              <a:gd name="T63" fmla="*/ 13 h 19"/>
              <a:gd name="T64" fmla="*/ 11 w 21"/>
              <a:gd name="T65" fmla="*/ 13 h 19"/>
              <a:gd name="T66" fmla="*/ 10 w 21"/>
              <a:gd name="T67" fmla="*/ 13 h 19"/>
              <a:gd name="T68" fmla="*/ 8 w 21"/>
              <a:gd name="T69" fmla="*/ 15 h 19"/>
              <a:gd name="T70" fmla="*/ 8 w 21"/>
              <a:gd name="T71" fmla="*/ 17 h 19"/>
              <a:gd name="T72" fmla="*/ 7 w 21"/>
              <a:gd name="T73" fmla="*/ 15 h 19"/>
              <a:gd name="T74" fmla="*/ 3 w 21"/>
              <a:gd name="T75" fmla="*/ 19 h 19"/>
              <a:gd name="T76" fmla="*/ 0 w 21"/>
              <a:gd name="T77" fmla="*/ 19 h 19"/>
              <a:gd name="T78" fmla="*/ 0 w 21"/>
              <a:gd name="T79" fmla="*/ 19 h 19"/>
              <a:gd name="T80" fmla="*/ 0 w 21"/>
              <a:gd name="T81" fmla="*/ 18 h 19"/>
              <a:gd name="T82" fmla="*/ 1 w 21"/>
              <a:gd name="T83" fmla="*/ 17 h 19"/>
              <a:gd name="T84" fmla="*/ 5 w 21"/>
              <a:gd name="T85" fmla="*/ 13 h 19"/>
              <a:gd name="T86" fmla="*/ 6 w 21"/>
              <a:gd name="T87" fmla="*/ 13 h 19"/>
              <a:gd name="T88" fmla="*/ 7 w 21"/>
              <a:gd name="T89" fmla="*/ 13 h 19"/>
              <a:gd name="T90" fmla="*/ 8 w 21"/>
              <a:gd name="T91" fmla="*/ 13 h 19"/>
              <a:gd name="T92" fmla="*/ 7 w 21"/>
              <a:gd name="T93" fmla="*/ 12 h 19"/>
              <a:gd name="T94" fmla="*/ 7 w 21"/>
              <a:gd name="T95" fmla="*/ 11 h 19"/>
              <a:gd name="T96" fmla="*/ 9 w 21"/>
              <a:gd name="T97" fmla="*/ 11 h 19"/>
              <a:gd name="T98" fmla="*/ 11 w 21"/>
              <a:gd name="T99" fmla="*/ 10 h 19"/>
              <a:gd name="T100" fmla="*/ 10 w 21"/>
              <a:gd name="T101" fmla="*/ 10 h 19"/>
              <a:gd name="T102" fmla="*/ 8 w 21"/>
              <a:gd name="T103" fmla="*/ 11 h 19"/>
              <a:gd name="T104" fmla="*/ 8 w 21"/>
              <a:gd name="T105" fmla="*/ 1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1" h="19">
                <a:moveTo>
                  <a:pt x="8" y="10"/>
                </a:moveTo>
                <a:lnTo>
                  <a:pt x="8" y="10"/>
                </a:lnTo>
                <a:lnTo>
                  <a:pt x="9" y="8"/>
                </a:lnTo>
                <a:lnTo>
                  <a:pt x="9" y="5"/>
                </a:lnTo>
                <a:lnTo>
                  <a:pt x="10" y="4"/>
                </a:lnTo>
                <a:lnTo>
                  <a:pt x="13" y="2"/>
                </a:lnTo>
                <a:lnTo>
                  <a:pt x="15" y="0"/>
                </a:lnTo>
                <a:lnTo>
                  <a:pt x="16" y="0"/>
                </a:lnTo>
                <a:lnTo>
                  <a:pt x="20" y="0"/>
                </a:lnTo>
                <a:lnTo>
                  <a:pt x="21" y="0"/>
                </a:lnTo>
                <a:lnTo>
                  <a:pt x="21" y="1"/>
                </a:lnTo>
                <a:lnTo>
                  <a:pt x="21" y="4"/>
                </a:lnTo>
                <a:lnTo>
                  <a:pt x="19" y="8"/>
                </a:lnTo>
                <a:lnTo>
                  <a:pt x="19" y="8"/>
                </a:lnTo>
                <a:lnTo>
                  <a:pt x="18" y="10"/>
                </a:lnTo>
                <a:lnTo>
                  <a:pt x="19" y="4"/>
                </a:lnTo>
                <a:lnTo>
                  <a:pt x="20" y="2"/>
                </a:lnTo>
                <a:lnTo>
                  <a:pt x="20" y="2"/>
                </a:lnTo>
                <a:lnTo>
                  <a:pt x="19" y="3"/>
                </a:lnTo>
                <a:lnTo>
                  <a:pt x="18" y="3"/>
                </a:lnTo>
                <a:lnTo>
                  <a:pt x="17" y="4"/>
                </a:lnTo>
                <a:lnTo>
                  <a:pt x="16" y="5"/>
                </a:lnTo>
                <a:lnTo>
                  <a:pt x="16" y="7"/>
                </a:lnTo>
                <a:lnTo>
                  <a:pt x="16" y="8"/>
                </a:lnTo>
                <a:lnTo>
                  <a:pt x="16" y="9"/>
                </a:lnTo>
                <a:lnTo>
                  <a:pt x="16" y="9"/>
                </a:lnTo>
                <a:lnTo>
                  <a:pt x="16" y="11"/>
                </a:lnTo>
                <a:lnTo>
                  <a:pt x="15" y="11"/>
                </a:lnTo>
                <a:lnTo>
                  <a:pt x="14" y="11"/>
                </a:lnTo>
                <a:lnTo>
                  <a:pt x="14" y="12"/>
                </a:lnTo>
                <a:lnTo>
                  <a:pt x="14" y="12"/>
                </a:lnTo>
                <a:lnTo>
                  <a:pt x="14" y="13"/>
                </a:lnTo>
                <a:lnTo>
                  <a:pt x="11" y="13"/>
                </a:lnTo>
                <a:lnTo>
                  <a:pt x="10" y="13"/>
                </a:lnTo>
                <a:lnTo>
                  <a:pt x="8" y="15"/>
                </a:lnTo>
                <a:lnTo>
                  <a:pt x="8" y="17"/>
                </a:lnTo>
                <a:lnTo>
                  <a:pt x="7" y="15"/>
                </a:lnTo>
                <a:lnTo>
                  <a:pt x="3" y="19"/>
                </a:lnTo>
                <a:lnTo>
                  <a:pt x="0" y="19"/>
                </a:lnTo>
                <a:lnTo>
                  <a:pt x="0" y="19"/>
                </a:lnTo>
                <a:lnTo>
                  <a:pt x="0" y="18"/>
                </a:lnTo>
                <a:lnTo>
                  <a:pt x="1" y="17"/>
                </a:lnTo>
                <a:lnTo>
                  <a:pt x="5" y="13"/>
                </a:lnTo>
                <a:lnTo>
                  <a:pt x="6" y="13"/>
                </a:lnTo>
                <a:lnTo>
                  <a:pt x="7" y="13"/>
                </a:lnTo>
                <a:lnTo>
                  <a:pt x="8" y="13"/>
                </a:lnTo>
                <a:lnTo>
                  <a:pt x="7" y="12"/>
                </a:lnTo>
                <a:lnTo>
                  <a:pt x="7" y="11"/>
                </a:lnTo>
                <a:lnTo>
                  <a:pt x="9" y="11"/>
                </a:lnTo>
                <a:lnTo>
                  <a:pt x="11" y="10"/>
                </a:lnTo>
                <a:lnTo>
                  <a:pt x="10" y="10"/>
                </a:lnTo>
                <a:lnTo>
                  <a:pt x="8" y="11"/>
                </a:lnTo>
                <a:lnTo>
                  <a:pt x="8" y="1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42" name="Freeform 1443"/>
          <p:cNvSpPr>
            <a:spLocks/>
          </p:cNvSpPr>
          <p:nvPr/>
        </p:nvSpPr>
        <p:spPr bwMode="auto">
          <a:xfrm>
            <a:off x="1525588" y="1951003"/>
            <a:ext cx="20637" cy="20638"/>
          </a:xfrm>
          <a:custGeom>
            <a:avLst/>
            <a:gdLst>
              <a:gd name="T0" fmla="*/ 6 w 13"/>
              <a:gd name="T1" fmla="*/ 4 h 13"/>
              <a:gd name="T2" fmla="*/ 6 w 13"/>
              <a:gd name="T3" fmla="*/ 4 h 13"/>
              <a:gd name="T4" fmla="*/ 5 w 13"/>
              <a:gd name="T5" fmla="*/ 4 h 13"/>
              <a:gd name="T6" fmla="*/ 5 w 13"/>
              <a:gd name="T7" fmla="*/ 3 h 13"/>
              <a:gd name="T8" fmla="*/ 4 w 13"/>
              <a:gd name="T9" fmla="*/ 3 h 13"/>
              <a:gd name="T10" fmla="*/ 5 w 13"/>
              <a:gd name="T11" fmla="*/ 2 h 13"/>
              <a:gd name="T12" fmla="*/ 6 w 13"/>
              <a:gd name="T13" fmla="*/ 1 h 13"/>
              <a:gd name="T14" fmla="*/ 8 w 13"/>
              <a:gd name="T15" fmla="*/ 1 h 13"/>
              <a:gd name="T16" fmla="*/ 10 w 13"/>
              <a:gd name="T17" fmla="*/ 0 h 13"/>
              <a:gd name="T18" fmla="*/ 10 w 13"/>
              <a:gd name="T19" fmla="*/ 1 h 13"/>
              <a:gd name="T20" fmla="*/ 10 w 13"/>
              <a:gd name="T21" fmla="*/ 2 h 13"/>
              <a:gd name="T22" fmla="*/ 13 w 13"/>
              <a:gd name="T23" fmla="*/ 2 h 13"/>
              <a:gd name="T24" fmla="*/ 11 w 13"/>
              <a:gd name="T25" fmla="*/ 4 h 13"/>
              <a:gd name="T26" fmla="*/ 8 w 13"/>
              <a:gd name="T27" fmla="*/ 4 h 13"/>
              <a:gd name="T28" fmla="*/ 7 w 13"/>
              <a:gd name="T29" fmla="*/ 7 h 13"/>
              <a:gd name="T30" fmla="*/ 5 w 13"/>
              <a:gd name="T31" fmla="*/ 10 h 13"/>
              <a:gd name="T32" fmla="*/ 1 w 13"/>
              <a:gd name="T33" fmla="*/ 13 h 13"/>
              <a:gd name="T34" fmla="*/ 2 w 13"/>
              <a:gd name="T35" fmla="*/ 11 h 13"/>
              <a:gd name="T36" fmla="*/ 2 w 13"/>
              <a:gd name="T37" fmla="*/ 11 h 13"/>
              <a:gd name="T38" fmla="*/ 0 w 13"/>
              <a:gd name="T39" fmla="*/ 12 h 13"/>
              <a:gd name="T40" fmla="*/ 0 w 13"/>
              <a:gd name="T41" fmla="*/ 11 h 13"/>
              <a:gd name="T42" fmla="*/ 2 w 13"/>
              <a:gd name="T43" fmla="*/ 8 h 13"/>
              <a:gd name="T44" fmla="*/ 3 w 13"/>
              <a:gd name="T45" fmla="*/ 8 h 13"/>
              <a:gd name="T46" fmla="*/ 6 w 13"/>
              <a:gd name="T47" fmla="*/ 7 h 13"/>
              <a:gd name="T48" fmla="*/ 6 w 13"/>
              <a:gd name="T49" fmla="*/ 6 h 13"/>
              <a:gd name="T50" fmla="*/ 5 w 13"/>
              <a:gd name="T51" fmla="*/ 7 h 13"/>
              <a:gd name="T52" fmla="*/ 4 w 13"/>
              <a:gd name="T53" fmla="*/ 7 h 13"/>
              <a:gd name="T54" fmla="*/ 4 w 13"/>
              <a:gd name="T55" fmla="*/ 6 h 13"/>
              <a:gd name="T56" fmla="*/ 6 w 13"/>
              <a:gd name="T57" fmla="*/ 4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3" h="13">
                <a:moveTo>
                  <a:pt x="6" y="4"/>
                </a:moveTo>
                <a:lnTo>
                  <a:pt x="6" y="4"/>
                </a:lnTo>
                <a:lnTo>
                  <a:pt x="5" y="4"/>
                </a:lnTo>
                <a:lnTo>
                  <a:pt x="5" y="3"/>
                </a:lnTo>
                <a:lnTo>
                  <a:pt x="4" y="3"/>
                </a:lnTo>
                <a:lnTo>
                  <a:pt x="5" y="2"/>
                </a:lnTo>
                <a:lnTo>
                  <a:pt x="6" y="1"/>
                </a:lnTo>
                <a:lnTo>
                  <a:pt x="8" y="1"/>
                </a:lnTo>
                <a:lnTo>
                  <a:pt x="10" y="0"/>
                </a:lnTo>
                <a:lnTo>
                  <a:pt x="10" y="1"/>
                </a:lnTo>
                <a:lnTo>
                  <a:pt x="10" y="2"/>
                </a:lnTo>
                <a:lnTo>
                  <a:pt x="13" y="2"/>
                </a:lnTo>
                <a:lnTo>
                  <a:pt x="11" y="4"/>
                </a:lnTo>
                <a:lnTo>
                  <a:pt x="8" y="4"/>
                </a:lnTo>
                <a:lnTo>
                  <a:pt x="7" y="7"/>
                </a:lnTo>
                <a:lnTo>
                  <a:pt x="5" y="10"/>
                </a:lnTo>
                <a:lnTo>
                  <a:pt x="1" y="13"/>
                </a:lnTo>
                <a:lnTo>
                  <a:pt x="2" y="11"/>
                </a:lnTo>
                <a:lnTo>
                  <a:pt x="2" y="11"/>
                </a:lnTo>
                <a:lnTo>
                  <a:pt x="0" y="12"/>
                </a:lnTo>
                <a:lnTo>
                  <a:pt x="0" y="11"/>
                </a:lnTo>
                <a:lnTo>
                  <a:pt x="2" y="8"/>
                </a:lnTo>
                <a:lnTo>
                  <a:pt x="3" y="8"/>
                </a:lnTo>
                <a:lnTo>
                  <a:pt x="6" y="7"/>
                </a:lnTo>
                <a:lnTo>
                  <a:pt x="6" y="6"/>
                </a:lnTo>
                <a:lnTo>
                  <a:pt x="5" y="7"/>
                </a:lnTo>
                <a:lnTo>
                  <a:pt x="4" y="7"/>
                </a:lnTo>
                <a:lnTo>
                  <a:pt x="4" y="6"/>
                </a:lnTo>
                <a:lnTo>
                  <a:pt x="6" y="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43" name="Freeform 1444"/>
          <p:cNvSpPr>
            <a:spLocks/>
          </p:cNvSpPr>
          <p:nvPr/>
        </p:nvSpPr>
        <p:spPr bwMode="auto">
          <a:xfrm>
            <a:off x="1525588" y="1951003"/>
            <a:ext cx="20637" cy="20638"/>
          </a:xfrm>
          <a:custGeom>
            <a:avLst/>
            <a:gdLst>
              <a:gd name="T0" fmla="*/ 6 w 13"/>
              <a:gd name="T1" fmla="*/ 4 h 13"/>
              <a:gd name="T2" fmla="*/ 6 w 13"/>
              <a:gd name="T3" fmla="*/ 4 h 13"/>
              <a:gd name="T4" fmla="*/ 5 w 13"/>
              <a:gd name="T5" fmla="*/ 4 h 13"/>
              <a:gd name="T6" fmla="*/ 5 w 13"/>
              <a:gd name="T7" fmla="*/ 3 h 13"/>
              <a:gd name="T8" fmla="*/ 4 w 13"/>
              <a:gd name="T9" fmla="*/ 3 h 13"/>
              <a:gd name="T10" fmla="*/ 5 w 13"/>
              <a:gd name="T11" fmla="*/ 2 h 13"/>
              <a:gd name="T12" fmla="*/ 6 w 13"/>
              <a:gd name="T13" fmla="*/ 1 h 13"/>
              <a:gd name="T14" fmla="*/ 8 w 13"/>
              <a:gd name="T15" fmla="*/ 1 h 13"/>
              <a:gd name="T16" fmla="*/ 10 w 13"/>
              <a:gd name="T17" fmla="*/ 0 h 13"/>
              <a:gd name="T18" fmla="*/ 10 w 13"/>
              <a:gd name="T19" fmla="*/ 1 h 13"/>
              <a:gd name="T20" fmla="*/ 10 w 13"/>
              <a:gd name="T21" fmla="*/ 2 h 13"/>
              <a:gd name="T22" fmla="*/ 13 w 13"/>
              <a:gd name="T23" fmla="*/ 2 h 13"/>
              <a:gd name="T24" fmla="*/ 11 w 13"/>
              <a:gd name="T25" fmla="*/ 4 h 13"/>
              <a:gd name="T26" fmla="*/ 8 w 13"/>
              <a:gd name="T27" fmla="*/ 4 h 13"/>
              <a:gd name="T28" fmla="*/ 7 w 13"/>
              <a:gd name="T29" fmla="*/ 7 h 13"/>
              <a:gd name="T30" fmla="*/ 5 w 13"/>
              <a:gd name="T31" fmla="*/ 10 h 13"/>
              <a:gd name="T32" fmla="*/ 1 w 13"/>
              <a:gd name="T33" fmla="*/ 13 h 13"/>
              <a:gd name="T34" fmla="*/ 2 w 13"/>
              <a:gd name="T35" fmla="*/ 11 h 13"/>
              <a:gd name="T36" fmla="*/ 2 w 13"/>
              <a:gd name="T37" fmla="*/ 11 h 13"/>
              <a:gd name="T38" fmla="*/ 0 w 13"/>
              <a:gd name="T39" fmla="*/ 12 h 13"/>
              <a:gd name="T40" fmla="*/ 0 w 13"/>
              <a:gd name="T41" fmla="*/ 11 h 13"/>
              <a:gd name="T42" fmla="*/ 2 w 13"/>
              <a:gd name="T43" fmla="*/ 8 h 13"/>
              <a:gd name="T44" fmla="*/ 3 w 13"/>
              <a:gd name="T45" fmla="*/ 8 h 13"/>
              <a:gd name="T46" fmla="*/ 6 w 13"/>
              <a:gd name="T47" fmla="*/ 7 h 13"/>
              <a:gd name="T48" fmla="*/ 6 w 13"/>
              <a:gd name="T49" fmla="*/ 6 h 13"/>
              <a:gd name="T50" fmla="*/ 5 w 13"/>
              <a:gd name="T51" fmla="*/ 7 h 13"/>
              <a:gd name="T52" fmla="*/ 4 w 13"/>
              <a:gd name="T53" fmla="*/ 7 h 13"/>
              <a:gd name="T54" fmla="*/ 4 w 13"/>
              <a:gd name="T55" fmla="*/ 6 h 13"/>
              <a:gd name="T56" fmla="*/ 6 w 13"/>
              <a:gd name="T57" fmla="*/ 4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3" h="13">
                <a:moveTo>
                  <a:pt x="6" y="4"/>
                </a:moveTo>
                <a:lnTo>
                  <a:pt x="6" y="4"/>
                </a:lnTo>
                <a:lnTo>
                  <a:pt x="5" y="4"/>
                </a:lnTo>
                <a:lnTo>
                  <a:pt x="5" y="3"/>
                </a:lnTo>
                <a:lnTo>
                  <a:pt x="4" y="3"/>
                </a:lnTo>
                <a:lnTo>
                  <a:pt x="5" y="2"/>
                </a:lnTo>
                <a:lnTo>
                  <a:pt x="6" y="1"/>
                </a:lnTo>
                <a:lnTo>
                  <a:pt x="8" y="1"/>
                </a:lnTo>
                <a:lnTo>
                  <a:pt x="10" y="0"/>
                </a:lnTo>
                <a:lnTo>
                  <a:pt x="10" y="1"/>
                </a:lnTo>
                <a:lnTo>
                  <a:pt x="10" y="2"/>
                </a:lnTo>
                <a:lnTo>
                  <a:pt x="13" y="2"/>
                </a:lnTo>
                <a:lnTo>
                  <a:pt x="11" y="4"/>
                </a:lnTo>
                <a:lnTo>
                  <a:pt x="8" y="4"/>
                </a:lnTo>
                <a:lnTo>
                  <a:pt x="7" y="7"/>
                </a:lnTo>
                <a:lnTo>
                  <a:pt x="5" y="10"/>
                </a:lnTo>
                <a:lnTo>
                  <a:pt x="1" y="13"/>
                </a:lnTo>
                <a:lnTo>
                  <a:pt x="2" y="11"/>
                </a:lnTo>
                <a:lnTo>
                  <a:pt x="2" y="11"/>
                </a:lnTo>
                <a:lnTo>
                  <a:pt x="0" y="12"/>
                </a:lnTo>
                <a:lnTo>
                  <a:pt x="0" y="11"/>
                </a:lnTo>
                <a:lnTo>
                  <a:pt x="2" y="8"/>
                </a:lnTo>
                <a:lnTo>
                  <a:pt x="3" y="8"/>
                </a:lnTo>
                <a:lnTo>
                  <a:pt x="6" y="7"/>
                </a:lnTo>
                <a:lnTo>
                  <a:pt x="6" y="6"/>
                </a:lnTo>
                <a:lnTo>
                  <a:pt x="5" y="7"/>
                </a:lnTo>
                <a:lnTo>
                  <a:pt x="4" y="7"/>
                </a:lnTo>
                <a:lnTo>
                  <a:pt x="4" y="6"/>
                </a:lnTo>
                <a:lnTo>
                  <a:pt x="6" y="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44" name="Freeform 1445"/>
          <p:cNvSpPr>
            <a:spLocks/>
          </p:cNvSpPr>
          <p:nvPr/>
        </p:nvSpPr>
        <p:spPr bwMode="auto">
          <a:xfrm>
            <a:off x="1544638" y="1946240"/>
            <a:ext cx="20637" cy="17463"/>
          </a:xfrm>
          <a:custGeom>
            <a:avLst/>
            <a:gdLst>
              <a:gd name="T0" fmla="*/ 3 w 13"/>
              <a:gd name="T1" fmla="*/ 3 h 11"/>
              <a:gd name="T2" fmla="*/ 4 w 13"/>
              <a:gd name="T3" fmla="*/ 3 h 11"/>
              <a:gd name="T4" fmla="*/ 3 w 13"/>
              <a:gd name="T5" fmla="*/ 2 h 11"/>
              <a:gd name="T6" fmla="*/ 3 w 13"/>
              <a:gd name="T7" fmla="*/ 1 h 11"/>
              <a:gd name="T8" fmla="*/ 3 w 13"/>
              <a:gd name="T9" fmla="*/ 0 h 11"/>
              <a:gd name="T10" fmla="*/ 4 w 13"/>
              <a:gd name="T11" fmla="*/ 0 h 11"/>
              <a:gd name="T12" fmla="*/ 10 w 13"/>
              <a:gd name="T13" fmla="*/ 2 h 11"/>
              <a:gd name="T14" fmla="*/ 11 w 13"/>
              <a:gd name="T15" fmla="*/ 2 h 11"/>
              <a:gd name="T16" fmla="*/ 13 w 13"/>
              <a:gd name="T17" fmla="*/ 2 h 11"/>
              <a:gd name="T18" fmla="*/ 13 w 13"/>
              <a:gd name="T19" fmla="*/ 3 h 11"/>
              <a:gd name="T20" fmla="*/ 13 w 13"/>
              <a:gd name="T21" fmla="*/ 3 h 11"/>
              <a:gd name="T22" fmla="*/ 10 w 13"/>
              <a:gd name="T23" fmla="*/ 7 h 11"/>
              <a:gd name="T24" fmla="*/ 9 w 13"/>
              <a:gd name="T25" fmla="*/ 7 h 11"/>
              <a:gd name="T26" fmla="*/ 9 w 13"/>
              <a:gd name="T27" fmla="*/ 5 h 11"/>
              <a:gd name="T28" fmla="*/ 9 w 13"/>
              <a:gd name="T29" fmla="*/ 4 h 11"/>
              <a:gd name="T30" fmla="*/ 8 w 13"/>
              <a:gd name="T31" fmla="*/ 4 h 11"/>
              <a:gd name="T32" fmla="*/ 6 w 13"/>
              <a:gd name="T33" fmla="*/ 6 h 11"/>
              <a:gd name="T34" fmla="*/ 6 w 13"/>
              <a:gd name="T35" fmla="*/ 6 h 11"/>
              <a:gd name="T36" fmla="*/ 6 w 13"/>
              <a:gd name="T37" fmla="*/ 9 h 11"/>
              <a:gd name="T38" fmla="*/ 5 w 13"/>
              <a:gd name="T39" fmla="*/ 11 h 11"/>
              <a:gd name="T40" fmla="*/ 4 w 13"/>
              <a:gd name="T41" fmla="*/ 11 h 11"/>
              <a:gd name="T42" fmla="*/ 3 w 13"/>
              <a:gd name="T43" fmla="*/ 10 h 11"/>
              <a:gd name="T44" fmla="*/ 1 w 13"/>
              <a:gd name="T45" fmla="*/ 11 h 11"/>
              <a:gd name="T46" fmla="*/ 0 w 13"/>
              <a:gd name="T47" fmla="*/ 11 h 11"/>
              <a:gd name="T48" fmla="*/ 1 w 13"/>
              <a:gd name="T49" fmla="*/ 7 h 11"/>
              <a:gd name="T50" fmla="*/ 4 w 13"/>
              <a:gd name="T51" fmla="*/ 4 h 11"/>
              <a:gd name="T52" fmla="*/ 4 w 13"/>
              <a:gd name="T53" fmla="*/ 4 h 11"/>
              <a:gd name="T54" fmla="*/ 3 w 13"/>
              <a:gd name="T55" fmla="*/ 4 h 11"/>
              <a:gd name="T56" fmla="*/ 2 w 13"/>
              <a:gd name="T57" fmla="*/ 4 h 11"/>
              <a:gd name="T58" fmla="*/ 2 w 13"/>
              <a:gd name="T59" fmla="*/ 3 h 11"/>
              <a:gd name="T60" fmla="*/ 2 w 13"/>
              <a:gd name="T61" fmla="*/ 3 h 11"/>
              <a:gd name="T62" fmla="*/ 3 w 13"/>
              <a:gd name="T63" fmla="*/ 3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3" h="11">
                <a:moveTo>
                  <a:pt x="3" y="3"/>
                </a:moveTo>
                <a:lnTo>
                  <a:pt x="4" y="3"/>
                </a:lnTo>
                <a:lnTo>
                  <a:pt x="3" y="2"/>
                </a:lnTo>
                <a:lnTo>
                  <a:pt x="3" y="1"/>
                </a:lnTo>
                <a:lnTo>
                  <a:pt x="3" y="0"/>
                </a:lnTo>
                <a:lnTo>
                  <a:pt x="4" y="0"/>
                </a:lnTo>
                <a:lnTo>
                  <a:pt x="10" y="2"/>
                </a:lnTo>
                <a:lnTo>
                  <a:pt x="11" y="2"/>
                </a:lnTo>
                <a:lnTo>
                  <a:pt x="13" y="2"/>
                </a:lnTo>
                <a:lnTo>
                  <a:pt x="13" y="3"/>
                </a:lnTo>
                <a:lnTo>
                  <a:pt x="13" y="3"/>
                </a:lnTo>
                <a:lnTo>
                  <a:pt x="10" y="7"/>
                </a:lnTo>
                <a:lnTo>
                  <a:pt x="9" y="7"/>
                </a:lnTo>
                <a:lnTo>
                  <a:pt x="9" y="5"/>
                </a:lnTo>
                <a:lnTo>
                  <a:pt x="9" y="4"/>
                </a:lnTo>
                <a:lnTo>
                  <a:pt x="8" y="4"/>
                </a:lnTo>
                <a:lnTo>
                  <a:pt x="6" y="6"/>
                </a:lnTo>
                <a:lnTo>
                  <a:pt x="6" y="6"/>
                </a:lnTo>
                <a:lnTo>
                  <a:pt x="6" y="9"/>
                </a:lnTo>
                <a:lnTo>
                  <a:pt x="5" y="11"/>
                </a:lnTo>
                <a:lnTo>
                  <a:pt x="4" y="11"/>
                </a:lnTo>
                <a:lnTo>
                  <a:pt x="3" y="10"/>
                </a:lnTo>
                <a:lnTo>
                  <a:pt x="1" y="11"/>
                </a:lnTo>
                <a:lnTo>
                  <a:pt x="0" y="11"/>
                </a:lnTo>
                <a:lnTo>
                  <a:pt x="1" y="7"/>
                </a:lnTo>
                <a:lnTo>
                  <a:pt x="4" y="4"/>
                </a:lnTo>
                <a:lnTo>
                  <a:pt x="4" y="4"/>
                </a:lnTo>
                <a:lnTo>
                  <a:pt x="3" y="4"/>
                </a:lnTo>
                <a:lnTo>
                  <a:pt x="2" y="4"/>
                </a:lnTo>
                <a:lnTo>
                  <a:pt x="2" y="3"/>
                </a:lnTo>
                <a:lnTo>
                  <a:pt x="2" y="3"/>
                </a:lnTo>
                <a:lnTo>
                  <a:pt x="3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45" name="Freeform 1446"/>
          <p:cNvSpPr>
            <a:spLocks/>
          </p:cNvSpPr>
          <p:nvPr/>
        </p:nvSpPr>
        <p:spPr bwMode="auto">
          <a:xfrm>
            <a:off x="1544638" y="1946240"/>
            <a:ext cx="20637" cy="17463"/>
          </a:xfrm>
          <a:custGeom>
            <a:avLst/>
            <a:gdLst>
              <a:gd name="T0" fmla="*/ 3 w 13"/>
              <a:gd name="T1" fmla="*/ 3 h 11"/>
              <a:gd name="T2" fmla="*/ 4 w 13"/>
              <a:gd name="T3" fmla="*/ 3 h 11"/>
              <a:gd name="T4" fmla="*/ 3 w 13"/>
              <a:gd name="T5" fmla="*/ 2 h 11"/>
              <a:gd name="T6" fmla="*/ 3 w 13"/>
              <a:gd name="T7" fmla="*/ 1 h 11"/>
              <a:gd name="T8" fmla="*/ 3 w 13"/>
              <a:gd name="T9" fmla="*/ 0 h 11"/>
              <a:gd name="T10" fmla="*/ 4 w 13"/>
              <a:gd name="T11" fmla="*/ 0 h 11"/>
              <a:gd name="T12" fmla="*/ 10 w 13"/>
              <a:gd name="T13" fmla="*/ 2 h 11"/>
              <a:gd name="T14" fmla="*/ 11 w 13"/>
              <a:gd name="T15" fmla="*/ 2 h 11"/>
              <a:gd name="T16" fmla="*/ 13 w 13"/>
              <a:gd name="T17" fmla="*/ 2 h 11"/>
              <a:gd name="T18" fmla="*/ 13 w 13"/>
              <a:gd name="T19" fmla="*/ 3 h 11"/>
              <a:gd name="T20" fmla="*/ 13 w 13"/>
              <a:gd name="T21" fmla="*/ 3 h 11"/>
              <a:gd name="T22" fmla="*/ 10 w 13"/>
              <a:gd name="T23" fmla="*/ 7 h 11"/>
              <a:gd name="T24" fmla="*/ 9 w 13"/>
              <a:gd name="T25" fmla="*/ 7 h 11"/>
              <a:gd name="T26" fmla="*/ 9 w 13"/>
              <a:gd name="T27" fmla="*/ 5 h 11"/>
              <a:gd name="T28" fmla="*/ 9 w 13"/>
              <a:gd name="T29" fmla="*/ 4 h 11"/>
              <a:gd name="T30" fmla="*/ 8 w 13"/>
              <a:gd name="T31" fmla="*/ 4 h 11"/>
              <a:gd name="T32" fmla="*/ 6 w 13"/>
              <a:gd name="T33" fmla="*/ 6 h 11"/>
              <a:gd name="T34" fmla="*/ 6 w 13"/>
              <a:gd name="T35" fmla="*/ 6 h 11"/>
              <a:gd name="T36" fmla="*/ 6 w 13"/>
              <a:gd name="T37" fmla="*/ 9 h 11"/>
              <a:gd name="T38" fmla="*/ 5 w 13"/>
              <a:gd name="T39" fmla="*/ 11 h 11"/>
              <a:gd name="T40" fmla="*/ 4 w 13"/>
              <a:gd name="T41" fmla="*/ 11 h 11"/>
              <a:gd name="T42" fmla="*/ 3 w 13"/>
              <a:gd name="T43" fmla="*/ 10 h 11"/>
              <a:gd name="T44" fmla="*/ 1 w 13"/>
              <a:gd name="T45" fmla="*/ 11 h 11"/>
              <a:gd name="T46" fmla="*/ 0 w 13"/>
              <a:gd name="T47" fmla="*/ 11 h 11"/>
              <a:gd name="T48" fmla="*/ 1 w 13"/>
              <a:gd name="T49" fmla="*/ 7 h 11"/>
              <a:gd name="T50" fmla="*/ 4 w 13"/>
              <a:gd name="T51" fmla="*/ 4 h 11"/>
              <a:gd name="T52" fmla="*/ 4 w 13"/>
              <a:gd name="T53" fmla="*/ 4 h 11"/>
              <a:gd name="T54" fmla="*/ 3 w 13"/>
              <a:gd name="T55" fmla="*/ 4 h 11"/>
              <a:gd name="T56" fmla="*/ 2 w 13"/>
              <a:gd name="T57" fmla="*/ 4 h 11"/>
              <a:gd name="T58" fmla="*/ 2 w 13"/>
              <a:gd name="T59" fmla="*/ 3 h 11"/>
              <a:gd name="T60" fmla="*/ 2 w 13"/>
              <a:gd name="T61" fmla="*/ 3 h 11"/>
              <a:gd name="T62" fmla="*/ 3 w 13"/>
              <a:gd name="T63" fmla="*/ 3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3" h="11">
                <a:moveTo>
                  <a:pt x="3" y="3"/>
                </a:moveTo>
                <a:lnTo>
                  <a:pt x="4" y="3"/>
                </a:lnTo>
                <a:lnTo>
                  <a:pt x="3" y="2"/>
                </a:lnTo>
                <a:lnTo>
                  <a:pt x="3" y="1"/>
                </a:lnTo>
                <a:lnTo>
                  <a:pt x="3" y="0"/>
                </a:lnTo>
                <a:lnTo>
                  <a:pt x="4" y="0"/>
                </a:lnTo>
                <a:lnTo>
                  <a:pt x="10" y="2"/>
                </a:lnTo>
                <a:lnTo>
                  <a:pt x="11" y="2"/>
                </a:lnTo>
                <a:lnTo>
                  <a:pt x="13" y="2"/>
                </a:lnTo>
                <a:lnTo>
                  <a:pt x="13" y="3"/>
                </a:lnTo>
                <a:lnTo>
                  <a:pt x="13" y="3"/>
                </a:lnTo>
                <a:lnTo>
                  <a:pt x="10" y="7"/>
                </a:lnTo>
                <a:lnTo>
                  <a:pt x="9" y="7"/>
                </a:lnTo>
                <a:lnTo>
                  <a:pt x="9" y="5"/>
                </a:lnTo>
                <a:lnTo>
                  <a:pt x="9" y="4"/>
                </a:lnTo>
                <a:lnTo>
                  <a:pt x="8" y="4"/>
                </a:lnTo>
                <a:lnTo>
                  <a:pt x="6" y="6"/>
                </a:lnTo>
                <a:lnTo>
                  <a:pt x="6" y="6"/>
                </a:lnTo>
                <a:lnTo>
                  <a:pt x="6" y="9"/>
                </a:lnTo>
                <a:lnTo>
                  <a:pt x="5" y="11"/>
                </a:lnTo>
                <a:lnTo>
                  <a:pt x="4" y="11"/>
                </a:lnTo>
                <a:lnTo>
                  <a:pt x="3" y="10"/>
                </a:lnTo>
                <a:lnTo>
                  <a:pt x="1" y="11"/>
                </a:lnTo>
                <a:lnTo>
                  <a:pt x="0" y="11"/>
                </a:lnTo>
                <a:lnTo>
                  <a:pt x="1" y="7"/>
                </a:lnTo>
                <a:lnTo>
                  <a:pt x="4" y="4"/>
                </a:lnTo>
                <a:lnTo>
                  <a:pt x="4" y="4"/>
                </a:lnTo>
                <a:lnTo>
                  <a:pt x="3" y="4"/>
                </a:lnTo>
                <a:lnTo>
                  <a:pt x="2" y="4"/>
                </a:lnTo>
                <a:lnTo>
                  <a:pt x="2" y="3"/>
                </a:lnTo>
                <a:lnTo>
                  <a:pt x="2" y="3"/>
                </a:lnTo>
                <a:lnTo>
                  <a:pt x="3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46" name="Freeform 1447"/>
          <p:cNvSpPr>
            <a:spLocks/>
          </p:cNvSpPr>
          <p:nvPr/>
        </p:nvSpPr>
        <p:spPr bwMode="auto">
          <a:xfrm>
            <a:off x="1560513" y="1954178"/>
            <a:ext cx="6350" cy="7938"/>
          </a:xfrm>
          <a:custGeom>
            <a:avLst/>
            <a:gdLst>
              <a:gd name="T0" fmla="*/ 4 w 4"/>
              <a:gd name="T1" fmla="*/ 0 h 5"/>
              <a:gd name="T2" fmla="*/ 4 w 4"/>
              <a:gd name="T3" fmla="*/ 0 h 5"/>
              <a:gd name="T4" fmla="*/ 4 w 4"/>
              <a:gd name="T5" fmla="*/ 4 h 5"/>
              <a:gd name="T6" fmla="*/ 3 w 4"/>
              <a:gd name="T7" fmla="*/ 4 h 5"/>
              <a:gd name="T8" fmla="*/ 2 w 4"/>
              <a:gd name="T9" fmla="*/ 5 h 5"/>
              <a:gd name="T10" fmla="*/ 2 w 4"/>
              <a:gd name="T11" fmla="*/ 4 h 5"/>
              <a:gd name="T12" fmla="*/ 1 w 4"/>
              <a:gd name="T13" fmla="*/ 5 h 5"/>
              <a:gd name="T14" fmla="*/ 0 w 4"/>
              <a:gd name="T15" fmla="*/ 5 h 5"/>
              <a:gd name="T16" fmla="*/ 0 w 4"/>
              <a:gd name="T17" fmla="*/ 4 h 5"/>
              <a:gd name="T18" fmla="*/ 1 w 4"/>
              <a:gd name="T19" fmla="*/ 2 h 5"/>
              <a:gd name="T20" fmla="*/ 3 w 4"/>
              <a:gd name="T21" fmla="*/ 0 h 5"/>
              <a:gd name="T22" fmla="*/ 4 w 4"/>
              <a:gd name="T23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" h="5">
                <a:moveTo>
                  <a:pt x="4" y="0"/>
                </a:moveTo>
                <a:lnTo>
                  <a:pt x="4" y="0"/>
                </a:lnTo>
                <a:lnTo>
                  <a:pt x="4" y="4"/>
                </a:lnTo>
                <a:lnTo>
                  <a:pt x="3" y="4"/>
                </a:lnTo>
                <a:lnTo>
                  <a:pt x="2" y="5"/>
                </a:lnTo>
                <a:lnTo>
                  <a:pt x="2" y="4"/>
                </a:lnTo>
                <a:lnTo>
                  <a:pt x="1" y="5"/>
                </a:lnTo>
                <a:lnTo>
                  <a:pt x="0" y="5"/>
                </a:lnTo>
                <a:lnTo>
                  <a:pt x="0" y="4"/>
                </a:lnTo>
                <a:lnTo>
                  <a:pt x="1" y="2"/>
                </a:lnTo>
                <a:lnTo>
                  <a:pt x="3" y="0"/>
                </a:lnTo>
                <a:lnTo>
                  <a:pt x="4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47" name="Freeform 1448"/>
          <p:cNvSpPr>
            <a:spLocks/>
          </p:cNvSpPr>
          <p:nvPr/>
        </p:nvSpPr>
        <p:spPr bwMode="auto">
          <a:xfrm>
            <a:off x="1560513" y="1954178"/>
            <a:ext cx="6350" cy="7938"/>
          </a:xfrm>
          <a:custGeom>
            <a:avLst/>
            <a:gdLst>
              <a:gd name="T0" fmla="*/ 4 w 4"/>
              <a:gd name="T1" fmla="*/ 0 h 5"/>
              <a:gd name="T2" fmla="*/ 4 w 4"/>
              <a:gd name="T3" fmla="*/ 0 h 5"/>
              <a:gd name="T4" fmla="*/ 4 w 4"/>
              <a:gd name="T5" fmla="*/ 4 h 5"/>
              <a:gd name="T6" fmla="*/ 3 w 4"/>
              <a:gd name="T7" fmla="*/ 4 h 5"/>
              <a:gd name="T8" fmla="*/ 2 w 4"/>
              <a:gd name="T9" fmla="*/ 5 h 5"/>
              <a:gd name="T10" fmla="*/ 2 w 4"/>
              <a:gd name="T11" fmla="*/ 4 h 5"/>
              <a:gd name="T12" fmla="*/ 1 w 4"/>
              <a:gd name="T13" fmla="*/ 5 h 5"/>
              <a:gd name="T14" fmla="*/ 0 w 4"/>
              <a:gd name="T15" fmla="*/ 5 h 5"/>
              <a:gd name="T16" fmla="*/ 0 w 4"/>
              <a:gd name="T17" fmla="*/ 4 h 5"/>
              <a:gd name="T18" fmla="*/ 1 w 4"/>
              <a:gd name="T19" fmla="*/ 2 h 5"/>
              <a:gd name="T20" fmla="*/ 3 w 4"/>
              <a:gd name="T21" fmla="*/ 0 h 5"/>
              <a:gd name="T22" fmla="*/ 4 w 4"/>
              <a:gd name="T23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" h="5">
                <a:moveTo>
                  <a:pt x="4" y="0"/>
                </a:moveTo>
                <a:lnTo>
                  <a:pt x="4" y="0"/>
                </a:lnTo>
                <a:lnTo>
                  <a:pt x="4" y="4"/>
                </a:lnTo>
                <a:lnTo>
                  <a:pt x="3" y="4"/>
                </a:lnTo>
                <a:lnTo>
                  <a:pt x="2" y="5"/>
                </a:lnTo>
                <a:lnTo>
                  <a:pt x="2" y="4"/>
                </a:lnTo>
                <a:lnTo>
                  <a:pt x="1" y="5"/>
                </a:lnTo>
                <a:lnTo>
                  <a:pt x="0" y="5"/>
                </a:lnTo>
                <a:lnTo>
                  <a:pt x="0" y="4"/>
                </a:lnTo>
                <a:lnTo>
                  <a:pt x="1" y="2"/>
                </a:lnTo>
                <a:lnTo>
                  <a:pt x="3" y="0"/>
                </a:lnTo>
                <a:lnTo>
                  <a:pt x="4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48" name="Freeform 1449"/>
          <p:cNvSpPr>
            <a:spLocks/>
          </p:cNvSpPr>
          <p:nvPr/>
        </p:nvSpPr>
        <p:spPr bwMode="auto">
          <a:xfrm>
            <a:off x="1550988" y="1963703"/>
            <a:ext cx="11112" cy="4763"/>
          </a:xfrm>
          <a:custGeom>
            <a:avLst/>
            <a:gdLst>
              <a:gd name="T0" fmla="*/ 6 w 7"/>
              <a:gd name="T1" fmla="*/ 1 h 3"/>
              <a:gd name="T2" fmla="*/ 7 w 7"/>
              <a:gd name="T3" fmla="*/ 1 h 3"/>
              <a:gd name="T4" fmla="*/ 5 w 7"/>
              <a:gd name="T5" fmla="*/ 2 h 3"/>
              <a:gd name="T6" fmla="*/ 2 w 7"/>
              <a:gd name="T7" fmla="*/ 3 h 3"/>
              <a:gd name="T8" fmla="*/ 2 w 7"/>
              <a:gd name="T9" fmla="*/ 2 h 3"/>
              <a:gd name="T10" fmla="*/ 0 w 7"/>
              <a:gd name="T11" fmla="*/ 2 h 3"/>
              <a:gd name="T12" fmla="*/ 0 w 7"/>
              <a:gd name="T13" fmla="*/ 1 h 3"/>
              <a:gd name="T14" fmla="*/ 2 w 7"/>
              <a:gd name="T15" fmla="*/ 0 h 3"/>
              <a:gd name="T16" fmla="*/ 4 w 7"/>
              <a:gd name="T17" fmla="*/ 0 h 3"/>
              <a:gd name="T18" fmla="*/ 5 w 7"/>
              <a:gd name="T19" fmla="*/ 0 h 3"/>
              <a:gd name="T20" fmla="*/ 6 w 7"/>
              <a:gd name="T21" fmla="*/ 0 h 3"/>
              <a:gd name="T22" fmla="*/ 6 w 7"/>
              <a:gd name="T23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7" h="3">
                <a:moveTo>
                  <a:pt x="6" y="1"/>
                </a:moveTo>
                <a:lnTo>
                  <a:pt x="7" y="1"/>
                </a:lnTo>
                <a:lnTo>
                  <a:pt x="5" y="2"/>
                </a:lnTo>
                <a:lnTo>
                  <a:pt x="2" y="3"/>
                </a:lnTo>
                <a:lnTo>
                  <a:pt x="2" y="2"/>
                </a:lnTo>
                <a:lnTo>
                  <a:pt x="0" y="2"/>
                </a:lnTo>
                <a:lnTo>
                  <a:pt x="0" y="1"/>
                </a:lnTo>
                <a:lnTo>
                  <a:pt x="2" y="0"/>
                </a:lnTo>
                <a:lnTo>
                  <a:pt x="4" y="0"/>
                </a:lnTo>
                <a:lnTo>
                  <a:pt x="5" y="0"/>
                </a:lnTo>
                <a:lnTo>
                  <a:pt x="6" y="0"/>
                </a:lnTo>
                <a:lnTo>
                  <a:pt x="6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49" name="Freeform 1450"/>
          <p:cNvSpPr>
            <a:spLocks/>
          </p:cNvSpPr>
          <p:nvPr/>
        </p:nvSpPr>
        <p:spPr bwMode="auto">
          <a:xfrm>
            <a:off x="1550988" y="1963703"/>
            <a:ext cx="11112" cy="4763"/>
          </a:xfrm>
          <a:custGeom>
            <a:avLst/>
            <a:gdLst>
              <a:gd name="T0" fmla="*/ 6 w 7"/>
              <a:gd name="T1" fmla="*/ 1 h 3"/>
              <a:gd name="T2" fmla="*/ 7 w 7"/>
              <a:gd name="T3" fmla="*/ 1 h 3"/>
              <a:gd name="T4" fmla="*/ 5 w 7"/>
              <a:gd name="T5" fmla="*/ 2 h 3"/>
              <a:gd name="T6" fmla="*/ 2 w 7"/>
              <a:gd name="T7" fmla="*/ 3 h 3"/>
              <a:gd name="T8" fmla="*/ 2 w 7"/>
              <a:gd name="T9" fmla="*/ 2 h 3"/>
              <a:gd name="T10" fmla="*/ 0 w 7"/>
              <a:gd name="T11" fmla="*/ 2 h 3"/>
              <a:gd name="T12" fmla="*/ 0 w 7"/>
              <a:gd name="T13" fmla="*/ 1 h 3"/>
              <a:gd name="T14" fmla="*/ 2 w 7"/>
              <a:gd name="T15" fmla="*/ 0 h 3"/>
              <a:gd name="T16" fmla="*/ 4 w 7"/>
              <a:gd name="T17" fmla="*/ 0 h 3"/>
              <a:gd name="T18" fmla="*/ 5 w 7"/>
              <a:gd name="T19" fmla="*/ 0 h 3"/>
              <a:gd name="T20" fmla="*/ 6 w 7"/>
              <a:gd name="T21" fmla="*/ 0 h 3"/>
              <a:gd name="T22" fmla="*/ 6 w 7"/>
              <a:gd name="T23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7" h="3">
                <a:moveTo>
                  <a:pt x="6" y="1"/>
                </a:moveTo>
                <a:lnTo>
                  <a:pt x="7" y="1"/>
                </a:lnTo>
                <a:lnTo>
                  <a:pt x="5" y="2"/>
                </a:lnTo>
                <a:lnTo>
                  <a:pt x="2" y="3"/>
                </a:lnTo>
                <a:lnTo>
                  <a:pt x="2" y="2"/>
                </a:lnTo>
                <a:lnTo>
                  <a:pt x="0" y="2"/>
                </a:lnTo>
                <a:lnTo>
                  <a:pt x="0" y="1"/>
                </a:lnTo>
                <a:lnTo>
                  <a:pt x="2" y="0"/>
                </a:lnTo>
                <a:lnTo>
                  <a:pt x="4" y="0"/>
                </a:lnTo>
                <a:lnTo>
                  <a:pt x="5" y="0"/>
                </a:lnTo>
                <a:lnTo>
                  <a:pt x="6" y="0"/>
                </a:lnTo>
                <a:lnTo>
                  <a:pt x="6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50" name="Freeform 1451"/>
          <p:cNvSpPr>
            <a:spLocks/>
          </p:cNvSpPr>
          <p:nvPr/>
        </p:nvSpPr>
        <p:spPr bwMode="auto">
          <a:xfrm>
            <a:off x="1566863" y="1963703"/>
            <a:ext cx="6350" cy="6350"/>
          </a:xfrm>
          <a:custGeom>
            <a:avLst/>
            <a:gdLst>
              <a:gd name="T0" fmla="*/ 2 w 4"/>
              <a:gd name="T1" fmla="*/ 2 h 4"/>
              <a:gd name="T2" fmla="*/ 4 w 4"/>
              <a:gd name="T3" fmla="*/ 3 h 4"/>
              <a:gd name="T4" fmla="*/ 1 w 4"/>
              <a:gd name="T5" fmla="*/ 4 h 4"/>
              <a:gd name="T6" fmla="*/ 1 w 4"/>
              <a:gd name="T7" fmla="*/ 4 h 4"/>
              <a:gd name="T8" fmla="*/ 1 w 4"/>
              <a:gd name="T9" fmla="*/ 4 h 4"/>
              <a:gd name="T10" fmla="*/ 0 w 4"/>
              <a:gd name="T11" fmla="*/ 3 h 4"/>
              <a:gd name="T12" fmla="*/ 0 w 4"/>
              <a:gd name="T13" fmla="*/ 2 h 4"/>
              <a:gd name="T14" fmla="*/ 1 w 4"/>
              <a:gd name="T15" fmla="*/ 0 h 4"/>
              <a:gd name="T16" fmla="*/ 1 w 4"/>
              <a:gd name="T17" fmla="*/ 1 h 4"/>
              <a:gd name="T18" fmla="*/ 2 w 4"/>
              <a:gd name="T19" fmla="*/ 2 h 4"/>
              <a:gd name="T20" fmla="*/ 2 w 4"/>
              <a:gd name="T21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" h="4">
                <a:moveTo>
                  <a:pt x="2" y="2"/>
                </a:moveTo>
                <a:lnTo>
                  <a:pt x="4" y="3"/>
                </a:lnTo>
                <a:lnTo>
                  <a:pt x="1" y="4"/>
                </a:lnTo>
                <a:lnTo>
                  <a:pt x="1" y="4"/>
                </a:lnTo>
                <a:lnTo>
                  <a:pt x="1" y="4"/>
                </a:lnTo>
                <a:lnTo>
                  <a:pt x="0" y="3"/>
                </a:lnTo>
                <a:lnTo>
                  <a:pt x="0" y="2"/>
                </a:lnTo>
                <a:lnTo>
                  <a:pt x="1" y="0"/>
                </a:lnTo>
                <a:lnTo>
                  <a:pt x="1" y="1"/>
                </a:lnTo>
                <a:lnTo>
                  <a:pt x="2" y="2"/>
                </a:lnTo>
                <a:lnTo>
                  <a:pt x="2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51" name="Freeform 1452"/>
          <p:cNvSpPr>
            <a:spLocks/>
          </p:cNvSpPr>
          <p:nvPr/>
        </p:nvSpPr>
        <p:spPr bwMode="auto">
          <a:xfrm>
            <a:off x="1566863" y="1963703"/>
            <a:ext cx="6350" cy="6350"/>
          </a:xfrm>
          <a:custGeom>
            <a:avLst/>
            <a:gdLst>
              <a:gd name="T0" fmla="*/ 2 w 4"/>
              <a:gd name="T1" fmla="*/ 2 h 4"/>
              <a:gd name="T2" fmla="*/ 4 w 4"/>
              <a:gd name="T3" fmla="*/ 3 h 4"/>
              <a:gd name="T4" fmla="*/ 1 w 4"/>
              <a:gd name="T5" fmla="*/ 4 h 4"/>
              <a:gd name="T6" fmla="*/ 1 w 4"/>
              <a:gd name="T7" fmla="*/ 4 h 4"/>
              <a:gd name="T8" fmla="*/ 1 w 4"/>
              <a:gd name="T9" fmla="*/ 4 h 4"/>
              <a:gd name="T10" fmla="*/ 0 w 4"/>
              <a:gd name="T11" fmla="*/ 3 h 4"/>
              <a:gd name="T12" fmla="*/ 0 w 4"/>
              <a:gd name="T13" fmla="*/ 2 h 4"/>
              <a:gd name="T14" fmla="*/ 1 w 4"/>
              <a:gd name="T15" fmla="*/ 0 h 4"/>
              <a:gd name="T16" fmla="*/ 1 w 4"/>
              <a:gd name="T17" fmla="*/ 1 h 4"/>
              <a:gd name="T18" fmla="*/ 2 w 4"/>
              <a:gd name="T19" fmla="*/ 2 h 4"/>
              <a:gd name="T20" fmla="*/ 2 w 4"/>
              <a:gd name="T21" fmla="*/ 2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" h="4">
                <a:moveTo>
                  <a:pt x="2" y="2"/>
                </a:moveTo>
                <a:lnTo>
                  <a:pt x="4" y="3"/>
                </a:lnTo>
                <a:lnTo>
                  <a:pt x="1" y="4"/>
                </a:lnTo>
                <a:lnTo>
                  <a:pt x="1" y="4"/>
                </a:lnTo>
                <a:lnTo>
                  <a:pt x="1" y="4"/>
                </a:lnTo>
                <a:lnTo>
                  <a:pt x="0" y="3"/>
                </a:lnTo>
                <a:lnTo>
                  <a:pt x="0" y="2"/>
                </a:lnTo>
                <a:lnTo>
                  <a:pt x="1" y="0"/>
                </a:lnTo>
                <a:lnTo>
                  <a:pt x="1" y="1"/>
                </a:lnTo>
                <a:lnTo>
                  <a:pt x="2" y="2"/>
                </a:lnTo>
                <a:lnTo>
                  <a:pt x="2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52" name="Freeform 1453"/>
          <p:cNvSpPr>
            <a:spLocks/>
          </p:cNvSpPr>
          <p:nvPr/>
        </p:nvSpPr>
        <p:spPr bwMode="auto">
          <a:xfrm>
            <a:off x="1517650" y="1914490"/>
            <a:ext cx="34925" cy="23813"/>
          </a:xfrm>
          <a:custGeom>
            <a:avLst/>
            <a:gdLst>
              <a:gd name="T0" fmla="*/ 21 w 22"/>
              <a:gd name="T1" fmla="*/ 4 h 15"/>
              <a:gd name="T2" fmla="*/ 22 w 22"/>
              <a:gd name="T3" fmla="*/ 3 h 15"/>
              <a:gd name="T4" fmla="*/ 22 w 22"/>
              <a:gd name="T5" fmla="*/ 4 h 15"/>
              <a:gd name="T6" fmla="*/ 20 w 22"/>
              <a:gd name="T7" fmla="*/ 6 h 15"/>
              <a:gd name="T8" fmla="*/ 18 w 22"/>
              <a:gd name="T9" fmla="*/ 5 h 15"/>
              <a:gd name="T10" fmla="*/ 18 w 22"/>
              <a:gd name="T11" fmla="*/ 6 h 15"/>
              <a:gd name="T12" fmla="*/ 17 w 22"/>
              <a:gd name="T13" fmla="*/ 9 h 15"/>
              <a:gd name="T14" fmla="*/ 16 w 22"/>
              <a:gd name="T15" fmla="*/ 9 h 15"/>
              <a:gd name="T16" fmla="*/ 13 w 22"/>
              <a:gd name="T17" fmla="*/ 6 h 15"/>
              <a:gd name="T18" fmla="*/ 11 w 22"/>
              <a:gd name="T19" fmla="*/ 6 h 15"/>
              <a:gd name="T20" fmla="*/ 10 w 22"/>
              <a:gd name="T21" fmla="*/ 7 h 15"/>
              <a:gd name="T22" fmla="*/ 12 w 22"/>
              <a:gd name="T23" fmla="*/ 9 h 15"/>
              <a:gd name="T24" fmla="*/ 13 w 22"/>
              <a:gd name="T25" fmla="*/ 9 h 15"/>
              <a:gd name="T26" fmla="*/ 16 w 22"/>
              <a:gd name="T27" fmla="*/ 9 h 15"/>
              <a:gd name="T28" fmla="*/ 17 w 22"/>
              <a:gd name="T29" fmla="*/ 10 h 15"/>
              <a:gd name="T30" fmla="*/ 15 w 22"/>
              <a:gd name="T31" fmla="*/ 13 h 15"/>
              <a:gd name="T32" fmla="*/ 13 w 22"/>
              <a:gd name="T33" fmla="*/ 13 h 15"/>
              <a:gd name="T34" fmla="*/ 13 w 22"/>
              <a:gd name="T35" fmla="*/ 14 h 15"/>
              <a:gd name="T36" fmla="*/ 10 w 22"/>
              <a:gd name="T37" fmla="*/ 13 h 15"/>
              <a:gd name="T38" fmla="*/ 8 w 22"/>
              <a:gd name="T39" fmla="*/ 10 h 15"/>
              <a:gd name="T40" fmla="*/ 9 w 22"/>
              <a:gd name="T41" fmla="*/ 9 h 15"/>
              <a:gd name="T42" fmla="*/ 8 w 22"/>
              <a:gd name="T43" fmla="*/ 9 h 15"/>
              <a:gd name="T44" fmla="*/ 6 w 22"/>
              <a:gd name="T45" fmla="*/ 11 h 15"/>
              <a:gd name="T46" fmla="*/ 6 w 22"/>
              <a:gd name="T47" fmla="*/ 12 h 15"/>
              <a:gd name="T48" fmla="*/ 5 w 22"/>
              <a:gd name="T49" fmla="*/ 13 h 15"/>
              <a:gd name="T50" fmla="*/ 4 w 22"/>
              <a:gd name="T51" fmla="*/ 15 h 15"/>
              <a:gd name="T52" fmla="*/ 1 w 22"/>
              <a:gd name="T53" fmla="*/ 15 h 15"/>
              <a:gd name="T54" fmla="*/ 0 w 22"/>
              <a:gd name="T55" fmla="*/ 14 h 15"/>
              <a:gd name="T56" fmla="*/ 0 w 22"/>
              <a:gd name="T57" fmla="*/ 14 h 15"/>
              <a:gd name="T58" fmla="*/ 0 w 22"/>
              <a:gd name="T59" fmla="*/ 13 h 15"/>
              <a:gd name="T60" fmla="*/ 1 w 22"/>
              <a:gd name="T61" fmla="*/ 13 h 15"/>
              <a:gd name="T62" fmla="*/ 1 w 22"/>
              <a:gd name="T63" fmla="*/ 12 h 15"/>
              <a:gd name="T64" fmla="*/ 1 w 22"/>
              <a:gd name="T65" fmla="*/ 11 h 15"/>
              <a:gd name="T66" fmla="*/ 2 w 22"/>
              <a:gd name="T67" fmla="*/ 10 h 15"/>
              <a:gd name="T68" fmla="*/ 2 w 22"/>
              <a:gd name="T69" fmla="*/ 10 h 15"/>
              <a:gd name="T70" fmla="*/ 1 w 22"/>
              <a:gd name="T71" fmla="*/ 9 h 15"/>
              <a:gd name="T72" fmla="*/ 1 w 22"/>
              <a:gd name="T73" fmla="*/ 7 h 15"/>
              <a:gd name="T74" fmla="*/ 1 w 22"/>
              <a:gd name="T75" fmla="*/ 6 h 15"/>
              <a:gd name="T76" fmla="*/ 4 w 22"/>
              <a:gd name="T77" fmla="*/ 5 h 15"/>
              <a:gd name="T78" fmla="*/ 4 w 22"/>
              <a:gd name="T79" fmla="*/ 6 h 15"/>
              <a:gd name="T80" fmla="*/ 5 w 22"/>
              <a:gd name="T81" fmla="*/ 5 h 15"/>
              <a:gd name="T82" fmla="*/ 5 w 22"/>
              <a:gd name="T83" fmla="*/ 3 h 15"/>
              <a:gd name="T84" fmla="*/ 6 w 22"/>
              <a:gd name="T85" fmla="*/ 2 h 15"/>
              <a:gd name="T86" fmla="*/ 7 w 22"/>
              <a:gd name="T87" fmla="*/ 1 h 15"/>
              <a:gd name="T88" fmla="*/ 7 w 22"/>
              <a:gd name="T89" fmla="*/ 3 h 15"/>
              <a:gd name="T90" fmla="*/ 8 w 22"/>
              <a:gd name="T91" fmla="*/ 2 h 15"/>
              <a:gd name="T92" fmla="*/ 9 w 22"/>
              <a:gd name="T93" fmla="*/ 1 h 15"/>
              <a:gd name="T94" fmla="*/ 11 w 22"/>
              <a:gd name="T95" fmla="*/ 1 h 15"/>
              <a:gd name="T96" fmla="*/ 15 w 22"/>
              <a:gd name="T97" fmla="*/ 0 h 15"/>
              <a:gd name="T98" fmla="*/ 17 w 22"/>
              <a:gd name="T99" fmla="*/ 2 h 15"/>
              <a:gd name="T100" fmla="*/ 16 w 22"/>
              <a:gd name="T101" fmla="*/ 3 h 15"/>
              <a:gd name="T102" fmla="*/ 17 w 22"/>
              <a:gd name="T103" fmla="*/ 3 h 15"/>
              <a:gd name="T104" fmla="*/ 18 w 22"/>
              <a:gd name="T105" fmla="*/ 3 h 15"/>
              <a:gd name="T106" fmla="*/ 20 w 22"/>
              <a:gd name="T107" fmla="*/ 3 h 15"/>
              <a:gd name="T108" fmla="*/ 21 w 22"/>
              <a:gd name="T109" fmla="*/ 4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2" h="15">
                <a:moveTo>
                  <a:pt x="21" y="4"/>
                </a:moveTo>
                <a:lnTo>
                  <a:pt x="22" y="3"/>
                </a:lnTo>
                <a:lnTo>
                  <a:pt x="22" y="4"/>
                </a:lnTo>
                <a:lnTo>
                  <a:pt x="20" y="6"/>
                </a:lnTo>
                <a:lnTo>
                  <a:pt x="18" y="5"/>
                </a:lnTo>
                <a:lnTo>
                  <a:pt x="18" y="6"/>
                </a:lnTo>
                <a:lnTo>
                  <a:pt x="17" y="9"/>
                </a:lnTo>
                <a:lnTo>
                  <a:pt x="16" y="9"/>
                </a:lnTo>
                <a:lnTo>
                  <a:pt x="13" y="6"/>
                </a:lnTo>
                <a:lnTo>
                  <a:pt x="11" y="6"/>
                </a:lnTo>
                <a:lnTo>
                  <a:pt x="10" y="7"/>
                </a:lnTo>
                <a:lnTo>
                  <a:pt x="12" y="9"/>
                </a:lnTo>
                <a:lnTo>
                  <a:pt x="13" y="9"/>
                </a:lnTo>
                <a:lnTo>
                  <a:pt x="16" y="9"/>
                </a:lnTo>
                <a:lnTo>
                  <a:pt x="17" y="10"/>
                </a:lnTo>
                <a:lnTo>
                  <a:pt x="15" y="13"/>
                </a:lnTo>
                <a:lnTo>
                  <a:pt x="13" y="13"/>
                </a:lnTo>
                <a:lnTo>
                  <a:pt x="13" y="14"/>
                </a:lnTo>
                <a:lnTo>
                  <a:pt x="10" y="13"/>
                </a:lnTo>
                <a:lnTo>
                  <a:pt x="8" y="10"/>
                </a:lnTo>
                <a:lnTo>
                  <a:pt x="9" y="9"/>
                </a:lnTo>
                <a:lnTo>
                  <a:pt x="8" y="9"/>
                </a:lnTo>
                <a:lnTo>
                  <a:pt x="6" y="11"/>
                </a:lnTo>
                <a:lnTo>
                  <a:pt x="6" y="12"/>
                </a:lnTo>
                <a:lnTo>
                  <a:pt x="5" y="13"/>
                </a:lnTo>
                <a:lnTo>
                  <a:pt x="4" y="15"/>
                </a:lnTo>
                <a:lnTo>
                  <a:pt x="1" y="15"/>
                </a:lnTo>
                <a:lnTo>
                  <a:pt x="0" y="14"/>
                </a:lnTo>
                <a:lnTo>
                  <a:pt x="0" y="14"/>
                </a:lnTo>
                <a:lnTo>
                  <a:pt x="0" y="13"/>
                </a:lnTo>
                <a:lnTo>
                  <a:pt x="1" y="13"/>
                </a:lnTo>
                <a:lnTo>
                  <a:pt x="1" y="12"/>
                </a:lnTo>
                <a:lnTo>
                  <a:pt x="1" y="11"/>
                </a:lnTo>
                <a:lnTo>
                  <a:pt x="2" y="10"/>
                </a:lnTo>
                <a:lnTo>
                  <a:pt x="2" y="10"/>
                </a:lnTo>
                <a:lnTo>
                  <a:pt x="1" y="9"/>
                </a:lnTo>
                <a:lnTo>
                  <a:pt x="1" y="7"/>
                </a:lnTo>
                <a:lnTo>
                  <a:pt x="1" y="6"/>
                </a:lnTo>
                <a:lnTo>
                  <a:pt x="4" y="5"/>
                </a:lnTo>
                <a:lnTo>
                  <a:pt x="4" y="6"/>
                </a:lnTo>
                <a:lnTo>
                  <a:pt x="5" y="5"/>
                </a:lnTo>
                <a:lnTo>
                  <a:pt x="5" y="3"/>
                </a:lnTo>
                <a:lnTo>
                  <a:pt x="6" y="2"/>
                </a:lnTo>
                <a:lnTo>
                  <a:pt x="7" y="1"/>
                </a:lnTo>
                <a:lnTo>
                  <a:pt x="7" y="3"/>
                </a:lnTo>
                <a:lnTo>
                  <a:pt x="8" y="2"/>
                </a:lnTo>
                <a:lnTo>
                  <a:pt x="9" y="1"/>
                </a:lnTo>
                <a:lnTo>
                  <a:pt x="11" y="1"/>
                </a:lnTo>
                <a:lnTo>
                  <a:pt x="15" y="0"/>
                </a:lnTo>
                <a:lnTo>
                  <a:pt x="17" y="2"/>
                </a:lnTo>
                <a:lnTo>
                  <a:pt x="16" y="3"/>
                </a:lnTo>
                <a:lnTo>
                  <a:pt x="17" y="3"/>
                </a:lnTo>
                <a:lnTo>
                  <a:pt x="18" y="3"/>
                </a:lnTo>
                <a:lnTo>
                  <a:pt x="20" y="3"/>
                </a:lnTo>
                <a:lnTo>
                  <a:pt x="21" y="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53" name="Freeform 1454"/>
          <p:cNvSpPr>
            <a:spLocks/>
          </p:cNvSpPr>
          <p:nvPr/>
        </p:nvSpPr>
        <p:spPr bwMode="auto">
          <a:xfrm>
            <a:off x="1517650" y="1914490"/>
            <a:ext cx="34925" cy="23813"/>
          </a:xfrm>
          <a:custGeom>
            <a:avLst/>
            <a:gdLst>
              <a:gd name="T0" fmla="*/ 21 w 22"/>
              <a:gd name="T1" fmla="*/ 4 h 15"/>
              <a:gd name="T2" fmla="*/ 22 w 22"/>
              <a:gd name="T3" fmla="*/ 3 h 15"/>
              <a:gd name="T4" fmla="*/ 22 w 22"/>
              <a:gd name="T5" fmla="*/ 4 h 15"/>
              <a:gd name="T6" fmla="*/ 20 w 22"/>
              <a:gd name="T7" fmla="*/ 6 h 15"/>
              <a:gd name="T8" fmla="*/ 18 w 22"/>
              <a:gd name="T9" fmla="*/ 5 h 15"/>
              <a:gd name="T10" fmla="*/ 18 w 22"/>
              <a:gd name="T11" fmla="*/ 6 h 15"/>
              <a:gd name="T12" fmla="*/ 17 w 22"/>
              <a:gd name="T13" fmla="*/ 9 h 15"/>
              <a:gd name="T14" fmla="*/ 16 w 22"/>
              <a:gd name="T15" fmla="*/ 9 h 15"/>
              <a:gd name="T16" fmla="*/ 13 w 22"/>
              <a:gd name="T17" fmla="*/ 6 h 15"/>
              <a:gd name="T18" fmla="*/ 11 w 22"/>
              <a:gd name="T19" fmla="*/ 6 h 15"/>
              <a:gd name="T20" fmla="*/ 10 w 22"/>
              <a:gd name="T21" fmla="*/ 7 h 15"/>
              <a:gd name="T22" fmla="*/ 12 w 22"/>
              <a:gd name="T23" fmla="*/ 9 h 15"/>
              <a:gd name="T24" fmla="*/ 13 w 22"/>
              <a:gd name="T25" fmla="*/ 9 h 15"/>
              <a:gd name="T26" fmla="*/ 16 w 22"/>
              <a:gd name="T27" fmla="*/ 9 h 15"/>
              <a:gd name="T28" fmla="*/ 17 w 22"/>
              <a:gd name="T29" fmla="*/ 10 h 15"/>
              <a:gd name="T30" fmla="*/ 15 w 22"/>
              <a:gd name="T31" fmla="*/ 13 h 15"/>
              <a:gd name="T32" fmla="*/ 13 w 22"/>
              <a:gd name="T33" fmla="*/ 13 h 15"/>
              <a:gd name="T34" fmla="*/ 13 w 22"/>
              <a:gd name="T35" fmla="*/ 14 h 15"/>
              <a:gd name="T36" fmla="*/ 10 w 22"/>
              <a:gd name="T37" fmla="*/ 13 h 15"/>
              <a:gd name="T38" fmla="*/ 8 w 22"/>
              <a:gd name="T39" fmla="*/ 10 h 15"/>
              <a:gd name="T40" fmla="*/ 9 w 22"/>
              <a:gd name="T41" fmla="*/ 9 h 15"/>
              <a:gd name="T42" fmla="*/ 8 w 22"/>
              <a:gd name="T43" fmla="*/ 9 h 15"/>
              <a:gd name="T44" fmla="*/ 6 w 22"/>
              <a:gd name="T45" fmla="*/ 11 h 15"/>
              <a:gd name="T46" fmla="*/ 6 w 22"/>
              <a:gd name="T47" fmla="*/ 12 h 15"/>
              <a:gd name="T48" fmla="*/ 5 w 22"/>
              <a:gd name="T49" fmla="*/ 13 h 15"/>
              <a:gd name="T50" fmla="*/ 4 w 22"/>
              <a:gd name="T51" fmla="*/ 15 h 15"/>
              <a:gd name="T52" fmla="*/ 1 w 22"/>
              <a:gd name="T53" fmla="*/ 15 h 15"/>
              <a:gd name="T54" fmla="*/ 0 w 22"/>
              <a:gd name="T55" fmla="*/ 14 h 15"/>
              <a:gd name="T56" fmla="*/ 0 w 22"/>
              <a:gd name="T57" fmla="*/ 14 h 15"/>
              <a:gd name="T58" fmla="*/ 0 w 22"/>
              <a:gd name="T59" fmla="*/ 13 h 15"/>
              <a:gd name="T60" fmla="*/ 1 w 22"/>
              <a:gd name="T61" fmla="*/ 13 h 15"/>
              <a:gd name="T62" fmla="*/ 1 w 22"/>
              <a:gd name="T63" fmla="*/ 12 h 15"/>
              <a:gd name="T64" fmla="*/ 1 w 22"/>
              <a:gd name="T65" fmla="*/ 11 h 15"/>
              <a:gd name="T66" fmla="*/ 2 w 22"/>
              <a:gd name="T67" fmla="*/ 10 h 15"/>
              <a:gd name="T68" fmla="*/ 2 w 22"/>
              <a:gd name="T69" fmla="*/ 10 h 15"/>
              <a:gd name="T70" fmla="*/ 1 w 22"/>
              <a:gd name="T71" fmla="*/ 9 h 15"/>
              <a:gd name="T72" fmla="*/ 1 w 22"/>
              <a:gd name="T73" fmla="*/ 7 h 15"/>
              <a:gd name="T74" fmla="*/ 1 w 22"/>
              <a:gd name="T75" fmla="*/ 6 h 15"/>
              <a:gd name="T76" fmla="*/ 4 w 22"/>
              <a:gd name="T77" fmla="*/ 5 h 15"/>
              <a:gd name="T78" fmla="*/ 4 w 22"/>
              <a:gd name="T79" fmla="*/ 6 h 15"/>
              <a:gd name="T80" fmla="*/ 5 w 22"/>
              <a:gd name="T81" fmla="*/ 5 h 15"/>
              <a:gd name="T82" fmla="*/ 5 w 22"/>
              <a:gd name="T83" fmla="*/ 3 h 15"/>
              <a:gd name="T84" fmla="*/ 6 w 22"/>
              <a:gd name="T85" fmla="*/ 2 h 15"/>
              <a:gd name="T86" fmla="*/ 7 w 22"/>
              <a:gd name="T87" fmla="*/ 1 h 15"/>
              <a:gd name="T88" fmla="*/ 7 w 22"/>
              <a:gd name="T89" fmla="*/ 3 h 15"/>
              <a:gd name="T90" fmla="*/ 8 w 22"/>
              <a:gd name="T91" fmla="*/ 2 h 15"/>
              <a:gd name="T92" fmla="*/ 9 w 22"/>
              <a:gd name="T93" fmla="*/ 1 h 15"/>
              <a:gd name="T94" fmla="*/ 11 w 22"/>
              <a:gd name="T95" fmla="*/ 1 h 15"/>
              <a:gd name="T96" fmla="*/ 15 w 22"/>
              <a:gd name="T97" fmla="*/ 0 h 15"/>
              <a:gd name="T98" fmla="*/ 17 w 22"/>
              <a:gd name="T99" fmla="*/ 2 h 15"/>
              <a:gd name="T100" fmla="*/ 16 w 22"/>
              <a:gd name="T101" fmla="*/ 3 h 15"/>
              <a:gd name="T102" fmla="*/ 17 w 22"/>
              <a:gd name="T103" fmla="*/ 3 h 15"/>
              <a:gd name="T104" fmla="*/ 18 w 22"/>
              <a:gd name="T105" fmla="*/ 3 h 15"/>
              <a:gd name="T106" fmla="*/ 20 w 22"/>
              <a:gd name="T107" fmla="*/ 3 h 15"/>
              <a:gd name="T108" fmla="*/ 21 w 22"/>
              <a:gd name="T109" fmla="*/ 4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2" h="15">
                <a:moveTo>
                  <a:pt x="21" y="4"/>
                </a:moveTo>
                <a:lnTo>
                  <a:pt x="22" y="3"/>
                </a:lnTo>
                <a:lnTo>
                  <a:pt x="22" y="4"/>
                </a:lnTo>
                <a:lnTo>
                  <a:pt x="20" y="6"/>
                </a:lnTo>
                <a:lnTo>
                  <a:pt x="18" y="5"/>
                </a:lnTo>
                <a:lnTo>
                  <a:pt x="18" y="6"/>
                </a:lnTo>
                <a:lnTo>
                  <a:pt x="17" y="9"/>
                </a:lnTo>
                <a:lnTo>
                  <a:pt x="16" y="9"/>
                </a:lnTo>
                <a:lnTo>
                  <a:pt x="13" y="6"/>
                </a:lnTo>
                <a:lnTo>
                  <a:pt x="11" y="6"/>
                </a:lnTo>
                <a:lnTo>
                  <a:pt x="10" y="7"/>
                </a:lnTo>
                <a:lnTo>
                  <a:pt x="12" y="9"/>
                </a:lnTo>
                <a:lnTo>
                  <a:pt x="13" y="9"/>
                </a:lnTo>
                <a:lnTo>
                  <a:pt x="16" y="9"/>
                </a:lnTo>
                <a:lnTo>
                  <a:pt x="17" y="10"/>
                </a:lnTo>
                <a:lnTo>
                  <a:pt x="15" y="13"/>
                </a:lnTo>
                <a:lnTo>
                  <a:pt x="13" y="13"/>
                </a:lnTo>
                <a:lnTo>
                  <a:pt x="13" y="14"/>
                </a:lnTo>
                <a:lnTo>
                  <a:pt x="10" y="13"/>
                </a:lnTo>
                <a:lnTo>
                  <a:pt x="8" y="10"/>
                </a:lnTo>
                <a:lnTo>
                  <a:pt x="9" y="9"/>
                </a:lnTo>
                <a:lnTo>
                  <a:pt x="8" y="9"/>
                </a:lnTo>
                <a:lnTo>
                  <a:pt x="6" y="11"/>
                </a:lnTo>
                <a:lnTo>
                  <a:pt x="6" y="12"/>
                </a:lnTo>
                <a:lnTo>
                  <a:pt x="5" y="13"/>
                </a:lnTo>
                <a:lnTo>
                  <a:pt x="4" y="15"/>
                </a:lnTo>
                <a:lnTo>
                  <a:pt x="1" y="15"/>
                </a:lnTo>
                <a:lnTo>
                  <a:pt x="0" y="14"/>
                </a:lnTo>
                <a:lnTo>
                  <a:pt x="0" y="14"/>
                </a:lnTo>
                <a:lnTo>
                  <a:pt x="0" y="13"/>
                </a:lnTo>
                <a:lnTo>
                  <a:pt x="1" y="13"/>
                </a:lnTo>
                <a:lnTo>
                  <a:pt x="1" y="12"/>
                </a:lnTo>
                <a:lnTo>
                  <a:pt x="1" y="11"/>
                </a:lnTo>
                <a:lnTo>
                  <a:pt x="2" y="10"/>
                </a:lnTo>
                <a:lnTo>
                  <a:pt x="2" y="10"/>
                </a:lnTo>
                <a:lnTo>
                  <a:pt x="1" y="9"/>
                </a:lnTo>
                <a:lnTo>
                  <a:pt x="1" y="7"/>
                </a:lnTo>
                <a:lnTo>
                  <a:pt x="1" y="6"/>
                </a:lnTo>
                <a:lnTo>
                  <a:pt x="4" y="5"/>
                </a:lnTo>
                <a:lnTo>
                  <a:pt x="4" y="6"/>
                </a:lnTo>
                <a:lnTo>
                  <a:pt x="5" y="5"/>
                </a:lnTo>
                <a:lnTo>
                  <a:pt x="5" y="3"/>
                </a:lnTo>
                <a:lnTo>
                  <a:pt x="6" y="2"/>
                </a:lnTo>
                <a:lnTo>
                  <a:pt x="7" y="1"/>
                </a:lnTo>
                <a:lnTo>
                  <a:pt x="7" y="3"/>
                </a:lnTo>
                <a:lnTo>
                  <a:pt x="8" y="2"/>
                </a:lnTo>
                <a:lnTo>
                  <a:pt x="9" y="1"/>
                </a:lnTo>
                <a:lnTo>
                  <a:pt x="11" y="1"/>
                </a:lnTo>
                <a:lnTo>
                  <a:pt x="15" y="0"/>
                </a:lnTo>
                <a:lnTo>
                  <a:pt x="17" y="2"/>
                </a:lnTo>
                <a:lnTo>
                  <a:pt x="16" y="3"/>
                </a:lnTo>
                <a:lnTo>
                  <a:pt x="17" y="3"/>
                </a:lnTo>
                <a:lnTo>
                  <a:pt x="18" y="3"/>
                </a:lnTo>
                <a:lnTo>
                  <a:pt x="20" y="3"/>
                </a:lnTo>
                <a:lnTo>
                  <a:pt x="21" y="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54" name="Freeform 1455"/>
          <p:cNvSpPr>
            <a:spLocks/>
          </p:cNvSpPr>
          <p:nvPr/>
        </p:nvSpPr>
        <p:spPr bwMode="auto">
          <a:xfrm>
            <a:off x="1525588" y="1966878"/>
            <a:ext cx="23812" cy="44450"/>
          </a:xfrm>
          <a:custGeom>
            <a:avLst/>
            <a:gdLst>
              <a:gd name="T0" fmla="*/ 15 w 15"/>
              <a:gd name="T1" fmla="*/ 7 h 28"/>
              <a:gd name="T2" fmla="*/ 15 w 15"/>
              <a:gd name="T3" fmla="*/ 9 h 28"/>
              <a:gd name="T4" fmla="*/ 13 w 15"/>
              <a:gd name="T5" fmla="*/ 11 h 28"/>
              <a:gd name="T6" fmla="*/ 14 w 15"/>
              <a:gd name="T7" fmla="*/ 11 h 28"/>
              <a:gd name="T8" fmla="*/ 15 w 15"/>
              <a:gd name="T9" fmla="*/ 13 h 28"/>
              <a:gd name="T10" fmla="*/ 12 w 15"/>
              <a:gd name="T11" fmla="*/ 12 h 28"/>
              <a:gd name="T12" fmla="*/ 12 w 15"/>
              <a:gd name="T13" fmla="*/ 16 h 28"/>
              <a:gd name="T14" fmla="*/ 11 w 15"/>
              <a:gd name="T15" fmla="*/ 17 h 28"/>
              <a:gd name="T16" fmla="*/ 13 w 15"/>
              <a:gd name="T17" fmla="*/ 17 h 28"/>
              <a:gd name="T18" fmla="*/ 12 w 15"/>
              <a:gd name="T19" fmla="*/ 18 h 28"/>
              <a:gd name="T20" fmla="*/ 13 w 15"/>
              <a:gd name="T21" fmla="*/ 19 h 28"/>
              <a:gd name="T22" fmla="*/ 12 w 15"/>
              <a:gd name="T23" fmla="*/ 21 h 28"/>
              <a:gd name="T24" fmla="*/ 10 w 15"/>
              <a:gd name="T25" fmla="*/ 22 h 28"/>
              <a:gd name="T26" fmla="*/ 10 w 15"/>
              <a:gd name="T27" fmla="*/ 23 h 28"/>
              <a:gd name="T28" fmla="*/ 8 w 15"/>
              <a:gd name="T29" fmla="*/ 24 h 28"/>
              <a:gd name="T30" fmla="*/ 7 w 15"/>
              <a:gd name="T31" fmla="*/ 26 h 28"/>
              <a:gd name="T32" fmla="*/ 6 w 15"/>
              <a:gd name="T33" fmla="*/ 27 h 28"/>
              <a:gd name="T34" fmla="*/ 5 w 15"/>
              <a:gd name="T35" fmla="*/ 24 h 28"/>
              <a:gd name="T36" fmla="*/ 4 w 15"/>
              <a:gd name="T37" fmla="*/ 23 h 28"/>
              <a:gd name="T38" fmla="*/ 4 w 15"/>
              <a:gd name="T39" fmla="*/ 22 h 28"/>
              <a:gd name="T40" fmla="*/ 4 w 15"/>
              <a:gd name="T41" fmla="*/ 19 h 28"/>
              <a:gd name="T42" fmla="*/ 2 w 15"/>
              <a:gd name="T43" fmla="*/ 18 h 28"/>
              <a:gd name="T44" fmla="*/ 0 w 15"/>
              <a:gd name="T45" fmla="*/ 17 h 28"/>
              <a:gd name="T46" fmla="*/ 4 w 15"/>
              <a:gd name="T47" fmla="*/ 13 h 28"/>
              <a:gd name="T48" fmla="*/ 6 w 15"/>
              <a:gd name="T49" fmla="*/ 12 h 28"/>
              <a:gd name="T50" fmla="*/ 4 w 15"/>
              <a:gd name="T51" fmla="*/ 12 h 28"/>
              <a:gd name="T52" fmla="*/ 2 w 15"/>
              <a:gd name="T53" fmla="*/ 11 h 28"/>
              <a:gd name="T54" fmla="*/ 6 w 15"/>
              <a:gd name="T55" fmla="*/ 9 h 28"/>
              <a:gd name="T56" fmla="*/ 8 w 15"/>
              <a:gd name="T57" fmla="*/ 6 h 28"/>
              <a:gd name="T58" fmla="*/ 11 w 15"/>
              <a:gd name="T59" fmla="*/ 3 h 28"/>
              <a:gd name="T60" fmla="*/ 6 w 15"/>
              <a:gd name="T61" fmla="*/ 6 h 28"/>
              <a:gd name="T62" fmla="*/ 1 w 15"/>
              <a:gd name="T63" fmla="*/ 7 h 28"/>
              <a:gd name="T64" fmla="*/ 5 w 15"/>
              <a:gd name="T65" fmla="*/ 4 h 28"/>
              <a:gd name="T66" fmla="*/ 7 w 15"/>
              <a:gd name="T67" fmla="*/ 1 h 28"/>
              <a:gd name="T68" fmla="*/ 8 w 15"/>
              <a:gd name="T69" fmla="*/ 0 h 28"/>
              <a:gd name="T70" fmla="*/ 11 w 15"/>
              <a:gd name="T71" fmla="*/ 1 h 28"/>
              <a:gd name="T72" fmla="*/ 14 w 15"/>
              <a:gd name="T73" fmla="*/ 0 h 28"/>
              <a:gd name="T74" fmla="*/ 13 w 15"/>
              <a:gd name="T75" fmla="*/ 2 h 28"/>
              <a:gd name="T76" fmla="*/ 12 w 15"/>
              <a:gd name="T77" fmla="*/ 4 h 28"/>
              <a:gd name="T78" fmla="*/ 15 w 15"/>
              <a:gd name="T79" fmla="*/ 6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5" h="28">
                <a:moveTo>
                  <a:pt x="15" y="6"/>
                </a:moveTo>
                <a:lnTo>
                  <a:pt x="15" y="7"/>
                </a:lnTo>
                <a:lnTo>
                  <a:pt x="15" y="9"/>
                </a:lnTo>
                <a:lnTo>
                  <a:pt x="15" y="9"/>
                </a:lnTo>
                <a:lnTo>
                  <a:pt x="14" y="11"/>
                </a:lnTo>
                <a:lnTo>
                  <a:pt x="13" y="11"/>
                </a:lnTo>
                <a:lnTo>
                  <a:pt x="13" y="11"/>
                </a:lnTo>
                <a:lnTo>
                  <a:pt x="14" y="11"/>
                </a:lnTo>
                <a:lnTo>
                  <a:pt x="14" y="11"/>
                </a:lnTo>
                <a:lnTo>
                  <a:pt x="15" y="13"/>
                </a:lnTo>
                <a:lnTo>
                  <a:pt x="14" y="14"/>
                </a:lnTo>
                <a:lnTo>
                  <a:pt x="12" y="12"/>
                </a:lnTo>
                <a:lnTo>
                  <a:pt x="11" y="14"/>
                </a:lnTo>
                <a:lnTo>
                  <a:pt x="12" y="16"/>
                </a:lnTo>
                <a:lnTo>
                  <a:pt x="11" y="16"/>
                </a:lnTo>
                <a:lnTo>
                  <a:pt x="11" y="17"/>
                </a:lnTo>
                <a:lnTo>
                  <a:pt x="12" y="16"/>
                </a:lnTo>
                <a:lnTo>
                  <a:pt x="13" y="17"/>
                </a:lnTo>
                <a:lnTo>
                  <a:pt x="12" y="18"/>
                </a:lnTo>
                <a:lnTo>
                  <a:pt x="12" y="18"/>
                </a:lnTo>
                <a:lnTo>
                  <a:pt x="11" y="19"/>
                </a:lnTo>
                <a:lnTo>
                  <a:pt x="13" y="19"/>
                </a:lnTo>
                <a:lnTo>
                  <a:pt x="13" y="19"/>
                </a:lnTo>
                <a:lnTo>
                  <a:pt x="12" y="21"/>
                </a:lnTo>
                <a:lnTo>
                  <a:pt x="11" y="21"/>
                </a:lnTo>
                <a:lnTo>
                  <a:pt x="10" y="22"/>
                </a:lnTo>
                <a:lnTo>
                  <a:pt x="7" y="23"/>
                </a:lnTo>
                <a:lnTo>
                  <a:pt x="10" y="23"/>
                </a:lnTo>
                <a:lnTo>
                  <a:pt x="10" y="23"/>
                </a:lnTo>
                <a:lnTo>
                  <a:pt x="8" y="24"/>
                </a:lnTo>
                <a:lnTo>
                  <a:pt x="8" y="24"/>
                </a:lnTo>
                <a:lnTo>
                  <a:pt x="7" y="26"/>
                </a:lnTo>
                <a:lnTo>
                  <a:pt x="6" y="28"/>
                </a:lnTo>
                <a:lnTo>
                  <a:pt x="6" y="27"/>
                </a:lnTo>
                <a:lnTo>
                  <a:pt x="3" y="28"/>
                </a:lnTo>
                <a:lnTo>
                  <a:pt x="5" y="24"/>
                </a:lnTo>
                <a:lnTo>
                  <a:pt x="5" y="22"/>
                </a:lnTo>
                <a:lnTo>
                  <a:pt x="4" y="23"/>
                </a:lnTo>
                <a:lnTo>
                  <a:pt x="3" y="23"/>
                </a:lnTo>
                <a:lnTo>
                  <a:pt x="4" y="22"/>
                </a:lnTo>
                <a:lnTo>
                  <a:pt x="5" y="21"/>
                </a:lnTo>
                <a:lnTo>
                  <a:pt x="4" y="19"/>
                </a:lnTo>
                <a:lnTo>
                  <a:pt x="3" y="18"/>
                </a:lnTo>
                <a:lnTo>
                  <a:pt x="2" y="18"/>
                </a:lnTo>
                <a:lnTo>
                  <a:pt x="2" y="18"/>
                </a:lnTo>
                <a:lnTo>
                  <a:pt x="0" y="17"/>
                </a:lnTo>
                <a:lnTo>
                  <a:pt x="3" y="16"/>
                </a:lnTo>
                <a:lnTo>
                  <a:pt x="4" y="13"/>
                </a:lnTo>
                <a:lnTo>
                  <a:pt x="6" y="13"/>
                </a:lnTo>
                <a:lnTo>
                  <a:pt x="6" y="12"/>
                </a:lnTo>
                <a:lnTo>
                  <a:pt x="6" y="12"/>
                </a:lnTo>
                <a:lnTo>
                  <a:pt x="4" y="12"/>
                </a:lnTo>
                <a:lnTo>
                  <a:pt x="2" y="12"/>
                </a:lnTo>
                <a:lnTo>
                  <a:pt x="2" y="11"/>
                </a:lnTo>
                <a:lnTo>
                  <a:pt x="4" y="10"/>
                </a:lnTo>
                <a:lnTo>
                  <a:pt x="6" y="9"/>
                </a:lnTo>
                <a:lnTo>
                  <a:pt x="7" y="8"/>
                </a:lnTo>
                <a:lnTo>
                  <a:pt x="8" y="6"/>
                </a:lnTo>
                <a:lnTo>
                  <a:pt x="11" y="3"/>
                </a:lnTo>
                <a:lnTo>
                  <a:pt x="11" y="3"/>
                </a:lnTo>
                <a:lnTo>
                  <a:pt x="8" y="4"/>
                </a:lnTo>
                <a:lnTo>
                  <a:pt x="6" y="6"/>
                </a:lnTo>
                <a:lnTo>
                  <a:pt x="3" y="7"/>
                </a:lnTo>
                <a:lnTo>
                  <a:pt x="1" y="7"/>
                </a:lnTo>
                <a:lnTo>
                  <a:pt x="3" y="6"/>
                </a:lnTo>
                <a:lnTo>
                  <a:pt x="5" y="4"/>
                </a:lnTo>
                <a:lnTo>
                  <a:pt x="8" y="2"/>
                </a:lnTo>
                <a:lnTo>
                  <a:pt x="7" y="1"/>
                </a:lnTo>
                <a:lnTo>
                  <a:pt x="7" y="0"/>
                </a:lnTo>
                <a:lnTo>
                  <a:pt x="8" y="0"/>
                </a:lnTo>
                <a:lnTo>
                  <a:pt x="11" y="0"/>
                </a:lnTo>
                <a:lnTo>
                  <a:pt x="11" y="1"/>
                </a:lnTo>
                <a:lnTo>
                  <a:pt x="13" y="0"/>
                </a:lnTo>
                <a:lnTo>
                  <a:pt x="14" y="0"/>
                </a:lnTo>
                <a:lnTo>
                  <a:pt x="15" y="1"/>
                </a:lnTo>
                <a:lnTo>
                  <a:pt x="13" y="2"/>
                </a:lnTo>
                <a:lnTo>
                  <a:pt x="12" y="3"/>
                </a:lnTo>
                <a:lnTo>
                  <a:pt x="12" y="4"/>
                </a:lnTo>
                <a:lnTo>
                  <a:pt x="14" y="4"/>
                </a:lnTo>
                <a:lnTo>
                  <a:pt x="15" y="6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55" name="Freeform 1456"/>
          <p:cNvSpPr>
            <a:spLocks/>
          </p:cNvSpPr>
          <p:nvPr/>
        </p:nvSpPr>
        <p:spPr bwMode="auto">
          <a:xfrm>
            <a:off x="1525588" y="1966878"/>
            <a:ext cx="23812" cy="44450"/>
          </a:xfrm>
          <a:custGeom>
            <a:avLst/>
            <a:gdLst>
              <a:gd name="T0" fmla="*/ 15 w 15"/>
              <a:gd name="T1" fmla="*/ 7 h 28"/>
              <a:gd name="T2" fmla="*/ 15 w 15"/>
              <a:gd name="T3" fmla="*/ 9 h 28"/>
              <a:gd name="T4" fmla="*/ 13 w 15"/>
              <a:gd name="T5" fmla="*/ 11 h 28"/>
              <a:gd name="T6" fmla="*/ 14 w 15"/>
              <a:gd name="T7" fmla="*/ 11 h 28"/>
              <a:gd name="T8" fmla="*/ 15 w 15"/>
              <a:gd name="T9" fmla="*/ 13 h 28"/>
              <a:gd name="T10" fmla="*/ 12 w 15"/>
              <a:gd name="T11" fmla="*/ 12 h 28"/>
              <a:gd name="T12" fmla="*/ 12 w 15"/>
              <a:gd name="T13" fmla="*/ 16 h 28"/>
              <a:gd name="T14" fmla="*/ 11 w 15"/>
              <a:gd name="T15" fmla="*/ 17 h 28"/>
              <a:gd name="T16" fmla="*/ 13 w 15"/>
              <a:gd name="T17" fmla="*/ 17 h 28"/>
              <a:gd name="T18" fmla="*/ 12 w 15"/>
              <a:gd name="T19" fmla="*/ 18 h 28"/>
              <a:gd name="T20" fmla="*/ 13 w 15"/>
              <a:gd name="T21" fmla="*/ 19 h 28"/>
              <a:gd name="T22" fmla="*/ 12 w 15"/>
              <a:gd name="T23" fmla="*/ 21 h 28"/>
              <a:gd name="T24" fmla="*/ 10 w 15"/>
              <a:gd name="T25" fmla="*/ 22 h 28"/>
              <a:gd name="T26" fmla="*/ 10 w 15"/>
              <a:gd name="T27" fmla="*/ 23 h 28"/>
              <a:gd name="T28" fmla="*/ 8 w 15"/>
              <a:gd name="T29" fmla="*/ 24 h 28"/>
              <a:gd name="T30" fmla="*/ 7 w 15"/>
              <a:gd name="T31" fmla="*/ 26 h 28"/>
              <a:gd name="T32" fmla="*/ 6 w 15"/>
              <a:gd name="T33" fmla="*/ 27 h 28"/>
              <a:gd name="T34" fmla="*/ 5 w 15"/>
              <a:gd name="T35" fmla="*/ 24 h 28"/>
              <a:gd name="T36" fmla="*/ 4 w 15"/>
              <a:gd name="T37" fmla="*/ 23 h 28"/>
              <a:gd name="T38" fmla="*/ 4 w 15"/>
              <a:gd name="T39" fmla="*/ 22 h 28"/>
              <a:gd name="T40" fmla="*/ 4 w 15"/>
              <a:gd name="T41" fmla="*/ 19 h 28"/>
              <a:gd name="T42" fmla="*/ 2 w 15"/>
              <a:gd name="T43" fmla="*/ 18 h 28"/>
              <a:gd name="T44" fmla="*/ 0 w 15"/>
              <a:gd name="T45" fmla="*/ 17 h 28"/>
              <a:gd name="T46" fmla="*/ 4 w 15"/>
              <a:gd name="T47" fmla="*/ 13 h 28"/>
              <a:gd name="T48" fmla="*/ 6 w 15"/>
              <a:gd name="T49" fmla="*/ 12 h 28"/>
              <a:gd name="T50" fmla="*/ 4 w 15"/>
              <a:gd name="T51" fmla="*/ 12 h 28"/>
              <a:gd name="T52" fmla="*/ 2 w 15"/>
              <a:gd name="T53" fmla="*/ 11 h 28"/>
              <a:gd name="T54" fmla="*/ 6 w 15"/>
              <a:gd name="T55" fmla="*/ 9 h 28"/>
              <a:gd name="T56" fmla="*/ 8 w 15"/>
              <a:gd name="T57" fmla="*/ 6 h 28"/>
              <a:gd name="T58" fmla="*/ 11 w 15"/>
              <a:gd name="T59" fmla="*/ 3 h 28"/>
              <a:gd name="T60" fmla="*/ 6 w 15"/>
              <a:gd name="T61" fmla="*/ 6 h 28"/>
              <a:gd name="T62" fmla="*/ 1 w 15"/>
              <a:gd name="T63" fmla="*/ 7 h 28"/>
              <a:gd name="T64" fmla="*/ 5 w 15"/>
              <a:gd name="T65" fmla="*/ 4 h 28"/>
              <a:gd name="T66" fmla="*/ 7 w 15"/>
              <a:gd name="T67" fmla="*/ 1 h 28"/>
              <a:gd name="T68" fmla="*/ 8 w 15"/>
              <a:gd name="T69" fmla="*/ 0 h 28"/>
              <a:gd name="T70" fmla="*/ 11 w 15"/>
              <a:gd name="T71" fmla="*/ 1 h 28"/>
              <a:gd name="T72" fmla="*/ 14 w 15"/>
              <a:gd name="T73" fmla="*/ 0 h 28"/>
              <a:gd name="T74" fmla="*/ 13 w 15"/>
              <a:gd name="T75" fmla="*/ 2 h 28"/>
              <a:gd name="T76" fmla="*/ 12 w 15"/>
              <a:gd name="T77" fmla="*/ 4 h 28"/>
              <a:gd name="T78" fmla="*/ 15 w 15"/>
              <a:gd name="T79" fmla="*/ 6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5" h="28">
                <a:moveTo>
                  <a:pt x="15" y="6"/>
                </a:moveTo>
                <a:lnTo>
                  <a:pt x="15" y="7"/>
                </a:lnTo>
                <a:lnTo>
                  <a:pt x="15" y="9"/>
                </a:lnTo>
                <a:lnTo>
                  <a:pt x="15" y="9"/>
                </a:lnTo>
                <a:lnTo>
                  <a:pt x="14" y="11"/>
                </a:lnTo>
                <a:lnTo>
                  <a:pt x="13" y="11"/>
                </a:lnTo>
                <a:lnTo>
                  <a:pt x="13" y="11"/>
                </a:lnTo>
                <a:lnTo>
                  <a:pt x="14" y="11"/>
                </a:lnTo>
                <a:lnTo>
                  <a:pt x="14" y="11"/>
                </a:lnTo>
                <a:lnTo>
                  <a:pt x="15" y="13"/>
                </a:lnTo>
                <a:lnTo>
                  <a:pt x="14" y="14"/>
                </a:lnTo>
                <a:lnTo>
                  <a:pt x="12" y="12"/>
                </a:lnTo>
                <a:lnTo>
                  <a:pt x="11" y="14"/>
                </a:lnTo>
                <a:lnTo>
                  <a:pt x="12" y="16"/>
                </a:lnTo>
                <a:lnTo>
                  <a:pt x="11" y="16"/>
                </a:lnTo>
                <a:lnTo>
                  <a:pt x="11" y="17"/>
                </a:lnTo>
                <a:lnTo>
                  <a:pt x="12" y="16"/>
                </a:lnTo>
                <a:lnTo>
                  <a:pt x="13" y="17"/>
                </a:lnTo>
                <a:lnTo>
                  <a:pt x="12" y="18"/>
                </a:lnTo>
                <a:lnTo>
                  <a:pt x="12" y="18"/>
                </a:lnTo>
                <a:lnTo>
                  <a:pt x="11" y="19"/>
                </a:lnTo>
                <a:lnTo>
                  <a:pt x="13" y="19"/>
                </a:lnTo>
                <a:lnTo>
                  <a:pt x="13" y="19"/>
                </a:lnTo>
                <a:lnTo>
                  <a:pt x="12" y="21"/>
                </a:lnTo>
                <a:lnTo>
                  <a:pt x="11" y="21"/>
                </a:lnTo>
                <a:lnTo>
                  <a:pt x="10" y="22"/>
                </a:lnTo>
                <a:lnTo>
                  <a:pt x="7" y="23"/>
                </a:lnTo>
                <a:lnTo>
                  <a:pt x="10" y="23"/>
                </a:lnTo>
                <a:lnTo>
                  <a:pt x="10" y="23"/>
                </a:lnTo>
                <a:lnTo>
                  <a:pt x="8" y="24"/>
                </a:lnTo>
                <a:lnTo>
                  <a:pt x="8" y="24"/>
                </a:lnTo>
                <a:lnTo>
                  <a:pt x="7" y="26"/>
                </a:lnTo>
                <a:lnTo>
                  <a:pt x="6" y="28"/>
                </a:lnTo>
                <a:lnTo>
                  <a:pt x="6" y="27"/>
                </a:lnTo>
                <a:lnTo>
                  <a:pt x="3" y="28"/>
                </a:lnTo>
                <a:lnTo>
                  <a:pt x="5" y="24"/>
                </a:lnTo>
                <a:lnTo>
                  <a:pt x="5" y="22"/>
                </a:lnTo>
                <a:lnTo>
                  <a:pt x="4" y="23"/>
                </a:lnTo>
                <a:lnTo>
                  <a:pt x="3" y="23"/>
                </a:lnTo>
                <a:lnTo>
                  <a:pt x="4" y="22"/>
                </a:lnTo>
                <a:lnTo>
                  <a:pt x="5" y="21"/>
                </a:lnTo>
                <a:lnTo>
                  <a:pt x="4" y="19"/>
                </a:lnTo>
                <a:lnTo>
                  <a:pt x="3" y="18"/>
                </a:lnTo>
                <a:lnTo>
                  <a:pt x="2" y="18"/>
                </a:lnTo>
                <a:lnTo>
                  <a:pt x="2" y="18"/>
                </a:lnTo>
                <a:lnTo>
                  <a:pt x="0" y="17"/>
                </a:lnTo>
                <a:lnTo>
                  <a:pt x="3" y="16"/>
                </a:lnTo>
                <a:lnTo>
                  <a:pt x="4" y="13"/>
                </a:lnTo>
                <a:lnTo>
                  <a:pt x="6" y="13"/>
                </a:lnTo>
                <a:lnTo>
                  <a:pt x="6" y="12"/>
                </a:lnTo>
                <a:lnTo>
                  <a:pt x="6" y="12"/>
                </a:lnTo>
                <a:lnTo>
                  <a:pt x="4" y="12"/>
                </a:lnTo>
                <a:lnTo>
                  <a:pt x="2" y="12"/>
                </a:lnTo>
                <a:lnTo>
                  <a:pt x="2" y="11"/>
                </a:lnTo>
                <a:lnTo>
                  <a:pt x="4" y="10"/>
                </a:lnTo>
                <a:lnTo>
                  <a:pt x="6" y="9"/>
                </a:lnTo>
                <a:lnTo>
                  <a:pt x="7" y="8"/>
                </a:lnTo>
                <a:lnTo>
                  <a:pt x="8" y="6"/>
                </a:lnTo>
                <a:lnTo>
                  <a:pt x="11" y="3"/>
                </a:lnTo>
                <a:lnTo>
                  <a:pt x="11" y="3"/>
                </a:lnTo>
                <a:lnTo>
                  <a:pt x="8" y="4"/>
                </a:lnTo>
                <a:lnTo>
                  <a:pt x="6" y="6"/>
                </a:lnTo>
                <a:lnTo>
                  <a:pt x="3" y="7"/>
                </a:lnTo>
                <a:lnTo>
                  <a:pt x="1" y="7"/>
                </a:lnTo>
                <a:lnTo>
                  <a:pt x="3" y="6"/>
                </a:lnTo>
                <a:lnTo>
                  <a:pt x="5" y="4"/>
                </a:lnTo>
                <a:lnTo>
                  <a:pt x="8" y="2"/>
                </a:lnTo>
                <a:lnTo>
                  <a:pt x="7" y="1"/>
                </a:lnTo>
                <a:lnTo>
                  <a:pt x="7" y="0"/>
                </a:lnTo>
                <a:lnTo>
                  <a:pt x="8" y="0"/>
                </a:lnTo>
                <a:lnTo>
                  <a:pt x="11" y="0"/>
                </a:lnTo>
                <a:lnTo>
                  <a:pt x="11" y="1"/>
                </a:lnTo>
                <a:lnTo>
                  <a:pt x="13" y="0"/>
                </a:lnTo>
                <a:lnTo>
                  <a:pt x="14" y="0"/>
                </a:lnTo>
                <a:lnTo>
                  <a:pt x="15" y="1"/>
                </a:lnTo>
                <a:lnTo>
                  <a:pt x="13" y="2"/>
                </a:lnTo>
                <a:lnTo>
                  <a:pt x="12" y="3"/>
                </a:lnTo>
                <a:lnTo>
                  <a:pt x="12" y="4"/>
                </a:lnTo>
                <a:lnTo>
                  <a:pt x="14" y="4"/>
                </a:lnTo>
                <a:lnTo>
                  <a:pt x="15" y="6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56" name="Freeform 1457"/>
          <p:cNvSpPr>
            <a:spLocks/>
          </p:cNvSpPr>
          <p:nvPr/>
        </p:nvSpPr>
        <p:spPr bwMode="auto">
          <a:xfrm>
            <a:off x="1557338" y="1977990"/>
            <a:ext cx="23812" cy="20638"/>
          </a:xfrm>
          <a:custGeom>
            <a:avLst/>
            <a:gdLst>
              <a:gd name="T0" fmla="*/ 3 w 15"/>
              <a:gd name="T1" fmla="*/ 11 h 13"/>
              <a:gd name="T2" fmla="*/ 3 w 15"/>
              <a:gd name="T3" fmla="*/ 11 h 13"/>
              <a:gd name="T4" fmla="*/ 4 w 15"/>
              <a:gd name="T5" fmla="*/ 10 h 13"/>
              <a:gd name="T6" fmla="*/ 5 w 15"/>
              <a:gd name="T7" fmla="*/ 10 h 13"/>
              <a:gd name="T8" fmla="*/ 5 w 15"/>
              <a:gd name="T9" fmla="*/ 10 h 13"/>
              <a:gd name="T10" fmla="*/ 4 w 15"/>
              <a:gd name="T11" fmla="*/ 12 h 13"/>
              <a:gd name="T12" fmla="*/ 4 w 15"/>
              <a:gd name="T13" fmla="*/ 12 h 13"/>
              <a:gd name="T14" fmla="*/ 5 w 15"/>
              <a:gd name="T15" fmla="*/ 13 h 13"/>
              <a:gd name="T16" fmla="*/ 6 w 15"/>
              <a:gd name="T17" fmla="*/ 13 h 13"/>
              <a:gd name="T18" fmla="*/ 7 w 15"/>
              <a:gd name="T19" fmla="*/ 13 h 13"/>
              <a:gd name="T20" fmla="*/ 7 w 15"/>
              <a:gd name="T21" fmla="*/ 12 h 13"/>
              <a:gd name="T22" fmla="*/ 8 w 15"/>
              <a:gd name="T23" fmla="*/ 11 h 13"/>
              <a:gd name="T24" fmla="*/ 10 w 15"/>
              <a:gd name="T25" fmla="*/ 10 h 13"/>
              <a:gd name="T26" fmla="*/ 13 w 15"/>
              <a:gd name="T27" fmla="*/ 5 h 13"/>
              <a:gd name="T28" fmla="*/ 15 w 15"/>
              <a:gd name="T29" fmla="*/ 2 h 13"/>
              <a:gd name="T30" fmla="*/ 15 w 15"/>
              <a:gd name="T31" fmla="*/ 0 h 13"/>
              <a:gd name="T32" fmla="*/ 14 w 15"/>
              <a:gd name="T33" fmla="*/ 0 h 13"/>
              <a:gd name="T34" fmla="*/ 12 w 15"/>
              <a:gd name="T35" fmla="*/ 0 h 13"/>
              <a:gd name="T36" fmla="*/ 11 w 15"/>
              <a:gd name="T37" fmla="*/ 1 h 13"/>
              <a:gd name="T38" fmla="*/ 10 w 15"/>
              <a:gd name="T39" fmla="*/ 1 h 13"/>
              <a:gd name="T40" fmla="*/ 7 w 15"/>
              <a:gd name="T41" fmla="*/ 2 h 13"/>
              <a:gd name="T42" fmla="*/ 7 w 15"/>
              <a:gd name="T43" fmla="*/ 3 h 13"/>
              <a:gd name="T44" fmla="*/ 6 w 15"/>
              <a:gd name="T45" fmla="*/ 3 h 13"/>
              <a:gd name="T46" fmla="*/ 5 w 15"/>
              <a:gd name="T47" fmla="*/ 3 h 13"/>
              <a:gd name="T48" fmla="*/ 5 w 15"/>
              <a:gd name="T49" fmla="*/ 4 h 13"/>
              <a:gd name="T50" fmla="*/ 3 w 15"/>
              <a:gd name="T51" fmla="*/ 6 h 13"/>
              <a:gd name="T52" fmla="*/ 3 w 15"/>
              <a:gd name="T53" fmla="*/ 6 h 13"/>
              <a:gd name="T54" fmla="*/ 2 w 15"/>
              <a:gd name="T55" fmla="*/ 7 h 13"/>
              <a:gd name="T56" fmla="*/ 0 w 15"/>
              <a:gd name="T57" fmla="*/ 9 h 13"/>
              <a:gd name="T58" fmla="*/ 0 w 15"/>
              <a:gd name="T59" fmla="*/ 10 h 13"/>
              <a:gd name="T60" fmla="*/ 1 w 15"/>
              <a:gd name="T61" fmla="*/ 10 h 13"/>
              <a:gd name="T62" fmla="*/ 2 w 15"/>
              <a:gd name="T63" fmla="*/ 10 h 13"/>
              <a:gd name="T64" fmla="*/ 4 w 15"/>
              <a:gd name="T65" fmla="*/ 7 h 13"/>
              <a:gd name="T66" fmla="*/ 4 w 15"/>
              <a:gd name="T67" fmla="*/ 9 h 13"/>
              <a:gd name="T68" fmla="*/ 5 w 15"/>
              <a:gd name="T69" fmla="*/ 9 h 13"/>
              <a:gd name="T70" fmla="*/ 7 w 15"/>
              <a:gd name="T71" fmla="*/ 6 h 13"/>
              <a:gd name="T72" fmla="*/ 8 w 15"/>
              <a:gd name="T73" fmla="*/ 5 h 13"/>
              <a:gd name="T74" fmla="*/ 7 w 15"/>
              <a:gd name="T75" fmla="*/ 7 h 13"/>
              <a:gd name="T76" fmla="*/ 6 w 15"/>
              <a:gd name="T77" fmla="*/ 9 h 13"/>
              <a:gd name="T78" fmla="*/ 5 w 15"/>
              <a:gd name="T79" fmla="*/ 10 h 13"/>
              <a:gd name="T80" fmla="*/ 3 w 15"/>
              <a:gd name="T81" fmla="*/ 1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5" h="13">
                <a:moveTo>
                  <a:pt x="3" y="11"/>
                </a:moveTo>
                <a:lnTo>
                  <a:pt x="3" y="11"/>
                </a:lnTo>
                <a:lnTo>
                  <a:pt x="4" y="10"/>
                </a:lnTo>
                <a:lnTo>
                  <a:pt x="5" y="10"/>
                </a:lnTo>
                <a:lnTo>
                  <a:pt x="5" y="10"/>
                </a:lnTo>
                <a:lnTo>
                  <a:pt x="4" y="12"/>
                </a:lnTo>
                <a:lnTo>
                  <a:pt x="4" y="12"/>
                </a:lnTo>
                <a:lnTo>
                  <a:pt x="5" y="13"/>
                </a:lnTo>
                <a:lnTo>
                  <a:pt x="6" y="13"/>
                </a:lnTo>
                <a:lnTo>
                  <a:pt x="7" y="13"/>
                </a:lnTo>
                <a:lnTo>
                  <a:pt x="7" y="12"/>
                </a:lnTo>
                <a:lnTo>
                  <a:pt x="8" y="11"/>
                </a:lnTo>
                <a:lnTo>
                  <a:pt x="10" y="10"/>
                </a:lnTo>
                <a:lnTo>
                  <a:pt x="13" y="5"/>
                </a:lnTo>
                <a:lnTo>
                  <a:pt x="15" y="2"/>
                </a:lnTo>
                <a:lnTo>
                  <a:pt x="15" y="0"/>
                </a:lnTo>
                <a:lnTo>
                  <a:pt x="14" y="0"/>
                </a:lnTo>
                <a:lnTo>
                  <a:pt x="12" y="0"/>
                </a:lnTo>
                <a:lnTo>
                  <a:pt x="11" y="1"/>
                </a:lnTo>
                <a:lnTo>
                  <a:pt x="10" y="1"/>
                </a:lnTo>
                <a:lnTo>
                  <a:pt x="7" y="2"/>
                </a:lnTo>
                <a:lnTo>
                  <a:pt x="7" y="3"/>
                </a:lnTo>
                <a:lnTo>
                  <a:pt x="6" y="3"/>
                </a:lnTo>
                <a:lnTo>
                  <a:pt x="5" y="3"/>
                </a:lnTo>
                <a:lnTo>
                  <a:pt x="5" y="4"/>
                </a:lnTo>
                <a:lnTo>
                  <a:pt x="3" y="6"/>
                </a:lnTo>
                <a:lnTo>
                  <a:pt x="3" y="6"/>
                </a:lnTo>
                <a:lnTo>
                  <a:pt x="2" y="7"/>
                </a:lnTo>
                <a:lnTo>
                  <a:pt x="0" y="9"/>
                </a:lnTo>
                <a:lnTo>
                  <a:pt x="0" y="10"/>
                </a:lnTo>
                <a:lnTo>
                  <a:pt x="1" y="10"/>
                </a:lnTo>
                <a:lnTo>
                  <a:pt x="2" y="10"/>
                </a:lnTo>
                <a:lnTo>
                  <a:pt x="4" y="7"/>
                </a:lnTo>
                <a:lnTo>
                  <a:pt x="4" y="9"/>
                </a:lnTo>
                <a:lnTo>
                  <a:pt x="5" y="9"/>
                </a:lnTo>
                <a:lnTo>
                  <a:pt x="7" y="6"/>
                </a:lnTo>
                <a:lnTo>
                  <a:pt x="8" y="5"/>
                </a:lnTo>
                <a:lnTo>
                  <a:pt x="7" y="7"/>
                </a:lnTo>
                <a:lnTo>
                  <a:pt x="6" y="9"/>
                </a:lnTo>
                <a:lnTo>
                  <a:pt x="5" y="10"/>
                </a:lnTo>
                <a:lnTo>
                  <a:pt x="3" y="1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57" name="Freeform 1458"/>
          <p:cNvSpPr>
            <a:spLocks/>
          </p:cNvSpPr>
          <p:nvPr/>
        </p:nvSpPr>
        <p:spPr bwMode="auto">
          <a:xfrm>
            <a:off x="1557338" y="1977990"/>
            <a:ext cx="23812" cy="20638"/>
          </a:xfrm>
          <a:custGeom>
            <a:avLst/>
            <a:gdLst>
              <a:gd name="T0" fmla="*/ 3 w 15"/>
              <a:gd name="T1" fmla="*/ 11 h 13"/>
              <a:gd name="T2" fmla="*/ 3 w 15"/>
              <a:gd name="T3" fmla="*/ 11 h 13"/>
              <a:gd name="T4" fmla="*/ 4 w 15"/>
              <a:gd name="T5" fmla="*/ 10 h 13"/>
              <a:gd name="T6" fmla="*/ 5 w 15"/>
              <a:gd name="T7" fmla="*/ 10 h 13"/>
              <a:gd name="T8" fmla="*/ 5 w 15"/>
              <a:gd name="T9" fmla="*/ 10 h 13"/>
              <a:gd name="T10" fmla="*/ 4 w 15"/>
              <a:gd name="T11" fmla="*/ 12 h 13"/>
              <a:gd name="T12" fmla="*/ 4 w 15"/>
              <a:gd name="T13" fmla="*/ 12 h 13"/>
              <a:gd name="T14" fmla="*/ 5 w 15"/>
              <a:gd name="T15" fmla="*/ 13 h 13"/>
              <a:gd name="T16" fmla="*/ 6 w 15"/>
              <a:gd name="T17" fmla="*/ 13 h 13"/>
              <a:gd name="T18" fmla="*/ 7 w 15"/>
              <a:gd name="T19" fmla="*/ 13 h 13"/>
              <a:gd name="T20" fmla="*/ 7 w 15"/>
              <a:gd name="T21" fmla="*/ 12 h 13"/>
              <a:gd name="T22" fmla="*/ 8 w 15"/>
              <a:gd name="T23" fmla="*/ 11 h 13"/>
              <a:gd name="T24" fmla="*/ 10 w 15"/>
              <a:gd name="T25" fmla="*/ 10 h 13"/>
              <a:gd name="T26" fmla="*/ 13 w 15"/>
              <a:gd name="T27" fmla="*/ 5 h 13"/>
              <a:gd name="T28" fmla="*/ 15 w 15"/>
              <a:gd name="T29" fmla="*/ 2 h 13"/>
              <a:gd name="T30" fmla="*/ 15 w 15"/>
              <a:gd name="T31" fmla="*/ 0 h 13"/>
              <a:gd name="T32" fmla="*/ 14 w 15"/>
              <a:gd name="T33" fmla="*/ 0 h 13"/>
              <a:gd name="T34" fmla="*/ 12 w 15"/>
              <a:gd name="T35" fmla="*/ 0 h 13"/>
              <a:gd name="T36" fmla="*/ 11 w 15"/>
              <a:gd name="T37" fmla="*/ 1 h 13"/>
              <a:gd name="T38" fmla="*/ 10 w 15"/>
              <a:gd name="T39" fmla="*/ 1 h 13"/>
              <a:gd name="T40" fmla="*/ 7 w 15"/>
              <a:gd name="T41" fmla="*/ 2 h 13"/>
              <a:gd name="T42" fmla="*/ 7 w 15"/>
              <a:gd name="T43" fmla="*/ 3 h 13"/>
              <a:gd name="T44" fmla="*/ 6 w 15"/>
              <a:gd name="T45" fmla="*/ 3 h 13"/>
              <a:gd name="T46" fmla="*/ 5 w 15"/>
              <a:gd name="T47" fmla="*/ 3 h 13"/>
              <a:gd name="T48" fmla="*/ 5 w 15"/>
              <a:gd name="T49" fmla="*/ 4 h 13"/>
              <a:gd name="T50" fmla="*/ 3 w 15"/>
              <a:gd name="T51" fmla="*/ 6 h 13"/>
              <a:gd name="T52" fmla="*/ 3 w 15"/>
              <a:gd name="T53" fmla="*/ 6 h 13"/>
              <a:gd name="T54" fmla="*/ 2 w 15"/>
              <a:gd name="T55" fmla="*/ 7 h 13"/>
              <a:gd name="T56" fmla="*/ 0 w 15"/>
              <a:gd name="T57" fmla="*/ 9 h 13"/>
              <a:gd name="T58" fmla="*/ 0 w 15"/>
              <a:gd name="T59" fmla="*/ 10 h 13"/>
              <a:gd name="T60" fmla="*/ 1 w 15"/>
              <a:gd name="T61" fmla="*/ 10 h 13"/>
              <a:gd name="T62" fmla="*/ 2 w 15"/>
              <a:gd name="T63" fmla="*/ 10 h 13"/>
              <a:gd name="T64" fmla="*/ 4 w 15"/>
              <a:gd name="T65" fmla="*/ 7 h 13"/>
              <a:gd name="T66" fmla="*/ 4 w 15"/>
              <a:gd name="T67" fmla="*/ 9 h 13"/>
              <a:gd name="T68" fmla="*/ 5 w 15"/>
              <a:gd name="T69" fmla="*/ 9 h 13"/>
              <a:gd name="T70" fmla="*/ 7 w 15"/>
              <a:gd name="T71" fmla="*/ 6 h 13"/>
              <a:gd name="T72" fmla="*/ 8 w 15"/>
              <a:gd name="T73" fmla="*/ 5 h 13"/>
              <a:gd name="T74" fmla="*/ 7 w 15"/>
              <a:gd name="T75" fmla="*/ 7 h 13"/>
              <a:gd name="T76" fmla="*/ 6 w 15"/>
              <a:gd name="T77" fmla="*/ 9 h 13"/>
              <a:gd name="T78" fmla="*/ 5 w 15"/>
              <a:gd name="T79" fmla="*/ 10 h 13"/>
              <a:gd name="T80" fmla="*/ 3 w 15"/>
              <a:gd name="T81" fmla="*/ 11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5" h="13">
                <a:moveTo>
                  <a:pt x="3" y="11"/>
                </a:moveTo>
                <a:lnTo>
                  <a:pt x="3" y="11"/>
                </a:lnTo>
                <a:lnTo>
                  <a:pt x="4" y="10"/>
                </a:lnTo>
                <a:lnTo>
                  <a:pt x="5" y="10"/>
                </a:lnTo>
                <a:lnTo>
                  <a:pt x="5" y="10"/>
                </a:lnTo>
                <a:lnTo>
                  <a:pt x="4" y="12"/>
                </a:lnTo>
                <a:lnTo>
                  <a:pt x="4" y="12"/>
                </a:lnTo>
                <a:lnTo>
                  <a:pt x="5" y="13"/>
                </a:lnTo>
                <a:lnTo>
                  <a:pt x="6" y="13"/>
                </a:lnTo>
                <a:lnTo>
                  <a:pt x="7" y="13"/>
                </a:lnTo>
                <a:lnTo>
                  <a:pt x="7" y="12"/>
                </a:lnTo>
                <a:lnTo>
                  <a:pt x="8" y="11"/>
                </a:lnTo>
                <a:lnTo>
                  <a:pt x="10" y="10"/>
                </a:lnTo>
                <a:lnTo>
                  <a:pt x="13" y="5"/>
                </a:lnTo>
                <a:lnTo>
                  <a:pt x="15" y="2"/>
                </a:lnTo>
                <a:lnTo>
                  <a:pt x="15" y="0"/>
                </a:lnTo>
                <a:lnTo>
                  <a:pt x="14" y="0"/>
                </a:lnTo>
                <a:lnTo>
                  <a:pt x="12" y="0"/>
                </a:lnTo>
                <a:lnTo>
                  <a:pt x="11" y="1"/>
                </a:lnTo>
                <a:lnTo>
                  <a:pt x="10" y="1"/>
                </a:lnTo>
                <a:lnTo>
                  <a:pt x="7" y="2"/>
                </a:lnTo>
                <a:lnTo>
                  <a:pt x="7" y="3"/>
                </a:lnTo>
                <a:lnTo>
                  <a:pt x="6" y="3"/>
                </a:lnTo>
                <a:lnTo>
                  <a:pt x="5" y="3"/>
                </a:lnTo>
                <a:lnTo>
                  <a:pt x="5" y="4"/>
                </a:lnTo>
                <a:lnTo>
                  <a:pt x="3" y="6"/>
                </a:lnTo>
                <a:lnTo>
                  <a:pt x="3" y="6"/>
                </a:lnTo>
                <a:lnTo>
                  <a:pt x="2" y="7"/>
                </a:lnTo>
                <a:lnTo>
                  <a:pt x="0" y="9"/>
                </a:lnTo>
                <a:lnTo>
                  <a:pt x="0" y="10"/>
                </a:lnTo>
                <a:lnTo>
                  <a:pt x="1" y="10"/>
                </a:lnTo>
                <a:lnTo>
                  <a:pt x="2" y="10"/>
                </a:lnTo>
                <a:lnTo>
                  <a:pt x="4" y="7"/>
                </a:lnTo>
                <a:lnTo>
                  <a:pt x="4" y="9"/>
                </a:lnTo>
                <a:lnTo>
                  <a:pt x="5" y="9"/>
                </a:lnTo>
                <a:lnTo>
                  <a:pt x="7" y="6"/>
                </a:lnTo>
                <a:lnTo>
                  <a:pt x="8" y="5"/>
                </a:lnTo>
                <a:lnTo>
                  <a:pt x="7" y="7"/>
                </a:lnTo>
                <a:lnTo>
                  <a:pt x="6" y="9"/>
                </a:lnTo>
                <a:lnTo>
                  <a:pt x="5" y="10"/>
                </a:lnTo>
                <a:lnTo>
                  <a:pt x="3" y="1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58" name="Freeform 1459"/>
          <p:cNvSpPr>
            <a:spLocks/>
          </p:cNvSpPr>
          <p:nvPr/>
        </p:nvSpPr>
        <p:spPr bwMode="auto">
          <a:xfrm>
            <a:off x="1516063" y="1997040"/>
            <a:ext cx="7937" cy="14288"/>
          </a:xfrm>
          <a:custGeom>
            <a:avLst/>
            <a:gdLst>
              <a:gd name="T0" fmla="*/ 2 w 5"/>
              <a:gd name="T1" fmla="*/ 3 h 9"/>
              <a:gd name="T2" fmla="*/ 3 w 5"/>
              <a:gd name="T3" fmla="*/ 3 h 9"/>
              <a:gd name="T4" fmla="*/ 2 w 5"/>
              <a:gd name="T5" fmla="*/ 8 h 9"/>
              <a:gd name="T6" fmla="*/ 1 w 5"/>
              <a:gd name="T7" fmla="*/ 9 h 9"/>
              <a:gd name="T8" fmla="*/ 0 w 5"/>
              <a:gd name="T9" fmla="*/ 8 h 9"/>
              <a:gd name="T10" fmla="*/ 1 w 5"/>
              <a:gd name="T11" fmla="*/ 5 h 9"/>
              <a:gd name="T12" fmla="*/ 0 w 5"/>
              <a:gd name="T13" fmla="*/ 3 h 9"/>
              <a:gd name="T14" fmla="*/ 1 w 5"/>
              <a:gd name="T15" fmla="*/ 2 h 9"/>
              <a:gd name="T16" fmla="*/ 1 w 5"/>
              <a:gd name="T17" fmla="*/ 2 h 9"/>
              <a:gd name="T18" fmla="*/ 2 w 5"/>
              <a:gd name="T19" fmla="*/ 0 h 9"/>
              <a:gd name="T20" fmla="*/ 3 w 5"/>
              <a:gd name="T21" fmla="*/ 0 h 9"/>
              <a:gd name="T22" fmla="*/ 5 w 5"/>
              <a:gd name="T23" fmla="*/ 1 h 9"/>
              <a:gd name="T24" fmla="*/ 5 w 5"/>
              <a:gd name="T25" fmla="*/ 2 h 9"/>
              <a:gd name="T26" fmla="*/ 2 w 5"/>
              <a:gd name="T27" fmla="*/ 3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" h="9">
                <a:moveTo>
                  <a:pt x="2" y="3"/>
                </a:moveTo>
                <a:lnTo>
                  <a:pt x="3" y="3"/>
                </a:lnTo>
                <a:lnTo>
                  <a:pt x="2" y="8"/>
                </a:lnTo>
                <a:lnTo>
                  <a:pt x="1" y="9"/>
                </a:lnTo>
                <a:lnTo>
                  <a:pt x="0" y="8"/>
                </a:lnTo>
                <a:lnTo>
                  <a:pt x="1" y="5"/>
                </a:lnTo>
                <a:lnTo>
                  <a:pt x="0" y="3"/>
                </a:lnTo>
                <a:lnTo>
                  <a:pt x="1" y="2"/>
                </a:lnTo>
                <a:lnTo>
                  <a:pt x="1" y="2"/>
                </a:lnTo>
                <a:lnTo>
                  <a:pt x="2" y="0"/>
                </a:lnTo>
                <a:lnTo>
                  <a:pt x="3" y="0"/>
                </a:lnTo>
                <a:lnTo>
                  <a:pt x="5" y="1"/>
                </a:lnTo>
                <a:lnTo>
                  <a:pt x="5" y="2"/>
                </a:lnTo>
                <a:lnTo>
                  <a:pt x="2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59" name="Freeform 1460"/>
          <p:cNvSpPr>
            <a:spLocks/>
          </p:cNvSpPr>
          <p:nvPr/>
        </p:nvSpPr>
        <p:spPr bwMode="auto">
          <a:xfrm>
            <a:off x="1516063" y="1997040"/>
            <a:ext cx="7937" cy="14288"/>
          </a:xfrm>
          <a:custGeom>
            <a:avLst/>
            <a:gdLst>
              <a:gd name="T0" fmla="*/ 2 w 5"/>
              <a:gd name="T1" fmla="*/ 3 h 9"/>
              <a:gd name="T2" fmla="*/ 3 w 5"/>
              <a:gd name="T3" fmla="*/ 3 h 9"/>
              <a:gd name="T4" fmla="*/ 2 w 5"/>
              <a:gd name="T5" fmla="*/ 8 h 9"/>
              <a:gd name="T6" fmla="*/ 1 w 5"/>
              <a:gd name="T7" fmla="*/ 9 h 9"/>
              <a:gd name="T8" fmla="*/ 0 w 5"/>
              <a:gd name="T9" fmla="*/ 8 h 9"/>
              <a:gd name="T10" fmla="*/ 1 w 5"/>
              <a:gd name="T11" fmla="*/ 5 h 9"/>
              <a:gd name="T12" fmla="*/ 0 w 5"/>
              <a:gd name="T13" fmla="*/ 3 h 9"/>
              <a:gd name="T14" fmla="*/ 1 w 5"/>
              <a:gd name="T15" fmla="*/ 2 h 9"/>
              <a:gd name="T16" fmla="*/ 1 w 5"/>
              <a:gd name="T17" fmla="*/ 2 h 9"/>
              <a:gd name="T18" fmla="*/ 2 w 5"/>
              <a:gd name="T19" fmla="*/ 0 h 9"/>
              <a:gd name="T20" fmla="*/ 3 w 5"/>
              <a:gd name="T21" fmla="*/ 0 h 9"/>
              <a:gd name="T22" fmla="*/ 5 w 5"/>
              <a:gd name="T23" fmla="*/ 1 h 9"/>
              <a:gd name="T24" fmla="*/ 5 w 5"/>
              <a:gd name="T25" fmla="*/ 2 h 9"/>
              <a:gd name="T26" fmla="*/ 2 w 5"/>
              <a:gd name="T27" fmla="*/ 3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" h="9">
                <a:moveTo>
                  <a:pt x="2" y="3"/>
                </a:moveTo>
                <a:lnTo>
                  <a:pt x="3" y="3"/>
                </a:lnTo>
                <a:lnTo>
                  <a:pt x="2" y="8"/>
                </a:lnTo>
                <a:lnTo>
                  <a:pt x="1" y="9"/>
                </a:lnTo>
                <a:lnTo>
                  <a:pt x="0" y="8"/>
                </a:lnTo>
                <a:lnTo>
                  <a:pt x="1" y="5"/>
                </a:lnTo>
                <a:lnTo>
                  <a:pt x="0" y="3"/>
                </a:lnTo>
                <a:lnTo>
                  <a:pt x="1" y="2"/>
                </a:lnTo>
                <a:lnTo>
                  <a:pt x="1" y="2"/>
                </a:lnTo>
                <a:lnTo>
                  <a:pt x="2" y="0"/>
                </a:lnTo>
                <a:lnTo>
                  <a:pt x="3" y="0"/>
                </a:lnTo>
                <a:lnTo>
                  <a:pt x="5" y="1"/>
                </a:lnTo>
                <a:lnTo>
                  <a:pt x="5" y="2"/>
                </a:lnTo>
                <a:lnTo>
                  <a:pt x="2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60" name="Freeform 1461"/>
          <p:cNvSpPr>
            <a:spLocks/>
          </p:cNvSpPr>
          <p:nvPr/>
        </p:nvSpPr>
        <p:spPr bwMode="auto">
          <a:xfrm>
            <a:off x="1552575" y="1995453"/>
            <a:ext cx="6350" cy="6350"/>
          </a:xfrm>
          <a:custGeom>
            <a:avLst/>
            <a:gdLst>
              <a:gd name="T0" fmla="*/ 3 w 4"/>
              <a:gd name="T1" fmla="*/ 0 h 4"/>
              <a:gd name="T2" fmla="*/ 4 w 4"/>
              <a:gd name="T3" fmla="*/ 2 h 4"/>
              <a:gd name="T4" fmla="*/ 3 w 4"/>
              <a:gd name="T5" fmla="*/ 4 h 4"/>
              <a:gd name="T6" fmla="*/ 0 w 4"/>
              <a:gd name="T7" fmla="*/ 4 h 4"/>
              <a:gd name="T8" fmla="*/ 1 w 4"/>
              <a:gd name="T9" fmla="*/ 2 h 4"/>
              <a:gd name="T10" fmla="*/ 1 w 4"/>
              <a:gd name="T11" fmla="*/ 2 h 4"/>
              <a:gd name="T12" fmla="*/ 3 w 4"/>
              <a:gd name="T13" fmla="*/ 1 h 4"/>
              <a:gd name="T14" fmla="*/ 3 w 4"/>
              <a:gd name="T15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4">
                <a:moveTo>
                  <a:pt x="3" y="0"/>
                </a:moveTo>
                <a:lnTo>
                  <a:pt x="4" y="2"/>
                </a:lnTo>
                <a:lnTo>
                  <a:pt x="3" y="4"/>
                </a:lnTo>
                <a:lnTo>
                  <a:pt x="0" y="4"/>
                </a:lnTo>
                <a:lnTo>
                  <a:pt x="1" y="2"/>
                </a:lnTo>
                <a:lnTo>
                  <a:pt x="1" y="2"/>
                </a:lnTo>
                <a:lnTo>
                  <a:pt x="3" y="1"/>
                </a:lnTo>
                <a:lnTo>
                  <a:pt x="3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61" name="Freeform 1462"/>
          <p:cNvSpPr>
            <a:spLocks/>
          </p:cNvSpPr>
          <p:nvPr/>
        </p:nvSpPr>
        <p:spPr bwMode="auto">
          <a:xfrm>
            <a:off x="1552575" y="1995453"/>
            <a:ext cx="6350" cy="6350"/>
          </a:xfrm>
          <a:custGeom>
            <a:avLst/>
            <a:gdLst>
              <a:gd name="T0" fmla="*/ 3 w 4"/>
              <a:gd name="T1" fmla="*/ 0 h 4"/>
              <a:gd name="T2" fmla="*/ 4 w 4"/>
              <a:gd name="T3" fmla="*/ 2 h 4"/>
              <a:gd name="T4" fmla="*/ 3 w 4"/>
              <a:gd name="T5" fmla="*/ 4 h 4"/>
              <a:gd name="T6" fmla="*/ 0 w 4"/>
              <a:gd name="T7" fmla="*/ 4 h 4"/>
              <a:gd name="T8" fmla="*/ 1 w 4"/>
              <a:gd name="T9" fmla="*/ 2 h 4"/>
              <a:gd name="T10" fmla="*/ 1 w 4"/>
              <a:gd name="T11" fmla="*/ 2 h 4"/>
              <a:gd name="T12" fmla="*/ 3 w 4"/>
              <a:gd name="T13" fmla="*/ 1 h 4"/>
              <a:gd name="T14" fmla="*/ 3 w 4"/>
              <a:gd name="T15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4">
                <a:moveTo>
                  <a:pt x="3" y="0"/>
                </a:moveTo>
                <a:lnTo>
                  <a:pt x="4" y="2"/>
                </a:lnTo>
                <a:lnTo>
                  <a:pt x="3" y="4"/>
                </a:lnTo>
                <a:lnTo>
                  <a:pt x="0" y="4"/>
                </a:lnTo>
                <a:lnTo>
                  <a:pt x="1" y="2"/>
                </a:lnTo>
                <a:lnTo>
                  <a:pt x="1" y="2"/>
                </a:lnTo>
                <a:lnTo>
                  <a:pt x="3" y="1"/>
                </a:lnTo>
                <a:lnTo>
                  <a:pt x="3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62" name="Freeform 1463"/>
          <p:cNvSpPr>
            <a:spLocks/>
          </p:cNvSpPr>
          <p:nvPr/>
        </p:nvSpPr>
        <p:spPr bwMode="auto">
          <a:xfrm>
            <a:off x="457200" y="2085940"/>
            <a:ext cx="14287" cy="9525"/>
          </a:xfrm>
          <a:custGeom>
            <a:avLst/>
            <a:gdLst>
              <a:gd name="T0" fmla="*/ 2 w 9"/>
              <a:gd name="T1" fmla="*/ 2 h 6"/>
              <a:gd name="T2" fmla="*/ 2 w 9"/>
              <a:gd name="T3" fmla="*/ 0 h 6"/>
              <a:gd name="T4" fmla="*/ 2 w 9"/>
              <a:gd name="T5" fmla="*/ 0 h 6"/>
              <a:gd name="T6" fmla="*/ 5 w 9"/>
              <a:gd name="T7" fmla="*/ 0 h 6"/>
              <a:gd name="T8" fmla="*/ 6 w 9"/>
              <a:gd name="T9" fmla="*/ 2 h 6"/>
              <a:gd name="T10" fmla="*/ 6 w 9"/>
              <a:gd name="T11" fmla="*/ 3 h 6"/>
              <a:gd name="T12" fmla="*/ 9 w 9"/>
              <a:gd name="T13" fmla="*/ 3 h 6"/>
              <a:gd name="T14" fmla="*/ 8 w 9"/>
              <a:gd name="T15" fmla="*/ 3 h 6"/>
              <a:gd name="T16" fmla="*/ 6 w 9"/>
              <a:gd name="T17" fmla="*/ 4 h 6"/>
              <a:gd name="T18" fmla="*/ 4 w 9"/>
              <a:gd name="T19" fmla="*/ 5 h 6"/>
              <a:gd name="T20" fmla="*/ 1 w 9"/>
              <a:gd name="T21" fmla="*/ 6 h 6"/>
              <a:gd name="T22" fmla="*/ 0 w 9"/>
              <a:gd name="T23" fmla="*/ 6 h 6"/>
              <a:gd name="T24" fmla="*/ 2 w 9"/>
              <a:gd name="T25" fmla="*/ 4 h 6"/>
              <a:gd name="T26" fmla="*/ 2 w 9"/>
              <a:gd name="T27" fmla="*/ 3 h 6"/>
              <a:gd name="T28" fmla="*/ 1 w 9"/>
              <a:gd name="T29" fmla="*/ 2 h 6"/>
              <a:gd name="T30" fmla="*/ 2 w 9"/>
              <a:gd name="T31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9" h="6">
                <a:moveTo>
                  <a:pt x="2" y="2"/>
                </a:moveTo>
                <a:lnTo>
                  <a:pt x="2" y="0"/>
                </a:lnTo>
                <a:lnTo>
                  <a:pt x="2" y="0"/>
                </a:lnTo>
                <a:lnTo>
                  <a:pt x="5" y="0"/>
                </a:lnTo>
                <a:lnTo>
                  <a:pt x="6" y="2"/>
                </a:lnTo>
                <a:lnTo>
                  <a:pt x="6" y="3"/>
                </a:lnTo>
                <a:lnTo>
                  <a:pt x="9" y="3"/>
                </a:lnTo>
                <a:lnTo>
                  <a:pt x="8" y="3"/>
                </a:lnTo>
                <a:lnTo>
                  <a:pt x="6" y="4"/>
                </a:lnTo>
                <a:lnTo>
                  <a:pt x="4" y="5"/>
                </a:lnTo>
                <a:lnTo>
                  <a:pt x="1" y="6"/>
                </a:lnTo>
                <a:lnTo>
                  <a:pt x="0" y="6"/>
                </a:lnTo>
                <a:lnTo>
                  <a:pt x="2" y="4"/>
                </a:lnTo>
                <a:lnTo>
                  <a:pt x="2" y="3"/>
                </a:lnTo>
                <a:lnTo>
                  <a:pt x="1" y="2"/>
                </a:lnTo>
                <a:lnTo>
                  <a:pt x="2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63" name="Freeform 1464"/>
          <p:cNvSpPr>
            <a:spLocks/>
          </p:cNvSpPr>
          <p:nvPr/>
        </p:nvSpPr>
        <p:spPr bwMode="auto">
          <a:xfrm>
            <a:off x="457200" y="2085940"/>
            <a:ext cx="14287" cy="9525"/>
          </a:xfrm>
          <a:custGeom>
            <a:avLst/>
            <a:gdLst>
              <a:gd name="T0" fmla="*/ 2 w 9"/>
              <a:gd name="T1" fmla="*/ 2 h 6"/>
              <a:gd name="T2" fmla="*/ 2 w 9"/>
              <a:gd name="T3" fmla="*/ 0 h 6"/>
              <a:gd name="T4" fmla="*/ 2 w 9"/>
              <a:gd name="T5" fmla="*/ 0 h 6"/>
              <a:gd name="T6" fmla="*/ 5 w 9"/>
              <a:gd name="T7" fmla="*/ 0 h 6"/>
              <a:gd name="T8" fmla="*/ 6 w 9"/>
              <a:gd name="T9" fmla="*/ 2 h 6"/>
              <a:gd name="T10" fmla="*/ 6 w 9"/>
              <a:gd name="T11" fmla="*/ 3 h 6"/>
              <a:gd name="T12" fmla="*/ 9 w 9"/>
              <a:gd name="T13" fmla="*/ 3 h 6"/>
              <a:gd name="T14" fmla="*/ 8 w 9"/>
              <a:gd name="T15" fmla="*/ 3 h 6"/>
              <a:gd name="T16" fmla="*/ 6 w 9"/>
              <a:gd name="T17" fmla="*/ 4 h 6"/>
              <a:gd name="T18" fmla="*/ 4 w 9"/>
              <a:gd name="T19" fmla="*/ 5 h 6"/>
              <a:gd name="T20" fmla="*/ 1 w 9"/>
              <a:gd name="T21" fmla="*/ 6 h 6"/>
              <a:gd name="T22" fmla="*/ 0 w 9"/>
              <a:gd name="T23" fmla="*/ 6 h 6"/>
              <a:gd name="T24" fmla="*/ 2 w 9"/>
              <a:gd name="T25" fmla="*/ 4 h 6"/>
              <a:gd name="T26" fmla="*/ 2 w 9"/>
              <a:gd name="T27" fmla="*/ 3 h 6"/>
              <a:gd name="T28" fmla="*/ 1 w 9"/>
              <a:gd name="T29" fmla="*/ 2 h 6"/>
              <a:gd name="T30" fmla="*/ 2 w 9"/>
              <a:gd name="T31" fmla="*/ 2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9" h="6">
                <a:moveTo>
                  <a:pt x="2" y="2"/>
                </a:moveTo>
                <a:lnTo>
                  <a:pt x="2" y="0"/>
                </a:lnTo>
                <a:lnTo>
                  <a:pt x="2" y="0"/>
                </a:lnTo>
                <a:lnTo>
                  <a:pt x="5" y="0"/>
                </a:lnTo>
                <a:lnTo>
                  <a:pt x="6" y="2"/>
                </a:lnTo>
                <a:lnTo>
                  <a:pt x="6" y="3"/>
                </a:lnTo>
                <a:lnTo>
                  <a:pt x="9" y="3"/>
                </a:lnTo>
                <a:lnTo>
                  <a:pt x="8" y="3"/>
                </a:lnTo>
                <a:lnTo>
                  <a:pt x="6" y="4"/>
                </a:lnTo>
                <a:lnTo>
                  <a:pt x="4" y="5"/>
                </a:lnTo>
                <a:lnTo>
                  <a:pt x="1" y="6"/>
                </a:lnTo>
                <a:lnTo>
                  <a:pt x="0" y="6"/>
                </a:lnTo>
                <a:lnTo>
                  <a:pt x="2" y="4"/>
                </a:lnTo>
                <a:lnTo>
                  <a:pt x="2" y="3"/>
                </a:lnTo>
                <a:lnTo>
                  <a:pt x="1" y="2"/>
                </a:lnTo>
                <a:lnTo>
                  <a:pt x="2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64" name="Freeform 1465"/>
          <p:cNvSpPr>
            <a:spLocks/>
          </p:cNvSpPr>
          <p:nvPr/>
        </p:nvSpPr>
        <p:spPr bwMode="auto">
          <a:xfrm>
            <a:off x="466725" y="2089115"/>
            <a:ext cx="19050" cy="4763"/>
          </a:xfrm>
          <a:custGeom>
            <a:avLst/>
            <a:gdLst>
              <a:gd name="T0" fmla="*/ 0 w 12"/>
              <a:gd name="T1" fmla="*/ 3 h 3"/>
              <a:gd name="T2" fmla="*/ 1 w 12"/>
              <a:gd name="T3" fmla="*/ 3 h 3"/>
              <a:gd name="T4" fmla="*/ 3 w 12"/>
              <a:gd name="T5" fmla="*/ 3 h 3"/>
              <a:gd name="T6" fmla="*/ 8 w 12"/>
              <a:gd name="T7" fmla="*/ 2 h 3"/>
              <a:gd name="T8" fmla="*/ 11 w 12"/>
              <a:gd name="T9" fmla="*/ 0 h 3"/>
              <a:gd name="T10" fmla="*/ 12 w 12"/>
              <a:gd name="T11" fmla="*/ 0 h 3"/>
              <a:gd name="T12" fmla="*/ 11 w 12"/>
              <a:gd name="T13" fmla="*/ 1 h 3"/>
              <a:gd name="T14" fmla="*/ 8 w 12"/>
              <a:gd name="T15" fmla="*/ 3 h 3"/>
              <a:gd name="T16" fmla="*/ 0 w 12"/>
              <a:gd name="T17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" h="3">
                <a:moveTo>
                  <a:pt x="0" y="3"/>
                </a:moveTo>
                <a:lnTo>
                  <a:pt x="1" y="3"/>
                </a:lnTo>
                <a:lnTo>
                  <a:pt x="3" y="3"/>
                </a:lnTo>
                <a:lnTo>
                  <a:pt x="8" y="2"/>
                </a:lnTo>
                <a:lnTo>
                  <a:pt x="11" y="0"/>
                </a:lnTo>
                <a:lnTo>
                  <a:pt x="12" y="0"/>
                </a:lnTo>
                <a:lnTo>
                  <a:pt x="11" y="1"/>
                </a:lnTo>
                <a:lnTo>
                  <a:pt x="8" y="3"/>
                </a:lnTo>
                <a:lnTo>
                  <a:pt x="0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65" name="Freeform 1466"/>
          <p:cNvSpPr>
            <a:spLocks/>
          </p:cNvSpPr>
          <p:nvPr/>
        </p:nvSpPr>
        <p:spPr bwMode="auto">
          <a:xfrm>
            <a:off x="466725" y="2089115"/>
            <a:ext cx="19050" cy="4763"/>
          </a:xfrm>
          <a:custGeom>
            <a:avLst/>
            <a:gdLst>
              <a:gd name="T0" fmla="*/ 0 w 12"/>
              <a:gd name="T1" fmla="*/ 3 h 3"/>
              <a:gd name="T2" fmla="*/ 1 w 12"/>
              <a:gd name="T3" fmla="*/ 3 h 3"/>
              <a:gd name="T4" fmla="*/ 3 w 12"/>
              <a:gd name="T5" fmla="*/ 3 h 3"/>
              <a:gd name="T6" fmla="*/ 8 w 12"/>
              <a:gd name="T7" fmla="*/ 2 h 3"/>
              <a:gd name="T8" fmla="*/ 11 w 12"/>
              <a:gd name="T9" fmla="*/ 0 h 3"/>
              <a:gd name="T10" fmla="*/ 12 w 12"/>
              <a:gd name="T11" fmla="*/ 0 h 3"/>
              <a:gd name="T12" fmla="*/ 11 w 12"/>
              <a:gd name="T13" fmla="*/ 1 h 3"/>
              <a:gd name="T14" fmla="*/ 8 w 12"/>
              <a:gd name="T15" fmla="*/ 3 h 3"/>
              <a:gd name="T16" fmla="*/ 0 w 12"/>
              <a:gd name="T17" fmla="*/ 3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" h="3">
                <a:moveTo>
                  <a:pt x="0" y="3"/>
                </a:moveTo>
                <a:lnTo>
                  <a:pt x="1" y="3"/>
                </a:lnTo>
                <a:lnTo>
                  <a:pt x="3" y="3"/>
                </a:lnTo>
                <a:lnTo>
                  <a:pt x="8" y="2"/>
                </a:lnTo>
                <a:lnTo>
                  <a:pt x="11" y="0"/>
                </a:lnTo>
                <a:lnTo>
                  <a:pt x="12" y="0"/>
                </a:lnTo>
                <a:lnTo>
                  <a:pt x="11" y="1"/>
                </a:lnTo>
                <a:lnTo>
                  <a:pt x="8" y="3"/>
                </a:lnTo>
                <a:lnTo>
                  <a:pt x="0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66" name="Freeform 1467"/>
          <p:cNvSpPr>
            <a:spLocks/>
          </p:cNvSpPr>
          <p:nvPr/>
        </p:nvSpPr>
        <p:spPr bwMode="auto">
          <a:xfrm>
            <a:off x="484188" y="2084353"/>
            <a:ext cx="15875" cy="11113"/>
          </a:xfrm>
          <a:custGeom>
            <a:avLst/>
            <a:gdLst>
              <a:gd name="T0" fmla="*/ 2 w 10"/>
              <a:gd name="T1" fmla="*/ 5 h 7"/>
              <a:gd name="T2" fmla="*/ 4 w 10"/>
              <a:gd name="T3" fmla="*/ 4 h 7"/>
              <a:gd name="T4" fmla="*/ 5 w 10"/>
              <a:gd name="T5" fmla="*/ 3 h 7"/>
              <a:gd name="T6" fmla="*/ 5 w 10"/>
              <a:gd name="T7" fmla="*/ 1 h 7"/>
              <a:gd name="T8" fmla="*/ 9 w 10"/>
              <a:gd name="T9" fmla="*/ 0 h 7"/>
              <a:gd name="T10" fmla="*/ 9 w 10"/>
              <a:gd name="T11" fmla="*/ 1 h 7"/>
              <a:gd name="T12" fmla="*/ 8 w 10"/>
              <a:gd name="T13" fmla="*/ 3 h 7"/>
              <a:gd name="T14" fmla="*/ 7 w 10"/>
              <a:gd name="T15" fmla="*/ 4 h 7"/>
              <a:gd name="T16" fmla="*/ 8 w 10"/>
              <a:gd name="T17" fmla="*/ 4 h 7"/>
              <a:gd name="T18" fmla="*/ 10 w 10"/>
              <a:gd name="T19" fmla="*/ 4 h 7"/>
              <a:gd name="T20" fmla="*/ 9 w 10"/>
              <a:gd name="T21" fmla="*/ 5 h 7"/>
              <a:gd name="T22" fmla="*/ 5 w 10"/>
              <a:gd name="T23" fmla="*/ 6 h 7"/>
              <a:gd name="T24" fmla="*/ 3 w 10"/>
              <a:gd name="T25" fmla="*/ 6 h 7"/>
              <a:gd name="T26" fmla="*/ 2 w 10"/>
              <a:gd name="T27" fmla="*/ 7 h 7"/>
              <a:gd name="T28" fmla="*/ 0 w 10"/>
              <a:gd name="T29" fmla="*/ 7 h 7"/>
              <a:gd name="T30" fmla="*/ 1 w 10"/>
              <a:gd name="T31" fmla="*/ 6 h 7"/>
              <a:gd name="T32" fmla="*/ 1 w 10"/>
              <a:gd name="T33" fmla="*/ 6 h 7"/>
              <a:gd name="T34" fmla="*/ 2 w 10"/>
              <a:gd name="T35" fmla="*/ 5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0" h="7">
                <a:moveTo>
                  <a:pt x="2" y="5"/>
                </a:moveTo>
                <a:lnTo>
                  <a:pt x="4" y="4"/>
                </a:lnTo>
                <a:lnTo>
                  <a:pt x="5" y="3"/>
                </a:lnTo>
                <a:lnTo>
                  <a:pt x="5" y="1"/>
                </a:lnTo>
                <a:lnTo>
                  <a:pt x="9" y="0"/>
                </a:lnTo>
                <a:lnTo>
                  <a:pt x="9" y="1"/>
                </a:lnTo>
                <a:lnTo>
                  <a:pt x="8" y="3"/>
                </a:lnTo>
                <a:lnTo>
                  <a:pt x="7" y="4"/>
                </a:lnTo>
                <a:lnTo>
                  <a:pt x="8" y="4"/>
                </a:lnTo>
                <a:lnTo>
                  <a:pt x="10" y="4"/>
                </a:lnTo>
                <a:lnTo>
                  <a:pt x="9" y="5"/>
                </a:lnTo>
                <a:lnTo>
                  <a:pt x="5" y="6"/>
                </a:lnTo>
                <a:lnTo>
                  <a:pt x="3" y="6"/>
                </a:lnTo>
                <a:lnTo>
                  <a:pt x="2" y="7"/>
                </a:lnTo>
                <a:lnTo>
                  <a:pt x="0" y="7"/>
                </a:lnTo>
                <a:lnTo>
                  <a:pt x="1" y="6"/>
                </a:lnTo>
                <a:lnTo>
                  <a:pt x="1" y="6"/>
                </a:lnTo>
                <a:lnTo>
                  <a:pt x="2" y="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67" name="Freeform 1468"/>
          <p:cNvSpPr>
            <a:spLocks/>
          </p:cNvSpPr>
          <p:nvPr/>
        </p:nvSpPr>
        <p:spPr bwMode="auto">
          <a:xfrm>
            <a:off x="484188" y="2084353"/>
            <a:ext cx="15875" cy="11113"/>
          </a:xfrm>
          <a:custGeom>
            <a:avLst/>
            <a:gdLst>
              <a:gd name="T0" fmla="*/ 2 w 10"/>
              <a:gd name="T1" fmla="*/ 5 h 7"/>
              <a:gd name="T2" fmla="*/ 4 w 10"/>
              <a:gd name="T3" fmla="*/ 4 h 7"/>
              <a:gd name="T4" fmla="*/ 5 w 10"/>
              <a:gd name="T5" fmla="*/ 3 h 7"/>
              <a:gd name="T6" fmla="*/ 5 w 10"/>
              <a:gd name="T7" fmla="*/ 1 h 7"/>
              <a:gd name="T8" fmla="*/ 9 w 10"/>
              <a:gd name="T9" fmla="*/ 0 h 7"/>
              <a:gd name="T10" fmla="*/ 9 w 10"/>
              <a:gd name="T11" fmla="*/ 1 h 7"/>
              <a:gd name="T12" fmla="*/ 8 w 10"/>
              <a:gd name="T13" fmla="*/ 3 h 7"/>
              <a:gd name="T14" fmla="*/ 7 w 10"/>
              <a:gd name="T15" fmla="*/ 4 h 7"/>
              <a:gd name="T16" fmla="*/ 8 w 10"/>
              <a:gd name="T17" fmla="*/ 4 h 7"/>
              <a:gd name="T18" fmla="*/ 10 w 10"/>
              <a:gd name="T19" fmla="*/ 4 h 7"/>
              <a:gd name="T20" fmla="*/ 9 w 10"/>
              <a:gd name="T21" fmla="*/ 5 h 7"/>
              <a:gd name="T22" fmla="*/ 5 w 10"/>
              <a:gd name="T23" fmla="*/ 6 h 7"/>
              <a:gd name="T24" fmla="*/ 3 w 10"/>
              <a:gd name="T25" fmla="*/ 6 h 7"/>
              <a:gd name="T26" fmla="*/ 2 w 10"/>
              <a:gd name="T27" fmla="*/ 7 h 7"/>
              <a:gd name="T28" fmla="*/ 0 w 10"/>
              <a:gd name="T29" fmla="*/ 7 h 7"/>
              <a:gd name="T30" fmla="*/ 1 w 10"/>
              <a:gd name="T31" fmla="*/ 6 h 7"/>
              <a:gd name="T32" fmla="*/ 1 w 10"/>
              <a:gd name="T33" fmla="*/ 6 h 7"/>
              <a:gd name="T34" fmla="*/ 2 w 10"/>
              <a:gd name="T35" fmla="*/ 5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0" h="7">
                <a:moveTo>
                  <a:pt x="2" y="5"/>
                </a:moveTo>
                <a:lnTo>
                  <a:pt x="4" y="4"/>
                </a:lnTo>
                <a:lnTo>
                  <a:pt x="5" y="3"/>
                </a:lnTo>
                <a:lnTo>
                  <a:pt x="5" y="1"/>
                </a:lnTo>
                <a:lnTo>
                  <a:pt x="9" y="0"/>
                </a:lnTo>
                <a:lnTo>
                  <a:pt x="9" y="1"/>
                </a:lnTo>
                <a:lnTo>
                  <a:pt x="8" y="3"/>
                </a:lnTo>
                <a:lnTo>
                  <a:pt x="7" y="4"/>
                </a:lnTo>
                <a:lnTo>
                  <a:pt x="8" y="4"/>
                </a:lnTo>
                <a:lnTo>
                  <a:pt x="10" y="4"/>
                </a:lnTo>
                <a:lnTo>
                  <a:pt x="9" y="5"/>
                </a:lnTo>
                <a:lnTo>
                  <a:pt x="5" y="6"/>
                </a:lnTo>
                <a:lnTo>
                  <a:pt x="3" y="6"/>
                </a:lnTo>
                <a:lnTo>
                  <a:pt x="2" y="7"/>
                </a:lnTo>
                <a:lnTo>
                  <a:pt x="0" y="7"/>
                </a:lnTo>
                <a:lnTo>
                  <a:pt x="1" y="6"/>
                </a:lnTo>
                <a:lnTo>
                  <a:pt x="1" y="6"/>
                </a:lnTo>
                <a:lnTo>
                  <a:pt x="2" y="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68" name="Freeform 1469"/>
          <p:cNvSpPr>
            <a:spLocks/>
          </p:cNvSpPr>
          <p:nvPr/>
        </p:nvSpPr>
        <p:spPr bwMode="auto">
          <a:xfrm>
            <a:off x="544513" y="2074828"/>
            <a:ext cx="20637" cy="9525"/>
          </a:xfrm>
          <a:custGeom>
            <a:avLst/>
            <a:gdLst>
              <a:gd name="T0" fmla="*/ 10 w 13"/>
              <a:gd name="T1" fmla="*/ 1 h 6"/>
              <a:gd name="T2" fmla="*/ 10 w 13"/>
              <a:gd name="T3" fmla="*/ 1 h 6"/>
              <a:gd name="T4" fmla="*/ 12 w 13"/>
              <a:gd name="T5" fmla="*/ 0 h 6"/>
              <a:gd name="T6" fmla="*/ 13 w 13"/>
              <a:gd name="T7" fmla="*/ 1 h 6"/>
              <a:gd name="T8" fmla="*/ 13 w 13"/>
              <a:gd name="T9" fmla="*/ 1 h 6"/>
              <a:gd name="T10" fmla="*/ 12 w 13"/>
              <a:gd name="T11" fmla="*/ 2 h 6"/>
              <a:gd name="T12" fmla="*/ 10 w 13"/>
              <a:gd name="T13" fmla="*/ 3 h 6"/>
              <a:gd name="T14" fmla="*/ 7 w 13"/>
              <a:gd name="T15" fmla="*/ 4 h 6"/>
              <a:gd name="T16" fmla="*/ 5 w 13"/>
              <a:gd name="T17" fmla="*/ 5 h 6"/>
              <a:gd name="T18" fmla="*/ 4 w 13"/>
              <a:gd name="T19" fmla="*/ 5 h 6"/>
              <a:gd name="T20" fmla="*/ 3 w 13"/>
              <a:gd name="T21" fmla="*/ 5 h 6"/>
              <a:gd name="T22" fmla="*/ 1 w 13"/>
              <a:gd name="T23" fmla="*/ 6 h 6"/>
              <a:gd name="T24" fmla="*/ 0 w 13"/>
              <a:gd name="T25" fmla="*/ 5 h 6"/>
              <a:gd name="T26" fmla="*/ 0 w 13"/>
              <a:gd name="T27" fmla="*/ 5 h 6"/>
              <a:gd name="T28" fmla="*/ 2 w 13"/>
              <a:gd name="T29" fmla="*/ 4 h 6"/>
              <a:gd name="T30" fmla="*/ 7 w 13"/>
              <a:gd name="T31" fmla="*/ 3 h 6"/>
              <a:gd name="T32" fmla="*/ 8 w 13"/>
              <a:gd name="T33" fmla="*/ 2 h 6"/>
              <a:gd name="T34" fmla="*/ 10 w 13"/>
              <a:gd name="T35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3" h="6">
                <a:moveTo>
                  <a:pt x="10" y="1"/>
                </a:moveTo>
                <a:lnTo>
                  <a:pt x="10" y="1"/>
                </a:lnTo>
                <a:lnTo>
                  <a:pt x="12" y="0"/>
                </a:lnTo>
                <a:lnTo>
                  <a:pt x="13" y="1"/>
                </a:lnTo>
                <a:lnTo>
                  <a:pt x="13" y="1"/>
                </a:lnTo>
                <a:lnTo>
                  <a:pt x="12" y="2"/>
                </a:lnTo>
                <a:lnTo>
                  <a:pt x="10" y="3"/>
                </a:lnTo>
                <a:lnTo>
                  <a:pt x="7" y="4"/>
                </a:lnTo>
                <a:lnTo>
                  <a:pt x="5" y="5"/>
                </a:lnTo>
                <a:lnTo>
                  <a:pt x="4" y="5"/>
                </a:lnTo>
                <a:lnTo>
                  <a:pt x="3" y="5"/>
                </a:lnTo>
                <a:lnTo>
                  <a:pt x="1" y="6"/>
                </a:lnTo>
                <a:lnTo>
                  <a:pt x="0" y="5"/>
                </a:lnTo>
                <a:lnTo>
                  <a:pt x="0" y="5"/>
                </a:lnTo>
                <a:lnTo>
                  <a:pt x="2" y="4"/>
                </a:lnTo>
                <a:lnTo>
                  <a:pt x="7" y="3"/>
                </a:lnTo>
                <a:lnTo>
                  <a:pt x="8" y="2"/>
                </a:lnTo>
                <a:lnTo>
                  <a:pt x="1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69" name="Freeform 1470"/>
          <p:cNvSpPr>
            <a:spLocks/>
          </p:cNvSpPr>
          <p:nvPr/>
        </p:nvSpPr>
        <p:spPr bwMode="auto">
          <a:xfrm>
            <a:off x="544513" y="2074828"/>
            <a:ext cx="20637" cy="9525"/>
          </a:xfrm>
          <a:custGeom>
            <a:avLst/>
            <a:gdLst>
              <a:gd name="T0" fmla="*/ 10 w 13"/>
              <a:gd name="T1" fmla="*/ 1 h 6"/>
              <a:gd name="T2" fmla="*/ 10 w 13"/>
              <a:gd name="T3" fmla="*/ 1 h 6"/>
              <a:gd name="T4" fmla="*/ 12 w 13"/>
              <a:gd name="T5" fmla="*/ 0 h 6"/>
              <a:gd name="T6" fmla="*/ 13 w 13"/>
              <a:gd name="T7" fmla="*/ 1 h 6"/>
              <a:gd name="T8" fmla="*/ 13 w 13"/>
              <a:gd name="T9" fmla="*/ 1 h 6"/>
              <a:gd name="T10" fmla="*/ 12 w 13"/>
              <a:gd name="T11" fmla="*/ 2 h 6"/>
              <a:gd name="T12" fmla="*/ 10 w 13"/>
              <a:gd name="T13" fmla="*/ 3 h 6"/>
              <a:gd name="T14" fmla="*/ 7 w 13"/>
              <a:gd name="T15" fmla="*/ 4 h 6"/>
              <a:gd name="T16" fmla="*/ 5 w 13"/>
              <a:gd name="T17" fmla="*/ 5 h 6"/>
              <a:gd name="T18" fmla="*/ 4 w 13"/>
              <a:gd name="T19" fmla="*/ 5 h 6"/>
              <a:gd name="T20" fmla="*/ 3 w 13"/>
              <a:gd name="T21" fmla="*/ 5 h 6"/>
              <a:gd name="T22" fmla="*/ 1 w 13"/>
              <a:gd name="T23" fmla="*/ 6 h 6"/>
              <a:gd name="T24" fmla="*/ 0 w 13"/>
              <a:gd name="T25" fmla="*/ 5 h 6"/>
              <a:gd name="T26" fmla="*/ 0 w 13"/>
              <a:gd name="T27" fmla="*/ 5 h 6"/>
              <a:gd name="T28" fmla="*/ 2 w 13"/>
              <a:gd name="T29" fmla="*/ 4 h 6"/>
              <a:gd name="T30" fmla="*/ 7 w 13"/>
              <a:gd name="T31" fmla="*/ 3 h 6"/>
              <a:gd name="T32" fmla="*/ 8 w 13"/>
              <a:gd name="T33" fmla="*/ 2 h 6"/>
              <a:gd name="T34" fmla="*/ 10 w 13"/>
              <a:gd name="T35" fmla="*/ 1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3" h="6">
                <a:moveTo>
                  <a:pt x="10" y="1"/>
                </a:moveTo>
                <a:lnTo>
                  <a:pt x="10" y="1"/>
                </a:lnTo>
                <a:lnTo>
                  <a:pt x="12" y="0"/>
                </a:lnTo>
                <a:lnTo>
                  <a:pt x="13" y="1"/>
                </a:lnTo>
                <a:lnTo>
                  <a:pt x="13" y="1"/>
                </a:lnTo>
                <a:lnTo>
                  <a:pt x="12" y="2"/>
                </a:lnTo>
                <a:lnTo>
                  <a:pt x="10" y="3"/>
                </a:lnTo>
                <a:lnTo>
                  <a:pt x="7" y="4"/>
                </a:lnTo>
                <a:lnTo>
                  <a:pt x="5" y="5"/>
                </a:lnTo>
                <a:lnTo>
                  <a:pt x="4" y="5"/>
                </a:lnTo>
                <a:lnTo>
                  <a:pt x="3" y="5"/>
                </a:lnTo>
                <a:lnTo>
                  <a:pt x="1" y="6"/>
                </a:lnTo>
                <a:lnTo>
                  <a:pt x="0" y="5"/>
                </a:lnTo>
                <a:lnTo>
                  <a:pt x="0" y="5"/>
                </a:lnTo>
                <a:lnTo>
                  <a:pt x="2" y="4"/>
                </a:lnTo>
                <a:lnTo>
                  <a:pt x="7" y="3"/>
                </a:lnTo>
                <a:lnTo>
                  <a:pt x="8" y="2"/>
                </a:lnTo>
                <a:lnTo>
                  <a:pt x="1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70" name="Freeform 1471"/>
          <p:cNvSpPr>
            <a:spLocks/>
          </p:cNvSpPr>
          <p:nvPr/>
        </p:nvSpPr>
        <p:spPr bwMode="auto">
          <a:xfrm>
            <a:off x="560388" y="2081178"/>
            <a:ext cx="19050" cy="3175"/>
          </a:xfrm>
          <a:custGeom>
            <a:avLst/>
            <a:gdLst>
              <a:gd name="T0" fmla="*/ 0 w 12"/>
              <a:gd name="T1" fmla="*/ 0 h 2"/>
              <a:gd name="T2" fmla="*/ 5 w 12"/>
              <a:gd name="T3" fmla="*/ 0 h 2"/>
              <a:gd name="T4" fmla="*/ 7 w 12"/>
              <a:gd name="T5" fmla="*/ 1 h 2"/>
              <a:gd name="T6" fmla="*/ 11 w 12"/>
              <a:gd name="T7" fmla="*/ 1 h 2"/>
              <a:gd name="T8" fmla="*/ 12 w 12"/>
              <a:gd name="T9" fmla="*/ 1 h 2"/>
              <a:gd name="T10" fmla="*/ 11 w 12"/>
              <a:gd name="T11" fmla="*/ 1 h 2"/>
              <a:gd name="T12" fmla="*/ 10 w 12"/>
              <a:gd name="T13" fmla="*/ 2 h 2"/>
              <a:gd name="T14" fmla="*/ 3 w 12"/>
              <a:gd name="T15" fmla="*/ 2 h 2"/>
              <a:gd name="T16" fmla="*/ 1 w 12"/>
              <a:gd name="T17" fmla="*/ 1 h 2"/>
              <a:gd name="T18" fmla="*/ 0 w 12"/>
              <a:gd name="T1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" h="2">
                <a:moveTo>
                  <a:pt x="0" y="0"/>
                </a:moveTo>
                <a:lnTo>
                  <a:pt x="5" y="0"/>
                </a:lnTo>
                <a:lnTo>
                  <a:pt x="7" y="1"/>
                </a:lnTo>
                <a:lnTo>
                  <a:pt x="11" y="1"/>
                </a:lnTo>
                <a:lnTo>
                  <a:pt x="12" y="1"/>
                </a:lnTo>
                <a:lnTo>
                  <a:pt x="11" y="1"/>
                </a:lnTo>
                <a:lnTo>
                  <a:pt x="10" y="2"/>
                </a:lnTo>
                <a:lnTo>
                  <a:pt x="3" y="2"/>
                </a:lnTo>
                <a:lnTo>
                  <a:pt x="1" y="1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71" name="Freeform 1472"/>
          <p:cNvSpPr>
            <a:spLocks/>
          </p:cNvSpPr>
          <p:nvPr/>
        </p:nvSpPr>
        <p:spPr bwMode="auto">
          <a:xfrm>
            <a:off x="560388" y="2081178"/>
            <a:ext cx="19050" cy="3175"/>
          </a:xfrm>
          <a:custGeom>
            <a:avLst/>
            <a:gdLst>
              <a:gd name="T0" fmla="*/ 0 w 12"/>
              <a:gd name="T1" fmla="*/ 0 h 2"/>
              <a:gd name="T2" fmla="*/ 5 w 12"/>
              <a:gd name="T3" fmla="*/ 0 h 2"/>
              <a:gd name="T4" fmla="*/ 7 w 12"/>
              <a:gd name="T5" fmla="*/ 1 h 2"/>
              <a:gd name="T6" fmla="*/ 11 w 12"/>
              <a:gd name="T7" fmla="*/ 1 h 2"/>
              <a:gd name="T8" fmla="*/ 12 w 12"/>
              <a:gd name="T9" fmla="*/ 1 h 2"/>
              <a:gd name="T10" fmla="*/ 11 w 12"/>
              <a:gd name="T11" fmla="*/ 1 h 2"/>
              <a:gd name="T12" fmla="*/ 10 w 12"/>
              <a:gd name="T13" fmla="*/ 2 h 2"/>
              <a:gd name="T14" fmla="*/ 3 w 12"/>
              <a:gd name="T15" fmla="*/ 2 h 2"/>
              <a:gd name="T16" fmla="*/ 1 w 12"/>
              <a:gd name="T17" fmla="*/ 1 h 2"/>
              <a:gd name="T18" fmla="*/ 0 w 12"/>
              <a:gd name="T1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" h="2">
                <a:moveTo>
                  <a:pt x="0" y="0"/>
                </a:moveTo>
                <a:lnTo>
                  <a:pt x="5" y="0"/>
                </a:lnTo>
                <a:lnTo>
                  <a:pt x="7" y="1"/>
                </a:lnTo>
                <a:lnTo>
                  <a:pt x="11" y="1"/>
                </a:lnTo>
                <a:lnTo>
                  <a:pt x="12" y="1"/>
                </a:lnTo>
                <a:lnTo>
                  <a:pt x="11" y="1"/>
                </a:lnTo>
                <a:lnTo>
                  <a:pt x="10" y="2"/>
                </a:lnTo>
                <a:lnTo>
                  <a:pt x="3" y="2"/>
                </a:lnTo>
                <a:lnTo>
                  <a:pt x="1" y="1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72" name="Freeform 1473"/>
          <p:cNvSpPr>
            <a:spLocks/>
          </p:cNvSpPr>
          <p:nvPr/>
        </p:nvSpPr>
        <p:spPr bwMode="auto">
          <a:xfrm>
            <a:off x="595313" y="2074828"/>
            <a:ext cx="7937" cy="3175"/>
          </a:xfrm>
          <a:custGeom>
            <a:avLst/>
            <a:gdLst>
              <a:gd name="T0" fmla="*/ 3 w 5"/>
              <a:gd name="T1" fmla="*/ 0 h 2"/>
              <a:gd name="T2" fmla="*/ 3 w 5"/>
              <a:gd name="T3" fmla="*/ 1 h 2"/>
              <a:gd name="T4" fmla="*/ 5 w 5"/>
              <a:gd name="T5" fmla="*/ 1 h 2"/>
              <a:gd name="T6" fmla="*/ 4 w 5"/>
              <a:gd name="T7" fmla="*/ 1 h 2"/>
              <a:gd name="T8" fmla="*/ 1 w 5"/>
              <a:gd name="T9" fmla="*/ 2 h 2"/>
              <a:gd name="T10" fmla="*/ 0 w 5"/>
              <a:gd name="T11" fmla="*/ 2 h 2"/>
              <a:gd name="T12" fmla="*/ 1 w 5"/>
              <a:gd name="T13" fmla="*/ 1 h 2"/>
              <a:gd name="T14" fmla="*/ 3 w 5"/>
              <a:gd name="T15" fmla="*/ 0 h 2"/>
              <a:gd name="T16" fmla="*/ 1 w 5"/>
              <a:gd name="T17" fmla="*/ 1 h 2"/>
              <a:gd name="T18" fmla="*/ 3 w 5"/>
              <a:gd name="T1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" h="2">
                <a:moveTo>
                  <a:pt x="3" y="0"/>
                </a:moveTo>
                <a:lnTo>
                  <a:pt x="3" y="1"/>
                </a:lnTo>
                <a:lnTo>
                  <a:pt x="5" y="1"/>
                </a:lnTo>
                <a:lnTo>
                  <a:pt x="4" y="1"/>
                </a:lnTo>
                <a:lnTo>
                  <a:pt x="1" y="2"/>
                </a:lnTo>
                <a:lnTo>
                  <a:pt x="0" y="2"/>
                </a:lnTo>
                <a:lnTo>
                  <a:pt x="1" y="1"/>
                </a:lnTo>
                <a:lnTo>
                  <a:pt x="3" y="0"/>
                </a:lnTo>
                <a:lnTo>
                  <a:pt x="1" y="1"/>
                </a:lnTo>
                <a:lnTo>
                  <a:pt x="3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73" name="Freeform 1474"/>
          <p:cNvSpPr>
            <a:spLocks/>
          </p:cNvSpPr>
          <p:nvPr/>
        </p:nvSpPr>
        <p:spPr bwMode="auto">
          <a:xfrm>
            <a:off x="595313" y="2074828"/>
            <a:ext cx="7937" cy="3175"/>
          </a:xfrm>
          <a:custGeom>
            <a:avLst/>
            <a:gdLst>
              <a:gd name="T0" fmla="*/ 3 w 5"/>
              <a:gd name="T1" fmla="*/ 0 h 2"/>
              <a:gd name="T2" fmla="*/ 3 w 5"/>
              <a:gd name="T3" fmla="*/ 1 h 2"/>
              <a:gd name="T4" fmla="*/ 5 w 5"/>
              <a:gd name="T5" fmla="*/ 1 h 2"/>
              <a:gd name="T6" fmla="*/ 4 w 5"/>
              <a:gd name="T7" fmla="*/ 1 h 2"/>
              <a:gd name="T8" fmla="*/ 1 w 5"/>
              <a:gd name="T9" fmla="*/ 2 h 2"/>
              <a:gd name="T10" fmla="*/ 0 w 5"/>
              <a:gd name="T11" fmla="*/ 2 h 2"/>
              <a:gd name="T12" fmla="*/ 1 w 5"/>
              <a:gd name="T13" fmla="*/ 1 h 2"/>
              <a:gd name="T14" fmla="*/ 3 w 5"/>
              <a:gd name="T15" fmla="*/ 0 h 2"/>
              <a:gd name="T16" fmla="*/ 1 w 5"/>
              <a:gd name="T17" fmla="*/ 1 h 2"/>
              <a:gd name="T18" fmla="*/ 3 w 5"/>
              <a:gd name="T1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" h="2">
                <a:moveTo>
                  <a:pt x="3" y="0"/>
                </a:moveTo>
                <a:lnTo>
                  <a:pt x="3" y="1"/>
                </a:lnTo>
                <a:lnTo>
                  <a:pt x="5" y="1"/>
                </a:lnTo>
                <a:lnTo>
                  <a:pt x="4" y="1"/>
                </a:lnTo>
                <a:lnTo>
                  <a:pt x="1" y="2"/>
                </a:lnTo>
                <a:lnTo>
                  <a:pt x="0" y="2"/>
                </a:lnTo>
                <a:lnTo>
                  <a:pt x="1" y="1"/>
                </a:lnTo>
                <a:lnTo>
                  <a:pt x="3" y="0"/>
                </a:lnTo>
                <a:lnTo>
                  <a:pt x="1" y="1"/>
                </a:lnTo>
                <a:lnTo>
                  <a:pt x="3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74" name="Freeform 1475"/>
          <p:cNvSpPr>
            <a:spLocks/>
          </p:cNvSpPr>
          <p:nvPr/>
        </p:nvSpPr>
        <p:spPr bwMode="auto">
          <a:xfrm>
            <a:off x="682625" y="2043078"/>
            <a:ext cx="47625" cy="20638"/>
          </a:xfrm>
          <a:custGeom>
            <a:avLst/>
            <a:gdLst>
              <a:gd name="T0" fmla="*/ 0 w 30"/>
              <a:gd name="T1" fmla="*/ 13 h 13"/>
              <a:gd name="T2" fmla="*/ 2 w 30"/>
              <a:gd name="T3" fmla="*/ 12 h 13"/>
              <a:gd name="T4" fmla="*/ 5 w 30"/>
              <a:gd name="T5" fmla="*/ 11 h 13"/>
              <a:gd name="T6" fmla="*/ 8 w 30"/>
              <a:gd name="T7" fmla="*/ 9 h 13"/>
              <a:gd name="T8" fmla="*/ 15 w 30"/>
              <a:gd name="T9" fmla="*/ 4 h 13"/>
              <a:gd name="T10" fmla="*/ 17 w 30"/>
              <a:gd name="T11" fmla="*/ 4 h 13"/>
              <a:gd name="T12" fmla="*/ 20 w 30"/>
              <a:gd name="T13" fmla="*/ 3 h 13"/>
              <a:gd name="T14" fmla="*/ 24 w 30"/>
              <a:gd name="T15" fmla="*/ 1 h 13"/>
              <a:gd name="T16" fmla="*/ 29 w 30"/>
              <a:gd name="T17" fmla="*/ 0 h 13"/>
              <a:gd name="T18" fmla="*/ 30 w 30"/>
              <a:gd name="T19" fmla="*/ 1 h 13"/>
              <a:gd name="T20" fmla="*/ 29 w 30"/>
              <a:gd name="T21" fmla="*/ 2 h 13"/>
              <a:gd name="T22" fmla="*/ 28 w 30"/>
              <a:gd name="T23" fmla="*/ 3 h 13"/>
              <a:gd name="T24" fmla="*/ 21 w 30"/>
              <a:gd name="T25" fmla="*/ 5 h 13"/>
              <a:gd name="T26" fmla="*/ 5 w 30"/>
              <a:gd name="T27" fmla="*/ 12 h 13"/>
              <a:gd name="T28" fmla="*/ 4 w 30"/>
              <a:gd name="T29" fmla="*/ 12 h 13"/>
              <a:gd name="T30" fmla="*/ 0 w 30"/>
              <a:gd name="T31" fmla="*/ 13 h 13"/>
              <a:gd name="T32" fmla="*/ 0 w 30"/>
              <a:gd name="T33" fmla="*/ 13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0" h="13">
                <a:moveTo>
                  <a:pt x="0" y="13"/>
                </a:moveTo>
                <a:lnTo>
                  <a:pt x="2" y="12"/>
                </a:lnTo>
                <a:lnTo>
                  <a:pt x="5" y="11"/>
                </a:lnTo>
                <a:lnTo>
                  <a:pt x="8" y="9"/>
                </a:lnTo>
                <a:lnTo>
                  <a:pt x="15" y="4"/>
                </a:lnTo>
                <a:lnTo>
                  <a:pt x="17" y="4"/>
                </a:lnTo>
                <a:lnTo>
                  <a:pt x="20" y="3"/>
                </a:lnTo>
                <a:lnTo>
                  <a:pt x="24" y="1"/>
                </a:lnTo>
                <a:lnTo>
                  <a:pt x="29" y="0"/>
                </a:lnTo>
                <a:lnTo>
                  <a:pt x="30" y="1"/>
                </a:lnTo>
                <a:lnTo>
                  <a:pt x="29" y="2"/>
                </a:lnTo>
                <a:lnTo>
                  <a:pt x="28" y="3"/>
                </a:lnTo>
                <a:lnTo>
                  <a:pt x="21" y="5"/>
                </a:lnTo>
                <a:lnTo>
                  <a:pt x="5" y="12"/>
                </a:lnTo>
                <a:lnTo>
                  <a:pt x="4" y="12"/>
                </a:lnTo>
                <a:lnTo>
                  <a:pt x="0" y="13"/>
                </a:lnTo>
                <a:lnTo>
                  <a:pt x="0" y="1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75" name="Freeform 1476"/>
          <p:cNvSpPr>
            <a:spLocks/>
          </p:cNvSpPr>
          <p:nvPr/>
        </p:nvSpPr>
        <p:spPr bwMode="auto">
          <a:xfrm>
            <a:off x="682625" y="2043078"/>
            <a:ext cx="47625" cy="20638"/>
          </a:xfrm>
          <a:custGeom>
            <a:avLst/>
            <a:gdLst>
              <a:gd name="T0" fmla="*/ 0 w 30"/>
              <a:gd name="T1" fmla="*/ 13 h 13"/>
              <a:gd name="T2" fmla="*/ 2 w 30"/>
              <a:gd name="T3" fmla="*/ 12 h 13"/>
              <a:gd name="T4" fmla="*/ 5 w 30"/>
              <a:gd name="T5" fmla="*/ 11 h 13"/>
              <a:gd name="T6" fmla="*/ 8 w 30"/>
              <a:gd name="T7" fmla="*/ 9 h 13"/>
              <a:gd name="T8" fmla="*/ 15 w 30"/>
              <a:gd name="T9" fmla="*/ 4 h 13"/>
              <a:gd name="T10" fmla="*/ 17 w 30"/>
              <a:gd name="T11" fmla="*/ 4 h 13"/>
              <a:gd name="T12" fmla="*/ 20 w 30"/>
              <a:gd name="T13" fmla="*/ 3 h 13"/>
              <a:gd name="T14" fmla="*/ 24 w 30"/>
              <a:gd name="T15" fmla="*/ 1 h 13"/>
              <a:gd name="T16" fmla="*/ 29 w 30"/>
              <a:gd name="T17" fmla="*/ 0 h 13"/>
              <a:gd name="T18" fmla="*/ 30 w 30"/>
              <a:gd name="T19" fmla="*/ 1 h 13"/>
              <a:gd name="T20" fmla="*/ 29 w 30"/>
              <a:gd name="T21" fmla="*/ 2 h 13"/>
              <a:gd name="T22" fmla="*/ 28 w 30"/>
              <a:gd name="T23" fmla="*/ 3 h 13"/>
              <a:gd name="T24" fmla="*/ 21 w 30"/>
              <a:gd name="T25" fmla="*/ 5 h 13"/>
              <a:gd name="T26" fmla="*/ 5 w 30"/>
              <a:gd name="T27" fmla="*/ 12 h 13"/>
              <a:gd name="T28" fmla="*/ 4 w 30"/>
              <a:gd name="T29" fmla="*/ 12 h 13"/>
              <a:gd name="T30" fmla="*/ 0 w 30"/>
              <a:gd name="T31" fmla="*/ 13 h 13"/>
              <a:gd name="T32" fmla="*/ 0 w 30"/>
              <a:gd name="T33" fmla="*/ 13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30" h="13">
                <a:moveTo>
                  <a:pt x="0" y="13"/>
                </a:moveTo>
                <a:lnTo>
                  <a:pt x="2" y="12"/>
                </a:lnTo>
                <a:lnTo>
                  <a:pt x="5" y="11"/>
                </a:lnTo>
                <a:lnTo>
                  <a:pt x="8" y="9"/>
                </a:lnTo>
                <a:lnTo>
                  <a:pt x="15" y="4"/>
                </a:lnTo>
                <a:lnTo>
                  <a:pt x="17" y="4"/>
                </a:lnTo>
                <a:lnTo>
                  <a:pt x="20" y="3"/>
                </a:lnTo>
                <a:lnTo>
                  <a:pt x="24" y="1"/>
                </a:lnTo>
                <a:lnTo>
                  <a:pt x="29" y="0"/>
                </a:lnTo>
                <a:lnTo>
                  <a:pt x="30" y="1"/>
                </a:lnTo>
                <a:lnTo>
                  <a:pt x="29" y="2"/>
                </a:lnTo>
                <a:lnTo>
                  <a:pt x="28" y="3"/>
                </a:lnTo>
                <a:lnTo>
                  <a:pt x="21" y="5"/>
                </a:lnTo>
                <a:lnTo>
                  <a:pt x="5" y="12"/>
                </a:lnTo>
                <a:lnTo>
                  <a:pt x="4" y="12"/>
                </a:lnTo>
                <a:lnTo>
                  <a:pt x="0" y="13"/>
                </a:lnTo>
                <a:lnTo>
                  <a:pt x="0" y="1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76" name="Freeform 1477"/>
          <p:cNvSpPr>
            <a:spLocks/>
          </p:cNvSpPr>
          <p:nvPr/>
        </p:nvSpPr>
        <p:spPr bwMode="auto">
          <a:xfrm>
            <a:off x="730250" y="2030378"/>
            <a:ext cx="47625" cy="19050"/>
          </a:xfrm>
          <a:custGeom>
            <a:avLst/>
            <a:gdLst>
              <a:gd name="T0" fmla="*/ 0 w 30"/>
              <a:gd name="T1" fmla="*/ 12 h 12"/>
              <a:gd name="T2" fmla="*/ 0 w 30"/>
              <a:gd name="T3" fmla="*/ 11 h 12"/>
              <a:gd name="T4" fmla="*/ 0 w 30"/>
              <a:gd name="T5" fmla="*/ 11 h 12"/>
              <a:gd name="T6" fmla="*/ 8 w 30"/>
              <a:gd name="T7" fmla="*/ 10 h 12"/>
              <a:gd name="T8" fmla="*/ 10 w 30"/>
              <a:gd name="T9" fmla="*/ 9 h 12"/>
              <a:gd name="T10" fmla="*/ 12 w 30"/>
              <a:gd name="T11" fmla="*/ 7 h 12"/>
              <a:gd name="T12" fmla="*/ 16 w 30"/>
              <a:gd name="T13" fmla="*/ 4 h 12"/>
              <a:gd name="T14" fmla="*/ 17 w 30"/>
              <a:gd name="T15" fmla="*/ 5 h 12"/>
              <a:gd name="T16" fmla="*/ 19 w 30"/>
              <a:gd name="T17" fmla="*/ 4 h 12"/>
              <a:gd name="T18" fmla="*/ 19 w 30"/>
              <a:gd name="T19" fmla="*/ 4 h 12"/>
              <a:gd name="T20" fmla="*/ 18 w 30"/>
              <a:gd name="T21" fmla="*/ 4 h 12"/>
              <a:gd name="T22" fmla="*/ 18 w 30"/>
              <a:gd name="T23" fmla="*/ 2 h 12"/>
              <a:gd name="T24" fmla="*/ 19 w 30"/>
              <a:gd name="T25" fmla="*/ 1 h 12"/>
              <a:gd name="T26" fmla="*/ 22 w 30"/>
              <a:gd name="T27" fmla="*/ 0 h 12"/>
              <a:gd name="T28" fmla="*/ 25 w 30"/>
              <a:gd name="T29" fmla="*/ 0 h 12"/>
              <a:gd name="T30" fmla="*/ 26 w 30"/>
              <a:gd name="T31" fmla="*/ 1 h 12"/>
              <a:gd name="T32" fmla="*/ 25 w 30"/>
              <a:gd name="T33" fmla="*/ 2 h 12"/>
              <a:gd name="T34" fmla="*/ 30 w 30"/>
              <a:gd name="T35" fmla="*/ 0 h 12"/>
              <a:gd name="T36" fmla="*/ 30 w 30"/>
              <a:gd name="T37" fmla="*/ 0 h 12"/>
              <a:gd name="T38" fmla="*/ 30 w 30"/>
              <a:gd name="T39" fmla="*/ 1 h 12"/>
              <a:gd name="T40" fmla="*/ 28 w 30"/>
              <a:gd name="T41" fmla="*/ 2 h 12"/>
              <a:gd name="T42" fmla="*/ 25 w 30"/>
              <a:gd name="T43" fmla="*/ 3 h 12"/>
              <a:gd name="T44" fmla="*/ 22 w 30"/>
              <a:gd name="T45" fmla="*/ 4 h 12"/>
              <a:gd name="T46" fmla="*/ 25 w 30"/>
              <a:gd name="T47" fmla="*/ 4 h 12"/>
              <a:gd name="T48" fmla="*/ 23 w 30"/>
              <a:gd name="T49" fmla="*/ 5 h 12"/>
              <a:gd name="T50" fmla="*/ 21 w 30"/>
              <a:gd name="T51" fmla="*/ 7 h 12"/>
              <a:gd name="T52" fmla="*/ 17 w 30"/>
              <a:gd name="T53" fmla="*/ 8 h 12"/>
              <a:gd name="T54" fmla="*/ 15 w 30"/>
              <a:gd name="T55" fmla="*/ 9 h 12"/>
              <a:gd name="T56" fmla="*/ 12 w 30"/>
              <a:gd name="T57" fmla="*/ 9 h 12"/>
              <a:gd name="T58" fmla="*/ 10 w 30"/>
              <a:gd name="T59" fmla="*/ 10 h 12"/>
              <a:gd name="T60" fmla="*/ 7 w 30"/>
              <a:gd name="T61" fmla="*/ 11 h 12"/>
              <a:gd name="T62" fmla="*/ 0 w 30"/>
              <a:gd name="T63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0" h="12">
                <a:moveTo>
                  <a:pt x="0" y="12"/>
                </a:moveTo>
                <a:lnTo>
                  <a:pt x="0" y="11"/>
                </a:lnTo>
                <a:lnTo>
                  <a:pt x="0" y="11"/>
                </a:lnTo>
                <a:lnTo>
                  <a:pt x="8" y="10"/>
                </a:lnTo>
                <a:lnTo>
                  <a:pt x="10" y="9"/>
                </a:lnTo>
                <a:lnTo>
                  <a:pt x="12" y="7"/>
                </a:lnTo>
                <a:lnTo>
                  <a:pt x="16" y="4"/>
                </a:lnTo>
                <a:lnTo>
                  <a:pt x="17" y="5"/>
                </a:lnTo>
                <a:lnTo>
                  <a:pt x="19" y="4"/>
                </a:lnTo>
                <a:lnTo>
                  <a:pt x="19" y="4"/>
                </a:lnTo>
                <a:lnTo>
                  <a:pt x="18" y="4"/>
                </a:lnTo>
                <a:lnTo>
                  <a:pt x="18" y="2"/>
                </a:lnTo>
                <a:lnTo>
                  <a:pt x="19" y="1"/>
                </a:lnTo>
                <a:lnTo>
                  <a:pt x="22" y="0"/>
                </a:lnTo>
                <a:lnTo>
                  <a:pt x="25" y="0"/>
                </a:lnTo>
                <a:lnTo>
                  <a:pt x="26" y="1"/>
                </a:lnTo>
                <a:lnTo>
                  <a:pt x="25" y="2"/>
                </a:lnTo>
                <a:lnTo>
                  <a:pt x="30" y="0"/>
                </a:lnTo>
                <a:lnTo>
                  <a:pt x="30" y="0"/>
                </a:lnTo>
                <a:lnTo>
                  <a:pt x="30" y="1"/>
                </a:lnTo>
                <a:lnTo>
                  <a:pt x="28" y="2"/>
                </a:lnTo>
                <a:lnTo>
                  <a:pt x="25" y="3"/>
                </a:lnTo>
                <a:lnTo>
                  <a:pt x="22" y="4"/>
                </a:lnTo>
                <a:lnTo>
                  <a:pt x="25" y="4"/>
                </a:lnTo>
                <a:lnTo>
                  <a:pt x="23" y="5"/>
                </a:lnTo>
                <a:lnTo>
                  <a:pt x="21" y="7"/>
                </a:lnTo>
                <a:lnTo>
                  <a:pt x="17" y="8"/>
                </a:lnTo>
                <a:lnTo>
                  <a:pt x="15" y="9"/>
                </a:lnTo>
                <a:lnTo>
                  <a:pt x="12" y="9"/>
                </a:lnTo>
                <a:lnTo>
                  <a:pt x="10" y="10"/>
                </a:lnTo>
                <a:lnTo>
                  <a:pt x="7" y="11"/>
                </a:lnTo>
                <a:lnTo>
                  <a:pt x="0" y="1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77" name="Freeform 1478"/>
          <p:cNvSpPr>
            <a:spLocks/>
          </p:cNvSpPr>
          <p:nvPr/>
        </p:nvSpPr>
        <p:spPr bwMode="auto">
          <a:xfrm>
            <a:off x="730250" y="2030378"/>
            <a:ext cx="47625" cy="19050"/>
          </a:xfrm>
          <a:custGeom>
            <a:avLst/>
            <a:gdLst>
              <a:gd name="T0" fmla="*/ 0 w 30"/>
              <a:gd name="T1" fmla="*/ 12 h 12"/>
              <a:gd name="T2" fmla="*/ 0 w 30"/>
              <a:gd name="T3" fmla="*/ 11 h 12"/>
              <a:gd name="T4" fmla="*/ 0 w 30"/>
              <a:gd name="T5" fmla="*/ 11 h 12"/>
              <a:gd name="T6" fmla="*/ 8 w 30"/>
              <a:gd name="T7" fmla="*/ 10 h 12"/>
              <a:gd name="T8" fmla="*/ 10 w 30"/>
              <a:gd name="T9" fmla="*/ 9 h 12"/>
              <a:gd name="T10" fmla="*/ 12 w 30"/>
              <a:gd name="T11" fmla="*/ 7 h 12"/>
              <a:gd name="T12" fmla="*/ 16 w 30"/>
              <a:gd name="T13" fmla="*/ 4 h 12"/>
              <a:gd name="T14" fmla="*/ 17 w 30"/>
              <a:gd name="T15" fmla="*/ 5 h 12"/>
              <a:gd name="T16" fmla="*/ 19 w 30"/>
              <a:gd name="T17" fmla="*/ 4 h 12"/>
              <a:gd name="T18" fmla="*/ 19 w 30"/>
              <a:gd name="T19" fmla="*/ 4 h 12"/>
              <a:gd name="T20" fmla="*/ 18 w 30"/>
              <a:gd name="T21" fmla="*/ 4 h 12"/>
              <a:gd name="T22" fmla="*/ 18 w 30"/>
              <a:gd name="T23" fmla="*/ 2 h 12"/>
              <a:gd name="T24" fmla="*/ 19 w 30"/>
              <a:gd name="T25" fmla="*/ 1 h 12"/>
              <a:gd name="T26" fmla="*/ 22 w 30"/>
              <a:gd name="T27" fmla="*/ 0 h 12"/>
              <a:gd name="T28" fmla="*/ 25 w 30"/>
              <a:gd name="T29" fmla="*/ 0 h 12"/>
              <a:gd name="T30" fmla="*/ 26 w 30"/>
              <a:gd name="T31" fmla="*/ 1 h 12"/>
              <a:gd name="T32" fmla="*/ 25 w 30"/>
              <a:gd name="T33" fmla="*/ 2 h 12"/>
              <a:gd name="T34" fmla="*/ 30 w 30"/>
              <a:gd name="T35" fmla="*/ 0 h 12"/>
              <a:gd name="T36" fmla="*/ 30 w 30"/>
              <a:gd name="T37" fmla="*/ 0 h 12"/>
              <a:gd name="T38" fmla="*/ 30 w 30"/>
              <a:gd name="T39" fmla="*/ 1 h 12"/>
              <a:gd name="T40" fmla="*/ 28 w 30"/>
              <a:gd name="T41" fmla="*/ 2 h 12"/>
              <a:gd name="T42" fmla="*/ 25 w 30"/>
              <a:gd name="T43" fmla="*/ 3 h 12"/>
              <a:gd name="T44" fmla="*/ 22 w 30"/>
              <a:gd name="T45" fmla="*/ 4 h 12"/>
              <a:gd name="T46" fmla="*/ 25 w 30"/>
              <a:gd name="T47" fmla="*/ 4 h 12"/>
              <a:gd name="T48" fmla="*/ 23 w 30"/>
              <a:gd name="T49" fmla="*/ 5 h 12"/>
              <a:gd name="T50" fmla="*/ 21 w 30"/>
              <a:gd name="T51" fmla="*/ 7 h 12"/>
              <a:gd name="T52" fmla="*/ 17 w 30"/>
              <a:gd name="T53" fmla="*/ 8 h 12"/>
              <a:gd name="T54" fmla="*/ 15 w 30"/>
              <a:gd name="T55" fmla="*/ 9 h 12"/>
              <a:gd name="T56" fmla="*/ 12 w 30"/>
              <a:gd name="T57" fmla="*/ 9 h 12"/>
              <a:gd name="T58" fmla="*/ 10 w 30"/>
              <a:gd name="T59" fmla="*/ 10 h 12"/>
              <a:gd name="T60" fmla="*/ 7 w 30"/>
              <a:gd name="T61" fmla="*/ 11 h 12"/>
              <a:gd name="T62" fmla="*/ 0 w 30"/>
              <a:gd name="T63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0" h="12">
                <a:moveTo>
                  <a:pt x="0" y="12"/>
                </a:moveTo>
                <a:lnTo>
                  <a:pt x="0" y="11"/>
                </a:lnTo>
                <a:lnTo>
                  <a:pt x="0" y="11"/>
                </a:lnTo>
                <a:lnTo>
                  <a:pt x="8" y="10"/>
                </a:lnTo>
                <a:lnTo>
                  <a:pt x="10" y="9"/>
                </a:lnTo>
                <a:lnTo>
                  <a:pt x="12" y="7"/>
                </a:lnTo>
                <a:lnTo>
                  <a:pt x="16" y="4"/>
                </a:lnTo>
                <a:lnTo>
                  <a:pt x="17" y="5"/>
                </a:lnTo>
                <a:lnTo>
                  <a:pt x="19" y="4"/>
                </a:lnTo>
                <a:lnTo>
                  <a:pt x="19" y="4"/>
                </a:lnTo>
                <a:lnTo>
                  <a:pt x="18" y="4"/>
                </a:lnTo>
                <a:lnTo>
                  <a:pt x="18" y="2"/>
                </a:lnTo>
                <a:lnTo>
                  <a:pt x="19" y="1"/>
                </a:lnTo>
                <a:lnTo>
                  <a:pt x="22" y="0"/>
                </a:lnTo>
                <a:lnTo>
                  <a:pt x="25" y="0"/>
                </a:lnTo>
                <a:lnTo>
                  <a:pt x="26" y="1"/>
                </a:lnTo>
                <a:lnTo>
                  <a:pt x="25" y="2"/>
                </a:lnTo>
                <a:lnTo>
                  <a:pt x="30" y="0"/>
                </a:lnTo>
                <a:lnTo>
                  <a:pt x="30" y="0"/>
                </a:lnTo>
                <a:lnTo>
                  <a:pt x="30" y="1"/>
                </a:lnTo>
                <a:lnTo>
                  <a:pt x="28" y="2"/>
                </a:lnTo>
                <a:lnTo>
                  <a:pt x="25" y="3"/>
                </a:lnTo>
                <a:lnTo>
                  <a:pt x="22" y="4"/>
                </a:lnTo>
                <a:lnTo>
                  <a:pt x="25" y="4"/>
                </a:lnTo>
                <a:lnTo>
                  <a:pt x="23" y="5"/>
                </a:lnTo>
                <a:lnTo>
                  <a:pt x="21" y="7"/>
                </a:lnTo>
                <a:lnTo>
                  <a:pt x="17" y="8"/>
                </a:lnTo>
                <a:lnTo>
                  <a:pt x="15" y="9"/>
                </a:lnTo>
                <a:lnTo>
                  <a:pt x="12" y="9"/>
                </a:lnTo>
                <a:lnTo>
                  <a:pt x="10" y="10"/>
                </a:lnTo>
                <a:lnTo>
                  <a:pt x="7" y="11"/>
                </a:lnTo>
                <a:lnTo>
                  <a:pt x="0" y="1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78" name="Freeform 1479"/>
          <p:cNvSpPr>
            <a:spLocks/>
          </p:cNvSpPr>
          <p:nvPr/>
        </p:nvSpPr>
        <p:spPr bwMode="auto">
          <a:xfrm>
            <a:off x="787400" y="2024028"/>
            <a:ext cx="9525" cy="4763"/>
          </a:xfrm>
          <a:custGeom>
            <a:avLst/>
            <a:gdLst>
              <a:gd name="T0" fmla="*/ 5 w 6"/>
              <a:gd name="T1" fmla="*/ 0 h 3"/>
              <a:gd name="T2" fmla="*/ 5 w 6"/>
              <a:gd name="T3" fmla="*/ 1 h 3"/>
              <a:gd name="T4" fmla="*/ 6 w 6"/>
              <a:gd name="T5" fmla="*/ 1 h 3"/>
              <a:gd name="T6" fmla="*/ 5 w 6"/>
              <a:gd name="T7" fmla="*/ 2 h 3"/>
              <a:gd name="T8" fmla="*/ 2 w 6"/>
              <a:gd name="T9" fmla="*/ 3 h 3"/>
              <a:gd name="T10" fmla="*/ 0 w 6"/>
              <a:gd name="T11" fmla="*/ 3 h 3"/>
              <a:gd name="T12" fmla="*/ 1 w 6"/>
              <a:gd name="T13" fmla="*/ 2 h 3"/>
              <a:gd name="T14" fmla="*/ 3 w 6"/>
              <a:gd name="T15" fmla="*/ 1 h 3"/>
              <a:gd name="T16" fmla="*/ 5 w 6"/>
              <a:gd name="T17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" h="3">
                <a:moveTo>
                  <a:pt x="5" y="0"/>
                </a:moveTo>
                <a:lnTo>
                  <a:pt x="5" y="1"/>
                </a:lnTo>
                <a:lnTo>
                  <a:pt x="6" y="1"/>
                </a:lnTo>
                <a:lnTo>
                  <a:pt x="5" y="2"/>
                </a:lnTo>
                <a:lnTo>
                  <a:pt x="2" y="3"/>
                </a:lnTo>
                <a:lnTo>
                  <a:pt x="0" y="3"/>
                </a:lnTo>
                <a:lnTo>
                  <a:pt x="1" y="2"/>
                </a:lnTo>
                <a:lnTo>
                  <a:pt x="3" y="1"/>
                </a:lnTo>
                <a:lnTo>
                  <a:pt x="5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79" name="Freeform 1480"/>
          <p:cNvSpPr>
            <a:spLocks/>
          </p:cNvSpPr>
          <p:nvPr/>
        </p:nvSpPr>
        <p:spPr bwMode="auto">
          <a:xfrm>
            <a:off x="787400" y="2024028"/>
            <a:ext cx="9525" cy="4763"/>
          </a:xfrm>
          <a:custGeom>
            <a:avLst/>
            <a:gdLst>
              <a:gd name="T0" fmla="*/ 5 w 6"/>
              <a:gd name="T1" fmla="*/ 0 h 3"/>
              <a:gd name="T2" fmla="*/ 5 w 6"/>
              <a:gd name="T3" fmla="*/ 1 h 3"/>
              <a:gd name="T4" fmla="*/ 6 w 6"/>
              <a:gd name="T5" fmla="*/ 1 h 3"/>
              <a:gd name="T6" fmla="*/ 5 w 6"/>
              <a:gd name="T7" fmla="*/ 2 h 3"/>
              <a:gd name="T8" fmla="*/ 2 w 6"/>
              <a:gd name="T9" fmla="*/ 3 h 3"/>
              <a:gd name="T10" fmla="*/ 0 w 6"/>
              <a:gd name="T11" fmla="*/ 3 h 3"/>
              <a:gd name="T12" fmla="*/ 1 w 6"/>
              <a:gd name="T13" fmla="*/ 2 h 3"/>
              <a:gd name="T14" fmla="*/ 3 w 6"/>
              <a:gd name="T15" fmla="*/ 1 h 3"/>
              <a:gd name="T16" fmla="*/ 5 w 6"/>
              <a:gd name="T17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" h="3">
                <a:moveTo>
                  <a:pt x="5" y="0"/>
                </a:moveTo>
                <a:lnTo>
                  <a:pt x="5" y="1"/>
                </a:lnTo>
                <a:lnTo>
                  <a:pt x="6" y="1"/>
                </a:lnTo>
                <a:lnTo>
                  <a:pt x="5" y="2"/>
                </a:lnTo>
                <a:lnTo>
                  <a:pt x="2" y="3"/>
                </a:lnTo>
                <a:lnTo>
                  <a:pt x="0" y="3"/>
                </a:lnTo>
                <a:lnTo>
                  <a:pt x="1" y="2"/>
                </a:lnTo>
                <a:lnTo>
                  <a:pt x="3" y="1"/>
                </a:lnTo>
                <a:lnTo>
                  <a:pt x="5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80" name="Freeform 1481"/>
          <p:cNvSpPr>
            <a:spLocks/>
          </p:cNvSpPr>
          <p:nvPr/>
        </p:nvSpPr>
        <p:spPr bwMode="auto">
          <a:xfrm>
            <a:off x="827088" y="2000215"/>
            <a:ext cx="44450" cy="19050"/>
          </a:xfrm>
          <a:custGeom>
            <a:avLst/>
            <a:gdLst>
              <a:gd name="T0" fmla="*/ 1 w 28"/>
              <a:gd name="T1" fmla="*/ 8 h 12"/>
              <a:gd name="T2" fmla="*/ 5 w 28"/>
              <a:gd name="T3" fmla="*/ 7 h 12"/>
              <a:gd name="T4" fmla="*/ 9 w 28"/>
              <a:gd name="T5" fmla="*/ 5 h 12"/>
              <a:gd name="T6" fmla="*/ 14 w 28"/>
              <a:gd name="T7" fmla="*/ 2 h 12"/>
              <a:gd name="T8" fmla="*/ 17 w 28"/>
              <a:gd name="T9" fmla="*/ 2 h 12"/>
              <a:gd name="T10" fmla="*/ 20 w 28"/>
              <a:gd name="T11" fmla="*/ 2 h 12"/>
              <a:gd name="T12" fmla="*/ 27 w 28"/>
              <a:gd name="T13" fmla="*/ 0 h 12"/>
              <a:gd name="T14" fmla="*/ 28 w 28"/>
              <a:gd name="T15" fmla="*/ 0 h 12"/>
              <a:gd name="T16" fmla="*/ 26 w 28"/>
              <a:gd name="T17" fmla="*/ 5 h 12"/>
              <a:gd name="T18" fmla="*/ 26 w 28"/>
              <a:gd name="T19" fmla="*/ 6 h 12"/>
              <a:gd name="T20" fmla="*/ 27 w 28"/>
              <a:gd name="T21" fmla="*/ 6 h 12"/>
              <a:gd name="T22" fmla="*/ 27 w 28"/>
              <a:gd name="T23" fmla="*/ 6 h 12"/>
              <a:gd name="T24" fmla="*/ 27 w 28"/>
              <a:gd name="T25" fmla="*/ 7 h 12"/>
              <a:gd name="T26" fmla="*/ 26 w 28"/>
              <a:gd name="T27" fmla="*/ 7 h 12"/>
              <a:gd name="T28" fmla="*/ 25 w 28"/>
              <a:gd name="T29" fmla="*/ 7 h 12"/>
              <a:gd name="T30" fmla="*/ 21 w 28"/>
              <a:gd name="T31" fmla="*/ 8 h 12"/>
              <a:gd name="T32" fmla="*/ 18 w 28"/>
              <a:gd name="T33" fmla="*/ 8 h 12"/>
              <a:gd name="T34" fmla="*/ 12 w 28"/>
              <a:gd name="T35" fmla="*/ 8 h 12"/>
              <a:gd name="T36" fmla="*/ 1 w 28"/>
              <a:gd name="T37" fmla="*/ 12 h 12"/>
              <a:gd name="T38" fmla="*/ 0 w 28"/>
              <a:gd name="T39" fmla="*/ 11 h 12"/>
              <a:gd name="T40" fmla="*/ 1 w 28"/>
              <a:gd name="T41" fmla="*/ 8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8" h="12">
                <a:moveTo>
                  <a:pt x="1" y="8"/>
                </a:moveTo>
                <a:lnTo>
                  <a:pt x="5" y="7"/>
                </a:lnTo>
                <a:lnTo>
                  <a:pt x="9" y="5"/>
                </a:lnTo>
                <a:lnTo>
                  <a:pt x="14" y="2"/>
                </a:lnTo>
                <a:lnTo>
                  <a:pt x="17" y="2"/>
                </a:lnTo>
                <a:lnTo>
                  <a:pt x="20" y="2"/>
                </a:lnTo>
                <a:lnTo>
                  <a:pt x="27" y="0"/>
                </a:lnTo>
                <a:lnTo>
                  <a:pt x="28" y="0"/>
                </a:lnTo>
                <a:lnTo>
                  <a:pt x="26" y="5"/>
                </a:lnTo>
                <a:lnTo>
                  <a:pt x="26" y="6"/>
                </a:lnTo>
                <a:lnTo>
                  <a:pt x="27" y="6"/>
                </a:lnTo>
                <a:lnTo>
                  <a:pt x="27" y="6"/>
                </a:lnTo>
                <a:lnTo>
                  <a:pt x="27" y="7"/>
                </a:lnTo>
                <a:lnTo>
                  <a:pt x="26" y="7"/>
                </a:lnTo>
                <a:lnTo>
                  <a:pt x="25" y="7"/>
                </a:lnTo>
                <a:lnTo>
                  <a:pt x="21" y="8"/>
                </a:lnTo>
                <a:lnTo>
                  <a:pt x="18" y="8"/>
                </a:lnTo>
                <a:lnTo>
                  <a:pt x="12" y="8"/>
                </a:lnTo>
                <a:lnTo>
                  <a:pt x="1" y="12"/>
                </a:lnTo>
                <a:lnTo>
                  <a:pt x="0" y="11"/>
                </a:lnTo>
                <a:lnTo>
                  <a:pt x="1" y="8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81" name="Freeform 1482"/>
          <p:cNvSpPr>
            <a:spLocks/>
          </p:cNvSpPr>
          <p:nvPr/>
        </p:nvSpPr>
        <p:spPr bwMode="auto">
          <a:xfrm>
            <a:off x="827088" y="2000215"/>
            <a:ext cx="44450" cy="19050"/>
          </a:xfrm>
          <a:custGeom>
            <a:avLst/>
            <a:gdLst>
              <a:gd name="T0" fmla="*/ 1 w 28"/>
              <a:gd name="T1" fmla="*/ 8 h 12"/>
              <a:gd name="T2" fmla="*/ 5 w 28"/>
              <a:gd name="T3" fmla="*/ 7 h 12"/>
              <a:gd name="T4" fmla="*/ 9 w 28"/>
              <a:gd name="T5" fmla="*/ 5 h 12"/>
              <a:gd name="T6" fmla="*/ 14 w 28"/>
              <a:gd name="T7" fmla="*/ 2 h 12"/>
              <a:gd name="T8" fmla="*/ 17 w 28"/>
              <a:gd name="T9" fmla="*/ 2 h 12"/>
              <a:gd name="T10" fmla="*/ 20 w 28"/>
              <a:gd name="T11" fmla="*/ 2 h 12"/>
              <a:gd name="T12" fmla="*/ 27 w 28"/>
              <a:gd name="T13" fmla="*/ 0 h 12"/>
              <a:gd name="T14" fmla="*/ 28 w 28"/>
              <a:gd name="T15" fmla="*/ 0 h 12"/>
              <a:gd name="T16" fmla="*/ 26 w 28"/>
              <a:gd name="T17" fmla="*/ 5 h 12"/>
              <a:gd name="T18" fmla="*/ 26 w 28"/>
              <a:gd name="T19" fmla="*/ 6 h 12"/>
              <a:gd name="T20" fmla="*/ 27 w 28"/>
              <a:gd name="T21" fmla="*/ 6 h 12"/>
              <a:gd name="T22" fmla="*/ 27 w 28"/>
              <a:gd name="T23" fmla="*/ 6 h 12"/>
              <a:gd name="T24" fmla="*/ 27 w 28"/>
              <a:gd name="T25" fmla="*/ 7 h 12"/>
              <a:gd name="T26" fmla="*/ 26 w 28"/>
              <a:gd name="T27" fmla="*/ 7 h 12"/>
              <a:gd name="T28" fmla="*/ 25 w 28"/>
              <a:gd name="T29" fmla="*/ 7 h 12"/>
              <a:gd name="T30" fmla="*/ 21 w 28"/>
              <a:gd name="T31" fmla="*/ 8 h 12"/>
              <a:gd name="T32" fmla="*/ 18 w 28"/>
              <a:gd name="T33" fmla="*/ 8 h 12"/>
              <a:gd name="T34" fmla="*/ 12 w 28"/>
              <a:gd name="T35" fmla="*/ 8 h 12"/>
              <a:gd name="T36" fmla="*/ 1 w 28"/>
              <a:gd name="T37" fmla="*/ 12 h 12"/>
              <a:gd name="T38" fmla="*/ 0 w 28"/>
              <a:gd name="T39" fmla="*/ 11 h 12"/>
              <a:gd name="T40" fmla="*/ 1 w 28"/>
              <a:gd name="T41" fmla="*/ 8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8" h="12">
                <a:moveTo>
                  <a:pt x="1" y="8"/>
                </a:moveTo>
                <a:lnTo>
                  <a:pt x="5" y="7"/>
                </a:lnTo>
                <a:lnTo>
                  <a:pt x="9" y="5"/>
                </a:lnTo>
                <a:lnTo>
                  <a:pt x="14" y="2"/>
                </a:lnTo>
                <a:lnTo>
                  <a:pt x="17" y="2"/>
                </a:lnTo>
                <a:lnTo>
                  <a:pt x="20" y="2"/>
                </a:lnTo>
                <a:lnTo>
                  <a:pt x="27" y="0"/>
                </a:lnTo>
                <a:lnTo>
                  <a:pt x="28" y="0"/>
                </a:lnTo>
                <a:lnTo>
                  <a:pt x="26" y="5"/>
                </a:lnTo>
                <a:lnTo>
                  <a:pt x="26" y="6"/>
                </a:lnTo>
                <a:lnTo>
                  <a:pt x="27" y="6"/>
                </a:lnTo>
                <a:lnTo>
                  <a:pt x="27" y="6"/>
                </a:lnTo>
                <a:lnTo>
                  <a:pt x="27" y="7"/>
                </a:lnTo>
                <a:lnTo>
                  <a:pt x="26" y="7"/>
                </a:lnTo>
                <a:lnTo>
                  <a:pt x="25" y="7"/>
                </a:lnTo>
                <a:lnTo>
                  <a:pt x="21" y="8"/>
                </a:lnTo>
                <a:lnTo>
                  <a:pt x="18" y="8"/>
                </a:lnTo>
                <a:lnTo>
                  <a:pt x="12" y="8"/>
                </a:lnTo>
                <a:lnTo>
                  <a:pt x="1" y="12"/>
                </a:lnTo>
                <a:lnTo>
                  <a:pt x="0" y="11"/>
                </a:lnTo>
                <a:lnTo>
                  <a:pt x="1" y="8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82" name="Freeform 1483"/>
          <p:cNvSpPr>
            <a:spLocks/>
          </p:cNvSpPr>
          <p:nvPr/>
        </p:nvSpPr>
        <p:spPr bwMode="auto">
          <a:xfrm>
            <a:off x="869950" y="2016090"/>
            <a:ext cx="4762" cy="3175"/>
          </a:xfrm>
          <a:custGeom>
            <a:avLst/>
            <a:gdLst>
              <a:gd name="T0" fmla="*/ 1 w 3"/>
              <a:gd name="T1" fmla="*/ 0 h 2"/>
              <a:gd name="T2" fmla="*/ 2 w 3"/>
              <a:gd name="T3" fmla="*/ 0 h 2"/>
              <a:gd name="T4" fmla="*/ 3 w 3"/>
              <a:gd name="T5" fmla="*/ 0 h 2"/>
              <a:gd name="T6" fmla="*/ 2 w 3"/>
              <a:gd name="T7" fmla="*/ 1 h 2"/>
              <a:gd name="T8" fmla="*/ 2 w 3"/>
              <a:gd name="T9" fmla="*/ 1 h 2"/>
              <a:gd name="T10" fmla="*/ 0 w 3"/>
              <a:gd name="T11" fmla="*/ 2 h 2"/>
              <a:gd name="T12" fmla="*/ 1 w 3"/>
              <a:gd name="T13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" h="2">
                <a:moveTo>
                  <a:pt x="1" y="0"/>
                </a:moveTo>
                <a:lnTo>
                  <a:pt x="2" y="0"/>
                </a:lnTo>
                <a:lnTo>
                  <a:pt x="3" y="0"/>
                </a:lnTo>
                <a:lnTo>
                  <a:pt x="2" y="1"/>
                </a:lnTo>
                <a:lnTo>
                  <a:pt x="2" y="1"/>
                </a:lnTo>
                <a:lnTo>
                  <a:pt x="0" y="2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83" name="Freeform 1484"/>
          <p:cNvSpPr>
            <a:spLocks/>
          </p:cNvSpPr>
          <p:nvPr/>
        </p:nvSpPr>
        <p:spPr bwMode="auto">
          <a:xfrm>
            <a:off x="869950" y="2016090"/>
            <a:ext cx="4762" cy="3175"/>
          </a:xfrm>
          <a:custGeom>
            <a:avLst/>
            <a:gdLst>
              <a:gd name="T0" fmla="*/ 1 w 3"/>
              <a:gd name="T1" fmla="*/ 0 h 2"/>
              <a:gd name="T2" fmla="*/ 2 w 3"/>
              <a:gd name="T3" fmla="*/ 0 h 2"/>
              <a:gd name="T4" fmla="*/ 3 w 3"/>
              <a:gd name="T5" fmla="*/ 0 h 2"/>
              <a:gd name="T6" fmla="*/ 2 w 3"/>
              <a:gd name="T7" fmla="*/ 1 h 2"/>
              <a:gd name="T8" fmla="*/ 2 w 3"/>
              <a:gd name="T9" fmla="*/ 1 h 2"/>
              <a:gd name="T10" fmla="*/ 0 w 3"/>
              <a:gd name="T11" fmla="*/ 2 h 2"/>
              <a:gd name="T12" fmla="*/ 1 w 3"/>
              <a:gd name="T13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" h="2">
                <a:moveTo>
                  <a:pt x="1" y="0"/>
                </a:moveTo>
                <a:lnTo>
                  <a:pt x="2" y="0"/>
                </a:lnTo>
                <a:lnTo>
                  <a:pt x="3" y="0"/>
                </a:lnTo>
                <a:lnTo>
                  <a:pt x="2" y="1"/>
                </a:lnTo>
                <a:lnTo>
                  <a:pt x="2" y="1"/>
                </a:lnTo>
                <a:lnTo>
                  <a:pt x="0" y="2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84" name="Freeform 1485"/>
          <p:cNvSpPr>
            <a:spLocks/>
          </p:cNvSpPr>
          <p:nvPr/>
        </p:nvSpPr>
        <p:spPr bwMode="auto">
          <a:xfrm>
            <a:off x="935038" y="1992278"/>
            <a:ext cx="11112" cy="6350"/>
          </a:xfrm>
          <a:custGeom>
            <a:avLst/>
            <a:gdLst>
              <a:gd name="T0" fmla="*/ 4 w 7"/>
              <a:gd name="T1" fmla="*/ 1 h 4"/>
              <a:gd name="T2" fmla="*/ 4 w 7"/>
              <a:gd name="T3" fmla="*/ 0 h 4"/>
              <a:gd name="T4" fmla="*/ 3 w 7"/>
              <a:gd name="T5" fmla="*/ 1 h 4"/>
              <a:gd name="T6" fmla="*/ 4 w 7"/>
              <a:gd name="T7" fmla="*/ 1 h 4"/>
              <a:gd name="T8" fmla="*/ 5 w 7"/>
              <a:gd name="T9" fmla="*/ 0 h 4"/>
              <a:gd name="T10" fmla="*/ 7 w 7"/>
              <a:gd name="T11" fmla="*/ 0 h 4"/>
              <a:gd name="T12" fmla="*/ 5 w 7"/>
              <a:gd name="T13" fmla="*/ 1 h 4"/>
              <a:gd name="T14" fmla="*/ 4 w 7"/>
              <a:gd name="T15" fmla="*/ 2 h 4"/>
              <a:gd name="T16" fmla="*/ 4 w 7"/>
              <a:gd name="T17" fmla="*/ 3 h 4"/>
              <a:gd name="T18" fmla="*/ 2 w 7"/>
              <a:gd name="T19" fmla="*/ 4 h 4"/>
              <a:gd name="T20" fmla="*/ 2 w 7"/>
              <a:gd name="T21" fmla="*/ 3 h 4"/>
              <a:gd name="T22" fmla="*/ 0 w 7"/>
              <a:gd name="T23" fmla="*/ 3 h 4"/>
              <a:gd name="T24" fmla="*/ 2 w 7"/>
              <a:gd name="T25" fmla="*/ 0 h 4"/>
              <a:gd name="T26" fmla="*/ 3 w 7"/>
              <a:gd name="T27" fmla="*/ 0 h 4"/>
              <a:gd name="T28" fmla="*/ 3 w 7"/>
              <a:gd name="T29" fmla="*/ 1 h 4"/>
              <a:gd name="T30" fmla="*/ 3 w 7"/>
              <a:gd name="T31" fmla="*/ 1 h 4"/>
              <a:gd name="T32" fmla="*/ 4 w 7"/>
              <a:gd name="T33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7" h="4">
                <a:moveTo>
                  <a:pt x="4" y="1"/>
                </a:moveTo>
                <a:lnTo>
                  <a:pt x="4" y="0"/>
                </a:lnTo>
                <a:lnTo>
                  <a:pt x="3" y="1"/>
                </a:lnTo>
                <a:lnTo>
                  <a:pt x="4" y="1"/>
                </a:lnTo>
                <a:lnTo>
                  <a:pt x="5" y="0"/>
                </a:lnTo>
                <a:lnTo>
                  <a:pt x="7" y="0"/>
                </a:lnTo>
                <a:lnTo>
                  <a:pt x="5" y="1"/>
                </a:lnTo>
                <a:lnTo>
                  <a:pt x="4" y="2"/>
                </a:lnTo>
                <a:lnTo>
                  <a:pt x="4" y="3"/>
                </a:lnTo>
                <a:lnTo>
                  <a:pt x="2" y="4"/>
                </a:lnTo>
                <a:lnTo>
                  <a:pt x="2" y="3"/>
                </a:lnTo>
                <a:lnTo>
                  <a:pt x="0" y="3"/>
                </a:lnTo>
                <a:lnTo>
                  <a:pt x="2" y="0"/>
                </a:lnTo>
                <a:lnTo>
                  <a:pt x="3" y="0"/>
                </a:lnTo>
                <a:lnTo>
                  <a:pt x="3" y="1"/>
                </a:lnTo>
                <a:lnTo>
                  <a:pt x="3" y="1"/>
                </a:lnTo>
                <a:lnTo>
                  <a:pt x="4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85" name="Freeform 1486"/>
          <p:cNvSpPr>
            <a:spLocks/>
          </p:cNvSpPr>
          <p:nvPr/>
        </p:nvSpPr>
        <p:spPr bwMode="auto">
          <a:xfrm>
            <a:off x="935038" y="1992278"/>
            <a:ext cx="11112" cy="6350"/>
          </a:xfrm>
          <a:custGeom>
            <a:avLst/>
            <a:gdLst>
              <a:gd name="T0" fmla="*/ 4 w 7"/>
              <a:gd name="T1" fmla="*/ 1 h 4"/>
              <a:gd name="T2" fmla="*/ 4 w 7"/>
              <a:gd name="T3" fmla="*/ 0 h 4"/>
              <a:gd name="T4" fmla="*/ 3 w 7"/>
              <a:gd name="T5" fmla="*/ 1 h 4"/>
              <a:gd name="T6" fmla="*/ 4 w 7"/>
              <a:gd name="T7" fmla="*/ 1 h 4"/>
              <a:gd name="T8" fmla="*/ 5 w 7"/>
              <a:gd name="T9" fmla="*/ 0 h 4"/>
              <a:gd name="T10" fmla="*/ 7 w 7"/>
              <a:gd name="T11" fmla="*/ 0 h 4"/>
              <a:gd name="T12" fmla="*/ 5 w 7"/>
              <a:gd name="T13" fmla="*/ 1 h 4"/>
              <a:gd name="T14" fmla="*/ 4 w 7"/>
              <a:gd name="T15" fmla="*/ 2 h 4"/>
              <a:gd name="T16" fmla="*/ 4 w 7"/>
              <a:gd name="T17" fmla="*/ 3 h 4"/>
              <a:gd name="T18" fmla="*/ 2 w 7"/>
              <a:gd name="T19" fmla="*/ 4 h 4"/>
              <a:gd name="T20" fmla="*/ 2 w 7"/>
              <a:gd name="T21" fmla="*/ 3 h 4"/>
              <a:gd name="T22" fmla="*/ 0 w 7"/>
              <a:gd name="T23" fmla="*/ 3 h 4"/>
              <a:gd name="T24" fmla="*/ 2 w 7"/>
              <a:gd name="T25" fmla="*/ 0 h 4"/>
              <a:gd name="T26" fmla="*/ 3 w 7"/>
              <a:gd name="T27" fmla="*/ 0 h 4"/>
              <a:gd name="T28" fmla="*/ 3 w 7"/>
              <a:gd name="T29" fmla="*/ 1 h 4"/>
              <a:gd name="T30" fmla="*/ 3 w 7"/>
              <a:gd name="T31" fmla="*/ 1 h 4"/>
              <a:gd name="T32" fmla="*/ 4 w 7"/>
              <a:gd name="T33" fmla="*/ 1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7" h="4">
                <a:moveTo>
                  <a:pt x="4" y="1"/>
                </a:moveTo>
                <a:lnTo>
                  <a:pt x="4" y="0"/>
                </a:lnTo>
                <a:lnTo>
                  <a:pt x="3" y="1"/>
                </a:lnTo>
                <a:lnTo>
                  <a:pt x="4" y="1"/>
                </a:lnTo>
                <a:lnTo>
                  <a:pt x="5" y="0"/>
                </a:lnTo>
                <a:lnTo>
                  <a:pt x="7" y="0"/>
                </a:lnTo>
                <a:lnTo>
                  <a:pt x="5" y="1"/>
                </a:lnTo>
                <a:lnTo>
                  <a:pt x="4" y="2"/>
                </a:lnTo>
                <a:lnTo>
                  <a:pt x="4" y="3"/>
                </a:lnTo>
                <a:lnTo>
                  <a:pt x="2" y="4"/>
                </a:lnTo>
                <a:lnTo>
                  <a:pt x="2" y="3"/>
                </a:lnTo>
                <a:lnTo>
                  <a:pt x="0" y="3"/>
                </a:lnTo>
                <a:lnTo>
                  <a:pt x="2" y="0"/>
                </a:lnTo>
                <a:lnTo>
                  <a:pt x="3" y="0"/>
                </a:lnTo>
                <a:lnTo>
                  <a:pt x="3" y="1"/>
                </a:lnTo>
                <a:lnTo>
                  <a:pt x="3" y="1"/>
                </a:lnTo>
                <a:lnTo>
                  <a:pt x="4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86" name="Freeform 1487"/>
          <p:cNvSpPr>
            <a:spLocks/>
          </p:cNvSpPr>
          <p:nvPr/>
        </p:nvSpPr>
        <p:spPr bwMode="auto">
          <a:xfrm>
            <a:off x="1006475" y="1966878"/>
            <a:ext cx="11112" cy="9525"/>
          </a:xfrm>
          <a:custGeom>
            <a:avLst/>
            <a:gdLst>
              <a:gd name="T0" fmla="*/ 6 w 7"/>
              <a:gd name="T1" fmla="*/ 0 h 6"/>
              <a:gd name="T2" fmla="*/ 5 w 7"/>
              <a:gd name="T3" fmla="*/ 0 h 6"/>
              <a:gd name="T4" fmla="*/ 5 w 7"/>
              <a:gd name="T5" fmla="*/ 0 h 6"/>
              <a:gd name="T6" fmla="*/ 7 w 7"/>
              <a:gd name="T7" fmla="*/ 0 h 6"/>
              <a:gd name="T8" fmla="*/ 7 w 7"/>
              <a:gd name="T9" fmla="*/ 1 h 6"/>
              <a:gd name="T10" fmla="*/ 6 w 7"/>
              <a:gd name="T11" fmla="*/ 1 h 6"/>
              <a:gd name="T12" fmla="*/ 6 w 7"/>
              <a:gd name="T13" fmla="*/ 2 h 6"/>
              <a:gd name="T14" fmla="*/ 0 w 7"/>
              <a:gd name="T15" fmla="*/ 6 h 6"/>
              <a:gd name="T16" fmla="*/ 2 w 7"/>
              <a:gd name="T17" fmla="*/ 4 h 6"/>
              <a:gd name="T18" fmla="*/ 5 w 7"/>
              <a:gd name="T19" fmla="*/ 1 h 6"/>
              <a:gd name="T20" fmla="*/ 5 w 7"/>
              <a:gd name="T21" fmla="*/ 1 h 6"/>
              <a:gd name="T22" fmla="*/ 6 w 7"/>
              <a:gd name="T2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7" h="6">
                <a:moveTo>
                  <a:pt x="6" y="0"/>
                </a:moveTo>
                <a:lnTo>
                  <a:pt x="5" y="0"/>
                </a:lnTo>
                <a:lnTo>
                  <a:pt x="5" y="0"/>
                </a:lnTo>
                <a:lnTo>
                  <a:pt x="7" y="0"/>
                </a:lnTo>
                <a:lnTo>
                  <a:pt x="7" y="1"/>
                </a:lnTo>
                <a:lnTo>
                  <a:pt x="6" y="1"/>
                </a:lnTo>
                <a:lnTo>
                  <a:pt x="6" y="2"/>
                </a:lnTo>
                <a:lnTo>
                  <a:pt x="0" y="6"/>
                </a:lnTo>
                <a:lnTo>
                  <a:pt x="2" y="4"/>
                </a:lnTo>
                <a:lnTo>
                  <a:pt x="5" y="1"/>
                </a:lnTo>
                <a:lnTo>
                  <a:pt x="5" y="1"/>
                </a:lnTo>
                <a:lnTo>
                  <a:pt x="6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87" name="Freeform 1488"/>
          <p:cNvSpPr>
            <a:spLocks/>
          </p:cNvSpPr>
          <p:nvPr/>
        </p:nvSpPr>
        <p:spPr bwMode="auto">
          <a:xfrm>
            <a:off x="1006475" y="1966878"/>
            <a:ext cx="11112" cy="9525"/>
          </a:xfrm>
          <a:custGeom>
            <a:avLst/>
            <a:gdLst>
              <a:gd name="T0" fmla="*/ 6 w 7"/>
              <a:gd name="T1" fmla="*/ 0 h 6"/>
              <a:gd name="T2" fmla="*/ 5 w 7"/>
              <a:gd name="T3" fmla="*/ 0 h 6"/>
              <a:gd name="T4" fmla="*/ 5 w 7"/>
              <a:gd name="T5" fmla="*/ 0 h 6"/>
              <a:gd name="T6" fmla="*/ 7 w 7"/>
              <a:gd name="T7" fmla="*/ 0 h 6"/>
              <a:gd name="T8" fmla="*/ 7 w 7"/>
              <a:gd name="T9" fmla="*/ 1 h 6"/>
              <a:gd name="T10" fmla="*/ 6 w 7"/>
              <a:gd name="T11" fmla="*/ 1 h 6"/>
              <a:gd name="T12" fmla="*/ 6 w 7"/>
              <a:gd name="T13" fmla="*/ 2 h 6"/>
              <a:gd name="T14" fmla="*/ 0 w 7"/>
              <a:gd name="T15" fmla="*/ 6 h 6"/>
              <a:gd name="T16" fmla="*/ 2 w 7"/>
              <a:gd name="T17" fmla="*/ 4 h 6"/>
              <a:gd name="T18" fmla="*/ 5 w 7"/>
              <a:gd name="T19" fmla="*/ 1 h 6"/>
              <a:gd name="T20" fmla="*/ 5 w 7"/>
              <a:gd name="T21" fmla="*/ 1 h 6"/>
              <a:gd name="T22" fmla="*/ 6 w 7"/>
              <a:gd name="T23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7" h="6">
                <a:moveTo>
                  <a:pt x="6" y="0"/>
                </a:moveTo>
                <a:lnTo>
                  <a:pt x="5" y="0"/>
                </a:lnTo>
                <a:lnTo>
                  <a:pt x="5" y="0"/>
                </a:lnTo>
                <a:lnTo>
                  <a:pt x="7" y="0"/>
                </a:lnTo>
                <a:lnTo>
                  <a:pt x="7" y="1"/>
                </a:lnTo>
                <a:lnTo>
                  <a:pt x="6" y="1"/>
                </a:lnTo>
                <a:lnTo>
                  <a:pt x="6" y="2"/>
                </a:lnTo>
                <a:lnTo>
                  <a:pt x="0" y="6"/>
                </a:lnTo>
                <a:lnTo>
                  <a:pt x="2" y="4"/>
                </a:lnTo>
                <a:lnTo>
                  <a:pt x="5" y="1"/>
                </a:lnTo>
                <a:lnTo>
                  <a:pt x="5" y="1"/>
                </a:lnTo>
                <a:lnTo>
                  <a:pt x="6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88" name="Freeform 1489"/>
          <p:cNvSpPr>
            <a:spLocks/>
          </p:cNvSpPr>
          <p:nvPr/>
        </p:nvSpPr>
        <p:spPr bwMode="auto">
          <a:xfrm>
            <a:off x="1096963" y="1960528"/>
            <a:ext cx="9525" cy="4763"/>
          </a:xfrm>
          <a:custGeom>
            <a:avLst/>
            <a:gdLst>
              <a:gd name="T0" fmla="*/ 2 w 6"/>
              <a:gd name="T1" fmla="*/ 1 h 3"/>
              <a:gd name="T2" fmla="*/ 6 w 6"/>
              <a:gd name="T3" fmla="*/ 0 h 3"/>
              <a:gd name="T4" fmla="*/ 6 w 6"/>
              <a:gd name="T5" fmla="*/ 0 h 3"/>
              <a:gd name="T6" fmla="*/ 4 w 6"/>
              <a:gd name="T7" fmla="*/ 1 h 3"/>
              <a:gd name="T8" fmla="*/ 1 w 6"/>
              <a:gd name="T9" fmla="*/ 3 h 3"/>
              <a:gd name="T10" fmla="*/ 0 w 6"/>
              <a:gd name="T11" fmla="*/ 3 h 3"/>
              <a:gd name="T12" fmla="*/ 1 w 6"/>
              <a:gd name="T13" fmla="*/ 2 h 3"/>
              <a:gd name="T14" fmla="*/ 2 w 6"/>
              <a:gd name="T15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" h="3">
                <a:moveTo>
                  <a:pt x="2" y="1"/>
                </a:moveTo>
                <a:lnTo>
                  <a:pt x="6" y="0"/>
                </a:lnTo>
                <a:lnTo>
                  <a:pt x="6" y="0"/>
                </a:lnTo>
                <a:lnTo>
                  <a:pt x="4" y="1"/>
                </a:lnTo>
                <a:lnTo>
                  <a:pt x="1" y="3"/>
                </a:lnTo>
                <a:lnTo>
                  <a:pt x="0" y="3"/>
                </a:lnTo>
                <a:lnTo>
                  <a:pt x="1" y="2"/>
                </a:lnTo>
                <a:lnTo>
                  <a:pt x="2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89" name="Freeform 1490"/>
          <p:cNvSpPr>
            <a:spLocks/>
          </p:cNvSpPr>
          <p:nvPr/>
        </p:nvSpPr>
        <p:spPr bwMode="auto">
          <a:xfrm>
            <a:off x="1096963" y="1960528"/>
            <a:ext cx="9525" cy="4763"/>
          </a:xfrm>
          <a:custGeom>
            <a:avLst/>
            <a:gdLst>
              <a:gd name="T0" fmla="*/ 2 w 6"/>
              <a:gd name="T1" fmla="*/ 1 h 3"/>
              <a:gd name="T2" fmla="*/ 6 w 6"/>
              <a:gd name="T3" fmla="*/ 0 h 3"/>
              <a:gd name="T4" fmla="*/ 6 w 6"/>
              <a:gd name="T5" fmla="*/ 0 h 3"/>
              <a:gd name="T6" fmla="*/ 4 w 6"/>
              <a:gd name="T7" fmla="*/ 1 h 3"/>
              <a:gd name="T8" fmla="*/ 1 w 6"/>
              <a:gd name="T9" fmla="*/ 3 h 3"/>
              <a:gd name="T10" fmla="*/ 0 w 6"/>
              <a:gd name="T11" fmla="*/ 3 h 3"/>
              <a:gd name="T12" fmla="*/ 1 w 6"/>
              <a:gd name="T13" fmla="*/ 2 h 3"/>
              <a:gd name="T14" fmla="*/ 2 w 6"/>
              <a:gd name="T15" fmla="*/ 1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6" h="3">
                <a:moveTo>
                  <a:pt x="2" y="1"/>
                </a:moveTo>
                <a:lnTo>
                  <a:pt x="6" y="0"/>
                </a:lnTo>
                <a:lnTo>
                  <a:pt x="6" y="0"/>
                </a:lnTo>
                <a:lnTo>
                  <a:pt x="4" y="1"/>
                </a:lnTo>
                <a:lnTo>
                  <a:pt x="1" y="3"/>
                </a:lnTo>
                <a:lnTo>
                  <a:pt x="0" y="3"/>
                </a:lnTo>
                <a:lnTo>
                  <a:pt x="1" y="2"/>
                </a:lnTo>
                <a:lnTo>
                  <a:pt x="2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90" name="Freeform 1491"/>
          <p:cNvSpPr>
            <a:spLocks/>
          </p:cNvSpPr>
          <p:nvPr/>
        </p:nvSpPr>
        <p:spPr bwMode="auto">
          <a:xfrm>
            <a:off x="1109663" y="1960528"/>
            <a:ext cx="4762" cy="1588"/>
          </a:xfrm>
          <a:custGeom>
            <a:avLst/>
            <a:gdLst>
              <a:gd name="T0" fmla="*/ 1 w 3"/>
              <a:gd name="T1" fmla="*/ 1 h 1"/>
              <a:gd name="T2" fmla="*/ 0 w 3"/>
              <a:gd name="T3" fmla="*/ 1 h 1"/>
              <a:gd name="T4" fmla="*/ 1 w 3"/>
              <a:gd name="T5" fmla="*/ 0 h 1"/>
              <a:gd name="T6" fmla="*/ 3 w 3"/>
              <a:gd name="T7" fmla="*/ 0 h 1"/>
              <a:gd name="T8" fmla="*/ 3 w 3"/>
              <a:gd name="T9" fmla="*/ 0 h 1"/>
              <a:gd name="T10" fmla="*/ 2 w 3"/>
              <a:gd name="T11" fmla="*/ 1 h 1"/>
              <a:gd name="T12" fmla="*/ 1 w 3"/>
              <a:gd name="T13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" h="1">
                <a:moveTo>
                  <a:pt x="1" y="1"/>
                </a:moveTo>
                <a:lnTo>
                  <a:pt x="0" y="1"/>
                </a:lnTo>
                <a:lnTo>
                  <a:pt x="1" y="0"/>
                </a:lnTo>
                <a:lnTo>
                  <a:pt x="3" y="0"/>
                </a:lnTo>
                <a:lnTo>
                  <a:pt x="3" y="0"/>
                </a:lnTo>
                <a:lnTo>
                  <a:pt x="2" y="1"/>
                </a:lnTo>
                <a:lnTo>
                  <a:pt x="1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91" name="Freeform 1492"/>
          <p:cNvSpPr>
            <a:spLocks/>
          </p:cNvSpPr>
          <p:nvPr/>
        </p:nvSpPr>
        <p:spPr bwMode="auto">
          <a:xfrm>
            <a:off x="1109663" y="1960528"/>
            <a:ext cx="4762" cy="1588"/>
          </a:xfrm>
          <a:custGeom>
            <a:avLst/>
            <a:gdLst>
              <a:gd name="T0" fmla="*/ 1 w 3"/>
              <a:gd name="T1" fmla="*/ 1 h 1"/>
              <a:gd name="T2" fmla="*/ 0 w 3"/>
              <a:gd name="T3" fmla="*/ 1 h 1"/>
              <a:gd name="T4" fmla="*/ 1 w 3"/>
              <a:gd name="T5" fmla="*/ 0 h 1"/>
              <a:gd name="T6" fmla="*/ 3 w 3"/>
              <a:gd name="T7" fmla="*/ 0 h 1"/>
              <a:gd name="T8" fmla="*/ 3 w 3"/>
              <a:gd name="T9" fmla="*/ 0 h 1"/>
              <a:gd name="T10" fmla="*/ 2 w 3"/>
              <a:gd name="T11" fmla="*/ 1 h 1"/>
              <a:gd name="T12" fmla="*/ 1 w 3"/>
              <a:gd name="T13" fmla="*/ 1 h 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" h="1">
                <a:moveTo>
                  <a:pt x="1" y="1"/>
                </a:moveTo>
                <a:lnTo>
                  <a:pt x="0" y="1"/>
                </a:lnTo>
                <a:lnTo>
                  <a:pt x="1" y="0"/>
                </a:lnTo>
                <a:lnTo>
                  <a:pt x="3" y="0"/>
                </a:lnTo>
                <a:lnTo>
                  <a:pt x="3" y="0"/>
                </a:lnTo>
                <a:lnTo>
                  <a:pt x="2" y="1"/>
                </a:lnTo>
                <a:lnTo>
                  <a:pt x="1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92" name="Freeform 1493"/>
          <p:cNvSpPr>
            <a:spLocks/>
          </p:cNvSpPr>
          <p:nvPr/>
        </p:nvSpPr>
        <p:spPr bwMode="auto">
          <a:xfrm>
            <a:off x="1144588" y="1944653"/>
            <a:ext cx="12700" cy="3175"/>
          </a:xfrm>
          <a:custGeom>
            <a:avLst/>
            <a:gdLst>
              <a:gd name="T0" fmla="*/ 3 w 8"/>
              <a:gd name="T1" fmla="*/ 1 h 2"/>
              <a:gd name="T2" fmla="*/ 0 w 8"/>
              <a:gd name="T3" fmla="*/ 2 h 2"/>
              <a:gd name="T4" fmla="*/ 0 w 8"/>
              <a:gd name="T5" fmla="*/ 1 h 2"/>
              <a:gd name="T6" fmla="*/ 3 w 8"/>
              <a:gd name="T7" fmla="*/ 0 h 2"/>
              <a:gd name="T8" fmla="*/ 4 w 8"/>
              <a:gd name="T9" fmla="*/ 0 h 2"/>
              <a:gd name="T10" fmla="*/ 4 w 8"/>
              <a:gd name="T11" fmla="*/ 0 h 2"/>
              <a:gd name="T12" fmla="*/ 8 w 8"/>
              <a:gd name="T13" fmla="*/ 0 h 2"/>
              <a:gd name="T14" fmla="*/ 8 w 8"/>
              <a:gd name="T15" fmla="*/ 0 h 2"/>
              <a:gd name="T16" fmla="*/ 3 w 8"/>
              <a:gd name="T17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" h="2">
                <a:moveTo>
                  <a:pt x="3" y="1"/>
                </a:moveTo>
                <a:lnTo>
                  <a:pt x="0" y="2"/>
                </a:lnTo>
                <a:lnTo>
                  <a:pt x="0" y="1"/>
                </a:lnTo>
                <a:lnTo>
                  <a:pt x="3" y="0"/>
                </a:lnTo>
                <a:lnTo>
                  <a:pt x="4" y="0"/>
                </a:lnTo>
                <a:lnTo>
                  <a:pt x="4" y="0"/>
                </a:lnTo>
                <a:lnTo>
                  <a:pt x="8" y="0"/>
                </a:lnTo>
                <a:lnTo>
                  <a:pt x="8" y="0"/>
                </a:lnTo>
                <a:lnTo>
                  <a:pt x="3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93" name="Freeform 1494"/>
          <p:cNvSpPr>
            <a:spLocks/>
          </p:cNvSpPr>
          <p:nvPr/>
        </p:nvSpPr>
        <p:spPr bwMode="auto">
          <a:xfrm>
            <a:off x="1144588" y="1944653"/>
            <a:ext cx="12700" cy="3175"/>
          </a:xfrm>
          <a:custGeom>
            <a:avLst/>
            <a:gdLst>
              <a:gd name="T0" fmla="*/ 3 w 8"/>
              <a:gd name="T1" fmla="*/ 1 h 2"/>
              <a:gd name="T2" fmla="*/ 0 w 8"/>
              <a:gd name="T3" fmla="*/ 2 h 2"/>
              <a:gd name="T4" fmla="*/ 0 w 8"/>
              <a:gd name="T5" fmla="*/ 1 h 2"/>
              <a:gd name="T6" fmla="*/ 3 w 8"/>
              <a:gd name="T7" fmla="*/ 0 h 2"/>
              <a:gd name="T8" fmla="*/ 4 w 8"/>
              <a:gd name="T9" fmla="*/ 0 h 2"/>
              <a:gd name="T10" fmla="*/ 4 w 8"/>
              <a:gd name="T11" fmla="*/ 0 h 2"/>
              <a:gd name="T12" fmla="*/ 8 w 8"/>
              <a:gd name="T13" fmla="*/ 0 h 2"/>
              <a:gd name="T14" fmla="*/ 8 w 8"/>
              <a:gd name="T15" fmla="*/ 0 h 2"/>
              <a:gd name="T16" fmla="*/ 3 w 8"/>
              <a:gd name="T17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" h="2">
                <a:moveTo>
                  <a:pt x="3" y="1"/>
                </a:moveTo>
                <a:lnTo>
                  <a:pt x="0" y="2"/>
                </a:lnTo>
                <a:lnTo>
                  <a:pt x="0" y="1"/>
                </a:lnTo>
                <a:lnTo>
                  <a:pt x="3" y="0"/>
                </a:lnTo>
                <a:lnTo>
                  <a:pt x="4" y="0"/>
                </a:lnTo>
                <a:lnTo>
                  <a:pt x="4" y="0"/>
                </a:lnTo>
                <a:lnTo>
                  <a:pt x="8" y="0"/>
                </a:lnTo>
                <a:lnTo>
                  <a:pt x="8" y="0"/>
                </a:lnTo>
                <a:lnTo>
                  <a:pt x="3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94" name="Freeform 1495"/>
          <p:cNvSpPr>
            <a:spLocks/>
          </p:cNvSpPr>
          <p:nvPr/>
        </p:nvSpPr>
        <p:spPr bwMode="auto">
          <a:xfrm>
            <a:off x="1117600" y="1922428"/>
            <a:ext cx="66675" cy="31750"/>
          </a:xfrm>
          <a:custGeom>
            <a:avLst/>
            <a:gdLst>
              <a:gd name="T0" fmla="*/ 3 w 42"/>
              <a:gd name="T1" fmla="*/ 10 h 20"/>
              <a:gd name="T2" fmla="*/ 5 w 42"/>
              <a:gd name="T3" fmla="*/ 10 h 20"/>
              <a:gd name="T4" fmla="*/ 13 w 42"/>
              <a:gd name="T5" fmla="*/ 6 h 20"/>
              <a:gd name="T6" fmla="*/ 15 w 42"/>
              <a:gd name="T7" fmla="*/ 6 h 20"/>
              <a:gd name="T8" fmla="*/ 18 w 42"/>
              <a:gd name="T9" fmla="*/ 6 h 20"/>
              <a:gd name="T10" fmla="*/ 17 w 42"/>
              <a:gd name="T11" fmla="*/ 7 h 20"/>
              <a:gd name="T12" fmla="*/ 16 w 42"/>
              <a:gd name="T13" fmla="*/ 9 h 20"/>
              <a:gd name="T14" fmla="*/ 19 w 42"/>
              <a:gd name="T15" fmla="*/ 8 h 20"/>
              <a:gd name="T16" fmla="*/ 20 w 42"/>
              <a:gd name="T17" fmla="*/ 7 h 20"/>
              <a:gd name="T18" fmla="*/ 22 w 42"/>
              <a:gd name="T19" fmla="*/ 4 h 20"/>
              <a:gd name="T20" fmla="*/ 25 w 42"/>
              <a:gd name="T21" fmla="*/ 1 h 20"/>
              <a:gd name="T22" fmla="*/ 27 w 42"/>
              <a:gd name="T23" fmla="*/ 4 h 20"/>
              <a:gd name="T24" fmla="*/ 25 w 42"/>
              <a:gd name="T25" fmla="*/ 5 h 20"/>
              <a:gd name="T26" fmla="*/ 30 w 42"/>
              <a:gd name="T27" fmla="*/ 2 h 20"/>
              <a:gd name="T28" fmla="*/ 34 w 42"/>
              <a:gd name="T29" fmla="*/ 2 h 20"/>
              <a:gd name="T30" fmla="*/ 35 w 42"/>
              <a:gd name="T31" fmla="*/ 0 h 20"/>
              <a:gd name="T32" fmla="*/ 37 w 42"/>
              <a:gd name="T33" fmla="*/ 1 h 20"/>
              <a:gd name="T34" fmla="*/ 36 w 42"/>
              <a:gd name="T35" fmla="*/ 4 h 20"/>
              <a:gd name="T36" fmla="*/ 40 w 42"/>
              <a:gd name="T37" fmla="*/ 1 h 20"/>
              <a:gd name="T38" fmla="*/ 42 w 42"/>
              <a:gd name="T39" fmla="*/ 2 h 20"/>
              <a:gd name="T40" fmla="*/ 39 w 42"/>
              <a:gd name="T41" fmla="*/ 5 h 20"/>
              <a:gd name="T42" fmla="*/ 38 w 42"/>
              <a:gd name="T43" fmla="*/ 6 h 20"/>
              <a:gd name="T44" fmla="*/ 41 w 42"/>
              <a:gd name="T45" fmla="*/ 7 h 20"/>
              <a:gd name="T46" fmla="*/ 36 w 42"/>
              <a:gd name="T47" fmla="*/ 9 h 20"/>
              <a:gd name="T48" fmla="*/ 30 w 42"/>
              <a:gd name="T49" fmla="*/ 8 h 20"/>
              <a:gd name="T50" fmla="*/ 32 w 42"/>
              <a:gd name="T51" fmla="*/ 9 h 20"/>
              <a:gd name="T52" fmla="*/ 30 w 42"/>
              <a:gd name="T53" fmla="*/ 11 h 20"/>
              <a:gd name="T54" fmla="*/ 30 w 42"/>
              <a:gd name="T55" fmla="*/ 10 h 20"/>
              <a:gd name="T56" fmla="*/ 27 w 42"/>
              <a:gd name="T57" fmla="*/ 11 h 20"/>
              <a:gd name="T58" fmla="*/ 25 w 42"/>
              <a:gd name="T59" fmla="*/ 11 h 20"/>
              <a:gd name="T60" fmla="*/ 24 w 42"/>
              <a:gd name="T61" fmla="*/ 12 h 20"/>
              <a:gd name="T62" fmla="*/ 16 w 42"/>
              <a:gd name="T63" fmla="*/ 15 h 20"/>
              <a:gd name="T64" fmla="*/ 13 w 42"/>
              <a:gd name="T65" fmla="*/ 16 h 20"/>
              <a:gd name="T66" fmla="*/ 11 w 42"/>
              <a:gd name="T67" fmla="*/ 18 h 20"/>
              <a:gd name="T68" fmla="*/ 3 w 42"/>
              <a:gd name="T69" fmla="*/ 20 h 20"/>
              <a:gd name="T70" fmla="*/ 8 w 42"/>
              <a:gd name="T71" fmla="*/ 18 h 20"/>
              <a:gd name="T72" fmla="*/ 7 w 42"/>
              <a:gd name="T73" fmla="*/ 17 h 20"/>
              <a:gd name="T74" fmla="*/ 9 w 42"/>
              <a:gd name="T75" fmla="*/ 15 h 20"/>
              <a:gd name="T76" fmla="*/ 7 w 42"/>
              <a:gd name="T77" fmla="*/ 14 h 20"/>
              <a:gd name="T78" fmla="*/ 6 w 42"/>
              <a:gd name="T79" fmla="*/ 15 h 20"/>
              <a:gd name="T80" fmla="*/ 4 w 42"/>
              <a:gd name="T81" fmla="*/ 18 h 20"/>
              <a:gd name="T82" fmla="*/ 0 w 42"/>
              <a:gd name="T83" fmla="*/ 17 h 20"/>
              <a:gd name="T84" fmla="*/ 3 w 42"/>
              <a:gd name="T85" fmla="*/ 14 h 20"/>
              <a:gd name="T86" fmla="*/ 3 w 42"/>
              <a:gd name="T87" fmla="*/ 11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2" h="20">
                <a:moveTo>
                  <a:pt x="4" y="10"/>
                </a:moveTo>
                <a:lnTo>
                  <a:pt x="3" y="10"/>
                </a:lnTo>
                <a:lnTo>
                  <a:pt x="3" y="10"/>
                </a:lnTo>
                <a:lnTo>
                  <a:pt x="5" y="10"/>
                </a:lnTo>
                <a:lnTo>
                  <a:pt x="7" y="8"/>
                </a:lnTo>
                <a:lnTo>
                  <a:pt x="13" y="6"/>
                </a:lnTo>
                <a:lnTo>
                  <a:pt x="13" y="7"/>
                </a:lnTo>
                <a:lnTo>
                  <a:pt x="15" y="6"/>
                </a:lnTo>
                <a:lnTo>
                  <a:pt x="17" y="6"/>
                </a:lnTo>
                <a:lnTo>
                  <a:pt x="18" y="6"/>
                </a:lnTo>
                <a:lnTo>
                  <a:pt x="16" y="7"/>
                </a:lnTo>
                <a:lnTo>
                  <a:pt x="17" y="7"/>
                </a:lnTo>
                <a:lnTo>
                  <a:pt x="16" y="8"/>
                </a:lnTo>
                <a:lnTo>
                  <a:pt x="16" y="9"/>
                </a:lnTo>
                <a:lnTo>
                  <a:pt x="17" y="10"/>
                </a:lnTo>
                <a:lnTo>
                  <a:pt x="19" y="8"/>
                </a:lnTo>
                <a:lnTo>
                  <a:pt x="20" y="7"/>
                </a:lnTo>
                <a:lnTo>
                  <a:pt x="20" y="7"/>
                </a:lnTo>
                <a:lnTo>
                  <a:pt x="22" y="6"/>
                </a:lnTo>
                <a:lnTo>
                  <a:pt x="22" y="4"/>
                </a:lnTo>
                <a:lnTo>
                  <a:pt x="24" y="2"/>
                </a:lnTo>
                <a:lnTo>
                  <a:pt x="25" y="1"/>
                </a:lnTo>
                <a:lnTo>
                  <a:pt x="27" y="1"/>
                </a:lnTo>
                <a:lnTo>
                  <a:pt x="27" y="4"/>
                </a:lnTo>
                <a:lnTo>
                  <a:pt x="25" y="5"/>
                </a:lnTo>
                <a:lnTo>
                  <a:pt x="25" y="5"/>
                </a:lnTo>
                <a:lnTo>
                  <a:pt x="28" y="4"/>
                </a:lnTo>
                <a:lnTo>
                  <a:pt x="30" y="2"/>
                </a:lnTo>
                <a:lnTo>
                  <a:pt x="32" y="4"/>
                </a:lnTo>
                <a:lnTo>
                  <a:pt x="34" y="2"/>
                </a:lnTo>
                <a:lnTo>
                  <a:pt x="35" y="1"/>
                </a:lnTo>
                <a:lnTo>
                  <a:pt x="35" y="0"/>
                </a:lnTo>
                <a:lnTo>
                  <a:pt x="36" y="1"/>
                </a:lnTo>
                <a:lnTo>
                  <a:pt x="37" y="1"/>
                </a:lnTo>
                <a:lnTo>
                  <a:pt x="38" y="1"/>
                </a:lnTo>
                <a:lnTo>
                  <a:pt x="36" y="4"/>
                </a:lnTo>
                <a:lnTo>
                  <a:pt x="36" y="4"/>
                </a:lnTo>
                <a:lnTo>
                  <a:pt x="40" y="1"/>
                </a:lnTo>
                <a:lnTo>
                  <a:pt x="42" y="1"/>
                </a:lnTo>
                <a:lnTo>
                  <a:pt x="42" y="2"/>
                </a:lnTo>
                <a:lnTo>
                  <a:pt x="39" y="5"/>
                </a:lnTo>
                <a:lnTo>
                  <a:pt x="39" y="5"/>
                </a:lnTo>
                <a:lnTo>
                  <a:pt x="38" y="6"/>
                </a:lnTo>
                <a:lnTo>
                  <a:pt x="38" y="6"/>
                </a:lnTo>
                <a:lnTo>
                  <a:pt x="37" y="7"/>
                </a:lnTo>
                <a:lnTo>
                  <a:pt x="41" y="7"/>
                </a:lnTo>
                <a:lnTo>
                  <a:pt x="37" y="9"/>
                </a:lnTo>
                <a:lnTo>
                  <a:pt x="36" y="9"/>
                </a:lnTo>
                <a:lnTo>
                  <a:pt x="32" y="7"/>
                </a:lnTo>
                <a:lnTo>
                  <a:pt x="30" y="8"/>
                </a:lnTo>
                <a:lnTo>
                  <a:pt x="29" y="9"/>
                </a:lnTo>
                <a:lnTo>
                  <a:pt x="32" y="9"/>
                </a:lnTo>
                <a:lnTo>
                  <a:pt x="32" y="10"/>
                </a:lnTo>
                <a:lnTo>
                  <a:pt x="30" y="11"/>
                </a:lnTo>
                <a:lnTo>
                  <a:pt x="29" y="11"/>
                </a:lnTo>
                <a:lnTo>
                  <a:pt x="30" y="10"/>
                </a:lnTo>
                <a:lnTo>
                  <a:pt x="29" y="10"/>
                </a:lnTo>
                <a:lnTo>
                  <a:pt x="27" y="11"/>
                </a:lnTo>
                <a:lnTo>
                  <a:pt x="24" y="11"/>
                </a:lnTo>
                <a:lnTo>
                  <a:pt x="25" y="11"/>
                </a:lnTo>
                <a:lnTo>
                  <a:pt x="25" y="12"/>
                </a:lnTo>
                <a:lnTo>
                  <a:pt x="24" y="12"/>
                </a:lnTo>
                <a:lnTo>
                  <a:pt x="20" y="12"/>
                </a:lnTo>
                <a:lnTo>
                  <a:pt x="16" y="15"/>
                </a:lnTo>
                <a:lnTo>
                  <a:pt x="14" y="15"/>
                </a:lnTo>
                <a:lnTo>
                  <a:pt x="13" y="16"/>
                </a:lnTo>
                <a:lnTo>
                  <a:pt x="13" y="17"/>
                </a:lnTo>
                <a:lnTo>
                  <a:pt x="11" y="18"/>
                </a:lnTo>
                <a:lnTo>
                  <a:pt x="8" y="19"/>
                </a:lnTo>
                <a:lnTo>
                  <a:pt x="3" y="20"/>
                </a:lnTo>
                <a:lnTo>
                  <a:pt x="5" y="19"/>
                </a:lnTo>
                <a:lnTo>
                  <a:pt x="8" y="18"/>
                </a:lnTo>
                <a:lnTo>
                  <a:pt x="8" y="17"/>
                </a:lnTo>
                <a:lnTo>
                  <a:pt x="7" y="17"/>
                </a:lnTo>
                <a:lnTo>
                  <a:pt x="8" y="16"/>
                </a:lnTo>
                <a:lnTo>
                  <a:pt x="9" y="15"/>
                </a:lnTo>
                <a:lnTo>
                  <a:pt x="8" y="14"/>
                </a:lnTo>
                <a:lnTo>
                  <a:pt x="7" y="14"/>
                </a:lnTo>
                <a:lnTo>
                  <a:pt x="6" y="14"/>
                </a:lnTo>
                <a:lnTo>
                  <a:pt x="6" y="15"/>
                </a:lnTo>
                <a:lnTo>
                  <a:pt x="7" y="15"/>
                </a:lnTo>
                <a:lnTo>
                  <a:pt x="4" y="18"/>
                </a:lnTo>
                <a:lnTo>
                  <a:pt x="1" y="18"/>
                </a:lnTo>
                <a:lnTo>
                  <a:pt x="0" y="17"/>
                </a:lnTo>
                <a:lnTo>
                  <a:pt x="1" y="16"/>
                </a:lnTo>
                <a:lnTo>
                  <a:pt x="3" y="14"/>
                </a:lnTo>
                <a:lnTo>
                  <a:pt x="4" y="12"/>
                </a:lnTo>
                <a:lnTo>
                  <a:pt x="3" y="11"/>
                </a:lnTo>
                <a:lnTo>
                  <a:pt x="4" y="1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95" name="Freeform 1496"/>
          <p:cNvSpPr>
            <a:spLocks/>
          </p:cNvSpPr>
          <p:nvPr/>
        </p:nvSpPr>
        <p:spPr bwMode="auto">
          <a:xfrm>
            <a:off x="1117600" y="1922428"/>
            <a:ext cx="66675" cy="31750"/>
          </a:xfrm>
          <a:custGeom>
            <a:avLst/>
            <a:gdLst>
              <a:gd name="T0" fmla="*/ 3 w 42"/>
              <a:gd name="T1" fmla="*/ 10 h 20"/>
              <a:gd name="T2" fmla="*/ 5 w 42"/>
              <a:gd name="T3" fmla="*/ 10 h 20"/>
              <a:gd name="T4" fmla="*/ 13 w 42"/>
              <a:gd name="T5" fmla="*/ 6 h 20"/>
              <a:gd name="T6" fmla="*/ 15 w 42"/>
              <a:gd name="T7" fmla="*/ 6 h 20"/>
              <a:gd name="T8" fmla="*/ 18 w 42"/>
              <a:gd name="T9" fmla="*/ 6 h 20"/>
              <a:gd name="T10" fmla="*/ 17 w 42"/>
              <a:gd name="T11" fmla="*/ 7 h 20"/>
              <a:gd name="T12" fmla="*/ 16 w 42"/>
              <a:gd name="T13" fmla="*/ 9 h 20"/>
              <a:gd name="T14" fmla="*/ 19 w 42"/>
              <a:gd name="T15" fmla="*/ 8 h 20"/>
              <a:gd name="T16" fmla="*/ 20 w 42"/>
              <a:gd name="T17" fmla="*/ 7 h 20"/>
              <a:gd name="T18" fmla="*/ 22 w 42"/>
              <a:gd name="T19" fmla="*/ 4 h 20"/>
              <a:gd name="T20" fmla="*/ 25 w 42"/>
              <a:gd name="T21" fmla="*/ 1 h 20"/>
              <a:gd name="T22" fmla="*/ 27 w 42"/>
              <a:gd name="T23" fmla="*/ 4 h 20"/>
              <a:gd name="T24" fmla="*/ 25 w 42"/>
              <a:gd name="T25" fmla="*/ 5 h 20"/>
              <a:gd name="T26" fmla="*/ 30 w 42"/>
              <a:gd name="T27" fmla="*/ 2 h 20"/>
              <a:gd name="T28" fmla="*/ 34 w 42"/>
              <a:gd name="T29" fmla="*/ 2 h 20"/>
              <a:gd name="T30" fmla="*/ 35 w 42"/>
              <a:gd name="T31" fmla="*/ 0 h 20"/>
              <a:gd name="T32" fmla="*/ 37 w 42"/>
              <a:gd name="T33" fmla="*/ 1 h 20"/>
              <a:gd name="T34" fmla="*/ 36 w 42"/>
              <a:gd name="T35" fmla="*/ 4 h 20"/>
              <a:gd name="T36" fmla="*/ 40 w 42"/>
              <a:gd name="T37" fmla="*/ 1 h 20"/>
              <a:gd name="T38" fmla="*/ 42 w 42"/>
              <a:gd name="T39" fmla="*/ 2 h 20"/>
              <a:gd name="T40" fmla="*/ 39 w 42"/>
              <a:gd name="T41" fmla="*/ 5 h 20"/>
              <a:gd name="T42" fmla="*/ 38 w 42"/>
              <a:gd name="T43" fmla="*/ 6 h 20"/>
              <a:gd name="T44" fmla="*/ 41 w 42"/>
              <a:gd name="T45" fmla="*/ 7 h 20"/>
              <a:gd name="T46" fmla="*/ 36 w 42"/>
              <a:gd name="T47" fmla="*/ 9 h 20"/>
              <a:gd name="T48" fmla="*/ 30 w 42"/>
              <a:gd name="T49" fmla="*/ 8 h 20"/>
              <a:gd name="T50" fmla="*/ 32 w 42"/>
              <a:gd name="T51" fmla="*/ 9 h 20"/>
              <a:gd name="T52" fmla="*/ 30 w 42"/>
              <a:gd name="T53" fmla="*/ 11 h 20"/>
              <a:gd name="T54" fmla="*/ 30 w 42"/>
              <a:gd name="T55" fmla="*/ 10 h 20"/>
              <a:gd name="T56" fmla="*/ 27 w 42"/>
              <a:gd name="T57" fmla="*/ 11 h 20"/>
              <a:gd name="T58" fmla="*/ 25 w 42"/>
              <a:gd name="T59" fmla="*/ 11 h 20"/>
              <a:gd name="T60" fmla="*/ 24 w 42"/>
              <a:gd name="T61" fmla="*/ 12 h 20"/>
              <a:gd name="T62" fmla="*/ 16 w 42"/>
              <a:gd name="T63" fmla="*/ 15 h 20"/>
              <a:gd name="T64" fmla="*/ 13 w 42"/>
              <a:gd name="T65" fmla="*/ 16 h 20"/>
              <a:gd name="T66" fmla="*/ 11 w 42"/>
              <a:gd name="T67" fmla="*/ 18 h 20"/>
              <a:gd name="T68" fmla="*/ 3 w 42"/>
              <a:gd name="T69" fmla="*/ 20 h 20"/>
              <a:gd name="T70" fmla="*/ 8 w 42"/>
              <a:gd name="T71" fmla="*/ 18 h 20"/>
              <a:gd name="T72" fmla="*/ 7 w 42"/>
              <a:gd name="T73" fmla="*/ 17 h 20"/>
              <a:gd name="T74" fmla="*/ 9 w 42"/>
              <a:gd name="T75" fmla="*/ 15 h 20"/>
              <a:gd name="T76" fmla="*/ 7 w 42"/>
              <a:gd name="T77" fmla="*/ 14 h 20"/>
              <a:gd name="T78" fmla="*/ 6 w 42"/>
              <a:gd name="T79" fmla="*/ 15 h 20"/>
              <a:gd name="T80" fmla="*/ 4 w 42"/>
              <a:gd name="T81" fmla="*/ 18 h 20"/>
              <a:gd name="T82" fmla="*/ 0 w 42"/>
              <a:gd name="T83" fmla="*/ 17 h 20"/>
              <a:gd name="T84" fmla="*/ 3 w 42"/>
              <a:gd name="T85" fmla="*/ 14 h 20"/>
              <a:gd name="T86" fmla="*/ 3 w 42"/>
              <a:gd name="T87" fmla="*/ 11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2" h="20">
                <a:moveTo>
                  <a:pt x="4" y="10"/>
                </a:moveTo>
                <a:lnTo>
                  <a:pt x="3" y="10"/>
                </a:lnTo>
                <a:lnTo>
                  <a:pt x="3" y="10"/>
                </a:lnTo>
                <a:lnTo>
                  <a:pt x="5" y="10"/>
                </a:lnTo>
                <a:lnTo>
                  <a:pt x="7" y="8"/>
                </a:lnTo>
                <a:lnTo>
                  <a:pt x="13" y="6"/>
                </a:lnTo>
                <a:lnTo>
                  <a:pt x="13" y="7"/>
                </a:lnTo>
                <a:lnTo>
                  <a:pt x="15" y="6"/>
                </a:lnTo>
                <a:lnTo>
                  <a:pt x="17" y="6"/>
                </a:lnTo>
                <a:lnTo>
                  <a:pt x="18" y="6"/>
                </a:lnTo>
                <a:lnTo>
                  <a:pt x="16" y="7"/>
                </a:lnTo>
                <a:lnTo>
                  <a:pt x="17" y="7"/>
                </a:lnTo>
                <a:lnTo>
                  <a:pt x="16" y="8"/>
                </a:lnTo>
                <a:lnTo>
                  <a:pt x="16" y="9"/>
                </a:lnTo>
                <a:lnTo>
                  <a:pt x="17" y="10"/>
                </a:lnTo>
                <a:lnTo>
                  <a:pt x="19" y="8"/>
                </a:lnTo>
                <a:lnTo>
                  <a:pt x="20" y="7"/>
                </a:lnTo>
                <a:lnTo>
                  <a:pt x="20" y="7"/>
                </a:lnTo>
                <a:lnTo>
                  <a:pt x="22" y="6"/>
                </a:lnTo>
                <a:lnTo>
                  <a:pt x="22" y="4"/>
                </a:lnTo>
                <a:lnTo>
                  <a:pt x="24" y="2"/>
                </a:lnTo>
                <a:lnTo>
                  <a:pt x="25" y="1"/>
                </a:lnTo>
                <a:lnTo>
                  <a:pt x="27" y="1"/>
                </a:lnTo>
                <a:lnTo>
                  <a:pt x="27" y="4"/>
                </a:lnTo>
                <a:lnTo>
                  <a:pt x="25" y="5"/>
                </a:lnTo>
                <a:lnTo>
                  <a:pt x="25" y="5"/>
                </a:lnTo>
                <a:lnTo>
                  <a:pt x="28" y="4"/>
                </a:lnTo>
                <a:lnTo>
                  <a:pt x="30" y="2"/>
                </a:lnTo>
                <a:lnTo>
                  <a:pt x="32" y="4"/>
                </a:lnTo>
                <a:lnTo>
                  <a:pt x="34" y="2"/>
                </a:lnTo>
                <a:lnTo>
                  <a:pt x="35" y="1"/>
                </a:lnTo>
                <a:lnTo>
                  <a:pt x="35" y="0"/>
                </a:lnTo>
                <a:lnTo>
                  <a:pt x="36" y="1"/>
                </a:lnTo>
                <a:lnTo>
                  <a:pt x="37" y="1"/>
                </a:lnTo>
                <a:lnTo>
                  <a:pt x="38" y="1"/>
                </a:lnTo>
                <a:lnTo>
                  <a:pt x="36" y="4"/>
                </a:lnTo>
                <a:lnTo>
                  <a:pt x="36" y="4"/>
                </a:lnTo>
                <a:lnTo>
                  <a:pt x="40" y="1"/>
                </a:lnTo>
                <a:lnTo>
                  <a:pt x="42" y="1"/>
                </a:lnTo>
                <a:lnTo>
                  <a:pt x="42" y="2"/>
                </a:lnTo>
                <a:lnTo>
                  <a:pt x="39" y="5"/>
                </a:lnTo>
                <a:lnTo>
                  <a:pt x="39" y="5"/>
                </a:lnTo>
                <a:lnTo>
                  <a:pt x="38" y="6"/>
                </a:lnTo>
                <a:lnTo>
                  <a:pt x="38" y="6"/>
                </a:lnTo>
                <a:lnTo>
                  <a:pt x="37" y="7"/>
                </a:lnTo>
                <a:lnTo>
                  <a:pt x="41" y="7"/>
                </a:lnTo>
                <a:lnTo>
                  <a:pt x="37" y="9"/>
                </a:lnTo>
                <a:lnTo>
                  <a:pt x="36" y="9"/>
                </a:lnTo>
                <a:lnTo>
                  <a:pt x="32" y="7"/>
                </a:lnTo>
                <a:lnTo>
                  <a:pt x="30" y="8"/>
                </a:lnTo>
                <a:lnTo>
                  <a:pt x="29" y="9"/>
                </a:lnTo>
                <a:lnTo>
                  <a:pt x="32" y="9"/>
                </a:lnTo>
                <a:lnTo>
                  <a:pt x="32" y="10"/>
                </a:lnTo>
                <a:lnTo>
                  <a:pt x="30" y="11"/>
                </a:lnTo>
                <a:lnTo>
                  <a:pt x="29" y="11"/>
                </a:lnTo>
                <a:lnTo>
                  <a:pt x="30" y="10"/>
                </a:lnTo>
                <a:lnTo>
                  <a:pt x="29" y="10"/>
                </a:lnTo>
                <a:lnTo>
                  <a:pt x="27" y="11"/>
                </a:lnTo>
                <a:lnTo>
                  <a:pt x="24" y="11"/>
                </a:lnTo>
                <a:lnTo>
                  <a:pt x="25" y="11"/>
                </a:lnTo>
                <a:lnTo>
                  <a:pt x="25" y="12"/>
                </a:lnTo>
                <a:lnTo>
                  <a:pt x="24" y="12"/>
                </a:lnTo>
                <a:lnTo>
                  <a:pt x="20" y="12"/>
                </a:lnTo>
                <a:lnTo>
                  <a:pt x="16" y="15"/>
                </a:lnTo>
                <a:lnTo>
                  <a:pt x="14" y="15"/>
                </a:lnTo>
                <a:lnTo>
                  <a:pt x="13" y="16"/>
                </a:lnTo>
                <a:lnTo>
                  <a:pt x="13" y="17"/>
                </a:lnTo>
                <a:lnTo>
                  <a:pt x="11" y="18"/>
                </a:lnTo>
                <a:lnTo>
                  <a:pt x="8" y="19"/>
                </a:lnTo>
                <a:lnTo>
                  <a:pt x="3" y="20"/>
                </a:lnTo>
                <a:lnTo>
                  <a:pt x="5" y="19"/>
                </a:lnTo>
                <a:lnTo>
                  <a:pt x="8" y="18"/>
                </a:lnTo>
                <a:lnTo>
                  <a:pt x="8" y="17"/>
                </a:lnTo>
                <a:lnTo>
                  <a:pt x="7" y="17"/>
                </a:lnTo>
                <a:lnTo>
                  <a:pt x="8" y="16"/>
                </a:lnTo>
                <a:lnTo>
                  <a:pt x="9" y="15"/>
                </a:lnTo>
                <a:lnTo>
                  <a:pt x="8" y="14"/>
                </a:lnTo>
                <a:lnTo>
                  <a:pt x="7" y="14"/>
                </a:lnTo>
                <a:lnTo>
                  <a:pt x="6" y="14"/>
                </a:lnTo>
                <a:lnTo>
                  <a:pt x="6" y="15"/>
                </a:lnTo>
                <a:lnTo>
                  <a:pt x="7" y="15"/>
                </a:lnTo>
                <a:lnTo>
                  <a:pt x="4" y="18"/>
                </a:lnTo>
                <a:lnTo>
                  <a:pt x="1" y="18"/>
                </a:lnTo>
                <a:lnTo>
                  <a:pt x="0" y="17"/>
                </a:lnTo>
                <a:lnTo>
                  <a:pt x="1" y="16"/>
                </a:lnTo>
                <a:lnTo>
                  <a:pt x="3" y="14"/>
                </a:lnTo>
                <a:lnTo>
                  <a:pt x="4" y="12"/>
                </a:lnTo>
                <a:lnTo>
                  <a:pt x="3" y="11"/>
                </a:lnTo>
                <a:lnTo>
                  <a:pt x="4" y="1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96" name="Freeform 1497"/>
          <p:cNvSpPr>
            <a:spLocks/>
          </p:cNvSpPr>
          <p:nvPr/>
        </p:nvSpPr>
        <p:spPr bwMode="auto">
          <a:xfrm>
            <a:off x="1171575" y="1917665"/>
            <a:ext cx="6350" cy="3175"/>
          </a:xfrm>
          <a:custGeom>
            <a:avLst/>
            <a:gdLst>
              <a:gd name="T0" fmla="*/ 1 w 4"/>
              <a:gd name="T1" fmla="*/ 1 h 2"/>
              <a:gd name="T2" fmla="*/ 0 w 4"/>
              <a:gd name="T3" fmla="*/ 1 h 2"/>
              <a:gd name="T4" fmla="*/ 2 w 4"/>
              <a:gd name="T5" fmla="*/ 1 h 2"/>
              <a:gd name="T6" fmla="*/ 3 w 4"/>
              <a:gd name="T7" fmla="*/ 0 h 2"/>
              <a:gd name="T8" fmla="*/ 3 w 4"/>
              <a:gd name="T9" fmla="*/ 1 h 2"/>
              <a:gd name="T10" fmla="*/ 4 w 4"/>
              <a:gd name="T11" fmla="*/ 1 h 2"/>
              <a:gd name="T12" fmla="*/ 4 w 4"/>
              <a:gd name="T13" fmla="*/ 2 h 2"/>
              <a:gd name="T14" fmla="*/ 3 w 4"/>
              <a:gd name="T15" fmla="*/ 1 h 2"/>
              <a:gd name="T16" fmla="*/ 1 w 4"/>
              <a:gd name="T17" fmla="*/ 1 h 2"/>
              <a:gd name="T18" fmla="*/ 1 w 4"/>
              <a:gd name="T19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" h="2">
                <a:moveTo>
                  <a:pt x="1" y="1"/>
                </a:moveTo>
                <a:lnTo>
                  <a:pt x="0" y="1"/>
                </a:lnTo>
                <a:lnTo>
                  <a:pt x="2" y="1"/>
                </a:lnTo>
                <a:lnTo>
                  <a:pt x="3" y="0"/>
                </a:lnTo>
                <a:lnTo>
                  <a:pt x="3" y="1"/>
                </a:lnTo>
                <a:lnTo>
                  <a:pt x="4" y="1"/>
                </a:lnTo>
                <a:lnTo>
                  <a:pt x="4" y="2"/>
                </a:lnTo>
                <a:lnTo>
                  <a:pt x="3" y="1"/>
                </a:lnTo>
                <a:lnTo>
                  <a:pt x="1" y="1"/>
                </a:lnTo>
                <a:lnTo>
                  <a:pt x="1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97" name="Freeform 1498"/>
          <p:cNvSpPr>
            <a:spLocks/>
          </p:cNvSpPr>
          <p:nvPr/>
        </p:nvSpPr>
        <p:spPr bwMode="auto">
          <a:xfrm>
            <a:off x="1171575" y="1917665"/>
            <a:ext cx="6350" cy="3175"/>
          </a:xfrm>
          <a:custGeom>
            <a:avLst/>
            <a:gdLst>
              <a:gd name="T0" fmla="*/ 1 w 4"/>
              <a:gd name="T1" fmla="*/ 1 h 2"/>
              <a:gd name="T2" fmla="*/ 0 w 4"/>
              <a:gd name="T3" fmla="*/ 1 h 2"/>
              <a:gd name="T4" fmla="*/ 2 w 4"/>
              <a:gd name="T5" fmla="*/ 1 h 2"/>
              <a:gd name="T6" fmla="*/ 3 w 4"/>
              <a:gd name="T7" fmla="*/ 0 h 2"/>
              <a:gd name="T8" fmla="*/ 3 w 4"/>
              <a:gd name="T9" fmla="*/ 1 h 2"/>
              <a:gd name="T10" fmla="*/ 4 w 4"/>
              <a:gd name="T11" fmla="*/ 1 h 2"/>
              <a:gd name="T12" fmla="*/ 4 w 4"/>
              <a:gd name="T13" fmla="*/ 2 h 2"/>
              <a:gd name="T14" fmla="*/ 3 w 4"/>
              <a:gd name="T15" fmla="*/ 1 h 2"/>
              <a:gd name="T16" fmla="*/ 1 w 4"/>
              <a:gd name="T17" fmla="*/ 1 h 2"/>
              <a:gd name="T18" fmla="*/ 1 w 4"/>
              <a:gd name="T19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" h="2">
                <a:moveTo>
                  <a:pt x="1" y="1"/>
                </a:moveTo>
                <a:lnTo>
                  <a:pt x="0" y="1"/>
                </a:lnTo>
                <a:lnTo>
                  <a:pt x="2" y="1"/>
                </a:lnTo>
                <a:lnTo>
                  <a:pt x="3" y="0"/>
                </a:lnTo>
                <a:lnTo>
                  <a:pt x="3" y="1"/>
                </a:lnTo>
                <a:lnTo>
                  <a:pt x="4" y="1"/>
                </a:lnTo>
                <a:lnTo>
                  <a:pt x="4" y="2"/>
                </a:lnTo>
                <a:lnTo>
                  <a:pt x="3" y="1"/>
                </a:lnTo>
                <a:lnTo>
                  <a:pt x="1" y="1"/>
                </a:lnTo>
                <a:lnTo>
                  <a:pt x="1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98" name="Freeform 1499"/>
          <p:cNvSpPr>
            <a:spLocks/>
          </p:cNvSpPr>
          <p:nvPr/>
        </p:nvSpPr>
        <p:spPr bwMode="auto">
          <a:xfrm>
            <a:off x="1179513" y="1909728"/>
            <a:ext cx="26987" cy="11113"/>
          </a:xfrm>
          <a:custGeom>
            <a:avLst/>
            <a:gdLst>
              <a:gd name="T0" fmla="*/ 8 w 17"/>
              <a:gd name="T1" fmla="*/ 3 h 7"/>
              <a:gd name="T2" fmla="*/ 8 w 17"/>
              <a:gd name="T3" fmla="*/ 3 h 7"/>
              <a:gd name="T4" fmla="*/ 8 w 17"/>
              <a:gd name="T5" fmla="*/ 3 h 7"/>
              <a:gd name="T6" fmla="*/ 7 w 17"/>
              <a:gd name="T7" fmla="*/ 3 h 7"/>
              <a:gd name="T8" fmla="*/ 7 w 17"/>
              <a:gd name="T9" fmla="*/ 2 h 7"/>
              <a:gd name="T10" fmla="*/ 8 w 17"/>
              <a:gd name="T11" fmla="*/ 2 h 7"/>
              <a:gd name="T12" fmla="*/ 9 w 17"/>
              <a:gd name="T13" fmla="*/ 2 h 7"/>
              <a:gd name="T14" fmla="*/ 10 w 17"/>
              <a:gd name="T15" fmla="*/ 0 h 7"/>
              <a:gd name="T16" fmla="*/ 12 w 17"/>
              <a:gd name="T17" fmla="*/ 0 h 7"/>
              <a:gd name="T18" fmla="*/ 16 w 17"/>
              <a:gd name="T19" fmla="*/ 0 h 7"/>
              <a:gd name="T20" fmla="*/ 16 w 17"/>
              <a:gd name="T21" fmla="*/ 0 h 7"/>
              <a:gd name="T22" fmla="*/ 13 w 17"/>
              <a:gd name="T23" fmla="*/ 2 h 7"/>
              <a:gd name="T24" fmla="*/ 13 w 17"/>
              <a:gd name="T25" fmla="*/ 2 h 7"/>
              <a:gd name="T26" fmla="*/ 15 w 17"/>
              <a:gd name="T27" fmla="*/ 2 h 7"/>
              <a:gd name="T28" fmla="*/ 17 w 17"/>
              <a:gd name="T29" fmla="*/ 2 h 7"/>
              <a:gd name="T30" fmla="*/ 15 w 17"/>
              <a:gd name="T31" fmla="*/ 4 h 7"/>
              <a:gd name="T32" fmla="*/ 16 w 17"/>
              <a:gd name="T33" fmla="*/ 3 h 7"/>
              <a:gd name="T34" fmla="*/ 15 w 17"/>
              <a:gd name="T35" fmla="*/ 4 h 7"/>
              <a:gd name="T36" fmla="*/ 12 w 17"/>
              <a:gd name="T37" fmla="*/ 4 h 7"/>
              <a:gd name="T38" fmla="*/ 10 w 17"/>
              <a:gd name="T39" fmla="*/ 5 h 7"/>
              <a:gd name="T40" fmla="*/ 8 w 17"/>
              <a:gd name="T41" fmla="*/ 6 h 7"/>
              <a:gd name="T42" fmla="*/ 7 w 17"/>
              <a:gd name="T43" fmla="*/ 5 h 7"/>
              <a:gd name="T44" fmla="*/ 6 w 17"/>
              <a:gd name="T45" fmla="*/ 6 h 7"/>
              <a:gd name="T46" fmla="*/ 3 w 17"/>
              <a:gd name="T47" fmla="*/ 6 h 7"/>
              <a:gd name="T48" fmla="*/ 2 w 17"/>
              <a:gd name="T49" fmla="*/ 7 h 7"/>
              <a:gd name="T50" fmla="*/ 2 w 17"/>
              <a:gd name="T51" fmla="*/ 7 h 7"/>
              <a:gd name="T52" fmla="*/ 1 w 17"/>
              <a:gd name="T53" fmla="*/ 7 h 7"/>
              <a:gd name="T54" fmla="*/ 1 w 17"/>
              <a:gd name="T55" fmla="*/ 5 h 7"/>
              <a:gd name="T56" fmla="*/ 0 w 17"/>
              <a:gd name="T57" fmla="*/ 5 h 7"/>
              <a:gd name="T58" fmla="*/ 1 w 17"/>
              <a:gd name="T59" fmla="*/ 5 h 7"/>
              <a:gd name="T60" fmla="*/ 3 w 17"/>
              <a:gd name="T61" fmla="*/ 4 h 7"/>
              <a:gd name="T62" fmla="*/ 5 w 17"/>
              <a:gd name="T63" fmla="*/ 3 h 7"/>
              <a:gd name="T64" fmla="*/ 6 w 17"/>
              <a:gd name="T65" fmla="*/ 4 h 7"/>
              <a:gd name="T66" fmla="*/ 8 w 17"/>
              <a:gd name="T67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7" h="7">
                <a:moveTo>
                  <a:pt x="8" y="3"/>
                </a:moveTo>
                <a:lnTo>
                  <a:pt x="8" y="3"/>
                </a:lnTo>
                <a:lnTo>
                  <a:pt x="8" y="3"/>
                </a:lnTo>
                <a:lnTo>
                  <a:pt x="7" y="3"/>
                </a:lnTo>
                <a:lnTo>
                  <a:pt x="7" y="2"/>
                </a:lnTo>
                <a:lnTo>
                  <a:pt x="8" y="2"/>
                </a:lnTo>
                <a:lnTo>
                  <a:pt x="9" y="2"/>
                </a:lnTo>
                <a:lnTo>
                  <a:pt x="10" y="0"/>
                </a:lnTo>
                <a:lnTo>
                  <a:pt x="12" y="0"/>
                </a:lnTo>
                <a:lnTo>
                  <a:pt x="16" y="0"/>
                </a:lnTo>
                <a:lnTo>
                  <a:pt x="16" y="0"/>
                </a:lnTo>
                <a:lnTo>
                  <a:pt x="13" y="2"/>
                </a:lnTo>
                <a:lnTo>
                  <a:pt x="13" y="2"/>
                </a:lnTo>
                <a:lnTo>
                  <a:pt x="15" y="2"/>
                </a:lnTo>
                <a:lnTo>
                  <a:pt x="17" y="2"/>
                </a:lnTo>
                <a:lnTo>
                  <a:pt x="15" y="4"/>
                </a:lnTo>
                <a:lnTo>
                  <a:pt x="16" y="3"/>
                </a:lnTo>
                <a:lnTo>
                  <a:pt x="15" y="4"/>
                </a:lnTo>
                <a:lnTo>
                  <a:pt x="12" y="4"/>
                </a:lnTo>
                <a:lnTo>
                  <a:pt x="10" y="5"/>
                </a:lnTo>
                <a:lnTo>
                  <a:pt x="8" y="6"/>
                </a:lnTo>
                <a:lnTo>
                  <a:pt x="7" y="5"/>
                </a:lnTo>
                <a:lnTo>
                  <a:pt x="6" y="6"/>
                </a:lnTo>
                <a:lnTo>
                  <a:pt x="3" y="6"/>
                </a:lnTo>
                <a:lnTo>
                  <a:pt x="2" y="7"/>
                </a:lnTo>
                <a:lnTo>
                  <a:pt x="2" y="7"/>
                </a:lnTo>
                <a:lnTo>
                  <a:pt x="1" y="7"/>
                </a:lnTo>
                <a:lnTo>
                  <a:pt x="1" y="5"/>
                </a:lnTo>
                <a:lnTo>
                  <a:pt x="0" y="5"/>
                </a:lnTo>
                <a:lnTo>
                  <a:pt x="1" y="5"/>
                </a:lnTo>
                <a:lnTo>
                  <a:pt x="3" y="4"/>
                </a:lnTo>
                <a:lnTo>
                  <a:pt x="5" y="3"/>
                </a:lnTo>
                <a:lnTo>
                  <a:pt x="6" y="4"/>
                </a:lnTo>
                <a:lnTo>
                  <a:pt x="8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499" name="Freeform 1500"/>
          <p:cNvSpPr>
            <a:spLocks/>
          </p:cNvSpPr>
          <p:nvPr/>
        </p:nvSpPr>
        <p:spPr bwMode="auto">
          <a:xfrm>
            <a:off x="1179513" y="1909728"/>
            <a:ext cx="26987" cy="11113"/>
          </a:xfrm>
          <a:custGeom>
            <a:avLst/>
            <a:gdLst>
              <a:gd name="T0" fmla="*/ 8 w 17"/>
              <a:gd name="T1" fmla="*/ 3 h 7"/>
              <a:gd name="T2" fmla="*/ 8 w 17"/>
              <a:gd name="T3" fmla="*/ 3 h 7"/>
              <a:gd name="T4" fmla="*/ 8 w 17"/>
              <a:gd name="T5" fmla="*/ 3 h 7"/>
              <a:gd name="T6" fmla="*/ 7 w 17"/>
              <a:gd name="T7" fmla="*/ 3 h 7"/>
              <a:gd name="T8" fmla="*/ 7 w 17"/>
              <a:gd name="T9" fmla="*/ 2 h 7"/>
              <a:gd name="T10" fmla="*/ 8 w 17"/>
              <a:gd name="T11" fmla="*/ 2 h 7"/>
              <a:gd name="T12" fmla="*/ 9 w 17"/>
              <a:gd name="T13" fmla="*/ 2 h 7"/>
              <a:gd name="T14" fmla="*/ 10 w 17"/>
              <a:gd name="T15" fmla="*/ 0 h 7"/>
              <a:gd name="T16" fmla="*/ 12 w 17"/>
              <a:gd name="T17" fmla="*/ 0 h 7"/>
              <a:gd name="T18" fmla="*/ 16 w 17"/>
              <a:gd name="T19" fmla="*/ 0 h 7"/>
              <a:gd name="T20" fmla="*/ 16 w 17"/>
              <a:gd name="T21" fmla="*/ 0 h 7"/>
              <a:gd name="T22" fmla="*/ 13 w 17"/>
              <a:gd name="T23" fmla="*/ 2 h 7"/>
              <a:gd name="T24" fmla="*/ 13 w 17"/>
              <a:gd name="T25" fmla="*/ 2 h 7"/>
              <a:gd name="T26" fmla="*/ 15 w 17"/>
              <a:gd name="T27" fmla="*/ 2 h 7"/>
              <a:gd name="T28" fmla="*/ 17 w 17"/>
              <a:gd name="T29" fmla="*/ 2 h 7"/>
              <a:gd name="T30" fmla="*/ 15 w 17"/>
              <a:gd name="T31" fmla="*/ 4 h 7"/>
              <a:gd name="T32" fmla="*/ 16 w 17"/>
              <a:gd name="T33" fmla="*/ 3 h 7"/>
              <a:gd name="T34" fmla="*/ 15 w 17"/>
              <a:gd name="T35" fmla="*/ 4 h 7"/>
              <a:gd name="T36" fmla="*/ 12 w 17"/>
              <a:gd name="T37" fmla="*/ 4 h 7"/>
              <a:gd name="T38" fmla="*/ 10 w 17"/>
              <a:gd name="T39" fmla="*/ 5 h 7"/>
              <a:gd name="T40" fmla="*/ 8 w 17"/>
              <a:gd name="T41" fmla="*/ 6 h 7"/>
              <a:gd name="T42" fmla="*/ 7 w 17"/>
              <a:gd name="T43" fmla="*/ 5 h 7"/>
              <a:gd name="T44" fmla="*/ 6 w 17"/>
              <a:gd name="T45" fmla="*/ 6 h 7"/>
              <a:gd name="T46" fmla="*/ 3 w 17"/>
              <a:gd name="T47" fmla="*/ 6 h 7"/>
              <a:gd name="T48" fmla="*/ 2 w 17"/>
              <a:gd name="T49" fmla="*/ 7 h 7"/>
              <a:gd name="T50" fmla="*/ 2 w 17"/>
              <a:gd name="T51" fmla="*/ 7 h 7"/>
              <a:gd name="T52" fmla="*/ 1 w 17"/>
              <a:gd name="T53" fmla="*/ 7 h 7"/>
              <a:gd name="T54" fmla="*/ 1 w 17"/>
              <a:gd name="T55" fmla="*/ 5 h 7"/>
              <a:gd name="T56" fmla="*/ 0 w 17"/>
              <a:gd name="T57" fmla="*/ 5 h 7"/>
              <a:gd name="T58" fmla="*/ 1 w 17"/>
              <a:gd name="T59" fmla="*/ 5 h 7"/>
              <a:gd name="T60" fmla="*/ 3 w 17"/>
              <a:gd name="T61" fmla="*/ 4 h 7"/>
              <a:gd name="T62" fmla="*/ 5 w 17"/>
              <a:gd name="T63" fmla="*/ 3 h 7"/>
              <a:gd name="T64" fmla="*/ 6 w 17"/>
              <a:gd name="T65" fmla="*/ 4 h 7"/>
              <a:gd name="T66" fmla="*/ 8 w 17"/>
              <a:gd name="T67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7" h="7">
                <a:moveTo>
                  <a:pt x="8" y="3"/>
                </a:moveTo>
                <a:lnTo>
                  <a:pt x="8" y="3"/>
                </a:lnTo>
                <a:lnTo>
                  <a:pt x="8" y="3"/>
                </a:lnTo>
                <a:lnTo>
                  <a:pt x="7" y="3"/>
                </a:lnTo>
                <a:lnTo>
                  <a:pt x="7" y="2"/>
                </a:lnTo>
                <a:lnTo>
                  <a:pt x="8" y="2"/>
                </a:lnTo>
                <a:lnTo>
                  <a:pt x="9" y="2"/>
                </a:lnTo>
                <a:lnTo>
                  <a:pt x="10" y="0"/>
                </a:lnTo>
                <a:lnTo>
                  <a:pt x="12" y="0"/>
                </a:lnTo>
                <a:lnTo>
                  <a:pt x="16" y="0"/>
                </a:lnTo>
                <a:lnTo>
                  <a:pt x="16" y="0"/>
                </a:lnTo>
                <a:lnTo>
                  <a:pt x="13" y="2"/>
                </a:lnTo>
                <a:lnTo>
                  <a:pt x="13" y="2"/>
                </a:lnTo>
                <a:lnTo>
                  <a:pt x="15" y="2"/>
                </a:lnTo>
                <a:lnTo>
                  <a:pt x="17" y="2"/>
                </a:lnTo>
                <a:lnTo>
                  <a:pt x="15" y="4"/>
                </a:lnTo>
                <a:lnTo>
                  <a:pt x="16" y="3"/>
                </a:lnTo>
                <a:lnTo>
                  <a:pt x="15" y="4"/>
                </a:lnTo>
                <a:lnTo>
                  <a:pt x="12" y="4"/>
                </a:lnTo>
                <a:lnTo>
                  <a:pt x="10" y="5"/>
                </a:lnTo>
                <a:lnTo>
                  <a:pt x="8" y="6"/>
                </a:lnTo>
                <a:lnTo>
                  <a:pt x="7" y="5"/>
                </a:lnTo>
                <a:lnTo>
                  <a:pt x="6" y="6"/>
                </a:lnTo>
                <a:lnTo>
                  <a:pt x="3" y="6"/>
                </a:lnTo>
                <a:lnTo>
                  <a:pt x="2" y="7"/>
                </a:lnTo>
                <a:lnTo>
                  <a:pt x="2" y="7"/>
                </a:lnTo>
                <a:lnTo>
                  <a:pt x="1" y="7"/>
                </a:lnTo>
                <a:lnTo>
                  <a:pt x="1" y="5"/>
                </a:lnTo>
                <a:lnTo>
                  <a:pt x="0" y="5"/>
                </a:lnTo>
                <a:lnTo>
                  <a:pt x="1" y="5"/>
                </a:lnTo>
                <a:lnTo>
                  <a:pt x="3" y="4"/>
                </a:lnTo>
                <a:lnTo>
                  <a:pt x="5" y="3"/>
                </a:lnTo>
                <a:lnTo>
                  <a:pt x="6" y="4"/>
                </a:lnTo>
                <a:lnTo>
                  <a:pt x="8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00" name="Freeform 1501"/>
          <p:cNvSpPr>
            <a:spLocks/>
          </p:cNvSpPr>
          <p:nvPr/>
        </p:nvSpPr>
        <p:spPr bwMode="auto">
          <a:xfrm>
            <a:off x="1203325" y="1904965"/>
            <a:ext cx="4762" cy="3175"/>
          </a:xfrm>
          <a:custGeom>
            <a:avLst/>
            <a:gdLst>
              <a:gd name="T0" fmla="*/ 1 w 3"/>
              <a:gd name="T1" fmla="*/ 0 h 2"/>
              <a:gd name="T2" fmla="*/ 1 w 3"/>
              <a:gd name="T3" fmla="*/ 1 h 2"/>
              <a:gd name="T4" fmla="*/ 2 w 3"/>
              <a:gd name="T5" fmla="*/ 0 h 2"/>
              <a:gd name="T6" fmla="*/ 3 w 3"/>
              <a:gd name="T7" fmla="*/ 0 h 2"/>
              <a:gd name="T8" fmla="*/ 2 w 3"/>
              <a:gd name="T9" fmla="*/ 1 h 2"/>
              <a:gd name="T10" fmla="*/ 1 w 3"/>
              <a:gd name="T11" fmla="*/ 2 h 2"/>
              <a:gd name="T12" fmla="*/ 0 w 3"/>
              <a:gd name="T13" fmla="*/ 2 h 2"/>
              <a:gd name="T14" fmla="*/ 0 w 3"/>
              <a:gd name="T15" fmla="*/ 1 h 2"/>
              <a:gd name="T16" fmla="*/ 1 w 3"/>
              <a:gd name="T17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2">
                <a:moveTo>
                  <a:pt x="1" y="0"/>
                </a:moveTo>
                <a:lnTo>
                  <a:pt x="1" y="1"/>
                </a:lnTo>
                <a:lnTo>
                  <a:pt x="2" y="0"/>
                </a:lnTo>
                <a:lnTo>
                  <a:pt x="3" y="0"/>
                </a:lnTo>
                <a:lnTo>
                  <a:pt x="2" y="1"/>
                </a:lnTo>
                <a:lnTo>
                  <a:pt x="1" y="2"/>
                </a:lnTo>
                <a:lnTo>
                  <a:pt x="0" y="2"/>
                </a:lnTo>
                <a:lnTo>
                  <a:pt x="0" y="1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01" name="Freeform 1502"/>
          <p:cNvSpPr>
            <a:spLocks/>
          </p:cNvSpPr>
          <p:nvPr/>
        </p:nvSpPr>
        <p:spPr bwMode="auto">
          <a:xfrm>
            <a:off x="1203325" y="1904965"/>
            <a:ext cx="4762" cy="3175"/>
          </a:xfrm>
          <a:custGeom>
            <a:avLst/>
            <a:gdLst>
              <a:gd name="T0" fmla="*/ 1 w 3"/>
              <a:gd name="T1" fmla="*/ 0 h 2"/>
              <a:gd name="T2" fmla="*/ 1 w 3"/>
              <a:gd name="T3" fmla="*/ 1 h 2"/>
              <a:gd name="T4" fmla="*/ 2 w 3"/>
              <a:gd name="T5" fmla="*/ 0 h 2"/>
              <a:gd name="T6" fmla="*/ 3 w 3"/>
              <a:gd name="T7" fmla="*/ 0 h 2"/>
              <a:gd name="T8" fmla="*/ 2 w 3"/>
              <a:gd name="T9" fmla="*/ 1 h 2"/>
              <a:gd name="T10" fmla="*/ 1 w 3"/>
              <a:gd name="T11" fmla="*/ 2 h 2"/>
              <a:gd name="T12" fmla="*/ 0 w 3"/>
              <a:gd name="T13" fmla="*/ 2 h 2"/>
              <a:gd name="T14" fmla="*/ 0 w 3"/>
              <a:gd name="T15" fmla="*/ 1 h 2"/>
              <a:gd name="T16" fmla="*/ 1 w 3"/>
              <a:gd name="T17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2">
                <a:moveTo>
                  <a:pt x="1" y="0"/>
                </a:moveTo>
                <a:lnTo>
                  <a:pt x="1" y="1"/>
                </a:lnTo>
                <a:lnTo>
                  <a:pt x="2" y="0"/>
                </a:lnTo>
                <a:lnTo>
                  <a:pt x="3" y="0"/>
                </a:lnTo>
                <a:lnTo>
                  <a:pt x="2" y="1"/>
                </a:lnTo>
                <a:lnTo>
                  <a:pt x="1" y="2"/>
                </a:lnTo>
                <a:lnTo>
                  <a:pt x="0" y="2"/>
                </a:lnTo>
                <a:lnTo>
                  <a:pt x="0" y="1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02" name="Freeform 1503"/>
          <p:cNvSpPr>
            <a:spLocks/>
          </p:cNvSpPr>
          <p:nvPr/>
        </p:nvSpPr>
        <p:spPr bwMode="auto">
          <a:xfrm>
            <a:off x="1335088" y="1858928"/>
            <a:ext cx="31750" cy="15875"/>
          </a:xfrm>
          <a:custGeom>
            <a:avLst/>
            <a:gdLst>
              <a:gd name="T0" fmla="*/ 5 w 20"/>
              <a:gd name="T1" fmla="*/ 6 h 10"/>
              <a:gd name="T2" fmla="*/ 6 w 20"/>
              <a:gd name="T3" fmla="*/ 6 h 10"/>
              <a:gd name="T4" fmla="*/ 11 w 20"/>
              <a:gd name="T5" fmla="*/ 5 h 10"/>
              <a:gd name="T6" fmla="*/ 13 w 20"/>
              <a:gd name="T7" fmla="*/ 4 h 10"/>
              <a:gd name="T8" fmla="*/ 16 w 20"/>
              <a:gd name="T9" fmla="*/ 1 h 10"/>
              <a:gd name="T10" fmla="*/ 19 w 20"/>
              <a:gd name="T11" fmla="*/ 0 h 10"/>
              <a:gd name="T12" fmla="*/ 19 w 20"/>
              <a:gd name="T13" fmla="*/ 0 h 10"/>
              <a:gd name="T14" fmla="*/ 19 w 20"/>
              <a:gd name="T15" fmla="*/ 1 h 10"/>
              <a:gd name="T16" fmla="*/ 20 w 20"/>
              <a:gd name="T17" fmla="*/ 1 h 10"/>
              <a:gd name="T18" fmla="*/ 20 w 20"/>
              <a:gd name="T19" fmla="*/ 1 h 10"/>
              <a:gd name="T20" fmla="*/ 10 w 20"/>
              <a:gd name="T21" fmla="*/ 6 h 10"/>
              <a:gd name="T22" fmla="*/ 8 w 20"/>
              <a:gd name="T23" fmla="*/ 7 h 10"/>
              <a:gd name="T24" fmla="*/ 6 w 20"/>
              <a:gd name="T25" fmla="*/ 8 h 10"/>
              <a:gd name="T26" fmla="*/ 5 w 20"/>
              <a:gd name="T27" fmla="*/ 8 h 10"/>
              <a:gd name="T28" fmla="*/ 0 w 20"/>
              <a:gd name="T29" fmla="*/ 10 h 10"/>
              <a:gd name="T30" fmla="*/ 0 w 20"/>
              <a:gd name="T31" fmla="*/ 9 h 10"/>
              <a:gd name="T32" fmla="*/ 1 w 20"/>
              <a:gd name="T33" fmla="*/ 8 h 10"/>
              <a:gd name="T34" fmla="*/ 2 w 20"/>
              <a:gd name="T35" fmla="*/ 7 h 10"/>
              <a:gd name="T36" fmla="*/ 4 w 20"/>
              <a:gd name="T37" fmla="*/ 7 h 10"/>
              <a:gd name="T38" fmla="*/ 5 w 20"/>
              <a:gd name="T39" fmla="*/ 6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0" h="10">
                <a:moveTo>
                  <a:pt x="5" y="6"/>
                </a:moveTo>
                <a:lnTo>
                  <a:pt x="6" y="6"/>
                </a:lnTo>
                <a:lnTo>
                  <a:pt x="11" y="5"/>
                </a:lnTo>
                <a:lnTo>
                  <a:pt x="13" y="4"/>
                </a:lnTo>
                <a:lnTo>
                  <a:pt x="16" y="1"/>
                </a:lnTo>
                <a:lnTo>
                  <a:pt x="19" y="0"/>
                </a:lnTo>
                <a:lnTo>
                  <a:pt x="19" y="0"/>
                </a:lnTo>
                <a:lnTo>
                  <a:pt x="19" y="1"/>
                </a:lnTo>
                <a:lnTo>
                  <a:pt x="20" y="1"/>
                </a:lnTo>
                <a:lnTo>
                  <a:pt x="20" y="1"/>
                </a:lnTo>
                <a:lnTo>
                  <a:pt x="10" y="6"/>
                </a:lnTo>
                <a:lnTo>
                  <a:pt x="8" y="7"/>
                </a:lnTo>
                <a:lnTo>
                  <a:pt x="6" y="8"/>
                </a:lnTo>
                <a:lnTo>
                  <a:pt x="5" y="8"/>
                </a:lnTo>
                <a:lnTo>
                  <a:pt x="0" y="10"/>
                </a:lnTo>
                <a:lnTo>
                  <a:pt x="0" y="9"/>
                </a:lnTo>
                <a:lnTo>
                  <a:pt x="1" y="8"/>
                </a:lnTo>
                <a:lnTo>
                  <a:pt x="2" y="7"/>
                </a:lnTo>
                <a:lnTo>
                  <a:pt x="4" y="7"/>
                </a:lnTo>
                <a:lnTo>
                  <a:pt x="5" y="6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03" name="Freeform 1504"/>
          <p:cNvSpPr>
            <a:spLocks/>
          </p:cNvSpPr>
          <p:nvPr/>
        </p:nvSpPr>
        <p:spPr bwMode="auto">
          <a:xfrm>
            <a:off x="1335088" y="1858928"/>
            <a:ext cx="31750" cy="15875"/>
          </a:xfrm>
          <a:custGeom>
            <a:avLst/>
            <a:gdLst>
              <a:gd name="T0" fmla="*/ 5 w 20"/>
              <a:gd name="T1" fmla="*/ 6 h 10"/>
              <a:gd name="T2" fmla="*/ 6 w 20"/>
              <a:gd name="T3" fmla="*/ 6 h 10"/>
              <a:gd name="T4" fmla="*/ 11 w 20"/>
              <a:gd name="T5" fmla="*/ 5 h 10"/>
              <a:gd name="T6" fmla="*/ 13 w 20"/>
              <a:gd name="T7" fmla="*/ 4 h 10"/>
              <a:gd name="T8" fmla="*/ 16 w 20"/>
              <a:gd name="T9" fmla="*/ 1 h 10"/>
              <a:gd name="T10" fmla="*/ 19 w 20"/>
              <a:gd name="T11" fmla="*/ 0 h 10"/>
              <a:gd name="T12" fmla="*/ 19 w 20"/>
              <a:gd name="T13" fmla="*/ 0 h 10"/>
              <a:gd name="T14" fmla="*/ 19 w 20"/>
              <a:gd name="T15" fmla="*/ 1 h 10"/>
              <a:gd name="T16" fmla="*/ 20 w 20"/>
              <a:gd name="T17" fmla="*/ 1 h 10"/>
              <a:gd name="T18" fmla="*/ 20 w 20"/>
              <a:gd name="T19" fmla="*/ 1 h 10"/>
              <a:gd name="T20" fmla="*/ 10 w 20"/>
              <a:gd name="T21" fmla="*/ 6 h 10"/>
              <a:gd name="T22" fmla="*/ 8 w 20"/>
              <a:gd name="T23" fmla="*/ 7 h 10"/>
              <a:gd name="T24" fmla="*/ 6 w 20"/>
              <a:gd name="T25" fmla="*/ 8 h 10"/>
              <a:gd name="T26" fmla="*/ 5 w 20"/>
              <a:gd name="T27" fmla="*/ 8 h 10"/>
              <a:gd name="T28" fmla="*/ 0 w 20"/>
              <a:gd name="T29" fmla="*/ 10 h 10"/>
              <a:gd name="T30" fmla="*/ 0 w 20"/>
              <a:gd name="T31" fmla="*/ 9 h 10"/>
              <a:gd name="T32" fmla="*/ 1 w 20"/>
              <a:gd name="T33" fmla="*/ 8 h 10"/>
              <a:gd name="T34" fmla="*/ 2 w 20"/>
              <a:gd name="T35" fmla="*/ 7 h 10"/>
              <a:gd name="T36" fmla="*/ 4 w 20"/>
              <a:gd name="T37" fmla="*/ 7 h 10"/>
              <a:gd name="T38" fmla="*/ 5 w 20"/>
              <a:gd name="T39" fmla="*/ 6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0" h="10">
                <a:moveTo>
                  <a:pt x="5" y="6"/>
                </a:moveTo>
                <a:lnTo>
                  <a:pt x="6" y="6"/>
                </a:lnTo>
                <a:lnTo>
                  <a:pt x="11" y="5"/>
                </a:lnTo>
                <a:lnTo>
                  <a:pt x="13" y="4"/>
                </a:lnTo>
                <a:lnTo>
                  <a:pt x="16" y="1"/>
                </a:lnTo>
                <a:lnTo>
                  <a:pt x="19" y="0"/>
                </a:lnTo>
                <a:lnTo>
                  <a:pt x="19" y="0"/>
                </a:lnTo>
                <a:lnTo>
                  <a:pt x="19" y="1"/>
                </a:lnTo>
                <a:lnTo>
                  <a:pt x="20" y="1"/>
                </a:lnTo>
                <a:lnTo>
                  <a:pt x="20" y="1"/>
                </a:lnTo>
                <a:lnTo>
                  <a:pt x="10" y="6"/>
                </a:lnTo>
                <a:lnTo>
                  <a:pt x="8" y="7"/>
                </a:lnTo>
                <a:lnTo>
                  <a:pt x="6" y="8"/>
                </a:lnTo>
                <a:lnTo>
                  <a:pt x="5" y="8"/>
                </a:lnTo>
                <a:lnTo>
                  <a:pt x="0" y="10"/>
                </a:lnTo>
                <a:lnTo>
                  <a:pt x="0" y="9"/>
                </a:lnTo>
                <a:lnTo>
                  <a:pt x="1" y="8"/>
                </a:lnTo>
                <a:lnTo>
                  <a:pt x="2" y="7"/>
                </a:lnTo>
                <a:lnTo>
                  <a:pt x="4" y="7"/>
                </a:lnTo>
                <a:lnTo>
                  <a:pt x="5" y="6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04" name="Freeform 1505"/>
          <p:cNvSpPr>
            <a:spLocks/>
          </p:cNvSpPr>
          <p:nvPr/>
        </p:nvSpPr>
        <p:spPr bwMode="auto">
          <a:xfrm>
            <a:off x="1371600" y="1855753"/>
            <a:ext cx="14287" cy="4763"/>
          </a:xfrm>
          <a:custGeom>
            <a:avLst/>
            <a:gdLst>
              <a:gd name="T0" fmla="*/ 1 w 9"/>
              <a:gd name="T1" fmla="*/ 2 h 3"/>
              <a:gd name="T2" fmla="*/ 0 w 9"/>
              <a:gd name="T3" fmla="*/ 2 h 3"/>
              <a:gd name="T4" fmla="*/ 1 w 9"/>
              <a:gd name="T5" fmla="*/ 2 h 3"/>
              <a:gd name="T6" fmla="*/ 2 w 9"/>
              <a:gd name="T7" fmla="*/ 1 h 3"/>
              <a:gd name="T8" fmla="*/ 3 w 9"/>
              <a:gd name="T9" fmla="*/ 0 h 3"/>
              <a:gd name="T10" fmla="*/ 6 w 9"/>
              <a:gd name="T11" fmla="*/ 0 h 3"/>
              <a:gd name="T12" fmla="*/ 6 w 9"/>
              <a:gd name="T13" fmla="*/ 0 h 3"/>
              <a:gd name="T14" fmla="*/ 7 w 9"/>
              <a:gd name="T15" fmla="*/ 0 h 3"/>
              <a:gd name="T16" fmla="*/ 7 w 9"/>
              <a:gd name="T17" fmla="*/ 1 h 3"/>
              <a:gd name="T18" fmla="*/ 9 w 9"/>
              <a:gd name="T19" fmla="*/ 1 h 3"/>
              <a:gd name="T20" fmla="*/ 9 w 9"/>
              <a:gd name="T21" fmla="*/ 1 h 3"/>
              <a:gd name="T22" fmla="*/ 8 w 9"/>
              <a:gd name="T23" fmla="*/ 2 h 3"/>
              <a:gd name="T24" fmla="*/ 2 w 9"/>
              <a:gd name="T25" fmla="*/ 3 h 3"/>
              <a:gd name="T26" fmla="*/ 3 w 9"/>
              <a:gd name="T27" fmla="*/ 2 h 3"/>
              <a:gd name="T28" fmla="*/ 2 w 9"/>
              <a:gd name="T29" fmla="*/ 2 h 3"/>
              <a:gd name="T30" fmla="*/ 1 w 9"/>
              <a:gd name="T31" fmla="*/ 2 h 3"/>
              <a:gd name="T32" fmla="*/ 1 w 9"/>
              <a:gd name="T33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" h="3">
                <a:moveTo>
                  <a:pt x="1" y="2"/>
                </a:moveTo>
                <a:lnTo>
                  <a:pt x="0" y="2"/>
                </a:lnTo>
                <a:lnTo>
                  <a:pt x="1" y="2"/>
                </a:lnTo>
                <a:lnTo>
                  <a:pt x="2" y="1"/>
                </a:lnTo>
                <a:lnTo>
                  <a:pt x="3" y="0"/>
                </a:lnTo>
                <a:lnTo>
                  <a:pt x="6" y="0"/>
                </a:lnTo>
                <a:lnTo>
                  <a:pt x="6" y="0"/>
                </a:lnTo>
                <a:lnTo>
                  <a:pt x="7" y="0"/>
                </a:lnTo>
                <a:lnTo>
                  <a:pt x="7" y="1"/>
                </a:lnTo>
                <a:lnTo>
                  <a:pt x="9" y="1"/>
                </a:lnTo>
                <a:lnTo>
                  <a:pt x="9" y="1"/>
                </a:lnTo>
                <a:lnTo>
                  <a:pt x="8" y="2"/>
                </a:lnTo>
                <a:lnTo>
                  <a:pt x="2" y="3"/>
                </a:lnTo>
                <a:lnTo>
                  <a:pt x="3" y="2"/>
                </a:lnTo>
                <a:lnTo>
                  <a:pt x="2" y="2"/>
                </a:lnTo>
                <a:lnTo>
                  <a:pt x="1" y="2"/>
                </a:lnTo>
                <a:lnTo>
                  <a:pt x="1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05" name="Freeform 1506"/>
          <p:cNvSpPr>
            <a:spLocks/>
          </p:cNvSpPr>
          <p:nvPr/>
        </p:nvSpPr>
        <p:spPr bwMode="auto">
          <a:xfrm>
            <a:off x="1371600" y="1855753"/>
            <a:ext cx="14287" cy="4763"/>
          </a:xfrm>
          <a:custGeom>
            <a:avLst/>
            <a:gdLst>
              <a:gd name="T0" fmla="*/ 1 w 9"/>
              <a:gd name="T1" fmla="*/ 2 h 3"/>
              <a:gd name="T2" fmla="*/ 0 w 9"/>
              <a:gd name="T3" fmla="*/ 2 h 3"/>
              <a:gd name="T4" fmla="*/ 1 w 9"/>
              <a:gd name="T5" fmla="*/ 2 h 3"/>
              <a:gd name="T6" fmla="*/ 2 w 9"/>
              <a:gd name="T7" fmla="*/ 1 h 3"/>
              <a:gd name="T8" fmla="*/ 3 w 9"/>
              <a:gd name="T9" fmla="*/ 0 h 3"/>
              <a:gd name="T10" fmla="*/ 6 w 9"/>
              <a:gd name="T11" fmla="*/ 0 h 3"/>
              <a:gd name="T12" fmla="*/ 6 w 9"/>
              <a:gd name="T13" fmla="*/ 0 h 3"/>
              <a:gd name="T14" fmla="*/ 7 w 9"/>
              <a:gd name="T15" fmla="*/ 0 h 3"/>
              <a:gd name="T16" fmla="*/ 7 w 9"/>
              <a:gd name="T17" fmla="*/ 1 h 3"/>
              <a:gd name="T18" fmla="*/ 9 w 9"/>
              <a:gd name="T19" fmla="*/ 1 h 3"/>
              <a:gd name="T20" fmla="*/ 9 w 9"/>
              <a:gd name="T21" fmla="*/ 1 h 3"/>
              <a:gd name="T22" fmla="*/ 8 w 9"/>
              <a:gd name="T23" fmla="*/ 2 h 3"/>
              <a:gd name="T24" fmla="*/ 2 w 9"/>
              <a:gd name="T25" fmla="*/ 3 h 3"/>
              <a:gd name="T26" fmla="*/ 3 w 9"/>
              <a:gd name="T27" fmla="*/ 2 h 3"/>
              <a:gd name="T28" fmla="*/ 2 w 9"/>
              <a:gd name="T29" fmla="*/ 2 h 3"/>
              <a:gd name="T30" fmla="*/ 1 w 9"/>
              <a:gd name="T31" fmla="*/ 2 h 3"/>
              <a:gd name="T32" fmla="*/ 1 w 9"/>
              <a:gd name="T33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9" h="3">
                <a:moveTo>
                  <a:pt x="1" y="2"/>
                </a:moveTo>
                <a:lnTo>
                  <a:pt x="0" y="2"/>
                </a:lnTo>
                <a:lnTo>
                  <a:pt x="1" y="2"/>
                </a:lnTo>
                <a:lnTo>
                  <a:pt x="2" y="1"/>
                </a:lnTo>
                <a:lnTo>
                  <a:pt x="3" y="0"/>
                </a:lnTo>
                <a:lnTo>
                  <a:pt x="6" y="0"/>
                </a:lnTo>
                <a:lnTo>
                  <a:pt x="6" y="0"/>
                </a:lnTo>
                <a:lnTo>
                  <a:pt x="7" y="0"/>
                </a:lnTo>
                <a:lnTo>
                  <a:pt x="7" y="1"/>
                </a:lnTo>
                <a:lnTo>
                  <a:pt x="9" y="1"/>
                </a:lnTo>
                <a:lnTo>
                  <a:pt x="9" y="1"/>
                </a:lnTo>
                <a:lnTo>
                  <a:pt x="8" y="2"/>
                </a:lnTo>
                <a:lnTo>
                  <a:pt x="2" y="3"/>
                </a:lnTo>
                <a:lnTo>
                  <a:pt x="3" y="2"/>
                </a:lnTo>
                <a:lnTo>
                  <a:pt x="2" y="2"/>
                </a:lnTo>
                <a:lnTo>
                  <a:pt x="1" y="2"/>
                </a:lnTo>
                <a:lnTo>
                  <a:pt x="1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06" name="Freeform 1507"/>
          <p:cNvSpPr>
            <a:spLocks/>
          </p:cNvSpPr>
          <p:nvPr/>
        </p:nvSpPr>
        <p:spPr bwMode="auto">
          <a:xfrm>
            <a:off x="1028700" y="1900203"/>
            <a:ext cx="14287" cy="6350"/>
          </a:xfrm>
          <a:custGeom>
            <a:avLst/>
            <a:gdLst>
              <a:gd name="T0" fmla="*/ 9 w 9"/>
              <a:gd name="T1" fmla="*/ 0 h 4"/>
              <a:gd name="T2" fmla="*/ 9 w 9"/>
              <a:gd name="T3" fmla="*/ 0 h 4"/>
              <a:gd name="T4" fmla="*/ 7 w 9"/>
              <a:gd name="T5" fmla="*/ 1 h 4"/>
              <a:gd name="T6" fmla="*/ 2 w 9"/>
              <a:gd name="T7" fmla="*/ 3 h 4"/>
              <a:gd name="T8" fmla="*/ 1 w 9"/>
              <a:gd name="T9" fmla="*/ 4 h 4"/>
              <a:gd name="T10" fmla="*/ 0 w 9"/>
              <a:gd name="T11" fmla="*/ 4 h 4"/>
              <a:gd name="T12" fmla="*/ 1 w 9"/>
              <a:gd name="T13" fmla="*/ 2 h 4"/>
              <a:gd name="T14" fmla="*/ 2 w 9"/>
              <a:gd name="T15" fmla="*/ 2 h 4"/>
              <a:gd name="T16" fmla="*/ 4 w 9"/>
              <a:gd name="T17" fmla="*/ 1 h 4"/>
              <a:gd name="T18" fmla="*/ 9 w 9"/>
              <a:gd name="T1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" h="4">
                <a:moveTo>
                  <a:pt x="9" y="0"/>
                </a:moveTo>
                <a:lnTo>
                  <a:pt x="9" y="0"/>
                </a:lnTo>
                <a:lnTo>
                  <a:pt x="7" y="1"/>
                </a:lnTo>
                <a:lnTo>
                  <a:pt x="2" y="3"/>
                </a:lnTo>
                <a:lnTo>
                  <a:pt x="1" y="4"/>
                </a:lnTo>
                <a:lnTo>
                  <a:pt x="0" y="4"/>
                </a:lnTo>
                <a:lnTo>
                  <a:pt x="1" y="2"/>
                </a:lnTo>
                <a:lnTo>
                  <a:pt x="2" y="2"/>
                </a:lnTo>
                <a:lnTo>
                  <a:pt x="4" y="1"/>
                </a:lnTo>
                <a:lnTo>
                  <a:pt x="9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07" name="Freeform 1508"/>
          <p:cNvSpPr>
            <a:spLocks/>
          </p:cNvSpPr>
          <p:nvPr/>
        </p:nvSpPr>
        <p:spPr bwMode="auto">
          <a:xfrm>
            <a:off x="1028700" y="1900203"/>
            <a:ext cx="14287" cy="6350"/>
          </a:xfrm>
          <a:custGeom>
            <a:avLst/>
            <a:gdLst>
              <a:gd name="T0" fmla="*/ 9 w 9"/>
              <a:gd name="T1" fmla="*/ 0 h 4"/>
              <a:gd name="T2" fmla="*/ 9 w 9"/>
              <a:gd name="T3" fmla="*/ 0 h 4"/>
              <a:gd name="T4" fmla="*/ 7 w 9"/>
              <a:gd name="T5" fmla="*/ 1 h 4"/>
              <a:gd name="T6" fmla="*/ 2 w 9"/>
              <a:gd name="T7" fmla="*/ 3 h 4"/>
              <a:gd name="T8" fmla="*/ 1 w 9"/>
              <a:gd name="T9" fmla="*/ 4 h 4"/>
              <a:gd name="T10" fmla="*/ 0 w 9"/>
              <a:gd name="T11" fmla="*/ 4 h 4"/>
              <a:gd name="T12" fmla="*/ 1 w 9"/>
              <a:gd name="T13" fmla="*/ 2 h 4"/>
              <a:gd name="T14" fmla="*/ 2 w 9"/>
              <a:gd name="T15" fmla="*/ 2 h 4"/>
              <a:gd name="T16" fmla="*/ 4 w 9"/>
              <a:gd name="T17" fmla="*/ 1 h 4"/>
              <a:gd name="T18" fmla="*/ 9 w 9"/>
              <a:gd name="T19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" h="4">
                <a:moveTo>
                  <a:pt x="9" y="0"/>
                </a:moveTo>
                <a:lnTo>
                  <a:pt x="9" y="0"/>
                </a:lnTo>
                <a:lnTo>
                  <a:pt x="7" y="1"/>
                </a:lnTo>
                <a:lnTo>
                  <a:pt x="2" y="3"/>
                </a:lnTo>
                <a:lnTo>
                  <a:pt x="1" y="4"/>
                </a:lnTo>
                <a:lnTo>
                  <a:pt x="0" y="4"/>
                </a:lnTo>
                <a:lnTo>
                  <a:pt x="1" y="2"/>
                </a:lnTo>
                <a:lnTo>
                  <a:pt x="2" y="2"/>
                </a:lnTo>
                <a:lnTo>
                  <a:pt x="4" y="1"/>
                </a:lnTo>
                <a:lnTo>
                  <a:pt x="9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08" name="Freeform 1509"/>
          <p:cNvSpPr>
            <a:spLocks/>
          </p:cNvSpPr>
          <p:nvPr/>
        </p:nvSpPr>
        <p:spPr bwMode="auto">
          <a:xfrm>
            <a:off x="947738" y="1858928"/>
            <a:ext cx="39687" cy="15875"/>
          </a:xfrm>
          <a:custGeom>
            <a:avLst/>
            <a:gdLst>
              <a:gd name="T0" fmla="*/ 1 w 25"/>
              <a:gd name="T1" fmla="*/ 3 h 10"/>
              <a:gd name="T2" fmla="*/ 5 w 25"/>
              <a:gd name="T3" fmla="*/ 3 h 10"/>
              <a:gd name="T4" fmla="*/ 10 w 25"/>
              <a:gd name="T5" fmla="*/ 1 h 10"/>
              <a:gd name="T6" fmla="*/ 17 w 25"/>
              <a:gd name="T7" fmla="*/ 0 h 10"/>
              <a:gd name="T8" fmla="*/ 20 w 25"/>
              <a:gd name="T9" fmla="*/ 0 h 10"/>
              <a:gd name="T10" fmla="*/ 21 w 25"/>
              <a:gd name="T11" fmla="*/ 0 h 10"/>
              <a:gd name="T12" fmla="*/ 24 w 25"/>
              <a:gd name="T13" fmla="*/ 1 h 10"/>
              <a:gd name="T14" fmla="*/ 25 w 25"/>
              <a:gd name="T15" fmla="*/ 1 h 10"/>
              <a:gd name="T16" fmla="*/ 21 w 25"/>
              <a:gd name="T17" fmla="*/ 5 h 10"/>
              <a:gd name="T18" fmla="*/ 22 w 25"/>
              <a:gd name="T19" fmla="*/ 5 h 10"/>
              <a:gd name="T20" fmla="*/ 21 w 25"/>
              <a:gd name="T21" fmla="*/ 6 h 10"/>
              <a:gd name="T22" fmla="*/ 19 w 25"/>
              <a:gd name="T23" fmla="*/ 7 h 10"/>
              <a:gd name="T24" fmla="*/ 17 w 25"/>
              <a:gd name="T25" fmla="*/ 7 h 10"/>
              <a:gd name="T26" fmla="*/ 15 w 25"/>
              <a:gd name="T27" fmla="*/ 7 h 10"/>
              <a:gd name="T28" fmla="*/ 14 w 25"/>
              <a:gd name="T29" fmla="*/ 8 h 10"/>
              <a:gd name="T30" fmla="*/ 11 w 25"/>
              <a:gd name="T31" fmla="*/ 9 h 10"/>
              <a:gd name="T32" fmla="*/ 9 w 25"/>
              <a:gd name="T33" fmla="*/ 10 h 10"/>
              <a:gd name="T34" fmla="*/ 4 w 25"/>
              <a:gd name="T35" fmla="*/ 8 h 10"/>
              <a:gd name="T36" fmla="*/ 3 w 25"/>
              <a:gd name="T37" fmla="*/ 7 h 10"/>
              <a:gd name="T38" fmla="*/ 1 w 25"/>
              <a:gd name="T39" fmla="*/ 7 h 10"/>
              <a:gd name="T40" fmla="*/ 1 w 25"/>
              <a:gd name="T41" fmla="*/ 7 h 10"/>
              <a:gd name="T42" fmla="*/ 0 w 25"/>
              <a:gd name="T43" fmla="*/ 5 h 10"/>
              <a:gd name="T44" fmla="*/ 1 w 25"/>
              <a:gd name="T45" fmla="*/ 4 h 10"/>
              <a:gd name="T46" fmla="*/ 1 w 25"/>
              <a:gd name="T47" fmla="*/ 3 h 10"/>
              <a:gd name="T48" fmla="*/ 1 w 25"/>
              <a:gd name="T49" fmla="*/ 3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5" h="10">
                <a:moveTo>
                  <a:pt x="1" y="3"/>
                </a:moveTo>
                <a:lnTo>
                  <a:pt x="5" y="3"/>
                </a:lnTo>
                <a:lnTo>
                  <a:pt x="10" y="1"/>
                </a:lnTo>
                <a:lnTo>
                  <a:pt x="17" y="0"/>
                </a:lnTo>
                <a:lnTo>
                  <a:pt x="20" y="0"/>
                </a:lnTo>
                <a:lnTo>
                  <a:pt x="21" y="0"/>
                </a:lnTo>
                <a:lnTo>
                  <a:pt x="24" y="1"/>
                </a:lnTo>
                <a:lnTo>
                  <a:pt x="25" y="1"/>
                </a:lnTo>
                <a:lnTo>
                  <a:pt x="21" y="5"/>
                </a:lnTo>
                <a:lnTo>
                  <a:pt x="22" y="5"/>
                </a:lnTo>
                <a:lnTo>
                  <a:pt x="21" y="6"/>
                </a:lnTo>
                <a:lnTo>
                  <a:pt x="19" y="7"/>
                </a:lnTo>
                <a:lnTo>
                  <a:pt x="17" y="7"/>
                </a:lnTo>
                <a:lnTo>
                  <a:pt x="15" y="7"/>
                </a:lnTo>
                <a:lnTo>
                  <a:pt x="14" y="8"/>
                </a:lnTo>
                <a:lnTo>
                  <a:pt x="11" y="9"/>
                </a:lnTo>
                <a:lnTo>
                  <a:pt x="9" y="10"/>
                </a:lnTo>
                <a:lnTo>
                  <a:pt x="4" y="8"/>
                </a:lnTo>
                <a:lnTo>
                  <a:pt x="3" y="7"/>
                </a:lnTo>
                <a:lnTo>
                  <a:pt x="1" y="7"/>
                </a:lnTo>
                <a:lnTo>
                  <a:pt x="1" y="7"/>
                </a:lnTo>
                <a:lnTo>
                  <a:pt x="0" y="5"/>
                </a:lnTo>
                <a:lnTo>
                  <a:pt x="1" y="4"/>
                </a:lnTo>
                <a:lnTo>
                  <a:pt x="1" y="3"/>
                </a:lnTo>
                <a:lnTo>
                  <a:pt x="1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09" name="Freeform 1510"/>
          <p:cNvSpPr>
            <a:spLocks/>
          </p:cNvSpPr>
          <p:nvPr/>
        </p:nvSpPr>
        <p:spPr bwMode="auto">
          <a:xfrm>
            <a:off x="947738" y="1858928"/>
            <a:ext cx="39687" cy="15875"/>
          </a:xfrm>
          <a:custGeom>
            <a:avLst/>
            <a:gdLst>
              <a:gd name="T0" fmla="*/ 1 w 25"/>
              <a:gd name="T1" fmla="*/ 3 h 10"/>
              <a:gd name="T2" fmla="*/ 5 w 25"/>
              <a:gd name="T3" fmla="*/ 3 h 10"/>
              <a:gd name="T4" fmla="*/ 10 w 25"/>
              <a:gd name="T5" fmla="*/ 1 h 10"/>
              <a:gd name="T6" fmla="*/ 17 w 25"/>
              <a:gd name="T7" fmla="*/ 0 h 10"/>
              <a:gd name="T8" fmla="*/ 20 w 25"/>
              <a:gd name="T9" fmla="*/ 0 h 10"/>
              <a:gd name="T10" fmla="*/ 21 w 25"/>
              <a:gd name="T11" fmla="*/ 0 h 10"/>
              <a:gd name="T12" fmla="*/ 24 w 25"/>
              <a:gd name="T13" fmla="*/ 1 h 10"/>
              <a:gd name="T14" fmla="*/ 25 w 25"/>
              <a:gd name="T15" fmla="*/ 1 h 10"/>
              <a:gd name="T16" fmla="*/ 21 w 25"/>
              <a:gd name="T17" fmla="*/ 5 h 10"/>
              <a:gd name="T18" fmla="*/ 22 w 25"/>
              <a:gd name="T19" fmla="*/ 5 h 10"/>
              <a:gd name="T20" fmla="*/ 21 w 25"/>
              <a:gd name="T21" fmla="*/ 6 h 10"/>
              <a:gd name="T22" fmla="*/ 19 w 25"/>
              <a:gd name="T23" fmla="*/ 7 h 10"/>
              <a:gd name="T24" fmla="*/ 17 w 25"/>
              <a:gd name="T25" fmla="*/ 7 h 10"/>
              <a:gd name="T26" fmla="*/ 15 w 25"/>
              <a:gd name="T27" fmla="*/ 7 h 10"/>
              <a:gd name="T28" fmla="*/ 14 w 25"/>
              <a:gd name="T29" fmla="*/ 8 h 10"/>
              <a:gd name="T30" fmla="*/ 11 w 25"/>
              <a:gd name="T31" fmla="*/ 9 h 10"/>
              <a:gd name="T32" fmla="*/ 9 w 25"/>
              <a:gd name="T33" fmla="*/ 10 h 10"/>
              <a:gd name="T34" fmla="*/ 4 w 25"/>
              <a:gd name="T35" fmla="*/ 8 h 10"/>
              <a:gd name="T36" fmla="*/ 3 w 25"/>
              <a:gd name="T37" fmla="*/ 7 h 10"/>
              <a:gd name="T38" fmla="*/ 1 w 25"/>
              <a:gd name="T39" fmla="*/ 7 h 10"/>
              <a:gd name="T40" fmla="*/ 1 w 25"/>
              <a:gd name="T41" fmla="*/ 7 h 10"/>
              <a:gd name="T42" fmla="*/ 0 w 25"/>
              <a:gd name="T43" fmla="*/ 5 h 10"/>
              <a:gd name="T44" fmla="*/ 1 w 25"/>
              <a:gd name="T45" fmla="*/ 4 h 10"/>
              <a:gd name="T46" fmla="*/ 1 w 25"/>
              <a:gd name="T47" fmla="*/ 3 h 10"/>
              <a:gd name="T48" fmla="*/ 1 w 25"/>
              <a:gd name="T49" fmla="*/ 3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5" h="10">
                <a:moveTo>
                  <a:pt x="1" y="3"/>
                </a:moveTo>
                <a:lnTo>
                  <a:pt x="5" y="3"/>
                </a:lnTo>
                <a:lnTo>
                  <a:pt x="10" y="1"/>
                </a:lnTo>
                <a:lnTo>
                  <a:pt x="17" y="0"/>
                </a:lnTo>
                <a:lnTo>
                  <a:pt x="20" y="0"/>
                </a:lnTo>
                <a:lnTo>
                  <a:pt x="21" y="0"/>
                </a:lnTo>
                <a:lnTo>
                  <a:pt x="24" y="1"/>
                </a:lnTo>
                <a:lnTo>
                  <a:pt x="25" y="1"/>
                </a:lnTo>
                <a:lnTo>
                  <a:pt x="21" y="5"/>
                </a:lnTo>
                <a:lnTo>
                  <a:pt x="22" y="5"/>
                </a:lnTo>
                <a:lnTo>
                  <a:pt x="21" y="6"/>
                </a:lnTo>
                <a:lnTo>
                  <a:pt x="19" y="7"/>
                </a:lnTo>
                <a:lnTo>
                  <a:pt x="17" y="7"/>
                </a:lnTo>
                <a:lnTo>
                  <a:pt x="15" y="7"/>
                </a:lnTo>
                <a:lnTo>
                  <a:pt x="14" y="8"/>
                </a:lnTo>
                <a:lnTo>
                  <a:pt x="11" y="9"/>
                </a:lnTo>
                <a:lnTo>
                  <a:pt x="9" y="10"/>
                </a:lnTo>
                <a:lnTo>
                  <a:pt x="4" y="8"/>
                </a:lnTo>
                <a:lnTo>
                  <a:pt x="3" y="7"/>
                </a:lnTo>
                <a:lnTo>
                  <a:pt x="1" y="7"/>
                </a:lnTo>
                <a:lnTo>
                  <a:pt x="1" y="7"/>
                </a:lnTo>
                <a:lnTo>
                  <a:pt x="0" y="5"/>
                </a:lnTo>
                <a:lnTo>
                  <a:pt x="1" y="4"/>
                </a:lnTo>
                <a:lnTo>
                  <a:pt x="1" y="3"/>
                </a:lnTo>
                <a:lnTo>
                  <a:pt x="1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10" name="Freeform 1511"/>
          <p:cNvSpPr>
            <a:spLocks/>
          </p:cNvSpPr>
          <p:nvPr/>
        </p:nvSpPr>
        <p:spPr bwMode="auto">
          <a:xfrm>
            <a:off x="1006475" y="1847815"/>
            <a:ext cx="23812" cy="11113"/>
          </a:xfrm>
          <a:custGeom>
            <a:avLst/>
            <a:gdLst>
              <a:gd name="T0" fmla="*/ 0 w 15"/>
              <a:gd name="T1" fmla="*/ 3 h 7"/>
              <a:gd name="T2" fmla="*/ 2 w 15"/>
              <a:gd name="T3" fmla="*/ 2 h 7"/>
              <a:gd name="T4" fmla="*/ 7 w 15"/>
              <a:gd name="T5" fmla="*/ 1 h 7"/>
              <a:gd name="T6" fmla="*/ 9 w 15"/>
              <a:gd name="T7" fmla="*/ 0 h 7"/>
              <a:gd name="T8" fmla="*/ 15 w 15"/>
              <a:gd name="T9" fmla="*/ 1 h 7"/>
              <a:gd name="T10" fmla="*/ 14 w 15"/>
              <a:gd name="T11" fmla="*/ 2 h 7"/>
              <a:gd name="T12" fmla="*/ 13 w 15"/>
              <a:gd name="T13" fmla="*/ 3 h 7"/>
              <a:gd name="T14" fmla="*/ 3 w 15"/>
              <a:gd name="T15" fmla="*/ 7 h 7"/>
              <a:gd name="T16" fmla="*/ 3 w 15"/>
              <a:gd name="T17" fmla="*/ 6 h 7"/>
              <a:gd name="T18" fmla="*/ 5 w 15"/>
              <a:gd name="T19" fmla="*/ 4 h 7"/>
              <a:gd name="T20" fmla="*/ 3 w 15"/>
              <a:gd name="T21" fmla="*/ 3 h 7"/>
              <a:gd name="T22" fmla="*/ 0 w 15"/>
              <a:gd name="T23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5" h="7">
                <a:moveTo>
                  <a:pt x="0" y="3"/>
                </a:moveTo>
                <a:lnTo>
                  <a:pt x="2" y="2"/>
                </a:lnTo>
                <a:lnTo>
                  <a:pt x="7" y="1"/>
                </a:lnTo>
                <a:lnTo>
                  <a:pt x="9" y="0"/>
                </a:lnTo>
                <a:lnTo>
                  <a:pt x="15" y="1"/>
                </a:lnTo>
                <a:lnTo>
                  <a:pt x="14" y="2"/>
                </a:lnTo>
                <a:lnTo>
                  <a:pt x="13" y="3"/>
                </a:lnTo>
                <a:lnTo>
                  <a:pt x="3" y="7"/>
                </a:lnTo>
                <a:lnTo>
                  <a:pt x="3" y="6"/>
                </a:lnTo>
                <a:lnTo>
                  <a:pt x="5" y="4"/>
                </a:lnTo>
                <a:lnTo>
                  <a:pt x="3" y="3"/>
                </a:lnTo>
                <a:lnTo>
                  <a:pt x="0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11" name="Freeform 1512"/>
          <p:cNvSpPr>
            <a:spLocks/>
          </p:cNvSpPr>
          <p:nvPr/>
        </p:nvSpPr>
        <p:spPr bwMode="auto">
          <a:xfrm>
            <a:off x="1006475" y="1847815"/>
            <a:ext cx="23812" cy="11113"/>
          </a:xfrm>
          <a:custGeom>
            <a:avLst/>
            <a:gdLst>
              <a:gd name="T0" fmla="*/ 0 w 15"/>
              <a:gd name="T1" fmla="*/ 3 h 7"/>
              <a:gd name="T2" fmla="*/ 2 w 15"/>
              <a:gd name="T3" fmla="*/ 2 h 7"/>
              <a:gd name="T4" fmla="*/ 7 w 15"/>
              <a:gd name="T5" fmla="*/ 1 h 7"/>
              <a:gd name="T6" fmla="*/ 9 w 15"/>
              <a:gd name="T7" fmla="*/ 0 h 7"/>
              <a:gd name="T8" fmla="*/ 15 w 15"/>
              <a:gd name="T9" fmla="*/ 1 h 7"/>
              <a:gd name="T10" fmla="*/ 14 w 15"/>
              <a:gd name="T11" fmla="*/ 2 h 7"/>
              <a:gd name="T12" fmla="*/ 13 w 15"/>
              <a:gd name="T13" fmla="*/ 3 h 7"/>
              <a:gd name="T14" fmla="*/ 3 w 15"/>
              <a:gd name="T15" fmla="*/ 7 h 7"/>
              <a:gd name="T16" fmla="*/ 3 w 15"/>
              <a:gd name="T17" fmla="*/ 6 h 7"/>
              <a:gd name="T18" fmla="*/ 5 w 15"/>
              <a:gd name="T19" fmla="*/ 4 h 7"/>
              <a:gd name="T20" fmla="*/ 3 w 15"/>
              <a:gd name="T21" fmla="*/ 3 h 7"/>
              <a:gd name="T22" fmla="*/ 0 w 15"/>
              <a:gd name="T23" fmla="*/ 3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5" h="7">
                <a:moveTo>
                  <a:pt x="0" y="3"/>
                </a:moveTo>
                <a:lnTo>
                  <a:pt x="2" y="2"/>
                </a:lnTo>
                <a:lnTo>
                  <a:pt x="7" y="1"/>
                </a:lnTo>
                <a:lnTo>
                  <a:pt x="9" y="0"/>
                </a:lnTo>
                <a:lnTo>
                  <a:pt x="15" y="1"/>
                </a:lnTo>
                <a:lnTo>
                  <a:pt x="14" y="2"/>
                </a:lnTo>
                <a:lnTo>
                  <a:pt x="13" y="3"/>
                </a:lnTo>
                <a:lnTo>
                  <a:pt x="3" y="7"/>
                </a:lnTo>
                <a:lnTo>
                  <a:pt x="3" y="6"/>
                </a:lnTo>
                <a:lnTo>
                  <a:pt x="5" y="4"/>
                </a:lnTo>
                <a:lnTo>
                  <a:pt x="3" y="3"/>
                </a:lnTo>
                <a:lnTo>
                  <a:pt x="0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12" name="Freeform 1513"/>
          <p:cNvSpPr>
            <a:spLocks/>
          </p:cNvSpPr>
          <p:nvPr/>
        </p:nvSpPr>
        <p:spPr bwMode="auto">
          <a:xfrm>
            <a:off x="849313" y="1854165"/>
            <a:ext cx="3175" cy="4763"/>
          </a:xfrm>
          <a:custGeom>
            <a:avLst/>
            <a:gdLst>
              <a:gd name="T0" fmla="*/ 1 w 2"/>
              <a:gd name="T1" fmla="*/ 0 h 3"/>
              <a:gd name="T2" fmla="*/ 1 w 2"/>
              <a:gd name="T3" fmla="*/ 0 h 3"/>
              <a:gd name="T4" fmla="*/ 0 w 2"/>
              <a:gd name="T5" fmla="*/ 1 h 3"/>
              <a:gd name="T6" fmla="*/ 0 w 2"/>
              <a:gd name="T7" fmla="*/ 1 h 3"/>
              <a:gd name="T8" fmla="*/ 1 w 2"/>
              <a:gd name="T9" fmla="*/ 3 h 3"/>
              <a:gd name="T10" fmla="*/ 2 w 2"/>
              <a:gd name="T11" fmla="*/ 3 h 3"/>
              <a:gd name="T12" fmla="*/ 2 w 2"/>
              <a:gd name="T13" fmla="*/ 3 h 3"/>
              <a:gd name="T14" fmla="*/ 0 w 2"/>
              <a:gd name="T15" fmla="*/ 3 h 3"/>
              <a:gd name="T16" fmla="*/ 0 w 2"/>
              <a:gd name="T17" fmla="*/ 2 h 3"/>
              <a:gd name="T18" fmla="*/ 0 w 2"/>
              <a:gd name="T19" fmla="*/ 1 h 3"/>
              <a:gd name="T20" fmla="*/ 1 w 2"/>
              <a:gd name="T21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" h="3">
                <a:moveTo>
                  <a:pt x="1" y="0"/>
                </a:moveTo>
                <a:lnTo>
                  <a:pt x="1" y="0"/>
                </a:lnTo>
                <a:lnTo>
                  <a:pt x="0" y="1"/>
                </a:lnTo>
                <a:lnTo>
                  <a:pt x="0" y="1"/>
                </a:lnTo>
                <a:lnTo>
                  <a:pt x="1" y="3"/>
                </a:lnTo>
                <a:lnTo>
                  <a:pt x="2" y="3"/>
                </a:lnTo>
                <a:lnTo>
                  <a:pt x="2" y="3"/>
                </a:lnTo>
                <a:lnTo>
                  <a:pt x="0" y="3"/>
                </a:lnTo>
                <a:lnTo>
                  <a:pt x="0" y="2"/>
                </a:lnTo>
                <a:lnTo>
                  <a:pt x="0" y="1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13" name="Freeform 1514"/>
          <p:cNvSpPr>
            <a:spLocks/>
          </p:cNvSpPr>
          <p:nvPr/>
        </p:nvSpPr>
        <p:spPr bwMode="auto">
          <a:xfrm>
            <a:off x="849313" y="1854165"/>
            <a:ext cx="3175" cy="4763"/>
          </a:xfrm>
          <a:custGeom>
            <a:avLst/>
            <a:gdLst>
              <a:gd name="T0" fmla="*/ 1 w 2"/>
              <a:gd name="T1" fmla="*/ 0 h 3"/>
              <a:gd name="T2" fmla="*/ 1 w 2"/>
              <a:gd name="T3" fmla="*/ 0 h 3"/>
              <a:gd name="T4" fmla="*/ 0 w 2"/>
              <a:gd name="T5" fmla="*/ 1 h 3"/>
              <a:gd name="T6" fmla="*/ 0 w 2"/>
              <a:gd name="T7" fmla="*/ 1 h 3"/>
              <a:gd name="T8" fmla="*/ 1 w 2"/>
              <a:gd name="T9" fmla="*/ 3 h 3"/>
              <a:gd name="T10" fmla="*/ 2 w 2"/>
              <a:gd name="T11" fmla="*/ 3 h 3"/>
              <a:gd name="T12" fmla="*/ 2 w 2"/>
              <a:gd name="T13" fmla="*/ 3 h 3"/>
              <a:gd name="T14" fmla="*/ 0 w 2"/>
              <a:gd name="T15" fmla="*/ 3 h 3"/>
              <a:gd name="T16" fmla="*/ 0 w 2"/>
              <a:gd name="T17" fmla="*/ 2 h 3"/>
              <a:gd name="T18" fmla="*/ 0 w 2"/>
              <a:gd name="T19" fmla="*/ 1 h 3"/>
              <a:gd name="T20" fmla="*/ 1 w 2"/>
              <a:gd name="T21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" h="3">
                <a:moveTo>
                  <a:pt x="1" y="0"/>
                </a:moveTo>
                <a:lnTo>
                  <a:pt x="1" y="0"/>
                </a:lnTo>
                <a:lnTo>
                  <a:pt x="0" y="1"/>
                </a:lnTo>
                <a:lnTo>
                  <a:pt x="0" y="1"/>
                </a:lnTo>
                <a:lnTo>
                  <a:pt x="1" y="3"/>
                </a:lnTo>
                <a:lnTo>
                  <a:pt x="2" y="3"/>
                </a:lnTo>
                <a:lnTo>
                  <a:pt x="2" y="3"/>
                </a:lnTo>
                <a:lnTo>
                  <a:pt x="0" y="3"/>
                </a:lnTo>
                <a:lnTo>
                  <a:pt x="0" y="2"/>
                </a:lnTo>
                <a:lnTo>
                  <a:pt x="0" y="1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14" name="Freeform 1515"/>
          <p:cNvSpPr>
            <a:spLocks/>
          </p:cNvSpPr>
          <p:nvPr/>
        </p:nvSpPr>
        <p:spPr bwMode="auto">
          <a:xfrm>
            <a:off x="788988" y="1941478"/>
            <a:ext cx="3175" cy="3175"/>
          </a:xfrm>
          <a:custGeom>
            <a:avLst/>
            <a:gdLst>
              <a:gd name="T0" fmla="*/ 1 w 2"/>
              <a:gd name="T1" fmla="*/ 2 h 2"/>
              <a:gd name="T2" fmla="*/ 1 w 2"/>
              <a:gd name="T3" fmla="*/ 2 h 2"/>
              <a:gd name="T4" fmla="*/ 2 w 2"/>
              <a:gd name="T5" fmla="*/ 0 h 2"/>
              <a:gd name="T6" fmla="*/ 2 w 2"/>
              <a:gd name="T7" fmla="*/ 2 h 2"/>
              <a:gd name="T8" fmla="*/ 2 w 2"/>
              <a:gd name="T9" fmla="*/ 2 h 2"/>
              <a:gd name="T10" fmla="*/ 0 w 2"/>
              <a:gd name="T11" fmla="*/ 2 h 2"/>
              <a:gd name="T12" fmla="*/ 1 w 2"/>
              <a:gd name="T13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2">
                <a:moveTo>
                  <a:pt x="1" y="2"/>
                </a:moveTo>
                <a:lnTo>
                  <a:pt x="1" y="2"/>
                </a:lnTo>
                <a:lnTo>
                  <a:pt x="2" y="0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1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15" name="Freeform 1516"/>
          <p:cNvSpPr>
            <a:spLocks/>
          </p:cNvSpPr>
          <p:nvPr/>
        </p:nvSpPr>
        <p:spPr bwMode="auto">
          <a:xfrm>
            <a:off x="788988" y="1941478"/>
            <a:ext cx="3175" cy="3175"/>
          </a:xfrm>
          <a:custGeom>
            <a:avLst/>
            <a:gdLst>
              <a:gd name="T0" fmla="*/ 1 w 2"/>
              <a:gd name="T1" fmla="*/ 2 h 2"/>
              <a:gd name="T2" fmla="*/ 1 w 2"/>
              <a:gd name="T3" fmla="*/ 2 h 2"/>
              <a:gd name="T4" fmla="*/ 2 w 2"/>
              <a:gd name="T5" fmla="*/ 0 h 2"/>
              <a:gd name="T6" fmla="*/ 2 w 2"/>
              <a:gd name="T7" fmla="*/ 2 h 2"/>
              <a:gd name="T8" fmla="*/ 2 w 2"/>
              <a:gd name="T9" fmla="*/ 2 h 2"/>
              <a:gd name="T10" fmla="*/ 0 w 2"/>
              <a:gd name="T11" fmla="*/ 2 h 2"/>
              <a:gd name="T12" fmla="*/ 1 w 2"/>
              <a:gd name="T13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2">
                <a:moveTo>
                  <a:pt x="1" y="2"/>
                </a:moveTo>
                <a:lnTo>
                  <a:pt x="1" y="2"/>
                </a:lnTo>
                <a:lnTo>
                  <a:pt x="2" y="0"/>
                </a:lnTo>
                <a:lnTo>
                  <a:pt x="2" y="2"/>
                </a:lnTo>
                <a:lnTo>
                  <a:pt x="2" y="2"/>
                </a:lnTo>
                <a:lnTo>
                  <a:pt x="0" y="2"/>
                </a:lnTo>
                <a:lnTo>
                  <a:pt x="1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16" name="Freeform 1517"/>
          <p:cNvSpPr>
            <a:spLocks/>
          </p:cNvSpPr>
          <p:nvPr/>
        </p:nvSpPr>
        <p:spPr bwMode="auto">
          <a:xfrm>
            <a:off x="785813" y="1957353"/>
            <a:ext cx="4762" cy="4763"/>
          </a:xfrm>
          <a:custGeom>
            <a:avLst/>
            <a:gdLst>
              <a:gd name="T0" fmla="*/ 1 w 3"/>
              <a:gd name="T1" fmla="*/ 0 h 3"/>
              <a:gd name="T2" fmla="*/ 0 w 3"/>
              <a:gd name="T3" fmla="*/ 2 h 3"/>
              <a:gd name="T4" fmla="*/ 1 w 3"/>
              <a:gd name="T5" fmla="*/ 2 h 3"/>
              <a:gd name="T6" fmla="*/ 3 w 3"/>
              <a:gd name="T7" fmla="*/ 2 h 3"/>
              <a:gd name="T8" fmla="*/ 2 w 3"/>
              <a:gd name="T9" fmla="*/ 3 h 3"/>
              <a:gd name="T10" fmla="*/ 0 w 3"/>
              <a:gd name="T11" fmla="*/ 3 h 3"/>
              <a:gd name="T12" fmla="*/ 1 w 3"/>
              <a:gd name="T13" fmla="*/ 0 h 3"/>
              <a:gd name="T14" fmla="*/ 0 w 3"/>
              <a:gd name="T15" fmla="*/ 3 h 3"/>
              <a:gd name="T16" fmla="*/ 1 w 3"/>
              <a:gd name="T17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3">
                <a:moveTo>
                  <a:pt x="1" y="0"/>
                </a:moveTo>
                <a:lnTo>
                  <a:pt x="0" y="2"/>
                </a:lnTo>
                <a:lnTo>
                  <a:pt x="1" y="2"/>
                </a:lnTo>
                <a:lnTo>
                  <a:pt x="3" y="2"/>
                </a:lnTo>
                <a:lnTo>
                  <a:pt x="2" y="3"/>
                </a:lnTo>
                <a:lnTo>
                  <a:pt x="0" y="3"/>
                </a:lnTo>
                <a:lnTo>
                  <a:pt x="1" y="0"/>
                </a:lnTo>
                <a:lnTo>
                  <a:pt x="0" y="3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17" name="Freeform 1518"/>
          <p:cNvSpPr>
            <a:spLocks/>
          </p:cNvSpPr>
          <p:nvPr/>
        </p:nvSpPr>
        <p:spPr bwMode="auto">
          <a:xfrm>
            <a:off x="785813" y="1957353"/>
            <a:ext cx="4762" cy="4763"/>
          </a:xfrm>
          <a:custGeom>
            <a:avLst/>
            <a:gdLst>
              <a:gd name="T0" fmla="*/ 1 w 3"/>
              <a:gd name="T1" fmla="*/ 0 h 3"/>
              <a:gd name="T2" fmla="*/ 0 w 3"/>
              <a:gd name="T3" fmla="*/ 2 h 3"/>
              <a:gd name="T4" fmla="*/ 1 w 3"/>
              <a:gd name="T5" fmla="*/ 2 h 3"/>
              <a:gd name="T6" fmla="*/ 3 w 3"/>
              <a:gd name="T7" fmla="*/ 2 h 3"/>
              <a:gd name="T8" fmla="*/ 2 w 3"/>
              <a:gd name="T9" fmla="*/ 3 h 3"/>
              <a:gd name="T10" fmla="*/ 0 w 3"/>
              <a:gd name="T11" fmla="*/ 3 h 3"/>
              <a:gd name="T12" fmla="*/ 1 w 3"/>
              <a:gd name="T13" fmla="*/ 0 h 3"/>
              <a:gd name="T14" fmla="*/ 0 w 3"/>
              <a:gd name="T15" fmla="*/ 3 h 3"/>
              <a:gd name="T16" fmla="*/ 1 w 3"/>
              <a:gd name="T17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3">
                <a:moveTo>
                  <a:pt x="1" y="0"/>
                </a:moveTo>
                <a:lnTo>
                  <a:pt x="0" y="2"/>
                </a:lnTo>
                <a:lnTo>
                  <a:pt x="1" y="2"/>
                </a:lnTo>
                <a:lnTo>
                  <a:pt x="3" y="2"/>
                </a:lnTo>
                <a:lnTo>
                  <a:pt x="2" y="3"/>
                </a:lnTo>
                <a:lnTo>
                  <a:pt x="0" y="3"/>
                </a:lnTo>
                <a:lnTo>
                  <a:pt x="1" y="0"/>
                </a:lnTo>
                <a:lnTo>
                  <a:pt x="0" y="3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18" name="Freeform 1519"/>
          <p:cNvSpPr>
            <a:spLocks/>
          </p:cNvSpPr>
          <p:nvPr/>
        </p:nvSpPr>
        <p:spPr bwMode="auto">
          <a:xfrm>
            <a:off x="1082675" y="1789078"/>
            <a:ext cx="20637" cy="11113"/>
          </a:xfrm>
          <a:custGeom>
            <a:avLst/>
            <a:gdLst>
              <a:gd name="T0" fmla="*/ 13 w 13"/>
              <a:gd name="T1" fmla="*/ 1 h 7"/>
              <a:gd name="T2" fmla="*/ 13 w 13"/>
              <a:gd name="T3" fmla="*/ 1 h 7"/>
              <a:gd name="T4" fmla="*/ 11 w 13"/>
              <a:gd name="T5" fmla="*/ 3 h 7"/>
              <a:gd name="T6" fmla="*/ 10 w 13"/>
              <a:gd name="T7" fmla="*/ 4 h 7"/>
              <a:gd name="T8" fmla="*/ 8 w 13"/>
              <a:gd name="T9" fmla="*/ 4 h 7"/>
              <a:gd name="T10" fmla="*/ 3 w 13"/>
              <a:gd name="T11" fmla="*/ 4 h 7"/>
              <a:gd name="T12" fmla="*/ 0 w 13"/>
              <a:gd name="T13" fmla="*/ 7 h 7"/>
              <a:gd name="T14" fmla="*/ 0 w 13"/>
              <a:gd name="T15" fmla="*/ 5 h 7"/>
              <a:gd name="T16" fmla="*/ 2 w 13"/>
              <a:gd name="T17" fmla="*/ 3 h 7"/>
              <a:gd name="T18" fmla="*/ 11 w 13"/>
              <a:gd name="T19" fmla="*/ 0 h 7"/>
              <a:gd name="T20" fmla="*/ 13 w 13"/>
              <a:gd name="T21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3" h="7">
                <a:moveTo>
                  <a:pt x="13" y="1"/>
                </a:moveTo>
                <a:lnTo>
                  <a:pt x="13" y="1"/>
                </a:lnTo>
                <a:lnTo>
                  <a:pt x="11" y="3"/>
                </a:lnTo>
                <a:lnTo>
                  <a:pt x="10" y="4"/>
                </a:lnTo>
                <a:lnTo>
                  <a:pt x="8" y="4"/>
                </a:lnTo>
                <a:lnTo>
                  <a:pt x="3" y="4"/>
                </a:lnTo>
                <a:lnTo>
                  <a:pt x="0" y="7"/>
                </a:lnTo>
                <a:lnTo>
                  <a:pt x="0" y="5"/>
                </a:lnTo>
                <a:lnTo>
                  <a:pt x="2" y="3"/>
                </a:lnTo>
                <a:lnTo>
                  <a:pt x="11" y="0"/>
                </a:lnTo>
                <a:lnTo>
                  <a:pt x="13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19" name="Freeform 1520"/>
          <p:cNvSpPr>
            <a:spLocks/>
          </p:cNvSpPr>
          <p:nvPr/>
        </p:nvSpPr>
        <p:spPr bwMode="auto">
          <a:xfrm>
            <a:off x="1082675" y="1789078"/>
            <a:ext cx="20637" cy="11113"/>
          </a:xfrm>
          <a:custGeom>
            <a:avLst/>
            <a:gdLst>
              <a:gd name="T0" fmla="*/ 13 w 13"/>
              <a:gd name="T1" fmla="*/ 1 h 7"/>
              <a:gd name="T2" fmla="*/ 13 w 13"/>
              <a:gd name="T3" fmla="*/ 1 h 7"/>
              <a:gd name="T4" fmla="*/ 11 w 13"/>
              <a:gd name="T5" fmla="*/ 3 h 7"/>
              <a:gd name="T6" fmla="*/ 10 w 13"/>
              <a:gd name="T7" fmla="*/ 4 h 7"/>
              <a:gd name="T8" fmla="*/ 8 w 13"/>
              <a:gd name="T9" fmla="*/ 4 h 7"/>
              <a:gd name="T10" fmla="*/ 3 w 13"/>
              <a:gd name="T11" fmla="*/ 4 h 7"/>
              <a:gd name="T12" fmla="*/ 0 w 13"/>
              <a:gd name="T13" fmla="*/ 7 h 7"/>
              <a:gd name="T14" fmla="*/ 0 w 13"/>
              <a:gd name="T15" fmla="*/ 5 h 7"/>
              <a:gd name="T16" fmla="*/ 2 w 13"/>
              <a:gd name="T17" fmla="*/ 3 h 7"/>
              <a:gd name="T18" fmla="*/ 11 w 13"/>
              <a:gd name="T19" fmla="*/ 0 h 7"/>
              <a:gd name="T20" fmla="*/ 13 w 13"/>
              <a:gd name="T21" fmla="*/ 1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3" h="7">
                <a:moveTo>
                  <a:pt x="13" y="1"/>
                </a:moveTo>
                <a:lnTo>
                  <a:pt x="13" y="1"/>
                </a:lnTo>
                <a:lnTo>
                  <a:pt x="11" y="3"/>
                </a:lnTo>
                <a:lnTo>
                  <a:pt x="10" y="4"/>
                </a:lnTo>
                <a:lnTo>
                  <a:pt x="8" y="4"/>
                </a:lnTo>
                <a:lnTo>
                  <a:pt x="3" y="4"/>
                </a:lnTo>
                <a:lnTo>
                  <a:pt x="0" y="7"/>
                </a:lnTo>
                <a:lnTo>
                  <a:pt x="0" y="5"/>
                </a:lnTo>
                <a:lnTo>
                  <a:pt x="2" y="3"/>
                </a:lnTo>
                <a:lnTo>
                  <a:pt x="11" y="0"/>
                </a:lnTo>
                <a:lnTo>
                  <a:pt x="13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20" name="Freeform 1521"/>
          <p:cNvSpPr>
            <a:spLocks/>
          </p:cNvSpPr>
          <p:nvPr/>
        </p:nvSpPr>
        <p:spPr bwMode="auto">
          <a:xfrm>
            <a:off x="871538" y="1584290"/>
            <a:ext cx="887412" cy="420688"/>
          </a:xfrm>
          <a:custGeom>
            <a:avLst/>
            <a:gdLst>
              <a:gd name="T0" fmla="*/ 550 w 559"/>
              <a:gd name="T1" fmla="*/ 22 h 265"/>
              <a:gd name="T2" fmla="*/ 515 w 559"/>
              <a:gd name="T3" fmla="*/ 20 h 265"/>
              <a:gd name="T4" fmla="*/ 467 w 559"/>
              <a:gd name="T5" fmla="*/ 13 h 265"/>
              <a:gd name="T6" fmla="*/ 447 w 559"/>
              <a:gd name="T7" fmla="*/ 8 h 265"/>
              <a:gd name="T8" fmla="*/ 425 w 559"/>
              <a:gd name="T9" fmla="*/ 3 h 265"/>
              <a:gd name="T10" fmla="*/ 415 w 559"/>
              <a:gd name="T11" fmla="*/ 6 h 265"/>
              <a:gd name="T12" fmla="*/ 404 w 559"/>
              <a:gd name="T13" fmla="*/ 2 h 265"/>
              <a:gd name="T14" fmla="*/ 368 w 559"/>
              <a:gd name="T15" fmla="*/ 8 h 265"/>
              <a:gd name="T16" fmla="*/ 354 w 559"/>
              <a:gd name="T17" fmla="*/ 13 h 265"/>
              <a:gd name="T18" fmla="*/ 325 w 559"/>
              <a:gd name="T19" fmla="*/ 21 h 265"/>
              <a:gd name="T20" fmla="*/ 295 w 559"/>
              <a:gd name="T21" fmla="*/ 30 h 265"/>
              <a:gd name="T22" fmla="*/ 240 w 559"/>
              <a:gd name="T23" fmla="*/ 43 h 265"/>
              <a:gd name="T24" fmla="*/ 245 w 559"/>
              <a:gd name="T25" fmla="*/ 59 h 265"/>
              <a:gd name="T26" fmla="*/ 255 w 559"/>
              <a:gd name="T27" fmla="*/ 66 h 265"/>
              <a:gd name="T28" fmla="*/ 273 w 559"/>
              <a:gd name="T29" fmla="*/ 71 h 265"/>
              <a:gd name="T30" fmla="*/ 258 w 559"/>
              <a:gd name="T31" fmla="*/ 75 h 265"/>
              <a:gd name="T32" fmla="*/ 254 w 559"/>
              <a:gd name="T33" fmla="*/ 79 h 265"/>
              <a:gd name="T34" fmla="*/ 229 w 559"/>
              <a:gd name="T35" fmla="*/ 80 h 265"/>
              <a:gd name="T36" fmla="*/ 207 w 559"/>
              <a:gd name="T37" fmla="*/ 76 h 265"/>
              <a:gd name="T38" fmla="*/ 168 w 559"/>
              <a:gd name="T39" fmla="*/ 84 h 265"/>
              <a:gd name="T40" fmla="*/ 163 w 559"/>
              <a:gd name="T41" fmla="*/ 93 h 265"/>
              <a:gd name="T42" fmla="*/ 192 w 559"/>
              <a:gd name="T43" fmla="*/ 106 h 265"/>
              <a:gd name="T44" fmla="*/ 226 w 559"/>
              <a:gd name="T45" fmla="*/ 101 h 265"/>
              <a:gd name="T46" fmla="*/ 201 w 559"/>
              <a:gd name="T47" fmla="*/ 120 h 265"/>
              <a:gd name="T48" fmla="*/ 159 w 559"/>
              <a:gd name="T49" fmla="*/ 129 h 265"/>
              <a:gd name="T50" fmla="*/ 108 w 559"/>
              <a:gd name="T51" fmla="*/ 146 h 265"/>
              <a:gd name="T52" fmla="*/ 104 w 559"/>
              <a:gd name="T53" fmla="*/ 153 h 265"/>
              <a:gd name="T54" fmla="*/ 102 w 559"/>
              <a:gd name="T55" fmla="*/ 162 h 265"/>
              <a:gd name="T56" fmla="*/ 89 w 559"/>
              <a:gd name="T57" fmla="*/ 180 h 265"/>
              <a:gd name="T58" fmla="*/ 113 w 559"/>
              <a:gd name="T59" fmla="*/ 177 h 265"/>
              <a:gd name="T60" fmla="*/ 109 w 559"/>
              <a:gd name="T61" fmla="*/ 187 h 265"/>
              <a:gd name="T62" fmla="*/ 90 w 559"/>
              <a:gd name="T63" fmla="*/ 202 h 265"/>
              <a:gd name="T64" fmla="*/ 123 w 559"/>
              <a:gd name="T65" fmla="*/ 198 h 265"/>
              <a:gd name="T66" fmla="*/ 139 w 559"/>
              <a:gd name="T67" fmla="*/ 202 h 265"/>
              <a:gd name="T68" fmla="*/ 114 w 559"/>
              <a:gd name="T69" fmla="*/ 224 h 265"/>
              <a:gd name="T70" fmla="*/ 59 w 559"/>
              <a:gd name="T71" fmla="*/ 245 h 265"/>
              <a:gd name="T72" fmla="*/ 32 w 559"/>
              <a:gd name="T73" fmla="*/ 250 h 265"/>
              <a:gd name="T74" fmla="*/ 1 w 559"/>
              <a:gd name="T75" fmla="*/ 265 h 265"/>
              <a:gd name="T76" fmla="*/ 24 w 559"/>
              <a:gd name="T77" fmla="*/ 260 h 265"/>
              <a:gd name="T78" fmla="*/ 58 w 559"/>
              <a:gd name="T79" fmla="*/ 251 h 265"/>
              <a:gd name="T80" fmla="*/ 87 w 559"/>
              <a:gd name="T81" fmla="*/ 243 h 265"/>
              <a:gd name="T82" fmla="*/ 111 w 559"/>
              <a:gd name="T83" fmla="*/ 233 h 265"/>
              <a:gd name="T84" fmla="*/ 145 w 559"/>
              <a:gd name="T85" fmla="*/ 220 h 265"/>
              <a:gd name="T86" fmla="*/ 186 w 559"/>
              <a:gd name="T87" fmla="*/ 207 h 265"/>
              <a:gd name="T88" fmla="*/ 210 w 559"/>
              <a:gd name="T89" fmla="*/ 188 h 265"/>
              <a:gd name="T90" fmla="*/ 235 w 559"/>
              <a:gd name="T91" fmla="*/ 174 h 265"/>
              <a:gd name="T92" fmla="*/ 306 w 559"/>
              <a:gd name="T93" fmla="*/ 143 h 265"/>
              <a:gd name="T94" fmla="*/ 296 w 559"/>
              <a:gd name="T95" fmla="*/ 164 h 265"/>
              <a:gd name="T96" fmla="*/ 240 w 559"/>
              <a:gd name="T97" fmla="*/ 184 h 265"/>
              <a:gd name="T98" fmla="*/ 231 w 559"/>
              <a:gd name="T99" fmla="*/ 192 h 265"/>
              <a:gd name="T100" fmla="*/ 267 w 559"/>
              <a:gd name="T101" fmla="*/ 182 h 265"/>
              <a:gd name="T102" fmla="*/ 295 w 559"/>
              <a:gd name="T103" fmla="*/ 176 h 265"/>
              <a:gd name="T104" fmla="*/ 300 w 559"/>
              <a:gd name="T105" fmla="*/ 167 h 265"/>
              <a:gd name="T106" fmla="*/ 318 w 559"/>
              <a:gd name="T107" fmla="*/ 160 h 265"/>
              <a:gd name="T108" fmla="*/ 323 w 559"/>
              <a:gd name="T109" fmla="*/ 168 h 265"/>
              <a:gd name="T110" fmla="*/ 341 w 559"/>
              <a:gd name="T111" fmla="*/ 171 h 265"/>
              <a:gd name="T112" fmla="*/ 361 w 559"/>
              <a:gd name="T113" fmla="*/ 179 h 265"/>
              <a:gd name="T114" fmla="*/ 404 w 559"/>
              <a:gd name="T115" fmla="*/ 180 h 265"/>
              <a:gd name="T116" fmla="*/ 397 w 559"/>
              <a:gd name="T117" fmla="*/ 184 h 265"/>
              <a:gd name="T118" fmla="*/ 407 w 559"/>
              <a:gd name="T119" fmla="*/ 189 h 2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59" h="265">
                <a:moveTo>
                  <a:pt x="395" y="169"/>
                </a:moveTo>
                <a:lnTo>
                  <a:pt x="412" y="153"/>
                </a:lnTo>
                <a:lnTo>
                  <a:pt x="427" y="138"/>
                </a:lnTo>
                <a:lnTo>
                  <a:pt x="443" y="124"/>
                </a:lnTo>
                <a:lnTo>
                  <a:pt x="458" y="110"/>
                </a:lnTo>
                <a:lnTo>
                  <a:pt x="476" y="94"/>
                </a:lnTo>
                <a:lnTo>
                  <a:pt x="493" y="80"/>
                </a:lnTo>
                <a:lnTo>
                  <a:pt x="508" y="67"/>
                </a:lnTo>
                <a:lnTo>
                  <a:pt x="524" y="53"/>
                </a:lnTo>
                <a:lnTo>
                  <a:pt x="543" y="38"/>
                </a:lnTo>
                <a:lnTo>
                  <a:pt x="559" y="25"/>
                </a:lnTo>
                <a:lnTo>
                  <a:pt x="559" y="23"/>
                </a:lnTo>
                <a:lnTo>
                  <a:pt x="558" y="23"/>
                </a:lnTo>
                <a:lnTo>
                  <a:pt x="557" y="25"/>
                </a:lnTo>
                <a:lnTo>
                  <a:pt x="555" y="26"/>
                </a:lnTo>
                <a:lnTo>
                  <a:pt x="554" y="25"/>
                </a:lnTo>
                <a:lnTo>
                  <a:pt x="554" y="23"/>
                </a:lnTo>
                <a:lnTo>
                  <a:pt x="549" y="22"/>
                </a:lnTo>
                <a:lnTo>
                  <a:pt x="550" y="22"/>
                </a:lnTo>
                <a:lnTo>
                  <a:pt x="547" y="21"/>
                </a:lnTo>
                <a:lnTo>
                  <a:pt x="548" y="20"/>
                </a:lnTo>
                <a:lnTo>
                  <a:pt x="547" y="20"/>
                </a:lnTo>
                <a:lnTo>
                  <a:pt x="541" y="18"/>
                </a:lnTo>
                <a:lnTo>
                  <a:pt x="540" y="18"/>
                </a:lnTo>
                <a:lnTo>
                  <a:pt x="539" y="18"/>
                </a:lnTo>
                <a:lnTo>
                  <a:pt x="538" y="18"/>
                </a:lnTo>
                <a:lnTo>
                  <a:pt x="537" y="19"/>
                </a:lnTo>
                <a:lnTo>
                  <a:pt x="536" y="20"/>
                </a:lnTo>
                <a:lnTo>
                  <a:pt x="536" y="19"/>
                </a:lnTo>
                <a:lnTo>
                  <a:pt x="535" y="18"/>
                </a:lnTo>
                <a:lnTo>
                  <a:pt x="534" y="19"/>
                </a:lnTo>
                <a:lnTo>
                  <a:pt x="527" y="19"/>
                </a:lnTo>
                <a:lnTo>
                  <a:pt x="527" y="19"/>
                </a:lnTo>
                <a:lnTo>
                  <a:pt x="524" y="20"/>
                </a:lnTo>
                <a:lnTo>
                  <a:pt x="521" y="20"/>
                </a:lnTo>
                <a:lnTo>
                  <a:pt x="520" y="19"/>
                </a:lnTo>
                <a:lnTo>
                  <a:pt x="519" y="20"/>
                </a:lnTo>
                <a:lnTo>
                  <a:pt x="515" y="20"/>
                </a:lnTo>
                <a:lnTo>
                  <a:pt x="516" y="20"/>
                </a:lnTo>
                <a:lnTo>
                  <a:pt x="517" y="19"/>
                </a:lnTo>
                <a:lnTo>
                  <a:pt x="513" y="19"/>
                </a:lnTo>
                <a:lnTo>
                  <a:pt x="511" y="18"/>
                </a:lnTo>
                <a:lnTo>
                  <a:pt x="510" y="17"/>
                </a:lnTo>
                <a:lnTo>
                  <a:pt x="504" y="17"/>
                </a:lnTo>
                <a:lnTo>
                  <a:pt x="499" y="18"/>
                </a:lnTo>
                <a:lnTo>
                  <a:pt x="495" y="16"/>
                </a:lnTo>
                <a:lnTo>
                  <a:pt x="492" y="16"/>
                </a:lnTo>
                <a:lnTo>
                  <a:pt x="492" y="16"/>
                </a:lnTo>
                <a:lnTo>
                  <a:pt x="488" y="15"/>
                </a:lnTo>
                <a:lnTo>
                  <a:pt x="485" y="15"/>
                </a:lnTo>
                <a:lnTo>
                  <a:pt x="486" y="13"/>
                </a:lnTo>
                <a:lnTo>
                  <a:pt x="483" y="13"/>
                </a:lnTo>
                <a:lnTo>
                  <a:pt x="479" y="12"/>
                </a:lnTo>
                <a:lnTo>
                  <a:pt x="475" y="12"/>
                </a:lnTo>
                <a:lnTo>
                  <a:pt x="473" y="13"/>
                </a:lnTo>
                <a:lnTo>
                  <a:pt x="466" y="13"/>
                </a:lnTo>
                <a:lnTo>
                  <a:pt x="467" y="13"/>
                </a:lnTo>
                <a:lnTo>
                  <a:pt x="468" y="13"/>
                </a:lnTo>
                <a:lnTo>
                  <a:pt x="469" y="12"/>
                </a:lnTo>
                <a:lnTo>
                  <a:pt x="468" y="12"/>
                </a:lnTo>
                <a:lnTo>
                  <a:pt x="466" y="12"/>
                </a:lnTo>
                <a:lnTo>
                  <a:pt x="457" y="13"/>
                </a:lnTo>
                <a:lnTo>
                  <a:pt x="452" y="13"/>
                </a:lnTo>
                <a:lnTo>
                  <a:pt x="454" y="12"/>
                </a:lnTo>
                <a:lnTo>
                  <a:pt x="455" y="11"/>
                </a:lnTo>
                <a:lnTo>
                  <a:pt x="447" y="11"/>
                </a:lnTo>
                <a:lnTo>
                  <a:pt x="446" y="11"/>
                </a:lnTo>
                <a:lnTo>
                  <a:pt x="452" y="11"/>
                </a:lnTo>
                <a:lnTo>
                  <a:pt x="450" y="10"/>
                </a:lnTo>
                <a:lnTo>
                  <a:pt x="449" y="10"/>
                </a:lnTo>
                <a:lnTo>
                  <a:pt x="449" y="10"/>
                </a:lnTo>
                <a:lnTo>
                  <a:pt x="453" y="9"/>
                </a:lnTo>
                <a:lnTo>
                  <a:pt x="455" y="8"/>
                </a:lnTo>
                <a:lnTo>
                  <a:pt x="452" y="7"/>
                </a:lnTo>
                <a:lnTo>
                  <a:pt x="448" y="7"/>
                </a:lnTo>
                <a:lnTo>
                  <a:pt x="447" y="8"/>
                </a:lnTo>
                <a:lnTo>
                  <a:pt x="447" y="8"/>
                </a:lnTo>
                <a:lnTo>
                  <a:pt x="445" y="8"/>
                </a:lnTo>
                <a:lnTo>
                  <a:pt x="446" y="7"/>
                </a:lnTo>
                <a:lnTo>
                  <a:pt x="446" y="6"/>
                </a:lnTo>
                <a:lnTo>
                  <a:pt x="444" y="6"/>
                </a:lnTo>
                <a:lnTo>
                  <a:pt x="442" y="6"/>
                </a:lnTo>
                <a:lnTo>
                  <a:pt x="436" y="7"/>
                </a:lnTo>
                <a:lnTo>
                  <a:pt x="437" y="7"/>
                </a:lnTo>
                <a:lnTo>
                  <a:pt x="435" y="7"/>
                </a:lnTo>
                <a:lnTo>
                  <a:pt x="432" y="8"/>
                </a:lnTo>
                <a:lnTo>
                  <a:pt x="430" y="8"/>
                </a:lnTo>
                <a:lnTo>
                  <a:pt x="429" y="7"/>
                </a:lnTo>
                <a:lnTo>
                  <a:pt x="428" y="7"/>
                </a:lnTo>
                <a:lnTo>
                  <a:pt x="427" y="7"/>
                </a:lnTo>
                <a:lnTo>
                  <a:pt x="429" y="6"/>
                </a:lnTo>
                <a:lnTo>
                  <a:pt x="429" y="3"/>
                </a:lnTo>
                <a:lnTo>
                  <a:pt x="427" y="3"/>
                </a:lnTo>
                <a:lnTo>
                  <a:pt x="426" y="3"/>
                </a:lnTo>
                <a:lnTo>
                  <a:pt x="425" y="3"/>
                </a:lnTo>
                <a:lnTo>
                  <a:pt x="424" y="5"/>
                </a:lnTo>
                <a:lnTo>
                  <a:pt x="423" y="5"/>
                </a:lnTo>
                <a:lnTo>
                  <a:pt x="420" y="5"/>
                </a:lnTo>
                <a:lnTo>
                  <a:pt x="418" y="6"/>
                </a:lnTo>
                <a:lnTo>
                  <a:pt x="418" y="7"/>
                </a:lnTo>
                <a:lnTo>
                  <a:pt x="417" y="8"/>
                </a:lnTo>
                <a:lnTo>
                  <a:pt x="416" y="9"/>
                </a:lnTo>
                <a:lnTo>
                  <a:pt x="415" y="9"/>
                </a:lnTo>
                <a:lnTo>
                  <a:pt x="415" y="8"/>
                </a:lnTo>
                <a:lnTo>
                  <a:pt x="415" y="8"/>
                </a:lnTo>
                <a:lnTo>
                  <a:pt x="413" y="8"/>
                </a:lnTo>
                <a:lnTo>
                  <a:pt x="414" y="7"/>
                </a:lnTo>
                <a:lnTo>
                  <a:pt x="412" y="8"/>
                </a:lnTo>
                <a:lnTo>
                  <a:pt x="409" y="7"/>
                </a:lnTo>
                <a:lnTo>
                  <a:pt x="407" y="7"/>
                </a:lnTo>
                <a:lnTo>
                  <a:pt x="406" y="7"/>
                </a:lnTo>
                <a:lnTo>
                  <a:pt x="411" y="6"/>
                </a:lnTo>
                <a:lnTo>
                  <a:pt x="412" y="6"/>
                </a:lnTo>
                <a:lnTo>
                  <a:pt x="415" y="6"/>
                </a:lnTo>
                <a:lnTo>
                  <a:pt x="420" y="5"/>
                </a:lnTo>
                <a:lnTo>
                  <a:pt x="422" y="3"/>
                </a:lnTo>
                <a:lnTo>
                  <a:pt x="422" y="2"/>
                </a:lnTo>
                <a:lnTo>
                  <a:pt x="422" y="2"/>
                </a:lnTo>
                <a:lnTo>
                  <a:pt x="417" y="2"/>
                </a:lnTo>
                <a:lnTo>
                  <a:pt x="417" y="2"/>
                </a:lnTo>
                <a:lnTo>
                  <a:pt x="418" y="1"/>
                </a:lnTo>
                <a:lnTo>
                  <a:pt x="417" y="1"/>
                </a:lnTo>
                <a:lnTo>
                  <a:pt x="415" y="1"/>
                </a:lnTo>
                <a:lnTo>
                  <a:pt x="414" y="0"/>
                </a:lnTo>
                <a:lnTo>
                  <a:pt x="414" y="0"/>
                </a:lnTo>
                <a:lnTo>
                  <a:pt x="412" y="0"/>
                </a:lnTo>
                <a:lnTo>
                  <a:pt x="411" y="0"/>
                </a:lnTo>
                <a:lnTo>
                  <a:pt x="408" y="1"/>
                </a:lnTo>
                <a:lnTo>
                  <a:pt x="407" y="2"/>
                </a:lnTo>
                <a:lnTo>
                  <a:pt x="407" y="1"/>
                </a:lnTo>
                <a:lnTo>
                  <a:pt x="406" y="2"/>
                </a:lnTo>
                <a:lnTo>
                  <a:pt x="405" y="3"/>
                </a:lnTo>
                <a:lnTo>
                  <a:pt x="404" y="2"/>
                </a:lnTo>
                <a:lnTo>
                  <a:pt x="403" y="2"/>
                </a:lnTo>
                <a:lnTo>
                  <a:pt x="402" y="3"/>
                </a:lnTo>
                <a:lnTo>
                  <a:pt x="399" y="3"/>
                </a:lnTo>
                <a:lnTo>
                  <a:pt x="397" y="5"/>
                </a:lnTo>
                <a:lnTo>
                  <a:pt x="388" y="7"/>
                </a:lnTo>
                <a:lnTo>
                  <a:pt x="383" y="8"/>
                </a:lnTo>
                <a:lnTo>
                  <a:pt x="383" y="8"/>
                </a:lnTo>
                <a:lnTo>
                  <a:pt x="377" y="8"/>
                </a:lnTo>
                <a:lnTo>
                  <a:pt x="374" y="8"/>
                </a:lnTo>
                <a:lnTo>
                  <a:pt x="374" y="8"/>
                </a:lnTo>
                <a:lnTo>
                  <a:pt x="371" y="9"/>
                </a:lnTo>
                <a:lnTo>
                  <a:pt x="369" y="10"/>
                </a:lnTo>
                <a:lnTo>
                  <a:pt x="368" y="9"/>
                </a:lnTo>
                <a:lnTo>
                  <a:pt x="371" y="8"/>
                </a:lnTo>
                <a:lnTo>
                  <a:pt x="373" y="7"/>
                </a:lnTo>
                <a:lnTo>
                  <a:pt x="376" y="7"/>
                </a:lnTo>
                <a:lnTo>
                  <a:pt x="377" y="7"/>
                </a:lnTo>
                <a:lnTo>
                  <a:pt x="372" y="7"/>
                </a:lnTo>
                <a:lnTo>
                  <a:pt x="368" y="8"/>
                </a:lnTo>
                <a:lnTo>
                  <a:pt x="364" y="9"/>
                </a:lnTo>
                <a:lnTo>
                  <a:pt x="362" y="9"/>
                </a:lnTo>
                <a:lnTo>
                  <a:pt x="362" y="10"/>
                </a:lnTo>
                <a:lnTo>
                  <a:pt x="359" y="10"/>
                </a:lnTo>
                <a:lnTo>
                  <a:pt x="359" y="10"/>
                </a:lnTo>
                <a:lnTo>
                  <a:pt x="361" y="11"/>
                </a:lnTo>
                <a:lnTo>
                  <a:pt x="361" y="12"/>
                </a:lnTo>
                <a:lnTo>
                  <a:pt x="361" y="12"/>
                </a:lnTo>
                <a:lnTo>
                  <a:pt x="364" y="12"/>
                </a:lnTo>
                <a:lnTo>
                  <a:pt x="359" y="12"/>
                </a:lnTo>
                <a:lnTo>
                  <a:pt x="358" y="12"/>
                </a:lnTo>
                <a:lnTo>
                  <a:pt x="356" y="13"/>
                </a:lnTo>
                <a:lnTo>
                  <a:pt x="356" y="15"/>
                </a:lnTo>
                <a:lnTo>
                  <a:pt x="354" y="16"/>
                </a:lnTo>
                <a:lnTo>
                  <a:pt x="352" y="16"/>
                </a:lnTo>
                <a:lnTo>
                  <a:pt x="352" y="16"/>
                </a:lnTo>
                <a:lnTo>
                  <a:pt x="354" y="15"/>
                </a:lnTo>
                <a:lnTo>
                  <a:pt x="351" y="15"/>
                </a:lnTo>
                <a:lnTo>
                  <a:pt x="354" y="13"/>
                </a:lnTo>
                <a:lnTo>
                  <a:pt x="355" y="12"/>
                </a:lnTo>
                <a:lnTo>
                  <a:pt x="357" y="12"/>
                </a:lnTo>
                <a:lnTo>
                  <a:pt x="358" y="11"/>
                </a:lnTo>
                <a:lnTo>
                  <a:pt x="356" y="11"/>
                </a:lnTo>
                <a:lnTo>
                  <a:pt x="348" y="13"/>
                </a:lnTo>
                <a:lnTo>
                  <a:pt x="347" y="13"/>
                </a:lnTo>
                <a:lnTo>
                  <a:pt x="351" y="12"/>
                </a:lnTo>
                <a:lnTo>
                  <a:pt x="347" y="13"/>
                </a:lnTo>
                <a:lnTo>
                  <a:pt x="335" y="17"/>
                </a:lnTo>
                <a:lnTo>
                  <a:pt x="331" y="17"/>
                </a:lnTo>
                <a:lnTo>
                  <a:pt x="326" y="18"/>
                </a:lnTo>
                <a:lnTo>
                  <a:pt x="328" y="17"/>
                </a:lnTo>
                <a:lnTo>
                  <a:pt x="330" y="16"/>
                </a:lnTo>
                <a:lnTo>
                  <a:pt x="332" y="16"/>
                </a:lnTo>
                <a:lnTo>
                  <a:pt x="330" y="16"/>
                </a:lnTo>
                <a:lnTo>
                  <a:pt x="324" y="18"/>
                </a:lnTo>
                <a:lnTo>
                  <a:pt x="322" y="19"/>
                </a:lnTo>
                <a:lnTo>
                  <a:pt x="323" y="20"/>
                </a:lnTo>
                <a:lnTo>
                  <a:pt x="325" y="21"/>
                </a:lnTo>
                <a:lnTo>
                  <a:pt x="324" y="21"/>
                </a:lnTo>
                <a:lnTo>
                  <a:pt x="321" y="20"/>
                </a:lnTo>
                <a:lnTo>
                  <a:pt x="321" y="20"/>
                </a:lnTo>
                <a:lnTo>
                  <a:pt x="318" y="19"/>
                </a:lnTo>
                <a:lnTo>
                  <a:pt x="316" y="20"/>
                </a:lnTo>
                <a:lnTo>
                  <a:pt x="308" y="22"/>
                </a:lnTo>
                <a:lnTo>
                  <a:pt x="310" y="23"/>
                </a:lnTo>
                <a:lnTo>
                  <a:pt x="314" y="23"/>
                </a:lnTo>
                <a:lnTo>
                  <a:pt x="313" y="23"/>
                </a:lnTo>
                <a:lnTo>
                  <a:pt x="307" y="23"/>
                </a:lnTo>
                <a:lnTo>
                  <a:pt x="305" y="23"/>
                </a:lnTo>
                <a:lnTo>
                  <a:pt x="305" y="25"/>
                </a:lnTo>
                <a:lnTo>
                  <a:pt x="305" y="26"/>
                </a:lnTo>
                <a:lnTo>
                  <a:pt x="306" y="27"/>
                </a:lnTo>
                <a:lnTo>
                  <a:pt x="305" y="27"/>
                </a:lnTo>
                <a:lnTo>
                  <a:pt x="303" y="26"/>
                </a:lnTo>
                <a:lnTo>
                  <a:pt x="302" y="27"/>
                </a:lnTo>
                <a:lnTo>
                  <a:pt x="296" y="29"/>
                </a:lnTo>
                <a:lnTo>
                  <a:pt x="295" y="30"/>
                </a:lnTo>
                <a:lnTo>
                  <a:pt x="297" y="28"/>
                </a:lnTo>
                <a:lnTo>
                  <a:pt x="293" y="30"/>
                </a:lnTo>
                <a:lnTo>
                  <a:pt x="286" y="33"/>
                </a:lnTo>
                <a:lnTo>
                  <a:pt x="277" y="36"/>
                </a:lnTo>
                <a:lnTo>
                  <a:pt x="268" y="36"/>
                </a:lnTo>
                <a:lnTo>
                  <a:pt x="261" y="37"/>
                </a:lnTo>
                <a:lnTo>
                  <a:pt x="253" y="38"/>
                </a:lnTo>
                <a:lnTo>
                  <a:pt x="251" y="38"/>
                </a:lnTo>
                <a:lnTo>
                  <a:pt x="254" y="37"/>
                </a:lnTo>
                <a:lnTo>
                  <a:pt x="254" y="37"/>
                </a:lnTo>
                <a:lnTo>
                  <a:pt x="249" y="37"/>
                </a:lnTo>
                <a:lnTo>
                  <a:pt x="249" y="37"/>
                </a:lnTo>
                <a:lnTo>
                  <a:pt x="249" y="38"/>
                </a:lnTo>
                <a:lnTo>
                  <a:pt x="245" y="39"/>
                </a:lnTo>
                <a:lnTo>
                  <a:pt x="243" y="41"/>
                </a:lnTo>
                <a:lnTo>
                  <a:pt x="240" y="42"/>
                </a:lnTo>
                <a:lnTo>
                  <a:pt x="241" y="43"/>
                </a:lnTo>
                <a:lnTo>
                  <a:pt x="242" y="42"/>
                </a:lnTo>
                <a:lnTo>
                  <a:pt x="240" y="43"/>
                </a:lnTo>
                <a:lnTo>
                  <a:pt x="235" y="45"/>
                </a:lnTo>
                <a:lnTo>
                  <a:pt x="234" y="45"/>
                </a:lnTo>
                <a:lnTo>
                  <a:pt x="233" y="45"/>
                </a:lnTo>
                <a:lnTo>
                  <a:pt x="235" y="45"/>
                </a:lnTo>
                <a:lnTo>
                  <a:pt x="237" y="43"/>
                </a:lnTo>
                <a:lnTo>
                  <a:pt x="236" y="43"/>
                </a:lnTo>
                <a:lnTo>
                  <a:pt x="232" y="45"/>
                </a:lnTo>
                <a:lnTo>
                  <a:pt x="230" y="45"/>
                </a:lnTo>
                <a:lnTo>
                  <a:pt x="235" y="47"/>
                </a:lnTo>
                <a:lnTo>
                  <a:pt x="235" y="48"/>
                </a:lnTo>
                <a:lnTo>
                  <a:pt x="235" y="49"/>
                </a:lnTo>
                <a:lnTo>
                  <a:pt x="237" y="50"/>
                </a:lnTo>
                <a:lnTo>
                  <a:pt x="240" y="50"/>
                </a:lnTo>
                <a:lnTo>
                  <a:pt x="242" y="53"/>
                </a:lnTo>
                <a:lnTo>
                  <a:pt x="245" y="56"/>
                </a:lnTo>
                <a:lnTo>
                  <a:pt x="246" y="57"/>
                </a:lnTo>
                <a:lnTo>
                  <a:pt x="245" y="58"/>
                </a:lnTo>
                <a:lnTo>
                  <a:pt x="246" y="58"/>
                </a:lnTo>
                <a:lnTo>
                  <a:pt x="245" y="59"/>
                </a:lnTo>
                <a:lnTo>
                  <a:pt x="244" y="61"/>
                </a:lnTo>
                <a:lnTo>
                  <a:pt x="244" y="61"/>
                </a:lnTo>
                <a:lnTo>
                  <a:pt x="244" y="61"/>
                </a:lnTo>
                <a:lnTo>
                  <a:pt x="242" y="62"/>
                </a:lnTo>
                <a:lnTo>
                  <a:pt x="241" y="65"/>
                </a:lnTo>
                <a:lnTo>
                  <a:pt x="243" y="65"/>
                </a:lnTo>
                <a:lnTo>
                  <a:pt x="244" y="66"/>
                </a:lnTo>
                <a:lnTo>
                  <a:pt x="247" y="67"/>
                </a:lnTo>
                <a:lnTo>
                  <a:pt x="247" y="67"/>
                </a:lnTo>
                <a:lnTo>
                  <a:pt x="250" y="66"/>
                </a:lnTo>
                <a:lnTo>
                  <a:pt x="251" y="65"/>
                </a:lnTo>
                <a:lnTo>
                  <a:pt x="254" y="65"/>
                </a:lnTo>
                <a:lnTo>
                  <a:pt x="254" y="65"/>
                </a:lnTo>
                <a:lnTo>
                  <a:pt x="255" y="63"/>
                </a:lnTo>
                <a:lnTo>
                  <a:pt x="256" y="63"/>
                </a:lnTo>
                <a:lnTo>
                  <a:pt x="257" y="63"/>
                </a:lnTo>
                <a:lnTo>
                  <a:pt x="251" y="67"/>
                </a:lnTo>
                <a:lnTo>
                  <a:pt x="252" y="67"/>
                </a:lnTo>
                <a:lnTo>
                  <a:pt x="255" y="66"/>
                </a:lnTo>
                <a:lnTo>
                  <a:pt x="258" y="66"/>
                </a:lnTo>
                <a:lnTo>
                  <a:pt x="262" y="66"/>
                </a:lnTo>
                <a:lnTo>
                  <a:pt x="263" y="66"/>
                </a:lnTo>
                <a:lnTo>
                  <a:pt x="263" y="67"/>
                </a:lnTo>
                <a:lnTo>
                  <a:pt x="262" y="68"/>
                </a:lnTo>
                <a:lnTo>
                  <a:pt x="258" y="68"/>
                </a:lnTo>
                <a:lnTo>
                  <a:pt x="255" y="70"/>
                </a:lnTo>
                <a:lnTo>
                  <a:pt x="254" y="72"/>
                </a:lnTo>
                <a:lnTo>
                  <a:pt x="256" y="73"/>
                </a:lnTo>
                <a:lnTo>
                  <a:pt x="257" y="73"/>
                </a:lnTo>
                <a:lnTo>
                  <a:pt x="260" y="71"/>
                </a:lnTo>
                <a:lnTo>
                  <a:pt x="261" y="71"/>
                </a:lnTo>
                <a:lnTo>
                  <a:pt x="258" y="72"/>
                </a:lnTo>
                <a:lnTo>
                  <a:pt x="260" y="72"/>
                </a:lnTo>
                <a:lnTo>
                  <a:pt x="261" y="72"/>
                </a:lnTo>
                <a:lnTo>
                  <a:pt x="264" y="71"/>
                </a:lnTo>
                <a:lnTo>
                  <a:pt x="266" y="73"/>
                </a:lnTo>
                <a:lnTo>
                  <a:pt x="270" y="72"/>
                </a:lnTo>
                <a:lnTo>
                  <a:pt x="273" y="71"/>
                </a:lnTo>
                <a:lnTo>
                  <a:pt x="275" y="71"/>
                </a:lnTo>
                <a:lnTo>
                  <a:pt x="277" y="71"/>
                </a:lnTo>
                <a:lnTo>
                  <a:pt x="281" y="71"/>
                </a:lnTo>
                <a:lnTo>
                  <a:pt x="278" y="72"/>
                </a:lnTo>
                <a:lnTo>
                  <a:pt x="272" y="73"/>
                </a:lnTo>
                <a:lnTo>
                  <a:pt x="270" y="73"/>
                </a:lnTo>
                <a:lnTo>
                  <a:pt x="271" y="75"/>
                </a:lnTo>
                <a:lnTo>
                  <a:pt x="272" y="73"/>
                </a:lnTo>
                <a:lnTo>
                  <a:pt x="277" y="72"/>
                </a:lnTo>
                <a:lnTo>
                  <a:pt x="278" y="73"/>
                </a:lnTo>
                <a:lnTo>
                  <a:pt x="277" y="73"/>
                </a:lnTo>
                <a:lnTo>
                  <a:pt x="275" y="75"/>
                </a:lnTo>
                <a:lnTo>
                  <a:pt x="270" y="75"/>
                </a:lnTo>
                <a:lnTo>
                  <a:pt x="267" y="76"/>
                </a:lnTo>
                <a:lnTo>
                  <a:pt x="265" y="76"/>
                </a:lnTo>
                <a:lnTo>
                  <a:pt x="261" y="77"/>
                </a:lnTo>
                <a:lnTo>
                  <a:pt x="260" y="76"/>
                </a:lnTo>
                <a:lnTo>
                  <a:pt x="260" y="76"/>
                </a:lnTo>
                <a:lnTo>
                  <a:pt x="258" y="75"/>
                </a:lnTo>
                <a:lnTo>
                  <a:pt x="258" y="75"/>
                </a:lnTo>
                <a:lnTo>
                  <a:pt x="257" y="75"/>
                </a:lnTo>
                <a:lnTo>
                  <a:pt x="257" y="73"/>
                </a:lnTo>
                <a:lnTo>
                  <a:pt x="256" y="73"/>
                </a:lnTo>
                <a:lnTo>
                  <a:pt x="254" y="75"/>
                </a:lnTo>
                <a:lnTo>
                  <a:pt x="251" y="75"/>
                </a:lnTo>
                <a:lnTo>
                  <a:pt x="250" y="73"/>
                </a:lnTo>
                <a:lnTo>
                  <a:pt x="251" y="71"/>
                </a:lnTo>
                <a:lnTo>
                  <a:pt x="249" y="73"/>
                </a:lnTo>
                <a:lnTo>
                  <a:pt x="249" y="75"/>
                </a:lnTo>
                <a:lnTo>
                  <a:pt x="246" y="76"/>
                </a:lnTo>
                <a:lnTo>
                  <a:pt x="244" y="77"/>
                </a:lnTo>
                <a:lnTo>
                  <a:pt x="245" y="78"/>
                </a:lnTo>
                <a:lnTo>
                  <a:pt x="245" y="77"/>
                </a:lnTo>
                <a:lnTo>
                  <a:pt x="249" y="76"/>
                </a:lnTo>
                <a:lnTo>
                  <a:pt x="251" y="76"/>
                </a:lnTo>
                <a:lnTo>
                  <a:pt x="255" y="77"/>
                </a:lnTo>
                <a:lnTo>
                  <a:pt x="255" y="78"/>
                </a:lnTo>
                <a:lnTo>
                  <a:pt x="254" y="79"/>
                </a:lnTo>
                <a:lnTo>
                  <a:pt x="251" y="80"/>
                </a:lnTo>
                <a:lnTo>
                  <a:pt x="252" y="79"/>
                </a:lnTo>
                <a:lnTo>
                  <a:pt x="252" y="79"/>
                </a:lnTo>
                <a:lnTo>
                  <a:pt x="249" y="78"/>
                </a:lnTo>
                <a:lnTo>
                  <a:pt x="243" y="80"/>
                </a:lnTo>
                <a:lnTo>
                  <a:pt x="241" y="81"/>
                </a:lnTo>
                <a:lnTo>
                  <a:pt x="240" y="82"/>
                </a:lnTo>
                <a:lnTo>
                  <a:pt x="239" y="82"/>
                </a:lnTo>
                <a:lnTo>
                  <a:pt x="237" y="82"/>
                </a:lnTo>
                <a:lnTo>
                  <a:pt x="237" y="81"/>
                </a:lnTo>
                <a:lnTo>
                  <a:pt x="237" y="81"/>
                </a:lnTo>
                <a:lnTo>
                  <a:pt x="235" y="81"/>
                </a:lnTo>
                <a:lnTo>
                  <a:pt x="234" y="81"/>
                </a:lnTo>
                <a:lnTo>
                  <a:pt x="234" y="81"/>
                </a:lnTo>
                <a:lnTo>
                  <a:pt x="231" y="81"/>
                </a:lnTo>
                <a:lnTo>
                  <a:pt x="231" y="81"/>
                </a:lnTo>
                <a:lnTo>
                  <a:pt x="230" y="81"/>
                </a:lnTo>
                <a:lnTo>
                  <a:pt x="231" y="80"/>
                </a:lnTo>
                <a:lnTo>
                  <a:pt x="229" y="80"/>
                </a:lnTo>
                <a:lnTo>
                  <a:pt x="227" y="81"/>
                </a:lnTo>
                <a:lnTo>
                  <a:pt x="226" y="81"/>
                </a:lnTo>
                <a:lnTo>
                  <a:pt x="224" y="81"/>
                </a:lnTo>
                <a:lnTo>
                  <a:pt x="219" y="81"/>
                </a:lnTo>
                <a:lnTo>
                  <a:pt x="217" y="80"/>
                </a:lnTo>
                <a:lnTo>
                  <a:pt x="220" y="79"/>
                </a:lnTo>
                <a:lnTo>
                  <a:pt x="216" y="79"/>
                </a:lnTo>
                <a:lnTo>
                  <a:pt x="222" y="77"/>
                </a:lnTo>
                <a:lnTo>
                  <a:pt x="223" y="76"/>
                </a:lnTo>
                <a:lnTo>
                  <a:pt x="225" y="75"/>
                </a:lnTo>
                <a:lnTo>
                  <a:pt x="226" y="73"/>
                </a:lnTo>
                <a:lnTo>
                  <a:pt x="225" y="72"/>
                </a:lnTo>
                <a:lnTo>
                  <a:pt x="226" y="72"/>
                </a:lnTo>
                <a:lnTo>
                  <a:pt x="231" y="72"/>
                </a:lnTo>
                <a:lnTo>
                  <a:pt x="226" y="72"/>
                </a:lnTo>
                <a:lnTo>
                  <a:pt x="223" y="72"/>
                </a:lnTo>
                <a:lnTo>
                  <a:pt x="217" y="72"/>
                </a:lnTo>
                <a:lnTo>
                  <a:pt x="211" y="75"/>
                </a:lnTo>
                <a:lnTo>
                  <a:pt x="207" y="76"/>
                </a:lnTo>
                <a:lnTo>
                  <a:pt x="205" y="76"/>
                </a:lnTo>
                <a:lnTo>
                  <a:pt x="205" y="76"/>
                </a:lnTo>
                <a:lnTo>
                  <a:pt x="201" y="77"/>
                </a:lnTo>
                <a:lnTo>
                  <a:pt x="196" y="78"/>
                </a:lnTo>
                <a:lnTo>
                  <a:pt x="197" y="79"/>
                </a:lnTo>
                <a:lnTo>
                  <a:pt x="197" y="80"/>
                </a:lnTo>
                <a:lnTo>
                  <a:pt x="196" y="80"/>
                </a:lnTo>
                <a:lnTo>
                  <a:pt x="191" y="80"/>
                </a:lnTo>
                <a:lnTo>
                  <a:pt x="191" y="80"/>
                </a:lnTo>
                <a:lnTo>
                  <a:pt x="191" y="79"/>
                </a:lnTo>
                <a:lnTo>
                  <a:pt x="189" y="79"/>
                </a:lnTo>
                <a:lnTo>
                  <a:pt x="181" y="81"/>
                </a:lnTo>
                <a:lnTo>
                  <a:pt x="179" y="82"/>
                </a:lnTo>
                <a:lnTo>
                  <a:pt x="177" y="82"/>
                </a:lnTo>
                <a:lnTo>
                  <a:pt x="176" y="82"/>
                </a:lnTo>
                <a:lnTo>
                  <a:pt x="174" y="83"/>
                </a:lnTo>
                <a:lnTo>
                  <a:pt x="171" y="84"/>
                </a:lnTo>
                <a:lnTo>
                  <a:pt x="171" y="83"/>
                </a:lnTo>
                <a:lnTo>
                  <a:pt x="168" y="84"/>
                </a:lnTo>
                <a:lnTo>
                  <a:pt x="166" y="86"/>
                </a:lnTo>
                <a:lnTo>
                  <a:pt x="165" y="86"/>
                </a:lnTo>
                <a:lnTo>
                  <a:pt x="165" y="86"/>
                </a:lnTo>
                <a:lnTo>
                  <a:pt x="158" y="88"/>
                </a:lnTo>
                <a:lnTo>
                  <a:pt x="156" y="88"/>
                </a:lnTo>
                <a:lnTo>
                  <a:pt x="160" y="86"/>
                </a:lnTo>
                <a:lnTo>
                  <a:pt x="156" y="87"/>
                </a:lnTo>
                <a:lnTo>
                  <a:pt x="155" y="88"/>
                </a:lnTo>
                <a:lnTo>
                  <a:pt x="155" y="89"/>
                </a:lnTo>
                <a:lnTo>
                  <a:pt x="160" y="91"/>
                </a:lnTo>
                <a:lnTo>
                  <a:pt x="164" y="92"/>
                </a:lnTo>
                <a:lnTo>
                  <a:pt x="165" y="92"/>
                </a:lnTo>
                <a:lnTo>
                  <a:pt x="165" y="92"/>
                </a:lnTo>
                <a:lnTo>
                  <a:pt x="172" y="93"/>
                </a:lnTo>
                <a:lnTo>
                  <a:pt x="166" y="94"/>
                </a:lnTo>
                <a:lnTo>
                  <a:pt x="163" y="96"/>
                </a:lnTo>
                <a:lnTo>
                  <a:pt x="161" y="96"/>
                </a:lnTo>
                <a:lnTo>
                  <a:pt x="163" y="94"/>
                </a:lnTo>
                <a:lnTo>
                  <a:pt x="163" y="93"/>
                </a:lnTo>
                <a:lnTo>
                  <a:pt x="161" y="94"/>
                </a:lnTo>
                <a:lnTo>
                  <a:pt x="160" y="98"/>
                </a:lnTo>
                <a:lnTo>
                  <a:pt x="160" y="99"/>
                </a:lnTo>
                <a:lnTo>
                  <a:pt x="158" y="101"/>
                </a:lnTo>
                <a:lnTo>
                  <a:pt x="155" y="102"/>
                </a:lnTo>
                <a:lnTo>
                  <a:pt x="155" y="103"/>
                </a:lnTo>
                <a:lnTo>
                  <a:pt x="156" y="104"/>
                </a:lnTo>
                <a:lnTo>
                  <a:pt x="156" y="104"/>
                </a:lnTo>
                <a:lnTo>
                  <a:pt x="164" y="106"/>
                </a:lnTo>
                <a:lnTo>
                  <a:pt x="166" y="106"/>
                </a:lnTo>
                <a:lnTo>
                  <a:pt x="170" y="107"/>
                </a:lnTo>
                <a:lnTo>
                  <a:pt x="179" y="104"/>
                </a:lnTo>
                <a:lnTo>
                  <a:pt x="183" y="106"/>
                </a:lnTo>
                <a:lnTo>
                  <a:pt x="187" y="104"/>
                </a:lnTo>
                <a:lnTo>
                  <a:pt x="190" y="106"/>
                </a:lnTo>
                <a:lnTo>
                  <a:pt x="190" y="108"/>
                </a:lnTo>
                <a:lnTo>
                  <a:pt x="191" y="107"/>
                </a:lnTo>
                <a:lnTo>
                  <a:pt x="193" y="106"/>
                </a:lnTo>
                <a:lnTo>
                  <a:pt x="192" y="106"/>
                </a:lnTo>
                <a:lnTo>
                  <a:pt x="191" y="104"/>
                </a:lnTo>
                <a:lnTo>
                  <a:pt x="191" y="103"/>
                </a:lnTo>
                <a:lnTo>
                  <a:pt x="195" y="103"/>
                </a:lnTo>
                <a:lnTo>
                  <a:pt x="194" y="104"/>
                </a:lnTo>
                <a:lnTo>
                  <a:pt x="195" y="106"/>
                </a:lnTo>
                <a:lnTo>
                  <a:pt x="192" y="109"/>
                </a:lnTo>
                <a:lnTo>
                  <a:pt x="193" y="109"/>
                </a:lnTo>
                <a:lnTo>
                  <a:pt x="196" y="108"/>
                </a:lnTo>
                <a:lnTo>
                  <a:pt x="201" y="106"/>
                </a:lnTo>
                <a:lnTo>
                  <a:pt x="205" y="104"/>
                </a:lnTo>
                <a:lnTo>
                  <a:pt x="209" y="103"/>
                </a:lnTo>
                <a:lnTo>
                  <a:pt x="214" y="102"/>
                </a:lnTo>
                <a:lnTo>
                  <a:pt x="215" y="101"/>
                </a:lnTo>
                <a:lnTo>
                  <a:pt x="217" y="101"/>
                </a:lnTo>
                <a:lnTo>
                  <a:pt x="220" y="101"/>
                </a:lnTo>
                <a:lnTo>
                  <a:pt x="222" y="100"/>
                </a:lnTo>
                <a:lnTo>
                  <a:pt x="226" y="100"/>
                </a:lnTo>
                <a:lnTo>
                  <a:pt x="226" y="101"/>
                </a:lnTo>
                <a:lnTo>
                  <a:pt x="226" y="101"/>
                </a:lnTo>
                <a:lnTo>
                  <a:pt x="224" y="103"/>
                </a:lnTo>
                <a:lnTo>
                  <a:pt x="222" y="104"/>
                </a:lnTo>
                <a:lnTo>
                  <a:pt x="220" y="106"/>
                </a:lnTo>
                <a:lnTo>
                  <a:pt x="215" y="107"/>
                </a:lnTo>
                <a:lnTo>
                  <a:pt x="214" y="106"/>
                </a:lnTo>
                <a:lnTo>
                  <a:pt x="213" y="106"/>
                </a:lnTo>
                <a:lnTo>
                  <a:pt x="211" y="107"/>
                </a:lnTo>
                <a:lnTo>
                  <a:pt x="210" y="108"/>
                </a:lnTo>
                <a:lnTo>
                  <a:pt x="212" y="107"/>
                </a:lnTo>
                <a:lnTo>
                  <a:pt x="213" y="108"/>
                </a:lnTo>
                <a:lnTo>
                  <a:pt x="213" y="109"/>
                </a:lnTo>
                <a:lnTo>
                  <a:pt x="212" y="112"/>
                </a:lnTo>
                <a:lnTo>
                  <a:pt x="210" y="113"/>
                </a:lnTo>
                <a:lnTo>
                  <a:pt x="209" y="113"/>
                </a:lnTo>
                <a:lnTo>
                  <a:pt x="210" y="114"/>
                </a:lnTo>
                <a:lnTo>
                  <a:pt x="209" y="116"/>
                </a:lnTo>
                <a:lnTo>
                  <a:pt x="207" y="116"/>
                </a:lnTo>
                <a:lnTo>
                  <a:pt x="205" y="118"/>
                </a:lnTo>
                <a:lnTo>
                  <a:pt x="201" y="120"/>
                </a:lnTo>
                <a:lnTo>
                  <a:pt x="197" y="121"/>
                </a:lnTo>
                <a:lnTo>
                  <a:pt x="194" y="122"/>
                </a:lnTo>
                <a:lnTo>
                  <a:pt x="192" y="122"/>
                </a:lnTo>
                <a:lnTo>
                  <a:pt x="190" y="122"/>
                </a:lnTo>
                <a:lnTo>
                  <a:pt x="187" y="123"/>
                </a:lnTo>
                <a:lnTo>
                  <a:pt x="185" y="123"/>
                </a:lnTo>
                <a:lnTo>
                  <a:pt x="181" y="123"/>
                </a:lnTo>
                <a:lnTo>
                  <a:pt x="180" y="123"/>
                </a:lnTo>
                <a:lnTo>
                  <a:pt x="184" y="122"/>
                </a:lnTo>
                <a:lnTo>
                  <a:pt x="184" y="122"/>
                </a:lnTo>
                <a:lnTo>
                  <a:pt x="182" y="122"/>
                </a:lnTo>
                <a:lnTo>
                  <a:pt x="180" y="122"/>
                </a:lnTo>
                <a:lnTo>
                  <a:pt x="176" y="124"/>
                </a:lnTo>
                <a:lnTo>
                  <a:pt x="173" y="126"/>
                </a:lnTo>
                <a:lnTo>
                  <a:pt x="166" y="128"/>
                </a:lnTo>
                <a:lnTo>
                  <a:pt x="163" y="129"/>
                </a:lnTo>
                <a:lnTo>
                  <a:pt x="161" y="130"/>
                </a:lnTo>
                <a:lnTo>
                  <a:pt x="159" y="129"/>
                </a:lnTo>
                <a:lnTo>
                  <a:pt x="159" y="129"/>
                </a:lnTo>
                <a:lnTo>
                  <a:pt x="153" y="130"/>
                </a:lnTo>
                <a:lnTo>
                  <a:pt x="148" y="131"/>
                </a:lnTo>
                <a:lnTo>
                  <a:pt x="146" y="132"/>
                </a:lnTo>
                <a:lnTo>
                  <a:pt x="145" y="132"/>
                </a:lnTo>
                <a:lnTo>
                  <a:pt x="145" y="133"/>
                </a:lnTo>
                <a:lnTo>
                  <a:pt x="144" y="134"/>
                </a:lnTo>
                <a:lnTo>
                  <a:pt x="143" y="134"/>
                </a:lnTo>
                <a:lnTo>
                  <a:pt x="140" y="134"/>
                </a:lnTo>
                <a:lnTo>
                  <a:pt x="136" y="134"/>
                </a:lnTo>
                <a:lnTo>
                  <a:pt x="131" y="137"/>
                </a:lnTo>
                <a:lnTo>
                  <a:pt x="129" y="138"/>
                </a:lnTo>
                <a:lnTo>
                  <a:pt x="128" y="137"/>
                </a:lnTo>
                <a:lnTo>
                  <a:pt x="126" y="138"/>
                </a:lnTo>
                <a:lnTo>
                  <a:pt x="119" y="140"/>
                </a:lnTo>
                <a:lnTo>
                  <a:pt x="118" y="141"/>
                </a:lnTo>
                <a:lnTo>
                  <a:pt x="116" y="141"/>
                </a:lnTo>
                <a:lnTo>
                  <a:pt x="114" y="142"/>
                </a:lnTo>
                <a:lnTo>
                  <a:pt x="109" y="146"/>
                </a:lnTo>
                <a:lnTo>
                  <a:pt x="108" y="146"/>
                </a:lnTo>
                <a:lnTo>
                  <a:pt x="104" y="148"/>
                </a:lnTo>
                <a:lnTo>
                  <a:pt x="103" y="149"/>
                </a:lnTo>
                <a:lnTo>
                  <a:pt x="101" y="149"/>
                </a:lnTo>
                <a:lnTo>
                  <a:pt x="100" y="149"/>
                </a:lnTo>
                <a:lnTo>
                  <a:pt x="99" y="150"/>
                </a:lnTo>
                <a:lnTo>
                  <a:pt x="98" y="150"/>
                </a:lnTo>
                <a:lnTo>
                  <a:pt x="99" y="151"/>
                </a:lnTo>
                <a:lnTo>
                  <a:pt x="96" y="152"/>
                </a:lnTo>
                <a:lnTo>
                  <a:pt x="94" y="152"/>
                </a:lnTo>
                <a:lnTo>
                  <a:pt x="92" y="153"/>
                </a:lnTo>
                <a:lnTo>
                  <a:pt x="91" y="154"/>
                </a:lnTo>
                <a:lnTo>
                  <a:pt x="92" y="154"/>
                </a:lnTo>
                <a:lnTo>
                  <a:pt x="98" y="153"/>
                </a:lnTo>
                <a:lnTo>
                  <a:pt x="100" y="153"/>
                </a:lnTo>
                <a:lnTo>
                  <a:pt x="102" y="152"/>
                </a:lnTo>
                <a:lnTo>
                  <a:pt x="106" y="152"/>
                </a:lnTo>
                <a:lnTo>
                  <a:pt x="106" y="152"/>
                </a:lnTo>
                <a:lnTo>
                  <a:pt x="104" y="153"/>
                </a:lnTo>
                <a:lnTo>
                  <a:pt x="104" y="153"/>
                </a:lnTo>
                <a:lnTo>
                  <a:pt x="99" y="154"/>
                </a:lnTo>
                <a:lnTo>
                  <a:pt x="96" y="154"/>
                </a:lnTo>
                <a:lnTo>
                  <a:pt x="93" y="156"/>
                </a:lnTo>
                <a:lnTo>
                  <a:pt x="92" y="157"/>
                </a:lnTo>
                <a:lnTo>
                  <a:pt x="94" y="158"/>
                </a:lnTo>
                <a:lnTo>
                  <a:pt x="99" y="157"/>
                </a:lnTo>
                <a:lnTo>
                  <a:pt x="100" y="157"/>
                </a:lnTo>
                <a:lnTo>
                  <a:pt x="98" y="158"/>
                </a:lnTo>
                <a:lnTo>
                  <a:pt x="95" y="159"/>
                </a:lnTo>
                <a:lnTo>
                  <a:pt x="94" y="160"/>
                </a:lnTo>
                <a:lnTo>
                  <a:pt x="94" y="161"/>
                </a:lnTo>
                <a:lnTo>
                  <a:pt x="93" y="162"/>
                </a:lnTo>
                <a:lnTo>
                  <a:pt x="93" y="163"/>
                </a:lnTo>
                <a:lnTo>
                  <a:pt x="93" y="163"/>
                </a:lnTo>
                <a:lnTo>
                  <a:pt x="95" y="163"/>
                </a:lnTo>
                <a:lnTo>
                  <a:pt x="100" y="161"/>
                </a:lnTo>
                <a:lnTo>
                  <a:pt x="99" y="162"/>
                </a:lnTo>
                <a:lnTo>
                  <a:pt x="99" y="162"/>
                </a:lnTo>
                <a:lnTo>
                  <a:pt x="102" y="162"/>
                </a:lnTo>
                <a:lnTo>
                  <a:pt x="98" y="164"/>
                </a:lnTo>
                <a:lnTo>
                  <a:pt x="100" y="166"/>
                </a:lnTo>
                <a:lnTo>
                  <a:pt x="104" y="166"/>
                </a:lnTo>
                <a:lnTo>
                  <a:pt x="108" y="166"/>
                </a:lnTo>
                <a:lnTo>
                  <a:pt x="110" y="166"/>
                </a:lnTo>
                <a:lnTo>
                  <a:pt x="109" y="167"/>
                </a:lnTo>
                <a:lnTo>
                  <a:pt x="106" y="168"/>
                </a:lnTo>
                <a:lnTo>
                  <a:pt x="101" y="169"/>
                </a:lnTo>
                <a:lnTo>
                  <a:pt x="98" y="170"/>
                </a:lnTo>
                <a:lnTo>
                  <a:pt x="92" y="172"/>
                </a:lnTo>
                <a:lnTo>
                  <a:pt x="90" y="173"/>
                </a:lnTo>
                <a:lnTo>
                  <a:pt x="88" y="174"/>
                </a:lnTo>
                <a:lnTo>
                  <a:pt x="85" y="177"/>
                </a:lnTo>
                <a:lnTo>
                  <a:pt x="84" y="179"/>
                </a:lnTo>
                <a:lnTo>
                  <a:pt x="85" y="179"/>
                </a:lnTo>
                <a:lnTo>
                  <a:pt x="88" y="179"/>
                </a:lnTo>
                <a:lnTo>
                  <a:pt x="90" y="178"/>
                </a:lnTo>
                <a:lnTo>
                  <a:pt x="90" y="179"/>
                </a:lnTo>
                <a:lnTo>
                  <a:pt x="89" y="180"/>
                </a:lnTo>
                <a:lnTo>
                  <a:pt x="89" y="180"/>
                </a:lnTo>
                <a:lnTo>
                  <a:pt x="92" y="180"/>
                </a:lnTo>
                <a:lnTo>
                  <a:pt x="91" y="180"/>
                </a:lnTo>
                <a:lnTo>
                  <a:pt x="88" y="180"/>
                </a:lnTo>
                <a:lnTo>
                  <a:pt x="85" y="181"/>
                </a:lnTo>
                <a:lnTo>
                  <a:pt x="84" y="182"/>
                </a:lnTo>
                <a:lnTo>
                  <a:pt x="85" y="183"/>
                </a:lnTo>
                <a:lnTo>
                  <a:pt x="87" y="183"/>
                </a:lnTo>
                <a:lnTo>
                  <a:pt x="88" y="184"/>
                </a:lnTo>
                <a:lnTo>
                  <a:pt x="89" y="184"/>
                </a:lnTo>
                <a:lnTo>
                  <a:pt x="90" y="184"/>
                </a:lnTo>
                <a:lnTo>
                  <a:pt x="92" y="184"/>
                </a:lnTo>
                <a:lnTo>
                  <a:pt x="93" y="185"/>
                </a:lnTo>
                <a:lnTo>
                  <a:pt x="94" y="185"/>
                </a:lnTo>
                <a:lnTo>
                  <a:pt x="96" y="184"/>
                </a:lnTo>
                <a:lnTo>
                  <a:pt x="99" y="183"/>
                </a:lnTo>
                <a:lnTo>
                  <a:pt x="106" y="180"/>
                </a:lnTo>
                <a:lnTo>
                  <a:pt x="111" y="177"/>
                </a:lnTo>
                <a:lnTo>
                  <a:pt x="113" y="177"/>
                </a:lnTo>
                <a:lnTo>
                  <a:pt x="113" y="176"/>
                </a:lnTo>
                <a:lnTo>
                  <a:pt x="113" y="176"/>
                </a:lnTo>
                <a:lnTo>
                  <a:pt x="114" y="173"/>
                </a:lnTo>
                <a:lnTo>
                  <a:pt x="123" y="169"/>
                </a:lnTo>
                <a:lnTo>
                  <a:pt x="129" y="168"/>
                </a:lnTo>
                <a:lnTo>
                  <a:pt x="132" y="167"/>
                </a:lnTo>
                <a:lnTo>
                  <a:pt x="134" y="166"/>
                </a:lnTo>
                <a:lnTo>
                  <a:pt x="138" y="166"/>
                </a:lnTo>
                <a:lnTo>
                  <a:pt x="124" y="170"/>
                </a:lnTo>
                <a:lnTo>
                  <a:pt x="116" y="173"/>
                </a:lnTo>
                <a:lnTo>
                  <a:pt x="115" y="174"/>
                </a:lnTo>
                <a:lnTo>
                  <a:pt x="115" y="174"/>
                </a:lnTo>
                <a:lnTo>
                  <a:pt x="115" y="176"/>
                </a:lnTo>
                <a:lnTo>
                  <a:pt x="114" y="177"/>
                </a:lnTo>
                <a:lnTo>
                  <a:pt x="113" y="179"/>
                </a:lnTo>
                <a:lnTo>
                  <a:pt x="112" y="180"/>
                </a:lnTo>
                <a:lnTo>
                  <a:pt x="112" y="181"/>
                </a:lnTo>
                <a:lnTo>
                  <a:pt x="110" y="185"/>
                </a:lnTo>
                <a:lnTo>
                  <a:pt x="109" y="187"/>
                </a:lnTo>
                <a:lnTo>
                  <a:pt x="109" y="188"/>
                </a:lnTo>
                <a:lnTo>
                  <a:pt x="103" y="190"/>
                </a:lnTo>
                <a:lnTo>
                  <a:pt x="102" y="191"/>
                </a:lnTo>
                <a:lnTo>
                  <a:pt x="101" y="191"/>
                </a:lnTo>
                <a:lnTo>
                  <a:pt x="99" y="192"/>
                </a:lnTo>
                <a:lnTo>
                  <a:pt x="98" y="194"/>
                </a:lnTo>
                <a:lnTo>
                  <a:pt x="100" y="193"/>
                </a:lnTo>
                <a:lnTo>
                  <a:pt x="102" y="193"/>
                </a:lnTo>
                <a:lnTo>
                  <a:pt x="102" y="194"/>
                </a:lnTo>
                <a:lnTo>
                  <a:pt x="101" y="194"/>
                </a:lnTo>
                <a:lnTo>
                  <a:pt x="98" y="195"/>
                </a:lnTo>
                <a:lnTo>
                  <a:pt x="95" y="199"/>
                </a:lnTo>
                <a:lnTo>
                  <a:pt x="96" y="199"/>
                </a:lnTo>
                <a:lnTo>
                  <a:pt x="96" y="199"/>
                </a:lnTo>
                <a:lnTo>
                  <a:pt x="95" y="199"/>
                </a:lnTo>
                <a:lnTo>
                  <a:pt x="91" y="201"/>
                </a:lnTo>
                <a:lnTo>
                  <a:pt x="89" y="201"/>
                </a:lnTo>
                <a:lnTo>
                  <a:pt x="87" y="202"/>
                </a:lnTo>
                <a:lnTo>
                  <a:pt x="90" y="202"/>
                </a:lnTo>
                <a:lnTo>
                  <a:pt x="94" y="201"/>
                </a:lnTo>
                <a:lnTo>
                  <a:pt x="99" y="200"/>
                </a:lnTo>
                <a:lnTo>
                  <a:pt x="101" y="199"/>
                </a:lnTo>
                <a:lnTo>
                  <a:pt x="106" y="198"/>
                </a:lnTo>
                <a:lnTo>
                  <a:pt x="109" y="198"/>
                </a:lnTo>
                <a:lnTo>
                  <a:pt x="114" y="195"/>
                </a:lnTo>
                <a:lnTo>
                  <a:pt x="122" y="191"/>
                </a:lnTo>
                <a:lnTo>
                  <a:pt x="122" y="192"/>
                </a:lnTo>
                <a:lnTo>
                  <a:pt x="120" y="194"/>
                </a:lnTo>
                <a:lnTo>
                  <a:pt x="118" y="194"/>
                </a:lnTo>
                <a:lnTo>
                  <a:pt x="116" y="197"/>
                </a:lnTo>
                <a:lnTo>
                  <a:pt x="115" y="197"/>
                </a:lnTo>
                <a:lnTo>
                  <a:pt x="115" y="198"/>
                </a:lnTo>
                <a:lnTo>
                  <a:pt x="118" y="198"/>
                </a:lnTo>
                <a:lnTo>
                  <a:pt x="118" y="199"/>
                </a:lnTo>
                <a:lnTo>
                  <a:pt x="118" y="199"/>
                </a:lnTo>
                <a:lnTo>
                  <a:pt x="122" y="198"/>
                </a:lnTo>
                <a:lnTo>
                  <a:pt x="123" y="197"/>
                </a:lnTo>
                <a:lnTo>
                  <a:pt x="123" y="198"/>
                </a:lnTo>
                <a:lnTo>
                  <a:pt x="124" y="198"/>
                </a:lnTo>
                <a:lnTo>
                  <a:pt x="123" y="199"/>
                </a:lnTo>
                <a:lnTo>
                  <a:pt x="124" y="199"/>
                </a:lnTo>
                <a:lnTo>
                  <a:pt x="124" y="200"/>
                </a:lnTo>
                <a:lnTo>
                  <a:pt x="122" y="205"/>
                </a:lnTo>
                <a:lnTo>
                  <a:pt x="122" y="205"/>
                </a:lnTo>
                <a:lnTo>
                  <a:pt x="123" y="205"/>
                </a:lnTo>
                <a:lnTo>
                  <a:pt x="128" y="204"/>
                </a:lnTo>
                <a:lnTo>
                  <a:pt x="130" y="202"/>
                </a:lnTo>
                <a:lnTo>
                  <a:pt x="131" y="200"/>
                </a:lnTo>
                <a:lnTo>
                  <a:pt x="132" y="200"/>
                </a:lnTo>
                <a:lnTo>
                  <a:pt x="134" y="198"/>
                </a:lnTo>
                <a:lnTo>
                  <a:pt x="138" y="197"/>
                </a:lnTo>
                <a:lnTo>
                  <a:pt x="140" y="195"/>
                </a:lnTo>
                <a:lnTo>
                  <a:pt x="141" y="195"/>
                </a:lnTo>
                <a:lnTo>
                  <a:pt x="140" y="197"/>
                </a:lnTo>
                <a:lnTo>
                  <a:pt x="136" y="199"/>
                </a:lnTo>
                <a:lnTo>
                  <a:pt x="136" y="201"/>
                </a:lnTo>
                <a:lnTo>
                  <a:pt x="139" y="202"/>
                </a:lnTo>
                <a:lnTo>
                  <a:pt x="148" y="200"/>
                </a:lnTo>
                <a:lnTo>
                  <a:pt x="153" y="198"/>
                </a:lnTo>
                <a:lnTo>
                  <a:pt x="161" y="195"/>
                </a:lnTo>
                <a:lnTo>
                  <a:pt x="164" y="194"/>
                </a:lnTo>
                <a:lnTo>
                  <a:pt x="164" y="194"/>
                </a:lnTo>
                <a:lnTo>
                  <a:pt x="156" y="199"/>
                </a:lnTo>
                <a:lnTo>
                  <a:pt x="154" y="200"/>
                </a:lnTo>
                <a:lnTo>
                  <a:pt x="154" y="200"/>
                </a:lnTo>
                <a:lnTo>
                  <a:pt x="154" y="200"/>
                </a:lnTo>
                <a:lnTo>
                  <a:pt x="150" y="202"/>
                </a:lnTo>
                <a:lnTo>
                  <a:pt x="146" y="203"/>
                </a:lnTo>
                <a:lnTo>
                  <a:pt x="140" y="208"/>
                </a:lnTo>
                <a:lnTo>
                  <a:pt x="142" y="208"/>
                </a:lnTo>
                <a:lnTo>
                  <a:pt x="136" y="210"/>
                </a:lnTo>
                <a:lnTo>
                  <a:pt x="130" y="215"/>
                </a:lnTo>
                <a:lnTo>
                  <a:pt x="126" y="218"/>
                </a:lnTo>
                <a:lnTo>
                  <a:pt x="124" y="219"/>
                </a:lnTo>
                <a:lnTo>
                  <a:pt x="122" y="220"/>
                </a:lnTo>
                <a:lnTo>
                  <a:pt x="114" y="224"/>
                </a:lnTo>
                <a:lnTo>
                  <a:pt x="114" y="223"/>
                </a:lnTo>
                <a:lnTo>
                  <a:pt x="113" y="223"/>
                </a:lnTo>
                <a:lnTo>
                  <a:pt x="111" y="224"/>
                </a:lnTo>
                <a:lnTo>
                  <a:pt x="104" y="228"/>
                </a:lnTo>
                <a:lnTo>
                  <a:pt x="104" y="228"/>
                </a:lnTo>
                <a:lnTo>
                  <a:pt x="102" y="230"/>
                </a:lnTo>
                <a:lnTo>
                  <a:pt x="99" y="231"/>
                </a:lnTo>
                <a:lnTo>
                  <a:pt x="96" y="232"/>
                </a:lnTo>
                <a:lnTo>
                  <a:pt x="95" y="232"/>
                </a:lnTo>
                <a:lnTo>
                  <a:pt x="94" y="233"/>
                </a:lnTo>
                <a:lnTo>
                  <a:pt x="93" y="232"/>
                </a:lnTo>
                <a:lnTo>
                  <a:pt x="88" y="234"/>
                </a:lnTo>
                <a:lnTo>
                  <a:pt x="84" y="235"/>
                </a:lnTo>
                <a:lnTo>
                  <a:pt x="79" y="237"/>
                </a:lnTo>
                <a:lnTo>
                  <a:pt x="78" y="237"/>
                </a:lnTo>
                <a:lnTo>
                  <a:pt x="69" y="240"/>
                </a:lnTo>
                <a:lnTo>
                  <a:pt x="64" y="243"/>
                </a:lnTo>
                <a:lnTo>
                  <a:pt x="61" y="244"/>
                </a:lnTo>
                <a:lnTo>
                  <a:pt x="59" y="245"/>
                </a:lnTo>
                <a:lnTo>
                  <a:pt x="57" y="248"/>
                </a:lnTo>
                <a:lnTo>
                  <a:pt x="57" y="248"/>
                </a:lnTo>
                <a:lnTo>
                  <a:pt x="59" y="249"/>
                </a:lnTo>
                <a:lnTo>
                  <a:pt x="58" y="250"/>
                </a:lnTo>
                <a:lnTo>
                  <a:pt x="55" y="249"/>
                </a:lnTo>
                <a:lnTo>
                  <a:pt x="55" y="249"/>
                </a:lnTo>
                <a:lnTo>
                  <a:pt x="54" y="248"/>
                </a:lnTo>
                <a:lnTo>
                  <a:pt x="53" y="249"/>
                </a:lnTo>
                <a:lnTo>
                  <a:pt x="51" y="250"/>
                </a:lnTo>
                <a:lnTo>
                  <a:pt x="51" y="249"/>
                </a:lnTo>
                <a:lnTo>
                  <a:pt x="51" y="248"/>
                </a:lnTo>
                <a:lnTo>
                  <a:pt x="52" y="247"/>
                </a:lnTo>
                <a:lnTo>
                  <a:pt x="53" y="245"/>
                </a:lnTo>
                <a:lnTo>
                  <a:pt x="51" y="247"/>
                </a:lnTo>
                <a:lnTo>
                  <a:pt x="50" y="245"/>
                </a:lnTo>
                <a:lnTo>
                  <a:pt x="48" y="245"/>
                </a:lnTo>
                <a:lnTo>
                  <a:pt x="47" y="247"/>
                </a:lnTo>
                <a:lnTo>
                  <a:pt x="41" y="248"/>
                </a:lnTo>
                <a:lnTo>
                  <a:pt x="32" y="250"/>
                </a:lnTo>
                <a:lnTo>
                  <a:pt x="25" y="253"/>
                </a:lnTo>
                <a:lnTo>
                  <a:pt x="22" y="254"/>
                </a:lnTo>
                <a:lnTo>
                  <a:pt x="21" y="255"/>
                </a:lnTo>
                <a:lnTo>
                  <a:pt x="21" y="255"/>
                </a:lnTo>
                <a:lnTo>
                  <a:pt x="19" y="257"/>
                </a:lnTo>
                <a:lnTo>
                  <a:pt x="14" y="258"/>
                </a:lnTo>
                <a:lnTo>
                  <a:pt x="13" y="259"/>
                </a:lnTo>
                <a:lnTo>
                  <a:pt x="12" y="260"/>
                </a:lnTo>
                <a:lnTo>
                  <a:pt x="11" y="259"/>
                </a:lnTo>
                <a:lnTo>
                  <a:pt x="10" y="259"/>
                </a:lnTo>
                <a:lnTo>
                  <a:pt x="9" y="260"/>
                </a:lnTo>
                <a:lnTo>
                  <a:pt x="6" y="261"/>
                </a:lnTo>
                <a:lnTo>
                  <a:pt x="4" y="261"/>
                </a:lnTo>
                <a:lnTo>
                  <a:pt x="2" y="261"/>
                </a:lnTo>
                <a:lnTo>
                  <a:pt x="2" y="262"/>
                </a:lnTo>
                <a:lnTo>
                  <a:pt x="3" y="262"/>
                </a:lnTo>
                <a:lnTo>
                  <a:pt x="2" y="263"/>
                </a:lnTo>
                <a:lnTo>
                  <a:pt x="0" y="265"/>
                </a:lnTo>
                <a:lnTo>
                  <a:pt x="1" y="265"/>
                </a:lnTo>
                <a:lnTo>
                  <a:pt x="3" y="265"/>
                </a:lnTo>
                <a:lnTo>
                  <a:pt x="6" y="263"/>
                </a:lnTo>
                <a:lnTo>
                  <a:pt x="7" y="261"/>
                </a:lnTo>
                <a:lnTo>
                  <a:pt x="8" y="262"/>
                </a:lnTo>
                <a:lnTo>
                  <a:pt x="8" y="263"/>
                </a:lnTo>
                <a:lnTo>
                  <a:pt x="8" y="264"/>
                </a:lnTo>
                <a:lnTo>
                  <a:pt x="13" y="262"/>
                </a:lnTo>
                <a:lnTo>
                  <a:pt x="15" y="260"/>
                </a:lnTo>
                <a:lnTo>
                  <a:pt x="17" y="259"/>
                </a:lnTo>
                <a:lnTo>
                  <a:pt x="17" y="260"/>
                </a:lnTo>
                <a:lnTo>
                  <a:pt x="17" y="261"/>
                </a:lnTo>
                <a:lnTo>
                  <a:pt x="15" y="262"/>
                </a:lnTo>
                <a:lnTo>
                  <a:pt x="17" y="262"/>
                </a:lnTo>
                <a:lnTo>
                  <a:pt x="18" y="262"/>
                </a:lnTo>
                <a:lnTo>
                  <a:pt x="19" y="262"/>
                </a:lnTo>
                <a:lnTo>
                  <a:pt x="21" y="261"/>
                </a:lnTo>
                <a:lnTo>
                  <a:pt x="21" y="261"/>
                </a:lnTo>
                <a:lnTo>
                  <a:pt x="22" y="261"/>
                </a:lnTo>
                <a:lnTo>
                  <a:pt x="24" y="260"/>
                </a:lnTo>
                <a:lnTo>
                  <a:pt x="28" y="259"/>
                </a:lnTo>
                <a:lnTo>
                  <a:pt x="31" y="257"/>
                </a:lnTo>
                <a:lnTo>
                  <a:pt x="34" y="253"/>
                </a:lnTo>
                <a:lnTo>
                  <a:pt x="38" y="253"/>
                </a:lnTo>
                <a:lnTo>
                  <a:pt x="39" y="252"/>
                </a:lnTo>
                <a:lnTo>
                  <a:pt x="38" y="254"/>
                </a:lnTo>
                <a:lnTo>
                  <a:pt x="34" y="257"/>
                </a:lnTo>
                <a:lnTo>
                  <a:pt x="33" y="257"/>
                </a:lnTo>
                <a:lnTo>
                  <a:pt x="38" y="257"/>
                </a:lnTo>
                <a:lnTo>
                  <a:pt x="43" y="254"/>
                </a:lnTo>
                <a:lnTo>
                  <a:pt x="45" y="255"/>
                </a:lnTo>
                <a:lnTo>
                  <a:pt x="47" y="254"/>
                </a:lnTo>
                <a:lnTo>
                  <a:pt x="48" y="254"/>
                </a:lnTo>
                <a:lnTo>
                  <a:pt x="49" y="253"/>
                </a:lnTo>
                <a:lnTo>
                  <a:pt x="50" y="254"/>
                </a:lnTo>
                <a:lnTo>
                  <a:pt x="52" y="253"/>
                </a:lnTo>
                <a:lnTo>
                  <a:pt x="53" y="252"/>
                </a:lnTo>
                <a:lnTo>
                  <a:pt x="54" y="252"/>
                </a:lnTo>
                <a:lnTo>
                  <a:pt x="58" y="251"/>
                </a:lnTo>
                <a:lnTo>
                  <a:pt x="59" y="250"/>
                </a:lnTo>
                <a:lnTo>
                  <a:pt x="61" y="250"/>
                </a:lnTo>
                <a:lnTo>
                  <a:pt x="62" y="250"/>
                </a:lnTo>
                <a:lnTo>
                  <a:pt x="64" y="249"/>
                </a:lnTo>
                <a:lnTo>
                  <a:pt x="65" y="249"/>
                </a:lnTo>
                <a:lnTo>
                  <a:pt x="65" y="250"/>
                </a:lnTo>
                <a:lnTo>
                  <a:pt x="63" y="252"/>
                </a:lnTo>
                <a:lnTo>
                  <a:pt x="61" y="253"/>
                </a:lnTo>
                <a:lnTo>
                  <a:pt x="61" y="253"/>
                </a:lnTo>
                <a:lnTo>
                  <a:pt x="67" y="251"/>
                </a:lnTo>
                <a:lnTo>
                  <a:pt x="70" y="248"/>
                </a:lnTo>
                <a:lnTo>
                  <a:pt x="70" y="249"/>
                </a:lnTo>
                <a:lnTo>
                  <a:pt x="71" y="249"/>
                </a:lnTo>
                <a:lnTo>
                  <a:pt x="77" y="248"/>
                </a:lnTo>
                <a:lnTo>
                  <a:pt x="81" y="247"/>
                </a:lnTo>
                <a:lnTo>
                  <a:pt x="82" y="247"/>
                </a:lnTo>
                <a:lnTo>
                  <a:pt x="83" y="245"/>
                </a:lnTo>
                <a:lnTo>
                  <a:pt x="85" y="244"/>
                </a:lnTo>
                <a:lnTo>
                  <a:pt x="87" y="243"/>
                </a:lnTo>
                <a:lnTo>
                  <a:pt x="84" y="242"/>
                </a:lnTo>
                <a:lnTo>
                  <a:pt x="84" y="241"/>
                </a:lnTo>
                <a:lnTo>
                  <a:pt x="84" y="240"/>
                </a:lnTo>
                <a:lnTo>
                  <a:pt x="85" y="238"/>
                </a:lnTo>
                <a:lnTo>
                  <a:pt x="87" y="238"/>
                </a:lnTo>
                <a:lnTo>
                  <a:pt x="85" y="240"/>
                </a:lnTo>
                <a:lnTo>
                  <a:pt x="85" y="241"/>
                </a:lnTo>
                <a:lnTo>
                  <a:pt x="88" y="241"/>
                </a:lnTo>
                <a:lnTo>
                  <a:pt x="93" y="239"/>
                </a:lnTo>
                <a:lnTo>
                  <a:pt x="96" y="239"/>
                </a:lnTo>
                <a:lnTo>
                  <a:pt x="101" y="238"/>
                </a:lnTo>
                <a:lnTo>
                  <a:pt x="103" y="237"/>
                </a:lnTo>
                <a:lnTo>
                  <a:pt x="103" y="237"/>
                </a:lnTo>
                <a:lnTo>
                  <a:pt x="101" y="237"/>
                </a:lnTo>
                <a:lnTo>
                  <a:pt x="102" y="237"/>
                </a:lnTo>
                <a:lnTo>
                  <a:pt x="106" y="234"/>
                </a:lnTo>
                <a:lnTo>
                  <a:pt x="106" y="235"/>
                </a:lnTo>
                <a:lnTo>
                  <a:pt x="109" y="235"/>
                </a:lnTo>
                <a:lnTo>
                  <a:pt x="111" y="233"/>
                </a:lnTo>
                <a:lnTo>
                  <a:pt x="112" y="232"/>
                </a:lnTo>
                <a:lnTo>
                  <a:pt x="114" y="232"/>
                </a:lnTo>
                <a:lnTo>
                  <a:pt x="116" y="233"/>
                </a:lnTo>
                <a:lnTo>
                  <a:pt x="122" y="231"/>
                </a:lnTo>
                <a:lnTo>
                  <a:pt x="123" y="230"/>
                </a:lnTo>
                <a:lnTo>
                  <a:pt x="124" y="230"/>
                </a:lnTo>
                <a:lnTo>
                  <a:pt x="125" y="230"/>
                </a:lnTo>
                <a:lnTo>
                  <a:pt x="126" y="229"/>
                </a:lnTo>
                <a:lnTo>
                  <a:pt x="128" y="230"/>
                </a:lnTo>
                <a:lnTo>
                  <a:pt x="128" y="229"/>
                </a:lnTo>
                <a:lnTo>
                  <a:pt x="131" y="228"/>
                </a:lnTo>
                <a:lnTo>
                  <a:pt x="133" y="227"/>
                </a:lnTo>
                <a:lnTo>
                  <a:pt x="135" y="224"/>
                </a:lnTo>
                <a:lnTo>
                  <a:pt x="134" y="224"/>
                </a:lnTo>
                <a:lnTo>
                  <a:pt x="134" y="224"/>
                </a:lnTo>
                <a:lnTo>
                  <a:pt x="136" y="223"/>
                </a:lnTo>
                <a:lnTo>
                  <a:pt x="142" y="221"/>
                </a:lnTo>
                <a:lnTo>
                  <a:pt x="143" y="222"/>
                </a:lnTo>
                <a:lnTo>
                  <a:pt x="145" y="220"/>
                </a:lnTo>
                <a:lnTo>
                  <a:pt x="149" y="220"/>
                </a:lnTo>
                <a:lnTo>
                  <a:pt x="150" y="219"/>
                </a:lnTo>
                <a:lnTo>
                  <a:pt x="152" y="218"/>
                </a:lnTo>
                <a:lnTo>
                  <a:pt x="153" y="217"/>
                </a:lnTo>
                <a:lnTo>
                  <a:pt x="155" y="217"/>
                </a:lnTo>
                <a:lnTo>
                  <a:pt x="156" y="218"/>
                </a:lnTo>
                <a:lnTo>
                  <a:pt x="160" y="215"/>
                </a:lnTo>
                <a:lnTo>
                  <a:pt x="161" y="215"/>
                </a:lnTo>
                <a:lnTo>
                  <a:pt x="163" y="214"/>
                </a:lnTo>
                <a:lnTo>
                  <a:pt x="165" y="213"/>
                </a:lnTo>
                <a:lnTo>
                  <a:pt x="166" y="213"/>
                </a:lnTo>
                <a:lnTo>
                  <a:pt x="170" y="212"/>
                </a:lnTo>
                <a:lnTo>
                  <a:pt x="173" y="211"/>
                </a:lnTo>
                <a:lnTo>
                  <a:pt x="176" y="210"/>
                </a:lnTo>
                <a:lnTo>
                  <a:pt x="177" y="210"/>
                </a:lnTo>
                <a:lnTo>
                  <a:pt x="182" y="210"/>
                </a:lnTo>
                <a:lnTo>
                  <a:pt x="183" y="208"/>
                </a:lnTo>
                <a:lnTo>
                  <a:pt x="183" y="207"/>
                </a:lnTo>
                <a:lnTo>
                  <a:pt x="186" y="207"/>
                </a:lnTo>
                <a:lnTo>
                  <a:pt x="186" y="205"/>
                </a:lnTo>
                <a:lnTo>
                  <a:pt x="186" y="205"/>
                </a:lnTo>
                <a:lnTo>
                  <a:pt x="189" y="204"/>
                </a:lnTo>
                <a:lnTo>
                  <a:pt x="190" y="204"/>
                </a:lnTo>
                <a:lnTo>
                  <a:pt x="193" y="202"/>
                </a:lnTo>
                <a:lnTo>
                  <a:pt x="199" y="201"/>
                </a:lnTo>
                <a:lnTo>
                  <a:pt x="201" y="200"/>
                </a:lnTo>
                <a:lnTo>
                  <a:pt x="203" y="199"/>
                </a:lnTo>
                <a:lnTo>
                  <a:pt x="204" y="198"/>
                </a:lnTo>
                <a:lnTo>
                  <a:pt x="204" y="197"/>
                </a:lnTo>
                <a:lnTo>
                  <a:pt x="202" y="197"/>
                </a:lnTo>
                <a:lnTo>
                  <a:pt x="202" y="195"/>
                </a:lnTo>
                <a:lnTo>
                  <a:pt x="201" y="194"/>
                </a:lnTo>
                <a:lnTo>
                  <a:pt x="196" y="195"/>
                </a:lnTo>
                <a:lnTo>
                  <a:pt x="195" y="195"/>
                </a:lnTo>
                <a:lnTo>
                  <a:pt x="203" y="190"/>
                </a:lnTo>
                <a:lnTo>
                  <a:pt x="204" y="190"/>
                </a:lnTo>
                <a:lnTo>
                  <a:pt x="207" y="189"/>
                </a:lnTo>
                <a:lnTo>
                  <a:pt x="210" y="188"/>
                </a:lnTo>
                <a:lnTo>
                  <a:pt x="211" y="188"/>
                </a:lnTo>
                <a:lnTo>
                  <a:pt x="213" y="187"/>
                </a:lnTo>
                <a:lnTo>
                  <a:pt x="215" y="185"/>
                </a:lnTo>
                <a:lnTo>
                  <a:pt x="215" y="184"/>
                </a:lnTo>
                <a:lnTo>
                  <a:pt x="216" y="184"/>
                </a:lnTo>
                <a:lnTo>
                  <a:pt x="219" y="183"/>
                </a:lnTo>
                <a:lnTo>
                  <a:pt x="221" y="183"/>
                </a:lnTo>
                <a:lnTo>
                  <a:pt x="219" y="184"/>
                </a:lnTo>
                <a:lnTo>
                  <a:pt x="222" y="184"/>
                </a:lnTo>
                <a:lnTo>
                  <a:pt x="224" y="183"/>
                </a:lnTo>
                <a:lnTo>
                  <a:pt x="225" y="182"/>
                </a:lnTo>
                <a:lnTo>
                  <a:pt x="224" y="182"/>
                </a:lnTo>
                <a:lnTo>
                  <a:pt x="226" y="181"/>
                </a:lnTo>
                <a:lnTo>
                  <a:pt x="230" y="181"/>
                </a:lnTo>
                <a:lnTo>
                  <a:pt x="234" y="179"/>
                </a:lnTo>
                <a:lnTo>
                  <a:pt x="235" y="178"/>
                </a:lnTo>
                <a:lnTo>
                  <a:pt x="235" y="177"/>
                </a:lnTo>
                <a:lnTo>
                  <a:pt x="234" y="174"/>
                </a:lnTo>
                <a:lnTo>
                  <a:pt x="235" y="174"/>
                </a:lnTo>
                <a:lnTo>
                  <a:pt x="236" y="176"/>
                </a:lnTo>
                <a:lnTo>
                  <a:pt x="239" y="176"/>
                </a:lnTo>
                <a:lnTo>
                  <a:pt x="246" y="173"/>
                </a:lnTo>
                <a:lnTo>
                  <a:pt x="251" y="170"/>
                </a:lnTo>
                <a:lnTo>
                  <a:pt x="260" y="167"/>
                </a:lnTo>
                <a:lnTo>
                  <a:pt x="262" y="164"/>
                </a:lnTo>
                <a:lnTo>
                  <a:pt x="273" y="162"/>
                </a:lnTo>
                <a:lnTo>
                  <a:pt x="282" y="158"/>
                </a:lnTo>
                <a:lnTo>
                  <a:pt x="283" y="157"/>
                </a:lnTo>
                <a:lnTo>
                  <a:pt x="284" y="156"/>
                </a:lnTo>
                <a:lnTo>
                  <a:pt x="287" y="154"/>
                </a:lnTo>
                <a:lnTo>
                  <a:pt x="290" y="152"/>
                </a:lnTo>
                <a:lnTo>
                  <a:pt x="292" y="151"/>
                </a:lnTo>
                <a:lnTo>
                  <a:pt x="302" y="146"/>
                </a:lnTo>
                <a:lnTo>
                  <a:pt x="303" y="144"/>
                </a:lnTo>
                <a:lnTo>
                  <a:pt x="304" y="143"/>
                </a:lnTo>
                <a:lnTo>
                  <a:pt x="307" y="142"/>
                </a:lnTo>
                <a:lnTo>
                  <a:pt x="307" y="142"/>
                </a:lnTo>
                <a:lnTo>
                  <a:pt x="306" y="143"/>
                </a:lnTo>
                <a:lnTo>
                  <a:pt x="298" y="149"/>
                </a:lnTo>
                <a:lnTo>
                  <a:pt x="295" y="151"/>
                </a:lnTo>
                <a:lnTo>
                  <a:pt x="288" y="154"/>
                </a:lnTo>
                <a:lnTo>
                  <a:pt x="286" y="157"/>
                </a:lnTo>
                <a:lnTo>
                  <a:pt x="284" y="158"/>
                </a:lnTo>
                <a:lnTo>
                  <a:pt x="284" y="159"/>
                </a:lnTo>
                <a:lnTo>
                  <a:pt x="290" y="159"/>
                </a:lnTo>
                <a:lnTo>
                  <a:pt x="297" y="156"/>
                </a:lnTo>
                <a:lnTo>
                  <a:pt x="302" y="154"/>
                </a:lnTo>
                <a:lnTo>
                  <a:pt x="304" y="154"/>
                </a:lnTo>
                <a:lnTo>
                  <a:pt x="301" y="156"/>
                </a:lnTo>
                <a:lnTo>
                  <a:pt x="298" y="157"/>
                </a:lnTo>
                <a:lnTo>
                  <a:pt x="295" y="158"/>
                </a:lnTo>
                <a:lnTo>
                  <a:pt x="292" y="159"/>
                </a:lnTo>
                <a:lnTo>
                  <a:pt x="290" y="160"/>
                </a:lnTo>
                <a:lnTo>
                  <a:pt x="287" y="161"/>
                </a:lnTo>
                <a:lnTo>
                  <a:pt x="288" y="162"/>
                </a:lnTo>
                <a:lnTo>
                  <a:pt x="293" y="163"/>
                </a:lnTo>
                <a:lnTo>
                  <a:pt x="296" y="164"/>
                </a:lnTo>
                <a:lnTo>
                  <a:pt x="287" y="163"/>
                </a:lnTo>
                <a:lnTo>
                  <a:pt x="283" y="164"/>
                </a:lnTo>
                <a:lnTo>
                  <a:pt x="281" y="164"/>
                </a:lnTo>
                <a:lnTo>
                  <a:pt x="282" y="162"/>
                </a:lnTo>
                <a:lnTo>
                  <a:pt x="280" y="163"/>
                </a:lnTo>
                <a:lnTo>
                  <a:pt x="277" y="163"/>
                </a:lnTo>
                <a:lnTo>
                  <a:pt x="274" y="164"/>
                </a:lnTo>
                <a:lnTo>
                  <a:pt x="265" y="167"/>
                </a:lnTo>
                <a:lnTo>
                  <a:pt x="263" y="168"/>
                </a:lnTo>
                <a:lnTo>
                  <a:pt x="261" y="170"/>
                </a:lnTo>
                <a:lnTo>
                  <a:pt x="258" y="172"/>
                </a:lnTo>
                <a:lnTo>
                  <a:pt x="255" y="174"/>
                </a:lnTo>
                <a:lnTo>
                  <a:pt x="253" y="177"/>
                </a:lnTo>
                <a:lnTo>
                  <a:pt x="250" y="178"/>
                </a:lnTo>
                <a:lnTo>
                  <a:pt x="246" y="179"/>
                </a:lnTo>
                <a:lnTo>
                  <a:pt x="245" y="180"/>
                </a:lnTo>
                <a:lnTo>
                  <a:pt x="242" y="182"/>
                </a:lnTo>
                <a:lnTo>
                  <a:pt x="240" y="183"/>
                </a:lnTo>
                <a:lnTo>
                  <a:pt x="240" y="184"/>
                </a:lnTo>
                <a:lnTo>
                  <a:pt x="242" y="185"/>
                </a:lnTo>
                <a:lnTo>
                  <a:pt x="251" y="183"/>
                </a:lnTo>
                <a:lnTo>
                  <a:pt x="251" y="183"/>
                </a:lnTo>
                <a:lnTo>
                  <a:pt x="249" y="185"/>
                </a:lnTo>
                <a:lnTo>
                  <a:pt x="245" y="187"/>
                </a:lnTo>
                <a:lnTo>
                  <a:pt x="243" y="187"/>
                </a:lnTo>
                <a:lnTo>
                  <a:pt x="242" y="187"/>
                </a:lnTo>
                <a:lnTo>
                  <a:pt x="241" y="188"/>
                </a:lnTo>
                <a:lnTo>
                  <a:pt x="241" y="189"/>
                </a:lnTo>
                <a:lnTo>
                  <a:pt x="239" y="188"/>
                </a:lnTo>
                <a:lnTo>
                  <a:pt x="237" y="188"/>
                </a:lnTo>
                <a:lnTo>
                  <a:pt x="237" y="188"/>
                </a:lnTo>
                <a:lnTo>
                  <a:pt x="235" y="189"/>
                </a:lnTo>
                <a:lnTo>
                  <a:pt x="235" y="188"/>
                </a:lnTo>
                <a:lnTo>
                  <a:pt x="233" y="189"/>
                </a:lnTo>
                <a:lnTo>
                  <a:pt x="233" y="190"/>
                </a:lnTo>
                <a:lnTo>
                  <a:pt x="231" y="191"/>
                </a:lnTo>
                <a:lnTo>
                  <a:pt x="230" y="192"/>
                </a:lnTo>
                <a:lnTo>
                  <a:pt x="231" y="192"/>
                </a:lnTo>
                <a:lnTo>
                  <a:pt x="231" y="193"/>
                </a:lnTo>
                <a:lnTo>
                  <a:pt x="234" y="192"/>
                </a:lnTo>
                <a:lnTo>
                  <a:pt x="239" y="192"/>
                </a:lnTo>
                <a:lnTo>
                  <a:pt x="240" y="191"/>
                </a:lnTo>
                <a:lnTo>
                  <a:pt x="241" y="190"/>
                </a:lnTo>
                <a:lnTo>
                  <a:pt x="242" y="191"/>
                </a:lnTo>
                <a:lnTo>
                  <a:pt x="243" y="191"/>
                </a:lnTo>
                <a:lnTo>
                  <a:pt x="247" y="189"/>
                </a:lnTo>
                <a:lnTo>
                  <a:pt x="252" y="187"/>
                </a:lnTo>
                <a:lnTo>
                  <a:pt x="253" y="187"/>
                </a:lnTo>
                <a:lnTo>
                  <a:pt x="256" y="187"/>
                </a:lnTo>
                <a:lnTo>
                  <a:pt x="254" y="188"/>
                </a:lnTo>
                <a:lnTo>
                  <a:pt x="251" y="190"/>
                </a:lnTo>
                <a:lnTo>
                  <a:pt x="257" y="187"/>
                </a:lnTo>
                <a:lnTo>
                  <a:pt x="260" y="185"/>
                </a:lnTo>
                <a:lnTo>
                  <a:pt x="264" y="184"/>
                </a:lnTo>
                <a:lnTo>
                  <a:pt x="264" y="184"/>
                </a:lnTo>
                <a:lnTo>
                  <a:pt x="266" y="183"/>
                </a:lnTo>
                <a:lnTo>
                  <a:pt x="267" y="182"/>
                </a:lnTo>
                <a:lnTo>
                  <a:pt x="268" y="181"/>
                </a:lnTo>
                <a:lnTo>
                  <a:pt x="271" y="180"/>
                </a:lnTo>
                <a:lnTo>
                  <a:pt x="268" y="182"/>
                </a:lnTo>
                <a:lnTo>
                  <a:pt x="267" y="184"/>
                </a:lnTo>
                <a:lnTo>
                  <a:pt x="271" y="182"/>
                </a:lnTo>
                <a:lnTo>
                  <a:pt x="273" y="180"/>
                </a:lnTo>
                <a:lnTo>
                  <a:pt x="275" y="179"/>
                </a:lnTo>
                <a:lnTo>
                  <a:pt x="276" y="178"/>
                </a:lnTo>
                <a:lnTo>
                  <a:pt x="275" y="180"/>
                </a:lnTo>
                <a:lnTo>
                  <a:pt x="277" y="179"/>
                </a:lnTo>
                <a:lnTo>
                  <a:pt x="278" y="179"/>
                </a:lnTo>
                <a:lnTo>
                  <a:pt x="278" y="180"/>
                </a:lnTo>
                <a:lnTo>
                  <a:pt x="283" y="180"/>
                </a:lnTo>
                <a:lnTo>
                  <a:pt x="285" y="179"/>
                </a:lnTo>
                <a:lnTo>
                  <a:pt x="286" y="179"/>
                </a:lnTo>
                <a:lnTo>
                  <a:pt x="290" y="177"/>
                </a:lnTo>
                <a:lnTo>
                  <a:pt x="291" y="177"/>
                </a:lnTo>
                <a:lnTo>
                  <a:pt x="293" y="177"/>
                </a:lnTo>
                <a:lnTo>
                  <a:pt x="295" y="176"/>
                </a:lnTo>
                <a:lnTo>
                  <a:pt x="294" y="176"/>
                </a:lnTo>
                <a:lnTo>
                  <a:pt x="294" y="174"/>
                </a:lnTo>
                <a:lnTo>
                  <a:pt x="293" y="176"/>
                </a:lnTo>
                <a:lnTo>
                  <a:pt x="295" y="173"/>
                </a:lnTo>
                <a:lnTo>
                  <a:pt x="298" y="172"/>
                </a:lnTo>
                <a:lnTo>
                  <a:pt x="300" y="172"/>
                </a:lnTo>
                <a:lnTo>
                  <a:pt x="302" y="171"/>
                </a:lnTo>
                <a:lnTo>
                  <a:pt x="303" y="170"/>
                </a:lnTo>
                <a:lnTo>
                  <a:pt x="298" y="171"/>
                </a:lnTo>
                <a:lnTo>
                  <a:pt x="297" y="171"/>
                </a:lnTo>
                <a:lnTo>
                  <a:pt x="294" y="171"/>
                </a:lnTo>
                <a:lnTo>
                  <a:pt x="295" y="170"/>
                </a:lnTo>
                <a:lnTo>
                  <a:pt x="298" y="170"/>
                </a:lnTo>
                <a:lnTo>
                  <a:pt x="302" y="169"/>
                </a:lnTo>
                <a:lnTo>
                  <a:pt x="303" y="168"/>
                </a:lnTo>
                <a:lnTo>
                  <a:pt x="301" y="168"/>
                </a:lnTo>
                <a:lnTo>
                  <a:pt x="302" y="167"/>
                </a:lnTo>
                <a:lnTo>
                  <a:pt x="298" y="168"/>
                </a:lnTo>
                <a:lnTo>
                  <a:pt x="300" y="167"/>
                </a:lnTo>
                <a:lnTo>
                  <a:pt x="300" y="167"/>
                </a:lnTo>
                <a:lnTo>
                  <a:pt x="301" y="166"/>
                </a:lnTo>
                <a:lnTo>
                  <a:pt x="304" y="164"/>
                </a:lnTo>
                <a:lnTo>
                  <a:pt x="307" y="163"/>
                </a:lnTo>
                <a:lnTo>
                  <a:pt x="305" y="163"/>
                </a:lnTo>
                <a:lnTo>
                  <a:pt x="310" y="161"/>
                </a:lnTo>
                <a:lnTo>
                  <a:pt x="311" y="161"/>
                </a:lnTo>
                <a:lnTo>
                  <a:pt x="311" y="162"/>
                </a:lnTo>
                <a:lnTo>
                  <a:pt x="311" y="162"/>
                </a:lnTo>
                <a:lnTo>
                  <a:pt x="314" y="160"/>
                </a:lnTo>
                <a:lnTo>
                  <a:pt x="318" y="159"/>
                </a:lnTo>
                <a:lnTo>
                  <a:pt x="317" y="160"/>
                </a:lnTo>
                <a:lnTo>
                  <a:pt x="312" y="162"/>
                </a:lnTo>
                <a:lnTo>
                  <a:pt x="310" y="164"/>
                </a:lnTo>
                <a:lnTo>
                  <a:pt x="310" y="164"/>
                </a:lnTo>
                <a:lnTo>
                  <a:pt x="312" y="164"/>
                </a:lnTo>
                <a:lnTo>
                  <a:pt x="314" y="164"/>
                </a:lnTo>
                <a:lnTo>
                  <a:pt x="316" y="162"/>
                </a:lnTo>
                <a:lnTo>
                  <a:pt x="318" y="160"/>
                </a:lnTo>
                <a:lnTo>
                  <a:pt x="317" y="162"/>
                </a:lnTo>
                <a:lnTo>
                  <a:pt x="316" y="163"/>
                </a:lnTo>
                <a:lnTo>
                  <a:pt x="317" y="163"/>
                </a:lnTo>
                <a:lnTo>
                  <a:pt x="322" y="163"/>
                </a:lnTo>
                <a:lnTo>
                  <a:pt x="323" y="163"/>
                </a:lnTo>
                <a:lnTo>
                  <a:pt x="325" y="163"/>
                </a:lnTo>
                <a:lnTo>
                  <a:pt x="328" y="161"/>
                </a:lnTo>
                <a:lnTo>
                  <a:pt x="332" y="161"/>
                </a:lnTo>
                <a:lnTo>
                  <a:pt x="335" y="161"/>
                </a:lnTo>
                <a:lnTo>
                  <a:pt x="334" y="161"/>
                </a:lnTo>
                <a:lnTo>
                  <a:pt x="330" y="162"/>
                </a:lnTo>
                <a:lnTo>
                  <a:pt x="328" y="162"/>
                </a:lnTo>
                <a:lnTo>
                  <a:pt x="326" y="164"/>
                </a:lnTo>
                <a:lnTo>
                  <a:pt x="325" y="166"/>
                </a:lnTo>
                <a:lnTo>
                  <a:pt x="326" y="166"/>
                </a:lnTo>
                <a:lnTo>
                  <a:pt x="332" y="164"/>
                </a:lnTo>
                <a:lnTo>
                  <a:pt x="331" y="166"/>
                </a:lnTo>
                <a:lnTo>
                  <a:pt x="326" y="167"/>
                </a:lnTo>
                <a:lnTo>
                  <a:pt x="323" y="168"/>
                </a:lnTo>
                <a:lnTo>
                  <a:pt x="325" y="168"/>
                </a:lnTo>
                <a:lnTo>
                  <a:pt x="328" y="167"/>
                </a:lnTo>
                <a:lnTo>
                  <a:pt x="332" y="166"/>
                </a:lnTo>
                <a:lnTo>
                  <a:pt x="333" y="166"/>
                </a:lnTo>
                <a:lnTo>
                  <a:pt x="326" y="169"/>
                </a:lnTo>
                <a:lnTo>
                  <a:pt x="331" y="168"/>
                </a:lnTo>
                <a:lnTo>
                  <a:pt x="332" y="169"/>
                </a:lnTo>
                <a:lnTo>
                  <a:pt x="334" y="168"/>
                </a:lnTo>
                <a:lnTo>
                  <a:pt x="334" y="169"/>
                </a:lnTo>
                <a:lnTo>
                  <a:pt x="331" y="170"/>
                </a:lnTo>
                <a:lnTo>
                  <a:pt x="332" y="171"/>
                </a:lnTo>
                <a:lnTo>
                  <a:pt x="333" y="173"/>
                </a:lnTo>
                <a:lnTo>
                  <a:pt x="333" y="174"/>
                </a:lnTo>
                <a:lnTo>
                  <a:pt x="335" y="173"/>
                </a:lnTo>
                <a:lnTo>
                  <a:pt x="336" y="173"/>
                </a:lnTo>
                <a:lnTo>
                  <a:pt x="337" y="172"/>
                </a:lnTo>
                <a:lnTo>
                  <a:pt x="337" y="172"/>
                </a:lnTo>
                <a:lnTo>
                  <a:pt x="338" y="171"/>
                </a:lnTo>
                <a:lnTo>
                  <a:pt x="341" y="171"/>
                </a:lnTo>
                <a:lnTo>
                  <a:pt x="341" y="172"/>
                </a:lnTo>
                <a:lnTo>
                  <a:pt x="341" y="173"/>
                </a:lnTo>
                <a:lnTo>
                  <a:pt x="338" y="174"/>
                </a:lnTo>
                <a:lnTo>
                  <a:pt x="341" y="174"/>
                </a:lnTo>
                <a:lnTo>
                  <a:pt x="341" y="176"/>
                </a:lnTo>
                <a:lnTo>
                  <a:pt x="341" y="177"/>
                </a:lnTo>
                <a:lnTo>
                  <a:pt x="342" y="176"/>
                </a:lnTo>
                <a:lnTo>
                  <a:pt x="343" y="177"/>
                </a:lnTo>
                <a:lnTo>
                  <a:pt x="344" y="177"/>
                </a:lnTo>
                <a:lnTo>
                  <a:pt x="345" y="177"/>
                </a:lnTo>
                <a:lnTo>
                  <a:pt x="345" y="178"/>
                </a:lnTo>
                <a:lnTo>
                  <a:pt x="345" y="179"/>
                </a:lnTo>
                <a:lnTo>
                  <a:pt x="344" y="179"/>
                </a:lnTo>
                <a:lnTo>
                  <a:pt x="344" y="179"/>
                </a:lnTo>
                <a:lnTo>
                  <a:pt x="346" y="180"/>
                </a:lnTo>
                <a:lnTo>
                  <a:pt x="349" y="179"/>
                </a:lnTo>
                <a:lnTo>
                  <a:pt x="357" y="179"/>
                </a:lnTo>
                <a:lnTo>
                  <a:pt x="359" y="178"/>
                </a:lnTo>
                <a:lnTo>
                  <a:pt x="361" y="179"/>
                </a:lnTo>
                <a:lnTo>
                  <a:pt x="363" y="178"/>
                </a:lnTo>
                <a:lnTo>
                  <a:pt x="365" y="178"/>
                </a:lnTo>
                <a:lnTo>
                  <a:pt x="366" y="179"/>
                </a:lnTo>
                <a:lnTo>
                  <a:pt x="372" y="180"/>
                </a:lnTo>
                <a:lnTo>
                  <a:pt x="374" y="180"/>
                </a:lnTo>
                <a:lnTo>
                  <a:pt x="378" y="179"/>
                </a:lnTo>
                <a:lnTo>
                  <a:pt x="379" y="180"/>
                </a:lnTo>
                <a:lnTo>
                  <a:pt x="378" y="180"/>
                </a:lnTo>
                <a:lnTo>
                  <a:pt x="376" y="180"/>
                </a:lnTo>
                <a:lnTo>
                  <a:pt x="376" y="181"/>
                </a:lnTo>
                <a:lnTo>
                  <a:pt x="376" y="181"/>
                </a:lnTo>
                <a:lnTo>
                  <a:pt x="379" y="183"/>
                </a:lnTo>
                <a:lnTo>
                  <a:pt x="384" y="183"/>
                </a:lnTo>
                <a:lnTo>
                  <a:pt x="387" y="184"/>
                </a:lnTo>
                <a:lnTo>
                  <a:pt x="393" y="182"/>
                </a:lnTo>
                <a:lnTo>
                  <a:pt x="399" y="180"/>
                </a:lnTo>
                <a:lnTo>
                  <a:pt x="402" y="179"/>
                </a:lnTo>
                <a:lnTo>
                  <a:pt x="403" y="178"/>
                </a:lnTo>
                <a:lnTo>
                  <a:pt x="404" y="180"/>
                </a:lnTo>
                <a:lnTo>
                  <a:pt x="404" y="181"/>
                </a:lnTo>
                <a:lnTo>
                  <a:pt x="406" y="182"/>
                </a:lnTo>
                <a:lnTo>
                  <a:pt x="405" y="182"/>
                </a:lnTo>
                <a:lnTo>
                  <a:pt x="402" y="183"/>
                </a:lnTo>
                <a:lnTo>
                  <a:pt x="401" y="184"/>
                </a:lnTo>
                <a:lnTo>
                  <a:pt x="401" y="184"/>
                </a:lnTo>
                <a:lnTo>
                  <a:pt x="399" y="187"/>
                </a:lnTo>
                <a:lnTo>
                  <a:pt x="398" y="187"/>
                </a:lnTo>
                <a:lnTo>
                  <a:pt x="397" y="185"/>
                </a:lnTo>
                <a:lnTo>
                  <a:pt x="401" y="183"/>
                </a:lnTo>
                <a:lnTo>
                  <a:pt x="402" y="182"/>
                </a:lnTo>
                <a:lnTo>
                  <a:pt x="403" y="181"/>
                </a:lnTo>
                <a:lnTo>
                  <a:pt x="403" y="180"/>
                </a:lnTo>
                <a:lnTo>
                  <a:pt x="403" y="180"/>
                </a:lnTo>
                <a:lnTo>
                  <a:pt x="401" y="180"/>
                </a:lnTo>
                <a:lnTo>
                  <a:pt x="399" y="181"/>
                </a:lnTo>
                <a:lnTo>
                  <a:pt x="397" y="183"/>
                </a:lnTo>
                <a:lnTo>
                  <a:pt x="397" y="183"/>
                </a:lnTo>
                <a:lnTo>
                  <a:pt x="397" y="184"/>
                </a:lnTo>
                <a:lnTo>
                  <a:pt x="395" y="185"/>
                </a:lnTo>
                <a:lnTo>
                  <a:pt x="394" y="187"/>
                </a:lnTo>
                <a:lnTo>
                  <a:pt x="393" y="187"/>
                </a:lnTo>
                <a:lnTo>
                  <a:pt x="391" y="188"/>
                </a:lnTo>
                <a:lnTo>
                  <a:pt x="391" y="188"/>
                </a:lnTo>
                <a:lnTo>
                  <a:pt x="393" y="189"/>
                </a:lnTo>
                <a:lnTo>
                  <a:pt x="393" y="189"/>
                </a:lnTo>
                <a:lnTo>
                  <a:pt x="394" y="190"/>
                </a:lnTo>
                <a:lnTo>
                  <a:pt x="395" y="190"/>
                </a:lnTo>
                <a:lnTo>
                  <a:pt x="395" y="190"/>
                </a:lnTo>
                <a:lnTo>
                  <a:pt x="395" y="190"/>
                </a:lnTo>
                <a:lnTo>
                  <a:pt x="397" y="191"/>
                </a:lnTo>
                <a:lnTo>
                  <a:pt x="398" y="193"/>
                </a:lnTo>
                <a:lnTo>
                  <a:pt x="399" y="193"/>
                </a:lnTo>
                <a:lnTo>
                  <a:pt x="401" y="192"/>
                </a:lnTo>
                <a:lnTo>
                  <a:pt x="404" y="192"/>
                </a:lnTo>
                <a:lnTo>
                  <a:pt x="405" y="192"/>
                </a:lnTo>
                <a:lnTo>
                  <a:pt x="406" y="191"/>
                </a:lnTo>
                <a:lnTo>
                  <a:pt x="407" y="189"/>
                </a:lnTo>
                <a:lnTo>
                  <a:pt x="407" y="189"/>
                </a:lnTo>
                <a:lnTo>
                  <a:pt x="408" y="190"/>
                </a:lnTo>
                <a:lnTo>
                  <a:pt x="409" y="189"/>
                </a:lnTo>
                <a:lnTo>
                  <a:pt x="409" y="188"/>
                </a:lnTo>
                <a:lnTo>
                  <a:pt x="408" y="183"/>
                </a:lnTo>
                <a:lnTo>
                  <a:pt x="409" y="181"/>
                </a:lnTo>
                <a:lnTo>
                  <a:pt x="408" y="179"/>
                </a:lnTo>
                <a:lnTo>
                  <a:pt x="407" y="179"/>
                </a:lnTo>
                <a:lnTo>
                  <a:pt x="408" y="179"/>
                </a:lnTo>
                <a:lnTo>
                  <a:pt x="409" y="178"/>
                </a:lnTo>
                <a:lnTo>
                  <a:pt x="413" y="174"/>
                </a:lnTo>
                <a:lnTo>
                  <a:pt x="405" y="174"/>
                </a:lnTo>
                <a:lnTo>
                  <a:pt x="399" y="177"/>
                </a:lnTo>
                <a:lnTo>
                  <a:pt x="398" y="177"/>
                </a:lnTo>
                <a:lnTo>
                  <a:pt x="397" y="174"/>
                </a:lnTo>
                <a:lnTo>
                  <a:pt x="392" y="177"/>
                </a:lnTo>
                <a:lnTo>
                  <a:pt x="389" y="174"/>
                </a:lnTo>
                <a:lnTo>
                  <a:pt x="395" y="169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21" name="Freeform 1522"/>
          <p:cNvSpPr>
            <a:spLocks/>
          </p:cNvSpPr>
          <p:nvPr/>
        </p:nvSpPr>
        <p:spPr bwMode="auto">
          <a:xfrm>
            <a:off x="871538" y="1584290"/>
            <a:ext cx="887412" cy="420688"/>
          </a:xfrm>
          <a:custGeom>
            <a:avLst/>
            <a:gdLst>
              <a:gd name="T0" fmla="*/ 550 w 559"/>
              <a:gd name="T1" fmla="*/ 22 h 265"/>
              <a:gd name="T2" fmla="*/ 515 w 559"/>
              <a:gd name="T3" fmla="*/ 20 h 265"/>
              <a:gd name="T4" fmla="*/ 467 w 559"/>
              <a:gd name="T5" fmla="*/ 13 h 265"/>
              <a:gd name="T6" fmla="*/ 447 w 559"/>
              <a:gd name="T7" fmla="*/ 8 h 265"/>
              <a:gd name="T8" fmla="*/ 425 w 559"/>
              <a:gd name="T9" fmla="*/ 3 h 265"/>
              <a:gd name="T10" fmla="*/ 415 w 559"/>
              <a:gd name="T11" fmla="*/ 6 h 265"/>
              <a:gd name="T12" fmla="*/ 404 w 559"/>
              <a:gd name="T13" fmla="*/ 2 h 265"/>
              <a:gd name="T14" fmla="*/ 368 w 559"/>
              <a:gd name="T15" fmla="*/ 8 h 265"/>
              <a:gd name="T16" fmla="*/ 354 w 559"/>
              <a:gd name="T17" fmla="*/ 13 h 265"/>
              <a:gd name="T18" fmla="*/ 325 w 559"/>
              <a:gd name="T19" fmla="*/ 21 h 265"/>
              <a:gd name="T20" fmla="*/ 295 w 559"/>
              <a:gd name="T21" fmla="*/ 30 h 265"/>
              <a:gd name="T22" fmla="*/ 240 w 559"/>
              <a:gd name="T23" fmla="*/ 43 h 265"/>
              <a:gd name="T24" fmla="*/ 245 w 559"/>
              <a:gd name="T25" fmla="*/ 59 h 265"/>
              <a:gd name="T26" fmla="*/ 255 w 559"/>
              <a:gd name="T27" fmla="*/ 66 h 265"/>
              <a:gd name="T28" fmla="*/ 273 w 559"/>
              <a:gd name="T29" fmla="*/ 71 h 265"/>
              <a:gd name="T30" fmla="*/ 258 w 559"/>
              <a:gd name="T31" fmla="*/ 75 h 265"/>
              <a:gd name="T32" fmla="*/ 254 w 559"/>
              <a:gd name="T33" fmla="*/ 79 h 265"/>
              <a:gd name="T34" fmla="*/ 229 w 559"/>
              <a:gd name="T35" fmla="*/ 80 h 265"/>
              <a:gd name="T36" fmla="*/ 207 w 559"/>
              <a:gd name="T37" fmla="*/ 76 h 265"/>
              <a:gd name="T38" fmla="*/ 168 w 559"/>
              <a:gd name="T39" fmla="*/ 84 h 265"/>
              <a:gd name="T40" fmla="*/ 163 w 559"/>
              <a:gd name="T41" fmla="*/ 93 h 265"/>
              <a:gd name="T42" fmla="*/ 192 w 559"/>
              <a:gd name="T43" fmla="*/ 106 h 265"/>
              <a:gd name="T44" fmla="*/ 226 w 559"/>
              <a:gd name="T45" fmla="*/ 101 h 265"/>
              <a:gd name="T46" fmla="*/ 201 w 559"/>
              <a:gd name="T47" fmla="*/ 120 h 265"/>
              <a:gd name="T48" fmla="*/ 159 w 559"/>
              <a:gd name="T49" fmla="*/ 129 h 265"/>
              <a:gd name="T50" fmla="*/ 108 w 559"/>
              <a:gd name="T51" fmla="*/ 146 h 265"/>
              <a:gd name="T52" fmla="*/ 104 w 559"/>
              <a:gd name="T53" fmla="*/ 153 h 265"/>
              <a:gd name="T54" fmla="*/ 102 w 559"/>
              <a:gd name="T55" fmla="*/ 162 h 265"/>
              <a:gd name="T56" fmla="*/ 89 w 559"/>
              <a:gd name="T57" fmla="*/ 180 h 265"/>
              <a:gd name="T58" fmla="*/ 113 w 559"/>
              <a:gd name="T59" fmla="*/ 177 h 265"/>
              <a:gd name="T60" fmla="*/ 109 w 559"/>
              <a:gd name="T61" fmla="*/ 187 h 265"/>
              <a:gd name="T62" fmla="*/ 90 w 559"/>
              <a:gd name="T63" fmla="*/ 202 h 265"/>
              <a:gd name="T64" fmla="*/ 123 w 559"/>
              <a:gd name="T65" fmla="*/ 198 h 265"/>
              <a:gd name="T66" fmla="*/ 139 w 559"/>
              <a:gd name="T67" fmla="*/ 202 h 265"/>
              <a:gd name="T68" fmla="*/ 114 w 559"/>
              <a:gd name="T69" fmla="*/ 224 h 265"/>
              <a:gd name="T70" fmla="*/ 59 w 559"/>
              <a:gd name="T71" fmla="*/ 245 h 265"/>
              <a:gd name="T72" fmla="*/ 32 w 559"/>
              <a:gd name="T73" fmla="*/ 250 h 265"/>
              <a:gd name="T74" fmla="*/ 1 w 559"/>
              <a:gd name="T75" fmla="*/ 265 h 265"/>
              <a:gd name="T76" fmla="*/ 24 w 559"/>
              <a:gd name="T77" fmla="*/ 260 h 265"/>
              <a:gd name="T78" fmla="*/ 58 w 559"/>
              <a:gd name="T79" fmla="*/ 251 h 265"/>
              <a:gd name="T80" fmla="*/ 87 w 559"/>
              <a:gd name="T81" fmla="*/ 243 h 265"/>
              <a:gd name="T82" fmla="*/ 111 w 559"/>
              <a:gd name="T83" fmla="*/ 233 h 265"/>
              <a:gd name="T84" fmla="*/ 145 w 559"/>
              <a:gd name="T85" fmla="*/ 220 h 265"/>
              <a:gd name="T86" fmla="*/ 186 w 559"/>
              <a:gd name="T87" fmla="*/ 207 h 265"/>
              <a:gd name="T88" fmla="*/ 210 w 559"/>
              <a:gd name="T89" fmla="*/ 188 h 265"/>
              <a:gd name="T90" fmla="*/ 235 w 559"/>
              <a:gd name="T91" fmla="*/ 174 h 265"/>
              <a:gd name="T92" fmla="*/ 306 w 559"/>
              <a:gd name="T93" fmla="*/ 143 h 265"/>
              <a:gd name="T94" fmla="*/ 296 w 559"/>
              <a:gd name="T95" fmla="*/ 164 h 265"/>
              <a:gd name="T96" fmla="*/ 240 w 559"/>
              <a:gd name="T97" fmla="*/ 184 h 265"/>
              <a:gd name="T98" fmla="*/ 231 w 559"/>
              <a:gd name="T99" fmla="*/ 192 h 265"/>
              <a:gd name="T100" fmla="*/ 267 w 559"/>
              <a:gd name="T101" fmla="*/ 182 h 265"/>
              <a:gd name="T102" fmla="*/ 295 w 559"/>
              <a:gd name="T103" fmla="*/ 176 h 265"/>
              <a:gd name="T104" fmla="*/ 300 w 559"/>
              <a:gd name="T105" fmla="*/ 167 h 265"/>
              <a:gd name="T106" fmla="*/ 318 w 559"/>
              <a:gd name="T107" fmla="*/ 160 h 265"/>
              <a:gd name="T108" fmla="*/ 323 w 559"/>
              <a:gd name="T109" fmla="*/ 168 h 265"/>
              <a:gd name="T110" fmla="*/ 341 w 559"/>
              <a:gd name="T111" fmla="*/ 171 h 265"/>
              <a:gd name="T112" fmla="*/ 361 w 559"/>
              <a:gd name="T113" fmla="*/ 179 h 265"/>
              <a:gd name="T114" fmla="*/ 404 w 559"/>
              <a:gd name="T115" fmla="*/ 180 h 265"/>
              <a:gd name="T116" fmla="*/ 397 w 559"/>
              <a:gd name="T117" fmla="*/ 184 h 265"/>
              <a:gd name="T118" fmla="*/ 407 w 559"/>
              <a:gd name="T119" fmla="*/ 189 h 2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59" h="265">
                <a:moveTo>
                  <a:pt x="395" y="169"/>
                </a:moveTo>
                <a:lnTo>
                  <a:pt x="412" y="153"/>
                </a:lnTo>
                <a:lnTo>
                  <a:pt x="427" y="138"/>
                </a:lnTo>
                <a:lnTo>
                  <a:pt x="443" y="124"/>
                </a:lnTo>
                <a:lnTo>
                  <a:pt x="458" y="110"/>
                </a:lnTo>
                <a:lnTo>
                  <a:pt x="476" y="94"/>
                </a:lnTo>
                <a:lnTo>
                  <a:pt x="493" y="80"/>
                </a:lnTo>
                <a:lnTo>
                  <a:pt x="508" y="67"/>
                </a:lnTo>
                <a:lnTo>
                  <a:pt x="524" y="53"/>
                </a:lnTo>
                <a:lnTo>
                  <a:pt x="543" y="38"/>
                </a:lnTo>
                <a:lnTo>
                  <a:pt x="559" y="25"/>
                </a:lnTo>
                <a:lnTo>
                  <a:pt x="559" y="23"/>
                </a:lnTo>
                <a:lnTo>
                  <a:pt x="558" y="23"/>
                </a:lnTo>
                <a:lnTo>
                  <a:pt x="557" y="25"/>
                </a:lnTo>
                <a:lnTo>
                  <a:pt x="555" y="26"/>
                </a:lnTo>
                <a:lnTo>
                  <a:pt x="554" y="25"/>
                </a:lnTo>
                <a:lnTo>
                  <a:pt x="554" y="23"/>
                </a:lnTo>
                <a:lnTo>
                  <a:pt x="549" y="22"/>
                </a:lnTo>
                <a:lnTo>
                  <a:pt x="550" y="22"/>
                </a:lnTo>
                <a:lnTo>
                  <a:pt x="547" y="21"/>
                </a:lnTo>
                <a:lnTo>
                  <a:pt x="548" y="20"/>
                </a:lnTo>
                <a:lnTo>
                  <a:pt x="547" y="20"/>
                </a:lnTo>
                <a:lnTo>
                  <a:pt x="541" y="18"/>
                </a:lnTo>
                <a:lnTo>
                  <a:pt x="540" y="18"/>
                </a:lnTo>
                <a:lnTo>
                  <a:pt x="539" y="18"/>
                </a:lnTo>
                <a:lnTo>
                  <a:pt x="538" y="18"/>
                </a:lnTo>
                <a:lnTo>
                  <a:pt x="537" y="19"/>
                </a:lnTo>
                <a:lnTo>
                  <a:pt x="536" y="20"/>
                </a:lnTo>
                <a:lnTo>
                  <a:pt x="536" y="19"/>
                </a:lnTo>
                <a:lnTo>
                  <a:pt x="535" y="18"/>
                </a:lnTo>
                <a:lnTo>
                  <a:pt x="534" y="19"/>
                </a:lnTo>
                <a:lnTo>
                  <a:pt x="527" y="19"/>
                </a:lnTo>
                <a:lnTo>
                  <a:pt x="527" y="19"/>
                </a:lnTo>
                <a:lnTo>
                  <a:pt x="524" y="20"/>
                </a:lnTo>
                <a:lnTo>
                  <a:pt x="521" y="20"/>
                </a:lnTo>
                <a:lnTo>
                  <a:pt x="520" y="19"/>
                </a:lnTo>
                <a:lnTo>
                  <a:pt x="519" y="20"/>
                </a:lnTo>
                <a:lnTo>
                  <a:pt x="515" y="20"/>
                </a:lnTo>
                <a:lnTo>
                  <a:pt x="516" y="20"/>
                </a:lnTo>
                <a:lnTo>
                  <a:pt x="517" y="19"/>
                </a:lnTo>
                <a:lnTo>
                  <a:pt x="513" y="19"/>
                </a:lnTo>
                <a:lnTo>
                  <a:pt x="511" y="18"/>
                </a:lnTo>
                <a:lnTo>
                  <a:pt x="510" y="17"/>
                </a:lnTo>
                <a:lnTo>
                  <a:pt x="504" y="17"/>
                </a:lnTo>
                <a:lnTo>
                  <a:pt x="499" y="18"/>
                </a:lnTo>
                <a:lnTo>
                  <a:pt x="495" y="16"/>
                </a:lnTo>
                <a:lnTo>
                  <a:pt x="492" y="16"/>
                </a:lnTo>
                <a:lnTo>
                  <a:pt x="492" y="16"/>
                </a:lnTo>
                <a:lnTo>
                  <a:pt x="488" y="15"/>
                </a:lnTo>
                <a:lnTo>
                  <a:pt x="485" y="15"/>
                </a:lnTo>
                <a:lnTo>
                  <a:pt x="486" y="13"/>
                </a:lnTo>
                <a:lnTo>
                  <a:pt x="483" y="13"/>
                </a:lnTo>
                <a:lnTo>
                  <a:pt x="479" y="12"/>
                </a:lnTo>
                <a:lnTo>
                  <a:pt x="475" y="12"/>
                </a:lnTo>
                <a:lnTo>
                  <a:pt x="473" y="13"/>
                </a:lnTo>
                <a:lnTo>
                  <a:pt x="466" y="13"/>
                </a:lnTo>
                <a:lnTo>
                  <a:pt x="467" y="13"/>
                </a:lnTo>
                <a:lnTo>
                  <a:pt x="468" y="13"/>
                </a:lnTo>
                <a:lnTo>
                  <a:pt x="469" y="12"/>
                </a:lnTo>
                <a:lnTo>
                  <a:pt x="468" y="12"/>
                </a:lnTo>
                <a:lnTo>
                  <a:pt x="466" y="12"/>
                </a:lnTo>
                <a:lnTo>
                  <a:pt x="457" y="13"/>
                </a:lnTo>
                <a:lnTo>
                  <a:pt x="452" y="13"/>
                </a:lnTo>
                <a:lnTo>
                  <a:pt x="454" y="12"/>
                </a:lnTo>
                <a:lnTo>
                  <a:pt x="455" y="11"/>
                </a:lnTo>
                <a:lnTo>
                  <a:pt x="447" y="11"/>
                </a:lnTo>
                <a:lnTo>
                  <a:pt x="446" y="11"/>
                </a:lnTo>
                <a:lnTo>
                  <a:pt x="452" y="11"/>
                </a:lnTo>
                <a:lnTo>
                  <a:pt x="450" y="10"/>
                </a:lnTo>
                <a:lnTo>
                  <a:pt x="449" y="10"/>
                </a:lnTo>
                <a:lnTo>
                  <a:pt x="449" y="10"/>
                </a:lnTo>
                <a:lnTo>
                  <a:pt x="453" y="9"/>
                </a:lnTo>
                <a:lnTo>
                  <a:pt x="455" y="8"/>
                </a:lnTo>
                <a:lnTo>
                  <a:pt x="452" y="7"/>
                </a:lnTo>
                <a:lnTo>
                  <a:pt x="448" y="7"/>
                </a:lnTo>
                <a:lnTo>
                  <a:pt x="447" y="8"/>
                </a:lnTo>
                <a:lnTo>
                  <a:pt x="447" y="8"/>
                </a:lnTo>
                <a:lnTo>
                  <a:pt x="445" y="8"/>
                </a:lnTo>
                <a:lnTo>
                  <a:pt x="446" y="7"/>
                </a:lnTo>
                <a:lnTo>
                  <a:pt x="446" y="6"/>
                </a:lnTo>
                <a:lnTo>
                  <a:pt x="444" y="6"/>
                </a:lnTo>
                <a:lnTo>
                  <a:pt x="442" y="6"/>
                </a:lnTo>
                <a:lnTo>
                  <a:pt x="436" y="7"/>
                </a:lnTo>
                <a:lnTo>
                  <a:pt x="437" y="7"/>
                </a:lnTo>
                <a:lnTo>
                  <a:pt x="435" y="7"/>
                </a:lnTo>
                <a:lnTo>
                  <a:pt x="432" y="8"/>
                </a:lnTo>
                <a:lnTo>
                  <a:pt x="430" y="8"/>
                </a:lnTo>
                <a:lnTo>
                  <a:pt x="429" y="7"/>
                </a:lnTo>
                <a:lnTo>
                  <a:pt x="428" y="7"/>
                </a:lnTo>
                <a:lnTo>
                  <a:pt x="427" y="7"/>
                </a:lnTo>
                <a:lnTo>
                  <a:pt x="429" y="6"/>
                </a:lnTo>
                <a:lnTo>
                  <a:pt x="429" y="3"/>
                </a:lnTo>
                <a:lnTo>
                  <a:pt x="427" y="3"/>
                </a:lnTo>
                <a:lnTo>
                  <a:pt x="426" y="3"/>
                </a:lnTo>
                <a:lnTo>
                  <a:pt x="425" y="3"/>
                </a:lnTo>
                <a:lnTo>
                  <a:pt x="424" y="5"/>
                </a:lnTo>
                <a:lnTo>
                  <a:pt x="423" y="5"/>
                </a:lnTo>
                <a:lnTo>
                  <a:pt x="420" y="5"/>
                </a:lnTo>
                <a:lnTo>
                  <a:pt x="418" y="6"/>
                </a:lnTo>
                <a:lnTo>
                  <a:pt x="418" y="7"/>
                </a:lnTo>
                <a:lnTo>
                  <a:pt x="417" y="8"/>
                </a:lnTo>
                <a:lnTo>
                  <a:pt x="416" y="9"/>
                </a:lnTo>
                <a:lnTo>
                  <a:pt x="415" y="9"/>
                </a:lnTo>
                <a:lnTo>
                  <a:pt x="415" y="8"/>
                </a:lnTo>
                <a:lnTo>
                  <a:pt x="415" y="8"/>
                </a:lnTo>
                <a:lnTo>
                  <a:pt x="413" y="8"/>
                </a:lnTo>
                <a:lnTo>
                  <a:pt x="414" y="7"/>
                </a:lnTo>
                <a:lnTo>
                  <a:pt x="412" y="8"/>
                </a:lnTo>
                <a:lnTo>
                  <a:pt x="409" y="7"/>
                </a:lnTo>
                <a:lnTo>
                  <a:pt x="407" y="7"/>
                </a:lnTo>
                <a:lnTo>
                  <a:pt x="406" y="7"/>
                </a:lnTo>
                <a:lnTo>
                  <a:pt x="411" y="6"/>
                </a:lnTo>
                <a:lnTo>
                  <a:pt x="412" y="6"/>
                </a:lnTo>
                <a:lnTo>
                  <a:pt x="415" y="6"/>
                </a:lnTo>
                <a:lnTo>
                  <a:pt x="420" y="5"/>
                </a:lnTo>
                <a:lnTo>
                  <a:pt x="422" y="3"/>
                </a:lnTo>
                <a:lnTo>
                  <a:pt x="422" y="2"/>
                </a:lnTo>
                <a:lnTo>
                  <a:pt x="422" y="2"/>
                </a:lnTo>
                <a:lnTo>
                  <a:pt x="417" y="2"/>
                </a:lnTo>
                <a:lnTo>
                  <a:pt x="417" y="2"/>
                </a:lnTo>
                <a:lnTo>
                  <a:pt x="418" y="1"/>
                </a:lnTo>
                <a:lnTo>
                  <a:pt x="417" y="1"/>
                </a:lnTo>
                <a:lnTo>
                  <a:pt x="415" y="1"/>
                </a:lnTo>
                <a:lnTo>
                  <a:pt x="414" y="0"/>
                </a:lnTo>
                <a:lnTo>
                  <a:pt x="414" y="0"/>
                </a:lnTo>
                <a:lnTo>
                  <a:pt x="412" y="0"/>
                </a:lnTo>
                <a:lnTo>
                  <a:pt x="411" y="0"/>
                </a:lnTo>
                <a:lnTo>
                  <a:pt x="408" y="1"/>
                </a:lnTo>
                <a:lnTo>
                  <a:pt x="407" y="2"/>
                </a:lnTo>
                <a:lnTo>
                  <a:pt x="407" y="1"/>
                </a:lnTo>
                <a:lnTo>
                  <a:pt x="406" y="2"/>
                </a:lnTo>
                <a:lnTo>
                  <a:pt x="405" y="3"/>
                </a:lnTo>
                <a:lnTo>
                  <a:pt x="404" y="2"/>
                </a:lnTo>
                <a:lnTo>
                  <a:pt x="403" y="2"/>
                </a:lnTo>
                <a:lnTo>
                  <a:pt x="402" y="3"/>
                </a:lnTo>
                <a:lnTo>
                  <a:pt x="399" y="3"/>
                </a:lnTo>
                <a:lnTo>
                  <a:pt x="397" y="5"/>
                </a:lnTo>
                <a:lnTo>
                  <a:pt x="388" y="7"/>
                </a:lnTo>
                <a:lnTo>
                  <a:pt x="383" y="8"/>
                </a:lnTo>
                <a:lnTo>
                  <a:pt x="383" y="8"/>
                </a:lnTo>
                <a:lnTo>
                  <a:pt x="377" y="8"/>
                </a:lnTo>
                <a:lnTo>
                  <a:pt x="374" y="8"/>
                </a:lnTo>
                <a:lnTo>
                  <a:pt x="374" y="8"/>
                </a:lnTo>
                <a:lnTo>
                  <a:pt x="371" y="9"/>
                </a:lnTo>
                <a:lnTo>
                  <a:pt x="369" y="10"/>
                </a:lnTo>
                <a:lnTo>
                  <a:pt x="368" y="9"/>
                </a:lnTo>
                <a:lnTo>
                  <a:pt x="371" y="8"/>
                </a:lnTo>
                <a:lnTo>
                  <a:pt x="373" y="7"/>
                </a:lnTo>
                <a:lnTo>
                  <a:pt x="376" y="7"/>
                </a:lnTo>
                <a:lnTo>
                  <a:pt x="377" y="7"/>
                </a:lnTo>
                <a:lnTo>
                  <a:pt x="372" y="7"/>
                </a:lnTo>
                <a:lnTo>
                  <a:pt x="368" y="8"/>
                </a:lnTo>
                <a:lnTo>
                  <a:pt x="364" y="9"/>
                </a:lnTo>
                <a:lnTo>
                  <a:pt x="362" y="9"/>
                </a:lnTo>
                <a:lnTo>
                  <a:pt x="362" y="10"/>
                </a:lnTo>
                <a:lnTo>
                  <a:pt x="359" y="10"/>
                </a:lnTo>
                <a:lnTo>
                  <a:pt x="359" y="10"/>
                </a:lnTo>
                <a:lnTo>
                  <a:pt x="361" y="11"/>
                </a:lnTo>
                <a:lnTo>
                  <a:pt x="361" y="12"/>
                </a:lnTo>
                <a:lnTo>
                  <a:pt x="361" y="12"/>
                </a:lnTo>
                <a:lnTo>
                  <a:pt x="364" y="12"/>
                </a:lnTo>
                <a:lnTo>
                  <a:pt x="359" y="12"/>
                </a:lnTo>
                <a:lnTo>
                  <a:pt x="358" y="12"/>
                </a:lnTo>
                <a:lnTo>
                  <a:pt x="356" y="13"/>
                </a:lnTo>
                <a:lnTo>
                  <a:pt x="356" y="15"/>
                </a:lnTo>
                <a:lnTo>
                  <a:pt x="354" y="16"/>
                </a:lnTo>
                <a:lnTo>
                  <a:pt x="352" y="16"/>
                </a:lnTo>
                <a:lnTo>
                  <a:pt x="352" y="16"/>
                </a:lnTo>
                <a:lnTo>
                  <a:pt x="354" y="15"/>
                </a:lnTo>
                <a:lnTo>
                  <a:pt x="351" y="15"/>
                </a:lnTo>
                <a:lnTo>
                  <a:pt x="354" y="13"/>
                </a:lnTo>
                <a:lnTo>
                  <a:pt x="355" y="12"/>
                </a:lnTo>
                <a:lnTo>
                  <a:pt x="357" y="12"/>
                </a:lnTo>
                <a:lnTo>
                  <a:pt x="358" y="11"/>
                </a:lnTo>
                <a:lnTo>
                  <a:pt x="356" y="11"/>
                </a:lnTo>
                <a:lnTo>
                  <a:pt x="348" y="13"/>
                </a:lnTo>
                <a:lnTo>
                  <a:pt x="347" y="13"/>
                </a:lnTo>
                <a:lnTo>
                  <a:pt x="351" y="12"/>
                </a:lnTo>
                <a:lnTo>
                  <a:pt x="347" y="13"/>
                </a:lnTo>
                <a:lnTo>
                  <a:pt x="335" y="17"/>
                </a:lnTo>
                <a:lnTo>
                  <a:pt x="331" y="17"/>
                </a:lnTo>
                <a:lnTo>
                  <a:pt x="326" y="18"/>
                </a:lnTo>
                <a:lnTo>
                  <a:pt x="328" y="17"/>
                </a:lnTo>
                <a:lnTo>
                  <a:pt x="330" y="16"/>
                </a:lnTo>
                <a:lnTo>
                  <a:pt x="332" y="16"/>
                </a:lnTo>
                <a:lnTo>
                  <a:pt x="330" y="16"/>
                </a:lnTo>
                <a:lnTo>
                  <a:pt x="324" y="18"/>
                </a:lnTo>
                <a:lnTo>
                  <a:pt x="322" y="19"/>
                </a:lnTo>
                <a:lnTo>
                  <a:pt x="323" y="20"/>
                </a:lnTo>
                <a:lnTo>
                  <a:pt x="325" y="21"/>
                </a:lnTo>
                <a:lnTo>
                  <a:pt x="324" y="21"/>
                </a:lnTo>
                <a:lnTo>
                  <a:pt x="321" y="20"/>
                </a:lnTo>
                <a:lnTo>
                  <a:pt x="321" y="20"/>
                </a:lnTo>
                <a:lnTo>
                  <a:pt x="318" y="19"/>
                </a:lnTo>
                <a:lnTo>
                  <a:pt x="316" y="20"/>
                </a:lnTo>
                <a:lnTo>
                  <a:pt x="308" y="22"/>
                </a:lnTo>
                <a:lnTo>
                  <a:pt x="310" y="23"/>
                </a:lnTo>
                <a:lnTo>
                  <a:pt x="314" y="23"/>
                </a:lnTo>
                <a:lnTo>
                  <a:pt x="313" y="23"/>
                </a:lnTo>
                <a:lnTo>
                  <a:pt x="307" y="23"/>
                </a:lnTo>
                <a:lnTo>
                  <a:pt x="305" y="23"/>
                </a:lnTo>
                <a:lnTo>
                  <a:pt x="305" y="25"/>
                </a:lnTo>
                <a:lnTo>
                  <a:pt x="305" y="26"/>
                </a:lnTo>
                <a:lnTo>
                  <a:pt x="306" y="27"/>
                </a:lnTo>
                <a:lnTo>
                  <a:pt x="305" y="27"/>
                </a:lnTo>
                <a:lnTo>
                  <a:pt x="303" y="26"/>
                </a:lnTo>
                <a:lnTo>
                  <a:pt x="302" y="27"/>
                </a:lnTo>
                <a:lnTo>
                  <a:pt x="296" y="29"/>
                </a:lnTo>
                <a:lnTo>
                  <a:pt x="295" y="30"/>
                </a:lnTo>
                <a:lnTo>
                  <a:pt x="297" y="28"/>
                </a:lnTo>
                <a:lnTo>
                  <a:pt x="293" y="30"/>
                </a:lnTo>
                <a:lnTo>
                  <a:pt x="286" y="33"/>
                </a:lnTo>
                <a:lnTo>
                  <a:pt x="277" y="36"/>
                </a:lnTo>
                <a:lnTo>
                  <a:pt x="268" y="36"/>
                </a:lnTo>
                <a:lnTo>
                  <a:pt x="261" y="37"/>
                </a:lnTo>
                <a:lnTo>
                  <a:pt x="253" y="38"/>
                </a:lnTo>
                <a:lnTo>
                  <a:pt x="251" y="38"/>
                </a:lnTo>
                <a:lnTo>
                  <a:pt x="254" y="37"/>
                </a:lnTo>
                <a:lnTo>
                  <a:pt x="254" y="37"/>
                </a:lnTo>
                <a:lnTo>
                  <a:pt x="249" y="37"/>
                </a:lnTo>
                <a:lnTo>
                  <a:pt x="249" y="37"/>
                </a:lnTo>
                <a:lnTo>
                  <a:pt x="249" y="38"/>
                </a:lnTo>
                <a:lnTo>
                  <a:pt x="245" y="39"/>
                </a:lnTo>
                <a:lnTo>
                  <a:pt x="243" y="41"/>
                </a:lnTo>
                <a:lnTo>
                  <a:pt x="240" y="42"/>
                </a:lnTo>
                <a:lnTo>
                  <a:pt x="241" y="43"/>
                </a:lnTo>
                <a:lnTo>
                  <a:pt x="242" y="42"/>
                </a:lnTo>
                <a:lnTo>
                  <a:pt x="240" y="43"/>
                </a:lnTo>
                <a:lnTo>
                  <a:pt x="235" y="45"/>
                </a:lnTo>
                <a:lnTo>
                  <a:pt x="234" y="45"/>
                </a:lnTo>
                <a:lnTo>
                  <a:pt x="233" y="45"/>
                </a:lnTo>
                <a:lnTo>
                  <a:pt x="235" y="45"/>
                </a:lnTo>
                <a:lnTo>
                  <a:pt x="237" y="43"/>
                </a:lnTo>
                <a:lnTo>
                  <a:pt x="236" y="43"/>
                </a:lnTo>
                <a:lnTo>
                  <a:pt x="232" y="45"/>
                </a:lnTo>
                <a:lnTo>
                  <a:pt x="230" y="45"/>
                </a:lnTo>
                <a:lnTo>
                  <a:pt x="235" y="47"/>
                </a:lnTo>
                <a:lnTo>
                  <a:pt x="235" y="48"/>
                </a:lnTo>
                <a:lnTo>
                  <a:pt x="235" y="49"/>
                </a:lnTo>
                <a:lnTo>
                  <a:pt x="237" y="50"/>
                </a:lnTo>
                <a:lnTo>
                  <a:pt x="240" y="50"/>
                </a:lnTo>
                <a:lnTo>
                  <a:pt x="242" y="53"/>
                </a:lnTo>
                <a:lnTo>
                  <a:pt x="245" y="56"/>
                </a:lnTo>
                <a:lnTo>
                  <a:pt x="246" y="57"/>
                </a:lnTo>
                <a:lnTo>
                  <a:pt x="245" y="58"/>
                </a:lnTo>
                <a:lnTo>
                  <a:pt x="246" y="58"/>
                </a:lnTo>
                <a:lnTo>
                  <a:pt x="245" y="59"/>
                </a:lnTo>
                <a:lnTo>
                  <a:pt x="244" y="61"/>
                </a:lnTo>
                <a:lnTo>
                  <a:pt x="244" y="61"/>
                </a:lnTo>
                <a:lnTo>
                  <a:pt x="244" y="61"/>
                </a:lnTo>
                <a:lnTo>
                  <a:pt x="242" y="62"/>
                </a:lnTo>
                <a:lnTo>
                  <a:pt x="241" y="65"/>
                </a:lnTo>
                <a:lnTo>
                  <a:pt x="243" y="65"/>
                </a:lnTo>
                <a:lnTo>
                  <a:pt x="244" y="66"/>
                </a:lnTo>
                <a:lnTo>
                  <a:pt x="247" y="67"/>
                </a:lnTo>
                <a:lnTo>
                  <a:pt x="247" y="67"/>
                </a:lnTo>
                <a:lnTo>
                  <a:pt x="250" y="66"/>
                </a:lnTo>
                <a:lnTo>
                  <a:pt x="251" y="65"/>
                </a:lnTo>
                <a:lnTo>
                  <a:pt x="254" y="65"/>
                </a:lnTo>
                <a:lnTo>
                  <a:pt x="254" y="65"/>
                </a:lnTo>
                <a:lnTo>
                  <a:pt x="255" y="63"/>
                </a:lnTo>
                <a:lnTo>
                  <a:pt x="256" y="63"/>
                </a:lnTo>
                <a:lnTo>
                  <a:pt x="257" y="63"/>
                </a:lnTo>
                <a:lnTo>
                  <a:pt x="251" y="67"/>
                </a:lnTo>
                <a:lnTo>
                  <a:pt x="252" y="67"/>
                </a:lnTo>
                <a:lnTo>
                  <a:pt x="255" y="66"/>
                </a:lnTo>
                <a:lnTo>
                  <a:pt x="258" y="66"/>
                </a:lnTo>
                <a:lnTo>
                  <a:pt x="262" y="66"/>
                </a:lnTo>
                <a:lnTo>
                  <a:pt x="263" y="66"/>
                </a:lnTo>
                <a:lnTo>
                  <a:pt x="263" y="67"/>
                </a:lnTo>
                <a:lnTo>
                  <a:pt x="262" y="68"/>
                </a:lnTo>
                <a:lnTo>
                  <a:pt x="258" y="68"/>
                </a:lnTo>
                <a:lnTo>
                  <a:pt x="255" y="70"/>
                </a:lnTo>
                <a:lnTo>
                  <a:pt x="254" y="72"/>
                </a:lnTo>
                <a:lnTo>
                  <a:pt x="256" y="73"/>
                </a:lnTo>
                <a:lnTo>
                  <a:pt x="257" y="73"/>
                </a:lnTo>
                <a:lnTo>
                  <a:pt x="260" y="71"/>
                </a:lnTo>
                <a:lnTo>
                  <a:pt x="261" y="71"/>
                </a:lnTo>
                <a:lnTo>
                  <a:pt x="258" y="72"/>
                </a:lnTo>
                <a:lnTo>
                  <a:pt x="260" y="72"/>
                </a:lnTo>
                <a:lnTo>
                  <a:pt x="261" y="72"/>
                </a:lnTo>
                <a:lnTo>
                  <a:pt x="264" y="71"/>
                </a:lnTo>
                <a:lnTo>
                  <a:pt x="266" y="73"/>
                </a:lnTo>
                <a:lnTo>
                  <a:pt x="270" y="72"/>
                </a:lnTo>
                <a:lnTo>
                  <a:pt x="273" y="71"/>
                </a:lnTo>
                <a:lnTo>
                  <a:pt x="275" y="71"/>
                </a:lnTo>
                <a:lnTo>
                  <a:pt x="277" y="71"/>
                </a:lnTo>
                <a:lnTo>
                  <a:pt x="281" y="71"/>
                </a:lnTo>
                <a:lnTo>
                  <a:pt x="278" y="72"/>
                </a:lnTo>
                <a:lnTo>
                  <a:pt x="272" y="73"/>
                </a:lnTo>
                <a:lnTo>
                  <a:pt x="270" y="73"/>
                </a:lnTo>
                <a:lnTo>
                  <a:pt x="271" y="75"/>
                </a:lnTo>
                <a:lnTo>
                  <a:pt x="272" y="73"/>
                </a:lnTo>
                <a:lnTo>
                  <a:pt x="277" y="72"/>
                </a:lnTo>
                <a:lnTo>
                  <a:pt x="278" y="73"/>
                </a:lnTo>
                <a:lnTo>
                  <a:pt x="277" y="73"/>
                </a:lnTo>
                <a:lnTo>
                  <a:pt x="275" y="75"/>
                </a:lnTo>
                <a:lnTo>
                  <a:pt x="270" y="75"/>
                </a:lnTo>
                <a:lnTo>
                  <a:pt x="267" y="76"/>
                </a:lnTo>
                <a:lnTo>
                  <a:pt x="265" y="76"/>
                </a:lnTo>
                <a:lnTo>
                  <a:pt x="261" y="77"/>
                </a:lnTo>
                <a:lnTo>
                  <a:pt x="260" y="76"/>
                </a:lnTo>
                <a:lnTo>
                  <a:pt x="260" y="76"/>
                </a:lnTo>
                <a:lnTo>
                  <a:pt x="258" y="75"/>
                </a:lnTo>
                <a:lnTo>
                  <a:pt x="258" y="75"/>
                </a:lnTo>
                <a:lnTo>
                  <a:pt x="257" y="75"/>
                </a:lnTo>
                <a:lnTo>
                  <a:pt x="257" y="73"/>
                </a:lnTo>
                <a:lnTo>
                  <a:pt x="256" y="73"/>
                </a:lnTo>
                <a:lnTo>
                  <a:pt x="254" y="75"/>
                </a:lnTo>
                <a:lnTo>
                  <a:pt x="251" y="75"/>
                </a:lnTo>
                <a:lnTo>
                  <a:pt x="250" y="73"/>
                </a:lnTo>
                <a:lnTo>
                  <a:pt x="251" y="71"/>
                </a:lnTo>
                <a:lnTo>
                  <a:pt x="249" y="73"/>
                </a:lnTo>
                <a:lnTo>
                  <a:pt x="249" y="75"/>
                </a:lnTo>
                <a:lnTo>
                  <a:pt x="246" y="76"/>
                </a:lnTo>
                <a:lnTo>
                  <a:pt x="244" y="77"/>
                </a:lnTo>
                <a:lnTo>
                  <a:pt x="245" y="78"/>
                </a:lnTo>
                <a:lnTo>
                  <a:pt x="245" y="77"/>
                </a:lnTo>
                <a:lnTo>
                  <a:pt x="249" y="76"/>
                </a:lnTo>
                <a:lnTo>
                  <a:pt x="251" y="76"/>
                </a:lnTo>
                <a:lnTo>
                  <a:pt x="255" y="77"/>
                </a:lnTo>
                <a:lnTo>
                  <a:pt x="255" y="78"/>
                </a:lnTo>
                <a:lnTo>
                  <a:pt x="254" y="79"/>
                </a:lnTo>
                <a:lnTo>
                  <a:pt x="251" y="80"/>
                </a:lnTo>
                <a:lnTo>
                  <a:pt x="252" y="79"/>
                </a:lnTo>
                <a:lnTo>
                  <a:pt x="252" y="79"/>
                </a:lnTo>
                <a:lnTo>
                  <a:pt x="249" y="78"/>
                </a:lnTo>
                <a:lnTo>
                  <a:pt x="243" y="80"/>
                </a:lnTo>
                <a:lnTo>
                  <a:pt x="241" y="81"/>
                </a:lnTo>
                <a:lnTo>
                  <a:pt x="240" y="82"/>
                </a:lnTo>
                <a:lnTo>
                  <a:pt x="239" y="82"/>
                </a:lnTo>
                <a:lnTo>
                  <a:pt x="237" y="82"/>
                </a:lnTo>
                <a:lnTo>
                  <a:pt x="237" y="81"/>
                </a:lnTo>
                <a:lnTo>
                  <a:pt x="237" y="81"/>
                </a:lnTo>
                <a:lnTo>
                  <a:pt x="235" y="81"/>
                </a:lnTo>
                <a:lnTo>
                  <a:pt x="234" y="81"/>
                </a:lnTo>
                <a:lnTo>
                  <a:pt x="234" y="81"/>
                </a:lnTo>
                <a:lnTo>
                  <a:pt x="231" y="81"/>
                </a:lnTo>
                <a:lnTo>
                  <a:pt x="231" y="81"/>
                </a:lnTo>
                <a:lnTo>
                  <a:pt x="230" y="81"/>
                </a:lnTo>
                <a:lnTo>
                  <a:pt x="231" y="80"/>
                </a:lnTo>
                <a:lnTo>
                  <a:pt x="229" y="80"/>
                </a:lnTo>
                <a:lnTo>
                  <a:pt x="227" y="81"/>
                </a:lnTo>
                <a:lnTo>
                  <a:pt x="226" y="81"/>
                </a:lnTo>
                <a:lnTo>
                  <a:pt x="224" y="81"/>
                </a:lnTo>
                <a:lnTo>
                  <a:pt x="219" y="81"/>
                </a:lnTo>
                <a:lnTo>
                  <a:pt x="217" y="80"/>
                </a:lnTo>
                <a:lnTo>
                  <a:pt x="220" y="79"/>
                </a:lnTo>
                <a:lnTo>
                  <a:pt x="216" y="79"/>
                </a:lnTo>
                <a:lnTo>
                  <a:pt x="222" y="77"/>
                </a:lnTo>
                <a:lnTo>
                  <a:pt x="223" y="76"/>
                </a:lnTo>
                <a:lnTo>
                  <a:pt x="225" y="75"/>
                </a:lnTo>
                <a:lnTo>
                  <a:pt x="226" y="73"/>
                </a:lnTo>
                <a:lnTo>
                  <a:pt x="225" y="72"/>
                </a:lnTo>
                <a:lnTo>
                  <a:pt x="226" y="72"/>
                </a:lnTo>
                <a:lnTo>
                  <a:pt x="231" y="72"/>
                </a:lnTo>
                <a:lnTo>
                  <a:pt x="226" y="72"/>
                </a:lnTo>
                <a:lnTo>
                  <a:pt x="223" y="72"/>
                </a:lnTo>
                <a:lnTo>
                  <a:pt x="217" y="72"/>
                </a:lnTo>
                <a:lnTo>
                  <a:pt x="211" y="75"/>
                </a:lnTo>
                <a:lnTo>
                  <a:pt x="207" y="76"/>
                </a:lnTo>
                <a:lnTo>
                  <a:pt x="205" y="76"/>
                </a:lnTo>
                <a:lnTo>
                  <a:pt x="205" y="76"/>
                </a:lnTo>
                <a:lnTo>
                  <a:pt x="201" y="77"/>
                </a:lnTo>
                <a:lnTo>
                  <a:pt x="196" y="78"/>
                </a:lnTo>
                <a:lnTo>
                  <a:pt x="197" y="79"/>
                </a:lnTo>
                <a:lnTo>
                  <a:pt x="197" y="80"/>
                </a:lnTo>
                <a:lnTo>
                  <a:pt x="196" y="80"/>
                </a:lnTo>
                <a:lnTo>
                  <a:pt x="191" y="80"/>
                </a:lnTo>
                <a:lnTo>
                  <a:pt x="191" y="80"/>
                </a:lnTo>
                <a:lnTo>
                  <a:pt x="191" y="79"/>
                </a:lnTo>
                <a:lnTo>
                  <a:pt x="189" y="79"/>
                </a:lnTo>
                <a:lnTo>
                  <a:pt x="181" y="81"/>
                </a:lnTo>
                <a:lnTo>
                  <a:pt x="179" y="82"/>
                </a:lnTo>
                <a:lnTo>
                  <a:pt x="177" y="82"/>
                </a:lnTo>
                <a:lnTo>
                  <a:pt x="176" y="82"/>
                </a:lnTo>
                <a:lnTo>
                  <a:pt x="174" y="83"/>
                </a:lnTo>
                <a:lnTo>
                  <a:pt x="171" y="84"/>
                </a:lnTo>
                <a:lnTo>
                  <a:pt x="171" y="83"/>
                </a:lnTo>
                <a:lnTo>
                  <a:pt x="168" y="84"/>
                </a:lnTo>
                <a:lnTo>
                  <a:pt x="166" y="86"/>
                </a:lnTo>
                <a:lnTo>
                  <a:pt x="165" y="86"/>
                </a:lnTo>
                <a:lnTo>
                  <a:pt x="165" y="86"/>
                </a:lnTo>
                <a:lnTo>
                  <a:pt x="158" y="88"/>
                </a:lnTo>
                <a:lnTo>
                  <a:pt x="156" y="88"/>
                </a:lnTo>
                <a:lnTo>
                  <a:pt x="160" y="86"/>
                </a:lnTo>
                <a:lnTo>
                  <a:pt x="156" y="87"/>
                </a:lnTo>
                <a:lnTo>
                  <a:pt x="155" y="88"/>
                </a:lnTo>
                <a:lnTo>
                  <a:pt x="155" y="89"/>
                </a:lnTo>
                <a:lnTo>
                  <a:pt x="160" y="91"/>
                </a:lnTo>
                <a:lnTo>
                  <a:pt x="164" y="92"/>
                </a:lnTo>
                <a:lnTo>
                  <a:pt x="165" y="92"/>
                </a:lnTo>
                <a:lnTo>
                  <a:pt x="165" y="92"/>
                </a:lnTo>
                <a:lnTo>
                  <a:pt x="172" y="93"/>
                </a:lnTo>
                <a:lnTo>
                  <a:pt x="166" y="94"/>
                </a:lnTo>
                <a:lnTo>
                  <a:pt x="163" y="96"/>
                </a:lnTo>
                <a:lnTo>
                  <a:pt x="161" y="96"/>
                </a:lnTo>
                <a:lnTo>
                  <a:pt x="163" y="94"/>
                </a:lnTo>
                <a:lnTo>
                  <a:pt x="163" y="93"/>
                </a:lnTo>
                <a:lnTo>
                  <a:pt x="161" y="94"/>
                </a:lnTo>
                <a:lnTo>
                  <a:pt x="160" y="98"/>
                </a:lnTo>
                <a:lnTo>
                  <a:pt x="160" y="99"/>
                </a:lnTo>
                <a:lnTo>
                  <a:pt x="158" y="101"/>
                </a:lnTo>
                <a:lnTo>
                  <a:pt x="155" y="102"/>
                </a:lnTo>
                <a:lnTo>
                  <a:pt x="155" y="103"/>
                </a:lnTo>
                <a:lnTo>
                  <a:pt x="156" y="104"/>
                </a:lnTo>
                <a:lnTo>
                  <a:pt x="156" y="104"/>
                </a:lnTo>
                <a:lnTo>
                  <a:pt x="164" y="106"/>
                </a:lnTo>
                <a:lnTo>
                  <a:pt x="166" y="106"/>
                </a:lnTo>
                <a:lnTo>
                  <a:pt x="170" y="107"/>
                </a:lnTo>
                <a:lnTo>
                  <a:pt x="179" y="104"/>
                </a:lnTo>
                <a:lnTo>
                  <a:pt x="183" y="106"/>
                </a:lnTo>
                <a:lnTo>
                  <a:pt x="187" y="104"/>
                </a:lnTo>
                <a:lnTo>
                  <a:pt x="190" y="106"/>
                </a:lnTo>
                <a:lnTo>
                  <a:pt x="190" y="108"/>
                </a:lnTo>
                <a:lnTo>
                  <a:pt x="191" y="107"/>
                </a:lnTo>
                <a:lnTo>
                  <a:pt x="193" y="106"/>
                </a:lnTo>
                <a:lnTo>
                  <a:pt x="192" y="106"/>
                </a:lnTo>
                <a:lnTo>
                  <a:pt x="191" y="104"/>
                </a:lnTo>
                <a:lnTo>
                  <a:pt x="191" y="103"/>
                </a:lnTo>
                <a:lnTo>
                  <a:pt x="195" y="103"/>
                </a:lnTo>
                <a:lnTo>
                  <a:pt x="194" y="104"/>
                </a:lnTo>
                <a:lnTo>
                  <a:pt x="195" y="106"/>
                </a:lnTo>
                <a:lnTo>
                  <a:pt x="192" y="109"/>
                </a:lnTo>
                <a:lnTo>
                  <a:pt x="193" y="109"/>
                </a:lnTo>
                <a:lnTo>
                  <a:pt x="196" y="108"/>
                </a:lnTo>
                <a:lnTo>
                  <a:pt x="201" y="106"/>
                </a:lnTo>
                <a:lnTo>
                  <a:pt x="205" y="104"/>
                </a:lnTo>
                <a:lnTo>
                  <a:pt x="209" y="103"/>
                </a:lnTo>
                <a:lnTo>
                  <a:pt x="214" y="102"/>
                </a:lnTo>
                <a:lnTo>
                  <a:pt x="215" y="101"/>
                </a:lnTo>
                <a:lnTo>
                  <a:pt x="217" y="101"/>
                </a:lnTo>
                <a:lnTo>
                  <a:pt x="220" y="101"/>
                </a:lnTo>
                <a:lnTo>
                  <a:pt x="222" y="100"/>
                </a:lnTo>
                <a:lnTo>
                  <a:pt x="226" y="100"/>
                </a:lnTo>
                <a:lnTo>
                  <a:pt x="226" y="101"/>
                </a:lnTo>
                <a:lnTo>
                  <a:pt x="226" y="101"/>
                </a:lnTo>
                <a:lnTo>
                  <a:pt x="224" y="103"/>
                </a:lnTo>
                <a:lnTo>
                  <a:pt x="222" y="104"/>
                </a:lnTo>
                <a:lnTo>
                  <a:pt x="220" y="106"/>
                </a:lnTo>
                <a:lnTo>
                  <a:pt x="215" y="107"/>
                </a:lnTo>
                <a:lnTo>
                  <a:pt x="214" y="106"/>
                </a:lnTo>
                <a:lnTo>
                  <a:pt x="213" y="106"/>
                </a:lnTo>
                <a:lnTo>
                  <a:pt x="211" y="107"/>
                </a:lnTo>
                <a:lnTo>
                  <a:pt x="210" y="108"/>
                </a:lnTo>
                <a:lnTo>
                  <a:pt x="212" y="107"/>
                </a:lnTo>
                <a:lnTo>
                  <a:pt x="213" y="108"/>
                </a:lnTo>
                <a:lnTo>
                  <a:pt x="213" y="109"/>
                </a:lnTo>
                <a:lnTo>
                  <a:pt x="212" y="112"/>
                </a:lnTo>
                <a:lnTo>
                  <a:pt x="210" y="113"/>
                </a:lnTo>
                <a:lnTo>
                  <a:pt x="209" y="113"/>
                </a:lnTo>
                <a:lnTo>
                  <a:pt x="210" y="114"/>
                </a:lnTo>
                <a:lnTo>
                  <a:pt x="209" y="116"/>
                </a:lnTo>
                <a:lnTo>
                  <a:pt x="207" y="116"/>
                </a:lnTo>
                <a:lnTo>
                  <a:pt x="205" y="118"/>
                </a:lnTo>
                <a:lnTo>
                  <a:pt x="201" y="120"/>
                </a:lnTo>
                <a:lnTo>
                  <a:pt x="197" y="121"/>
                </a:lnTo>
                <a:lnTo>
                  <a:pt x="194" y="122"/>
                </a:lnTo>
                <a:lnTo>
                  <a:pt x="192" y="122"/>
                </a:lnTo>
                <a:lnTo>
                  <a:pt x="190" y="122"/>
                </a:lnTo>
                <a:lnTo>
                  <a:pt x="187" y="123"/>
                </a:lnTo>
                <a:lnTo>
                  <a:pt x="185" y="123"/>
                </a:lnTo>
                <a:lnTo>
                  <a:pt x="181" y="123"/>
                </a:lnTo>
                <a:lnTo>
                  <a:pt x="180" y="123"/>
                </a:lnTo>
                <a:lnTo>
                  <a:pt x="184" y="122"/>
                </a:lnTo>
                <a:lnTo>
                  <a:pt x="184" y="122"/>
                </a:lnTo>
                <a:lnTo>
                  <a:pt x="182" y="122"/>
                </a:lnTo>
                <a:lnTo>
                  <a:pt x="180" y="122"/>
                </a:lnTo>
                <a:lnTo>
                  <a:pt x="176" y="124"/>
                </a:lnTo>
                <a:lnTo>
                  <a:pt x="173" y="126"/>
                </a:lnTo>
                <a:lnTo>
                  <a:pt x="166" y="128"/>
                </a:lnTo>
                <a:lnTo>
                  <a:pt x="163" y="129"/>
                </a:lnTo>
                <a:lnTo>
                  <a:pt x="161" y="130"/>
                </a:lnTo>
                <a:lnTo>
                  <a:pt x="159" y="129"/>
                </a:lnTo>
                <a:lnTo>
                  <a:pt x="159" y="129"/>
                </a:lnTo>
                <a:lnTo>
                  <a:pt x="153" y="130"/>
                </a:lnTo>
                <a:lnTo>
                  <a:pt x="148" y="131"/>
                </a:lnTo>
                <a:lnTo>
                  <a:pt x="146" y="132"/>
                </a:lnTo>
                <a:lnTo>
                  <a:pt x="145" y="132"/>
                </a:lnTo>
                <a:lnTo>
                  <a:pt x="145" y="133"/>
                </a:lnTo>
                <a:lnTo>
                  <a:pt x="144" y="134"/>
                </a:lnTo>
                <a:lnTo>
                  <a:pt x="143" y="134"/>
                </a:lnTo>
                <a:lnTo>
                  <a:pt x="140" y="134"/>
                </a:lnTo>
                <a:lnTo>
                  <a:pt x="136" y="134"/>
                </a:lnTo>
                <a:lnTo>
                  <a:pt x="131" y="137"/>
                </a:lnTo>
                <a:lnTo>
                  <a:pt x="129" y="138"/>
                </a:lnTo>
                <a:lnTo>
                  <a:pt x="128" y="137"/>
                </a:lnTo>
                <a:lnTo>
                  <a:pt x="126" y="138"/>
                </a:lnTo>
                <a:lnTo>
                  <a:pt x="119" y="140"/>
                </a:lnTo>
                <a:lnTo>
                  <a:pt x="118" y="141"/>
                </a:lnTo>
                <a:lnTo>
                  <a:pt x="116" y="141"/>
                </a:lnTo>
                <a:lnTo>
                  <a:pt x="114" y="142"/>
                </a:lnTo>
                <a:lnTo>
                  <a:pt x="109" y="146"/>
                </a:lnTo>
                <a:lnTo>
                  <a:pt x="108" y="146"/>
                </a:lnTo>
                <a:lnTo>
                  <a:pt x="104" y="148"/>
                </a:lnTo>
                <a:lnTo>
                  <a:pt x="103" y="149"/>
                </a:lnTo>
                <a:lnTo>
                  <a:pt x="101" y="149"/>
                </a:lnTo>
                <a:lnTo>
                  <a:pt x="100" y="149"/>
                </a:lnTo>
                <a:lnTo>
                  <a:pt x="99" y="150"/>
                </a:lnTo>
                <a:lnTo>
                  <a:pt x="98" y="150"/>
                </a:lnTo>
                <a:lnTo>
                  <a:pt x="99" y="151"/>
                </a:lnTo>
                <a:lnTo>
                  <a:pt x="96" y="152"/>
                </a:lnTo>
                <a:lnTo>
                  <a:pt x="94" y="152"/>
                </a:lnTo>
                <a:lnTo>
                  <a:pt x="92" y="153"/>
                </a:lnTo>
                <a:lnTo>
                  <a:pt x="91" y="154"/>
                </a:lnTo>
                <a:lnTo>
                  <a:pt x="92" y="154"/>
                </a:lnTo>
                <a:lnTo>
                  <a:pt x="98" y="153"/>
                </a:lnTo>
                <a:lnTo>
                  <a:pt x="100" y="153"/>
                </a:lnTo>
                <a:lnTo>
                  <a:pt x="102" y="152"/>
                </a:lnTo>
                <a:lnTo>
                  <a:pt x="106" y="152"/>
                </a:lnTo>
                <a:lnTo>
                  <a:pt x="106" y="152"/>
                </a:lnTo>
                <a:lnTo>
                  <a:pt x="104" y="153"/>
                </a:lnTo>
                <a:lnTo>
                  <a:pt x="104" y="153"/>
                </a:lnTo>
                <a:lnTo>
                  <a:pt x="99" y="154"/>
                </a:lnTo>
                <a:lnTo>
                  <a:pt x="96" y="154"/>
                </a:lnTo>
                <a:lnTo>
                  <a:pt x="93" y="156"/>
                </a:lnTo>
                <a:lnTo>
                  <a:pt x="92" y="157"/>
                </a:lnTo>
                <a:lnTo>
                  <a:pt x="94" y="158"/>
                </a:lnTo>
                <a:lnTo>
                  <a:pt x="99" y="157"/>
                </a:lnTo>
                <a:lnTo>
                  <a:pt x="100" y="157"/>
                </a:lnTo>
                <a:lnTo>
                  <a:pt x="98" y="158"/>
                </a:lnTo>
                <a:lnTo>
                  <a:pt x="95" y="159"/>
                </a:lnTo>
                <a:lnTo>
                  <a:pt x="94" y="160"/>
                </a:lnTo>
                <a:lnTo>
                  <a:pt x="94" y="161"/>
                </a:lnTo>
                <a:lnTo>
                  <a:pt x="93" y="162"/>
                </a:lnTo>
                <a:lnTo>
                  <a:pt x="93" y="163"/>
                </a:lnTo>
                <a:lnTo>
                  <a:pt x="93" y="163"/>
                </a:lnTo>
                <a:lnTo>
                  <a:pt x="95" y="163"/>
                </a:lnTo>
                <a:lnTo>
                  <a:pt x="100" y="161"/>
                </a:lnTo>
                <a:lnTo>
                  <a:pt x="99" y="162"/>
                </a:lnTo>
                <a:lnTo>
                  <a:pt x="99" y="162"/>
                </a:lnTo>
                <a:lnTo>
                  <a:pt x="102" y="162"/>
                </a:lnTo>
                <a:lnTo>
                  <a:pt x="98" y="164"/>
                </a:lnTo>
                <a:lnTo>
                  <a:pt x="100" y="166"/>
                </a:lnTo>
                <a:lnTo>
                  <a:pt x="104" y="166"/>
                </a:lnTo>
                <a:lnTo>
                  <a:pt x="108" y="166"/>
                </a:lnTo>
                <a:lnTo>
                  <a:pt x="110" y="166"/>
                </a:lnTo>
                <a:lnTo>
                  <a:pt x="109" y="167"/>
                </a:lnTo>
                <a:lnTo>
                  <a:pt x="106" y="168"/>
                </a:lnTo>
                <a:lnTo>
                  <a:pt x="101" y="169"/>
                </a:lnTo>
                <a:lnTo>
                  <a:pt x="98" y="170"/>
                </a:lnTo>
                <a:lnTo>
                  <a:pt x="92" y="172"/>
                </a:lnTo>
                <a:lnTo>
                  <a:pt x="90" y="173"/>
                </a:lnTo>
                <a:lnTo>
                  <a:pt x="88" y="174"/>
                </a:lnTo>
                <a:lnTo>
                  <a:pt x="85" y="177"/>
                </a:lnTo>
                <a:lnTo>
                  <a:pt x="84" y="179"/>
                </a:lnTo>
                <a:lnTo>
                  <a:pt x="85" y="179"/>
                </a:lnTo>
                <a:lnTo>
                  <a:pt x="88" y="179"/>
                </a:lnTo>
                <a:lnTo>
                  <a:pt x="90" y="178"/>
                </a:lnTo>
                <a:lnTo>
                  <a:pt x="90" y="179"/>
                </a:lnTo>
                <a:lnTo>
                  <a:pt x="89" y="180"/>
                </a:lnTo>
                <a:lnTo>
                  <a:pt x="89" y="180"/>
                </a:lnTo>
                <a:lnTo>
                  <a:pt x="92" y="180"/>
                </a:lnTo>
                <a:lnTo>
                  <a:pt x="91" y="180"/>
                </a:lnTo>
                <a:lnTo>
                  <a:pt x="88" y="180"/>
                </a:lnTo>
                <a:lnTo>
                  <a:pt x="85" y="181"/>
                </a:lnTo>
                <a:lnTo>
                  <a:pt x="84" y="182"/>
                </a:lnTo>
                <a:lnTo>
                  <a:pt x="85" y="183"/>
                </a:lnTo>
                <a:lnTo>
                  <a:pt x="87" y="183"/>
                </a:lnTo>
                <a:lnTo>
                  <a:pt x="88" y="184"/>
                </a:lnTo>
                <a:lnTo>
                  <a:pt x="89" y="184"/>
                </a:lnTo>
                <a:lnTo>
                  <a:pt x="90" y="184"/>
                </a:lnTo>
                <a:lnTo>
                  <a:pt x="92" y="184"/>
                </a:lnTo>
                <a:lnTo>
                  <a:pt x="93" y="185"/>
                </a:lnTo>
                <a:lnTo>
                  <a:pt x="94" y="185"/>
                </a:lnTo>
                <a:lnTo>
                  <a:pt x="96" y="184"/>
                </a:lnTo>
                <a:lnTo>
                  <a:pt x="99" y="183"/>
                </a:lnTo>
                <a:lnTo>
                  <a:pt x="106" y="180"/>
                </a:lnTo>
                <a:lnTo>
                  <a:pt x="111" y="177"/>
                </a:lnTo>
                <a:lnTo>
                  <a:pt x="113" y="177"/>
                </a:lnTo>
                <a:lnTo>
                  <a:pt x="113" y="176"/>
                </a:lnTo>
                <a:lnTo>
                  <a:pt x="113" y="176"/>
                </a:lnTo>
                <a:lnTo>
                  <a:pt x="114" y="173"/>
                </a:lnTo>
                <a:lnTo>
                  <a:pt x="123" y="169"/>
                </a:lnTo>
                <a:lnTo>
                  <a:pt x="129" y="168"/>
                </a:lnTo>
                <a:lnTo>
                  <a:pt x="132" y="167"/>
                </a:lnTo>
                <a:lnTo>
                  <a:pt x="134" y="166"/>
                </a:lnTo>
                <a:lnTo>
                  <a:pt x="138" y="166"/>
                </a:lnTo>
                <a:lnTo>
                  <a:pt x="124" y="170"/>
                </a:lnTo>
                <a:lnTo>
                  <a:pt x="116" y="173"/>
                </a:lnTo>
                <a:lnTo>
                  <a:pt x="115" y="174"/>
                </a:lnTo>
                <a:lnTo>
                  <a:pt x="115" y="174"/>
                </a:lnTo>
                <a:lnTo>
                  <a:pt x="115" y="176"/>
                </a:lnTo>
                <a:lnTo>
                  <a:pt x="114" y="177"/>
                </a:lnTo>
                <a:lnTo>
                  <a:pt x="113" y="179"/>
                </a:lnTo>
                <a:lnTo>
                  <a:pt x="112" y="180"/>
                </a:lnTo>
                <a:lnTo>
                  <a:pt x="112" y="181"/>
                </a:lnTo>
                <a:lnTo>
                  <a:pt x="110" y="185"/>
                </a:lnTo>
                <a:lnTo>
                  <a:pt x="109" y="187"/>
                </a:lnTo>
                <a:lnTo>
                  <a:pt x="109" y="188"/>
                </a:lnTo>
                <a:lnTo>
                  <a:pt x="103" y="190"/>
                </a:lnTo>
                <a:lnTo>
                  <a:pt x="102" y="191"/>
                </a:lnTo>
                <a:lnTo>
                  <a:pt x="101" y="191"/>
                </a:lnTo>
                <a:lnTo>
                  <a:pt x="99" y="192"/>
                </a:lnTo>
                <a:lnTo>
                  <a:pt x="98" y="194"/>
                </a:lnTo>
                <a:lnTo>
                  <a:pt x="100" y="193"/>
                </a:lnTo>
                <a:lnTo>
                  <a:pt x="102" y="193"/>
                </a:lnTo>
                <a:lnTo>
                  <a:pt x="102" y="194"/>
                </a:lnTo>
                <a:lnTo>
                  <a:pt x="101" y="194"/>
                </a:lnTo>
                <a:lnTo>
                  <a:pt x="98" y="195"/>
                </a:lnTo>
                <a:lnTo>
                  <a:pt x="95" y="199"/>
                </a:lnTo>
                <a:lnTo>
                  <a:pt x="96" y="199"/>
                </a:lnTo>
                <a:lnTo>
                  <a:pt x="96" y="199"/>
                </a:lnTo>
                <a:lnTo>
                  <a:pt x="95" y="199"/>
                </a:lnTo>
                <a:lnTo>
                  <a:pt x="91" y="201"/>
                </a:lnTo>
                <a:lnTo>
                  <a:pt x="89" y="201"/>
                </a:lnTo>
                <a:lnTo>
                  <a:pt x="87" y="202"/>
                </a:lnTo>
                <a:lnTo>
                  <a:pt x="90" y="202"/>
                </a:lnTo>
                <a:lnTo>
                  <a:pt x="94" y="201"/>
                </a:lnTo>
                <a:lnTo>
                  <a:pt x="99" y="200"/>
                </a:lnTo>
                <a:lnTo>
                  <a:pt x="101" y="199"/>
                </a:lnTo>
                <a:lnTo>
                  <a:pt x="106" y="198"/>
                </a:lnTo>
                <a:lnTo>
                  <a:pt x="109" y="198"/>
                </a:lnTo>
                <a:lnTo>
                  <a:pt x="114" y="195"/>
                </a:lnTo>
                <a:lnTo>
                  <a:pt x="122" y="191"/>
                </a:lnTo>
                <a:lnTo>
                  <a:pt x="122" y="192"/>
                </a:lnTo>
                <a:lnTo>
                  <a:pt x="120" y="194"/>
                </a:lnTo>
                <a:lnTo>
                  <a:pt x="118" y="194"/>
                </a:lnTo>
                <a:lnTo>
                  <a:pt x="116" y="197"/>
                </a:lnTo>
                <a:lnTo>
                  <a:pt x="115" y="197"/>
                </a:lnTo>
                <a:lnTo>
                  <a:pt x="115" y="198"/>
                </a:lnTo>
                <a:lnTo>
                  <a:pt x="118" y="198"/>
                </a:lnTo>
                <a:lnTo>
                  <a:pt x="118" y="199"/>
                </a:lnTo>
                <a:lnTo>
                  <a:pt x="118" y="199"/>
                </a:lnTo>
                <a:lnTo>
                  <a:pt x="122" y="198"/>
                </a:lnTo>
                <a:lnTo>
                  <a:pt x="123" y="197"/>
                </a:lnTo>
                <a:lnTo>
                  <a:pt x="123" y="198"/>
                </a:lnTo>
                <a:lnTo>
                  <a:pt x="124" y="198"/>
                </a:lnTo>
                <a:lnTo>
                  <a:pt x="123" y="199"/>
                </a:lnTo>
                <a:lnTo>
                  <a:pt x="124" y="199"/>
                </a:lnTo>
                <a:lnTo>
                  <a:pt x="124" y="200"/>
                </a:lnTo>
                <a:lnTo>
                  <a:pt x="122" y="205"/>
                </a:lnTo>
                <a:lnTo>
                  <a:pt x="122" y="205"/>
                </a:lnTo>
                <a:lnTo>
                  <a:pt x="123" y="205"/>
                </a:lnTo>
                <a:lnTo>
                  <a:pt x="128" y="204"/>
                </a:lnTo>
                <a:lnTo>
                  <a:pt x="130" y="202"/>
                </a:lnTo>
                <a:lnTo>
                  <a:pt x="131" y="200"/>
                </a:lnTo>
                <a:lnTo>
                  <a:pt x="132" y="200"/>
                </a:lnTo>
                <a:lnTo>
                  <a:pt x="134" y="198"/>
                </a:lnTo>
                <a:lnTo>
                  <a:pt x="138" y="197"/>
                </a:lnTo>
                <a:lnTo>
                  <a:pt x="140" y="195"/>
                </a:lnTo>
                <a:lnTo>
                  <a:pt x="141" y="195"/>
                </a:lnTo>
                <a:lnTo>
                  <a:pt x="140" y="197"/>
                </a:lnTo>
                <a:lnTo>
                  <a:pt x="136" y="199"/>
                </a:lnTo>
                <a:lnTo>
                  <a:pt x="136" y="201"/>
                </a:lnTo>
                <a:lnTo>
                  <a:pt x="139" y="202"/>
                </a:lnTo>
                <a:lnTo>
                  <a:pt x="148" y="200"/>
                </a:lnTo>
                <a:lnTo>
                  <a:pt x="153" y="198"/>
                </a:lnTo>
                <a:lnTo>
                  <a:pt x="161" y="195"/>
                </a:lnTo>
                <a:lnTo>
                  <a:pt x="164" y="194"/>
                </a:lnTo>
                <a:lnTo>
                  <a:pt x="164" y="194"/>
                </a:lnTo>
                <a:lnTo>
                  <a:pt x="156" y="199"/>
                </a:lnTo>
                <a:lnTo>
                  <a:pt x="154" y="200"/>
                </a:lnTo>
                <a:lnTo>
                  <a:pt x="154" y="200"/>
                </a:lnTo>
                <a:lnTo>
                  <a:pt x="154" y="200"/>
                </a:lnTo>
                <a:lnTo>
                  <a:pt x="150" y="202"/>
                </a:lnTo>
                <a:lnTo>
                  <a:pt x="146" y="203"/>
                </a:lnTo>
                <a:lnTo>
                  <a:pt x="140" y="208"/>
                </a:lnTo>
                <a:lnTo>
                  <a:pt x="142" y="208"/>
                </a:lnTo>
                <a:lnTo>
                  <a:pt x="136" y="210"/>
                </a:lnTo>
                <a:lnTo>
                  <a:pt x="130" y="215"/>
                </a:lnTo>
                <a:lnTo>
                  <a:pt x="126" y="218"/>
                </a:lnTo>
                <a:lnTo>
                  <a:pt x="124" y="219"/>
                </a:lnTo>
                <a:lnTo>
                  <a:pt x="122" y="220"/>
                </a:lnTo>
                <a:lnTo>
                  <a:pt x="114" y="224"/>
                </a:lnTo>
                <a:lnTo>
                  <a:pt x="114" y="223"/>
                </a:lnTo>
                <a:lnTo>
                  <a:pt x="113" y="223"/>
                </a:lnTo>
                <a:lnTo>
                  <a:pt x="111" y="224"/>
                </a:lnTo>
                <a:lnTo>
                  <a:pt x="104" y="228"/>
                </a:lnTo>
                <a:lnTo>
                  <a:pt x="104" y="228"/>
                </a:lnTo>
                <a:lnTo>
                  <a:pt x="102" y="230"/>
                </a:lnTo>
                <a:lnTo>
                  <a:pt x="99" y="231"/>
                </a:lnTo>
                <a:lnTo>
                  <a:pt x="96" y="232"/>
                </a:lnTo>
                <a:lnTo>
                  <a:pt x="95" y="232"/>
                </a:lnTo>
                <a:lnTo>
                  <a:pt x="94" y="233"/>
                </a:lnTo>
                <a:lnTo>
                  <a:pt x="93" y="232"/>
                </a:lnTo>
                <a:lnTo>
                  <a:pt x="88" y="234"/>
                </a:lnTo>
                <a:lnTo>
                  <a:pt x="84" y="235"/>
                </a:lnTo>
                <a:lnTo>
                  <a:pt x="79" y="237"/>
                </a:lnTo>
                <a:lnTo>
                  <a:pt x="78" y="237"/>
                </a:lnTo>
                <a:lnTo>
                  <a:pt x="69" y="240"/>
                </a:lnTo>
                <a:lnTo>
                  <a:pt x="64" y="243"/>
                </a:lnTo>
                <a:lnTo>
                  <a:pt x="61" y="244"/>
                </a:lnTo>
                <a:lnTo>
                  <a:pt x="59" y="245"/>
                </a:lnTo>
                <a:lnTo>
                  <a:pt x="57" y="248"/>
                </a:lnTo>
                <a:lnTo>
                  <a:pt x="57" y="248"/>
                </a:lnTo>
                <a:lnTo>
                  <a:pt x="59" y="249"/>
                </a:lnTo>
                <a:lnTo>
                  <a:pt x="58" y="250"/>
                </a:lnTo>
                <a:lnTo>
                  <a:pt x="55" y="249"/>
                </a:lnTo>
                <a:lnTo>
                  <a:pt x="55" y="249"/>
                </a:lnTo>
                <a:lnTo>
                  <a:pt x="54" y="248"/>
                </a:lnTo>
                <a:lnTo>
                  <a:pt x="53" y="249"/>
                </a:lnTo>
                <a:lnTo>
                  <a:pt x="51" y="250"/>
                </a:lnTo>
                <a:lnTo>
                  <a:pt x="51" y="249"/>
                </a:lnTo>
                <a:lnTo>
                  <a:pt x="51" y="248"/>
                </a:lnTo>
                <a:lnTo>
                  <a:pt x="52" y="247"/>
                </a:lnTo>
                <a:lnTo>
                  <a:pt x="53" y="245"/>
                </a:lnTo>
                <a:lnTo>
                  <a:pt x="51" y="247"/>
                </a:lnTo>
                <a:lnTo>
                  <a:pt x="50" y="245"/>
                </a:lnTo>
                <a:lnTo>
                  <a:pt x="48" y="245"/>
                </a:lnTo>
                <a:lnTo>
                  <a:pt x="47" y="247"/>
                </a:lnTo>
                <a:lnTo>
                  <a:pt x="41" y="248"/>
                </a:lnTo>
                <a:lnTo>
                  <a:pt x="32" y="250"/>
                </a:lnTo>
                <a:lnTo>
                  <a:pt x="25" y="253"/>
                </a:lnTo>
                <a:lnTo>
                  <a:pt x="22" y="254"/>
                </a:lnTo>
                <a:lnTo>
                  <a:pt x="21" y="255"/>
                </a:lnTo>
                <a:lnTo>
                  <a:pt x="21" y="255"/>
                </a:lnTo>
                <a:lnTo>
                  <a:pt x="19" y="257"/>
                </a:lnTo>
                <a:lnTo>
                  <a:pt x="14" y="258"/>
                </a:lnTo>
                <a:lnTo>
                  <a:pt x="13" y="259"/>
                </a:lnTo>
                <a:lnTo>
                  <a:pt x="12" y="260"/>
                </a:lnTo>
                <a:lnTo>
                  <a:pt x="11" y="259"/>
                </a:lnTo>
                <a:lnTo>
                  <a:pt x="10" y="259"/>
                </a:lnTo>
                <a:lnTo>
                  <a:pt x="9" y="260"/>
                </a:lnTo>
                <a:lnTo>
                  <a:pt x="6" y="261"/>
                </a:lnTo>
                <a:lnTo>
                  <a:pt x="4" y="261"/>
                </a:lnTo>
                <a:lnTo>
                  <a:pt x="2" y="261"/>
                </a:lnTo>
                <a:lnTo>
                  <a:pt x="2" y="262"/>
                </a:lnTo>
                <a:lnTo>
                  <a:pt x="3" y="262"/>
                </a:lnTo>
                <a:lnTo>
                  <a:pt x="2" y="263"/>
                </a:lnTo>
                <a:lnTo>
                  <a:pt x="0" y="265"/>
                </a:lnTo>
                <a:lnTo>
                  <a:pt x="1" y="265"/>
                </a:lnTo>
                <a:lnTo>
                  <a:pt x="3" y="265"/>
                </a:lnTo>
                <a:lnTo>
                  <a:pt x="6" y="263"/>
                </a:lnTo>
                <a:lnTo>
                  <a:pt x="7" y="261"/>
                </a:lnTo>
                <a:lnTo>
                  <a:pt x="8" y="262"/>
                </a:lnTo>
                <a:lnTo>
                  <a:pt x="8" y="263"/>
                </a:lnTo>
                <a:lnTo>
                  <a:pt x="8" y="264"/>
                </a:lnTo>
                <a:lnTo>
                  <a:pt x="13" y="262"/>
                </a:lnTo>
                <a:lnTo>
                  <a:pt x="15" y="260"/>
                </a:lnTo>
                <a:lnTo>
                  <a:pt x="17" y="259"/>
                </a:lnTo>
                <a:lnTo>
                  <a:pt x="17" y="260"/>
                </a:lnTo>
                <a:lnTo>
                  <a:pt x="17" y="261"/>
                </a:lnTo>
                <a:lnTo>
                  <a:pt x="15" y="262"/>
                </a:lnTo>
                <a:lnTo>
                  <a:pt x="17" y="262"/>
                </a:lnTo>
                <a:lnTo>
                  <a:pt x="18" y="262"/>
                </a:lnTo>
                <a:lnTo>
                  <a:pt x="19" y="262"/>
                </a:lnTo>
                <a:lnTo>
                  <a:pt x="21" y="261"/>
                </a:lnTo>
                <a:lnTo>
                  <a:pt x="21" y="261"/>
                </a:lnTo>
                <a:lnTo>
                  <a:pt x="22" y="261"/>
                </a:lnTo>
                <a:lnTo>
                  <a:pt x="24" y="260"/>
                </a:lnTo>
                <a:lnTo>
                  <a:pt x="28" y="259"/>
                </a:lnTo>
                <a:lnTo>
                  <a:pt x="31" y="257"/>
                </a:lnTo>
                <a:lnTo>
                  <a:pt x="34" y="253"/>
                </a:lnTo>
                <a:lnTo>
                  <a:pt x="38" y="253"/>
                </a:lnTo>
                <a:lnTo>
                  <a:pt x="39" y="252"/>
                </a:lnTo>
                <a:lnTo>
                  <a:pt x="38" y="254"/>
                </a:lnTo>
                <a:lnTo>
                  <a:pt x="34" y="257"/>
                </a:lnTo>
                <a:lnTo>
                  <a:pt x="33" y="257"/>
                </a:lnTo>
                <a:lnTo>
                  <a:pt x="38" y="257"/>
                </a:lnTo>
                <a:lnTo>
                  <a:pt x="43" y="254"/>
                </a:lnTo>
                <a:lnTo>
                  <a:pt x="45" y="255"/>
                </a:lnTo>
                <a:lnTo>
                  <a:pt x="47" y="254"/>
                </a:lnTo>
                <a:lnTo>
                  <a:pt x="48" y="254"/>
                </a:lnTo>
                <a:lnTo>
                  <a:pt x="49" y="253"/>
                </a:lnTo>
                <a:lnTo>
                  <a:pt x="50" y="254"/>
                </a:lnTo>
                <a:lnTo>
                  <a:pt x="52" y="253"/>
                </a:lnTo>
                <a:lnTo>
                  <a:pt x="53" y="252"/>
                </a:lnTo>
                <a:lnTo>
                  <a:pt x="54" y="252"/>
                </a:lnTo>
                <a:lnTo>
                  <a:pt x="58" y="251"/>
                </a:lnTo>
                <a:lnTo>
                  <a:pt x="59" y="250"/>
                </a:lnTo>
                <a:lnTo>
                  <a:pt x="61" y="250"/>
                </a:lnTo>
                <a:lnTo>
                  <a:pt x="62" y="250"/>
                </a:lnTo>
                <a:lnTo>
                  <a:pt x="64" y="249"/>
                </a:lnTo>
                <a:lnTo>
                  <a:pt x="65" y="249"/>
                </a:lnTo>
                <a:lnTo>
                  <a:pt x="65" y="250"/>
                </a:lnTo>
                <a:lnTo>
                  <a:pt x="63" y="252"/>
                </a:lnTo>
                <a:lnTo>
                  <a:pt x="61" y="253"/>
                </a:lnTo>
                <a:lnTo>
                  <a:pt x="61" y="253"/>
                </a:lnTo>
                <a:lnTo>
                  <a:pt x="67" y="251"/>
                </a:lnTo>
                <a:lnTo>
                  <a:pt x="70" y="248"/>
                </a:lnTo>
                <a:lnTo>
                  <a:pt x="70" y="249"/>
                </a:lnTo>
                <a:lnTo>
                  <a:pt x="71" y="249"/>
                </a:lnTo>
                <a:lnTo>
                  <a:pt x="77" y="248"/>
                </a:lnTo>
                <a:lnTo>
                  <a:pt x="81" y="247"/>
                </a:lnTo>
                <a:lnTo>
                  <a:pt x="82" y="247"/>
                </a:lnTo>
                <a:lnTo>
                  <a:pt x="83" y="245"/>
                </a:lnTo>
                <a:lnTo>
                  <a:pt x="85" y="244"/>
                </a:lnTo>
                <a:lnTo>
                  <a:pt x="87" y="243"/>
                </a:lnTo>
                <a:lnTo>
                  <a:pt x="84" y="242"/>
                </a:lnTo>
                <a:lnTo>
                  <a:pt x="84" y="241"/>
                </a:lnTo>
                <a:lnTo>
                  <a:pt x="84" y="240"/>
                </a:lnTo>
                <a:lnTo>
                  <a:pt x="85" y="238"/>
                </a:lnTo>
                <a:lnTo>
                  <a:pt x="87" y="238"/>
                </a:lnTo>
                <a:lnTo>
                  <a:pt x="85" y="240"/>
                </a:lnTo>
                <a:lnTo>
                  <a:pt x="85" y="241"/>
                </a:lnTo>
                <a:lnTo>
                  <a:pt x="88" y="241"/>
                </a:lnTo>
                <a:lnTo>
                  <a:pt x="93" y="239"/>
                </a:lnTo>
                <a:lnTo>
                  <a:pt x="96" y="239"/>
                </a:lnTo>
                <a:lnTo>
                  <a:pt x="101" y="238"/>
                </a:lnTo>
                <a:lnTo>
                  <a:pt x="103" y="237"/>
                </a:lnTo>
                <a:lnTo>
                  <a:pt x="103" y="237"/>
                </a:lnTo>
                <a:lnTo>
                  <a:pt x="101" y="237"/>
                </a:lnTo>
                <a:lnTo>
                  <a:pt x="102" y="237"/>
                </a:lnTo>
                <a:lnTo>
                  <a:pt x="106" y="234"/>
                </a:lnTo>
                <a:lnTo>
                  <a:pt x="106" y="235"/>
                </a:lnTo>
                <a:lnTo>
                  <a:pt x="109" y="235"/>
                </a:lnTo>
                <a:lnTo>
                  <a:pt x="111" y="233"/>
                </a:lnTo>
                <a:lnTo>
                  <a:pt x="112" y="232"/>
                </a:lnTo>
                <a:lnTo>
                  <a:pt x="114" y="232"/>
                </a:lnTo>
                <a:lnTo>
                  <a:pt x="116" y="233"/>
                </a:lnTo>
                <a:lnTo>
                  <a:pt x="122" y="231"/>
                </a:lnTo>
                <a:lnTo>
                  <a:pt x="123" y="230"/>
                </a:lnTo>
                <a:lnTo>
                  <a:pt x="124" y="230"/>
                </a:lnTo>
                <a:lnTo>
                  <a:pt x="125" y="230"/>
                </a:lnTo>
                <a:lnTo>
                  <a:pt x="126" y="229"/>
                </a:lnTo>
                <a:lnTo>
                  <a:pt x="128" y="230"/>
                </a:lnTo>
                <a:lnTo>
                  <a:pt x="128" y="229"/>
                </a:lnTo>
                <a:lnTo>
                  <a:pt x="131" y="228"/>
                </a:lnTo>
                <a:lnTo>
                  <a:pt x="133" y="227"/>
                </a:lnTo>
                <a:lnTo>
                  <a:pt x="135" y="224"/>
                </a:lnTo>
                <a:lnTo>
                  <a:pt x="134" y="224"/>
                </a:lnTo>
                <a:lnTo>
                  <a:pt x="134" y="224"/>
                </a:lnTo>
                <a:lnTo>
                  <a:pt x="136" y="223"/>
                </a:lnTo>
                <a:lnTo>
                  <a:pt x="142" y="221"/>
                </a:lnTo>
                <a:lnTo>
                  <a:pt x="143" y="222"/>
                </a:lnTo>
                <a:lnTo>
                  <a:pt x="145" y="220"/>
                </a:lnTo>
                <a:lnTo>
                  <a:pt x="149" y="220"/>
                </a:lnTo>
                <a:lnTo>
                  <a:pt x="150" y="219"/>
                </a:lnTo>
                <a:lnTo>
                  <a:pt x="152" y="218"/>
                </a:lnTo>
                <a:lnTo>
                  <a:pt x="153" y="217"/>
                </a:lnTo>
                <a:lnTo>
                  <a:pt x="155" y="217"/>
                </a:lnTo>
                <a:lnTo>
                  <a:pt x="156" y="218"/>
                </a:lnTo>
                <a:lnTo>
                  <a:pt x="160" y="215"/>
                </a:lnTo>
                <a:lnTo>
                  <a:pt x="161" y="215"/>
                </a:lnTo>
                <a:lnTo>
                  <a:pt x="163" y="214"/>
                </a:lnTo>
                <a:lnTo>
                  <a:pt x="165" y="213"/>
                </a:lnTo>
                <a:lnTo>
                  <a:pt x="166" y="213"/>
                </a:lnTo>
                <a:lnTo>
                  <a:pt x="170" y="212"/>
                </a:lnTo>
                <a:lnTo>
                  <a:pt x="173" y="211"/>
                </a:lnTo>
                <a:lnTo>
                  <a:pt x="176" y="210"/>
                </a:lnTo>
                <a:lnTo>
                  <a:pt x="177" y="210"/>
                </a:lnTo>
                <a:lnTo>
                  <a:pt x="182" y="210"/>
                </a:lnTo>
                <a:lnTo>
                  <a:pt x="183" y="208"/>
                </a:lnTo>
                <a:lnTo>
                  <a:pt x="183" y="207"/>
                </a:lnTo>
                <a:lnTo>
                  <a:pt x="186" y="207"/>
                </a:lnTo>
                <a:lnTo>
                  <a:pt x="186" y="205"/>
                </a:lnTo>
                <a:lnTo>
                  <a:pt x="186" y="205"/>
                </a:lnTo>
                <a:lnTo>
                  <a:pt x="189" y="204"/>
                </a:lnTo>
                <a:lnTo>
                  <a:pt x="190" y="204"/>
                </a:lnTo>
                <a:lnTo>
                  <a:pt x="193" y="202"/>
                </a:lnTo>
                <a:lnTo>
                  <a:pt x="199" y="201"/>
                </a:lnTo>
                <a:lnTo>
                  <a:pt x="201" y="200"/>
                </a:lnTo>
                <a:lnTo>
                  <a:pt x="203" y="199"/>
                </a:lnTo>
                <a:lnTo>
                  <a:pt x="204" y="198"/>
                </a:lnTo>
                <a:lnTo>
                  <a:pt x="204" y="197"/>
                </a:lnTo>
                <a:lnTo>
                  <a:pt x="202" y="197"/>
                </a:lnTo>
                <a:lnTo>
                  <a:pt x="202" y="195"/>
                </a:lnTo>
                <a:lnTo>
                  <a:pt x="201" y="194"/>
                </a:lnTo>
                <a:lnTo>
                  <a:pt x="196" y="195"/>
                </a:lnTo>
                <a:lnTo>
                  <a:pt x="195" y="195"/>
                </a:lnTo>
                <a:lnTo>
                  <a:pt x="203" y="190"/>
                </a:lnTo>
                <a:lnTo>
                  <a:pt x="204" y="190"/>
                </a:lnTo>
                <a:lnTo>
                  <a:pt x="207" y="189"/>
                </a:lnTo>
                <a:lnTo>
                  <a:pt x="210" y="188"/>
                </a:lnTo>
                <a:lnTo>
                  <a:pt x="211" y="188"/>
                </a:lnTo>
                <a:lnTo>
                  <a:pt x="213" y="187"/>
                </a:lnTo>
                <a:lnTo>
                  <a:pt x="215" y="185"/>
                </a:lnTo>
                <a:lnTo>
                  <a:pt x="215" y="184"/>
                </a:lnTo>
                <a:lnTo>
                  <a:pt x="216" y="184"/>
                </a:lnTo>
                <a:lnTo>
                  <a:pt x="219" y="183"/>
                </a:lnTo>
                <a:lnTo>
                  <a:pt x="221" y="183"/>
                </a:lnTo>
                <a:lnTo>
                  <a:pt x="219" y="184"/>
                </a:lnTo>
                <a:lnTo>
                  <a:pt x="222" y="184"/>
                </a:lnTo>
                <a:lnTo>
                  <a:pt x="224" y="183"/>
                </a:lnTo>
                <a:lnTo>
                  <a:pt x="225" y="182"/>
                </a:lnTo>
                <a:lnTo>
                  <a:pt x="224" y="182"/>
                </a:lnTo>
                <a:lnTo>
                  <a:pt x="226" y="181"/>
                </a:lnTo>
                <a:lnTo>
                  <a:pt x="230" y="181"/>
                </a:lnTo>
                <a:lnTo>
                  <a:pt x="234" y="179"/>
                </a:lnTo>
                <a:lnTo>
                  <a:pt x="235" y="178"/>
                </a:lnTo>
                <a:lnTo>
                  <a:pt x="235" y="177"/>
                </a:lnTo>
                <a:lnTo>
                  <a:pt x="234" y="174"/>
                </a:lnTo>
                <a:lnTo>
                  <a:pt x="235" y="174"/>
                </a:lnTo>
                <a:lnTo>
                  <a:pt x="236" y="176"/>
                </a:lnTo>
                <a:lnTo>
                  <a:pt x="239" y="176"/>
                </a:lnTo>
                <a:lnTo>
                  <a:pt x="246" y="173"/>
                </a:lnTo>
                <a:lnTo>
                  <a:pt x="251" y="170"/>
                </a:lnTo>
                <a:lnTo>
                  <a:pt x="260" y="167"/>
                </a:lnTo>
                <a:lnTo>
                  <a:pt x="262" y="164"/>
                </a:lnTo>
                <a:lnTo>
                  <a:pt x="273" y="162"/>
                </a:lnTo>
                <a:lnTo>
                  <a:pt x="282" y="158"/>
                </a:lnTo>
                <a:lnTo>
                  <a:pt x="283" y="157"/>
                </a:lnTo>
                <a:lnTo>
                  <a:pt x="284" y="156"/>
                </a:lnTo>
                <a:lnTo>
                  <a:pt x="287" y="154"/>
                </a:lnTo>
                <a:lnTo>
                  <a:pt x="290" y="152"/>
                </a:lnTo>
                <a:lnTo>
                  <a:pt x="292" y="151"/>
                </a:lnTo>
                <a:lnTo>
                  <a:pt x="302" y="146"/>
                </a:lnTo>
                <a:lnTo>
                  <a:pt x="303" y="144"/>
                </a:lnTo>
                <a:lnTo>
                  <a:pt x="304" y="143"/>
                </a:lnTo>
                <a:lnTo>
                  <a:pt x="307" y="142"/>
                </a:lnTo>
                <a:lnTo>
                  <a:pt x="307" y="142"/>
                </a:lnTo>
                <a:lnTo>
                  <a:pt x="306" y="143"/>
                </a:lnTo>
                <a:lnTo>
                  <a:pt x="298" y="149"/>
                </a:lnTo>
                <a:lnTo>
                  <a:pt x="295" y="151"/>
                </a:lnTo>
                <a:lnTo>
                  <a:pt x="288" y="154"/>
                </a:lnTo>
                <a:lnTo>
                  <a:pt x="286" y="157"/>
                </a:lnTo>
                <a:lnTo>
                  <a:pt x="284" y="158"/>
                </a:lnTo>
                <a:lnTo>
                  <a:pt x="284" y="159"/>
                </a:lnTo>
                <a:lnTo>
                  <a:pt x="290" y="159"/>
                </a:lnTo>
                <a:lnTo>
                  <a:pt x="297" y="156"/>
                </a:lnTo>
                <a:lnTo>
                  <a:pt x="302" y="154"/>
                </a:lnTo>
                <a:lnTo>
                  <a:pt x="304" y="154"/>
                </a:lnTo>
                <a:lnTo>
                  <a:pt x="301" y="156"/>
                </a:lnTo>
                <a:lnTo>
                  <a:pt x="298" y="157"/>
                </a:lnTo>
                <a:lnTo>
                  <a:pt x="295" y="158"/>
                </a:lnTo>
                <a:lnTo>
                  <a:pt x="292" y="159"/>
                </a:lnTo>
                <a:lnTo>
                  <a:pt x="290" y="160"/>
                </a:lnTo>
                <a:lnTo>
                  <a:pt x="287" y="161"/>
                </a:lnTo>
                <a:lnTo>
                  <a:pt x="288" y="162"/>
                </a:lnTo>
                <a:lnTo>
                  <a:pt x="293" y="163"/>
                </a:lnTo>
                <a:lnTo>
                  <a:pt x="296" y="164"/>
                </a:lnTo>
                <a:lnTo>
                  <a:pt x="287" y="163"/>
                </a:lnTo>
                <a:lnTo>
                  <a:pt x="283" y="164"/>
                </a:lnTo>
                <a:lnTo>
                  <a:pt x="281" y="164"/>
                </a:lnTo>
                <a:lnTo>
                  <a:pt x="282" y="162"/>
                </a:lnTo>
                <a:lnTo>
                  <a:pt x="280" y="163"/>
                </a:lnTo>
                <a:lnTo>
                  <a:pt x="277" y="163"/>
                </a:lnTo>
                <a:lnTo>
                  <a:pt x="274" y="164"/>
                </a:lnTo>
                <a:lnTo>
                  <a:pt x="265" y="167"/>
                </a:lnTo>
                <a:lnTo>
                  <a:pt x="263" y="168"/>
                </a:lnTo>
                <a:lnTo>
                  <a:pt x="261" y="170"/>
                </a:lnTo>
                <a:lnTo>
                  <a:pt x="258" y="172"/>
                </a:lnTo>
                <a:lnTo>
                  <a:pt x="255" y="174"/>
                </a:lnTo>
                <a:lnTo>
                  <a:pt x="253" y="177"/>
                </a:lnTo>
                <a:lnTo>
                  <a:pt x="250" y="178"/>
                </a:lnTo>
                <a:lnTo>
                  <a:pt x="246" y="179"/>
                </a:lnTo>
                <a:lnTo>
                  <a:pt x="245" y="180"/>
                </a:lnTo>
                <a:lnTo>
                  <a:pt x="242" y="182"/>
                </a:lnTo>
                <a:lnTo>
                  <a:pt x="240" y="183"/>
                </a:lnTo>
                <a:lnTo>
                  <a:pt x="240" y="184"/>
                </a:lnTo>
                <a:lnTo>
                  <a:pt x="242" y="185"/>
                </a:lnTo>
                <a:lnTo>
                  <a:pt x="251" y="183"/>
                </a:lnTo>
                <a:lnTo>
                  <a:pt x="251" y="183"/>
                </a:lnTo>
                <a:lnTo>
                  <a:pt x="249" y="185"/>
                </a:lnTo>
                <a:lnTo>
                  <a:pt x="245" y="187"/>
                </a:lnTo>
                <a:lnTo>
                  <a:pt x="243" y="187"/>
                </a:lnTo>
                <a:lnTo>
                  <a:pt x="242" y="187"/>
                </a:lnTo>
                <a:lnTo>
                  <a:pt x="241" y="188"/>
                </a:lnTo>
                <a:lnTo>
                  <a:pt x="241" y="189"/>
                </a:lnTo>
                <a:lnTo>
                  <a:pt x="239" y="188"/>
                </a:lnTo>
                <a:lnTo>
                  <a:pt x="237" y="188"/>
                </a:lnTo>
                <a:lnTo>
                  <a:pt x="237" y="188"/>
                </a:lnTo>
                <a:lnTo>
                  <a:pt x="235" y="189"/>
                </a:lnTo>
                <a:lnTo>
                  <a:pt x="235" y="188"/>
                </a:lnTo>
                <a:lnTo>
                  <a:pt x="233" y="189"/>
                </a:lnTo>
                <a:lnTo>
                  <a:pt x="233" y="190"/>
                </a:lnTo>
                <a:lnTo>
                  <a:pt x="231" y="191"/>
                </a:lnTo>
                <a:lnTo>
                  <a:pt x="230" y="192"/>
                </a:lnTo>
                <a:lnTo>
                  <a:pt x="231" y="192"/>
                </a:lnTo>
                <a:lnTo>
                  <a:pt x="231" y="193"/>
                </a:lnTo>
                <a:lnTo>
                  <a:pt x="234" y="192"/>
                </a:lnTo>
                <a:lnTo>
                  <a:pt x="239" y="192"/>
                </a:lnTo>
                <a:lnTo>
                  <a:pt x="240" y="191"/>
                </a:lnTo>
                <a:lnTo>
                  <a:pt x="241" y="190"/>
                </a:lnTo>
                <a:lnTo>
                  <a:pt x="242" y="191"/>
                </a:lnTo>
                <a:lnTo>
                  <a:pt x="243" y="191"/>
                </a:lnTo>
                <a:lnTo>
                  <a:pt x="247" y="189"/>
                </a:lnTo>
                <a:lnTo>
                  <a:pt x="252" y="187"/>
                </a:lnTo>
                <a:lnTo>
                  <a:pt x="253" y="187"/>
                </a:lnTo>
                <a:lnTo>
                  <a:pt x="256" y="187"/>
                </a:lnTo>
                <a:lnTo>
                  <a:pt x="254" y="188"/>
                </a:lnTo>
                <a:lnTo>
                  <a:pt x="251" y="190"/>
                </a:lnTo>
                <a:lnTo>
                  <a:pt x="257" y="187"/>
                </a:lnTo>
                <a:lnTo>
                  <a:pt x="260" y="185"/>
                </a:lnTo>
                <a:lnTo>
                  <a:pt x="264" y="184"/>
                </a:lnTo>
                <a:lnTo>
                  <a:pt x="264" y="184"/>
                </a:lnTo>
                <a:lnTo>
                  <a:pt x="266" y="183"/>
                </a:lnTo>
                <a:lnTo>
                  <a:pt x="267" y="182"/>
                </a:lnTo>
                <a:lnTo>
                  <a:pt x="268" y="181"/>
                </a:lnTo>
                <a:lnTo>
                  <a:pt x="271" y="180"/>
                </a:lnTo>
                <a:lnTo>
                  <a:pt x="268" y="182"/>
                </a:lnTo>
                <a:lnTo>
                  <a:pt x="267" y="184"/>
                </a:lnTo>
                <a:lnTo>
                  <a:pt x="271" y="182"/>
                </a:lnTo>
                <a:lnTo>
                  <a:pt x="273" y="180"/>
                </a:lnTo>
                <a:lnTo>
                  <a:pt x="275" y="179"/>
                </a:lnTo>
                <a:lnTo>
                  <a:pt x="276" y="178"/>
                </a:lnTo>
                <a:lnTo>
                  <a:pt x="275" y="180"/>
                </a:lnTo>
                <a:lnTo>
                  <a:pt x="277" y="179"/>
                </a:lnTo>
                <a:lnTo>
                  <a:pt x="278" y="179"/>
                </a:lnTo>
                <a:lnTo>
                  <a:pt x="278" y="180"/>
                </a:lnTo>
                <a:lnTo>
                  <a:pt x="283" y="180"/>
                </a:lnTo>
                <a:lnTo>
                  <a:pt x="285" y="179"/>
                </a:lnTo>
                <a:lnTo>
                  <a:pt x="286" y="179"/>
                </a:lnTo>
                <a:lnTo>
                  <a:pt x="290" y="177"/>
                </a:lnTo>
                <a:lnTo>
                  <a:pt x="291" y="177"/>
                </a:lnTo>
                <a:lnTo>
                  <a:pt x="293" y="177"/>
                </a:lnTo>
                <a:lnTo>
                  <a:pt x="295" y="176"/>
                </a:lnTo>
                <a:lnTo>
                  <a:pt x="294" y="176"/>
                </a:lnTo>
                <a:lnTo>
                  <a:pt x="294" y="174"/>
                </a:lnTo>
                <a:lnTo>
                  <a:pt x="293" y="176"/>
                </a:lnTo>
                <a:lnTo>
                  <a:pt x="295" y="173"/>
                </a:lnTo>
                <a:lnTo>
                  <a:pt x="298" y="172"/>
                </a:lnTo>
                <a:lnTo>
                  <a:pt x="300" y="172"/>
                </a:lnTo>
                <a:lnTo>
                  <a:pt x="302" y="171"/>
                </a:lnTo>
                <a:lnTo>
                  <a:pt x="303" y="170"/>
                </a:lnTo>
                <a:lnTo>
                  <a:pt x="298" y="171"/>
                </a:lnTo>
                <a:lnTo>
                  <a:pt x="297" y="171"/>
                </a:lnTo>
                <a:lnTo>
                  <a:pt x="294" y="171"/>
                </a:lnTo>
                <a:lnTo>
                  <a:pt x="295" y="170"/>
                </a:lnTo>
                <a:lnTo>
                  <a:pt x="298" y="170"/>
                </a:lnTo>
                <a:lnTo>
                  <a:pt x="302" y="169"/>
                </a:lnTo>
                <a:lnTo>
                  <a:pt x="303" y="168"/>
                </a:lnTo>
                <a:lnTo>
                  <a:pt x="301" y="168"/>
                </a:lnTo>
                <a:lnTo>
                  <a:pt x="302" y="167"/>
                </a:lnTo>
                <a:lnTo>
                  <a:pt x="298" y="168"/>
                </a:lnTo>
                <a:lnTo>
                  <a:pt x="300" y="167"/>
                </a:lnTo>
                <a:lnTo>
                  <a:pt x="300" y="167"/>
                </a:lnTo>
                <a:lnTo>
                  <a:pt x="301" y="166"/>
                </a:lnTo>
                <a:lnTo>
                  <a:pt x="304" y="164"/>
                </a:lnTo>
                <a:lnTo>
                  <a:pt x="307" y="163"/>
                </a:lnTo>
                <a:lnTo>
                  <a:pt x="305" y="163"/>
                </a:lnTo>
                <a:lnTo>
                  <a:pt x="310" y="161"/>
                </a:lnTo>
                <a:lnTo>
                  <a:pt x="311" y="161"/>
                </a:lnTo>
                <a:lnTo>
                  <a:pt x="311" y="162"/>
                </a:lnTo>
                <a:lnTo>
                  <a:pt x="311" y="162"/>
                </a:lnTo>
                <a:lnTo>
                  <a:pt x="314" y="160"/>
                </a:lnTo>
                <a:lnTo>
                  <a:pt x="318" y="159"/>
                </a:lnTo>
                <a:lnTo>
                  <a:pt x="317" y="160"/>
                </a:lnTo>
                <a:lnTo>
                  <a:pt x="312" y="162"/>
                </a:lnTo>
                <a:lnTo>
                  <a:pt x="310" y="164"/>
                </a:lnTo>
                <a:lnTo>
                  <a:pt x="310" y="164"/>
                </a:lnTo>
                <a:lnTo>
                  <a:pt x="312" y="164"/>
                </a:lnTo>
                <a:lnTo>
                  <a:pt x="314" y="164"/>
                </a:lnTo>
                <a:lnTo>
                  <a:pt x="316" y="162"/>
                </a:lnTo>
                <a:lnTo>
                  <a:pt x="318" y="160"/>
                </a:lnTo>
                <a:lnTo>
                  <a:pt x="317" y="162"/>
                </a:lnTo>
                <a:lnTo>
                  <a:pt x="316" y="163"/>
                </a:lnTo>
                <a:lnTo>
                  <a:pt x="317" y="163"/>
                </a:lnTo>
                <a:lnTo>
                  <a:pt x="322" y="163"/>
                </a:lnTo>
                <a:lnTo>
                  <a:pt x="323" y="163"/>
                </a:lnTo>
                <a:lnTo>
                  <a:pt x="325" y="163"/>
                </a:lnTo>
                <a:lnTo>
                  <a:pt x="328" y="161"/>
                </a:lnTo>
                <a:lnTo>
                  <a:pt x="332" y="161"/>
                </a:lnTo>
                <a:lnTo>
                  <a:pt x="335" y="161"/>
                </a:lnTo>
                <a:lnTo>
                  <a:pt x="334" y="161"/>
                </a:lnTo>
                <a:lnTo>
                  <a:pt x="330" y="162"/>
                </a:lnTo>
                <a:lnTo>
                  <a:pt x="328" y="162"/>
                </a:lnTo>
                <a:lnTo>
                  <a:pt x="326" y="164"/>
                </a:lnTo>
                <a:lnTo>
                  <a:pt x="325" y="166"/>
                </a:lnTo>
                <a:lnTo>
                  <a:pt x="326" y="166"/>
                </a:lnTo>
                <a:lnTo>
                  <a:pt x="332" y="164"/>
                </a:lnTo>
                <a:lnTo>
                  <a:pt x="331" y="166"/>
                </a:lnTo>
                <a:lnTo>
                  <a:pt x="326" y="167"/>
                </a:lnTo>
                <a:lnTo>
                  <a:pt x="323" y="168"/>
                </a:lnTo>
                <a:lnTo>
                  <a:pt x="325" y="168"/>
                </a:lnTo>
                <a:lnTo>
                  <a:pt x="328" y="167"/>
                </a:lnTo>
                <a:lnTo>
                  <a:pt x="332" y="166"/>
                </a:lnTo>
                <a:lnTo>
                  <a:pt x="333" y="166"/>
                </a:lnTo>
                <a:lnTo>
                  <a:pt x="326" y="169"/>
                </a:lnTo>
                <a:lnTo>
                  <a:pt x="331" y="168"/>
                </a:lnTo>
                <a:lnTo>
                  <a:pt x="332" y="169"/>
                </a:lnTo>
                <a:lnTo>
                  <a:pt x="334" y="168"/>
                </a:lnTo>
                <a:lnTo>
                  <a:pt x="334" y="169"/>
                </a:lnTo>
                <a:lnTo>
                  <a:pt x="331" y="170"/>
                </a:lnTo>
                <a:lnTo>
                  <a:pt x="332" y="171"/>
                </a:lnTo>
                <a:lnTo>
                  <a:pt x="333" y="173"/>
                </a:lnTo>
                <a:lnTo>
                  <a:pt x="333" y="174"/>
                </a:lnTo>
                <a:lnTo>
                  <a:pt x="335" y="173"/>
                </a:lnTo>
                <a:lnTo>
                  <a:pt x="336" y="173"/>
                </a:lnTo>
                <a:lnTo>
                  <a:pt x="337" y="172"/>
                </a:lnTo>
                <a:lnTo>
                  <a:pt x="337" y="172"/>
                </a:lnTo>
                <a:lnTo>
                  <a:pt x="338" y="171"/>
                </a:lnTo>
                <a:lnTo>
                  <a:pt x="341" y="171"/>
                </a:lnTo>
                <a:lnTo>
                  <a:pt x="341" y="172"/>
                </a:lnTo>
                <a:lnTo>
                  <a:pt x="341" y="173"/>
                </a:lnTo>
                <a:lnTo>
                  <a:pt x="338" y="174"/>
                </a:lnTo>
                <a:lnTo>
                  <a:pt x="341" y="174"/>
                </a:lnTo>
                <a:lnTo>
                  <a:pt x="341" y="176"/>
                </a:lnTo>
                <a:lnTo>
                  <a:pt x="341" y="177"/>
                </a:lnTo>
                <a:lnTo>
                  <a:pt x="342" y="176"/>
                </a:lnTo>
                <a:lnTo>
                  <a:pt x="343" y="177"/>
                </a:lnTo>
                <a:lnTo>
                  <a:pt x="344" y="177"/>
                </a:lnTo>
                <a:lnTo>
                  <a:pt x="345" y="177"/>
                </a:lnTo>
                <a:lnTo>
                  <a:pt x="345" y="178"/>
                </a:lnTo>
                <a:lnTo>
                  <a:pt x="345" y="179"/>
                </a:lnTo>
                <a:lnTo>
                  <a:pt x="344" y="179"/>
                </a:lnTo>
                <a:lnTo>
                  <a:pt x="344" y="179"/>
                </a:lnTo>
                <a:lnTo>
                  <a:pt x="346" y="180"/>
                </a:lnTo>
                <a:lnTo>
                  <a:pt x="349" y="179"/>
                </a:lnTo>
                <a:lnTo>
                  <a:pt x="357" y="179"/>
                </a:lnTo>
                <a:lnTo>
                  <a:pt x="359" y="178"/>
                </a:lnTo>
                <a:lnTo>
                  <a:pt x="361" y="179"/>
                </a:lnTo>
                <a:lnTo>
                  <a:pt x="363" y="178"/>
                </a:lnTo>
                <a:lnTo>
                  <a:pt x="365" y="178"/>
                </a:lnTo>
                <a:lnTo>
                  <a:pt x="366" y="179"/>
                </a:lnTo>
                <a:lnTo>
                  <a:pt x="372" y="180"/>
                </a:lnTo>
                <a:lnTo>
                  <a:pt x="374" y="180"/>
                </a:lnTo>
                <a:lnTo>
                  <a:pt x="378" y="179"/>
                </a:lnTo>
                <a:lnTo>
                  <a:pt x="379" y="180"/>
                </a:lnTo>
                <a:lnTo>
                  <a:pt x="378" y="180"/>
                </a:lnTo>
                <a:lnTo>
                  <a:pt x="376" y="180"/>
                </a:lnTo>
                <a:lnTo>
                  <a:pt x="376" y="181"/>
                </a:lnTo>
                <a:lnTo>
                  <a:pt x="376" y="181"/>
                </a:lnTo>
                <a:lnTo>
                  <a:pt x="379" y="183"/>
                </a:lnTo>
                <a:lnTo>
                  <a:pt x="384" y="183"/>
                </a:lnTo>
                <a:lnTo>
                  <a:pt x="387" y="184"/>
                </a:lnTo>
                <a:lnTo>
                  <a:pt x="393" y="182"/>
                </a:lnTo>
                <a:lnTo>
                  <a:pt x="399" y="180"/>
                </a:lnTo>
                <a:lnTo>
                  <a:pt x="402" y="179"/>
                </a:lnTo>
                <a:lnTo>
                  <a:pt x="403" y="178"/>
                </a:lnTo>
                <a:lnTo>
                  <a:pt x="404" y="180"/>
                </a:lnTo>
                <a:lnTo>
                  <a:pt x="404" y="181"/>
                </a:lnTo>
                <a:lnTo>
                  <a:pt x="406" y="182"/>
                </a:lnTo>
                <a:lnTo>
                  <a:pt x="405" y="182"/>
                </a:lnTo>
                <a:lnTo>
                  <a:pt x="402" y="183"/>
                </a:lnTo>
                <a:lnTo>
                  <a:pt x="401" y="184"/>
                </a:lnTo>
                <a:lnTo>
                  <a:pt x="401" y="184"/>
                </a:lnTo>
                <a:lnTo>
                  <a:pt x="399" y="187"/>
                </a:lnTo>
                <a:lnTo>
                  <a:pt x="398" y="187"/>
                </a:lnTo>
                <a:lnTo>
                  <a:pt x="397" y="185"/>
                </a:lnTo>
                <a:lnTo>
                  <a:pt x="401" y="183"/>
                </a:lnTo>
                <a:lnTo>
                  <a:pt x="402" y="182"/>
                </a:lnTo>
                <a:lnTo>
                  <a:pt x="403" y="181"/>
                </a:lnTo>
                <a:lnTo>
                  <a:pt x="403" y="180"/>
                </a:lnTo>
                <a:lnTo>
                  <a:pt x="403" y="180"/>
                </a:lnTo>
                <a:lnTo>
                  <a:pt x="401" y="180"/>
                </a:lnTo>
                <a:lnTo>
                  <a:pt x="399" y="181"/>
                </a:lnTo>
                <a:lnTo>
                  <a:pt x="397" y="183"/>
                </a:lnTo>
                <a:lnTo>
                  <a:pt x="397" y="183"/>
                </a:lnTo>
                <a:lnTo>
                  <a:pt x="397" y="184"/>
                </a:lnTo>
                <a:lnTo>
                  <a:pt x="395" y="185"/>
                </a:lnTo>
                <a:lnTo>
                  <a:pt x="394" y="187"/>
                </a:lnTo>
                <a:lnTo>
                  <a:pt x="393" y="187"/>
                </a:lnTo>
                <a:lnTo>
                  <a:pt x="391" y="188"/>
                </a:lnTo>
                <a:lnTo>
                  <a:pt x="391" y="188"/>
                </a:lnTo>
                <a:lnTo>
                  <a:pt x="393" y="189"/>
                </a:lnTo>
                <a:lnTo>
                  <a:pt x="393" y="189"/>
                </a:lnTo>
                <a:lnTo>
                  <a:pt x="394" y="190"/>
                </a:lnTo>
                <a:lnTo>
                  <a:pt x="395" y="190"/>
                </a:lnTo>
                <a:lnTo>
                  <a:pt x="395" y="190"/>
                </a:lnTo>
                <a:lnTo>
                  <a:pt x="395" y="190"/>
                </a:lnTo>
                <a:lnTo>
                  <a:pt x="397" y="191"/>
                </a:lnTo>
                <a:lnTo>
                  <a:pt x="398" y="193"/>
                </a:lnTo>
                <a:lnTo>
                  <a:pt x="399" y="193"/>
                </a:lnTo>
                <a:lnTo>
                  <a:pt x="401" y="192"/>
                </a:lnTo>
                <a:lnTo>
                  <a:pt x="404" y="192"/>
                </a:lnTo>
                <a:lnTo>
                  <a:pt x="405" y="192"/>
                </a:lnTo>
                <a:lnTo>
                  <a:pt x="406" y="191"/>
                </a:lnTo>
                <a:lnTo>
                  <a:pt x="407" y="189"/>
                </a:lnTo>
                <a:lnTo>
                  <a:pt x="407" y="189"/>
                </a:lnTo>
                <a:lnTo>
                  <a:pt x="408" y="190"/>
                </a:lnTo>
                <a:lnTo>
                  <a:pt x="409" y="189"/>
                </a:lnTo>
                <a:lnTo>
                  <a:pt x="409" y="188"/>
                </a:lnTo>
                <a:lnTo>
                  <a:pt x="408" y="183"/>
                </a:lnTo>
                <a:lnTo>
                  <a:pt x="409" y="181"/>
                </a:lnTo>
                <a:lnTo>
                  <a:pt x="408" y="179"/>
                </a:lnTo>
                <a:lnTo>
                  <a:pt x="407" y="179"/>
                </a:lnTo>
                <a:lnTo>
                  <a:pt x="408" y="179"/>
                </a:lnTo>
                <a:lnTo>
                  <a:pt x="409" y="178"/>
                </a:lnTo>
                <a:lnTo>
                  <a:pt x="413" y="174"/>
                </a:lnTo>
                <a:lnTo>
                  <a:pt x="405" y="174"/>
                </a:lnTo>
                <a:lnTo>
                  <a:pt x="399" y="177"/>
                </a:lnTo>
                <a:lnTo>
                  <a:pt x="398" y="177"/>
                </a:lnTo>
                <a:lnTo>
                  <a:pt x="397" y="174"/>
                </a:lnTo>
                <a:lnTo>
                  <a:pt x="392" y="177"/>
                </a:lnTo>
                <a:lnTo>
                  <a:pt x="389" y="174"/>
                </a:lnTo>
                <a:lnTo>
                  <a:pt x="395" y="169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22" name="Freeform 1523"/>
          <p:cNvSpPr>
            <a:spLocks/>
          </p:cNvSpPr>
          <p:nvPr/>
        </p:nvSpPr>
        <p:spPr bwMode="auto">
          <a:xfrm>
            <a:off x="1452563" y="2597115"/>
            <a:ext cx="4762" cy="4763"/>
          </a:xfrm>
          <a:custGeom>
            <a:avLst/>
            <a:gdLst>
              <a:gd name="T0" fmla="*/ 0 w 3"/>
              <a:gd name="T1" fmla="*/ 0 h 3"/>
              <a:gd name="T2" fmla="*/ 0 w 3"/>
              <a:gd name="T3" fmla="*/ 0 h 3"/>
              <a:gd name="T4" fmla="*/ 2 w 3"/>
              <a:gd name="T5" fmla="*/ 0 h 3"/>
              <a:gd name="T6" fmla="*/ 3 w 3"/>
              <a:gd name="T7" fmla="*/ 1 h 3"/>
              <a:gd name="T8" fmla="*/ 3 w 3"/>
              <a:gd name="T9" fmla="*/ 1 h 3"/>
              <a:gd name="T10" fmla="*/ 2 w 3"/>
              <a:gd name="T11" fmla="*/ 3 h 3"/>
              <a:gd name="T12" fmla="*/ 1 w 3"/>
              <a:gd name="T13" fmla="*/ 3 h 3"/>
              <a:gd name="T14" fmla="*/ 0 w 3"/>
              <a:gd name="T15" fmla="*/ 0 h 3"/>
              <a:gd name="T16" fmla="*/ 1 w 3"/>
              <a:gd name="T17" fmla="*/ 3 h 3"/>
              <a:gd name="T18" fmla="*/ 0 w 3"/>
              <a:gd name="T1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" h="3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3" y="1"/>
                </a:lnTo>
                <a:lnTo>
                  <a:pt x="3" y="1"/>
                </a:lnTo>
                <a:lnTo>
                  <a:pt x="2" y="3"/>
                </a:lnTo>
                <a:lnTo>
                  <a:pt x="1" y="3"/>
                </a:lnTo>
                <a:lnTo>
                  <a:pt x="0" y="0"/>
                </a:lnTo>
                <a:lnTo>
                  <a:pt x="1" y="3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23" name="Freeform 1524"/>
          <p:cNvSpPr>
            <a:spLocks/>
          </p:cNvSpPr>
          <p:nvPr/>
        </p:nvSpPr>
        <p:spPr bwMode="auto">
          <a:xfrm>
            <a:off x="1452563" y="2597115"/>
            <a:ext cx="4762" cy="4763"/>
          </a:xfrm>
          <a:custGeom>
            <a:avLst/>
            <a:gdLst>
              <a:gd name="T0" fmla="*/ 0 w 3"/>
              <a:gd name="T1" fmla="*/ 0 h 3"/>
              <a:gd name="T2" fmla="*/ 0 w 3"/>
              <a:gd name="T3" fmla="*/ 0 h 3"/>
              <a:gd name="T4" fmla="*/ 2 w 3"/>
              <a:gd name="T5" fmla="*/ 0 h 3"/>
              <a:gd name="T6" fmla="*/ 3 w 3"/>
              <a:gd name="T7" fmla="*/ 1 h 3"/>
              <a:gd name="T8" fmla="*/ 3 w 3"/>
              <a:gd name="T9" fmla="*/ 1 h 3"/>
              <a:gd name="T10" fmla="*/ 2 w 3"/>
              <a:gd name="T11" fmla="*/ 3 h 3"/>
              <a:gd name="T12" fmla="*/ 1 w 3"/>
              <a:gd name="T13" fmla="*/ 3 h 3"/>
              <a:gd name="T14" fmla="*/ 0 w 3"/>
              <a:gd name="T15" fmla="*/ 0 h 3"/>
              <a:gd name="T16" fmla="*/ 1 w 3"/>
              <a:gd name="T17" fmla="*/ 3 h 3"/>
              <a:gd name="T18" fmla="*/ 0 w 3"/>
              <a:gd name="T1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" h="3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3" y="1"/>
                </a:lnTo>
                <a:lnTo>
                  <a:pt x="3" y="1"/>
                </a:lnTo>
                <a:lnTo>
                  <a:pt x="2" y="3"/>
                </a:lnTo>
                <a:lnTo>
                  <a:pt x="1" y="3"/>
                </a:lnTo>
                <a:lnTo>
                  <a:pt x="0" y="0"/>
                </a:lnTo>
                <a:lnTo>
                  <a:pt x="1" y="3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24" name="Freeform 1525"/>
          <p:cNvSpPr>
            <a:spLocks/>
          </p:cNvSpPr>
          <p:nvPr/>
        </p:nvSpPr>
        <p:spPr bwMode="auto">
          <a:xfrm>
            <a:off x="1462088" y="2595528"/>
            <a:ext cx="7937" cy="3175"/>
          </a:xfrm>
          <a:custGeom>
            <a:avLst/>
            <a:gdLst>
              <a:gd name="T0" fmla="*/ 1 w 5"/>
              <a:gd name="T1" fmla="*/ 0 h 2"/>
              <a:gd name="T2" fmla="*/ 2 w 5"/>
              <a:gd name="T3" fmla="*/ 1 h 2"/>
              <a:gd name="T4" fmla="*/ 5 w 5"/>
              <a:gd name="T5" fmla="*/ 1 h 2"/>
              <a:gd name="T6" fmla="*/ 5 w 5"/>
              <a:gd name="T7" fmla="*/ 1 h 2"/>
              <a:gd name="T8" fmla="*/ 4 w 5"/>
              <a:gd name="T9" fmla="*/ 1 h 2"/>
              <a:gd name="T10" fmla="*/ 1 w 5"/>
              <a:gd name="T11" fmla="*/ 2 h 2"/>
              <a:gd name="T12" fmla="*/ 0 w 5"/>
              <a:gd name="T13" fmla="*/ 2 h 2"/>
              <a:gd name="T14" fmla="*/ 1 w 5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2">
                <a:moveTo>
                  <a:pt x="1" y="0"/>
                </a:moveTo>
                <a:lnTo>
                  <a:pt x="2" y="1"/>
                </a:lnTo>
                <a:lnTo>
                  <a:pt x="5" y="1"/>
                </a:lnTo>
                <a:lnTo>
                  <a:pt x="5" y="1"/>
                </a:lnTo>
                <a:lnTo>
                  <a:pt x="4" y="1"/>
                </a:lnTo>
                <a:lnTo>
                  <a:pt x="1" y="2"/>
                </a:lnTo>
                <a:lnTo>
                  <a:pt x="0" y="2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25" name="Freeform 1526"/>
          <p:cNvSpPr>
            <a:spLocks/>
          </p:cNvSpPr>
          <p:nvPr/>
        </p:nvSpPr>
        <p:spPr bwMode="auto">
          <a:xfrm>
            <a:off x="1462088" y="2595528"/>
            <a:ext cx="7937" cy="3175"/>
          </a:xfrm>
          <a:custGeom>
            <a:avLst/>
            <a:gdLst>
              <a:gd name="T0" fmla="*/ 1 w 5"/>
              <a:gd name="T1" fmla="*/ 0 h 2"/>
              <a:gd name="T2" fmla="*/ 2 w 5"/>
              <a:gd name="T3" fmla="*/ 1 h 2"/>
              <a:gd name="T4" fmla="*/ 5 w 5"/>
              <a:gd name="T5" fmla="*/ 1 h 2"/>
              <a:gd name="T6" fmla="*/ 5 w 5"/>
              <a:gd name="T7" fmla="*/ 1 h 2"/>
              <a:gd name="T8" fmla="*/ 4 w 5"/>
              <a:gd name="T9" fmla="*/ 1 h 2"/>
              <a:gd name="T10" fmla="*/ 1 w 5"/>
              <a:gd name="T11" fmla="*/ 2 h 2"/>
              <a:gd name="T12" fmla="*/ 0 w 5"/>
              <a:gd name="T13" fmla="*/ 2 h 2"/>
              <a:gd name="T14" fmla="*/ 1 w 5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2">
                <a:moveTo>
                  <a:pt x="1" y="0"/>
                </a:moveTo>
                <a:lnTo>
                  <a:pt x="2" y="1"/>
                </a:lnTo>
                <a:lnTo>
                  <a:pt x="5" y="1"/>
                </a:lnTo>
                <a:lnTo>
                  <a:pt x="5" y="1"/>
                </a:lnTo>
                <a:lnTo>
                  <a:pt x="4" y="1"/>
                </a:lnTo>
                <a:lnTo>
                  <a:pt x="1" y="2"/>
                </a:lnTo>
                <a:lnTo>
                  <a:pt x="0" y="2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26" name="Freeform 1527"/>
          <p:cNvSpPr>
            <a:spLocks/>
          </p:cNvSpPr>
          <p:nvPr/>
        </p:nvSpPr>
        <p:spPr bwMode="auto">
          <a:xfrm>
            <a:off x="1487488" y="2612990"/>
            <a:ext cx="4762" cy="6350"/>
          </a:xfrm>
          <a:custGeom>
            <a:avLst/>
            <a:gdLst>
              <a:gd name="T0" fmla="*/ 1 w 3"/>
              <a:gd name="T1" fmla="*/ 0 h 4"/>
              <a:gd name="T2" fmla="*/ 0 w 3"/>
              <a:gd name="T3" fmla="*/ 0 h 4"/>
              <a:gd name="T4" fmla="*/ 0 w 3"/>
              <a:gd name="T5" fmla="*/ 0 h 4"/>
              <a:gd name="T6" fmla="*/ 1 w 3"/>
              <a:gd name="T7" fmla="*/ 1 h 4"/>
              <a:gd name="T8" fmla="*/ 3 w 3"/>
              <a:gd name="T9" fmla="*/ 1 h 4"/>
              <a:gd name="T10" fmla="*/ 3 w 3"/>
              <a:gd name="T11" fmla="*/ 2 h 4"/>
              <a:gd name="T12" fmla="*/ 1 w 3"/>
              <a:gd name="T13" fmla="*/ 4 h 4"/>
              <a:gd name="T14" fmla="*/ 1 w 3"/>
              <a:gd name="T15" fmla="*/ 4 h 4"/>
              <a:gd name="T16" fmla="*/ 1 w 3"/>
              <a:gd name="T17" fmla="*/ 1 h 4"/>
              <a:gd name="T18" fmla="*/ 1 w 3"/>
              <a:gd name="T19" fmla="*/ 1 h 4"/>
              <a:gd name="T20" fmla="*/ 1 w 3"/>
              <a:gd name="T2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" h="4">
                <a:moveTo>
                  <a:pt x="1" y="0"/>
                </a:moveTo>
                <a:lnTo>
                  <a:pt x="0" y="0"/>
                </a:lnTo>
                <a:lnTo>
                  <a:pt x="0" y="0"/>
                </a:lnTo>
                <a:lnTo>
                  <a:pt x="1" y="1"/>
                </a:lnTo>
                <a:lnTo>
                  <a:pt x="3" y="1"/>
                </a:lnTo>
                <a:lnTo>
                  <a:pt x="3" y="2"/>
                </a:lnTo>
                <a:lnTo>
                  <a:pt x="1" y="4"/>
                </a:lnTo>
                <a:lnTo>
                  <a:pt x="1" y="4"/>
                </a:lnTo>
                <a:lnTo>
                  <a:pt x="1" y="1"/>
                </a:lnTo>
                <a:lnTo>
                  <a:pt x="1" y="1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27" name="Freeform 1528"/>
          <p:cNvSpPr>
            <a:spLocks/>
          </p:cNvSpPr>
          <p:nvPr/>
        </p:nvSpPr>
        <p:spPr bwMode="auto">
          <a:xfrm>
            <a:off x="1487488" y="2612990"/>
            <a:ext cx="4762" cy="6350"/>
          </a:xfrm>
          <a:custGeom>
            <a:avLst/>
            <a:gdLst>
              <a:gd name="T0" fmla="*/ 1 w 3"/>
              <a:gd name="T1" fmla="*/ 0 h 4"/>
              <a:gd name="T2" fmla="*/ 0 w 3"/>
              <a:gd name="T3" fmla="*/ 0 h 4"/>
              <a:gd name="T4" fmla="*/ 0 w 3"/>
              <a:gd name="T5" fmla="*/ 0 h 4"/>
              <a:gd name="T6" fmla="*/ 1 w 3"/>
              <a:gd name="T7" fmla="*/ 1 h 4"/>
              <a:gd name="T8" fmla="*/ 3 w 3"/>
              <a:gd name="T9" fmla="*/ 1 h 4"/>
              <a:gd name="T10" fmla="*/ 3 w 3"/>
              <a:gd name="T11" fmla="*/ 2 h 4"/>
              <a:gd name="T12" fmla="*/ 1 w 3"/>
              <a:gd name="T13" fmla="*/ 4 h 4"/>
              <a:gd name="T14" fmla="*/ 1 w 3"/>
              <a:gd name="T15" fmla="*/ 4 h 4"/>
              <a:gd name="T16" fmla="*/ 1 w 3"/>
              <a:gd name="T17" fmla="*/ 1 h 4"/>
              <a:gd name="T18" fmla="*/ 1 w 3"/>
              <a:gd name="T19" fmla="*/ 1 h 4"/>
              <a:gd name="T20" fmla="*/ 1 w 3"/>
              <a:gd name="T2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" h="4">
                <a:moveTo>
                  <a:pt x="1" y="0"/>
                </a:moveTo>
                <a:lnTo>
                  <a:pt x="0" y="0"/>
                </a:lnTo>
                <a:lnTo>
                  <a:pt x="0" y="0"/>
                </a:lnTo>
                <a:lnTo>
                  <a:pt x="1" y="1"/>
                </a:lnTo>
                <a:lnTo>
                  <a:pt x="3" y="1"/>
                </a:lnTo>
                <a:lnTo>
                  <a:pt x="3" y="2"/>
                </a:lnTo>
                <a:lnTo>
                  <a:pt x="1" y="4"/>
                </a:lnTo>
                <a:lnTo>
                  <a:pt x="1" y="4"/>
                </a:lnTo>
                <a:lnTo>
                  <a:pt x="1" y="1"/>
                </a:lnTo>
                <a:lnTo>
                  <a:pt x="1" y="1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28" name="Freeform 1529"/>
          <p:cNvSpPr>
            <a:spLocks/>
          </p:cNvSpPr>
          <p:nvPr/>
        </p:nvSpPr>
        <p:spPr bwMode="auto">
          <a:xfrm>
            <a:off x="1481138" y="2625690"/>
            <a:ext cx="4762" cy="6350"/>
          </a:xfrm>
          <a:custGeom>
            <a:avLst/>
            <a:gdLst>
              <a:gd name="T0" fmla="*/ 0 w 3"/>
              <a:gd name="T1" fmla="*/ 0 h 4"/>
              <a:gd name="T2" fmla="*/ 1 w 3"/>
              <a:gd name="T3" fmla="*/ 0 h 4"/>
              <a:gd name="T4" fmla="*/ 1 w 3"/>
              <a:gd name="T5" fmla="*/ 0 h 4"/>
              <a:gd name="T6" fmla="*/ 1 w 3"/>
              <a:gd name="T7" fmla="*/ 2 h 4"/>
              <a:gd name="T8" fmla="*/ 2 w 3"/>
              <a:gd name="T9" fmla="*/ 2 h 4"/>
              <a:gd name="T10" fmla="*/ 3 w 3"/>
              <a:gd name="T11" fmla="*/ 4 h 4"/>
              <a:gd name="T12" fmla="*/ 1 w 3"/>
              <a:gd name="T13" fmla="*/ 4 h 4"/>
              <a:gd name="T14" fmla="*/ 0 w 3"/>
              <a:gd name="T15" fmla="*/ 1 h 4"/>
              <a:gd name="T16" fmla="*/ 0 w 3"/>
              <a:gd name="T1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1" y="0"/>
                </a:lnTo>
                <a:lnTo>
                  <a:pt x="1" y="0"/>
                </a:lnTo>
                <a:lnTo>
                  <a:pt x="1" y="2"/>
                </a:lnTo>
                <a:lnTo>
                  <a:pt x="2" y="2"/>
                </a:lnTo>
                <a:lnTo>
                  <a:pt x="3" y="4"/>
                </a:lnTo>
                <a:lnTo>
                  <a:pt x="1" y="4"/>
                </a:ln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29" name="Freeform 1530"/>
          <p:cNvSpPr>
            <a:spLocks/>
          </p:cNvSpPr>
          <p:nvPr/>
        </p:nvSpPr>
        <p:spPr bwMode="auto">
          <a:xfrm>
            <a:off x="1481138" y="2625690"/>
            <a:ext cx="4762" cy="6350"/>
          </a:xfrm>
          <a:custGeom>
            <a:avLst/>
            <a:gdLst>
              <a:gd name="T0" fmla="*/ 0 w 3"/>
              <a:gd name="T1" fmla="*/ 0 h 4"/>
              <a:gd name="T2" fmla="*/ 1 w 3"/>
              <a:gd name="T3" fmla="*/ 0 h 4"/>
              <a:gd name="T4" fmla="*/ 1 w 3"/>
              <a:gd name="T5" fmla="*/ 0 h 4"/>
              <a:gd name="T6" fmla="*/ 1 w 3"/>
              <a:gd name="T7" fmla="*/ 2 h 4"/>
              <a:gd name="T8" fmla="*/ 2 w 3"/>
              <a:gd name="T9" fmla="*/ 2 h 4"/>
              <a:gd name="T10" fmla="*/ 3 w 3"/>
              <a:gd name="T11" fmla="*/ 4 h 4"/>
              <a:gd name="T12" fmla="*/ 1 w 3"/>
              <a:gd name="T13" fmla="*/ 4 h 4"/>
              <a:gd name="T14" fmla="*/ 0 w 3"/>
              <a:gd name="T15" fmla="*/ 1 h 4"/>
              <a:gd name="T16" fmla="*/ 0 w 3"/>
              <a:gd name="T1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1" y="0"/>
                </a:lnTo>
                <a:lnTo>
                  <a:pt x="1" y="0"/>
                </a:lnTo>
                <a:lnTo>
                  <a:pt x="1" y="2"/>
                </a:lnTo>
                <a:lnTo>
                  <a:pt x="2" y="2"/>
                </a:lnTo>
                <a:lnTo>
                  <a:pt x="3" y="4"/>
                </a:lnTo>
                <a:lnTo>
                  <a:pt x="1" y="4"/>
                </a:lnTo>
                <a:lnTo>
                  <a:pt x="0" y="1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30" name="Freeform 1531"/>
          <p:cNvSpPr>
            <a:spLocks/>
          </p:cNvSpPr>
          <p:nvPr/>
        </p:nvSpPr>
        <p:spPr bwMode="auto">
          <a:xfrm>
            <a:off x="1452563" y="2597115"/>
            <a:ext cx="4762" cy="4763"/>
          </a:xfrm>
          <a:custGeom>
            <a:avLst/>
            <a:gdLst>
              <a:gd name="T0" fmla="*/ 0 w 3"/>
              <a:gd name="T1" fmla="*/ 0 h 3"/>
              <a:gd name="T2" fmla="*/ 0 w 3"/>
              <a:gd name="T3" fmla="*/ 0 h 3"/>
              <a:gd name="T4" fmla="*/ 2 w 3"/>
              <a:gd name="T5" fmla="*/ 0 h 3"/>
              <a:gd name="T6" fmla="*/ 3 w 3"/>
              <a:gd name="T7" fmla="*/ 1 h 3"/>
              <a:gd name="T8" fmla="*/ 3 w 3"/>
              <a:gd name="T9" fmla="*/ 1 h 3"/>
              <a:gd name="T10" fmla="*/ 2 w 3"/>
              <a:gd name="T11" fmla="*/ 3 h 3"/>
              <a:gd name="T12" fmla="*/ 1 w 3"/>
              <a:gd name="T13" fmla="*/ 3 h 3"/>
              <a:gd name="T14" fmla="*/ 0 w 3"/>
              <a:gd name="T15" fmla="*/ 0 h 3"/>
              <a:gd name="T16" fmla="*/ 1 w 3"/>
              <a:gd name="T17" fmla="*/ 3 h 3"/>
              <a:gd name="T18" fmla="*/ 0 w 3"/>
              <a:gd name="T1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" h="3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3" y="1"/>
                </a:lnTo>
                <a:lnTo>
                  <a:pt x="3" y="1"/>
                </a:lnTo>
                <a:lnTo>
                  <a:pt x="2" y="3"/>
                </a:lnTo>
                <a:lnTo>
                  <a:pt x="1" y="3"/>
                </a:lnTo>
                <a:lnTo>
                  <a:pt x="0" y="0"/>
                </a:lnTo>
                <a:lnTo>
                  <a:pt x="1" y="3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31" name="Freeform 1532"/>
          <p:cNvSpPr>
            <a:spLocks/>
          </p:cNvSpPr>
          <p:nvPr/>
        </p:nvSpPr>
        <p:spPr bwMode="auto">
          <a:xfrm>
            <a:off x="1452563" y="2597115"/>
            <a:ext cx="4762" cy="4763"/>
          </a:xfrm>
          <a:custGeom>
            <a:avLst/>
            <a:gdLst>
              <a:gd name="T0" fmla="*/ 0 w 3"/>
              <a:gd name="T1" fmla="*/ 0 h 3"/>
              <a:gd name="T2" fmla="*/ 0 w 3"/>
              <a:gd name="T3" fmla="*/ 0 h 3"/>
              <a:gd name="T4" fmla="*/ 2 w 3"/>
              <a:gd name="T5" fmla="*/ 0 h 3"/>
              <a:gd name="T6" fmla="*/ 3 w 3"/>
              <a:gd name="T7" fmla="*/ 1 h 3"/>
              <a:gd name="T8" fmla="*/ 3 w 3"/>
              <a:gd name="T9" fmla="*/ 1 h 3"/>
              <a:gd name="T10" fmla="*/ 2 w 3"/>
              <a:gd name="T11" fmla="*/ 3 h 3"/>
              <a:gd name="T12" fmla="*/ 1 w 3"/>
              <a:gd name="T13" fmla="*/ 3 h 3"/>
              <a:gd name="T14" fmla="*/ 0 w 3"/>
              <a:gd name="T15" fmla="*/ 0 h 3"/>
              <a:gd name="T16" fmla="*/ 1 w 3"/>
              <a:gd name="T17" fmla="*/ 3 h 3"/>
              <a:gd name="T18" fmla="*/ 0 w 3"/>
              <a:gd name="T1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" h="3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3" y="1"/>
                </a:lnTo>
                <a:lnTo>
                  <a:pt x="3" y="1"/>
                </a:lnTo>
                <a:lnTo>
                  <a:pt x="2" y="3"/>
                </a:lnTo>
                <a:lnTo>
                  <a:pt x="1" y="3"/>
                </a:lnTo>
                <a:lnTo>
                  <a:pt x="0" y="0"/>
                </a:lnTo>
                <a:lnTo>
                  <a:pt x="1" y="3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32" name="Freeform 1533"/>
          <p:cNvSpPr>
            <a:spLocks/>
          </p:cNvSpPr>
          <p:nvPr/>
        </p:nvSpPr>
        <p:spPr bwMode="auto">
          <a:xfrm>
            <a:off x="1462088" y="2595528"/>
            <a:ext cx="7937" cy="3175"/>
          </a:xfrm>
          <a:custGeom>
            <a:avLst/>
            <a:gdLst>
              <a:gd name="T0" fmla="*/ 1 w 5"/>
              <a:gd name="T1" fmla="*/ 0 h 2"/>
              <a:gd name="T2" fmla="*/ 2 w 5"/>
              <a:gd name="T3" fmla="*/ 1 h 2"/>
              <a:gd name="T4" fmla="*/ 5 w 5"/>
              <a:gd name="T5" fmla="*/ 1 h 2"/>
              <a:gd name="T6" fmla="*/ 5 w 5"/>
              <a:gd name="T7" fmla="*/ 1 h 2"/>
              <a:gd name="T8" fmla="*/ 4 w 5"/>
              <a:gd name="T9" fmla="*/ 1 h 2"/>
              <a:gd name="T10" fmla="*/ 1 w 5"/>
              <a:gd name="T11" fmla="*/ 2 h 2"/>
              <a:gd name="T12" fmla="*/ 0 w 5"/>
              <a:gd name="T13" fmla="*/ 2 h 2"/>
              <a:gd name="T14" fmla="*/ 1 w 5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2">
                <a:moveTo>
                  <a:pt x="1" y="0"/>
                </a:moveTo>
                <a:lnTo>
                  <a:pt x="2" y="1"/>
                </a:lnTo>
                <a:lnTo>
                  <a:pt x="5" y="1"/>
                </a:lnTo>
                <a:lnTo>
                  <a:pt x="5" y="1"/>
                </a:lnTo>
                <a:lnTo>
                  <a:pt x="4" y="1"/>
                </a:lnTo>
                <a:lnTo>
                  <a:pt x="1" y="2"/>
                </a:lnTo>
                <a:lnTo>
                  <a:pt x="0" y="2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33" name="Freeform 1534"/>
          <p:cNvSpPr>
            <a:spLocks/>
          </p:cNvSpPr>
          <p:nvPr/>
        </p:nvSpPr>
        <p:spPr bwMode="auto">
          <a:xfrm>
            <a:off x="1462088" y="2595528"/>
            <a:ext cx="7937" cy="3175"/>
          </a:xfrm>
          <a:custGeom>
            <a:avLst/>
            <a:gdLst>
              <a:gd name="T0" fmla="*/ 1 w 5"/>
              <a:gd name="T1" fmla="*/ 0 h 2"/>
              <a:gd name="T2" fmla="*/ 2 w 5"/>
              <a:gd name="T3" fmla="*/ 1 h 2"/>
              <a:gd name="T4" fmla="*/ 5 w 5"/>
              <a:gd name="T5" fmla="*/ 1 h 2"/>
              <a:gd name="T6" fmla="*/ 5 w 5"/>
              <a:gd name="T7" fmla="*/ 1 h 2"/>
              <a:gd name="T8" fmla="*/ 4 w 5"/>
              <a:gd name="T9" fmla="*/ 1 h 2"/>
              <a:gd name="T10" fmla="*/ 1 w 5"/>
              <a:gd name="T11" fmla="*/ 2 h 2"/>
              <a:gd name="T12" fmla="*/ 0 w 5"/>
              <a:gd name="T13" fmla="*/ 2 h 2"/>
              <a:gd name="T14" fmla="*/ 1 w 5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2">
                <a:moveTo>
                  <a:pt x="1" y="0"/>
                </a:moveTo>
                <a:lnTo>
                  <a:pt x="2" y="1"/>
                </a:lnTo>
                <a:lnTo>
                  <a:pt x="5" y="1"/>
                </a:lnTo>
                <a:lnTo>
                  <a:pt x="5" y="1"/>
                </a:lnTo>
                <a:lnTo>
                  <a:pt x="4" y="1"/>
                </a:lnTo>
                <a:lnTo>
                  <a:pt x="1" y="2"/>
                </a:lnTo>
                <a:lnTo>
                  <a:pt x="0" y="2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34" name="Freeform 1535"/>
          <p:cNvSpPr>
            <a:spLocks/>
          </p:cNvSpPr>
          <p:nvPr/>
        </p:nvSpPr>
        <p:spPr bwMode="auto">
          <a:xfrm>
            <a:off x="1487488" y="2612990"/>
            <a:ext cx="4762" cy="6350"/>
          </a:xfrm>
          <a:custGeom>
            <a:avLst/>
            <a:gdLst>
              <a:gd name="T0" fmla="*/ 1 w 3"/>
              <a:gd name="T1" fmla="*/ 0 h 4"/>
              <a:gd name="T2" fmla="*/ 0 w 3"/>
              <a:gd name="T3" fmla="*/ 0 h 4"/>
              <a:gd name="T4" fmla="*/ 0 w 3"/>
              <a:gd name="T5" fmla="*/ 0 h 4"/>
              <a:gd name="T6" fmla="*/ 1 w 3"/>
              <a:gd name="T7" fmla="*/ 1 h 4"/>
              <a:gd name="T8" fmla="*/ 3 w 3"/>
              <a:gd name="T9" fmla="*/ 1 h 4"/>
              <a:gd name="T10" fmla="*/ 3 w 3"/>
              <a:gd name="T11" fmla="*/ 2 h 4"/>
              <a:gd name="T12" fmla="*/ 1 w 3"/>
              <a:gd name="T13" fmla="*/ 4 h 4"/>
              <a:gd name="T14" fmla="*/ 1 w 3"/>
              <a:gd name="T15" fmla="*/ 4 h 4"/>
              <a:gd name="T16" fmla="*/ 1 w 3"/>
              <a:gd name="T17" fmla="*/ 1 h 4"/>
              <a:gd name="T18" fmla="*/ 1 w 3"/>
              <a:gd name="T19" fmla="*/ 1 h 4"/>
              <a:gd name="T20" fmla="*/ 1 w 3"/>
              <a:gd name="T2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" h="4">
                <a:moveTo>
                  <a:pt x="1" y="0"/>
                </a:moveTo>
                <a:lnTo>
                  <a:pt x="0" y="0"/>
                </a:lnTo>
                <a:lnTo>
                  <a:pt x="0" y="0"/>
                </a:lnTo>
                <a:lnTo>
                  <a:pt x="1" y="1"/>
                </a:lnTo>
                <a:lnTo>
                  <a:pt x="3" y="1"/>
                </a:lnTo>
                <a:lnTo>
                  <a:pt x="3" y="2"/>
                </a:lnTo>
                <a:lnTo>
                  <a:pt x="1" y="4"/>
                </a:lnTo>
                <a:lnTo>
                  <a:pt x="1" y="4"/>
                </a:lnTo>
                <a:lnTo>
                  <a:pt x="1" y="1"/>
                </a:lnTo>
                <a:lnTo>
                  <a:pt x="1" y="1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35" name="Freeform 1536"/>
          <p:cNvSpPr>
            <a:spLocks/>
          </p:cNvSpPr>
          <p:nvPr/>
        </p:nvSpPr>
        <p:spPr bwMode="auto">
          <a:xfrm>
            <a:off x="1487488" y="2612990"/>
            <a:ext cx="4762" cy="6350"/>
          </a:xfrm>
          <a:custGeom>
            <a:avLst/>
            <a:gdLst>
              <a:gd name="T0" fmla="*/ 1 w 3"/>
              <a:gd name="T1" fmla="*/ 0 h 4"/>
              <a:gd name="T2" fmla="*/ 0 w 3"/>
              <a:gd name="T3" fmla="*/ 0 h 4"/>
              <a:gd name="T4" fmla="*/ 0 w 3"/>
              <a:gd name="T5" fmla="*/ 0 h 4"/>
              <a:gd name="T6" fmla="*/ 1 w 3"/>
              <a:gd name="T7" fmla="*/ 1 h 4"/>
              <a:gd name="T8" fmla="*/ 3 w 3"/>
              <a:gd name="T9" fmla="*/ 1 h 4"/>
              <a:gd name="T10" fmla="*/ 3 w 3"/>
              <a:gd name="T11" fmla="*/ 2 h 4"/>
              <a:gd name="T12" fmla="*/ 1 w 3"/>
              <a:gd name="T13" fmla="*/ 4 h 4"/>
              <a:gd name="T14" fmla="*/ 1 w 3"/>
              <a:gd name="T15" fmla="*/ 4 h 4"/>
              <a:gd name="T16" fmla="*/ 1 w 3"/>
              <a:gd name="T17" fmla="*/ 1 h 4"/>
              <a:gd name="T18" fmla="*/ 1 w 3"/>
              <a:gd name="T19" fmla="*/ 1 h 4"/>
              <a:gd name="T20" fmla="*/ 1 w 3"/>
              <a:gd name="T2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" h="4">
                <a:moveTo>
                  <a:pt x="1" y="0"/>
                </a:moveTo>
                <a:lnTo>
                  <a:pt x="0" y="0"/>
                </a:lnTo>
                <a:lnTo>
                  <a:pt x="0" y="0"/>
                </a:lnTo>
                <a:lnTo>
                  <a:pt x="1" y="1"/>
                </a:lnTo>
                <a:lnTo>
                  <a:pt x="3" y="1"/>
                </a:lnTo>
                <a:lnTo>
                  <a:pt x="3" y="2"/>
                </a:lnTo>
                <a:lnTo>
                  <a:pt x="1" y="4"/>
                </a:lnTo>
                <a:lnTo>
                  <a:pt x="1" y="4"/>
                </a:lnTo>
                <a:lnTo>
                  <a:pt x="1" y="1"/>
                </a:lnTo>
                <a:lnTo>
                  <a:pt x="1" y="1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36" name="Freeform 1537"/>
          <p:cNvSpPr>
            <a:spLocks/>
          </p:cNvSpPr>
          <p:nvPr/>
        </p:nvSpPr>
        <p:spPr bwMode="auto">
          <a:xfrm>
            <a:off x="1481138" y="2625690"/>
            <a:ext cx="4762" cy="6350"/>
          </a:xfrm>
          <a:custGeom>
            <a:avLst/>
            <a:gdLst>
              <a:gd name="T0" fmla="*/ 0 w 3"/>
              <a:gd name="T1" fmla="*/ 0 h 4"/>
              <a:gd name="T2" fmla="*/ 1 w 3"/>
              <a:gd name="T3" fmla="*/ 0 h 4"/>
              <a:gd name="T4" fmla="*/ 1 w 3"/>
              <a:gd name="T5" fmla="*/ 0 h 4"/>
              <a:gd name="T6" fmla="*/ 1 w 3"/>
              <a:gd name="T7" fmla="*/ 2 h 4"/>
              <a:gd name="T8" fmla="*/ 2 w 3"/>
              <a:gd name="T9" fmla="*/ 2 h 4"/>
              <a:gd name="T10" fmla="*/ 3 w 3"/>
              <a:gd name="T11" fmla="*/ 4 h 4"/>
              <a:gd name="T12" fmla="*/ 1 w 3"/>
              <a:gd name="T13" fmla="*/ 4 h 4"/>
              <a:gd name="T14" fmla="*/ 0 w 3"/>
              <a:gd name="T15" fmla="*/ 1 h 4"/>
              <a:gd name="T16" fmla="*/ 0 w 3"/>
              <a:gd name="T1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1" y="0"/>
                </a:lnTo>
                <a:lnTo>
                  <a:pt x="1" y="0"/>
                </a:lnTo>
                <a:lnTo>
                  <a:pt x="1" y="2"/>
                </a:lnTo>
                <a:lnTo>
                  <a:pt x="2" y="2"/>
                </a:lnTo>
                <a:lnTo>
                  <a:pt x="3" y="4"/>
                </a:lnTo>
                <a:lnTo>
                  <a:pt x="1" y="4"/>
                </a:ln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37" name="Freeform 1538"/>
          <p:cNvSpPr>
            <a:spLocks/>
          </p:cNvSpPr>
          <p:nvPr/>
        </p:nvSpPr>
        <p:spPr bwMode="auto">
          <a:xfrm>
            <a:off x="1481138" y="2625690"/>
            <a:ext cx="4762" cy="6350"/>
          </a:xfrm>
          <a:custGeom>
            <a:avLst/>
            <a:gdLst>
              <a:gd name="T0" fmla="*/ 0 w 3"/>
              <a:gd name="T1" fmla="*/ 0 h 4"/>
              <a:gd name="T2" fmla="*/ 1 w 3"/>
              <a:gd name="T3" fmla="*/ 0 h 4"/>
              <a:gd name="T4" fmla="*/ 1 w 3"/>
              <a:gd name="T5" fmla="*/ 0 h 4"/>
              <a:gd name="T6" fmla="*/ 1 w 3"/>
              <a:gd name="T7" fmla="*/ 2 h 4"/>
              <a:gd name="T8" fmla="*/ 2 w 3"/>
              <a:gd name="T9" fmla="*/ 2 h 4"/>
              <a:gd name="T10" fmla="*/ 3 w 3"/>
              <a:gd name="T11" fmla="*/ 4 h 4"/>
              <a:gd name="T12" fmla="*/ 1 w 3"/>
              <a:gd name="T13" fmla="*/ 4 h 4"/>
              <a:gd name="T14" fmla="*/ 0 w 3"/>
              <a:gd name="T15" fmla="*/ 1 h 4"/>
              <a:gd name="T16" fmla="*/ 0 w 3"/>
              <a:gd name="T1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4">
                <a:moveTo>
                  <a:pt x="0" y="0"/>
                </a:moveTo>
                <a:lnTo>
                  <a:pt x="1" y="0"/>
                </a:lnTo>
                <a:lnTo>
                  <a:pt x="1" y="0"/>
                </a:lnTo>
                <a:lnTo>
                  <a:pt x="1" y="2"/>
                </a:lnTo>
                <a:lnTo>
                  <a:pt x="2" y="2"/>
                </a:lnTo>
                <a:lnTo>
                  <a:pt x="3" y="4"/>
                </a:lnTo>
                <a:lnTo>
                  <a:pt x="1" y="4"/>
                </a:lnTo>
                <a:lnTo>
                  <a:pt x="0" y="1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38" name="Freeform 1539"/>
          <p:cNvSpPr>
            <a:spLocks/>
          </p:cNvSpPr>
          <p:nvPr/>
        </p:nvSpPr>
        <p:spPr bwMode="auto">
          <a:xfrm>
            <a:off x="1962150" y="2763803"/>
            <a:ext cx="17462" cy="15875"/>
          </a:xfrm>
          <a:custGeom>
            <a:avLst/>
            <a:gdLst>
              <a:gd name="T0" fmla="*/ 3 w 11"/>
              <a:gd name="T1" fmla="*/ 5 h 10"/>
              <a:gd name="T2" fmla="*/ 3 w 11"/>
              <a:gd name="T3" fmla="*/ 5 h 10"/>
              <a:gd name="T4" fmla="*/ 4 w 11"/>
              <a:gd name="T5" fmla="*/ 4 h 10"/>
              <a:gd name="T6" fmla="*/ 6 w 11"/>
              <a:gd name="T7" fmla="*/ 2 h 10"/>
              <a:gd name="T8" fmla="*/ 8 w 11"/>
              <a:gd name="T9" fmla="*/ 2 h 10"/>
              <a:gd name="T10" fmla="*/ 9 w 11"/>
              <a:gd name="T11" fmla="*/ 1 h 10"/>
              <a:gd name="T12" fmla="*/ 10 w 11"/>
              <a:gd name="T13" fmla="*/ 0 h 10"/>
              <a:gd name="T14" fmla="*/ 11 w 11"/>
              <a:gd name="T15" fmla="*/ 0 h 10"/>
              <a:gd name="T16" fmla="*/ 11 w 11"/>
              <a:gd name="T17" fmla="*/ 0 h 10"/>
              <a:gd name="T18" fmla="*/ 11 w 11"/>
              <a:gd name="T19" fmla="*/ 1 h 10"/>
              <a:gd name="T20" fmla="*/ 6 w 11"/>
              <a:gd name="T21" fmla="*/ 5 h 10"/>
              <a:gd name="T22" fmla="*/ 1 w 11"/>
              <a:gd name="T23" fmla="*/ 10 h 10"/>
              <a:gd name="T24" fmla="*/ 0 w 11"/>
              <a:gd name="T25" fmla="*/ 10 h 10"/>
              <a:gd name="T26" fmla="*/ 0 w 11"/>
              <a:gd name="T27" fmla="*/ 10 h 10"/>
              <a:gd name="T28" fmla="*/ 2 w 11"/>
              <a:gd name="T29" fmla="*/ 7 h 10"/>
              <a:gd name="T30" fmla="*/ 3 w 11"/>
              <a:gd name="T31" fmla="*/ 6 h 10"/>
              <a:gd name="T32" fmla="*/ 3 w 11"/>
              <a:gd name="T33" fmla="*/ 5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" h="10">
                <a:moveTo>
                  <a:pt x="3" y="5"/>
                </a:moveTo>
                <a:lnTo>
                  <a:pt x="3" y="5"/>
                </a:lnTo>
                <a:lnTo>
                  <a:pt x="4" y="4"/>
                </a:lnTo>
                <a:lnTo>
                  <a:pt x="6" y="2"/>
                </a:lnTo>
                <a:lnTo>
                  <a:pt x="8" y="2"/>
                </a:lnTo>
                <a:lnTo>
                  <a:pt x="9" y="1"/>
                </a:lnTo>
                <a:lnTo>
                  <a:pt x="10" y="0"/>
                </a:lnTo>
                <a:lnTo>
                  <a:pt x="11" y="0"/>
                </a:lnTo>
                <a:lnTo>
                  <a:pt x="11" y="0"/>
                </a:lnTo>
                <a:lnTo>
                  <a:pt x="11" y="1"/>
                </a:lnTo>
                <a:lnTo>
                  <a:pt x="6" y="5"/>
                </a:lnTo>
                <a:lnTo>
                  <a:pt x="1" y="10"/>
                </a:lnTo>
                <a:lnTo>
                  <a:pt x="0" y="10"/>
                </a:lnTo>
                <a:lnTo>
                  <a:pt x="0" y="10"/>
                </a:lnTo>
                <a:lnTo>
                  <a:pt x="2" y="7"/>
                </a:lnTo>
                <a:lnTo>
                  <a:pt x="3" y="6"/>
                </a:lnTo>
                <a:lnTo>
                  <a:pt x="3" y="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39" name="Freeform 1540"/>
          <p:cNvSpPr>
            <a:spLocks/>
          </p:cNvSpPr>
          <p:nvPr/>
        </p:nvSpPr>
        <p:spPr bwMode="auto">
          <a:xfrm>
            <a:off x="1962150" y="2763803"/>
            <a:ext cx="17462" cy="15875"/>
          </a:xfrm>
          <a:custGeom>
            <a:avLst/>
            <a:gdLst>
              <a:gd name="T0" fmla="*/ 3 w 11"/>
              <a:gd name="T1" fmla="*/ 5 h 10"/>
              <a:gd name="T2" fmla="*/ 3 w 11"/>
              <a:gd name="T3" fmla="*/ 5 h 10"/>
              <a:gd name="T4" fmla="*/ 4 w 11"/>
              <a:gd name="T5" fmla="*/ 4 h 10"/>
              <a:gd name="T6" fmla="*/ 6 w 11"/>
              <a:gd name="T7" fmla="*/ 2 h 10"/>
              <a:gd name="T8" fmla="*/ 8 w 11"/>
              <a:gd name="T9" fmla="*/ 2 h 10"/>
              <a:gd name="T10" fmla="*/ 9 w 11"/>
              <a:gd name="T11" fmla="*/ 1 h 10"/>
              <a:gd name="T12" fmla="*/ 10 w 11"/>
              <a:gd name="T13" fmla="*/ 0 h 10"/>
              <a:gd name="T14" fmla="*/ 11 w 11"/>
              <a:gd name="T15" fmla="*/ 0 h 10"/>
              <a:gd name="T16" fmla="*/ 11 w 11"/>
              <a:gd name="T17" fmla="*/ 0 h 10"/>
              <a:gd name="T18" fmla="*/ 11 w 11"/>
              <a:gd name="T19" fmla="*/ 1 h 10"/>
              <a:gd name="T20" fmla="*/ 6 w 11"/>
              <a:gd name="T21" fmla="*/ 5 h 10"/>
              <a:gd name="T22" fmla="*/ 1 w 11"/>
              <a:gd name="T23" fmla="*/ 10 h 10"/>
              <a:gd name="T24" fmla="*/ 0 w 11"/>
              <a:gd name="T25" fmla="*/ 10 h 10"/>
              <a:gd name="T26" fmla="*/ 0 w 11"/>
              <a:gd name="T27" fmla="*/ 10 h 10"/>
              <a:gd name="T28" fmla="*/ 2 w 11"/>
              <a:gd name="T29" fmla="*/ 7 h 10"/>
              <a:gd name="T30" fmla="*/ 3 w 11"/>
              <a:gd name="T31" fmla="*/ 6 h 10"/>
              <a:gd name="T32" fmla="*/ 3 w 11"/>
              <a:gd name="T33" fmla="*/ 5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1" h="10">
                <a:moveTo>
                  <a:pt x="3" y="5"/>
                </a:moveTo>
                <a:lnTo>
                  <a:pt x="3" y="5"/>
                </a:lnTo>
                <a:lnTo>
                  <a:pt x="4" y="4"/>
                </a:lnTo>
                <a:lnTo>
                  <a:pt x="6" y="2"/>
                </a:lnTo>
                <a:lnTo>
                  <a:pt x="8" y="2"/>
                </a:lnTo>
                <a:lnTo>
                  <a:pt x="9" y="1"/>
                </a:lnTo>
                <a:lnTo>
                  <a:pt x="10" y="0"/>
                </a:lnTo>
                <a:lnTo>
                  <a:pt x="11" y="0"/>
                </a:lnTo>
                <a:lnTo>
                  <a:pt x="11" y="0"/>
                </a:lnTo>
                <a:lnTo>
                  <a:pt x="11" y="1"/>
                </a:lnTo>
                <a:lnTo>
                  <a:pt x="6" y="5"/>
                </a:lnTo>
                <a:lnTo>
                  <a:pt x="1" y="10"/>
                </a:lnTo>
                <a:lnTo>
                  <a:pt x="0" y="10"/>
                </a:lnTo>
                <a:lnTo>
                  <a:pt x="0" y="10"/>
                </a:lnTo>
                <a:lnTo>
                  <a:pt x="2" y="7"/>
                </a:lnTo>
                <a:lnTo>
                  <a:pt x="3" y="6"/>
                </a:lnTo>
                <a:lnTo>
                  <a:pt x="3" y="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40" name="Freeform 1541"/>
          <p:cNvSpPr>
            <a:spLocks/>
          </p:cNvSpPr>
          <p:nvPr/>
        </p:nvSpPr>
        <p:spPr bwMode="auto">
          <a:xfrm>
            <a:off x="2351088" y="2851115"/>
            <a:ext cx="6350" cy="7938"/>
          </a:xfrm>
          <a:custGeom>
            <a:avLst/>
            <a:gdLst>
              <a:gd name="T0" fmla="*/ 4 w 4"/>
              <a:gd name="T1" fmla="*/ 0 h 5"/>
              <a:gd name="T2" fmla="*/ 3 w 4"/>
              <a:gd name="T3" fmla="*/ 0 h 5"/>
              <a:gd name="T4" fmla="*/ 0 w 4"/>
              <a:gd name="T5" fmla="*/ 5 h 5"/>
              <a:gd name="T6" fmla="*/ 0 w 4"/>
              <a:gd name="T7" fmla="*/ 5 h 5"/>
              <a:gd name="T8" fmla="*/ 4 w 4"/>
              <a:gd name="T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5">
                <a:moveTo>
                  <a:pt x="4" y="0"/>
                </a:moveTo>
                <a:lnTo>
                  <a:pt x="3" y="0"/>
                </a:lnTo>
                <a:lnTo>
                  <a:pt x="0" y="5"/>
                </a:lnTo>
                <a:lnTo>
                  <a:pt x="0" y="5"/>
                </a:lnTo>
                <a:lnTo>
                  <a:pt x="4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41" name="Freeform 1542"/>
          <p:cNvSpPr>
            <a:spLocks/>
          </p:cNvSpPr>
          <p:nvPr/>
        </p:nvSpPr>
        <p:spPr bwMode="auto">
          <a:xfrm>
            <a:off x="2351088" y="2851115"/>
            <a:ext cx="6350" cy="7938"/>
          </a:xfrm>
          <a:custGeom>
            <a:avLst/>
            <a:gdLst>
              <a:gd name="T0" fmla="*/ 4 w 4"/>
              <a:gd name="T1" fmla="*/ 0 h 5"/>
              <a:gd name="T2" fmla="*/ 3 w 4"/>
              <a:gd name="T3" fmla="*/ 0 h 5"/>
              <a:gd name="T4" fmla="*/ 0 w 4"/>
              <a:gd name="T5" fmla="*/ 5 h 5"/>
              <a:gd name="T6" fmla="*/ 0 w 4"/>
              <a:gd name="T7" fmla="*/ 5 h 5"/>
              <a:gd name="T8" fmla="*/ 4 w 4"/>
              <a:gd name="T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" h="5">
                <a:moveTo>
                  <a:pt x="4" y="0"/>
                </a:moveTo>
                <a:lnTo>
                  <a:pt x="3" y="0"/>
                </a:lnTo>
                <a:lnTo>
                  <a:pt x="0" y="5"/>
                </a:lnTo>
                <a:lnTo>
                  <a:pt x="0" y="5"/>
                </a:lnTo>
                <a:lnTo>
                  <a:pt x="4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42" name="Freeform 1543"/>
          <p:cNvSpPr>
            <a:spLocks/>
          </p:cNvSpPr>
          <p:nvPr/>
        </p:nvSpPr>
        <p:spPr bwMode="auto">
          <a:xfrm>
            <a:off x="2344738" y="2860640"/>
            <a:ext cx="3175" cy="3175"/>
          </a:xfrm>
          <a:custGeom>
            <a:avLst/>
            <a:gdLst>
              <a:gd name="T0" fmla="*/ 2 w 2"/>
              <a:gd name="T1" fmla="*/ 0 h 2"/>
              <a:gd name="T2" fmla="*/ 0 w 2"/>
              <a:gd name="T3" fmla="*/ 1 h 2"/>
              <a:gd name="T4" fmla="*/ 0 w 2"/>
              <a:gd name="T5" fmla="*/ 2 h 2"/>
              <a:gd name="T6" fmla="*/ 2 w 2"/>
              <a:gd name="T7" fmla="*/ 1 h 2"/>
              <a:gd name="T8" fmla="*/ 2 w 2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1"/>
                </a:lnTo>
                <a:lnTo>
                  <a:pt x="0" y="2"/>
                </a:lnTo>
                <a:lnTo>
                  <a:pt x="2" y="1"/>
                </a:lnTo>
                <a:lnTo>
                  <a:pt x="2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43" name="Freeform 1544"/>
          <p:cNvSpPr>
            <a:spLocks/>
          </p:cNvSpPr>
          <p:nvPr/>
        </p:nvSpPr>
        <p:spPr bwMode="auto">
          <a:xfrm>
            <a:off x="2344738" y="2860640"/>
            <a:ext cx="3175" cy="3175"/>
          </a:xfrm>
          <a:custGeom>
            <a:avLst/>
            <a:gdLst>
              <a:gd name="T0" fmla="*/ 2 w 2"/>
              <a:gd name="T1" fmla="*/ 0 h 2"/>
              <a:gd name="T2" fmla="*/ 0 w 2"/>
              <a:gd name="T3" fmla="*/ 1 h 2"/>
              <a:gd name="T4" fmla="*/ 0 w 2"/>
              <a:gd name="T5" fmla="*/ 2 h 2"/>
              <a:gd name="T6" fmla="*/ 2 w 2"/>
              <a:gd name="T7" fmla="*/ 1 h 2"/>
              <a:gd name="T8" fmla="*/ 2 w 2"/>
              <a:gd name="T9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" h="2">
                <a:moveTo>
                  <a:pt x="2" y="0"/>
                </a:moveTo>
                <a:lnTo>
                  <a:pt x="0" y="1"/>
                </a:lnTo>
                <a:lnTo>
                  <a:pt x="0" y="2"/>
                </a:lnTo>
                <a:lnTo>
                  <a:pt x="2" y="1"/>
                </a:lnTo>
                <a:lnTo>
                  <a:pt x="2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44" name="Freeform 1545"/>
          <p:cNvSpPr>
            <a:spLocks/>
          </p:cNvSpPr>
          <p:nvPr/>
        </p:nvSpPr>
        <p:spPr bwMode="auto">
          <a:xfrm>
            <a:off x="2319338" y="2863815"/>
            <a:ext cx="12700" cy="4763"/>
          </a:xfrm>
          <a:custGeom>
            <a:avLst/>
            <a:gdLst>
              <a:gd name="T0" fmla="*/ 8 w 8"/>
              <a:gd name="T1" fmla="*/ 2 h 3"/>
              <a:gd name="T2" fmla="*/ 6 w 8"/>
              <a:gd name="T3" fmla="*/ 2 h 3"/>
              <a:gd name="T4" fmla="*/ 2 w 8"/>
              <a:gd name="T5" fmla="*/ 3 h 3"/>
              <a:gd name="T6" fmla="*/ 0 w 8"/>
              <a:gd name="T7" fmla="*/ 3 h 3"/>
              <a:gd name="T8" fmla="*/ 0 w 8"/>
              <a:gd name="T9" fmla="*/ 2 h 3"/>
              <a:gd name="T10" fmla="*/ 3 w 8"/>
              <a:gd name="T11" fmla="*/ 2 h 3"/>
              <a:gd name="T12" fmla="*/ 7 w 8"/>
              <a:gd name="T13" fmla="*/ 0 h 3"/>
              <a:gd name="T14" fmla="*/ 8 w 8"/>
              <a:gd name="T15" fmla="*/ 0 h 3"/>
              <a:gd name="T16" fmla="*/ 8 w 8"/>
              <a:gd name="T17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" h="3">
                <a:moveTo>
                  <a:pt x="8" y="2"/>
                </a:moveTo>
                <a:lnTo>
                  <a:pt x="6" y="2"/>
                </a:lnTo>
                <a:lnTo>
                  <a:pt x="2" y="3"/>
                </a:lnTo>
                <a:lnTo>
                  <a:pt x="0" y="3"/>
                </a:lnTo>
                <a:lnTo>
                  <a:pt x="0" y="2"/>
                </a:lnTo>
                <a:lnTo>
                  <a:pt x="3" y="2"/>
                </a:lnTo>
                <a:lnTo>
                  <a:pt x="7" y="0"/>
                </a:lnTo>
                <a:lnTo>
                  <a:pt x="8" y="0"/>
                </a:lnTo>
                <a:lnTo>
                  <a:pt x="8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45" name="Freeform 1546"/>
          <p:cNvSpPr>
            <a:spLocks/>
          </p:cNvSpPr>
          <p:nvPr/>
        </p:nvSpPr>
        <p:spPr bwMode="auto">
          <a:xfrm>
            <a:off x="2319338" y="2863815"/>
            <a:ext cx="12700" cy="4763"/>
          </a:xfrm>
          <a:custGeom>
            <a:avLst/>
            <a:gdLst>
              <a:gd name="T0" fmla="*/ 8 w 8"/>
              <a:gd name="T1" fmla="*/ 2 h 3"/>
              <a:gd name="T2" fmla="*/ 6 w 8"/>
              <a:gd name="T3" fmla="*/ 2 h 3"/>
              <a:gd name="T4" fmla="*/ 2 w 8"/>
              <a:gd name="T5" fmla="*/ 3 h 3"/>
              <a:gd name="T6" fmla="*/ 0 w 8"/>
              <a:gd name="T7" fmla="*/ 3 h 3"/>
              <a:gd name="T8" fmla="*/ 0 w 8"/>
              <a:gd name="T9" fmla="*/ 2 h 3"/>
              <a:gd name="T10" fmla="*/ 3 w 8"/>
              <a:gd name="T11" fmla="*/ 2 h 3"/>
              <a:gd name="T12" fmla="*/ 7 w 8"/>
              <a:gd name="T13" fmla="*/ 0 h 3"/>
              <a:gd name="T14" fmla="*/ 8 w 8"/>
              <a:gd name="T15" fmla="*/ 0 h 3"/>
              <a:gd name="T16" fmla="*/ 8 w 8"/>
              <a:gd name="T17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" h="3">
                <a:moveTo>
                  <a:pt x="8" y="2"/>
                </a:moveTo>
                <a:lnTo>
                  <a:pt x="6" y="2"/>
                </a:lnTo>
                <a:lnTo>
                  <a:pt x="2" y="3"/>
                </a:lnTo>
                <a:lnTo>
                  <a:pt x="0" y="3"/>
                </a:lnTo>
                <a:lnTo>
                  <a:pt x="0" y="2"/>
                </a:lnTo>
                <a:lnTo>
                  <a:pt x="3" y="2"/>
                </a:lnTo>
                <a:lnTo>
                  <a:pt x="7" y="0"/>
                </a:lnTo>
                <a:lnTo>
                  <a:pt x="8" y="0"/>
                </a:lnTo>
                <a:lnTo>
                  <a:pt x="8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46" name="Freeform 1547"/>
          <p:cNvSpPr>
            <a:spLocks/>
          </p:cNvSpPr>
          <p:nvPr/>
        </p:nvSpPr>
        <p:spPr bwMode="auto">
          <a:xfrm>
            <a:off x="2520950" y="2563778"/>
            <a:ext cx="9525" cy="6350"/>
          </a:xfrm>
          <a:custGeom>
            <a:avLst/>
            <a:gdLst>
              <a:gd name="T0" fmla="*/ 0 w 6"/>
              <a:gd name="T1" fmla="*/ 4 h 4"/>
              <a:gd name="T2" fmla="*/ 0 w 6"/>
              <a:gd name="T3" fmla="*/ 4 h 4"/>
              <a:gd name="T4" fmla="*/ 6 w 6"/>
              <a:gd name="T5" fmla="*/ 0 h 4"/>
              <a:gd name="T6" fmla="*/ 5 w 6"/>
              <a:gd name="T7" fmla="*/ 0 h 4"/>
              <a:gd name="T8" fmla="*/ 0 w 6"/>
              <a:gd name="T9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4">
                <a:moveTo>
                  <a:pt x="0" y="4"/>
                </a:moveTo>
                <a:lnTo>
                  <a:pt x="0" y="4"/>
                </a:lnTo>
                <a:lnTo>
                  <a:pt x="6" y="0"/>
                </a:lnTo>
                <a:lnTo>
                  <a:pt x="5" y="0"/>
                </a:lnTo>
                <a:lnTo>
                  <a:pt x="0" y="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47" name="Freeform 1548"/>
          <p:cNvSpPr>
            <a:spLocks/>
          </p:cNvSpPr>
          <p:nvPr/>
        </p:nvSpPr>
        <p:spPr bwMode="auto">
          <a:xfrm>
            <a:off x="2520950" y="2563778"/>
            <a:ext cx="9525" cy="6350"/>
          </a:xfrm>
          <a:custGeom>
            <a:avLst/>
            <a:gdLst>
              <a:gd name="T0" fmla="*/ 0 w 6"/>
              <a:gd name="T1" fmla="*/ 4 h 4"/>
              <a:gd name="T2" fmla="*/ 0 w 6"/>
              <a:gd name="T3" fmla="*/ 4 h 4"/>
              <a:gd name="T4" fmla="*/ 6 w 6"/>
              <a:gd name="T5" fmla="*/ 0 h 4"/>
              <a:gd name="T6" fmla="*/ 5 w 6"/>
              <a:gd name="T7" fmla="*/ 0 h 4"/>
              <a:gd name="T8" fmla="*/ 0 w 6"/>
              <a:gd name="T9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4">
                <a:moveTo>
                  <a:pt x="0" y="4"/>
                </a:moveTo>
                <a:lnTo>
                  <a:pt x="0" y="4"/>
                </a:lnTo>
                <a:lnTo>
                  <a:pt x="6" y="0"/>
                </a:lnTo>
                <a:lnTo>
                  <a:pt x="5" y="0"/>
                </a:lnTo>
                <a:lnTo>
                  <a:pt x="0" y="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48" name="Freeform 1549"/>
          <p:cNvSpPr>
            <a:spLocks/>
          </p:cNvSpPr>
          <p:nvPr/>
        </p:nvSpPr>
        <p:spPr bwMode="auto">
          <a:xfrm>
            <a:off x="2532063" y="2538378"/>
            <a:ext cx="9525" cy="23813"/>
          </a:xfrm>
          <a:custGeom>
            <a:avLst/>
            <a:gdLst>
              <a:gd name="T0" fmla="*/ 0 w 6"/>
              <a:gd name="T1" fmla="*/ 15 h 15"/>
              <a:gd name="T2" fmla="*/ 0 w 6"/>
              <a:gd name="T3" fmla="*/ 15 h 15"/>
              <a:gd name="T4" fmla="*/ 4 w 6"/>
              <a:gd name="T5" fmla="*/ 15 h 15"/>
              <a:gd name="T6" fmla="*/ 6 w 6"/>
              <a:gd name="T7" fmla="*/ 7 h 15"/>
              <a:gd name="T8" fmla="*/ 5 w 6"/>
              <a:gd name="T9" fmla="*/ 0 h 15"/>
              <a:gd name="T10" fmla="*/ 4 w 6"/>
              <a:gd name="T11" fmla="*/ 1 h 15"/>
              <a:gd name="T12" fmla="*/ 6 w 6"/>
              <a:gd name="T13" fmla="*/ 7 h 15"/>
              <a:gd name="T14" fmla="*/ 3 w 6"/>
              <a:gd name="T15" fmla="*/ 14 h 15"/>
              <a:gd name="T16" fmla="*/ 0 w 6"/>
              <a:gd name="T17" fmla="*/ 15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" h="15">
                <a:moveTo>
                  <a:pt x="0" y="15"/>
                </a:moveTo>
                <a:lnTo>
                  <a:pt x="0" y="15"/>
                </a:lnTo>
                <a:lnTo>
                  <a:pt x="4" y="15"/>
                </a:lnTo>
                <a:lnTo>
                  <a:pt x="6" y="7"/>
                </a:lnTo>
                <a:lnTo>
                  <a:pt x="5" y="0"/>
                </a:lnTo>
                <a:lnTo>
                  <a:pt x="4" y="1"/>
                </a:lnTo>
                <a:lnTo>
                  <a:pt x="6" y="7"/>
                </a:lnTo>
                <a:lnTo>
                  <a:pt x="3" y="14"/>
                </a:lnTo>
                <a:lnTo>
                  <a:pt x="0" y="1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49" name="Freeform 1550"/>
          <p:cNvSpPr>
            <a:spLocks/>
          </p:cNvSpPr>
          <p:nvPr/>
        </p:nvSpPr>
        <p:spPr bwMode="auto">
          <a:xfrm>
            <a:off x="2532063" y="2538378"/>
            <a:ext cx="9525" cy="23813"/>
          </a:xfrm>
          <a:custGeom>
            <a:avLst/>
            <a:gdLst>
              <a:gd name="T0" fmla="*/ 0 w 6"/>
              <a:gd name="T1" fmla="*/ 15 h 15"/>
              <a:gd name="T2" fmla="*/ 0 w 6"/>
              <a:gd name="T3" fmla="*/ 15 h 15"/>
              <a:gd name="T4" fmla="*/ 4 w 6"/>
              <a:gd name="T5" fmla="*/ 15 h 15"/>
              <a:gd name="T6" fmla="*/ 6 w 6"/>
              <a:gd name="T7" fmla="*/ 7 h 15"/>
              <a:gd name="T8" fmla="*/ 5 w 6"/>
              <a:gd name="T9" fmla="*/ 0 h 15"/>
              <a:gd name="T10" fmla="*/ 4 w 6"/>
              <a:gd name="T11" fmla="*/ 1 h 15"/>
              <a:gd name="T12" fmla="*/ 6 w 6"/>
              <a:gd name="T13" fmla="*/ 7 h 15"/>
              <a:gd name="T14" fmla="*/ 3 w 6"/>
              <a:gd name="T15" fmla="*/ 14 h 15"/>
              <a:gd name="T16" fmla="*/ 0 w 6"/>
              <a:gd name="T17" fmla="*/ 15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" h="15">
                <a:moveTo>
                  <a:pt x="0" y="15"/>
                </a:moveTo>
                <a:lnTo>
                  <a:pt x="0" y="15"/>
                </a:lnTo>
                <a:lnTo>
                  <a:pt x="4" y="15"/>
                </a:lnTo>
                <a:lnTo>
                  <a:pt x="6" y="7"/>
                </a:lnTo>
                <a:lnTo>
                  <a:pt x="5" y="0"/>
                </a:lnTo>
                <a:lnTo>
                  <a:pt x="4" y="1"/>
                </a:lnTo>
                <a:lnTo>
                  <a:pt x="6" y="7"/>
                </a:lnTo>
                <a:lnTo>
                  <a:pt x="3" y="14"/>
                </a:lnTo>
                <a:lnTo>
                  <a:pt x="0" y="1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50" name="Freeform 1551"/>
          <p:cNvSpPr>
            <a:spLocks/>
          </p:cNvSpPr>
          <p:nvPr/>
        </p:nvSpPr>
        <p:spPr bwMode="auto">
          <a:xfrm>
            <a:off x="2619375" y="2390740"/>
            <a:ext cx="50800" cy="15875"/>
          </a:xfrm>
          <a:custGeom>
            <a:avLst/>
            <a:gdLst>
              <a:gd name="T0" fmla="*/ 29 w 32"/>
              <a:gd name="T1" fmla="*/ 0 h 10"/>
              <a:gd name="T2" fmla="*/ 25 w 32"/>
              <a:gd name="T3" fmla="*/ 3 h 10"/>
              <a:gd name="T4" fmla="*/ 22 w 32"/>
              <a:gd name="T5" fmla="*/ 4 h 10"/>
              <a:gd name="T6" fmla="*/ 16 w 32"/>
              <a:gd name="T7" fmla="*/ 4 h 10"/>
              <a:gd name="T8" fmla="*/ 9 w 32"/>
              <a:gd name="T9" fmla="*/ 5 h 10"/>
              <a:gd name="T10" fmla="*/ 5 w 32"/>
              <a:gd name="T11" fmla="*/ 6 h 10"/>
              <a:gd name="T12" fmla="*/ 3 w 32"/>
              <a:gd name="T13" fmla="*/ 7 h 10"/>
              <a:gd name="T14" fmla="*/ 2 w 32"/>
              <a:gd name="T15" fmla="*/ 8 h 10"/>
              <a:gd name="T16" fmla="*/ 1 w 32"/>
              <a:gd name="T17" fmla="*/ 8 h 10"/>
              <a:gd name="T18" fmla="*/ 0 w 32"/>
              <a:gd name="T19" fmla="*/ 10 h 10"/>
              <a:gd name="T20" fmla="*/ 0 w 32"/>
              <a:gd name="T21" fmla="*/ 10 h 10"/>
              <a:gd name="T22" fmla="*/ 1 w 32"/>
              <a:gd name="T23" fmla="*/ 9 h 10"/>
              <a:gd name="T24" fmla="*/ 2 w 32"/>
              <a:gd name="T25" fmla="*/ 9 h 10"/>
              <a:gd name="T26" fmla="*/ 2 w 32"/>
              <a:gd name="T27" fmla="*/ 10 h 10"/>
              <a:gd name="T28" fmla="*/ 3 w 32"/>
              <a:gd name="T29" fmla="*/ 10 h 10"/>
              <a:gd name="T30" fmla="*/ 7 w 32"/>
              <a:gd name="T31" fmla="*/ 9 h 10"/>
              <a:gd name="T32" fmla="*/ 14 w 32"/>
              <a:gd name="T33" fmla="*/ 7 h 10"/>
              <a:gd name="T34" fmla="*/ 21 w 32"/>
              <a:gd name="T35" fmla="*/ 6 h 10"/>
              <a:gd name="T36" fmla="*/ 24 w 32"/>
              <a:gd name="T37" fmla="*/ 5 h 10"/>
              <a:gd name="T38" fmla="*/ 27 w 32"/>
              <a:gd name="T39" fmla="*/ 4 h 10"/>
              <a:gd name="T40" fmla="*/ 32 w 32"/>
              <a:gd name="T41" fmla="*/ 3 h 10"/>
              <a:gd name="T42" fmla="*/ 29 w 32"/>
              <a:gd name="T43" fmla="*/ 3 h 10"/>
              <a:gd name="T44" fmla="*/ 26 w 32"/>
              <a:gd name="T45" fmla="*/ 3 h 10"/>
              <a:gd name="T46" fmla="*/ 24 w 32"/>
              <a:gd name="T47" fmla="*/ 4 h 10"/>
              <a:gd name="T48" fmla="*/ 23 w 32"/>
              <a:gd name="T49" fmla="*/ 5 h 10"/>
              <a:gd name="T50" fmla="*/ 23 w 32"/>
              <a:gd name="T51" fmla="*/ 4 h 10"/>
              <a:gd name="T52" fmla="*/ 27 w 32"/>
              <a:gd name="T53" fmla="*/ 2 h 10"/>
              <a:gd name="T54" fmla="*/ 29 w 32"/>
              <a:gd name="T55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32" h="10">
                <a:moveTo>
                  <a:pt x="29" y="0"/>
                </a:moveTo>
                <a:lnTo>
                  <a:pt x="25" y="3"/>
                </a:lnTo>
                <a:lnTo>
                  <a:pt x="22" y="4"/>
                </a:lnTo>
                <a:lnTo>
                  <a:pt x="16" y="4"/>
                </a:lnTo>
                <a:lnTo>
                  <a:pt x="9" y="5"/>
                </a:lnTo>
                <a:lnTo>
                  <a:pt x="5" y="6"/>
                </a:lnTo>
                <a:lnTo>
                  <a:pt x="3" y="7"/>
                </a:lnTo>
                <a:lnTo>
                  <a:pt x="2" y="8"/>
                </a:lnTo>
                <a:lnTo>
                  <a:pt x="1" y="8"/>
                </a:lnTo>
                <a:lnTo>
                  <a:pt x="0" y="10"/>
                </a:lnTo>
                <a:lnTo>
                  <a:pt x="0" y="10"/>
                </a:lnTo>
                <a:lnTo>
                  <a:pt x="1" y="9"/>
                </a:lnTo>
                <a:lnTo>
                  <a:pt x="2" y="9"/>
                </a:lnTo>
                <a:lnTo>
                  <a:pt x="2" y="10"/>
                </a:lnTo>
                <a:lnTo>
                  <a:pt x="3" y="10"/>
                </a:lnTo>
                <a:lnTo>
                  <a:pt x="7" y="9"/>
                </a:lnTo>
                <a:lnTo>
                  <a:pt x="14" y="7"/>
                </a:lnTo>
                <a:lnTo>
                  <a:pt x="21" y="6"/>
                </a:lnTo>
                <a:lnTo>
                  <a:pt x="24" y="5"/>
                </a:lnTo>
                <a:lnTo>
                  <a:pt x="27" y="4"/>
                </a:lnTo>
                <a:lnTo>
                  <a:pt x="32" y="3"/>
                </a:lnTo>
                <a:lnTo>
                  <a:pt x="29" y="3"/>
                </a:lnTo>
                <a:lnTo>
                  <a:pt x="26" y="3"/>
                </a:lnTo>
                <a:lnTo>
                  <a:pt x="24" y="4"/>
                </a:lnTo>
                <a:lnTo>
                  <a:pt x="23" y="5"/>
                </a:lnTo>
                <a:lnTo>
                  <a:pt x="23" y="4"/>
                </a:lnTo>
                <a:lnTo>
                  <a:pt x="27" y="2"/>
                </a:lnTo>
                <a:lnTo>
                  <a:pt x="29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51" name="Freeform 1552"/>
          <p:cNvSpPr>
            <a:spLocks/>
          </p:cNvSpPr>
          <p:nvPr/>
        </p:nvSpPr>
        <p:spPr bwMode="auto">
          <a:xfrm>
            <a:off x="2619375" y="2390740"/>
            <a:ext cx="50800" cy="15875"/>
          </a:xfrm>
          <a:custGeom>
            <a:avLst/>
            <a:gdLst>
              <a:gd name="T0" fmla="*/ 29 w 32"/>
              <a:gd name="T1" fmla="*/ 0 h 10"/>
              <a:gd name="T2" fmla="*/ 25 w 32"/>
              <a:gd name="T3" fmla="*/ 3 h 10"/>
              <a:gd name="T4" fmla="*/ 22 w 32"/>
              <a:gd name="T5" fmla="*/ 4 h 10"/>
              <a:gd name="T6" fmla="*/ 16 w 32"/>
              <a:gd name="T7" fmla="*/ 4 h 10"/>
              <a:gd name="T8" fmla="*/ 9 w 32"/>
              <a:gd name="T9" fmla="*/ 5 h 10"/>
              <a:gd name="T10" fmla="*/ 5 w 32"/>
              <a:gd name="T11" fmla="*/ 6 h 10"/>
              <a:gd name="T12" fmla="*/ 3 w 32"/>
              <a:gd name="T13" fmla="*/ 7 h 10"/>
              <a:gd name="T14" fmla="*/ 2 w 32"/>
              <a:gd name="T15" fmla="*/ 8 h 10"/>
              <a:gd name="T16" fmla="*/ 1 w 32"/>
              <a:gd name="T17" fmla="*/ 8 h 10"/>
              <a:gd name="T18" fmla="*/ 0 w 32"/>
              <a:gd name="T19" fmla="*/ 10 h 10"/>
              <a:gd name="T20" fmla="*/ 0 w 32"/>
              <a:gd name="T21" fmla="*/ 10 h 10"/>
              <a:gd name="T22" fmla="*/ 1 w 32"/>
              <a:gd name="T23" fmla="*/ 9 h 10"/>
              <a:gd name="T24" fmla="*/ 2 w 32"/>
              <a:gd name="T25" fmla="*/ 9 h 10"/>
              <a:gd name="T26" fmla="*/ 2 w 32"/>
              <a:gd name="T27" fmla="*/ 10 h 10"/>
              <a:gd name="T28" fmla="*/ 3 w 32"/>
              <a:gd name="T29" fmla="*/ 10 h 10"/>
              <a:gd name="T30" fmla="*/ 7 w 32"/>
              <a:gd name="T31" fmla="*/ 9 h 10"/>
              <a:gd name="T32" fmla="*/ 14 w 32"/>
              <a:gd name="T33" fmla="*/ 7 h 10"/>
              <a:gd name="T34" fmla="*/ 21 w 32"/>
              <a:gd name="T35" fmla="*/ 6 h 10"/>
              <a:gd name="T36" fmla="*/ 24 w 32"/>
              <a:gd name="T37" fmla="*/ 5 h 10"/>
              <a:gd name="T38" fmla="*/ 27 w 32"/>
              <a:gd name="T39" fmla="*/ 4 h 10"/>
              <a:gd name="T40" fmla="*/ 32 w 32"/>
              <a:gd name="T41" fmla="*/ 3 h 10"/>
              <a:gd name="T42" fmla="*/ 29 w 32"/>
              <a:gd name="T43" fmla="*/ 3 h 10"/>
              <a:gd name="T44" fmla="*/ 26 w 32"/>
              <a:gd name="T45" fmla="*/ 3 h 10"/>
              <a:gd name="T46" fmla="*/ 24 w 32"/>
              <a:gd name="T47" fmla="*/ 4 h 10"/>
              <a:gd name="T48" fmla="*/ 23 w 32"/>
              <a:gd name="T49" fmla="*/ 5 h 10"/>
              <a:gd name="T50" fmla="*/ 23 w 32"/>
              <a:gd name="T51" fmla="*/ 4 h 10"/>
              <a:gd name="T52" fmla="*/ 27 w 32"/>
              <a:gd name="T53" fmla="*/ 2 h 10"/>
              <a:gd name="T54" fmla="*/ 29 w 32"/>
              <a:gd name="T55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32" h="10">
                <a:moveTo>
                  <a:pt x="29" y="0"/>
                </a:moveTo>
                <a:lnTo>
                  <a:pt x="25" y="3"/>
                </a:lnTo>
                <a:lnTo>
                  <a:pt x="22" y="4"/>
                </a:lnTo>
                <a:lnTo>
                  <a:pt x="16" y="4"/>
                </a:lnTo>
                <a:lnTo>
                  <a:pt x="9" y="5"/>
                </a:lnTo>
                <a:lnTo>
                  <a:pt x="5" y="6"/>
                </a:lnTo>
                <a:lnTo>
                  <a:pt x="3" y="7"/>
                </a:lnTo>
                <a:lnTo>
                  <a:pt x="2" y="8"/>
                </a:lnTo>
                <a:lnTo>
                  <a:pt x="1" y="8"/>
                </a:lnTo>
                <a:lnTo>
                  <a:pt x="0" y="10"/>
                </a:lnTo>
                <a:lnTo>
                  <a:pt x="0" y="10"/>
                </a:lnTo>
                <a:lnTo>
                  <a:pt x="1" y="9"/>
                </a:lnTo>
                <a:lnTo>
                  <a:pt x="2" y="9"/>
                </a:lnTo>
                <a:lnTo>
                  <a:pt x="2" y="10"/>
                </a:lnTo>
                <a:lnTo>
                  <a:pt x="3" y="10"/>
                </a:lnTo>
                <a:lnTo>
                  <a:pt x="7" y="9"/>
                </a:lnTo>
                <a:lnTo>
                  <a:pt x="14" y="7"/>
                </a:lnTo>
                <a:lnTo>
                  <a:pt x="21" y="6"/>
                </a:lnTo>
                <a:lnTo>
                  <a:pt x="24" y="5"/>
                </a:lnTo>
                <a:lnTo>
                  <a:pt x="27" y="4"/>
                </a:lnTo>
                <a:lnTo>
                  <a:pt x="32" y="3"/>
                </a:lnTo>
                <a:lnTo>
                  <a:pt x="29" y="3"/>
                </a:lnTo>
                <a:lnTo>
                  <a:pt x="26" y="3"/>
                </a:lnTo>
                <a:lnTo>
                  <a:pt x="24" y="4"/>
                </a:lnTo>
                <a:lnTo>
                  <a:pt x="23" y="5"/>
                </a:lnTo>
                <a:lnTo>
                  <a:pt x="23" y="4"/>
                </a:lnTo>
                <a:lnTo>
                  <a:pt x="27" y="2"/>
                </a:lnTo>
                <a:lnTo>
                  <a:pt x="29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52" name="Freeform 1553"/>
          <p:cNvSpPr>
            <a:spLocks/>
          </p:cNvSpPr>
          <p:nvPr/>
        </p:nvSpPr>
        <p:spPr bwMode="auto">
          <a:xfrm>
            <a:off x="2767013" y="2303428"/>
            <a:ext cx="3175" cy="4763"/>
          </a:xfrm>
          <a:custGeom>
            <a:avLst/>
            <a:gdLst>
              <a:gd name="T0" fmla="*/ 0 w 2"/>
              <a:gd name="T1" fmla="*/ 2 h 3"/>
              <a:gd name="T2" fmla="*/ 0 w 2"/>
              <a:gd name="T3" fmla="*/ 3 h 3"/>
              <a:gd name="T4" fmla="*/ 1 w 2"/>
              <a:gd name="T5" fmla="*/ 3 h 3"/>
              <a:gd name="T6" fmla="*/ 2 w 2"/>
              <a:gd name="T7" fmla="*/ 3 h 3"/>
              <a:gd name="T8" fmla="*/ 2 w 2"/>
              <a:gd name="T9" fmla="*/ 2 h 3"/>
              <a:gd name="T10" fmla="*/ 2 w 2"/>
              <a:gd name="T11" fmla="*/ 0 h 3"/>
              <a:gd name="T12" fmla="*/ 1 w 2"/>
              <a:gd name="T13" fmla="*/ 0 h 3"/>
              <a:gd name="T14" fmla="*/ 0 w 2"/>
              <a:gd name="T15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3">
                <a:moveTo>
                  <a:pt x="0" y="2"/>
                </a:moveTo>
                <a:lnTo>
                  <a:pt x="0" y="3"/>
                </a:lnTo>
                <a:lnTo>
                  <a:pt x="1" y="3"/>
                </a:lnTo>
                <a:lnTo>
                  <a:pt x="2" y="3"/>
                </a:lnTo>
                <a:lnTo>
                  <a:pt x="2" y="2"/>
                </a:lnTo>
                <a:lnTo>
                  <a:pt x="2" y="0"/>
                </a:lnTo>
                <a:lnTo>
                  <a:pt x="1" y="0"/>
                </a:lnTo>
                <a:lnTo>
                  <a:pt x="0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53" name="Freeform 1554"/>
          <p:cNvSpPr>
            <a:spLocks/>
          </p:cNvSpPr>
          <p:nvPr/>
        </p:nvSpPr>
        <p:spPr bwMode="auto">
          <a:xfrm>
            <a:off x="2767013" y="2303428"/>
            <a:ext cx="3175" cy="4763"/>
          </a:xfrm>
          <a:custGeom>
            <a:avLst/>
            <a:gdLst>
              <a:gd name="T0" fmla="*/ 0 w 2"/>
              <a:gd name="T1" fmla="*/ 2 h 3"/>
              <a:gd name="T2" fmla="*/ 0 w 2"/>
              <a:gd name="T3" fmla="*/ 3 h 3"/>
              <a:gd name="T4" fmla="*/ 1 w 2"/>
              <a:gd name="T5" fmla="*/ 3 h 3"/>
              <a:gd name="T6" fmla="*/ 2 w 2"/>
              <a:gd name="T7" fmla="*/ 3 h 3"/>
              <a:gd name="T8" fmla="*/ 2 w 2"/>
              <a:gd name="T9" fmla="*/ 2 h 3"/>
              <a:gd name="T10" fmla="*/ 2 w 2"/>
              <a:gd name="T11" fmla="*/ 0 h 3"/>
              <a:gd name="T12" fmla="*/ 1 w 2"/>
              <a:gd name="T13" fmla="*/ 0 h 3"/>
              <a:gd name="T14" fmla="*/ 0 w 2"/>
              <a:gd name="T15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" h="3">
                <a:moveTo>
                  <a:pt x="0" y="2"/>
                </a:moveTo>
                <a:lnTo>
                  <a:pt x="0" y="3"/>
                </a:lnTo>
                <a:lnTo>
                  <a:pt x="1" y="3"/>
                </a:lnTo>
                <a:lnTo>
                  <a:pt x="2" y="3"/>
                </a:lnTo>
                <a:lnTo>
                  <a:pt x="2" y="2"/>
                </a:lnTo>
                <a:lnTo>
                  <a:pt x="2" y="0"/>
                </a:lnTo>
                <a:lnTo>
                  <a:pt x="1" y="0"/>
                </a:lnTo>
                <a:lnTo>
                  <a:pt x="0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54" name="Freeform 1555"/>
          <p:cNvSpPr>
            <a:spLocks/>
          </p:cNvSpPr>
          <p:nvPr/>
        </p:nvSpPr>
        <p:spPr bwMode="auto">
          <a:xfrm>
            <a:off x="2771775" y="2301840"/>
            <a:ext cx="3175" cy="3175"/>
          </a:xfrm>
          <a:custGeom>
            <a:avLst/>
            <a:gdLst>
              <a:gd name="T0" fmla="*/ 0 w 2"/>
              <a:gd name="T1" fmla="*/ 2 h 2"/>
              <a:gd name="T2" fmla="*/ 1 w 2"/>
              <a:gd name="T3" fmla="*/ 2 h 2"/>
              <a:gd name="T4" fmla="*/ 2 w 2"/>
              <a:gd name="T5" fmla="*/ 1 h 2"/>
              <a:gd name="T6" fmla="*/ 2 w 2"/>
              <a:gd name="T7" fmla="*/ 0 h 2"/>
              <a:gd name="T8" fmla="*/ 1 w 2"/>
              <a:gd name="T9" fmla="*/ 0 h 2"/>
              <a:gd name="T10" fmla="*/ 0 w 2"/>
              <a:gd name="T11" fmla="*/ 1 h 2"/>
              <a:gd name="T12" fmla="*/ 0 w 2"/>
              <a:gd name="T13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1" y="2"/>
                </a:lnTo>
                <a:lnTo>
                  <a:pt x="2" y="1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55" name="Freeform 1556"/>
          <p:cNvSpPr>
            <a:spLocks/>
          </p:cNvSpPr>
          <p:nvPr/>
        </p:nvSpPr>
        <p:spPr bwMode="auto">
          <a:xfrm>
            <a:off x="2771775" y="2301840"/>
            <a:ext cx="3175" cy="3175"/>
          </a:xfrm>
          <a:custGeom>
            <a:avLst/>
            <a:gdLst>
              <a:gd name="T0" fmla="*/ 0 w 2"/>
              <a:gd name="T1" fmla="*/ 2 h 2"/>
              <a:gd name="T2" fmla="*/ 1 w 2"/>
              <a:gd name="T3" fmla="*/ 2 h 2"/>
              <a:gd name="T4" fmla="*/ 2 w 2"/>
              <a:gd name="T5" fmla="*/ 1 h 2"/>
              <a:gd name="T6" fmla="*/ 2 w 2"/>
              <a:gd name="T7" fmla="*/ 0 h 2"/>
              <a:gd name="T8" fmla="*/ 1 w 2"/>
              <a:gd name="T9" fmla="*/ 0 h 2"/>
              <a:gd name="T10" fmla="*/ 0 w 2"/>
              <a:gd name="T11" fmla="*/ 1 h 2"/>
              <a:gd name="T12" fmla="*/ 0 w 2"/>
              <a:gd name="T13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1" y="2"/>
                </a:lnTo>
                <a:lnTo>
                  <a:pt x="2" y="1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56" name="Freeform 1557"/>
          <p:cNvSpPr>
            <a:spLocks/>
          </p:cNvSpPr>
          <p:nvPr/>
        </p:nvSpPr>
        <p:spPr bwMode="auto">
          <a:xfrm>
            <a:off x="2771775" y="2306603"/>
            <a:ext cx="3175" cy="3175"/>
          </a:xfrm>
          <a:custGeom>
            <a:avLst/>
            <a:gdLst>
              <a:gd name="T0" fmla="*/ 0 w 2"/>
              <a:gd name="T1" fmla="*/ 1 h 2"/>
              <a:gd name="T2" fmla="*/ 0 w 2"/>
              <a:gd name="T3" fmla="*/ 2 h 2"/>
              <a:gd name="T4" fmla="*/ 1 w 2"/>
              <a:gd name="T5" fmla="*/ 2 h 2"/>
              <a:gd name="T6" fmla="*/ 2 w 2"/>
              <a:gd name="T7" fmla="*/ 1 h 2"/>
              <a:gd name="T8" fmla="*/ 1 w 2"/>
              <a:gd name="T9" fmla="*/ 0 h 2"/>
              <a:gd name="T10" fmla="*/ 0 w 2"/>
              <a:gd name="T11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2">
                <a:moveTo>
                  <a:pt x="0" y="1"/>
                </a:moveTo>
                <a:lnTo>
                  <a:pt x="0" y="2"/>
                </a:lnTo>
                <a:lnTo>
                  <a:pt x="1" y="2"/>
                </a:lnTo>
                <a:lnTo>
                  <a:pt x="2" y="1"/>
                </a:lnTo>
                <a:lnTo>
                  <a:pt x="1" y="0"/>
                </a:lnTo>
                <a:lnTo>
                  <a:pt x="0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57" name="Freeform 1558"/>
          <p:cNvSpPr>
            <a:spLocks/>
          </p:cNvSpPr>
          <p:nvPr/>
        </p:nvSpPr>
        <p:spPr bwMode="auto">
          <a:xfrm>
            <a:off x="2771775" y="2306603"/>
            <a:ext cx="3175" cy="3175"/>
          </a:xfrm>
          <a:custGeom>
            <a:avLst/>
            <a:gdLst>
              <a:gd name="T0" fmla="*/ 0 w 2"/>
              <a:gd name="T1" fmla="*/ 1 h 2"/>
              <a:gd name="T2" fmla="*/ 0 w 2"/>
              <a:gd name="T3" fmla="*/ 2 h 2"/>
              <a:gd name="T4" fmla="*/ 1 w 2"/>
              <a:gd name="T5" fmla="*/ 2 h 2"/>
              <a:gd name="T6" fmla="*/ 2 w 2"/>
              <a:gd name="T7" fmla="*/ 1 h 2"/>
              <a:gd name="T8" fmla="*/ 1 w 2"/>
              <a:gd name="T9" fmla="*/ 0 h 2"/>
              <a:gd name="T10" fmla="*/ 0 w 2"/>
              <a:gd name="T11" fmla="*/ 1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" h="2">
                <a:moveTo>
                  <a:pt x="0" y="1"/>
                </a:moveTo>
                <a:lnTo>
                  <a:pt x="0" y="2"/>
                </a:lnTo>
                <a:lnTo>
                  <a:pt x="1" y="2"/>
                </a:lnTo>
                <a:lnTo>
                  <a:pt x="2" y="1"/>
                </a:lnTo>
                <a:lnTo>
                  <a:pt x="1" y="0"/>
                </a:lnTo>
                <a:lnTo>
                  <a:pt x="0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58" name="Freeform 1559"/>
          <p:cNvSpPr>
            <a:spLocks/>
          </p:cNvSpPr>
          <p:nvPr/>
        </p:nvSpPr>
        <p:spPr bwMode="auto">
          <a:xfrm>
            <a:off x="1511300" y="1874803"/>
            <a:ext cx="96837" cy="134938"/>
          </a:xfrm>
          <a:custGeom>
            <a:avLst/>
            <a:gdLst>
              <a:gd name="T0" fmla="*/ 8 w 61"/>
              <a:gd name="T1" fmla="*/ 14 h 85"/>
              <a:gd name="T2" fmla="*/ 24 w 61"/>
              <a:gd name="T3" fmla="*/ 9 h 85"/>
              <a:gd name="T4" fmla="*/ 32 w 61"/>
              <a:gd name="T5" fmla="*/ 5 h 85"/>
              <a:gd name="T6" fmla="*/ 49 w 61"/>
              <a:gd name="T7" fmla="*/ 1 h 85"/>
              <a:gd name="T8" fmla="*/ 49 w 61"/>
              <a:gd name="T9" fmla="*/ 9 h 85"/>
              <a:gd name="T10" fmla="*/ 46 w 61"/>
              <a:gd name="T11" fmla="*/ 16 h 85"/>
              <a:gd name="T12" fmla="*/ 50 w 61"/>
              <a:gd name="T13" fmla="*/ 32 h 85"/>
              <a:gd name="T14" fmla="*/ 47 w 61"/>
              <a:gd name="T15" fmla="*/ 42 h 85"/>
              <a:gd name="T16" fmla="*/ 46 w 61"/>
              <a:gd name="T17" fmla="*/ 47 h 85"/>
              <a:gd name="T18" fmla="*/ 44 w 61"/>
              <a:gd name="T19" fmla="*/ 55 h 85"/>
              <a:gd name="T20" fmla="*/ 60 w 61"/>
              <a:gd name="T21" fmla="*/ 62 h 85"/>
              <a:gd name="T22" fmla="*/ 55 w 61"/>
              <a:gd name="T23" fmla="*/ 69 h 85"/>
              <a:gd name="T24" fmla="*/ 46 w 61"/>
              <a:gd name="T25" fmla="*/ 79 h 85"/>
              <a:gd name="T26" fmla="*/ 36 w 61"/>
              <a:gd name="T27" fmla="*/ 84 h 85"/>
              <a:gd name="T28" fmla="*/ 31 w 61"/>
              <a:gd name="T29" fmla="*/ 85 h 85"/>
              <a:gd name="T30" fmla="*/ 37 w 61"/>
              <a:gd name="T31" fmla="*/ 79 h 85"/>
              <a:gd name="T32" fmla="*/ 43 w 61"/>
              <a:gd name="T33" fmla="*/ 76 h 85"/>
              <a:gd name="T34" fmla="*/ 42 w 61"/>
              <a:gd name="T35" fmla="*/ 72 h 85"/>
              <a:gd name="T36" fmla="*/ 45 w 61"/>
              <a:gd name="T37" fmla="*/ 64 h 85"/>
              <a:gd name="T38" fmla="*/ 46 w 61"/>
              <a:gd name="T39" fmla="*/ 61 h 85"/>
              <a:gd name="T40" fmla="*/ 37 w 61"/>
              <a:gd name="T41" fmla="*/ 65 h 85"/>
              <a:gd name="T42" fmla="*/ 32 w 61"/>
              <a:gd name="T43" fmla="*/ 69 h 85"/>
              <a:gd name="T44" fmla="*/ 26 w 61"/>
              <a:gd name="T45" fmla="*/ 71 h 85"/>
              <a:gd name="T46" fmla="*/ 31 w 61"/>
              <a:gd name="T47" fmla="*/ 67 h 85"/>
              <a:gd name="T48" fmla="*/ 43 w 61"/>
              <a:gd name="T49" fmla="*/ 60 h 85"/>
              <a:gd name="T50" fmla="*/ 41 w 61"/>
              <a:gd name="T51" fmla="*/ 52 h 85"/>
              <a:gd name="T52" fmla="*/ 36 w 61"/>
              <a:gd name="T53" fmla="*/ 49 h 85"/>
              <a:gd name="T54" fmla="*/ 37 w 61"/>
              <a:gd name="T55" fmla="*/ 48 h 85"/>
              <a:gd name="T56" fmla="*/ 36 w 61"/>
              <a:gd name="T57" fmla="*/ 46 h 85"/>
              <a:gd name="T58" fmla="*/ 34 w 61"/>
              <a:gd name="T59" fmla="*/ 45 h 85"/>
              <a:gd name="T60" fmla="*/ 37 w 61"/>
              <a:gd name="T61" fmla="*/ 41 h 85"/>
              <a:gd name="T62" fmla="*/ 37 w 61"/>
              <a:gd name="T63" fmla="*/ 39 h 85"/>
              <a:gd name="T64" fmla="*/ 40 w 61"/>
              <a:gd name="T65" fmla="*/ 37 h 85"/>
              <a:gd name="T66" fmla="*/ 42 w 61"/>
              <a:gd name="T67" fmla="*/ 38 h 85"/>
              <a:gd name="T68" fmla="*/ 43 w 61"/>
              <a:gd name="T69" fmla="*/ 35 h 85"/>
              <a:gd name="T70" fmla="*/ 44 w 61"/>
              <a:gd name="T71" fmla="*/ 31 h 85"/>
              <a:gd name="T72" fmla="*/ 41 w 61"/>
              <a:gd name="T73" fmla="*/ 32 h 85"/>
              <a:gd name="T74" fmla="*/ 42 w 61"/>
              <a:gd name="T75" fmla="*/ 30 h 85"/>
              <a:gd name="T76" fmla="*/ 46 w 61"/>
              <a:gd name="T77" fmla="*/ 27 h 85"/>
              <a:gd name="T78" fmla="*/ 39 w 61"/>
              <a:gd name="T79" fmla="*/ 29 h 85"/>
              <a:gd name="T80" fmla="*/ 39 w 61"/>
              <a:gd name="T81" fmla="*/ 26 h 85"/>
              <a:gd name="T82" fmla="*/ 35 w 61"/>
              <a:gd name="T83" fmla="*/ 19 h 85"/>
              <a:gd name="T84" fmla="*/ 41 w 61"/>
              <a:gd name="T85" fmla="*/ 8 h 85"/>
              <a:gd name="T86" fmla="*/ 37 w 61"/>
              <a:gd name="T87" fmla="*/ 10 h 85"/>
              <a:gd name="T88" fmla="*/ 31 w 61"/>
              <a:gd name="T89" fmla="*/ 22 h 85"/>
              <a:gd name="T90" fmla="*/ 25 w 61"/>
              <a:gd name="T91" fmla="*/ 22 h 85"/>
              <a:gd name="T92" fmla="*/ 23 w 61"/>
              <a:gd name="T93" fmla="*/ 20 h 85"/>
              <a:gd name="T94" fmla="*/ 25 w 61"/>
              <a:gd name="T95" fmla="*/ 15 h 85"/>
              <a:gd name="T96" fmla="*/ 20 w 61"/>
              <a:gd name="T97" fmla="*/ 14 h 85"/>
              <a:gd name="T98" fmla="*/ 16 w 61"/>
              <a:gd name="T99" fmla="*/ 12 h 85"/>
              <a:gd name="T100" fmla="*/ 15 w 61"/>
              <a:gd name="T101" fmla="*/ 15 h 85"/>
              <a:gd name="T102" fmla="*/ 16 w 61"/>
              <a:gd name="T103" fmla="*/ 19 h 85"/>
              <a:gd name="T104" fmla="*/ 17 w 61"/>
              <a:gd name="T105" fmla="*/ 22 h 85"/>
              <a:gd name="T106" fmla="*/ 12 w 61"/>
              <a:gd name="T107" fmla="*/ 24 h 85"/>
              <a:gd name="T108" fmla="*/ 2 w 61"/>
              <a:gd name="T109" fmla="*/ 21 h 85"/>
              <a:gd name="T110" fmla="*/ 0 w 61"/>
              <a:gd name="T111" fmla="*/ 18 h 85"/>
              <a:gd name="T112" fmla="*/ 5 w 61"/>
              <a:gd name="T113" fmla="*/ 8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1" h="85">
                <a:moveTo>
                  <a:pt x="8" y="7"/>
                </a:moveTo>
                <a:lnTo>
                  <a:pt x="10" y="9"/>
                </a:lnTo>
                <a:lnTo>
                  <a:pt x="8" y="12"/>
                </a:lnTo>
                <a:lnTo>
                  <a:pt x="8" y="14"/>
                </a:lnTo>
                <a:lnTo>
                  <a:pt x="8" y="14"/>
                </a:lnTo>
                <a:lnTo>
                  <a:pt x="8" y="15"/>
                </a:lnTo>
                <a:lnTo>
                  <a:pt x="12" y="14"/>
                </a:lnTo>
                <a:lnTo>
                  <a:pt x="17" y="11"/>
                </a:lnTo>
                <a:lnTo>
                  <a:pt x="22" y="10"/>
                </a:lnTo>
                <a:lnTo>
                  <a:pt x="24" y="9"/>
                </a:lnTo>
                <a:lnTo>
                  <a:pt x="25" y="8"/>
                </a:lnTo>
                <a:lnTo>
                  <a:pt x="26" y="7"/>
                </a:lnTo>
                <a:lnTo>
                  <a:pt x="29" y="7"/>
                </a:lnTo>
                <a:lnTo>
                  <a:pt x="30" y="7"/>
                </a:lnTo>
                <a:lnTo>
                  <a:pt x="32" y="5"/>
                </a:lnTo>
                <a:lnTo>
                  <a:pt x="34" y="4"/>
                </a:lnTo>
                <a:lnTo>
                  <a:pt x="40" y="2"/>
                </a:lnTo>
                <a:lnTo>
                  <a:pt x="47" y="0"/>
                </a:lnTo>
                <a:lnTo>
                  <a:pt x="49" y="0"/>
                </a:lnTo>
                <a:lnTo>
                  <a:pt x="49" y="1"/>
                </a:lnTo>
                <a:lnTo>
                  <a:pt x="49" y="4"/>
                </a:lnTo>
                <a:lnTo>
                  <a:pt x="49" y="5"/>
                </a:lnTo>
                <a:lnTo>
                  <a:pt x="50" y="5"/>
                </a:lnTo>
                <a:lnTo>
                  <a:pt x="49" y="7"/>
                </a:lnTo>
                <a:lnTo>
                  <a:pt x="49" y="9"/>
                </a:lnTo>
                <a:lnTo>
                  <a:pt x="47" y="10"/>
                </a:lnTo>
                <a:lnTo>
                  <a:pt x="49" y="11"/>
                </a:lnTo>
                <a:lnTo>
                  <a:pt x="47" y="14"/>
                </a:lnTo>
                <a:lnTo>
                  <a:pt x="47" y="15"/>
                </a:lnTo>
                <a:lnTo>
                  <a:pt x="46" y="16"/>
                </a:lnTo>
                <a:lnTo>
                  <a:pt x="51" y="17"/>
                </a:lnTo>
                <a:lnTo>
                  <a:pt x="51" y="19"/>
                </a:lnTo>
                <a:lnTo>
                  <a:pt x="50" y="22"/>
                </a:lnTo>
                <a:lnTo>
                  <a:pt x="50" y="26"/>
                </a:lnTo>
                <a:lnTo>
                  <a:pt x="50" y="32"/>
                </a:lnTo>
                <a:lnTo>
                  <a:pt x="47" y="36"/>
                </a:lnTo>
                <a:lnTo>
                  <a:pt x="47" y="36"/>
                </a:lnTo>
                <a:lnTo>
                  <a:pt x="49" y="36"/>
                </a:lnTo>
                <a:lnTo>
                  <a:pt x="47" y="39"/>
                </a:lnTo>
                <a:lnTo>
                  <a:pt x="47" y="42"/>
                </a:lnTo>
                <a:lnTo>
                  <a:pt x="47" y="44"/>
                </a:lnTo>
                <a:lnTo>
                  <a:pt x="46" y="44"/>
                </a:lnTo>
                <a:lnTo>
                  <a:pt x="45" y="45"/>
                </a:lnTo>
                <a:lnTo>
                  <a:pt x="45" y="46"/>
                </a:lnTo>
                <a:lnTo>
                  <a:pt x="46" y="47"/>
                </a:lnTo>
                <a:lnTo>
                  <a:pt x="46" y="48"/>
                </a:lnTo>
                <a:lnTo>
                  <a:pt x="45" y="49"/>
                </a:lnTo>
                <a:lnTo>
                  <a:pt x="44" y="52"/>
                </a:lnTo>
                <a:lnTo>
                  <a:pt x="44" y="54"/>
                </a:lnTo>
                <a:lnTo>
                  <a:pt x="44" y="55"/>
                </a:lnTo>
                <a:lnTo>
                  <a:pt x="46" y="56"/>
                </a:lnTo>
                <a:lnTo>
                  <a:pt x="53" y="57"/>
                </a:lnTo>
                <a:lnTo>
                  <a:pt x="56" y="61"/>
                </a:lnTo>
                <a:lnTo>
                  <a:pt x="56" y="62"/>
                </a:lnTo>
                <a:lnTo>
                  <a:pt x="60" y="62"/>
                </a:lnTo>
                <a:lnTo>
                  <a:pt x="61" y="64"/>
                </a:lnTo>
                <a:lnTo>
                  <a:pt x="60" y="65"/>
                </a:lnTo>
                <a:lnTo>
                  <a:pt x="60" y="65"/>
                </a:lnTo>
                <a:lnTo>
                  <a:pt x="59" y="66"/>
                </a:lnTo>
                <a:lnTo>
                  <a:pt x="55" y="69"/>
                </a:lnTo>
                <a:lnTo>
                  <a:pt x="52" y="74"/>
                </a:lnTo>
                <a:lnTo>
                  <a:pt x="50" y="76"/>
                </a:lnTo>
                <a:lnTo>
                  <a:pt x="50" y="77"/>
                </a:lnTo>
                <a:lnTo>
                  <a:pt x="49" y="78"/>
                </a:lnTo>
                <a:lnTo>
                  <a:pt x="46" y="79"/>
                </a:lnTo>
                <a:lnTo>
                  <a:pt x="45" y="80"/>
                </a:lnTo>
                <a:lnTo>
                  <a:pt x="44" y="80"/>
                </a:lnTo>
                <a:lnTo>
                  <a:pt x="41" y="81"/>
                </a:lnTo>
                <a:lnTo>
                  <a:pt x="37" y="82"/>
                </a:lnTo>
                <a:lnTo>
                  <a:pt x="36" y="84"/>
                </a:lnTo>
                <a:lnTo>
                  <a:pt x="35" y="84"/>
                </a:lnTo>
                <a:lnTo>
                  <a:pt x="34" y="85"/>
                </a:lnTo>
                <a:lnTo>
                  <a:pt x="34" y="82"/>
                </a:lnTo>
                <a:lnTo>
                  <a:pt x="32" y="85"/>
                </a:lnTo>
                <a:lnTo>
                  <a:pt x="31" y="85"/>
                </a:lnTo>
                <a:lnTo>
                  <a:pt x="32" y="82"/>
                </a:lnTo>
                <a:lnTo>
                  <a:pt x="34" y="80"/>
                </a:lnTo>
                <a:lnTo>
                  <a:pt x="35" y="80"/>
                </a:lnTo>
                <a:lnTo>
                  <a:pt x="36" y="80"/>
                </a:lnTo>
                <a:lnTo>
                  <a:pt x="37" y="79"/>
                </a:lnTo>
                <a:lnTo>
                  <a:pt x="39" y="80"/>
                </a:lnTo>
                <a:lnTo>
                  <a:pt x="40" y="79"/>
                </a:lnTo>
                <a:lnTo>
                  <a:pt x="41" y="79"/>
                </a:lnTo>
                <a:lnTo>
                  <a:pt x="41" y="78"/>
                </a:lnTo>
                <a:lnTo>
                  <a:pt x="43" y="76"/>
                </a:lnTo>
                <a:lnTo>
                  <a:pt x="42" y="75"/>
                </a:lnTo>
                <a:lnTo>
                  <a:pt x="41" y="76"/>
                </a:lnTo>
                <a:lnTo>
                  <a:pt x="40" y="76"/>
                </a:lnTo>
                <a:lnTo>
                  <a:pt x="40" y="76"/>
                </a:lnTo>
                <a:lnTo>
                  <a:pt x="42" y="72"/>
                </a:lnTo>
                <a:lnTo>
                  <a:pt x="43" y="71"/>
                </a:lnTo>
                <a:lnTo>
                  <a:pt x="43" y="70"/>
                </a:lnTo>
                <a:lnTo>
                  <a:pt x="44" y="68"/>
                </a:lnTo>
                <a:lnTo>
                  <a:pt x="44" y="66"/>
                </a:lnTo>
                <a:lnTo>
                  <a:pt x="45" y="64"/>
                </a:lnTo>
                <a:lnTo>
                  <a:pt x="44" y="65"/>
                </a:lnTo>
                <a:lnTo>
                  <a:pt x="46" y="64"/>
                </a:lnTo>
                <a:lnTo>
                  <a:pt x="47" y="62"/>
                </a:lnTo>
                <a:lnTo>
                  <a:pt x="47" y="61"/>
                </a:lnTo>
                <a:lnTo>
                  <a:pt x="46" y="61"/>
                </a:lnTo>
                <a:lnTo>
                  <a:pt x="43" y="64"/>
                </a:lnTo>
                <a:lnTo>
                  <a:pt x="42" y="64"/>
                </a:lnTo>
                <a:lnTo>
                  <a:pt x="40" y="65"/>
                </a:lnTo>
                <a:lnTo>
                  <a:pt x="39" y="65"/>
                </a:lnTo>
                <a:lnTo>
                  <a:pt x="37" y="65"/>
                </a:lnTo>
                <a:lnTo>
                  <a:pt x="35" y="66"/>
                </a:lnTo>
                <a:lnTo>
                  <a:pt x="35" y="67"/>
                </a:lnTo>
                <a:lnTo>
                  <a:pt x="33" y="68"/>
                </a:lnTo>
                <a:lnTo>
                  <a:pt x="32" y="68"/>
                </a:lnTo>
                <a:lnTo>
                  <a:pt x="32" y="69"/>
                </a:lnTo>
                <a:lnTo>
                  <a:pt x="30" y="70"/>
                </a:lnTo>
                <a:lnTo>
                  <a:pt x="30" y="70"/>
                </a:lnTo>
                <a:lnTo>
                  <a:pt x="27" y="71"/>
                </a:lnTo>
                <a:lnTo>
                  <a:pt x="26" y="71"/>
                </a:lnTo>
                <a:lnTo>
                  <a:pt x="26" y="71"/>
                </a:lnTo>
                <a:lnTo>
                  <a:pt x="26" y="70"/>
                </a:lnTo>
                <a:lnTo>
                  <a:pt x="26" y="68"/>
                </a:lnTo>
                <a:lnTo>
                  <a:pt x="27" y="68"/>
                </a:lnTo>
                <a:lnTo>
                  <a:pt x="29" y="67"/>
                </a:lnTo>
                <a:lnTo>
                  <a:pt x="31" y="67"/>
                </a:lnTo>
                <a:lnTo>
                  <a:pt x="34" y="64"/>
                </a:lnTo>
                <a:lnTo>
                  <a:pt x="36" y="61"/>
                </a:lnTo>
                <a:lnTo>
                  <a:pt x="39" y="60"/>
                </a:lnTo>
                <a:lnTo>
                  <a:pt x="43" y="60"/>
                </a:lnTo>
                <a:lnTo>
                  <a:pt x="43" y="60"/>
                </a:lnTo>
                <a:lnTo>
                  <a:pt x="40" y="59"/>
                </a:lnTo>
                <a:lnTo>
                  <a:pt x="40" y="58"/>
                </a:lnTo>
                <a:lnTo>
                  <a:pt x="37" y="57"/>
                </a:lnTo>
                <a:lnTo>
                  <a:pt x="37" y="55"/>
                </a:lnTo>
                <a:lnTo>
                  <a:pt x="41" y="52"/>
                </a:lnTo>
                <a:lnTo>
                  <a:pt x="39" y="51"/>
                </a:lnTo>
                <a:lnTo>
                  <a:pt x="39" y="51"/>
                </a:lnTo>
                <a:lnTo>
                  <a:pt x="40" y="50"/>
                </a:lnTo>
                <a:lnTo>
                  <a:pt x="39" y="49"/>
                </a:lnTo>
                <a:lnTo>
                  <a:pt x="36" y="49"/>
                </a:lnTo>
                <a:lnTo>
                  <a:pt x="36" y="49"/>
                </a:lnTo>
                <a:lnTo>
                  <a:pt x="36" y="47"/>
                </a:lnTo>
                <a:lnTo>
                  <a:pt x="36" y="46"/>
                </a:lnTo>
                <a:lnTo>
                  <a:pt x="39" y="48"/>
                </a:lnTo>
                <a:lnTo>
                  <a:pt x="37" y="48"/>
                </a:lnTo>
                <a:lnTo>
                  <a:pt x="39" y="46"/>
                </a:lnTo>
                <a:lnTo>
                  <a:pt x="40" y="45"/>
                </a:lnTo>
                <a:lnTo>
                  <a:pt x="39" y="45"/>
                </a:lnTo>
                <a:lnTo>
                  <a:pt x="37" y="46"/>
                </a:lnTo>
                <a:lnTo>
                  <a:pt x="36" y="46"/>
                </a:lnTo>
                <a:lnTo>
                  <a:pt x="35" y="45"/>
                </a:lnTo>
                <a:lnTo>
                  <a:pt x="36" y="45"/>
                </a:lnTo>
                <a:lnTo>
                  <a:pt x="36" y="44"/>
                </a:lnTo>
                <a:lnTo>
                  <a:pt x="35" y="44"/>
                </a:lnTo>
                <a:lnTo>
                  <a:pt x="34" y="45"/>
                </a:lnTo>
                <a:lnTo>
                  <a:pt x="33" y="45"/>
                </a:lnTo>
                <a:lnTo>
                  <a:pt x="33" y="44"/>
                </a:lnTo>
                <a:lnTo>
                  <a:pt x="33" y="42"/>
                </a:lnTo>
                <a:lnTo>
                  <a:pt x="34" y="42"/>
                </a:lnTo>
                <a:lnTo>
                  <a:pt x="37" y="41"/>
                </a:lnTo>
                <a:lnTo>
                  <a:pt x="40" y="41"/>
                </a:lnTo>
                <a:lnTo>
                  <a:pt x="36" y="41"/>
                </a:lnTo>
                <a:lnTo>
                  <a:pt x="35" y="40"/>
                </a:lnTo>
                <a:lnTo>
                  <a:pt x="36" y="40"/>
                </a:lnTo>
                <a:lnTo>
                  <a:pt x="37" y="39"/>
                </a:lnTo>
                <a:lnTo>
                  <a:pt x="37" y="39"/>
                </a:lnTo>
                <a:lnTo>
                  <a:pt x="36" y="39"/>
                </a:lnTo>
                <a:lnTo>
                  <a:pt x="37" y="38"/>
                </a:lnTo>
                <a:lnTo>
                  <a:pt x="40" y="37"/>
                </a:lnTo>
                <a:lnTo>
                  <a:pt x="40" y="37"/>
                </a:lnTo>
                <a:lnTo>
                  <a:pt x="36" y="37"/>
                </a:lnTo>
                <a:lnTo>
                  <a:pt x="36" y="37"/>
                </a:lnTo>
                <a:lnTo>
                  <a:pt x="39" y="35"/>
                </a:lnTo>
                <a:lnTo>
                  <a:pt x="42" y="37"/>
                </a:lnTo>
                <a:lnTo>
                  <a:pt x="42" y="38"/>
                </a:lnTo>
                <a:lnTo>
                  <a:pt x="43" y="38"/>
                </a:lnTo>
                <a:lnTo>
                  <a:pt x="43" y="38"/>
                </a:lnTo>
                <a:lnTo>
                  <a:pt x="43" y="37"/>
                </a:lnTo>
                <a:lnTo>
                  <a:pt x="44" y="36"/>
                </a:lnTo>
                <a:lnTo>
                  <a:pt x="43" y="35"/>
                </a:lnTo>
                <a:lnTo>
                  <a:pt x="43" y="36"/>
                </a:lnTo>
                <a:lnTo>
                  <a:pt x="42" y="35"/>
                </a:lnTo>
                <a:lnTo>
                  <a:pt x="42" y="34"/>
                </a:lnTo>
                <a:lnTo>
                  <a:pt x="42" y="32"/>
                </a:lnTo>
                <a:lnTo>
                  <a:pt x="44" y="31"/>
                </a:lnTo>
                <a:lnTo>
                  <a:pt x="46" y="31"/>
                </a:lnTo>
                <a:lnTo>
                  <a:pt x="47" y="31"/>
                </a:lnTo>
                <a:lnTo>
                  <a:pt x="46" y="31"/>
                </a:lnTo>
                <a:lnTo>
                  <a:pt x="42" y="31"/>
                </a:lnTo>
                <a:lnTo>
                  <a:pt x="41" y="32"/>
                </a:lnTo>
                <a:lnTo>
                  <a:pt x="39" y="34"/>
                </a:lnTo>
                <a:lnTo>
                  <a:pt x="39" y="32"/>
                </a:lnTo>
                <a:lnTo>
                  <a:pt x="40" y="31"/>
                </a:lnTo>
                <a:lnTo>
                  <a:pt x="41" y="30"/>
                </a:lnTo>
                <a:lnTo>
                  <a:pt x="42" y="30"/>
                </a:lnTo>
                <a:lnTo>
                  <a:pt x="45" y="29"/>
                </a:lnTo>
                <a:lnTo>
                  <a:pt x="45" y="28"/>
                </a:lnTo>
                <a:lnTo>
                  <a:pt x="43" y="29"/>
                </a:lnTo>
                <a:lnTo>
                  <a:pt x="43" y="28"/>
                </a:lnTo>
                <a:lnTo>
                  <a:pt x="46" y="27"/>
                </a:lnTo>
                <a:lnTo>
                  <a:pt x="45" y="27"/>
                </a:lnTo>
                <a:lnTo>
                  <a:pt x="43" y="27"/>
                </a:lnTo>
                <a:lnTo>
                  <a:pt x="42" y="28"/>
                </a:lnTo>
                <a:lnTo>
                  <a:pt x="40" y="29"/>
                </a:lnTo>
                <a:lnTo>
                  <a:pt x="39" y="29"/>
                </a:lnTo>
                <a:lnTo>
                  <a:pt x="40" y="27"/>
                </a:lnTo>
                <a:lnTo>
                  <a:pt x="41" y="26"/>
                </a:lnTo>
                <a:lnTo>
                  <a:pt x="41" y="26"/>
                </a:lnTo>
                <a:lnTo>
                  <a:pt x="40" y="26"/>
                </a:lnTo>
                <a:lnTo>
                  <a:pt x="39" y="26"/>
                </a:lnTo>
                <a:lnTo>
                  <a:pt x="37" y="26"/>
                </a:lnTo>
                <a:lnTo>
                  <a:pt x="36" y="24"/>
                </a:lnTo>
                <a:lnTo>
                  <a:pt x="34" y="22"/>
                </a:lnTo>
                <a:lnTo>
                  <a:pt x="35" y="20"/>
                </a:lnTo>
                <a:lnTo>
                  <a:pt x="35" y="19"/>
                </a:lnTo>
                <a:lnTo>
                  <a:pt x="36" y="18"/>
                </a:lnTo>
                <a:lnTo>
                  <a:pt x="37" y="17"/>
                </a:lnTo>
                <a:lnTo>
                  <a:pt x="36" y="17"/>
                </a:lnTo>
                <a:lnTo>
                  <a:pt x="40" y="10"/>
                </a:lnTo>
                <a:lnTo>
                  <a:pt x="41" y="8"/>
                </a:lnTo>
                <a:lnTo>
                  <a:pt x="42" y="6"/>
                </a:lnTo>
                <a:lnTo>
                  <a:pt x="40" y="8"/>
                </a:lnTo>
                <a:lnTo>
                  <a:pt x="39" y="10"/>
                </a:lnTo>
                <a:lnTo>
                  <a:pt x="37" y="10"/>
                </a:lnTo>
                <a:lnTo>
                  <a:pt x="37" y="10"/>
                </a:lnTo>
                <a:lnTo>
                  <a:pt x="36" y="12"/>
                </a:lnTo>
                <a:lnTo>
                  <a:pt x="35" y="14"/>
                </a:lnTo>
                <a:lnTo>
                  <a:pt x="34" y="17"/>
                </a:lnTo>
                <a:lnTo>
                  <a:pt x="32" y="20"/>
                </a:lnTo>
                <a:lnTo>
                  <a:pt x="31" y="22"/>
                </a:lnTo>
                <a:lnTo>
                  <a:pt x="30" y="24"/>
                </a:lnTo>
                <a:lnTo>
                  <a:pt x="26" y="26"/>
                </a:lnTo>
                <a:lnTo>
                  <a:pt x="25" y="26"/>
                </a:lnTo>
                <a:lnTo>
                  <a:pt x="24" y="26"/>
                </a:lnTo>
                <a:lnTo>
                  <a:pt x="25" y="22"/>
                </a:lnTo>
                <a:lnTo>
                  <a:pt x="25" y="21"/>
                </a:lnTo>
                <a:lnTo>
                  <a:pt x="24" y="24"/>
                </a:lnTo>
                <a:lnTo>
                  <a:pt x="20" y="22"/>
                </a:lnTo>
                <a:lnTo>
                  <a:pt x="22" y="20"/>
                </a:lnTo>
                <a:lnTo>
                  <a:pt x="23" y="20"/>
                </a:lnTo>
                <a:lnTo>
                  <a:pt x="23" y="19"/>
                </a:lnTo>
                <a:lnTo>
                  <a:pt x="23" y="17"/>
                </a:lnTo>
                <a:lnTo>
                  <a:pt x="25" y="16"/>
                </a:lnTo>
                <a:lnTo>
                  <a:pt x="25" y="16"/>
                </a:lnTo>
                <a:lnTo>
                  <a:pt x="25" y="15"/>
                </a:lnTo>
                <a:lnTo>
                  <a:pt x="24" y="15"/>
                </a:lnTo>
                <a:lnTo>
                  <a:pt x="22" y="17"/>
                </a:lnTo>
                <a:lnTo>
                  <a:pt x="21" y="17"/>
                </a:lnTo>
                <a:lnTo>
                  <a:pt x="20" y="16"/>
                </a:lnTo>
                <a:lnTo>
                  <a:pt x="20" y="14"/>
                </a:lnTo>
                <a:lnTo>
                  <a:pt x="19" y="14"/>
                </a:lnTo>
                <a:lnTo>
                  <a:pt x="19" y="14"/>
                </a:lnTo>
                <a:lnTo>
                  <a:pt x="17" y="15"/>
                </a:lnTo>
                <a:lnTo>
                  <a:pt x="16" y="14"/>
                </a:lnTo>
                <a:lnTo>
                  <a:pt x="16" y="12"/>
                </a:lnTo>
                <a:lnTo>
                  <a:pt x="16" y="14"/>
                </a:lnTo>
                <a:lnTo>
                  <a:pt x="14" y="15"/>
                </a:lnTo>
                <a:lnTo>
                  <a:pt x="13" y="15"/>
                </a:lnTo>
                <a:lnTo>
                  <a:pt x="13" y="15"/>
                </a:lnTo>
                <a:lnTo>
                  <a:pt x="15" y="15"/>
                </a:lnTo>
                <a:lnTo>
                  <a:pt x="16" y="16"/>
                </a:lnTo>
                <a:lnTo>
                  <a:pt x="16" y="17"/>
                </a:lnTo>
                <a:lnTo>
                  <a:pt x="16" y="17"/>
                </a:lnTo>
                <a:lnTo>
                  <a:pt x="17" y="18"/>
                </a:lnTo>
                <a:lnTo>
                  <a:pt x="16" y="19"/>
                </a:lnTo>
                <a:lnTo>
                  <a:pt x="16" y="19"/>
                </a:lnTo>
                <a:lnTo>
                  <a:pt x="17" y="19"/>
                </a:lnTo>
                <a:lnTo>
                  <a:pt x="19" y="19"/>
                </a:lnTo>
                <a:lnTo>
                  <a:pt x="19" y="21"/>
                </a:lnTo>
                <a:lnTo>
                  <a:pt x="17" y="22"/>
                </a:lnTo>
                <a:lnTo>
                  <a:pt x="16" y="24"/>
                </a:lnTo>
                <a:lnTo>
                  <a:pt x="14" y="24"/>
                </a:lnTo>
                <a:lnTo>
                  <a:pt x="11" y="25"/>
                </a:lnTo>
                <a:lnTo>
                  <a:pt x="12" y="24"/>
                </a:lnTo>
                <a:lnTo>
                  <a:pt x="12" y="24"/>
                </a:lnTo>
                <a:lnTo>
                  <a:pt x="10" y="25"/>
                </a:lnTo>
                <a:lnTo>
                  <a:pt x="8" y="26"/>
                </a:lnTo>
                <a:lnTo>
                  <a:pt x="5" y="22"/>
                </a:lnTo>
                <a:lnTo>
                  <a:pt x="3" y="22"/>
                </a:lnTo>
                <a:lnTo>
                  <a:pt x="2" y="21"/>
                </a:lnTo>
                <a:lnTo>
                  <a:pt x="1" y="20"/>
                </a:lnTo>
                <a:lnTo>
                  <a:pt x="0" y="20"/>
                </a:lnTo>
                <a:lnTo>
                  <a:pt x="3" y="18"/>
                </a:lnTo>
                <a:lnTo>
                  <a:pt x="2" y="18"/>
                </a:lnTo>
                <a:lnTo>
                  <a:pt x="0" y="18"/>
                </a:lnTo>
                <a:lnTo>
                  <a:pt x="0" y="17"/>
                </a:lnTo>
                <a:lnTo>
                  <a:pt x="0" y="12"/>
                </a:lnTo>
                <a:lnTo>
                  <a:pt x="1" y="11"/>
                </a:lnTo>
                <a:lnTo>
                  <a:pt x="2" y="10"/>
                </a:lnTo>
                <a:lnTo>
                  <a:pt x="5" y="8"/>
                </a:lnTo>
                <a:lnTo>
                  <a:pt x="8" y="7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59" name="Freeform 1560"/>
          <p:cNvSpPr>
            <a:spLocks/>
          </p:cNvSpPr>
          <p:nvPr/>
        </p:nvSpPr>
        <p:spPr bwMode="auto">
          <a:xfrm>
            <a:off x="1511300" y="1874803"/>
            <a:ext cx="96837" cy="134938"/>
          </a:xfrm>
          <a:custGeom>
            <a:avLst/>
            <a:gdLst>
              <a:gd name="T0" fmla="*/ 8 w 61"/>
              <a:gd name="T1" fmla="*/ 14 h 85"/>
              <a:gd name="T2" fmla="*/ 24 w 61"/>
              <a:gd name="T3" fmla="*/ 9 h 85"/>
              <a:gd name="T4" fmla="*/ 32 w 61"/>
              <a:gd name="T5" fmla="*/ 5 h 85"/>
              <a:gd name="T6" fmla="*/ 49 w 61"/>
              <a:gd name="T7" fmla="*/ 1 h 85"/>
              <a:gd name="T8" fmla="*/ 49 w 61"/>
              <a:gd name="T9" fmla="*/ 9 h 85"/>
              <a:gd name="T10" fmla="*/ 46 w 61"/>
              <a:gd name="T11" fmla="*/ 16 h 85"/>
              <a:gd name="T12" fmla="*/ 50 w 61"/>
              <a:gd name="T13" fmla="*/ 32 h 85"/>
              <a:gd name="T14" fmla="*/ 47 w 61"/>
              <a:gd name="T15" fmla="*/ 42 h 85"/>
              <a:gd name="T16" fmla="*/ 46 w 61"/>
              <a:gd name="T17" fmla="*/ 47 h 85"/>
              <a:gd name="T18" fmla="*/ 44 w 61"/>
              <a:gd name="T19" fmla="*/ 55 h 85"/>
              <a:gd name="T20" fmla="*/ 60 w 61"/>
              <a:gd name="T21" fmla="*/ 62 h 85"/>
              <a:gd name="T22" fmla="*/ 55 w 61"/>
              <a:gd name="T23" fmla="*/ 69 h 85"/>
              <a:gd name="T24" fmla="*/ 46 w 61"/>
              <a:gd name="T25" fmla="*/ 79 h 85"/>
              <a:gd name="T26" fmla="*/ 36 w 61"/>
              <a:gd name="T27" fmla="*/ 84 h 85"/>
              <a:gd name="T28" fmla="*/ 31 w 61"/>
              <a:gd name="T29" fmla="*/ 85 h 85"/>
              <a:gd name="T30" fmla="*/ 37 w 61"/>
              <a:gd name="T31" fmla="*/ 79 h 85"/>
              <a:gd name="T32" fmla="*/ 43 w 61"/>
              <a:gd name="T33" fmla="*/ 76 h 85"/>
              <a:gd name="T34" fmla="*/ 42 w 61"/>
              <a:gd name="T35" fmla="*/ 72 h 85"/>
              <a:gd name="T36" fmla="*/ 45 w 61"/>
              <a:gd name="T37" fmla="*/ 64 h 85"/>
              <a:gd name="T38" fmla="*/ 46 w 61"/>
              <a:gd name="T39" fmla="*/ 61 h 85"/>
              <a:gd name="T40" fmla="*/ 37 w 61"/>
              <a:gd name="T41" fmla="*/ 65 h 85"/>
              <a:gd name="T42" fmla="*/ 32 w 61"/>
              <a:gd name="T43" fmla="*/ 69 h 85"/>
              <a:gd name="T44" fmla="*/ 26 w 61"/>
              <a:gd name="T45" fmla="*/ 71 h 85"/>
              <a:gd name="T46" fmla="*/ 31 w 61"/>
              <a:gd name="T47" fmla="*/ 67 h 85"/>
              <a:gd name="T48" fmla="*/ 43 w 61"/>
              <a:gd name="T49" fmla="*/ 60 h 85"/>
              <a:gd name="T50" fmla="*/ 41 w 61"/>
              <a:gd name="T51" fmla="*/ 52 h 85"/>
              <a:gd name="T52" fmla="*/ 36 w 61"/>
              <a:gd name="T53" fmla="*/ 49 h 85"/>
              <a:gd name="T54" fmla="*/ 37 w 61"/>
              <a:gd name="T55" fmla="*/ 48 h 85"/>
              <a:gd name="T56" fmla="*/ 36 w 61"/>
              <a:gd name="T57" fmla="*/ 46 h 85"/>
              <a:gd name="T58" fmla="*/ 34 w 61"/>
              <a:gd name="T59" fmla="*/ 45 h 85"/>
              <a:gd name="T60" fmla="*/ 37 w 61"/>
              <a:gd name="T61" fmla="*/ 41 h 85"/>
              <a:gd name="T62" fmla="*/ 37 w 61"/>
              <a:gd name="T63" fmla="*/ 39 h 85"/>
              <a:gd name="T64" fmla="*/ 40 w 61"/>
              <a:gd name="T65" fmla="*/ 37 h 85"/>
              <a:gd name="T66" fmla="*/ 42 w 61"/>
              <a:gd name="T67" fmla="*/ 38 h 85"/>
              <a:gd name="T68" fmla="*/ 43 w 61"/>
              <a:gd name="T69" fmla="*/ 35 h 85"/>
              <a:gd name="T70" fmla="*/ 44 w 61"/>
              <a:gd name="T71" fmla="*/ 31 h 85"/>
              <a:gd name="T72" fmla="*/ 41 w 61"/>
              <a:gd name="T73" fmla="*/ 32 h 85"/>
              <a:gd name="T74" fmla="*/ 42 w 61"/>
              <a:gd name="T75" fmla="*/ 30 h 85"/>
              <a:gd name="T76" fmla="*/ 46 w 61"/>
              <a:gd name="T77" fmla="*/ 27 h 85"/>
              <a:gd name="T78" fmla="*/ 39 w 61"/>
              <a:gd name="T79" fmla="*/ 29 h 85"/>
              <a:gd name="T80" fmla="*/ 39 w 61"/>
              <a:gd name="T81" fmla="*/ 26 h 85"/>
              <a:gd name="T82" fmla="*/ 35 w 61"/>
              <a:gd name="T83" fmla="*/ 19 h 85"/>
              <a:gd name="T84" fmla="*/ 41 w 61"/>
              <a:gd name="T85" fmla="*/ 8 h 85"/>
              <a:gd name="T86" fmla="*/ 37 w 61"/>
              <a:gd name="T87" fmla="*/ 10 h 85"/>
              <a:gd name="T88" fmla="*/ 31 w 61"/>
              <a:gd name="T89" fmla="*/ 22 h 85"/>
              <a:gd name="T90" fmla="*/ 25 w 61"/>
              <a:gd name="T91" fmla="*/ 22 h 85"/>
              <a:gd name="T92" fmla="*/ 23 w 61"/>
              <a:gd name="T93" fmla="*/ 20 h 85"/>
              <a:gd name="T94" fmla="*/ 25 w 61"/>
              <a:gd name="T95" fmla="*/ 15 h 85"/>
              <a:gd name="T96" fmla="*/ 20 w 61"/>
              <a:gd name="T97" fmla="*/ 14 h 85"/>
              <a:gd name="T98" fmla="*/ 16 w 61"/>
              <a:gd name="T99" fmla="*/ 12 h 85"/>
              <a:gd name="T100" fmla="*/ 15 w 61"/>
              <a:gd name="T101" fmla="*/ 15 h 85"/>
              <a:gd name="T102" fmla="*/ 16 w 61"/>
              <a:gd name="T103" fmla="*/ 19 h 85"/>
              <a:gd name="T104" fmla="*/ 17 w 61"/>
              <a:gd name="T105" fmla="*/ 22 h 85"/>
              <a:gd name="T106" fmla="*/ 12 w 61"/>
              <a:gd name="T107" fmla="*/ 24 h 85"/>
              <a:gd name="T108" fmla="*/ 2 w 61"/>
              <a:gd name="T109" fmla="*/ 21 h 85"/>
              <a:gd name="T110" fmla="*/ 0 w 61"/>
              <a:gd name="T111" fmla="*/ 18 h 85"/>
              <a:gd name="T112" fmla="*/ 5 w 61"/>
              <a:gd name="T113" fmla="*/ 8 h 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1" h="85">
                <a:moveTo>
                  <a:pt x="8" y="7"/>
                </a:moveTo>
                <a:lnTo>
                  <a:pt x="10" y="9"/>
                </a:lnTo>
                <a:lnTo>
                  <a:pt x="8" y="12"/>
                </a:lnTo>
                <a:lnTo>
                  <a:pt x="8" y="14"/>
                </a:lnTo>
                <a:lnTo>
                  <a:pt x="8" y="14"/>
                </a:lnTo>
                <a:lnTo>
                  <a:pt x="8" y="15"/>
                </a:lnTo>
                <a:lnTo>
                  <a:pt x="12" y="14"/>
                </a:lnTo>
                <a:lnTo>
                  <a:pt x="17" y="11"/>
                </a:lnTo>
                <a:lnTo>
                  <a:pt x="22" y="10"/>
                </a:lnTo>
                <a:lnTo>
                  <a:pt x="24" y="9"/>
                </a:lnTo>
                <a:lnTo>
                  <a:pt x="25" y="8"/>
                </a:lnTo>
                <a:lnTo>
                  <a:pt x="26" y="7"/>
                </a:lnTo>
                <a:lnTo>
                  <a:pt x="29" y="7"/>
                </a:lnTo>
                <a:lnTo>
                  <a:pt x="30" y="7"/>
                </a:lnTo>
                <a:lnTo>
                  <a:pt x="32" y="5"/>
                </a:lnTo>
                <a:lnTo>
                  <a:pt x="34" y="4"/>
                </a:lnTo>
                <a:lnTo>
                  <a:pt x="40" y="2"/>
                </a:lnTo>
                <a:lnTo>
                  <a:pt x="47" y="0"/>
                </a:lnTo>
                <a:lnTo>
                  <a:pt x="49" y="0"/>
                </a:lnTo>
                <a:lnTo>
                  <a:pt x="49" y="1"/>
                </a:lnTo>
                <a:lnTo>
                  <a:pt x="49" y="4"/>
                </a:lnTo>
                <a:lnTo>
                  <a:pt x="49" y="5"/>
                </a:lnTo>
                <a:lnTo>
                  <a:pt x="50" y="5"/>
                </a:lnTo>
                <a:lnTo>
                  <a:pt x="49" y="7"/>
                </a:lnTo>
                <a:lnTo>
                  <a:pt x="49" y="9"/>
                </a:lnTo>
                <a:lnTo>
                  <a:pt x="47" y="10"/>
                </a:lnTo>
                <a:lnTo>
                  <a:pt x="49" y="11"/>
                </a:lnTo>
                <a:lnTo>
                  <a:pt x="47" y="14"/>
                </a:lnTo>
                <a:lnTo>
                  <a:pt x="47" y="15"/>
                </a:lnTo>
                <a:lnTo>
                  <a:pt x="46" y="16"/>
                </a:lnTo>
                <a:lnTo>
                  <a:pt x="51" y="17"/>
                </a:lnTo>
                <a:lnTo>
                  <a:pt x="51" y="19"/>
                </a:lnTo>
                <a:lnTo>
                  <a:pt x="50" y="22"/>
                </a:lnTo>
                <a:lnTo>
                  <a:pt x="50" y="26"/>
                </a:lnTo>
                <a:lnTo>
                  <a:pt x="50" y="32"/>
                </a:lnTo>
                <a:lnTo>
                  <a:pt x="47" y="36"/>
                </a:lnTo>
                <a:lnTo>
                  <a:pt x="47" y="36"/>
                </a:lnTo>
                <a:lnTo>
                  <a:pt x="49" y="36"/>
                </a:lnTo>
                <a:lnTo>
                  <a:pt x="47" y="39"/>
                </a:lnTo>
                <a:lnTo>
                  <a:pt x="47" y="42"/>
                </a:lnTo>
                <a:lnTo>
                  <a:pt x="47" y="44"/>
                </a:lnTo>
                <a:lnTo>
                  <a:pt x="46" y="44"/>
                </a:lnTo>
                <a:lnTo>
                  <a:pt x="45" y="45"/>
                </a:lnTo>
                <a:lnTo>
                  <a:pt x="45" y="46"/>
                </a:lnTo>
                <a:lnTo>
                  <a:pt x="46" y="47"/>
                </a:lnTo>
                <a:lnTo>
                  <a:pt x="46" y="48"/>
                </a:lnTo>
                <a:lnTo>
                  <a:pt x="45" y="49"/>
                </a:lnTo>
                <a:lnTo>
                  <a:pt x="44" y="52"/>
                </a:lnTo>
                <a:lnTo>
                  <a:pt x="44" y="54"/>
                </a:lnTo>
                <a:lnTo>
                  <a:pt x="44" y="55"/>
                </a:lnTo>
                <a:lnTo>
                  <a:pt x="46" y="56"/>
                </a:lnTo>
                <a:lnTo>
                  <a:pt x="53" y="57"/>
                </a:lnTo>
                <a:lnTo>
                  <a:pt x="56" y="61"/>
                </a:lnTo>
                <a:lnTo>
                  <a:pt x="56" y="62"/>
                </a:lnTo>
                <a:lnTo>
                  <a:pt x="60" y="62"/>
                </a:lnTo>
                <a:lnTo>
                  <a:pt x="61" y="64"/>
                </a:lnTo>
                <a:lnTo>
                  <a:pt x="60" y="65"/>
                </a:lnTo>
                <a:lnTo>
                  <a:pt x="60" y="65"/>
                </a:lnTo>
                <a:lnTo>
                  <a:pt x="59" y="66"/>
                </a:lnTo>
                <a:lnTo>
                  <a:pt x="55" y="69"/>
                </a:lnTo>
                <a:lnTo>
                  <a:pt x="52" y="74"/>
                </a:lnTo>
                <a:lnTo>
                  <a:pt x="50" y="76"/>
                </a:lnTo>
                <a:lnTo>
                  <a:pt x="50" y="77"/>
                </a:lnTo>
                <a:lnTo>
                  <a:pt x="49" y="78"/>
                </a:lnTo>
                <a:lnTo>
                  <a:pt x="46" y="79"/>
                </a:lnTo>
                <a:lnTo>
                  <a:pt x="45" y="80"/>
                </a:lnTo>
                <a:lnTo>
                  <a:pt x="44" y="80"/>
                </a:lnTo>
                <a:lnTo>
                  <a:pt x="41" y="81"/>
                </a:lnTo>
                <a:lnTo>
                  <a:pt x="37" y="82"/>
                </a:lnTo>
                <a:lnTo>
                  <a:pt x="36" y="84"/>
                </a:lnTo>
                <a:lnTo>
                  <a:pt x="35" y="84"/>
                </a:lnTo>
                <a:lnTo>
                  <a:pt x="34" y="85"/>
                </a:lnTo>
                <a:lnTo>
                  <a:pt x="34" y="82"/>
                </a:lnTo>
                <a:lnTo>
                  <a:pt x="32" y="85"/>
                </a:lnTo>
                <a:lnTo>
                  <a:pt x="31" y="85"/>
                </a:lnTo>
                <a:lnTo>
                  <a:pt x="32" y="82"/>
                </a:lnTo>
                <a:lnTo>
                  <a:pt x="34" y="80"/>
                </a:lnTo>
                <a:lnTo>
                  <a:pt x="35" y="80"/>
                </a:lnTo>
                <a:lnTo>
                  <a:pt x="36" y="80"/>
                </a:lnTo>
                <a:lnTo>
                  <a:pt x="37" y="79"/>
                </a:lnTo>
                <a:lnTo>
                  <a:pt x="39" y="80"/>
                </a:lnTo>
                <a:lnTo>
                  <a:pt x="40" y="79"/>
                </a:lnTo>
                <a:lnTo>
                  <a:pt x="41" y="79"/>
                </a:lnTo>
                <a:lnTo>
                  <a:pt x="41" y="78"/>
                </a:lnTo>
                <a:lnTo>
                  <a:pt x="43" y="76"/>
                </a:lnTo>
                <a:lnTo>
                  <a:pt x="42" y="75"/>
                </a:lnTo>
                <a:lnTo>
                  <a:pt x="41" y="76"/>
                </a:lnTo>
                <a:lnTo>
                  <a:pt x="40" y="76"/>
                </a:lnTo>
                <a:lnTo>
                  <a:pt x="40" y="76"/>
                </a:lnTo>
                <a:lnTo>
                  <a:pt x="42" y="72"/>
                </a:lnTo>
                <a:lnTo>
                  <a:pt x="43" y="71"/>
                </a:lnTo>
                <a:lnTo>
                  <a:pt x="43" y="70"/>
                </a:lnTo>
                <a:lnTo>
                  <a:pt x="44" y="68"/>
                </a:lnTo>
                <a:lnTo>
                  <a:pt x="44" y="66"/>
                </a:lnTo>
                <a:lnTo>
                  <a:pt x="45" y="64"/>
                </a:lnTo>
                <a:lnTo>
                  <a:pt x="44" y="65"/>
                </a:lnTo>
                <a:lnTo>
                  <a:pt x="46" y="64"/>
                </a:lnTo>
                <a:lnTo>
                  <a:pt x="47" y="62"/>
                </a:lnTo>
                <a:lnTo>
                  <a:pt x="47" y="61"/>
                </a:lnTo>
                <a:lnTo>
                  <a:pt x="46" y="61"/>
                </a:lnTo>
                <a:lnTo>
                  <a:pt x="43" y="64"/>
                </a:lnTo>
                <a:lnTo>
                  <a:pt x="42" y="64"/>
                </a:lnTo>
                <a:lnTo>
                  <a:pt x="40" y="65"/>
                </a:lnTo>
                <a:lnTo>
                  <a:pt x="39" y="65"/>
                </a:lnTo>
                <a:lnTo>
                  <a:pt x="37" y="65"/>
                </a:lnTo>
                <a:lnTo>
                  <a:pt x="35" y="66"/>
                </a:lnTo>
                <a:lnTo>
                  <a:pt x="35" y="67"/>
                </a:lnTo>
                <a:lnTo>
                  <a:pt x="33" y="68"/>
                </a:lnTo>
                <a:lnTo>
                  <a:pt x="32" y="68"/>
                </a:lnTo>
                <a:lnTo>
                  <a:pt x="32" y="69"/>
                </a:lnTo>
                <a:lnTo>
                  <a:pt x="30" y="70"/>
                </a:lnTo>
                <a:lnTo>
                  <a:pt x="30" y="70"/>
                </a:lnTo>
                <a:lnTo>
                  <a:pt x="27" y="71"/>
                </a:lnTo>
                <a:lnTo>
                  <a:pt x="26" y="71"/>
                </a:lnTo>
                <a:lnTo>
                  <a:pt x="26" y="71"/>
                </a:lnTo>
                <a:lnTo>
                  <a:pt x="26" y="70"/>
                </a:lnTo>
                <a:lnTo>
                  <a:pt x="26" y="68"/>
                </a:lnTo>
                <a:lnTo>
                  <a:pt x="27" y="68"/>
                </a:lnTo>
                <a:lnTo>
                  <a:pt x="29" y="67"/>
                </a:lnTo>
                <a:lnTo>
                  <a:pt x="31" y="67"/>
                </a:lnTo>
                <a:lnTo>
                  <a:pt x="34" y="64"/>
                </a:lnTo>
                <a:lnTo>
                  <a:pt x="36" y="61"/>
                </a:lnTo>
                <a:lnTo>
                  <a:pt x="39" y="60"/>
                </a:lnTo>
                <a:lnTo>
                  <a:pt x="43" y="60"/>
                </a:lnTo>
                <a:lnTo>
                  <a:pt x="43" y="60"/>
                </a:lnTo>
                <a:lnTo>
                  <a:pt x="40" y="59"/>
                </a:lnTo>
                <a:lnTo>
                  <a:pt x="40" y="58"/>
                </a:lnTo>
                <a:lnTo>
                  <a:pt x="37" y="57"/>
                </a:lnTo>
                <a:lnTo>
                  <a:pt x="37" y="55"/>
                </a:lnTo>
                <a:lnTo>
                  <a:pt x="41" y="52"/>
                </a:lnTo>
                <a:lnTo>
                  <a:pt x="39" y="51"/>
                </a:lnTo>
                <a:lnTo>
                  <a:pt x="39" y="51"/>
                </a:lnTo>
                <a:lnTo>
                  <a:pt x="40" y="50"/>
                </a:lnTo>
                <a:lnTo>
                  <a:pt x="39" y="49"/>
                </a:lnTo>
                <a:lnTo>
                  <a:pt x="36" y="49"/>
                </a:lnTo>
                <a:lnTo>
                  <a:pt x="36" y="49"/>
                </a:lnTo>
                <a:lnTo>
                  <a:pt x="36" y="47"/>
                </a:lnTo>
                <a:lnTo>
                  <a:pt x="36" y="46"/>
                </a:lnTo>
                <a:lnTo>
                  <a:pt x="39" y="48"/>
                </a:lnTo>
                <a:lnTo>
                  <a:pt x="37" y="48"/>
                </a:lnTo>
                <a:lnTo>
                  <a:pt x="39" y="46"/>
                </a:lnTo>
                <a:lnTo>
                  <a:pt x="40" y="45"/>
                </a:lnTo>
                <a:lnTo>
                  <a:pt x="39" y="45"/>
                </a:lnTo>
                <a:lnTo>
                  <a:pt x="37" y="46"/>
                </a:lnTo>
                <a:lnTo>
                  <a:pt x="36" y="46"/>
                </a:lnTo>
                <a:lnTo>
                  <a:pt x="35" y="45"/>
                </a:lnTo>
                <a:lnTo>
                  <a:pt x="36" y="45"/>
                </a:lnTo>
                <a:lnTo>
                  <a:pt x="36" y="44"/>
                </a:lnTo>
                <a:lnTo>
                  <a:pt x="35" y="44"/>
                </a:lnTo>
                <a:lnTo>
                  <a:pt x="34" y="45"/>
                </a:lnTo>
                <a:lnTo>
                  <a:pt x="33" y="45"/>
                </a:lnTo>
                <a:lnTo>
                  <a:pt x="33" y="44"/>
                </a:lnTo>
                <a:lnTo>
                  <a:pt x="33" y="42"/>
                </a:lnTo>
                <a:lnTo>
                  <a:pt x="34" y="42"/>
                </a:lnTo>
                <a:lnTo>
                  <a:pt x="37" y="41"/>
                </a:lnTo>
                <a:lnTo>
                  <a:pt x="40" y="41"/>
                </a:lnTo>
                <a:lnTo>
                  <a:pt x="36" y="41"/>
                </a:lnTo>
                <a:lnTo>
                  <a:pt x="35" y="40"/>
                </a:lnTo>
                <a:lnTo>
                  <a:pt x="36" y="40"/>
                </a:lnTo>
                <a:lnTo>
                  <a:pt x="37" y="39"/>
                </a:lnTo>
                <a:lnTo>
                  <a:pt x="37" y="39"/>
                </a:lnTo>
                <a:lnTo>
                  <a:pt x="36" y="39"/>
                </a:lnTo>
                <a:lnTo>
                  <a:pt x="37" y="38"/>
                </a:lnTo>
                <a:lnTo>
                  <a:pt x="40" y="37"/>
                </a:lnTo>
                <a:lnTo>
                  <a:pt x="40" y="37"/>
                </a:lnTo>
                <a:lnTo>
                  <a:pt x="36" y="37"/>
                </a:lnTo>
                <a:lnTo>
                  <a:pt x="36" y="37"/>
                </a:lnTo>
                <a:lnTo>
                  <a:pt x="39" y="35"/>
                </a:lnTo>
                <a:lnTo>
                  <a:pt x="42" y="37"/>
                </a:lnTo>
                <a:lnTo>
                  <a:pt x="42" y="38"/>
                </a:lnTo>
                <a:lnTo>
                  <a:pt x="43" y="38"/>
                </a:lnTo>
                <a:lnTo>
                  <a:pt x="43" y="38"/>
                </a:lnTo>
                <a:lnTo>
                  <a:pt x="43" y="37"/>
                </a:lnTo>
                <a:lnTo>
                  <a:pt x="44" y="36"/>
                </a:lnTo>
                <a:lnTo>
                  <a:pt x="43" y="35"/>
                </a:lnTo>
                <a:lnTo>
                  <a:pt x="43" y="36"/>
                </a:lnTo>
                <a:lnTo>
                  <a:pt x="42" y="35"/>
                </a:lnTo>
                <a:lnTo>
                  <a:pt x="42" y="34"/>
                </a:lnTo>
                <a:lnTo>
                  <a:pt x="42" y="32"/>
                </a:lnTo>
                <a:lnTo>
                  <a:pt x="44" y="31"/>
                </a:lnTo>
                <a:lnTo>
                  <a:pt x="46" y="31"/>
                </a:lnTo>
                <a:lnTo>
                  <a:pt x="47" y="31"/>
                </a:lnTo>
                <a:lnTo>
                  <a:pt x="46" y="31"/>
                </a:lnTo>
                <a:lnTo>
                  <a:pt x="42" y="31"/>
                </a:lnTo>
                <a:lnTo>
                  <a:pt x="41" y="32"/>
                </a:lnTo>
                <a:lnTo>
                  <a:pt x="39" y="34"/>
                </a:lnTo>
                <a:lnTo>
                  <a:pt x="39" y="32"/>
                </a:lnTo>
                <a:lnTo>
                  <a:pt x="40" y="31"/>
                </a:lnTo>
                <a:lnTo>
                  <a:pt x="41" y="30"/>
                </a:lnTo>
                <a:lnTo>
                  <a:pt x="42" y="30"/>
                </a:lnTo>
                <a:lnTo>
                  <a:pt x="45" y="29"/>
                </a:lnTo>
                <a:lnTo>
                  <a:pt x="45" y="28"/>
                </a:lnTo>
                <a:lnTo>
                  <a:pt x="43" y="29"/>
                </a:lnTo>
                <a:lnTo>
                  <a:pt x="43" y="28"/>
                </a:lnTo>
                <a:lnTo>
                  <a:pt x="46" y="27"/>
                </a:lnTo>
                <a:lnTo>
                  <a:pt x="45" y="27"/>
                </a:lnTo>
                <a:lnTo>
                  <a:pt x="43" y="27"/>
                </a:lnTo>
                <a:lnTo>
                  <a:pt x="42" y="28"/>
                </a:lnTo>
                <a:lnTo>
                  <a:pt x="40" y="29"/>
                </a:lnTo>
                <a:lnTo>
                  <a:pt x="39" y="29"/>
                </a:lnTo>
                <a:lnTo>
                  <a:pt x="40" y="27"/>
                </a:lnTo>
                <a:lnTo>
                  <a:pt x="41" y="26"/>
                </a:lnTo>
                <a:lnTo>
                  <a:pt x="41" y="26"/>
                </a:lnTo>
                <a:lnTo>
                  <a:pt x="40" y="26"/>
                </a:lnTo>
                <a:lnTo>
                  <a:pt x="39" y="26"/>
                </a:lnTo>
                <a:lnTo>
                  <a:pt x="37" y="26"/>
                </a:lnTo>
                <a:lnTo>
                  <a:pt x="36" y="24"/>
                </a:lnTo>
                <a:lnTo>
                  <a:pt x="34" y="22"/>
                </a:lnTo>
                <a:lnTo>
                  <a:pt x="35" y="20"/>
                </a:lnTo>
                <a:lnTo>
                  <a:pt x="35" y="19"/>
                </a:lnTo>
                <a:lnTo>
                  <a:pt x="36" y="18"/>
                </a:lnTo>
                <a:lnTo>
                  <a:pt x="37" y="17"/>
                </a:lnTo>
                <a:lnTo>
                  <a:pt x="36" y="17"/>
                </a:lnTo>
                <a:lnTo>
                  <a:pt x="40" y="10"/>
                </a:lnTo>
                <a:lnTo>
                  <a:pt x="41" y="8"/>
                </a:lnTo>
                <a:lnTo>
                  <a:pt x="42" y="6"/>
                </a:lnTo>
                <a:lnTo>
                  <a:pt x="40" y="8"/>
                </a:lnTo>
                <a:lnTo>
                  <a:pt x="39" y="10"/>
                </a:lnTo>
                <a:lnTo>
                  <a:pt x="37" y="10"/>
                </a:lnTo>
                <a:lnTo>
                  <a:pt x="37" y="10"/>
                </a:lnTo>
                <a:lnTo>
                  <a:pt x="36" y="12"/>
                </a:lnTo>
                <a:lnTo>
                  <a:pt x="35" y="14"/>
                </a:lnTo>
                <a:lnTo>
                  <a:pt x="34" y="17"/>
                </a:lnTo>
                <a:lnTo>
                  <a:pt x="32" y="20"/>
                </a:lnTo>
                <a:lnTo>
                  <a:pt x="31" y="22"/>
                </a:lnTo>
                <a:lnTo>
                  <a:pt x="30" y="24"/>
                </a:lnTo>
                <a:lnTo>
                  <a:pt x="26" y="26"/>
                </a:lnTo>
                <a:lnTo>
                  <a:pt x="25" y="26"/>
                </a:lnTo>
                <a:lnTo>
                  <a:pt x="24" y="26"/>
                </a:lnTo>
                <a:lnTo>
                  <a:pt x="25" y="22"/>
                </a:lnTo>
                <a:lnTo>
                  <a:pt x="25" y="21"/>
                </a:lnTo>
                <a:lnTo>
                  <a:pt x="24" y="24"/>
                </a:lnTo>
                <a:lnTo>
                  <a:pt x="20" y="22"/>
                </a:lnTo>
                <a:lnTo>
                  <a:pt x="22" y="20"/>
                </a:lnTo>
                <a:lnTo>
                  <a:pt x="23" y="20"/>
                </a:lnTo>
                <a:lnTo>
                  <a:pt x="23" y="19"/>
                </a:lnTo>
                <a:lnTo>
                  <a:pt x="23" y="17"/>
                </a:lnTo>
                <a:lnTo>
                  <a:pt x="25" y="16"/>
                </a:lnTo>
                <a:lnTo>
                  <a:pt x="25" y="16"/>
                </a:lnTo>
                <a:lnTo>
                  <a:pt x="25" y="15"/>
                </a:lnTo>
                <a:lnTo>
                  <a:pt x="24" y="15"/>
                </a:lnTo>
                <a:lnTo>
                  <a:pt x="22" y="17"/>
                </a:lnTo>
                <a:lnTo>
                  <a:pt x="21" y="17"/>
                </a:lnTo>
                <a:lnTo>
                  <a:pt x="20" y="16"/>
                </a:lnTo>
                <a:lnTo>
                  <a:pt x="20" y="14"/>
                </a:lnTo>
                <a:lnTo>
                  <a:pt x="19" y="14"/>
                </a:lnTo>
                <a:lnTo>
                  <a:pt x="19" y="14"/>
                </a:lnTo>
                <a:lnTo>
                  <a:pt x="17" y="15"/>
                </a:lnTo>
                <a:lnTo>
                  <a:pt x="16" y="14"/>
                </a:lnTo>
                <a:lnTo>
                  <a:pt x="16" y="12"/>
                </a:lnTo>
                <a:lnTo>
                  <a:pt x="16" y="14"/>
                </a:lnTo>
                <a:lnTo>
                  <a:pt x="14" y="15"/>
                </a:lnTo>
                <a:lnTo>
                  <a:pt x="13" y="15"/>
                </a:lnTo>
                <a:lnTo>
                  <a:pt x="13" y="15"/>
                </a:lnTo>
                <a:lnTo>
                  <a:pt x="15" y="15"/>
                </a:lnTo>
                <a:lnTo>
                  <a:pt x="16" y="16"/>
                </a:lnTo>
                <a:lnTo>
                  <a:pt x="16" y="17"/>
                </a:lnTo>
                <a:lnTo>
                  <a:pt x="16" y="17"/>
                </a:lnTo>
                <a:lnTo>
                  <a:pt x="17" y="18"/>
                </a:lnTo>
                <a:lnTo>
                  <a:pt x="16" y="19"/>
                </a:lnTo>
                <a:lnTo>
                  <a:pt x="16" y="19"/>
                </a:lnTo>
                <a:lnTo>
                  <a:pt x="17" y="19"/>
                </a:lnTo>
                <a:lnTo>
                  <a:pt x="19" y="19"/>
                </a:lnTo>
                <a:lnTo>
                  <a:pt x="19" y="21"/>
                </a:lnTo>
                <a:lnTo>
                  <a:pt x="17" y="22"/>
                </a:lnTo>
                <a:lnTo>
                  <a:pt x="16" y="24"/>
                </a:lnTo>
                <a:lnTo>
                  <a:pt x="14" y="24"/>
                </a:lnTo>
                <a:lnTo>
                  <a:pt x="11" y="25"/>
                </a:lnTo>
                <a:lnTo>
                  <a:pt x="12" y="24"/>
                </a:lnTo>
                <a:lnTo>
                  <a:pt x="12" y="24"/>
                </a:lnTo>
                <a:lnTo>
                  <a:pt x="10" y="25"/>
                </a:lnTo>
                <a:lnTo>
                  <a:pt x="8" y="26"/>
                </a:lnTo>
                <a:lnTo>
                  <a:pt x="5" y="22"/>
                </a:lnTo>
                <a:lnTo>
                  <a:pt x="3" y="22"/>
                </a:lnTo>
                <a:lnTo>
                  <a:pt x="2" y="21"/>
                </a:lnTo>
                <a:lnTo>
                  <a:pt x="1" y="20"/>
                </a:lnTo>
                <a:lnTo>
                  <a:pt x="0" y="20"/>
                </a:lnTo>
                <a:lnTo>
                  <a:pt x="3" y="18"/>
                </a:lnTo>
                <a:lnTo>
                  <a:pt x="2" y="18"/>
                </a:lnTo>
                <a:lnTo>
                  <a:pt x="0" y="18"/>
                </a:lnTo>
                <a:lnTo>
                  <a:pt x="0" y="17"/>
                </a:lnTo>
                <a:lnTo>
                  <a:pt x="0" y="12"/>
                </a:lnTo>
                <a:lnTo>
                  <a:pt x="1" y="11"/>
                </a:lnTo>
                <a:lnTo>
                  <a:pt x="2" y="10"/>
                </a:lnTo>
                <a:lnTo>
                  <a:pt x="5" y="8"/>
                </a:lnTo>
                <a:lnTo>
                  <a:pt x="8" y="7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60" name="Freeform 1561"/>
          <p:cNvSpPr>
            <a:spLocks/>
          </p:cNvSpPr>
          <p:nvPr/>
        </p:nvSpPr>
        <p:spPr bwMode="auto">
          <a:xfrm>
            <a:off x="2520950" y="2563778"/>
            <a:ext cx="9525" cy="6350"/>
          </a:xfrm>
          <a:custGeom>
            <a:avLst/>
            <a:gdLst>
              <a:gd name="T0" fmla="*/ 0 w 6"/>
              <a:gd name="T1" fmla="*/ 4 h 4"/>
              <a:gd name="T2" fmla="*/ 0 w 6"/>
              <a:gd name="T3" fmla="*/ 4 h 4"/>
              <a:gd name="T4" fmla="*/ 6 w 6"/>
              <a:gd name="T5" fmla="*/ 0 h 4"/>
              <a:gd name="T6" fmla="*/ 5 w 6"/>
              <a:gd name="T7" fmla="*/ 0 h 4"/>
              <a:gd name="T8" fmla="*/ 0 w 6"/>
              <a:gd name="T9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4">
                <a:moveTo>
                  <a:pt x="0" y="4"/>
                </a:moveTo>
                <a:lnTo>
                  <a:pt x="0" y="4"/>
                </a:lnTo>
                <a:lnTo>
                  <a:pt x="6" y="0"/>
                </a:lnTo>
                <a:lnTo>
                  <a:pt x="5" y="0"/>
                </a:lnTo>
                <a:lnTo>
                  <a:pt x="0" y="4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61" name="Freeform 1562"/>
          <p:cNvSpPr>
            <a:spLocks/>
          </p:cNvSpPr>
          <p:nvPr/>
        </p:nvSpPr>
        <p:spPr bwMode="auto">
          <a:xfrm>
            <a:off x="2520950" y="2563778"/>
            <a:ext cx="9525" cy="6350"/>
          </a:xfrm>
          <a:custGeom>
            <a:avLst/>
            <a:gdLst>
              <a:gd name="T0" fmla="*/ 0 w 6"/>
              <a:gd name="T1" fmla="*/ 4 h 4"/>
              <a:gd name="T2" fmla="*/ 0 w 6"/>
              <a:gd name="T3" fmla="*/ 4 h 4"/>
              <a:gd name="T4" fmla="*/ 6 w 6"/>
              <a:gd name="T5" fmla="*/ 0 h 4"/>
              <a:gd name="T6" fmla="*/ 5 w 6"/>
              <a:gd name="T7" fmla="*/ 0 h 4"/>
              <a:gd name="T8" fmla="*/ 0 w 6"/>
              <a:gd name="T9" fmla="*/ 4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4">
                <a:moveTo>
                  <a:pt x="0" y="4"/>
                </a:moveTo>
                <a:lnTo>
                  <a:pt x="0" y="4"/>
                </a:lnTo>
                <a:lnTo>
                  <a:pt x="6" y="0"/>
                </a:lnTo>
                <a:lnTo>
                  <a:pt x="5" y="0"/>
                </a:lnTo>
                <a:lnTo>
                  <a:pt x="0" y="4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62" name="Freeform 1563"/>
          <p:cNvSpPr>
            <a:spLocks/>
          </p:cNvSpPr>
          <p:nvPr/>
        </p:nvSpPr>
        <p:spPr bwMode="auto">
          <a:xfrm>
            <a:off x="2532063" y="2538378"/>
            <a:ext cx="9525" cy="23813"/>
          </a:xfrm>
          <a:custGeom>
            <a:avLst/>
            <a:gdLst>
              <a:gd name="T0" fmla="*/ 0 w 6"/>
              <a:gd name="T1" fmla="*/ 15 h 15"/>
              <a:gd name="T2" fmla="*/ 0 w 6"/>
              <a:gd name="T3" fmla="*/ 15 h 15"/>
              <a:gd name="T4" fmla="*/ 4 w 6"/>
              <a:gd name="T5" fmla="*/ 15 h 15"/>
              <a:gd name="T6" fmla="*/ 6 w 6"/>
              <a:gd name="T7" fmla="*/ 7 h 15"/>
              <a:gd name="T8" fmla="*/ 5 w 6"/>
              <a:gd name="T9" fmla="*/ 0 h 15"/>
              <a:gd name="T10" fmla="*/ 4 w 6"/>
              <a:gd name="T11" fmla="*/ 1 h 15"/>
              <a:gd name="T12" fmla="*/ 6 w 6"/>
              <a:gd name="T13" fmla="*/ 7 h 15"/>
              <a:gd name="T14" fmla="*/ 3 w 6"/>
              <a:gd name="T15" fmla="*/ 14 h 15"/>
              <a:gd name="T16" fmla="*/ 0 w 6"/>
              <a:gd name="T17" fmla="*/ 15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" h="15">
                <a:moveTo>
                  <a:pt x="0" y="15"/>
                </a:moveTo>
                <a:lnTo>
                  <a:pt x="0" y="15"/>
                </a:lnTo>
                <a:lnTo>
                  <a:pt x="4" y="15"/>
                </a:lnTo>
                <a:lnTo>
                  <a:pt x="6" y="7"/>
                </a:lnTo>
                <a:lnTo>
                  <a:pt x="5" y="0"/>
                </a:lnTo>
                <a:lnTo>
                  <a:pt x="4" y="1"/>
                </a:lnTo>
                <a:lnTo>
                  <a:pt x="6" y="7"/>
                </a:lnTo>
                <a:lnTo>
                  <a:pt x="3" y="14"/>
                </a:lnTo>
                <a:lnTo>
                  <a:pt x="0" y="1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63" name="Freeform 1564"/>
          <p:cNvSpPr>
            <a:spLocks/>
          </p:cNvSpPr>
          <p:nvPr/>
        </p:nvSpPr>
        <p:spPr bwMode="auto">
          <a:xfrm>
            <a:off x="2532063" y="2538378"/>
            <a:ext cx="9525" cy="23813"/>
          </a:xfrm>
          <a:custGeom>
            <a:avLst/>
            <a:gdLst>
              <a:gd name="T0" fmla="*/ 0 w 6"/>
              <a:gd name="T1" fmla="*/ 15 h 15"/>
              <a:gd name="T2" fmla="*/ 0 w 6"/>
              <a:gd name="T3" fmla="*/ 15 h 15"/>
              <a:gd name="T4" fmla="*/ 4 w 6"/>
              <a:gd name="T5" fmla="*/ 15 h 15"/>
              <a:gd name="T6" fmla="*/ 6 w 6"/>
              <a:gd name="T7" fmla="*/ 7 h 15"/>
              <a:gd name="T8" fmla="*/ 5 w 6"/>
              <a:gd name="T9" fmla="*/ 0 h 15"/>
              <a:gd name="T10" fmla="*/ 4 w 6"/>
              <a:gd name="T11" fmla="*/ 1 h 15"/>
              <a:gd name="T12" fmla="*/ 6 w 6"/>
              <a:gd name="T13" fmla="*/ 7 h 15"/>
              <a:gd name="T14" fmla="*/ 3 w 6"/>
              <a:gd name="T15" fmla="*/ 14 h 15"/>
              <a:gd name="T16" fmla="*/ 0 w 6"/>
              <a:gd name="T17" fmla="*/ 15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" h="15">
                <a:moveTo>
                  <a:pt x="0" y="15"/>
                </a:moveTo>
                <a:lnTo>
                  <a:pt x="0" y="15"/>
                </a:lnTo>
                <a:lnTo>
                  <a:pt x="4" y="15"/>
                </a:lnTo>
                <a:lnTo>
                  <a:pt x="6" y="7"/>
                </a:lnTo>
                <a:lnTo>
                  <a:pt x="5" y="0"/>
                </a:lnTo>
                <a:lnTo>
                  <a:pt x="4" y="1"/>
                </a:lnTo>
                <a:lnTo>
                  <a:pt x="6" y="7"/>
                </a:lnTo>
                <a:lnTo>
                  <a:pt x="3" y="14"/>
                </a:lnTo>
                <a:lnTo>
                  <a:pt x="0" y="1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64" name="Freeform 1565"/>
          <p:cNvSpPr>
            <a:spLocks/>
          </p:cNvSpPr>
          <p:nvPr/>
        </p:nvSpPr>
        <p:spPr bwMode="auto">
          <a:xfrm>
            <a:off x="2698750" y="2382803"/>
            <a:ext cx="7937" cy="4763"/>
          </a:xfrm>
          <a:custGeom>
            <a:avLst/>
            <a:gdLst>
              <a:gd name="T0" fmla="*/ 0 w 5"/>
              <a:gd name="T1" fmla="*/ 2 h 3"/>
              <a:gd name="T2" fmla="*/ 0 w 5"/>
              <a:gd name="T3" fmla="*/ 3 h 3"/>
              <a:gd name="T4" fmla="*/ 2 w 5"/>
              <a:gd name="T5" fmla="*/ 2 h 3"/>
              <a:gd name="T6" fmla="*/ 4 w 5"/>
              <a:gd name="T7" fmla="*/ 2 h 3"/>
              <a:gd name="T8" fmla="*/ 5 w 5"/>
              <a:gd name="T9" fmla="*/ 2 h 3"/>
              <a:gd name="T10" fmla="*/ 5 w 5"/>
              <a:gd name="T11" fmla="*/ 1 h 3"/>
              <a:gd name="T12" fmla="*/ 4 w 5"/>
              <a:gd name="T13" fmla="*/ 1 h 3"/>
              <a:gd name="T14" fmla="*/ 4 w 5"/>
              <a:gd name="T15" fmla="*/ 0 h 3"/>
              <a:gd name="T16" fmla="*/ 2 w 5"/>
              <a:gd name="T17" fmla="*/ 0 h 3"/>
              <a:gd name="T18" fmla="*/ 1 w 5"/>
              <a:gd name="T19" fmla="*/ 2 h 3"/>
              <a:gd name="T20" fmla="*/ 0 w 5"/>
              <a:gd name="T21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" h="3">
                <a:moveTo>
                  <a:pt x="0" y="2"/>
                </a:moveTo>
                <a:lnTo>
                  <a:pt x="0" y="3"/>
                </a:lnTo>
                <a:lnTo>
                  <a:pt x="2" y="2"/>
                </a:lnTo>
                <a:lnTo>
                  <a:pt x="4" y="2"/>
                </a:lnTo>
                <a:lnTo>
                  <a:pt x="5" y="2"/>
                </a:lnTo>
                <a:lnTo>
                  <a:pt x="5" y="1"/>
                </a:lnTo>
                <a:lnTo>
                  <a:pt x="4" y="1"/>
                </a:lnTo>
                <a:lnTo>
                  <a:pt x="4" y="0"/>
                </a:lnTo>
                <a:lnTo>
                  <a:pt x="2" y="0"/>
                </a:lnTo>
                <a:lnTo>
                  <a:pt x="1" y="2"/>
                </a:lnTo>
                <a:lnTo>
                  <a:pt x="0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65" name="Freeform 1566"/>
          <p:cNvSpPr>
            <a:spLocks/>
          </p:cNvSpPr>
          <p:nvPr/>
        </p:nvSpPr>
        <p:spPr bwMode="auto">
          <a:xfrm>
            <a:off x="2698750" y="2382803"/>
            <a:ext cx="7937" cy="4763"/>
          </a:xfrm>
          <a:custGeom>
            <a:avLst/>
            <a:gdLst>
              <a:gd name="T0" fmla="*/ 0 w 5"/>
              <a:gd name="T1" fmla="*/ 2 h 3"/>
              <a:gd name="T2" fmla="*/ 0 w 5"/>
              <a:gd name="T3" fmla="*/ 3 h 3"/>
              <a:gd name="T4" fmla="*/ 2 w 5"/>
              <a:gd name="T5" fmla="*/ 2 h 3"/>
              <a:gd name="T6" fmla="*/ 4 w 5"/>
              <a:gd name="T7" fmla="*/ 2 h 3"/>
              <a:gd name="T8" fmla="*/ 5 w 5"/>
              <a:gd name="T9" fmla="*/ 2 h 3"/>
              <a:gd name="T10" fmla="*/ 5 w 5"/>
              <a:gd name="T11" fmla="*/ 1 h 3"/>
              <a:gd name="T12" fmla="*/ 4 w 5"/>
              <a:gd name="T13" fmla="*/ 1 h 3"/>
              <a:gd name="T14" fmla="*/ 4 w 5"/>
              <a:gd name="T15" fmla="*/ 0 h 3"/>
              <a:gd name="T16" fmla="*/ 2 w 5"/>
              <a:gd name="T17" fmla="*/ 0 h 3"/>
              <a:gd name="T18" fmla="*/ 1 w 5"/>
              <a:gd name="T19" fmla="*/ 2 h 3"/>
              <a:gd name="T20" fmla="*/ 0 w 5"/>
              <a:gd name="T21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" h="3">
                <a:moveTo>
                  <a:pt x="0" y="2"/>
                </a:moveTo>
                <a:lnTo>
                  <a:pt x="0" y="3"/>
                </a:lnTo>
                <a:lnTo>
                  <a:pt x="2" y="2"/>
                </a:lnTo>
                <a:lnTo>
                  <a:pt x="4" y="2"/>
                </a:lnTo>
                <a:lnTo>
                  <a:pt x="5" y="2"/>
                </a:lnTo>
                <a:lnTo>
                  <a:pt x="5" y="1"/>
                </a:lnTo>
                <a:lnTo>
                  <a:pt x="4" y="1"/>
                </a:lnTo>
                <a:lnTo>
                  <a:pt x="4" y="0"/>
                </a:lnTo>
                <a:lnTo>
                  <a:pt x="2" y="0"/>
                </a:lnTo>
                <a:lnTo>
                  <a:pt x="1" y="2"/>
                </a:lnTo>
                <a:lnTo>
                  <a:pt x="0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66" name="Freeform 1567"/>
          <p:cNvSpPr>
            <a:spLocks/>
          </p:cNvSpPr>
          <p:nvPr/>
        </p:nvSpPr>
        <p:spPr bwMode="auto">
          <a:xfrm>
            <a:off x="2709863" y="2384390"/>
            <a:ext cx="7937" cy="4763"/>
          </a:xfrm>
          <a:custGeom>
            <a:avLst/>
            <a:gdLst>
              <a:gd name="T0" fmla="*/ 0 w 5"/>
              <a:gd name="T1" fmla="*/ 2 h 3"/>
              <a:gd name="T2" fmla="*/ 1 w 5"/>
              <a:gd name="T3" fmla="*/ 3 h 3"/>
              <a:gd name="T4" fmla="*/ 4 w 5"/>
              <a:gd name="T5" fmla="*/ 3 h 3"/>
              <a:gd name="T6" fmla="*/ 5 w 5"/>
              <a:gd name="T7" fmla="*/ 2 h 3"/>
              <a:gd name="T8" fmla="*/ 5 w 5"/>
              <a:gd name="T9" fmla="*/ 0 h 3"/>
              <a:gd name="T10" fmla="*/ 4 w 5"/>
              <a:gd name="T11" fmla="*/ 1 h 3"/>
              <a:gd name="T12" fmla="*/ 3 w 5"/>
              <a:gd name="T13" fmla="*/ 2 h 3"/>
              <a:gd name="T14" fmla="*/ 1 w 5"/>
              <a:gd name="T15" fmla="*/ 1 h 3"/>
              <a:gd name="T16" fmla="*/ 0 w 5"/>
              <a:gd name="T17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" h="3">
                <a:moveTo>
                  <a:pt x="0" y="2"/>
                </a:moveTo>
                <a:lnTo>
                  <a:pt x="1" y="3"/>
                </a:lnTo>
                <a:lnTo>
                  <a:pt x="4" y="3"/>
                </a:lnTo>
                <a:lnTo>
                  <a:pt x="5" y="2"/>
                </a:lnTo>
                <a:lnTo>
                  <a:pt x="5" y="0"/>
                </a:lnTo>
                <a:lnTo>
                  <a:pt x="4" y="1"/>
                </a:lnTo>
                <a:lnTo>
                  <a:pt x="3" y="2"/>
                </a:lnTo>
                <a:lnTo>
                  <a:pt x="1" y="1"/>
                </a:lnTo>
                <a:lnTo>
                  <a:pt x="0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67" name="Freeform 1568"/>
          <p:cNvSpPr>
            <a:spLocks/>
          </p:cNvSpPr>
          <p:nvPr/>
        </p:nvSpPr>
        <p:spPr bwMode="auto">
          <a:xfrm>
            <a:off x="2709863" y="2384390"/>
            <a:ext cx="7937" cy="4763"/>
          </a:xfrm>
          <a:custGeom>
            <a:avLst/>
            <a:gdLst>
              <a:gd name="T0" fmla="*/ 0 w 5"/>
              <a:gd name="T1" fmla="*/ 2 h 3"/>
              <a:gd name="T2" fmla="*/ 1 w 5"/>
              <a:gd name="T3" fmla="*/ 3 h 3"/>
              <a:gd name="T4" fmla="*/ 4 w 5"/>
              <a:gd name="T5" fmla="*/ 3 h 3"/>
              <a:gd name="T6" fmla="*/ 5 w 5"/>
              <a:gd name="T7" fmla="*/ 2 h 3"/>
              <a:gd name="T8" fmla="*/ 5 w 5"/>
              <a:gd name="T9" fmla="*/ 0 h 3"/>
              <a:gd name="T10" fmla="*/ 4 w 5"/>
              <a:gd name="T11" fmla="*/ 1 h 3"/>
              <a:gd name="T12" fmla="*/ 3 w 5"/>
              <a:gd name="T13" fmla="*/ 2 h 3"/>
              <a:gd name="T14" fmla="*/ 1 w 5"/>
              <a:gd name="T15" fmla="*/ 1 h 3"/>
              <a:gd name="T16" fmla="*/ 0 w 5"/>
              <a:gd name="T17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" h="3">
                <a:moveTo>
                  <a:pt x="0" y="2"/>
                </a:moveTo>
                <a:lnTo>
                  <a:pt x="1" y="3"/>
                </a:lnTo>
                <a:lnTo>
                  <a:pt x="4" y="3"/>
                </a:lnTo>
                <a:lnTo>
                  <a:pt x="5" y="2"/>
                </a:lnTo>
                <a:lnTo>
                  <a:pt x="5" y="0"/>
                </a:lnTo>
                <a:lnTo>
                  <a:pt x="4" y="1"/>
                </a:lnTo>
                <a:lnTo>
                  <a:pt x="3" y="2"/>
                </a:lnTo>
                <a:lnTo>
                  <a:pt x="1" y="1"/>
                </a:lnTo>
                <a:lnTo>
                  <a:pt x="0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68" name="Freeform 1569"/>
          <p:cNvSpPr>
            <a:spLocks/>
          </p:cNvSpPr>
          <p:nvPr/>
        </p:nvSpPr>
        <p:spPr bwMode="auto">
          <a:xfrm>
            <a:off x="1492250" y="2025615"/>
            <a:ext cx="34925" cy="26988"/>
          </a:xfrm>
          <a:custGeom>
            <a:avLst/>
            <a:gdLst>
              <a:gd name="T0" fmla="*/ 16 w 22"/>
              <a:gd name="T1" fmla="*/ 3 h 17"/>
              <a:gd name="T2" fmla="*/ 20 w 22"/>
              <a:gd name="T3" fmla="*/ 2 h 17"/>
              <a:gd name="T4" fmla="*/ 22 w 22"/>
              <a:gd name="T5" fmla="*/ 1 h 17"/>
              <a:gd name="T6" fmla="*/ 22 w 22"/>
              <a:gd name="T7" fmla="*/ 1 h 17"/>
              <a:gd name="T8" fmla="*/ 21 w 22"/>
              <a:gd name="T9" fmla="*/ 3 h 17"/>
              <a:gd name="T10" fmla="*/ 17 w 22"/>
              <a:gd name="T11" fmla="*/ 6 h 17"/>
              <a:gd name="T12" fmla="*/ 14 w 22"/>
              <a:gd name="T13" fmla="*/ 8 h 17"/>
              <a:gd name="T14" fmla="*/ 12 w 22"/>
              <a:gd name="T15" fmla="*/ 11 h 17"/>
              <a:gd name="T16" fmla="*/ 8 w 22"/>
              <a:gd name="T17" fmla="*/ 14 h 17"/>
              <a:gd name="T18" fmla="*/ 5 w 22"/>
              <a:gd name="T19" fmla="*/ 16 h 17"/>
              <a:gd name="T20" fmla="*/ 5 w 22"/>
              <a:gd name="T21" fmla="*/ 15 h 17"/>
              <a:gd name="T22" fmla="*/ 3 w 22"/>
              <a:gd name="T23" fmla="*/ 15 h 17"/>
              <a:gd name="T24" fmla="*/ 2 w 22"/>
              <a:gd name="T25" fmla="*/ 15 h 17"/>
              <a:gd name="T26" fmla="*/ 0 w 22"/>
              <a:gd name="T27" fmla="*/ 17 h 17"/>
              <a:gd name="T28" fmla="*/ 0 w 22"/>
              <a:gd name="T29" fmla="*/ 16 h 17"/>
              <a:gd name="T30" fmla="*/ 0 w 22"/>
              <a:gd name="T31" fmla="*/ 16 h 17"/>
              <a:gd name="T32" fmla="*/ 1 w 22"/>
              <a:gd name="T33" fmla="*/ 14 h 17"/>
              <a:gd name="T34" fmla="*/ 1 w 22"/>
              <a:gd name="T35" fmla="*/ 14 h 17"/>
              <a:gd name="T36" fmla="*/ 3 w 22"/>
              <a:gd name="T37" fmla="*/ 14 h 17"/>
              <a:gd name="T38" fmla="*/ 3 w 22"/>
              <a:gd name="T39" fmla="*/ 12 h 17"/>
              <a:gd name="T40" fmla="*/ 2 w 22"/>
              <a:gd name="T41" fmla="*/ 12 h 17"/>
              <a:gd name="T42" fmla="*/ 1 w 22"/>
              <a:gd name="T43" fmla="*/ 11 h 17"/>
              <a:gd name="T44" fmla="*/ 0 w 22"/>
              <a:gd name="T45" fmla="*/ 10 h 17"/>
              <a:gd name="T46" fmla="*/ 2 w 22"/>
              <a:gd name="T47" fmla="*/ 4 h 17"/>
              <a:gd name="T48" fmla="*/ 1 w 22"/>
              <a:gd name="T49" fmla="*/ 4 h 17"/>
              <a:gd name="T50" fmla="*/ 4 w 22"/>
              <a:gd name="T51" fmla="*/ 0 h 17"/>
              <a:gd name="T52" fmla="*/ 11 w 22"/>
              <a:gd name="T53" fmla="*/ 1 h 17"/>
              <a:gd name="T54" fmla="*/ 11 w 22"/>
              <a:gd name="T55" fmla="*/ 1 h 17"/>
              <a:gd name="T56" fmla="*/ 8 w 22"/>
              <a:gd name="T57" fmla="*/ 3 h 17"/>
              <a:gd name="T58" fmla="*/ 7 w 22"/>
              <a:gd name="T59" fmla="*/ 4 h 17"/>
              <a:gd name="T60" fmla="*/ 10 w 22"/>
              <a:gd name="T61" fmla="*/ 3 h 17"/>
              <a:gd name="T62" fmla="*/ 12 w 22"/>
              <a:gd name="T63" fmla="*/ 2 h 17"/>
              <a:gd name="T64" fmla="*/ 14 w 22"/>
              <a:gd name="T65" fmla="*/ 1 h 17"/>
              <a:gd name="T66" fmla="*/ 13 w 22"/>
              <a:gd name="T67" fmla="*/ 3 h 17"/>
              <a:gd name="T68" fmla="*/ 11 w 22"/>
              <a:gd name="T69" fmla="*/ 6 h 17"/>
              <a:gd name="T70" fmla="*/ 10 w 22"/>
              <a:gd name="T71" fmla="*/ 6 h 17"/>
              <a:gd name="T72" fmla="*/ 3 w 22"/>
              <a:gd name="T73" fmla="*/ 8 h 17"/>
              <a:gd name="T74" fmla="*/ 6 w 22"/>
              <a:gd name="T75" fmla="*/ 8 h 17"/>
              <a:gd name="T76" fmla="*/ 5 w 22"/>
              <a:gd name="T77" fmla="*/ 10 h 17"/>
              <a:gd name="T78" fmla="*/ 6 w 22"/>
              <a:gd name="T79" fmla="*/ 10 h 17"/>
              <a:gd name="T80" fmla="*/ 10 w 22"/>
              <a:gd name="T81" fmla="*/ 8 h 17"/>
              <a:gd name="T82" fmla="*/ 11 w 22"/>
              <a:gd name="T83" fmla="*/ 7 h 17"/>
              <a:gd name="T84" fmla="*/ 14 w 22"/>
              <a:gd name="T85" fmla="*/ 5 h 17"/>
              <a:gd name="T86" fmla="*/ 16 w 22"/>
              <a:gd name="T87" fmla="*/ 3 h 17"/>
              <a:gd name="T88" fmla="*/ 16 w 22"/>
              <a:gd name="T89" fmla="*/ 3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2" h="17">
                <a:moveTo>
                  <a:pt x="16" y="3"/>
                </a:moveTo>
                <a:lnTo>
                  <a:pt x="20" y="2"/>
                </a:lnTo>
                <a:lnTo>
                  <a:pt x="22" y="1"/>
                </a:lnTo>
                <a:lnTo>
                  <a:pt x="22" y="1"/>
                </a:lnTo>
                <a:lnTo>
                  <a:pt x="21" y="3"/>
                </a:lnTo>
                <a:lnTo>
                  <a:pt x="17" y="6"/>
                </a:lnTo>
                <a:lnTo>
                  <a:pt x="14" y="8"/>
                </a:lnTo>
                <a:lnTo>
                  <a:pt x="12" y="11"/>
                </a:lnTo>
                <a:lnTo>
                  <a:pt x="8" y="14"/>
                </a:lnTo>
                <a:lnTo>
                  <a:pt x="5" y="16"/>
                </a:lnTo>
                <a:lnTo>
                  <a:pt x="5" y="15"/>
                </a:lnTo>
                <a:lnTo>
                  <a:pt x="3" y="15"/>
                </a:lnTo>
                <a:lnTo>
                  <a:pt x="2" y="15"/>
                </a:lnTo>
                <a:lnTo>
                  <a:pt x="0" y="17"/>
                </a:lnTo>
                <a:lnTo>
                  <a:pt x="0" y="16"/>
                </a:lnTo>
                <a:lnTo>
                  <a:pt x="0" y="16"/>
                </a:lnTo>
                <a:lnTo>
                  <a:pt x="1" y="14"/>
                </a:lnTo>
                <a:lnTo>
                  <a:pt x="1" y="14"/>
                </a:lnTo>
                <a:lnTo>
                  <a:pt x="3" y="14"/>
                </a:lnTo>
                <a:lnTo>
                  <a:pt x="3" y="12"/>
                </a:lnTo>
                <a:lnTo>
                  <a:pt x="2" y="12"/>
                </a:lnTo>
                <a:lnTo>
                  <a:pt x="1" y="11"/>
                </a:lnTo>
                <a:lnTo>
                  <a:pt x="0" y="10"/>
                </a:lnTo>
                <a:lnTo>
                  <a:pt x="2" y="4"/>
                </a:lnTo>
                <a:lnTo>
                  <a:pt x="1" y="4"/>
                </a:lnTo>
                <a:lnTo>
                  <a:pt x="4" y="0"/>
                </a:lnTo>
                <a:lnTo>
                  <a:pt x="11" y="1"/>
                </a:lnTo>
                <a:lnTo>
                  <a:pt x="11" y="1"/>
                </a:lnTo>
                <a:lnTo>
                  <a:pt x="8" y="3"/>
                </a:lnTo>
                <a:lnTo>
                  <a:pt x="7" y="4"/>
                </a:lnTo>
                <a:lnTo>
                  <a:pt x="10" y="3"/>
                </a:lnTo>
                <a:lnTo>
                  <a:pt x="12" y="2"/>
                </a:lnTo>
                <a:lnTo>
                  <a:pt x="14" y="1"/>
                </a:lnTo>
                <a:lnTo>
                  <a:pt x="13" y="3"/>
                </a:lnTo>
                <a:lnTo>
                  <a:pt x="11" y="6"/>
                </a:lnTo>
                <a:lnTo>
                  <a:pt x="10" y="6"/>
                </a:lnTo>
                <a:lnTo>
                  <a:pt x="3" y="8"/>
                </a:lnTo>
                <a:lnTo>
                  <a:pt x="6" y="8"/>
                </a:lnTo>
                <a:lnTo>
                  <a:pt x="5" y="10"/>
                </a:lnTo>
                <a:lnTo>
                  <a:pt x="6" y="10"/>
                </a:lnTo>
                <a:lnTo>
                  <a:pt x="10" y="8"/>
                </a:lnTo>
                <a:lnTo>
                  <a:pt x="11" y="7"/>
                </a:lnTo>
                <a:lnTo>
                  <a:pt x="14" y="5"/>
                </a:lnTo>
                <a:lnTo>
                  <a:pt x="16" y="3"/>
                </a:lnTo>
                <a:lnTo>
                  <a:pt x="16" y="3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69" name="Freeform 1570"/>
          <p:cNvSpPr>
            <a:spLocks/>
          </p:cNvSpPr>
          <p:nvPr/>
        </p:nvSpPr>
        <p:spPr bwMode="auto">
          <a:xfrm>
            <a:off x="1492250" y="2025615"/>
            <a:ext cx="34925" cy="26988"/>
          </a:xfrm>
          <a:custGeom>
            <a:avLst/>
            <a:gdLst>
              <a:gd name="T0" fmla="*/ 16 w 22"/>
              <a:gd name="T1" fmla="*/ 3 h 17"/>
              <a:gd name="T2" fmla="*/ 20 w 22"/>
              <a:gd name="T3" fmla="*/ 2 h 17"/>
              <a:gd name="T4" fmla="*/ 22 w 22"/>
              <a:gd name="T5" fmla="*/ 1 h 17"/>
              <a:gd name="T6" fmla="*/ 22 w 22"/>
              <a:gd name="T7" fmla="*/ 1 h 17"/>
              <a:gd name="T8" fmla="*/ 21 w 22"/>
              <a:gd name="T9" fmla="*/ 3 h 17"/>
              <a:gd name="T10" fmla="*/ 17 w 22"/>
              <a:gd name="T11" fmla="*/ 6 h 17"/>
              <a:gd name="T12" fmla="*/ 14 w 22"/>
              <a:gd name="T13" fmla="*/ 8 h 17"/>
              <a:gd name="T14" fmla="*/ 12 w 22"/>
              <a:gd name="T15" fmla="*/ 11 h 17"/>
              <a:gd name="T16" fmla="*/ 8 w 22"/>
              <a:gd name="T17" fmla="*/ 14 h 17"/>
              <a:gd name="T18" fmla="*/ 5 w 22"/>
              <a:gd name="T19" fmla="*/ 16 h 17"/>
              <a:gd name="T20" fmla="*/ 5 w 22"/>
              <a:gd name="T21" fmla="*/ 15 h 17"/>
              <a:gd name="T22" fmla="*/ 3 w 22"/>
              <a:gd name="T23" fmla="*/ 15 h 17"/>
              <a:gd name="T24" fmla="*/ 2 w 22"/>
              <a:gd name="T25" fmla="*/ 15 h 17"/>
              <a:gd name="T26" fmla="*/ 0 w 22"/>
              <a:gd name="T27" fmla="*/ 17 h 17"/>
              <a:gd name="T28" fmla="*/ 0 w 22"/>
              <a:gd name="T29" fmla="*/ 16 h 17"/>
              <a:gd name="T30" fmla="*/ 0 w 22"/>
              <a:gd name="T31" fmla="*/ 16 h 17"/>
              <a:gd name="T32" fmla="*/ 1 w 22"/>
              <a:gd name="T33" fmla="*/ 14 h 17"/>
              <a:gd name="T34" fmla="*/ 1 w 22"/>
              <a:gd name="T35" fmla="*/ 14 h 17"/>
              <a:gd name="T36" fmla="*/ 3 w 22"/>
              <a:gd name="T37" fmla="*/ 14 h 17"/>
              <a:gd name="T38" fmla="*/ 3 w 22"/>
              <a:gd name="T39" fmla="*/ 12 h 17"/>
              <a:gd name="T40" fmla="*/ 2 w 22"/>
              <a:gd name="T41" fmla="*/ 12 h 17"/>
              <a:gd name="T42" fmla="*/ 1 w 22"/>
              <a:gd name="T43" fmla="*/ 11 h 17"/>
              <a:gd name="T44" fmla="*/ 0 w 22"/>
              <a:gd name="T45" fmla="*/ 10 h 17"/>
              <a:gd name="T46" fmla="*/ 2 w 22"/>
              <a:gd name="T47" fmla="*/ 4 h 17"/>
              <a:gd name="T48" fmla="*/ 1 w 22"/>
              <a:gd name="T49" fmla="*/ 4 h 17"/>
              <a:gd name="T50" fmla="*/ 4 w 22"/>
              <a:gd name="T51" fmla="*/ 0 h 17"/>
              <a:gd name="T52" fmla="*/ 11 w 22"/>
              <a:gd name="T53" fmla="*/ 1 h 17"/>
              <a:gd name="T54" fmla="*/ 11 w 22"/>
              <a:gd name="T55" fmla="*/ 1 h 17"/>
              <a:gd name="T56" fmla="*/ 8 w 22"/>
              <a:gd name="T57" fmla="*/ 3 h 17"/>
              <a:gd name="T58" fmla="*/ 7 w 22"/>
              <a:gd name="T59" fmla="*/ 4 h 17"/>
              <a:gd name="T60" fmla="*/ 10 w 22"/>
              <a:gd name="T61" fmla="*/ 3 h 17"/>
              <a:gd name="T62" fmla="*/ 12 w 22"/>
              <a:gd name="T63" fmla="*/ 2 h 17"/>
              <a:gd name="T64" fmla="*/ 14 w 22"/>
              <a:gd name="T65" fmla="*/ 1 h 17"/>
              <a:gd name="T66" fmla="*/ 13 w 22"/>
              <a:gd name="T67" fmla="*/ 3 h 17"/>
              <a:gd name="T68" fmla="*/ 11 w 22"/>
              <a:gd name="T69" fmla="*/ 6 h 17"/>
              <a:gd name="T70" fmla="*/ 10 w 22"/>
              <a:gd name="T71" fmla="*/ 6 h 17"/>
              <a:gd name="T72" fmla="*/ 3 w 22"/>
              <a:gd name="T73" fmla="*/ 8 h 17"/>
              <a:gd name="T74" fmla="*/ 6 w 22"/>
              <a:gd name="T75" fmla="*/ 8 h 17"/>
              <a:gd name="T76" fmla="*/ 5 w 22"/>
              <a:gd name="T77" fmla="*/ 10 h 17"/>
              <a:gd name="T78" fmla="*/ 6 w 22"/>
              <a:gd name="T79" fmla="*/ 10 h 17"/>
              <a:gd name="T80" fmla="*/ 10 w 22"/>
              <a:gd name="T81" fmla="*/ 8 h 17"/>
              <a:gd name="T82" fmla="*/ 11 w 22"/>
              <a:gd name="T83" fmla="*/ 7 h 17"/>
              <a:gd name="T84" fmla="*/ 14 w 22"/>
              <a:gd name="T85" fmla="*/ 5 h 17"/>
              <a:gd name="T86" fmla="*/ 16 w 22"/>
              <a:gd name="T87" fmla="*/ 3 h 17"/>
              <a:gd name="T88" fmla="*/ 16 w 22"/>
              <a:gd name="T89" fmla="*/ 3 h 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2" h="17">
                <a:moveTo>
                  <a:pt x="16" y="3"/>
                </a:moveTo>
                <a:lnTo>
                  <a:pt x="20" y="2"/>
                </a:lnTo>
                <a:lnTo>
                  <a:pt x="22" y="1"/>
                </a:lnTo>
                <a:lnTo>
                  <a:pt x="22" y="1"/>
                </a:lnTo>
                <a:lnTo>
                  <a:pt x="21" y="3"/>
                </a:lnTo>
                <a:lnTo>
                  <a:pt x="17" y="6"/>
                </a:lnTo>
                <a:lnTo>
                  <a:pt x="14" y="8"/>
                </a:lnTo>
                <a:lnTo>
                  <a:pt x="12" y="11"/>
                </a:lnTo>
                <a:lnTo>
                  <a:pt x="8" y="14"/>
                </a:lnTo>
                <a:lnTo>
                  <a:pt x="5" y="16"/>
                </a:lnTo>
                <a:lnTo>
                  <a:pt x="5" y="15"/>
                </a:lnTo>
                <a:lnTo>
                  <a:pt x="3" y="15"/>
                </a:lnTo>
                <a:lnTo>
                  <a:pt x="2" y="15"/>
                </a:lnTo>
                <a:lnTo>
                  <a:pt x="0" y="17"/>
                </a:lnTo>
                <a:lnTo>
                  <a:pt x="0" y="16"/>
                </a:lnTo>
                <a:lnTo>
                  <a:pt x="0" y="16"/>
                </a:lnTo>
                <a:lnTo>
                  <a:pt x="1" y="14"/>
                </a:lnTo>
                <a:lnTo>
                  <a:pt x="1" y="14"/>
                </a:lnTo>
                <a:lnTo>
                  <a:pt x="3" y="14"/>
                </a:lnTo>
                <a:lnTo>
                  <a:pt x="3" y="12"/>
                </a:lnTo>
                <a:lnTo>
                  <a:pt x="2" y="12"/>
                </a:lnTo>
                <a:lnTo>
                  <a:pt x="1" y="11"/>
                </a:lnTo>
                <a:lnTo>
                  <a:pt x="0" y="10"/>
                </a:lnTo>
                <a:lnTo>
                  <a:pt x="2" y="4"/>
                </a:lnTo>
                <a:lnTo>
                  <a:pt x="1" y="4"/>
                </a:lnTo>
                <a:lnTo>
                  <a:pt x="4" y="0"/>
                </a:lnTo>
                <a:lnTo>
                  <a:pt x="11" y="1"/>
                </a:lnTo>
                <a:lnTo>
                  <a:pt x="11" y="1"/>
                </a:lnTo>
                <a:lnTo>
                  <a:pt x="8" y="3"/>
                </a:lnTo>
                <a:lnTo>
                  <a:pt x="7" y="4"/>
                </a:lnTo>
                <a:lnTo>
                  <a:pt x="10" y="3"/>
                </a:lnTo>
                <a:lnTo>
                  <a:pt x="12" y="2"/>
                </a:lnTo>
                <a:lnTo>
                  <a:pt x="14" y="1"/>
                </a:lnTo>
                <a:lnTo>
                  <a:pt x="13" y="3"/>
                </a:lnTo>
                <a:lnTo>
                  <a:pt x="11" y="6"/>
                </a:lnTo>
                <a:lnTo>
                  <a:pt x="10" y="6"/>
                </a:lnTo>
                <a:lnTo>
                  <a:pt x="3" y="8"/>
                </a:lnTo>
                <a:lnTo>
                  <a:pt x="6" y="8"/>
                </a:lnTo>
                <a:lnTo>
                  <a:pt x="5" y="10"/>
                </a:lnTo>
                <a:lnTo>
                  <a:pt x="6" y="10"/>
                </a:lnTo>
                <a:lnTo>
                  <a:pt x="10" y="8"/>
                </a:lnTo>
                <a:lnTo>
                  <a:pt x="11" y="7"/>
                </a:lnTo>
                <a:lnTo>
                  <a:pt x="14" y="5"/>
                </a:lnTo>
                <a:lnTo>
                  <a:pt x="16" y="3"/>
                </a:lnTo>
                <a:lnTo>
                  <a:pt x="16" y="3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70" name="Freeform 1571"/>
          <p:cNvSpPr>
            <a:spLocks/>
          </p:cNvSpPr>
          <p:nvPr/>
        </p:nvSpPr>
        <p:spPr bwMode="auto">
          <a:xfrm>
            <a:off x="1485900" y="2049428"/>
            <a:ext cx="19050" cy="31750"/>
          </a:xfrm>
          <a:custGeom>
            <a:avLst/>
            <a:gdLst>
              <a:gd name="T0" fmla="*/ 0 w 12"/>
              <a:gd name="T1" fmla="*/ 10 h 20"/>
              <a:gd name="T2" fmla="*/ 1 w 12"/>
              <a:gd name="T3" fmla="*/ 9 h 20"/>
              <a:gd name="T4" fmla="*/ 4 w 12"/>
              <a:gd name="T5" fmla="*/ 6 h 20"/>
              <a:gd name="T6" fmla="*/ 1 w 12"/>
              <a:gd name="T7" fmla="*/ 8 h 20"/>
              <a:gd name="T8" fmla="*/ 1 w 12"/>
              <a:gd name="T9" fmla="*/ 7 h 20"/>
              <a:gd name="T10" fmla="*/ 2 w 12"/>
              <a:gd name="T11" fmla="*/ 6 h 20"/>
              <a:gd name="T12" fmla="*/ 5 w 12"/>
              <a:gd name="T13" fmla="*/ 5 h 20"/>
              <a:gd name="T14" fmla="*/ 1 w 12"/>
              <a:gd name="T15" fmla="*/ 5 h 20"/>
              <a:gd name="T16" fmla="*/ 8 w 12"/>
              <a:gd name="T17" fmla="*/ 2 h 20"/>
              <a:gd name="T18" fmla="*/ 12 w 12"/>
              <a:gd name="T19" fmla="*/ 0 h 20"/>
              <a:gd name="T20" fmla="*/ 12 w 12"/>
              <a:gd name="T21" fmla="*/ 1 h 20"/>
              <a:gd name="T22" fmla="*/ 12 w 12"/>
              <a:gd name="T23" fmla="*/ 3 h 20"/>
              <a:gd name="T24" fmla="*/ 9 w 12"/>
              <a:gd name="T25" fmla="*/ 3 h 20"/>
              <a:gd name="T26" fmla="*/ 8 w 12"/>
              <a:gd name="T27" fmla="*/ 5 h 20"/>
              <a:gd name="T28" fmla="*/ 11 w 12"/>
              <a:gd name="T29" fmla="*/ 5 h 20"/>
              <a:gd name="T30" fmla="*/ 10 w 12"/>
              <a:gd name="T31" fmla="*/ 7 h 20"/>
              <a:gd name="T32" fmla="*/ 8 w 12"/>
              <a:gd name="T33" fmla="*/ 7 h 20"/>
              <a:gd name="T34" fmla="*/ 7 w 12"/>
              <a:gd name="T35" fmla="*/ 7 h 20"/>
              <a:gd name="T36" fmla="*/ 6 w 12"/>
              <a:gd name="T37" fmla="*/ 7 h 20"/>
              <a:gd name="T38" fmla="*/ 5 w 12"/>
              <a:gd name="T39" fmla="*/ 9 h 20"/>
              <a:gd name="T40" fmla="*/ 4 w 12"/>
              <a:gd name="T41" fmla="*/ 9 h 20"/>
              <a:gd name="T42" fmla="*/ 4 w 12"/>
              <a:gd name="T43" fmla="*/ 10 h 20"/>
              <a:gd name="T44" fmla="*/ 2 w 12"/>
              <a:gd name="T45" fmla="*/ 12 h 20"/>
              <a:gd name="T46" fmla="*/ 6 w 12"/>
              <a:gd name="T47" fmla="*/ 13 h 20"/>
              <a:gd name="T48" fmla="*/ 5 w 12"/>
              <a:gd name="T49" fmla="*/ 15 h 20"/>
              <a:gd name="T50" fmla="*/ 6 w 12"/>
              <a:gd name="T51" fmla="*/ 15 h 20"/>
              <a:gd name="T52" fmla="*/ 6 w 12"/>
              <a:gd name="T53" fmla="*/ 17 h 20"/>
              <a:gd name="T54" fmla="*/ 6 w 12"/>
              <a:gd name="T55" fmla="*/ 19 h 20"/>
              <a:gd name="T56" fmla="*/ 5 w 12"/>
              <a:gd name="T57" fmla="*/ 20 h 20"/>
              <a:gd name="T58" fmla="*/ 5 w 12"/>
              <a:gd name="T59" fmla="*/ 20 h 20"/>
              <a:gd name="T60" fmla="*/ 2 w 12"/>
              <a:gd name="T61" fmla="*/ 18 h 20"/>
              <a:gd name="T62" fmla="*/ 1 w 12"/>
              <a:gd name="T63" fmla="*/ 16 h 20"/>
              <a:gd name="T64" fmla="*/ 1 w 12"/>
              <a:gd name="T65" fmla="*/ 16 h 20"/>
              <a:gd name="T66" fmla="*/ 2 w 12"/>
              <a:gd name="T67" fmla="*/ 15 h 20"/>
              <a:gd name="T68" fmla="*/ 2 w 12"/>
              <a:gd name="T69" fmla="*/ 15 h 20"/>
              <a:gd name="T70" fmla="*/ 2 w 12"/>
              <a:gd name="T71" fmla="*/ 15 h 20"/>
              <a:gd name="T72" fmla="*/ 1 w 12"/>
              <a:gd name="T73" fmla="*/ 12 h 20"/>
              <a:gd name="T74" fmla="*/ 1 w 12"/>
              <a:gd name="T75" fmla="*/ 10 h 20"/>
              <a:gd name="T76" fmla="*/ 0 w 12"/>
              <a:gd name="T77" fmla="*/ 1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2" h="20">
                <a:moveTo>
                  <a:pt x="0" y="10"/>
                </a:moveTo>
                <a:lnTo>
                  <a:pt x="1" y="9"/>
                </a:lnTo>
                <a:lnTo>
                  <a:pt x="4" y="6"/>
                </a:lnTo>
                <a:lnTo>
                  <a:pt x="1" y="8"/>
                </a:lnTo>
                <a:lnTo>
                  <a:pt x="1" y="7"/>
                </a:lnTo>
                <a:lnTo>
                  <a:pt x="2" y="6"/>
                </a:lnTo>
                <a:lnTo>
                  <a:pt x="5" y="5"/>
                </a:lnTo>
                <a:lnTo>
                  <a:pt x="1" y="5"/>
                </a:lnTo>
                <a:lnTo>
                  <a:pt x="8" y="2"/>
                </a:lnTo>
                <a:lnTo>
                  <a:pt x="12" y="0"/>
                </a:lnTo>
                <a:lnTo>
                  <a:pt x="12" y="1"/>
                </a:lnTo>
                <a:lnTo>
                  <a:pt x="12" y="3"/>
                </a:lnTo>
                <a:lnTo>
                  <a:pt x="9" y="3"/>
                </a:lnTo>
                <a:lnTo>
                  <a:pt x="8" y="5"/>
                </a:lnTo>
                <a:lnTo>
                  <a:pt x="11" y="5"/>
                </a:lnTo>
                <a:lnTo>
                  <a:pt x="10" y="7"/>
                </a:lnTo>
                <a:lnTo>
                  <a:pt x="8" y="7"/>
                </a:lnTo>
                <a:lnTo>
                  <a:pt x="7" y="7"/>
                </a:lnTo>
                <a:lnTo>
                  <a:pt x="6" y="7"/>
                </a:lnTo>
                <a:lnTo>
                  <a:pt x="5" y="9"/>
                </a:lnTo>
                <a:lnTo>
                  <a:pt x="4" y="9"/>
                </a:lnTo>
                <a:lnTo>
                  <a:pt x="4" y="10"/>
                </a:lnTo>
                <a:lnTo>
                  <a:pt x="2" y="12"/>
                </a:lnTo>
                <a:lnTo>
                  <a:pt x="6" y="13"/>
                </a:lnTo>
                <a:lnTo>
                  <a:pt x="5" y="15"/>
                </a:lnTo>
                <a:lnTo>
                  <a:pt x="6" y="15"/>
                </a:lnTo>
                <a:lnTo>
                  <a:pt x="6" y="17"/>
                </a:lnTo>
                <a:lnTo>
                  <a:pt x="6" y="19"/>
                </a:lnTo>
                <a:lnTo>
                  <a:pt x="5" y="20"/>
                </a:lnTo>
                <a:lnTo>
                  <a:pt x="5" y="20"/>
                </a:lnTo>
                <a:lnTo>
                  <a:pt x="2" y="18"/>
                </a:lnTo>
                <a:lnTo>
                  <a:pt x="1" y="16"/>
                </a:lnTo>
                <a:lnTo>
                  <a:pt x="1" y="16"/>
                </a:lnTo>
                <a:lnTo>
                  <a:pt x="2" y="15"/>
                </a:lnTo>
                <a:lnTo>
                  <a:pt x="2" y="15"/>
                </a:lnTo>
                <a:lnTo>
                  <a:pt x="2" y="15"/>
                </a:lnTo>
                <a:lnTo>
                  <a:pt x="1" y="12"/>
                </a:lnTo>
                <a:lnTo>
                  <a:pt x="1" y="10"/>
                </a:lnTo>
                <a:lnTo>
                  <a:pt x="0" y="1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71" name="Freeform 1572"/>
          <p:cNvSpPr>
            <a:spLocks/>
          </p:cNvSpPr>
          <p:nvPr/>
        </p:nvSpPr>
        <p:spPr bwMode="auto">
          <a:xfrm>
            <a:off x="1485900" y="2049428"/>
            <a:ext cx="19050" cy="31750"/>
          </a:xfrm>
          <a:custGeom>
            <a:avLst/>
            <a:gdLst>
              <a:gd name="T0" fmla="*/ 0 w 12"/>
              <a:gd name="T1" fmla="*/ 10 h 20"/>
              <a:gd name="T2" fmla="*/ 1 w 12"/>
              <a:gd name="T3" fmla="*/ 9 h 20"/>
              <a:gd name="T4" fmla="*/ 4 w 12"/>
              <a:gd name="T5" fmla="*/ 6 h 20"/>
              <a:gd name="T6" fmla="*/ 1 w 12"/>
              <a:gd name="T7" fmla="*/ 8 h 20"/>
              <a:gd name="T8" fmla="*/ 1 w 12"/>
              <a:gd name="T9" fmla="*/ 7 h 20"/>
              <a:gd name="T10" fmla="*/ 2 w 12"/>
              <a:gd name="T11" fmla="*/ 6 h 20"/>
              <a:gd name="T12" fmla="*/ 5 w 12"/>
              <a:gd name="T13" fmla="*/ 5 h 20"/>
              <a:gd name="T14" fmla="*/ 1 w 12"/>
              <a:gd name="T15" fmla="*/ 5 h 20"/>
              <a:gd name="T16" fmla="*/ 8 w 12"/>
              <a:gd name="T17" fmla="*/ 2 h 20"/>
              <a:gd name="T18" fmla="*/ 12 w 12"/>
              <a:gd name="T19" fmla="*/ 0 h 20"/>
              <a:gd name="T20" fmla="*/ 12 w 12"/>
              <a:gd name="T21" fmla="*/ 1 h 20"/>
              <a:gd name="T22" fmla="*/ 12 w 12"/>
              <a:gd name="T23" fmla="*/ 3 h 20"/>
              <a:gd name="T24" fmla="*/ 9 w 12"/>
              <a:gd name="T25" fmla="*/ 3 h 20"/>
              <a:gd name="T26" fmla="*/ 8 w 12"/>
              <a:gd name="T27" fmla="*/ 5 h 20"/>
              <a:gd name="T28" fmla="*/ 11 w 12"/>
              <a:gd name="T29" fmla="*/ 5 h 20"/>
              <a:gd name="T30" fmla="*/ 10 w 12"/>
              <a:gd name="T31" fmla="*/ 7 h 20"/>
              <a:gd name="T32" fmla="*/ 8 w 12"/>
              <a:gd name="T33" fmla="*/ 7 h 20"/>
              <a:gd name="T34" fmla="*/ 7 w 12"/>
              <a:gd name="T35" fmla="*/ 7 h 20"/>
              <a:gd name="T36" fmla="*/ 6 w 12"/>
              <a:gd name="T37" fmla="*/ 7 h 20"/>
              <a:gd name="T38" fmla="*/ 5 w 12"/>
              <a:gd name="T39" fmla="*/ 9 h 20"/>
              <a:gd name="T40" fmla="*/ 4 w 12"/>
              <a:gd name="T41" fmla="*/ 9 h 20"/>
              <a:gd name="T42" fmla="*/ 4 w 12"/>
              <a:gd name="T43" fmla="*/ 10 h 20"/>
              <a:gd name="T44" fmla="*/ 2 w 12"/>
              <a:gd name="T45" fmla="*/ 12 h 20"/>
              <a:gd name="T46" fmla="*/ 6 w 12"/>
              <a:gd name="T47" fmla="*/ 13 h 20"/>
              <a:gd name="T48" fmla="*/ 5 w 12"/>
              <a:gd name="T49" fmla="*/ 15 h 20"/>
              <a:gd name="T50" fmla="*/ 6 w 12"/>
              <a:gd name="T51" fmla="*/ 15 h 20"/>
              <a:gd name="T52" fmla="*/ 6 w 12"/>
              <a:gd name="T53" fmla="*/ 17 h 20"/>
              <a:gd name="T54" fmla="*/ 6 w 12"/>
              <a:gd name="T55" fmla="*/ 19 h 20"/>
              <a:gd name="T56" fmla="*/ 5 w 12"/>
              <a:gd name="T57" fmla="*/ 20 h 20"/>
              <a:gd name="T58" fmla="*/ 5 w 12"/>
              <a:gd name="T59" fmla="*/ 20 h 20"/>
              <a:gd name="T60" fmla="*/ 2 w 12"/>
              <a:gd name="T61" fmla="*/ 18 h 20"/>
              <a:gd name="T62" fmla="*/ 1 w 12"/>
              <a:gd name="T63" fmla="*/ 16 h 20"/>
              <a:gd name="T64" fmla="*/ 1 w 12"/>
              <a:gd name="T65" fmla="*/ 16 h 20"/>
              <a:gd name="T66" fmla="*/ 2 w 12"/>
              <a:gd name="T67" fmla="*/ 15 h 20"/>
              <a:gd name="T68" fmla="*/ 2 w 12"/>
              <a:gd name="T69" fmla="*/ 15 h 20"/>
              <a:gd name="T70" fmla="*/ 2 w 12"/>
              <a:gd name="T71" fmla="*/ 15 h 20"/>
              <a:gd name="T72" fmla="*/ 1 w 12"/>
              <a:gd name="T73" fmla="*/ 12 h 20"/>
              <a:gd name="T74" fmla="*/ 1 w 12"/>
              <a:gd name="T75" fmla="*/ 10 h 20"/>
              <a:gd name="T76" fmla="*/ 0 w 12"/>
              <a:gd name="T77" fmla="*/ 1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2" h="20">
                <a:moveTo>
                  <a:pt x="0" y="10"/>
                </a:moveTo>
                <a:lnTo>
                  <a:pt x="1" y="9"/>
                </a:lnTo>
                <a:lnTo>
                  <a:pt x="4" y="6"/>
                </a:lnTo>
                <a:lnTo>
                  <a:pt x="1" y="8"/>
                </a:lnTo>
                <a:lnTo>
                  <a:pt x="1" y="7"/>
                </a:lnTo>
                <a:lnTo>
                  <a:pt x="2" y="6"/>
                </a:lnTo>
                <a:lnTo>
                  <a:pt x="5" y="5"/>
                </a:lnTo>
                <a:lnTo>
                  <a:pt x="1" y="5"/>
                </a:lnTo>
                <a:lnTo>
                  <a:pt x="8" y="2"/>
                </a:lnTo>
                <a:lnTo>
                  <a:pt x="12" y="0"/>
                </a:lnTo>
                <a:lnTo>
                  <a:pt x="12" y="1"/>
                </a:lnTo>
                <a:lnTo>
                  <a:pt x="12" y="3"/>
                </a:lnTo>
                <a:lnTo>
                  <a:pt x="9" y="3"/>
                </a:lnTo>
                <a:lnTo>
                  <a:pt x="8" y="5"/>
                </a:lnTo>
                <a:lnTo>
                  <a:pt x="11" y="5"/>
                </a:lnTo>
                <a:lnTo>
                  <a:pt x="10" y="7"/>
                </a:lnTo>
                <a:lnTo>
                  <a:pt x="8" y="7"/>
                </a:lnTo>
                <a:lnTo>
                  <a:pt x="7" y="7"/>
                </a:lnTo>
                <a:lnTo>
                  <a:pt x="6" y="7"/>
                </a:lnTo>
                <a:lnTo>
                  <a:pt x="5" y="9"/>
                </a:lnTo>
                <a:lnTo>
                  <a:pt x="4" y="9"/>
                </a:lnTo>
                <a:lnTo>
                  <a:pt x="4" y="10"/>
                </a:lnTo>
                <a:lnTo>
                  <a:pt x="2" y="12"/>
                </a:lnTo>
                <a:lnTo>
                  <a:pt x="6" y="13"/>
                </a:lnTo>
                <a:lnTo>
                  <a:pt x="5" y="15"/>
                </a:lnTo>
                <a:lnTo>
                  <a:pt x="6" y="15"/>
                </a:lnTo>
                <a:lnTo>
                  <a:pt x="6" y="17"/>
                </a:lnTo>
                <a:lnTo>
                  <a:pt x="6" y="19"/>
                </a:lnTo>
                <a:lnTo>
                  <a:pt x="5" y="20"/>
                </a:lnTo>
                <a:lnTo>
                  <a:pt x="5" y="20"/>
                </a:lnTo>
                <a:lnTo>
                  <a:pt x="2" y="18"/>
                </a:lnTo>
                <a:lnTo>
                  <a:pt x="1" y="16"/>
                </a:lnTo>
                <a:lnTo>
                  <a:pt x="1" y="16"/>
                </a:lnTo>
                <a:lnTo>
                  <a:pt x="2" y="15"/>
                </a:lnTo>
                <a:lnTo>
                  <a:pt x="2" y="15"/>
                </a:lnTo>
                <a:lnTo>
                  <a:pt x="2" y="15"/>
                </a:lnTo>
                <a:lnTo>
                  <a:pt x="1" y="12"/>
                </a:lnTo>
                <a:lnTo>
                  <a:pt x="1" y="10"/>
                </a:lnTo>
                <a:lnTo>
                  <a:pt x="0" y="1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72" name="Freeform 1573"/>
          <p:cNvSpPr>
            <a:spLocks/>
          </p:cNvSpPr>
          <p:nvPr/>
        </p:nvSpPr>
        <p:spPr bwMode="auto">
          <a:xfrm>
            <a:off x="1547813" y="2028790"/>
            <a:ext cx="6350" cy="4763"/>
          </a:xfrm>
          <a:custGeom>
            <a:avLst/>
            <a:gdLst>
              <a:gd name="T0" fmla="*/ 0 w 4"/>
              <a:gd name="T1" fmla="*/ 2 h 3"/>
              <a:gd name="T2" fmla="*/ 1 w 4"/>
              <a:gd name="T3" fmla="*/ 1 h 3"/>
              <a:gd name="T4" fmla="*/ 4 w 4"/>
              <a:gd name="T5" fmla="*/ 0 h 3"/>
              <a:gd name="T6" fmla="*/ 4 w 4"/>
              <a:gd name="T7" fmla="*/ 1 h 3"/>
              <a:gd name="T8" fmla="*/ 4 w 4"/>
              <a:gd name="T9" fmla="*/ 2 h 3"/>
              <a:gd name="T10" fmla="*/ 1 w 4"/>
              <a:gd name="T11" fmla="*/ 3 h 3"/>
              <a:gd name="T12" fmla="*/ 0 w 4"/>
              <a:gd name="T13" fmla="*/ 2 h 3"/>
              <a:gd name="T14" fmla="*/ 0 w 4"/>
              <a:gd name="T15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3">
                <a:moveTo>
                  <a:pt x="0" y="2"/>
                </a:moveTo>
                <a:lnTo>
                  <a:pt x="1" y="1"/>
                </a:lnTo>
                <a:lnTo>
                  <a:pt x="4" y="0"/>
                </a:lnTo>
                <a:lnTo>
                  <a:pt x="4" y="1"/>
                </a:lnTo>
                <a:lnTo>
                  <a:pt x="4" y="2"/>
                </a:lnTo>
                <a:lnTo>
                  <a:pt x="1" y="3"/>
                </a:lnTo>
                <a:lnTo>
                  <a:pt x="0" y="2"/>
                </a:lnTo>
                <a:lnTo>
                  <a:pt x="0" y="2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73" name="Freeform 1574"/>
          <p:cNvSpPr>
            <a:spLocks/>
          </p:cNvSpPr>
          <p:nvPr/>
        </p:nvSpPr>
        <p:spPr bwMode="auto">
          <a:xfrm>
            <a:off x="1547813" y="2028790"/>
            <a:ext cx="6350" cy="4763"/>
          </a:xfrm>
          <a:custGeom>
            <a:avLst/>
            <a:gdLst>
              <a:gd name="T0" fmla="*/ 0 w 4"/>
              <a:gd name="T1" fmla="*/ 2 h 3"/>
              <a:gd name="T2" fmla="*/ 1 w 4"/>
              <a:gd name="T3" fmla="*/ 1 h 3"/>
              <a:gd name="T4" fmla="*/ 4 w 4"/>
              <a:gd name="T5" fmla="*/ 0 h 3"/>
              <a:gd name="T6" fmla="*/ 4 w 4"/>
              <a:gd name="T7" fmla="*/ 1 h 3"/>
              <a:gd name="T8" fmla="*/ 4 w 4"/>
              <a:gd name="T9" fmla="*/ 2 h 3"/>
              <a:gd name="T10" fmla="*/ 1 w 4"/>
              <a:gd name="T11" fmla="*/ 3 h 3"/>
              <a:gd name="T12" fmla="*/ 0 w 4"/>
              <a:gd name="T13" fmla="*/ 2 h 3"/>
              <a:gd name="T14" fmla="*/ 0 w 4"/>
              <a:gd name="T15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" h="3">
                <a:moveTo>
                  <a:pt x="0" y="2"/>
                </a:moveTo>
                <a:lnTo>
                  <a:pt x="1" y="1"/>
                </a:lnTo>
                <a:lnTo>
                  <a:pt x="4" y="0"/>
                </a:lnTo>
                <a:lnTo>
                  <a:pt x="4" y="1"/>
                </a:lnTo>
                <a:lnTo>
                  <a:pt x="4" y="2"/>
                </a:lnTo>
                <a:lnTo>
                  <a:pt x="1" y="3"/>
                </a:lnTo>
                <a:lnTo>
                  <a:pt x="0" y="2"/>
                </a:lnTo>
                <a:lnTo>
                  <a:pt x="0" y="2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74" name="Freeform 1575"/>
          <p:cNvSpPr>
            <a:spLocks/>
          </p:cNvSpPr>
          <p:nvPr/>
        </p:nvSpPr>
        <p:spPr bwMode="auto">
          <a:xfrm>
            <a:off x="1543050" y="2041490"/>
            <a:ext cx="6350" cy="11113"/>
          </a:xfrm>
          <a:custGeom>
            <a:avLst/>
            <a:gdLst>
              <a:gd name="T0" fmla="*/ 0 w 4"/>
              <a:gd name="T1" fmla="*/ 0 h 7"/>
              <a:gd name="T2" fmla="*/ 2 w 4"/>
              <a:gd name="T3" fmla="*/ 1 h 7"/>
              <a:gd name="T4" fmla="*/ 4 w 4"/>
              <a:gd name="T5" fmla="*/ 2 h 7"/>
              <a:gd name="T6" fmla="*/ 4 w 4"/>
              <a:gd name="T7" fmla="*/ 3 h 7"/>
              <a:gd name="T8" fmla="*/ 3 w 4"/>
              <a:gd name="T9" fmla="*/ 6 h 7"/>
              <a:gd name="T10" fmla="*/ 3 w 4"/>
              <a:gd name="T11" fmla="*/ 7 h 7"/>
              <a:gd name="T12" fmla="*/ 2 w 4"/>
              <a:gd name="T13" fmla="*/ 7 h 7"/>
              <a:gd name="T14" fmla="*/ 2 w 4"/>
              <a:gd name="T15" fmla="*/ 4 h 7"/>
              <a:gd name="T16" fmla="*/ 0 w 4"/>
              <a:gd name="T17" fmla="*/ 3 h 7"/>
              <a:gd name="T18" fmla="*/ 0 w 4"/>
              <a:gd name="T19" fmla="*/ 2 h 7"/>
              <a:gd name="T20" fmla="*/ 0 w 4"/>
              <a:gd name="T21" fmla="*/ 1 h 7"/>
              <a:gd name="T22" fmla="*/ 0 w 4"/>
              <a:gd name="T23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" h="7">
                <a:moveTo>
                  <a:pt x="0" y="0"/>
                </a:moveTo>
                <a:lnTo>
                  <a:pt x="2" y="1"/>
                </a:lnTo>
                <a:lnTo>
                  <a:pt x="4" y="2"/>
                </a:lnTo>
                <a:lnTo>
                  <a:pt x="4" y="3"/>
                </a:lnTo>
                <a:lnTo>
                  <a:pt x="3" y="6"/>
                </a:lnTo>
                <a:lnTo>
                  <a:pt x="3" y="7"/>
                </a:lnTo>
                <a:lnTo>
                  <a:pt x="2" y="7"/>
                </a:lnTo>
                <a:lnTo>
                  <a:pt x="2" y="4"/>
                </a:lnTo>
                <a:lnTo>
                  <a:pt x="0" y="3"/>
                </a:lnTo>
                <a:lnTo>
                  <a:pt x="0" y="2"/>
                </a:lnTo>
                <a:lnTo>
                  <a:pt x="0" y="1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75" name="Freeform 1576"/>
          <p:cNvSpPr>
            <a:spLocks/>
          </p:cNvSpPr>
          <p:nvPr/>
        </p:nvSpPr>
        <p:spPr bwMode="auto">
          <a:xfrm>
            <a:off x="1543050" y="2041490"/>
            <a:ext cx="6350" cy="11113"/>
          </a:xfrm>
          <a:custGeom>
            <a:avLst/>
            <a:gdLst>
              <a:gd name="T0" fmla="*/ 0 w 4"/>
              <a:gd name="T1" fmla="*/ 0 h 7"/>
              <a:gd name="T2" fmla="*/ 2 w 4"/>
              <a:gd name="T3" fmla="*/ 1 h 7"/>
              <a:gd name="T4" fmla="*/ 4 w 4"/>
              <a:gd name="T5" fmla="*/ 2 h 7"/>
              <a:gd name="T6" fmla="*/ 4 w 4"/>
              <a:gd name="T7" fmla="*/ 3 h 7"/>
              <a:gd name="T8" fmla="*/ 3 w 4"/>
              <a:gd name="T9" fmla="*/ 6 h 7"/>
              <a:gd name="T10" fmla="*/ 3 w 4"/>
              <a:gd name="T11" fmla="*/ 7 h 7"/>
              <a:gd name="T12" fmla="*/ 2 w 4"/>
              <a:gd name="T13" fmla="*/ 7 h 7"/>
              <a:gd name="T14" fmla="*/ 2 w 4"/>
              <a:gd name="T15" fmla="*/ 4 h 7"/>
              <a:gd name="T16" fmla="*/ 0 w 4"/>
              <a:gd name="T17" fmla="*/ 3 h 7"/>
              <a:gd name="T18" fmla="*/ 0 w 4"/>
              <a:gd name="T19" fmla="*/ 2 h 7"/>
              <a:gd name="T20" fmla="*/ 0 w 4"/>
              <a:gd name="T21" fmla="*/ 1 h 7"/>
              <a:gd name="T22" fmla="*/ 0 w 4"/>
              <a:gd name="T23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" h="7">
                <a:moveTo>
                  <a:pt x="0" y="0"/>
                </a:moveTo>
                <a:lnTo>
                  <a:pt x="2" y="1"/>
                </a:lnTo>
                <a:lnTo>
                  <a:pt x="4" y="2"/>
                </a:lnTo>
                <a:lnTo>
                  <a:pt x="4" y="3"/>
                </a:lnTo>
                <a:lnTo>
                  <a:pt x="3" y="6"/>
                </a:lnTo>
                <a:lnTo>
                  <a:pt x="3" y="7"/>
                </a:lnTo>
                <a:lnTo>
                  <a:pt x="2" y="7"/>
                </a:lnTo>
                <a:lnTo>
                  <a:pt x="2" y="4"/>
                </a:lnTo>
                <a:lnTo>
                  <a:pt x="0" y="3"/>
                </a:lnTo>
                <a:lnTo>
                  <a:pt x="0" y="2"/>
                </a:lnTo>
                <a:lnTo>
                  <a:pt x="0" y="1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76" name="Freeform 1577"/>
          <p:cNvSpPr>
            <a:spLocks/>
          </p:cNvSpPr>
          <p:nvPr/>
        </p:nvSpPr>
        <p:spPr bwMode="auto">
          <a:xfrm>
            <a:off x="1552575" y="2033553"/>
            <a:ext cx="7937" cy="17463"/>
          </a:xfrm>
          <a:custGeom>
            <a:avLst/>
            <a:gdLst>
              <a:gd name="T0" fmla="*/ 4 w 5"/>
              <a:gd name="T1" fmla="*/ 5 h 11"/>
              <a:gd name="T2" fmla="*/ 4 w 5"/>
              <a:gd name="T3" fmla="*/ 3 h 11"/>
              <a:gd name="T4" fmla="*/ 4 w 5"/>
              <a:gd name="T5" fmla="*/ 5 h 11"/>
              <a:gd name="T6" fmla="*/ 5 w 5"/>
              <a:gd name="T7" fmla="*/ 6 h 11"/>
              <a:gd name="T8" fmla="*/ 5 w 5"/>
              <a:gd name="T9" fmla="*/ 8 h 11"/>
              <a:gd name="T10" fmla="*/ 3 w 5"/>
              <a:gd name="T11" fmla="*/ 10 h 11"/>
              <a:gd name="T12" fmla="*/ 0 w 5"/>
              <a:gd name="T13" fmla="*/ 11 h 11"/>
              <a:gd name="T14" fmla="*/ 1 w 5"/>
              <a:gd name="T15" fmla="*/ 7 h 11"/>
              <a:gd name="T16" fmla="*/ 0 w 5"/>
              <a:gd name="T17" fmla="*/ 3 h 11"/>
              <a:gd name="T18" fmla="*/ 0 w 5"/>
              <a:gd name="T19" fmla="*/ 3 h 11"/>
              <a:gd name="T20" fmla="*/ 1 w 5"/>
              <a:gd name="T21" fmla="*/ 2 h 11"/>
              <a:gd name="T22" fmla="*/ 0 w 5"/>
              <a:gd name="T23" fmla="*/ 2 h 11"/>
              <a:gd name="T24" fmla="*/ 0 w 5"/>
              <a:gd name="T25" fmla="*/ 0 h 11"/>
              <a:gd name="T26" fmla="*/ 1 w 5"/>
              <a:gd name="T27" fmla="*/ 0 h 11"/>
              <a:gd name="T28" fmla="*/ 3 w 5"/>
              <a:gd name="T29" fmla="*/ 0 h 11"/>
              <a:gd name="T30" fmla="*/ 4 w 5"/>
              <a:gd name="T31" fmla="*/ 1 h 11"/>
              <a:gd name="T32" fmla="*/ 4 w 5"/>
              <a:gd name="T33" fmla="*/ 5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" h="11">
                <a:moveTo>
                  <a:pt x="4" y="5"/>
                </a:moveTo>
                <a:lnTo>
                  <a:pt x="4" y="3"/>
                </a:lnTo>
                <a:lnTo>
                  <a:pt x="4" y="5"/>
                </a:lnTo>
                <a:lnTo>
                  <a:pt x="5" y="6"/>
                </a:lnTo>
                <a:lnTo>
                  <a:pt x="5" y="8"/>
                </a:lnTo>
                <a:lnTo>
                  <a:pt x="3" y="10"/>
                </a:lnTo>
                <a:lnTo>
                  <a:pt x="0" y="11"/>
                </a:lnTo>
                <a:lnTo>
                  <a:pt x="1" y="7"/>
                </a:lnTo>
                <a:lnTo>
                  <a:pt x="0" y="3"/>
                </a:lnTo>
                <a:lnTo>
                  <a:pt x="0" y="3"/>
                </a:lnTo>
                <a:lnTo>
                  <a:pt x="1" y="2"/>
                </a:lnTo>
                <a:lnTo>
                  <a:pt x="0" y="2"/>
                </a:lnTo>
                <a:lnTo>
                  <a:pt x="0" y="0"/>
                </a:lnTo>
                <a:lnTo>
                  <a:pt x="1" y="0"/>
                </a:lnTo>
                <a:lnTo>
                  <a:pt x="3" y="0"/>
                </a:lnTo>
                <a:lnTo>
                  <a:pt x="4" y="1"/>
                </a:lnTo>
                <a:lnTo>
                  <a:pt x="4" y="5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77" name="Freeform 1578"/>
          <p:cNvSpPr>
            <a:spLocks/>
          </p:cNvSpPr>
          <p:nvPr/>
        </p:nvSpPr>
        <p:spPr bwMode="auto">
          <a:xfrm>
            <a:off x="1552575" y="2033553"/>
            <a:ext cx="7937" cy="17463"/>
          </a:xfrm>
          <a:custGeom>
            <a:avLst/>
            <a:gdLst>
              <a:gd name="T0" fmla="*/ 4 w 5"/>
              <a:gd name="T1" fmla="*/ 5 h 11"/>
              <a:gd name="T2" fmla="*/ 4 w 5"/>
              <a:gd name="T3" fmla="*/ 3 h 11"/>
              <a:gd name="T4" fmla="*/ 4 w 5"/>
              <a:gd name="T5" fmla="*/ 5 h 11"/>
              <a:gd name="T6" fmla="*/ 5 w 5"/>
              <a:gd name="T7" fmla="*/ 6 h 11"/>
              <a:gd name="T8" fmla="*/ 5 w 5"/>
              <a:gd name="T9" fmla="*/ 8 h 11"/>
              <a:gd name="T10" fmla="*/ 3 w 5"/>
              <a:gd name="T11" fmla="*/ 10 h 11"/>
              <a:gd name="T12" fmla="*/ 0 w 5"/>
              <a:gd name="T13" fmla="*/ 11 h 11"/>
              <a:gd name="T14" fmla="*/ 1 w 5"/>
              <a:gd name="T15" fmla="*/ 7 h 11"/>
              <a:gd name="T16" fmla="*/ 0 w 5"/>
              <a:gd name="T17" fmla="*/ 3 h 11"/>
              <a:gd name="T18" fmla="*/ 0 w 5"/>
              <a:gd name="T19" fmla="*/ 3 h 11"/>
              <a:gd name="T20" fmla="*/ 1 w 5"/>
              <a:gd name="T21" fmla="*/ 2 h 11"/>
              <a:gd name="T22" fmla="*/ 0 w 5"/>
              <a:gd name="T23" fmla="*/ 2 h 11"/>
              <a:gd name="T24" fmla="*/ 0 w 5"/>
              <a:gd name="T25" fmla="*/ 0 h 11"/>
              <a:gd name="T26" fmla="*/ 1 w 5"/>
              <a:gd name="T27" fmla="*/ 0 h 11"/>
              <a:gd name="T28" fmla="*/ 3 w 5"/>
              <a:gd name="T29" fmla="*/ 0 h 11"/>
              <a:gd name="T30" fmla="*/ 4 w 5"/>
              <a:gd name="T31" fmla="*/ 1 h 11"/>
              <a:gd name="T32" fmla="*/ 4 w 5"/>
              <a:gd name="T33" fmla="*/ 5 h 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" h="11">
                <a:moveTo>
                  <a:pt x="4" y="5"/>
                </a:moveTo>
                <a:lnTo>
                  <a:pt x="4" y="3"/>
                </a:lnTo>
                <a:lnTo>
                  <a:pt x="4" y="5"/>
                </a:lnTo>
                <a:lnTo>
                  <a:pt x="5" y="6"/>
                </a:lnTo>
                <a:lnTo>
                  <a:pt x="5" y="8"/>
                </a:lnTo>
                <a:lnTo>
                  <a:pt x="3" y="10"/>
                </a:lnTo>
                <a:lnTo>
                  <a:pt x="0" y="11"/>
                </a:lnTo>
                <a:lnTo>
                  <a:pt x="1" y="7"/>
                </a:lnTo>
                <a:lnTo>
                  <a:pt x="0" y="3"/>
                </a:lnTo>
                <a:lnTo>
                  <a:pt x="0" y="3"/>
                </a:lnTo>
                <a:lnTo>
                  <a:pt x="1" y="2"/>
                </a:lnTo>
                <a:lnTo>
                  <a:pt x="0" y="2"/>
                </a:lnTo>
                <a:lnTo>
                  <a:pt x="0" y="0"/>
                </a:lnTo>
                <a:lnTo>
                  <a:pt x="1" y="0"/>
                </a:lnTo>
                <a:lnTo>
                  <a:pt x="3" y="0"/>
                </a:lnTo>
                <a:lnTo>
                  <a:pt x="4" y="1"/>
                </a:lnTo>
                <a:lnTo>
                  <a:pt x="4" y="5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78" name="Freeform 1579"/>
          <p:cNvSpPr>
            <a:spLocks/>
          </p:cNvSpPr>
          <p:nvPr/>
        </p:nvSpPr>
        <p:spPr bwMode="auto">
          <a:xfrm>
            <a:off x="1549400" y="2062128"/>
            <a:ext cx="3175" cy="7938"/>
          </a:xfrm>
          <a:custGeom>
            <a:avLst/>
            <a:gdLst>
              <a:gd name="T0" fmla="*/ 2 w 2"/>
              <a:gd name="T1" fmla="*/ 0 h 5"/>
              <a:gd name="T2" fmla="*/ 2 w 2"/>
              <a:gd name="T3" fmla="*/ 0 h 5"/>
              <a:gd name="T4" fmla="*/ 2 w 2"/>
              <a:gd name="T5" fmla="*/ 1 h 5"/>
              <a:gd name="T6" fmla="*/ 2 w 2"/>
              <a:gd name="T7" fmla="*/ 2 h 5"/>
              <a:gd name="T8" fmla="*/ 2 w 2"/>
              <a:gd name="T9" fmla="*/ 3 h 5"/>
              <a:gd name="T10" fmla="*/ 1 w 2"/>
              <a:gd name="T11" fmla="*/ 5 h 5"/>
              <a:gd name="T12" fmla="*/ 0 w 2"/>
              <a:gd name="T13" fmla="*/ 4 h 5"/>
              <a:gd name="T14" fmla="*/ 0 w 2"/>
              <a:gd name="T15" fmla="*/ 4 h 5"/>
              <a:gd name="T16" fmla="*/ 0 w 2"/>
              <a:gd name="T17" fmla="*/ 1 h 5"/>
              <a:gd name="T18" fmla="*/ 2 w 2"/>
              <a:gd name="T1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" h="5">
                <a:moveTo>
                  <a:pt x="2" y="0"/>
                </a:moveTo>
                <a:lnTo>
                  <a:pt x="2" y="0"/>
                </a:lnTo>
                <a:lnTo>
                  <a:pt x="2" y="1"/>
                </a:lnTo>
                <a:lnTo>
                  <a:pt x="2" y="2"/>
                </a:lnTo>
                <a:lnTo>
                  <a:pt x="2" y="3"/>
                </a:lnTo>
                <a:lnTo>
                  <a:pt x="1" y="5"/>
                </a:lnTo>
                <a:lnTo>
                  <a:pt x="0" y="4"/>
                </a:lnTo>
                <a:lnTo>
                  <a:pt x="0" y="4"/>
                </a:lnTo>
                <a:lnTo>
                  <a:pt x="0" y="1"/>
                </a:lnTo>
                <a:lnTo>
                  <a:pt x="2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79" name="Freeform 1580"/>
          <p:cNvSpPr>
            <a:spLocks/>
          </p:cNvSpPr>
          <p:nvPr/>
        </p:nvSpPr>
        <p:spPr bwMode="auto">
          <a:xfrm>
            <a:off x="1549400" y="2062128"/>
            <a:ext cx="3175" cy="7938"/>
          </a:xfrm>
          <a:custGeom>
            <a:avLst/>
            <a:gdLst>
              <a:gd name="T0" fmla="*/ 2 w 2"/>
              <a:gd name="T1" fmla="*/ 0 h 5"/>
              <a:gd name="T2" fmla="*/ 2 w 2"/>
              <a:gd name="T3" fmla="*/ 0 h 5"/>
              <a:gd name="T4" fmla="*/ 2 w 2"/>
              <a:gd name="T5" fmla="*/ 1 h 5"/>
              <a:gd name="T6" fmla="*/ 2 w 2"/>
              <a:gd name="T7" fmla="*/ 2 h 5"/>
              <a:gd name="T8" fmla="*/ 2 w 2"/>
              <a:gd name="T9" fmla="*/ 3 h 5"/>
              <a:gd name="T10" fmla="*/ 1 w 2"/>
              <a:gd name="T11" fmla="*/ 5 h 5"/>
              <a:gd name="T12" fmla="*/ 0 w 2"/>
              <a:gd name="T13" fmla="*/ 4 h 5"/>
              <a:gd name="T14" fmla="*/ 0 w 2"/>
              <a:gd name="T15" fmla="*/ 4 h 5"/>
              <a:gd name="T16" fmla="*/ 0 w 2"/>
              <a:gd name="T17" fmla="*/ 1 h 5"/>
              <a:gd name="T18" fmla="*/ 2 w 2"/>
              <a:gd name="T1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" h="5">
                <a:moveTo>
                  <a:pt x="2" y="0"/>
                </a:moveTo>
                <a:lnTo>
                  <a:pt x="2" y="0"/>
                </a:lnTo>
                <a:lnTo>
                  <a:pt x="2" y="1"/>
                </a:lnTo>
                <a:lnTo>
                  <a:pt x="2" y="2"/>
                </a:lnTo>
                <a:lnTo>
                  <a:pt x="2" y="3"/>
                </a:lnTo>
                <a:lnTo>
                  <a:pt x="1" y="5"/>
                </a:lnTo>
                <a:lnTo>
                  <a:pt x="0" y="4"/>
                </a:lnTo>
                <a:lnTo>
                  <a:pt x="0" y="4"/>
                </a:lnTo>
                <a:lnTo>
                  <a:pt x="0" y="1"/>
                </a:lnTo>
                <a:lnTo>
                  <a:pt x="2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80" name="Freeform 1581"/>
          <p:cNvSpPr>
            <a:spLocks/>
          </p:cNvSpPr>
          <p:nvPr/>
        </p:nvSpPr>
        <p:spPr bwMode="auto">
          <a:xfrm>
            <a:off x="1527175" y="2116103"/>
            <a:ext cx="69850" cy="71438"/>
          </a:xfrm>
          <a:custGeom>
            <a:avLst/>
            <a:gdLst>
              <a:gd name="T0" fmla="*/ 9 w 44"/>
              <a:gd name="T1" fmla="*/ 8 h 45"/>
              <a:gd name="T2" fmla="*/ 9 w 44"/>
              <a:gd name="T3" fmla="*/ 8 h 45"/>
              <a:gd name="T4" fmla="*/ 11 w 44"/>
              <a:gd name="T5" fmla="*/ 5 h 45"/>
              <a:gd name="T6" fmla="*/ 5 w 44"/>
              <a:gd name="T7" fmla="*/ 4 h 45"/>
              <a:gd name="T8" fmla="*/ 2 w 44"/>
              <a:gd name="T9" fmla="*/ 6 h 45"/>
              <a:gd name="T10" fmla="*/ 0 w 44"/>
              <a:gd name="T11" fmla="*/ 4 h 45"/>
              <a:gd name="T12" fmla="*/ 2 w 44"/>
              <a:gd name="T13" fmla="*/ 1 h 45"/>
              <a:gd name="T14" fmla="*/ 6 w 44"/>
              <a:gd name="T15" fmla="*/ 0 h 45"/>
              <a:gd name="T16" fmla="*/ 11 w 44"/>
              <a:gd name="T17" fmla="*/ 1 h 45"/>
              <a:gd name="T18" fmla="*/ 14 w 44"/>
              <a:gd name="T19" fmla="*/ 4 h 45"/>
              <a:gd name="T20" fmla="*/ 26 w 44"/>
              <a:gd name="T21" fmla="*/ 8 h 45"/>
              <a:gd name="T22" fmla="*/ 33 w 44"/>
              <a:gd name="T23" fmla="*/ 9 h 45"/>
              <a:gd name="T24" fmla="*/ 34 w 44"/>
              <a:gd name="T25" fmla="*/ 11 h 45"/>
              <a:gd name="T26" fmla="*/ 35 w 44"/>
              <a:gd name="T27" fmla="*/ 20 h 45"/>
              <a:gd name="T28" fmla="*/ 34 w 44"/>
              <a:gd name="T29" fmla="*/ 21 h 45"/>
              <a:gd name="T30" fmla="*/ 34 w 44"/>
              <a:gd name="T31" fmla="*/ 24 h 45"/>
              <a:gd name="T32" fmla="*/ 37 w 44"/>
              <a:gd name="T33" fmla="*/ 27 h 45"/>
              <a:gd name="T34" fmla="*/ 41 w 44"/>
              <a:gd name="T35" fmla="*/ 28 h 45"/>
              <a:gd name="T36" fmla="*/ 44 w 44"/>
              <a:gd name="T37" fmla="*/ 31 h 45"/>
              <a:gd name="T38" fmla="*/ 43 w 44"/>
              <a:gd name="T39" fmla="*/ 36 h 45"/>
              <a:gd name="T40" fmla="*/ 42 w 44"/>
              <a:gd name="T41" fmla="*/ 39 h 45"/>
              <a:gd name="T42" fmla="*/ 44 w 44"/>
              <a:gd name="T43" fmla="*/ 39 h 45"/>
              <a:gd name="T44" fmla="*/ 43 w 44"/>
              <a:gd name="T45" fmla="*/ 43 h 45"/>
              <a:gd name="T46" fmla="*/ 39 w 44"/>
              <a:gd name="T47" fmla="*/ 45 h 45"/>
              <a:gd name="T48" fmla="*/ 33 w 44"/>
              <a:gd name="T49" fmla="*/ 44 h 45"/>
              <a:gd name="T50" fmla="*/ 31 w 44"/>
              <a:gd name="T51" fmla="*/ 40 h 45"/>
              <a:gd name="T52" fmla="*/ 27 w 44"/>
              <a:gd name="T53" fmla="*/ 41 h 45"/>
              <a:gd name="T54" fmla="*/ 25 w 44"/>
              <a:gd name="T55" fmla="*/ 38 h 45"/>
              <a:gd name="T56" fmla="*/ 29 w 44"/>
              <a:gd name="T57" fmla="*/ 36 h 45"/>
              <a:gd name="T58" fmla="*/ 26 w 44"/>
              <a:gd name="T59" fmla="*/ 38 h 45"/>
              <a:gd name="T60" fmla="*/ 23 w 44"/>
              <a:gd name="T61" fmla="*/ 37 h 45"/>
              <a:gd name="T62" fmla="*/ 24 w 44"/>
              <a:gd name="T63" fmla="*/ 35 h 45"/>
              <a:gd name="T64" fmla="*/ 27 w 44"/>
              <a:gd name="T65" fmla="*/ 34 h 45"/>
              <a:gd name="T66" fmla="*/ 25 w 44"/>
              <a:gd name="T67" fmla="*/ 33 h 45"/>
              <a:gd name="T68" fmla="*/ 21 w 44"/>
              <a:gd name="T69" fmla="*/ 34 h 45"/>
              <a:gd name="T70" fmla="*/ 16 w 44"/>
              <a:gd name="T71" fmla="*/ 33 h 45"/>
              <a:gd name="T72" fmla="*/ 20 w 44"/>
              <a:gd name="T73" fmla="*/ 31 h 45"/>
              <a:gd name="T74" fmla="*/ 19 w 44"/>
              <a:gd name="T75" fmla="*/ 28 h 45"/>
              <a:gd name="T76" fmla="*/ 16 w 44"/>
              <a:gd name="T77" fmla="*/ 27 h 45"/>
              <a:gd name="T78" fmla="*/ 12 w 44"/>
              <a:gd name="T79" fmla="*/ 26 h 45"/>
              <a:gd name="T80" fmla="*/ 11 w 44"/>
              <a:gd name="T81" fmla="*/ 24 h 45"/>
              <a:gd name="T82" fmla="*/ 16 w 44"/>
              <a:gd name="T83" fmla="*/ 23 h 45"/>
              <a:gd name="T84" fmla="*/ 17 w 44"/>
              <a:gd name="T85" fmla="*/ 20 h 45"/>
              <a:gd name="T86" fmla="*/ 15 w 44"/>
              <a:gd name="T87" fmla="*/ 20 h 45"/>
              <a:gd name="T88" fmla="*/ 13 w 44"/>
              <a:gd name="T89" fmla="*/ 20 h 45"/>
              <a:gd name="T90" fmla="*/ 12 w 44"/>
              <a:gd name="T91" fmla="*/ 17 h 45"/>
              <a:gd name="T92" fmla="*/ 11 w 44"/>
              <a:gd name="T93" fmla="*/ 17 h 45"/>
              <a:gd name="T94" fmla="*/ 6 w 44"/>
              <a:gd name="T95" fmla="*/ 17 h 45"/>
              <a:gd name="T96" fmla="*/ 10 w 44"/>
              <a:gd name="T97" fmla="*/ 14 h 45"/>
              <a:gd name="T98" fmla="*/ 9 w 44"/>
              <a:gd name="T99" fmla="*/ 13 h 45"/>
              <a:gd name="T100" fmla="*/ 5 w 44"/>
              <a:gd name="T101" fmla="*/ 13 h 45"/>
              <a:gd name="T102" fmla="*/ 4 w 44"/>
              <a:gd name="T103" fmla="*/ 13 h 45"/>
              <a:gd name="T104" fmla="*/ 0 w 44"/>
              <a:gd name="T105" fmla="*/ 14 h 45"/>
              <a:gd name="T106" fmla="*/ 2 w 44"/>
              <a:gd name="T107" fmla="*/ 11 h 45"/>
              <a:gd name="T108" fmla="*/ 2 w 44"/>
              <a:gd name="T109" fmla="*/ 9 h 45"/>
              <a:gd name="T110" fmla="*/ 5 w 44"/>
              <a:gd name="T111" fmla="*/ 7 h 45"/>
              <a:gd name="T112" fmla="*/ 7 w 44"/>
              <a:gd name="T113" fmla="*/ 8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4" h="45">
                <a:moveTo>
                  <a:pt x="7" y="8"/>
                </a:moveTo>
                <a:lnTo>
                  <a:pt x="9" y="8"/>
                </a:lnTo>
                <a:lnTo>
                  <a:pt x="7" y="8"/>
                </a:lnTo>
                <a:lnTo>
                  <a:pt x="9" y="8"/>
                </a:lnTo>
                <a:lnTo>
                  <a:pt x="10" y="6"/>
                </a:lnTo>
                <a:lnTo>
                  <a:pt x="11" y="5"/>
                </a:lnTo>
                <a:lnTo>
                  <a:pt x="5" y="5"/>
                </a:lnTo>
                <a:lnTo>
                  <a:pt x="5" y="4"/>
                </a:lnTo>
                <a:lnTo>
                  <a:pt x="3" y="5"/>
                </a:lnTo>
                <a:lnTo>
                  <a:pt x="2" y="6"/>
                </a:lnTo>
                <a:lnTo>
                  <a:pt x="0" y="5"/>
                </a:lnTo>
                <a:lnTo>
                  <a:pt x="0" y="4"/>
                </a:lnTo>
                <a:lnTo>
                  <a:pt x="1" y="3"/>
                </a:lnTo>
                <a:lnTo>
                  <a:pt x="2" y="1"/>
                </a:lnTo>
                <a:lnTo>
                  <a:pt x="4" y="0"/>
                </a:lnTo>
                <a:lnTo>
                  <a:pt x="6" y="0"/>
                </a:lnTo>
                <a:lnTo>
                  <a:pt x="9" y="1"/>
                </a:lnTo>
                <a:lnTo>
                  <a:pt x="11" y="1"/>
                </a:lnTo>
                <a:lnTo>
                  <a:pt x="13" y="3"/>
                </a:lnTo>
                <a:lnTo>
                  <a:pt x="14" y="4"/>
                </a:lnTo>
                <a:lnTo>
                  <a:pt x="20" y="6"/>
                </a:lnTo>
                <a:lnTo>
                  <a:pt x="26" y="8"/>
                </a:lnTo>
                <a:lnTo>
                  <a:pt x="30" y="9"/>
                </a:lnTo>
                <a:lnTo>
                  <a:pt x="33" y="9"/>
                </a:lnTo>
                <a:lnTo>
                  <a:pt x="34" y="10"/>
                </a:lnTo>
                <a:lnTo>
                  <a:pt x="34" y="11"/>
                </a:lnTo>
                <a:lnTo>
                  <a:pt x="33" y="14"/>
                </a:lnTo>
                <a:lnTo>
                  <a:pt x="35" y="20"/>
                </a:lnTo>
                <a:lnTo>
                  <a:pt x="35" y="21"/>
                </a:lnTo>
                <a:lnTo>
                  <a:pt x="34" y="21"/>
                </a:lnTo>
                <a:lnTo>
                  <a:pt x="34" y="24"/>
                </a:lnTo>
                <a:lnTo>
                  <a:pt x="34" y="24"/>
                </a:lnTo>
                <a:lnTo>
                  <a:pt x="36" y="26"/>
                </a:lnTo>
                <a:lnTo>
                  <a:pt x="37" y="27"/>
                </a:lnTo>
                <a:lnTo>
                  <a:pt x="41" y="27"/>
                </a:lnTo>
                <a:lnTo>
                  <a:pt x="41" y="28"/>
                </a:lnTo>
                <a:lnTo>
                  <a:pt x="42" y="28"/>
                </a:lnTo>
                <a:lnTo>
                  <a:pt x="44" y="31"/>
                </a:lnTo>
                <a:lnTo>
                  <a:pt x="43" y="34"/>
                </a:lnTo>
                <a:lnTo>
                  <a:pt x="43" y="36"/>
                </a:lnTo>
                <a:lnTo>
                  <a:pt x="43" y="37"/>
                </a:lnTo>
                <a:lnTo>
                  <a:pt x="42" y="39"/>
                </a:lnTo>
                <a:lnTo>
                  <a:pt x="42" y="40"/>
                </a:lnTo>
                <a:lnTo>
                  <a:pt x="44" y="39"/>
                </a:lnTo>
                <a:lnTo>
                  <a:pt x="43" y="43"/>
                </a:lnTo>
                <a:lnTo>
                  <a:pt x="43" y="43"/>
                </a:lnTo>
                <a:lnTo>
                  <a:pt x="42" y="44"/>
                </a:lnTo>
                <a:lnTo>
                  <a:pt x="39" y="45"/>
                </a:lnTo>
                <a:lnTo>
                  <a:pt x="37" y="45"/>
                </a:lnTo>
                <a:lnTo>
                  <a:pt x="33" y="44"/>
                </a:lnTo>
                <a:lnTo>
                  <a:pt x="31" y="41"/>
                </a:lnTo>
                <a:lnTo>
                  <a:pt x="31" y="40"/>
                </a:lnTo>
                <a:lnTo>
                  <a:pt x="30" y="40"/>
                </a:lnTo>
                <a:lnTo>
                  <a:pt x="27" y="41"/>
                </a:lnTo>
                <a:lnTo>
                  <a:pt x="25" y="39"/>
                </a:lnTo>
                <a:lnTo>
                  <a:pt x="25" y="38"/>
                </a:lnTo>
                <a:lnTo>
                  <a:pt x="27" y="37"/>
                </a:lnTo>
                <a:lnTo>
                  <a:pt x="29" y="36"/>
                </a:lnTo>
                <a:lnTo>
                  <a:pt x="27" y="37"/>
                </a:lnTo>
                <a:lnTo>
                  <a:pt x="26" y="38"/>
                </a:lnTo>
                <a:lnTo>
                  <a:pt x="24" y="38"/>
                </a:lnTo>
                <a:lnTo>
                  <a:pt x="23" y="37"/>
                </a:lnTo>
                <a:lnTo>
                  <a:pt x="23" y="36"/>
                </a:lnTo>
                <a:lnTo>
                  <a:pt x="24" y="35"/>
                </a:lnTo>
                <a:lnTo>
                  <a:pt x="25" y="35"/>
                </a:lnTo>
                <a:lnTo>
                  <a:pt x="27" y="34"/>
                </a:lnTo>
                <a:lnTo>
                  <a:pt x="26" y="33"/>
                </a:lnTo>
                <a:lnTo>
                  <a:pt x="25" y="33"/>
                </a:lnTo>
                <a:lnTo>
                  <a:pt x="23" y="34"/>
                </a:lnTo>
                <a:lnTo>
                  <a:pt x="21" y="34"/>
                </a:lnTo>
                <a:lnTo>
                  <a:pt x="17" y="34"/>
                </a:lnTo>
                <a:lnTo>
                  <a:pt x="16" y="33"/>
                </a:lnTo>
                <a:lnTo>
                  <a:pt x="17" y="33"/>
                </a:lnTo>
                <a:lnTo>
                  <a:pt x="20" y="31"/>
                </a:lnTo>
                <a:lnTo>
                  <a:pt x="20" y="30"/>
                </a:lnTo>
                <a:lnTo>
                  <a:pt x="19" y="28"/>
                </a:lnTo>
                <a:lnTo>
                  <a:pt x="16" y="28"/>
                </a:lnTo>
                <a:lnTo>
                  <a:pt x="16" y="27"/>
                </a:lnTo>
                <a:lnTo>
                  <a:pt x="14" y="26"/>
                </a:lnTo>
                <a:lnTo>
                  <a:pt x="12" y="26"/>
                </a:lnTo>
                <a:lnTo>
                  <a:pt x="11" y="26"/>
                </a:lnTo>
                <a:lnTo>
                  <a:pt x="11" y="24"/>
                </a:lnTo>
                <a:lnTo>
                  <a:pt x="13" y="23"/>
                </a:lnTo>
                <a:lnTo>
                  <a:pt x="16" y="23"/>
                </a:lnTo>
                <a:lnTo>
                  <a:pt x="20" y="21"/>
                </a:lnTo>
                <a:lnTo>
                  <a:pt x="17" y="20"/>
                </a:lnTo>
                <a:lnTo>
                  <a:pt x="15" y="21"/>
                </a:lnTo>
                <a:lnTo>
                  <a:pt x="15" y="20"/>
                </a:lnTo>
                <a:lnTo>
                  <a:pt x="15" y="19"/>
                </a:lnTo>
                <a:lnTo>
                  <a:pt x="13" y="20"/>
                </a:lnTo>
                <a:lnTo>
                  <a:pt x="13" y="18"/>
                </a:lnTo>
                <a:lnTo>
                  <a:pt x="12" y="17"/>
                </a:lnTo>
                <a:lnTo>
                  <a:pt x="11" y="17"/>
                </a:lnTo>
                <a:lnTo>
                  <a:pt x="11" y="17"/>
                </a:lnTo>
                <a:lnTo>
                  <a:pt x="7" y="18"/>
                </a:lnTo>
                <a:lnTo>
                  <a:pt x="6" y="17"/>
                </a:lnTo>
                <a:lnTo>
                  <a:pt x="9" y="15"/>
                </a:lnTo>
                <a:lnTo>
                  <a:pt x="10" y="14"/>
                </a:lnTo>
                <a:lnTo>
                  <a:pt x="10" y="14"/>
                </a:lnTo>
                <a:lnTo>
                  <a:pt x="9" y="13"/>
                </a:lnTo>
                <a:lnTo>
                  <a:pt x="6" y="15"/>
                </a:lnTo>
                <a:lnTo>
                  <a:pt x="5" y="13"/>
                </a:lnTo>
                <a:lnTo>
                  <a:pt x="4" y="13"/>
                </a:lnTo>
                <a:lnTo>
                  <a:pt x="4" y="13"/>
                </a:lnTo>
                <a:lnTo>
                  <a:pt x="1" y="14"/>
                </a:lnTo>
                <a:lnTo>
                  <a:pt x="0" y="14"/>
                </a:lnTo>
                <a:lnTo>
                  <a:pt x="0" y="13"/>
                </a:lnTo>
                <a:lnTo>
                  <a:pt x="2" y="11"/>
                </a:lnTo>
                <a:lnTo>
                  <a:pt x="3" y="10"/>
                </a:lnTo>
                <a:lnTo>
                  <a:pt x="2" y="9"/>
                </a:lnTo>
                <a:lnTo>
                  <a:pt x="3" y="8"/>
                </a:lnTo>
                <a:lnTo>
                  <a:pt x="5" y="7"/>
                </a:lnTo>
                <a:lnTo>
                  <a:pt x="7" y="7"/>
                </a:lnTo>
                <a:lnTo>
                  <a:pt x="7" y="8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81" name="Freeform 1582"/>
          <p:cNvSpPr>
            <a:spLocks/>
          </p:cNvSpPr>
          <p:nvPr/>
        </p:nvSpPr>
        <p:spPr bwMode="auto">
          <a:xfrm>
            <a:off x="1527175" y="2116103"/>
            <a:ext cx="69850" cy="71438"/>
          </a:xfrm>
          <a:custGeom>
            <a:avLst/>
            <a:gdLst>
              <a:gd name="T0" fmla="*/ 9 w 44"/>
              <a:gd name="T1" fmla="*/ 8 h 45"/>
              <a:gd name="T2" fmla="*/ 9 w 44"/>
              <a:gd name="T3" fmla="*/ 8 h 45"/>
              <a:gd name="T4" fmla="*/ 11 w 44"/>
              <a:gd name="T5" fmla="*/ 5 h 45"/>
              <a:gd name="T6" fmla="*/ 5 w 44"/>
              <a:gd name="T7" fmla="*/ 4 h 45"/>
              <a:gd name="T8" fmla="*/ 2 w 44"/>
              <a:gd name="T9" fmla="*/ 6 h 45"/>
              <a:gd name="T10" fmla="*/ 0 w 44"/>
              <a:gd name="T11" fmla="*/ 4 h 45"/>
              <a:gd name="T12" fmla="*/ 2 w 44"/>
              <a:gd name="T13" fmla="*/ 1 h 45"/>
              <a:gd name="T14" fmla="*/ 6 w 44"/>
              <a:gd name="T15" fmla="*/ 0 h 45"/>
              <a:gd name="T16" fmla="*/ 11 w 44"/>
              <a:gd name="T17" fmla="*/ 1 h 45"/>
              <a:gd name="T18" fmla="*/ 14 w 44"/>
              <a:gd name="T19" fmla="*/ 4 h 45"/>
              <a:gd name="T20" fmla="*/ 26 w 44"/>
              <a:gd name="T21" fmla="*/ 8 h 45"/>
              <a:gd name="T22" fmla="*/ 33 w 44"/>
              <a:gd name="T23" fmla="*/ 9 h 45"/>
              <a:gd name="T24" fmla="*/ 34 w 44"/>
              <a:gd name="T25" fmla="*/ 11 h 45"/>
              <a:gd name="T26" fmla="*/ 35 w 44"/>
              <a:gd name="T27" fmla="*/ 20 h 45"/>
              <a:gd name="T28" fmla="*/ 34 w 44"/>
              <a:gd name="T29" fmla="*/ 21 h 45"/>
              <a:gd name="T30" fmla="*/ 34 w 44"/>
              <a:gd name="T31" fmla="*/ 24 h 45"/>
              <a:gd name="T32" fmla="*/ 37 w 44"/>
              <a:gd name="T33" fmla="*/ 27 h 45"/>
              <a:gd name="T34" fmla="*/ 41 w 44"/>
              <a:gd name="T35" fmla="*/ 28 h 45"/>
              <a:gd name="T36" fmla="*/ 44 w 44"/>
              <a:gd name="T37" fmla="*/ 31 h 45"/>
              <a:gd name="T38" fmla="*/ 43 w 44"/>
              <a:gd name="T39" fmla="*/ 36 h 45"/>
              <a:gd name="T40" fmla="*/ 42 w 44"/>
              <a:gd name="T41" fmla="*/ 39 h 45"/>
              <a:gd name="T42" fmla="*/ 44 w 44"/>
              <a:gd name="T43" fmla="*/ 39 h 45"/>
              <a:gd name="T44" fmla="*/ 43 w 44"/>
              <a:gd name="T45" fmla="*/ 43 h 45"/>
              <a:gd name="T46" fmla="*/ 39 w 44"/>
              <a:gd name="T47" fmla="*/ 45 h 45"/>
              <a:gd name="T48" fmla="*/ 33 w 44"/>
              <a:gd name="T49" fmla="*/ 44 h 45"/>
              <a:gd name="T50" fmla="*/ 31 w 44"/>
              <a:gd name="T51" fmla="*/ 40 h 45"/>
              <a:gd name="T52" fmla="*/ 27 w 44"/>
              <a:gd name="T53" fmla="*/ 41 h 45"/>
              <a:gd name="T54" fmla="*/ 25 w 44"/>
              <a:gd name="T55" fmla="*/ 38 h 45"/>
              <a:gd name="T56" fmla="*/ 29 w 44"/>
              <a:gd name="T57" fmla="*/ 36 h 45"/>
              <a:gd name="T58" fmla="*/ 26 w 44"/>
              <a:gd name="T59" fmla="*/ 38 h 45"/>
              <a:gd name="T60" fmla="*/ 23 w 44"/>
              <a:gd name="T61" fmla="*/ 37 h 45"/>
              <a:gd name="T62" fmla="*/ 24 w 44"/>
              <a:gd name="T63" fmla="*/ 35 h 45"/>
              <a:gd name="T64" fmla="*/ 27 w 44"/>
              <a:gd name="T65" fmla="*/ 34 h 45"/>
              <a:gd name="T66" fmla="*/ 25 w 44"/>
              <a:gd name="T67" fmla="*/ 33 h 45"/>
              <a:gd name="T68" fmla="*/ 21 w 44"/>
              <a:gd name="T69" fmla="*/ 34 h 45"/>
              <a:gd name="T70" fmla="*/ 16 w 44"/>
              <a:gd name="T71" fmla="*/ 33 h 45"/>
              <a:gd name="T72" fmla="*/ 20 w 44"/>
              <a:gd name="T73" fmla="*/ 31 h 45"/>
              <a:gd name="T74" fmla="*/ 19 w 44"/>
              <a:gd name="T75" fmla="*/ 28 h 45"/>
              <a:gd name="T76" fmla="*/ 16 w 44"/>
              <a:gd name="T77" fmla="*/ 27 h 45"/>
              <a:gd name="T78" fmla="*/ 12 w 44"/>
              <a:gd name="T79" fmla="*/ 26 h 45"/>
              <a:gd name="T80" fmla="*/ 11 w 44"/>
              <a:gd name="T81" fmla="*/ 24 h 45"/>
              <a:gd name="T82" fmla="*/ 16 w 44"/>
              <a:gd name="T83" fmla="*/ 23 h 45"/>
              <a:gd name="T84" fmla="*/ 17 w 44"/>
              <a:gd name="T85" fmla="*/ 20 h 45"/>
              <a:gd name="T86" fmla="*/ 15 w 44"/>
              <a:gd name="T87" fmla="*/ 20 h 45"/>
              <a:gd name="T88" fmla="*/ 13 w 44"/>
              <a:gd name="T89" fmla="*/ 20 h 45"/>
              <a:gd name="T90" fmla="*/ 12 w 44"/>
              <a:gd name="T91" fmla="*/ 17 h 45"/>
              <a:gd name="T92" fmla="*/ 11 w 44"/>
              <a:gd name="T93" fmla="*/ 17 h 45"/>
              <a:gd name="T94" fmla="*/ 6 w 44"/>
              <a:gd name="T95" fmla="*/ 17 h 45"/>
              <a:gd name="T96" fmla="*/ 10 w 44"/>
              <a:gd name="T97" fmla="*/ 14 h 45"/>
              <a:gd name="T98" fmla="*/ 9 w 44"/>
              <a:gd name="T99" fmla="*/ 13 h 45"/>
              <a:gd name="T100" fmla="*/ 5 w 44"/>
              <a:gd name="T101" fmla="*/ 13 h 45"/>
              <a:gd name="T102" fmla="*/ 4 w 44"/>
              <a:gd name="T103" fmla="*/ 13 h 45"/>
              <a:gd name="T104" fmla="*/ 0 w 44"/>
              <a:gd name="T105" fmla="*/ 14 h 45"/>
              <a:gd name="T106" fmla="*/ 2 w 44"/>
              <a:gd name="T107" fmla="*/ 11 h 45"/>
              <a:gd name="T108" fmla="*/ 2 w 44"/>
              <a:gd name="T109" fmla="*/ 9 h 45"/>
              <a:gd name="T110" fmla="*/ 5 w 44"/>
              <a:gd name="T111" fmla="*/ 7 h 45"/>
              <a:gd name="T112" fmla="*/ 7 w 44"/>
              <a:gd name="T113" fmla="*/ 8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4" h="45">
                <a:moveTo>
                  <a:pt x="7" y="8"/>
                </a:moveTo>
                <a:lnTo>
                  <a:pt x="9" y="8"/>
                </a:lnTo>
                <a:lnTo>
                  <a:pt x="7" y="8"/>
                </a:lnTo>
                <a:lnTo>
                  <a:pt x="9" y="8"/>
                </a:lnTo>
                <a:lnTo>
                  <a:pt x="10" y="6"/>
                </a:lnTo>
                <a:lnTo>
                  <a:pt x="11" y="5"/>
                </a:lnTo>
                <a:lnTo>
                  <a:pt x="5" y="5"/>
                </a:lnTo>
                <a:lnTo>
                  <a:pt x="5" y="4"/>
                </a:lnTo>
                <a:lnTo>
                  <a:pt x="3" y="5"/>
                </a:lnTo>
                <a:lnTo>
                  <a:pt x="2" y="6"/>
                </a:lnTo>
                <a:lnTo>
                  <a:pt x="0" y="5"/>
                </a:lnTo>
                <a:lnTo>
                  <a:pt x="0" y="4"/>
                </a:lnTo>
                <a:lnTo>
                  <a:pt x="1" y="3"/>
                </a:lnTo>
                <a:lnTo>
                  <a:pt x="2" y="1"/>
                </a:lnTo>
                <a:lnTo>
                  <a:pt x="4" y="0"/>
                </a:lnTo>
                <a:lnTo>
                  <a:pt x="6" y="0"/>
                </a:lnTo>
                <a:lnTo>
                  <a:pt x="9" y="1"/>
                </a:lnTo>
                <a:lnTo>
                  <a:pt x="11" y="1"/>
                </a:lnTo>
                <a:lnTo>
                  <a:pt x="13" y="3"/>
                </a:lnTo>
                <a:lnTo>
                  <a:pt x="14" y="4"/>
                </a:lnTo>
                <a:lnTo>
                  <a:pt x="20" y="6"/>
                </a:lnTo>
                <a:lnTo>
                  <a:pt x="26" y="8"/>
                </a:lnTo>
                <a:lnTo>
                  <a:pt x="30" y="9"/>
                </a:lnTo>
                <a:lnTo>
                  <a:pt x="33" y="9"/>
                </a:lnTo>
                <a:lnTo>
                  <a:pt x="34" y="10"/>
                </a:lnTo>
                <a:lnTo>
                  <a:pt x="34" y="11"/>
                </a:lnTo>
                <a:lnTo>
                  <a:pt x="33" y="14"/>
                </a:lnTo>
                <a:lnTo>
                  <a:pt x="35" y="20"/>
                </a:lnTo>
                <a:lnTo>
                  <a:pt x="35" y="21"/>
                </a:lnTo>
                <a:lnTo>
                  <a:pt x="34" y="21"/>
                </a:lnTo>
                <a:lnTo>
                  <a:pt x="34" y="24"/>
                </a:lnTo>
                <a:lnTo>
                  <a:pt x="34" y="24"/>
                </a:lnTo>
                <a:lnTo>
                  <a:pt x="36" y="26"/>
                </a:lnTo>
                <a:lnTo>
                  <a:pt x="37" y="27"/>
                </a:lnTo>
                <a:lnTo>
                  <a:pt x="41" y="27"/>
                </a:lnTo>
                <a:lnTo>
                  <a:pt x="41" y="28"/>
                </a:lnTo>
                <a:lnTo>
                  <a:pt x="42" y="28"/>
                </a:lnTo>
                <a:lnTo>
                  <a:pt x="44" y="31"/>
                </a:lnTo>
                <a:lnTo>
                  <a:pt x="43" y="34"/>
                </a:lnTo>
                <a:lnTo>
                  <a:pt x="43" y="36"/>
                </a:lnTo>
                <a:lnTo>
                  <a:pt x="43" y="37"/>
                </a:lnTo>
                <a:lnTo>
                  <a:pt x="42" y="39"/>
                </a:lnTo>
                <a:lnTo>
                  <a:pt x="42" y="40"/>
                </a:lnTo>
                <a:lnTo>
                  <a:pt x="44" y="39"/>
                </a:lnTo>
                <a:lnTo>
                  <a:pt x="43" y="43"/>
                </a:lnTo>
                <a:lnTo>
                  <a:pt x="43" y="43"/>
                </a:lnTo>
                <a:lnTo>
                  <a:pt x="42" y="44"/>
                </a:lnTo>
                <a:lnTo>
                  <a:pt x="39" y="45"/>
                </a:lnTo>
                <a:lnTo>
                  <a:pt x="37" y="45"/>
                </a:lnTo>
                <a:lnTo>
                  <a:pt x="33" y="44"/>
                </a:lnTo>
                <a:lnTo>
                  <a:pt x="31" y="41"/>
                </a:lnTo>
                <a:lnTo>
                  <a:pt x="31" y="40"/>
                </a:lnTo>
                <a:lnTo>
                  <a:pt x="30" y="40"/>
                </a:lnTo>
                <a:lnTo>
                  <a:pt x="27" y="41"/>
                </a:lnTo>
                <a:lnTo>
                  <a:pt x="25" y="39"/>
                </a:lnTo>
                <a:lnTo>
                  <a:pt x="25" y="38"/>
                </a:lnTo>
                <a:lnTo>
                  <a:pt x="27" y="37"/>
                </a:lnTo>
                <a:lnTo>
                  <a:pt x="29" y="36"/>
                </a:lnTo>
                <a:lnTo>
                  <a:pt x="27" y="37"/>
                </a:lnTo>
                <a:lnTo>
                  <a:pt x="26" y="38"/>
                </a:lnTo>
                <a:lnTo>
                  <a:pt x="24" y="38"/>
                </a:lnTo>
                <a:lnTo>
                  <a:pt x="23" y="37"/>
                </a:lnTo>
                <a:lnTo>
                  <a:pt x="23" y="36"/>
                </a:lnTo>
                <a:lnTo>
                  <a:pt x="24" y="35"/>
                </a:lnTo>
                <a:lnTo>
                  <a:pt x="25" y="35"/>
                </a:lnTo>
                <a:lnTo>
                  <a:pt x="27" y="34"/>
                </a:lnTo>
                <a:lnTo>
                  <a:pt x="26" y="33"/>
                </a:lnTo>
                <a:lnTo>
                  <a:pt x="25" y="33"/>
                </a:lnTo>
                <a:lnTo>
                  <a:pt x="23" y="34"/>
                </a:lnTo>
                <a:lnTo>
                  <a:pt x="21" y="34"/>
                </a:lnTo>
                <a:lnTo>
                  <a:pt x="17" y="34"/>
                </a:lnTo>
                <a:lnTo>
                  <a:pt x="16" y="33"/>
                </a:lnTo>
                <a:lnTo>
                  <a:pt x="17" y="33"/>
                </a:lnTo>
                <a:lnTo>
                  <a:pt x="20" y="31"/>
                </a:lnTo>
                <a:lnTo>
                  <a:pt x="20" y="30"/>
                </a:lnTo>
                <a:lnTo>
                  <a:pt x="19" y="28"/>
                </a:lnTo>
                <a:lnTo>
                  <a:pt x="16" y="28"/>
                </a:lnTo>
                <a:lnTo>
                  <a:pt x="16" y="27"/>
                </a:lnTo>
                <a:lnTo>
                  <a:pt x="14" y="26"/>
                </a:lnTo>
                <a:lnTo>
                  <a:pt x="12" y="26"/>
                </a:lnTo>
                <a:lnTo>
                  <a:pt x="11" y="26"/>
                </a:lnTo>
                <a:lnTo>
                  <a:pt x="11" y="24"/>
                </a:lnTo>
                <a:lnTo>
                  <a:pt x="13" y="23"/>
                </a:lnTo>
                <a:lnTo>
                  <a:pt x="16" y="23"/>
                </a:lnTo>
                <a:lnTo>
                  <a:pt x="20" y="21"/>
                </a:lnTo>
                <a:lnTo>
                  <a:pt x="17" y="20"/>
                </a:lnTo>
                <a:lnTo>
                  <a:pt x="15" y="21"/>
                </a:lnTo>
                <a:lnTo>
                  <a:pt x="15" y="20"/>
                </a:lnTo>
                <a:lnTo>
                  <a:pt x="15" y="19"/>
                </a:lnTo>
                <a:lnTo>
                  <a:pt x="13" y="20"/>
                </a:lnTo>
                <a:lnTo>
                  <a:pt x="13" y="18"/>
                </a:lnTo>
                <a:lnTo>
                  <a:pt x="12" y="17"/>
                </a:lnTo>
                <a:lnTo>
                  <a:pt x="11" y="17"/>
                </a:lnTo>
                <a:lnTo>
                  <a:pt x="11" y="17"/>
                </a:lnTo>
                <a:lnTo>
                  <a:pt x="7" y="18"/>
                </a:lnTo>
                <a:lnTo>
                  <a:pt x="6" y="17"/>
                </a:lnTo>
                <a:lnTo>
                  <a:pt x="9" y="15"/>
                </a:lnTo>
                <a:lnTo>
                  <a:pt x="10" y="14"/>
                </a:lnTo>
                <a:lnTo>
                  <a:pt x="10" y="14"/>
                </a:lnTo>
                <a:lnTo>
                  <a:pt x="9" y="13"/>
                </a:lnTo>
                <a:lnTo>
                  <a:pt x="6" y="15"/>
                </a:lnTo>
                <a:lnTo>
                  <a:pt x="5" y="13"/>
                </a:lnTo>
                <a:lnTo>
                  <a:pt x="4" y="13"/>
                </a:lnTo>
                <a:lnTo>
                  <a:pt x="4" y="13"/>
                </a:lnTo>
                <a:lnTo>
                  <a:pt x="1" y="14"/>
                </a:lnTo>
                <a:lnTo>
                  <a:pt x="0" y="14"/>
                </a:lnTo>
                <a:lnTo>
                  <a:pt x="0" y="13"/>
                </a:lnTo>
                <a:lnTo>
                  <a:pt x="2" y="11"/>
                </a:lnTo>
                <a:lnTo>
                  <a:pt x="3" y="10"/>
                </a:lnTo>
                <a:lnTo>
                  <a:pt x="2" y="9"/>
                </a:lnTo>
                <a:lnTo>
                  <a:pt x="3" y="8"/>
                </a:lnTo>
                <a:lnTo>
                  <a:pt x="5" y="7"/>
                </a:lnTo>
                <a:lnTo>
                  <a:pt x="7" y="7"/>
                </a:lnTo>
                <a:lnTo>
                  <a:pt x="7" y="8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82" name="Freeform 1583"/>
          <p:cNvSpPr>
            <a:spLocks/>
          </p:cNvSpPr>
          <p:nvPr/>
        </p:nvSpPr>
        <p:spPr bwMode="auto">
          <a:xfrm>
            <a:off x="2924175" y="2141503"/>
            <a:ext cx="53975" cy="23813"/>
          </a:xfrm>
          <a:custGeom>
            <a:avLst/>
            <a:gdLst>
              <a:gd name="T0" fmla="*/ 8 w 34"/>
              <a:gd name="T1" fmla="*/ 1 h 15"/>
              <a:gd name="T2" fmla="*/ 12 w 34"/>
              <a:gd name="T3" fmla="*/ 3 h 15"/>
              <a:gd name="T4" fmla="*/ 15 w 34"/>
              <a:gd name="T5" fmla="*/ 3 h 15"/>
              <a:gd name="T6" fmla="*/ 24 w 34"/>
              <a:gd name="T7" fmla="*/ 7 h 15"/>
              <a:gd name="T8" fmla="*/ 27 w 34"/>
              <a:gd name="T9" fmla="*/ 10 h 15"/>
              <a:gd name="T10" fmla="*/ 31 w 34"/>
              <a:gd name="T11" fmla="*/ 10 h 15"/>
              <a:gd name="T12" fmla="*/ 31 w 34"/>
              <a:gd name="T13" fmla="*/ 11 h 15"/>
              <a:gd name="T14" fmla="*/ 33 w 34"/>
              <a:gd name="T15" fmla="*/ 11 h 15"/>
              <a:gd name="T16" fmla="*/ 33 w 34"/>
              <a:gd name="T17" fmla="*/ 11 h 15"/>
              <a:gd name="T18" fmla="*/ 33 w 34"/>
              <a:gd name="T19" fmla="*/ 12 h 15"/>
              <a:gd name="T20" fmla="*/ 34 w 34"/>
              <a:gd name="T21" fmla="*/ 13 h 15"/>
              <a:gd name="T22" fmla="*/ 34 w 34"/>
              <a:gd name="T23" fmla="*/ 14 h 15"/>
              <a:gd name="T24" fmla="*/ 32 w 34"/>
              <a:gd name="T25" fmla="*/ 15 h 15"/>
              <a:gd name="T26" fmla="*/ 25 w 34"/>
              <a:gd name="T27" fmla="*/ 15 h 15"/>
              <a:gd name="T28" fmla="*/ 22 w 34"/>
              <a:gd name="T29" fmla="*/ 14 h 15"/>
              <a:gd name="T30" fmla="*/ 18 w 34"/>
              <a:gd name="T31" fmla="*/ 14 h 15"/>
              <a:gd name="T32" fmla="*/ 16 w 34"/>
              <a:gd name="T33" fmla="*/ 13 h 15"/>
              <a:gd name="T34" fmla="*/ 14 w 34"/>
              <a:gd name="T35" fmla="*/ 12 h 15"/>
              <a:gd name="T36" fmla="*/ 11 w 34"/>
              <a:gd name="T37" fmla="*/ 11 h 15"/>
              <a:gd name="T38" fmla="*/ 10 w 34"/>
              <a:gd name="T39" fmla="*/ 10 h 15"/>
              <a:gd name="T40" fmla="*/ 10 w 34"/>
              <a:gd name="T41" fmla="*/ 8 h 15"/>
              <a:gd name="T42" fmla="*/ 1 w 34"/>
              <a:gd name="T43" fmla="*/ 3 h 15"/>
              <a:gd name="T44" fmla="*/ 0 w 34"/>
              <a:gd name="T45" fmla="*/ 2 h 15"/>
              <a:gd name="T46" fmla="*/ 1 w 34"/>
              <a:gd name="T47" fmla="*/ 1 h 15"/>
              <a:gd name="T48" fmla="*/ 4 w 34"/>
              <a:gd name="T49" fmla="*/ 0 h 15"/>
              <a:gd name="T50" fmla="*/ 6 w 34"/>
              <a:gd name="T51" fmla="*/ 1 h 15"/>
              <a:gd name="T52" fmla="*/ 8 w 34"/>
              <a:gd name="T53" fmla="*/ 1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4" h="15">
                <a:moveTo>
                  <a:pt x="8" y="1"/>
                </a:moveTo>
                <a:lnTo>
                  <a:pt x="12" y="3"/>
                </a:lnTo>
                <a:lnTo>
                  <a:pt x="15" y="3"/>
                </a:lnTo>
                <a:lnTo>
                  <a:pt x="24" y="7"/>
                </a:lnTo>
                <a:lnTo>
                  <a:pt x="27" y="10"/>
                </a:lnTo>
                <a:lnTo>
                  <a:pt x="31" y="10"/>
                </a:lnTo>
                <a:lnTo>
                  <a:pt x="31" y="11"/>
                </a:lnTo>
                <a:lnTo>
                  <a:pt x="33" y="11"/>
                </a:lnTo>
                <a:lnTo>
                  <a:pt x="33" y="11"/>
                </a:lnTo>
                <a:lnTo>
                  <a:pt x="33" y="12"/>
                </a:lnTo>
                <a:lnTo>
                  <a:pt x="34" y="13"/>
                </a:lnTo>
                <a:lnTo>
                  <a:pt x="34" y="14"/>
                </a:lnTo>
                <a:lnTo>
                  <a:pt x="32" y="15"/>
                </a:lnTo>
                <a:lnTo>
                  <a:pt x="25" y="15"/>
                </a:lnTo>
                <a:lnTo>
                  <a:pt x="22" y="14"/>
                </a:lnTo>
                <a:lnTo>
                  <a:pt x="18" y="14"/>
                </a:lnTo>
                <a:lnTo>
                  <a:pt x="16" y="13"/>
                </a:lnTo>
                <a:lnTo>
                  <a:pt x="14" y="12"/>
                </a:lnTo>
                <a:lnTo>
                  <a:pt x="11" y="11"/>
                </a:lnTo>
                <a:lnTo>
                  <a:pt x="10" y="10"/>
                </a:lnTo>
                <a:lnTo>
                  <a:pt x="10" y="8"/>
                </a:lnTo>
                <a:lnTo>
                  <a:pt x="1" y="3"/>
                </a:lnTo>
                <a:lnTo>
                  <a:pt x="0" y="2"/>
                </a:lnTo>
                <a:lnTo>
                  <a:pt x="1" y="1"/>
                </a:lnTo>
                <a:lnTo>
                  <a:pt x="4" y="0"/>
                </a:lnTo>
                <a:lnTo>
                  <a:pt x="6" y="1"/>
                </a:lnTo>
                <a:lnTo>
                  <a:pt x="8" y="1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83" name="Freeform 1584"/>
          <p:cNvSpPr>
            <a:spLocks/>
          </p:cNvSpPr>
          <p:nvPr/>
        </p:nvSpPr>
        <p:spPr bwMode="auto">
          <a:xfrm>
            <a:off x="2924175" y="2141503"/>
            <a:ext cx="53975" cy="23813"/>
          </a:xfrm>
          <a:custGeom>
            <a:avLst/>
            <a:gdLst>
              <a:gd name="T0" fmla="*/ 8 w 34"/>
              <a:gd name="T1" fmla="*/ 1 h 15"/>
              <a:gd name="T2" fmla="*/ 12 w 34"/>
              <a:gd name="T3" fmla="*/ 3 h 15"/>
              <a:gd name="T4" fmla="*/ 15 w 34"/>
              <a:gd name="T5" fmla="*/ 3 h 15"/>
              <a:gd name="T6" fmla="*/ 24 w 34"/>
              <a:gd name="T7" fmla="*/ 7 h 15"/>
              <a:gd name="T8" fmla="*/ 27 w 34"/>
              <a:gd name="T9" fmla="*/ 10 h 15"/>
              <a:gd name="T10" fmla="*/ 31 w 34"/>
              <a:gd name="T11" fmla="*/ 10 h 15"/>
              <a:gd name="T12" fmla="*/ 31 w 34"/>
              <a:gd name="T13" fmla="*/ 11 h 15"/>
              <a:gd name="T14" fmla="*/ 33 w 34"/>
              <a:gd name="T15" fmla="*/ 11 h 15"/>
              <a:gd name="T16" fmla="*/ 33 w 34"/>
              <a:gd name="T17" fmla="*/ 11 h 15"/>
              <a:gd name="T18" fmla="*/ 33 w 34"/>
              <a:gd name="T19" fmla="*/ 12 h 15"/>
              <a:gd name="T20" fmla="*/ 34 w 34"/>
              <a:gd name="T21" fmla="*/ 13 h 15"/>
              <a:gd name="T22" fmla="*/ 34 w 34"/>
              <a:gd name="T23" fmla="*/ 14 h 15"/>
              <a:gd name="T24" fmla="*/ 32 w 34"/>
              <a:gd name="T25" fmla="*/ 15 h 15"/>
              <a:gd name="T26" fmla="*/ 25 w 34"/>
              <a:gd name="T27" fmla="*/ 15 h 15"/>
              <a:gd name="T28" fmla="*/ 22 w 34"/>
              <a:gd name="T29" fmla="*/ 14 h 15"/>
              <a:gd name="T30" fmla="*/ 18 w 34"/>
              <a:gd name="T31" fmla="*/ 14 h 15"/>
              <a:gd name="T32" fmla="*/ 16 w 34"/>
              <a:gd name="T33" fmla="*/ 13 h 15"/>
              <a:gd name="T34" fmla="*/ 14 w 34"/>
              <a:gd name="T35" fmla="*/ 12 h 15"/>
              <a:gd name="T36" fmla="*/ 11 w 34"/>
              <a:gd name="T37" fmla="*/ 11 h 15"/>
              <a:gd name="T38" fmla="*/ 10 w 34"/>
              <a:gd name="T39" fmla="*/ 10 h 15"/>
              <a:gd name="T40" fmla="*/ 10 w 34"/>
              <a:gd name="T41" fmla="*/ 8 h 15"/>
              <a:gd name="T42" fmla="*/ 1 w 34"/>
              <a:gd name="T43" fmla="*/ 3 h 15"/>
              <a:gd name="T44" fmla="*/ 0 w 34"/>
              <a:gd name="T45" fmla="*/ 2 h 15"/>
              <a:gd name="T46" fmla="*/ 1 w 34"/>
              <a:gd name="T47" fmla="*/ 1 h 15"/>
              <a:gd name="T48" fmla="*/ 4 w 34"/>
              <a:gd name="T49" fmla="*/ 0 h 15"/>
              <a:gd name="T50" fmla="*/ 6 w 34"/>
              <a:gd name="T51" fmla="*/ 1 h 15"/>
              <a:gd name="T52" fmla="*/ 8 w 34"/>
              <a:gd name="T53" fmla="*/ 1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4" h="15">
                <a:moveTo>
                  <a:pt x="8" y="1"/>
                </a:moveTo>
                <a:lnTo>
                  <a:pt x="12" y="3"/>
                </a:lnTo>
                <a:lnTo>
                  <a:pt x="15" y="3"/>
                </a:lnTo>
                <a:lnTo>
                  <a:pt x="24" y="7"/>
                </a:lnTo>
                <a:lnTo>
                  <a:pt x="27" y="10"/>
                </a:lnTo>
                <a:lnTo>
                  <a:pt x="31" y="10"/>
                </a:lnTo>
                <a:lnTo>
                  <a:pt x="31" y="11"/>
                </a:lnTo>
                <a:lnTo>
                  <a:pt x="33" y="11"/>
                </a:lnTo>
                <a:lnTo>
                  <a:pt x="33" y="11"/>
                </a:lnTo>
                <a:lnTo>
                  <a:pt x="33" y="12"/>
                </a:lnTo>
                <a:lnTo>
                  <a:pt x="34" y="13"/>
                </a:lnTo>
                <a:lnTo>
                  <a:pt x="34" y="14"/>
                </a:lnTo>
                <a:lnTo>
                  <a:pt x="32" y="15"/>
                </a:lnTo>
                <a:lnTo>
                  <a:pt x="25" y="15"/>
                </a:lnTo>
                <a:lnTo>
                  <a:pt x="22" y="14"/>
                </a:lnTo>
                <a:lnTo>
                  <a:pt x="18" y="14"/>
                </a:lnTo>
                <a:lnTo>
                  <a:pt x="16" y="13"/>
                </a:lnTo>
                <a:lnTo>
                  <a:pt x="14" y="12"/>
                </a:lnTo>
                <a:lnTo>
                  <a:pt x="11" y="11"/>
                </a:lnTo>
                <a:lnTo>
                  <a:pt x="10" y="10"/>
                </a:lnTo>
                <a:lnTo>
                  <a:pt x="10" y="8"/>
                </a:lnTo>
                <a:lnTo>
                  <a:pt x="1" y="3"/>
                </a:lnTo>
                <a:lnTo>
                  <a:pt x="0" y="2"/>
                </a:lnTo>
                <a:lnTo>
                  <a:pt x="1" y="1"/>
                </a:lnTo>
                <a:lnTo>
                  <a:pt x="4" y="0"/>
                </a:lnTo>
                <a:lnTo>
                  <a:pt x="6" y="1"/>
                </a:lnTo>
                <a:lnTo>
                  <a:pt x="8" y="1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84" name="Freeform 1585"/>
          <p:cNvSpPr>
            <a:spLocks/>
          </p:cNvSpPr>
          <p:nvPr/>
        </p:nvSpPr>
        <p:spPr bwMode="auto">
          <a:xfrm>
            <a:off x="1452563" y="2597115"/>
            <a:ext cx="4762" cy="4763"/>
          </a:xfrm>
          <a:custGeom>
            <a:avLst/>
            <a:gdLst>
              <a:gd name="T0" fmla="*/ 0 w 3"/>
              <a:gd name="T1" fmla="*/ 0 h 3"/>
              <a:gd name="T2" fmla="*/ 0 w 3"/>
              <a:gd name="T3" fmla="*/ 0 h 3"/>
              <a:gd name="T4" fmla="*/ 2 w 3"/>
              <a:gd name="T5" fmla="*/ 0 h 3"/>
              <a:gd name="T6" fmla="*/ 3 w 3"/>
              <a:gd name="T7" fmla="*/ 1 h 3"/>
              <a:gd name="T8" fmla="*/ 3 w 3"/>
              <a:gd name="T9" fmla="*/ 1 h 3"/>
              <a:gd name="T10" fmla="*/ 2 w 3"/>
              <a:gd name="T11" fmla="*/ 3 h 3"/>
              <a:gd name="T12" fmla="*/ 1 w 3"/>
              <a:gd name="T13" fmla="*/ 3 h 3"/>
              <a:gd name="T14" fmla="*/ 0 w 3"/>
              <a:gd name="T15" fmla="*/ 0 h 3"/>
              <a:gd name="T16" fmla="*/ 1 w 3"/>
              <a:gd name="T17" fmla="*/ 3 h 3"/>
              <a:gd name="T18" fmla="*/ 0 w 3"/>
              <a:gd name="T1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" h="3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3" y="1"/>
                </a:lnTo>
                <a:lnTo>
                  <a:pt x="3" y="1"/>
                </a:lnTo>
                <a:lnTo>
                  <a:pt x="2" y="3"/>
                </a:lnTo>
                <a:lnTo>
                  <a:pt x="1" y="3"/>
                </a:lnTo>
                <a:lnTo>
                  <a:pt x="0" y="0"/>
                </a:lnTo>
                <a:lnTo>
                  <a:pt x="1" y="3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85" name="Freeform 1586"/>
          <p:cNvSpPr>
            <a:spLocks/>
          </p:cNvSpPr>
          <p:nvPr/>
        </p:nvSpPr>
        <p:spPr bwMode="auto">
          <a:xfrm>
            <a:off x="1452563" y="2597115"/>
            <a:ext cx="4762" cy="4763"/>
          </a:xfrm>
          <a:custGeom>
            <a:avLst/>
            <a:gdLst>
              <a:gd name="T0" fmla="*/ 0 w 3"/>
              <a:gd name="T1" fmla="*/ 0 h 3"/>
              <a:gd name="T2" fmla="*/ 0 w 3"/>
              <a:gd name="T3" fmla="*/ 0 h 3"/>
              <a:gd name="T4" fmla="*/ 2 w 3"/>
              <a:gd name="T5" fmla="*/ 0 h 3"/>
              <a:gd name="T6" fmla="*/ 3 w 3"/>
              <a:gd name="T7" fmla="*/ 1 h 3"/>
              <a:gd name="T8" fmla="*/ 3 w 3"/>
              <a:gd name="T9" fmla="*/ 1 h 3"/>
              <a:gd name="T10" fmla="*/ 2 w 3"/>
              <a:gd name="T11" fmla="*/ 3 h 3"/>
              <a:gd name="T12" fmla="*/ 1 w 3"/>
              <a:gd name="T13" fmla="*/ 3 h 3"/>
              <a:gd name="T14" fmla="*/ 0 w 3"/>
              <a:gd name="T15" fmla="*/ 0 h 3"/>
              <a:gd name="T16" fmla="*/ 1 w 3"/>
              <a:gd name="T17" fmla="*/ 3 h 3"/>
              <a:gd name="T18" fmla="*/ 0 w 3"/>
              <a:gd name="T1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" h="3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3" y="1"/>
                </a:lnTo>
                <a:lnTo>
                  <a:pt x="3" y="1"/>
                </a:lnTo>
                <a:lnTo>
                  <a:pt x="2" y="3"/>
                </a:lnTo>
                <a:lnTo>
                  <a:pt x="1" y="3"/>
                </a:lnTo>
                <a:lnTo>
                  <a:pt x="0" y="0"/>
                </a:lnTo>
                <a:lnTo>
                  <a:pt x="1" y="3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86" name="Freeform 1587"/>
          <p:cNvSpPr>
            <a:spLocks/>
          </p:cNvSpPr>
          <p:nvPr/>
        </p:nvSpPr>
        <p:spPr bwMode="auto">
          <a:xfrm>
            <a:off x="1462088" y="2595528"/>
            <a:ext cx="7937" cy="3175"/>
          </a:xfrm>
          <a:custGeom>
            <a:avLst/>
            <a:gdLst>
              <a:gd name="T0" fmla="*/ 1 w 5"/>
              <a:gd name="T1" fmla="*/ 0 h 2"/>
              <a:gd name="T2" fmla="*/ 2 w 5"/>
              <a:gd name="T3" fmla="*/ 1 h 2"/>
              <a:gd name="T4" fmla="*/ 5 w 5"/>
              <a:gd name="T5" fmla="*/ 1 h 2"/>
              <a:gd name="T6" fmla="*/ 5 w 5"/>
              <a:gd name="T7" fmla="*/ 1 h 2"/>
              <a:gd name="T8" fmla="*/ 4 w 5"/>
              <a:gd name="T9" fmla="*/ 1 h 2"/>
              <a:gd name="T10" fmla="*/ 1 w 5"/>
              <a:gd name="T11" fmla="*/ 2 h 2"/>
              <a:gd name="T12" fmla="*/ 0 w 5"/>
              <a:gd name="T13" fmla="*/ 2 h 2"/>
              <a:gd name="T14" fmla="*/ 1 w 5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2">
                <a:moveTo>
                  <a:pt x="1" y="0"/>
                </a:moveTo>
                <a:lnTo>
                  <a:pt x="2" y="1"/>
                </a:lnTo>
                <a:lnTo>
                  <a:pt x="5" y="1"/>
                </a:lnTo>
                <a:lnTo>
                  <a:pt x="5" y="1"/>
                </a:lnTo>
                <a:lnTo>
                  <a:pt x="4" y="1"/>
                </a:lnTo>
                <a:lnTo>
                  <a:pt x="1" y="2"/>
                </a:lnTo>
                <a:lnTo>
                  <a:pt x="0" y="2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87" name="Freeform 1588"/>
          <p:cNvSpPr>
            <a:spLocks/>
          </p:cNvSpPr>
          <p:nvPr/>
        </p:nvSpPr>
        <p:spPr bwMode="auto">
          <a:xfrm>
            <a:off x="1462088" y="2595528"/>
            <a:ext cx="7937" cy="3175"/>
          </a:xfrm>
          <a:custGeom>
            <a:avLst/>
            <a:gdLst>
              <a:gd name="T0" fmla="*/ 1 w 5"/>
              <a:gd name="T1" fmla="*/ 0 h 2"/>
              <a:gd name="T2" fmla="*/ 2 w 5"/>
              <a:gd name="T3" fmla="*/ 1 h 2"/>
              <a:gd name="T4" fmla="*/ 5 w 5"/>
              <a:gd name="T5" fmla="*/ 1 h 2"/>
              <a:gd name="T6" fmla="*/ 5 w 5"/>
              <a:gd name="T7" fmla="*/ 1 h 2"/>
              <a:gd name="T8" fmla="*/ 4 w 5"/>
              <a:gd name="T9" fmla="*/ 1 h 2"/>
              <a:gd name="T10" fmla="*/ 1 w 5"/>
              <a:gd name="T11" fmla="*/ 2 h 2"/>
              <a:gd name="T12" fmla="*/ 0 w 5"/>
              <a:gd name="T13" fmla="*/ 2 h 2"/>
              <a:gd name="T14" fmla="*/ 1 w 5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2">
                <a:moveTo>
                  <a:pt x="1" y="0"/>
                </a:moveTo>
                <a:lnTo>
                  <a:pt x="2" y="1"/>
                </a:lnTo>
                <a:lnTo>
                  <a:pt x="5" y="1"/>
                </a:lnTo>
                <a:lnTo>
                  <a:pt x="5" y="1"/>
                </a:lnTo>
                <a:lnTo>
                  <a:pt x="4" y="1"/>
                </a:lnTo>
                <a:lnTo>
                  <a:pt x="1" y="2"/>
                </a:lnTo>
                <a:lnTo>
                  <a:pt x="0" y="2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88" name="Freeform 1589"/>
          <p:cNvSpPr>
            <a:spLocks/>
          </p:cNvSpPr>
          <p:nvPr/>
        </p:nvSpPr>
        <p:spPr bwMode="auto">
          <a:xfrm>
            <a:off x="1487488" y="2612990"/>
            <a:ext cx="4762" cy="6350"/>
          </a:xfrm>
          <a:custGeom>
            <a:avLst/>
            <a:gdLst>
              <a:gd name="T0" fmla="*/ 1 w 3"/>
              <a:gd name="T1" fmla="*/ 0 h 4"/>
              <a:gd name="T2" fmla="*/ 0 w 3"/>
              <a:gd name="T3" fmla="*/ 0 h 4"/>
              <a:gd name="T4" fmla="*/ 1 w 3"/>
              <a:gd name="T5" fmla="*/ 0 h 4"/>
              <a:gd name="T6" fmla="*/ 1 w 3"/>
              <a:gd name="T7" fmla="*/ 1 h 4"/>
              <a:gd name="T8" fmla="*/ 3 w 3"/>
              <a:gd name="T9" fmla="*/ 1 h 4"/>
              <a:gd name="T10" fmla="*/ 3 w 3"/>
              <a:gd name="T11" fmla="*/ 2 h 4"/>
              <a:gd name="T12" fmla="*/ 3 w 3"/>
              <a:gd name="T13" fmla="*/ 4 h 4"/>
              <a:gd name="T14" fmla="*/ 1 w 3"/>
              <a:gd name="T15" fmla="*/ 4 h 4"/>
              <a:gd name="T16" fmla="*/ 1 w 3"/>
              <a:gd name="T17" fmla="*/ 2 h 4"/>
              <a:gd name="T18" fmla="*/ 1 w 3"/>
              <a:gd name="T19" fmla="*/ 1 h 4"/>
              <a:gd name="T20" fmla="*/ 1 w 3"/>
              <a:gd name="T2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" h="4">
                <a:moveTo>
                  <a:pt x="1" y="0"/>
                </a:moveTo>
                <a:lnTo>
                  <a:pt x="0" y="0"/>
                </a:lnTo>
                <a:lnTo>
                  <a:pt x="1" y="0"/>
                </a:lnTo>
                <a:lnTo>
                  <a:pt x="1" y="1"/>
                </a:lnTo>
                <a:lnTo>
                  <a:pt x="3" y="1"/>
                </a:lnTo>
                <a:lnTo>
                  <a:pt x="3" y="2"/>
                </a:lnTo>
                <a:lnTo>
                  <a:pt x="3" y="4"/>
                </a:lnTo>
                <a:lnTo>
                  <a:pt x="1" y="4"/>
                </a:lnTo>
                <a:lnTo>
                  <a:pt x="1" y="2"/>
                </a:lnTo>
                <a:lnTo>
                  <a:pt x="1" y="1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89" name="Freeform 1590"/>
          <p:cNvSpPr>
            <a:spLocks/>
          </p:cNvSpPr>
          <p:nvPr/>
        </p:nvSpPr>
        <p:spPr bwMode="auto">
          <a:xfrm>
            <a:off x="1487488" y="2612990"/>
            <a:ext cx="4762" cy="6350"/>
          </a:xfrm>
          <a:custGeom>
            <a:avLst/>
            <a:gdLst>
              <a:gd name="T0" fmla="*/ 1 w 3"/>
              <a:gd name="T1" fmla="*/ 0 h 4"/>
              <a:gd name="T2" fmla="*/ 0 w 3"/>
              <a:gd name="T3" fmla="*/ 0 h 4"/>
              <a:gd name="T4" fmla="*/ 1 w 3"/>
              <a:gd name="T5" fmla="*/ 0 h 4"/>
              <a:gd name="T6" fmla="*/ 1 w 3"/>
              <a:gd name="T7" fmla="*/ 1 h 4"/>
              <a:gd name="T8" fmla="*/ 3 w 3"/>
              <a:gd name="T9" fmla="*/ 1 h 4"/>
              <a:gd name="T10" fmla="*/ 3 w 3"/>
              <a:gd name="T11" fmla="*/ 2 h 4"/>
              <a:gd name="T12" fmla="*/ 3 w 3"/>
              <a:gd name="T13" fmla="*/ 4 h 4"/>
              <a:gd name="T14" fmla="*/ 1 w 3"/>
              <a:gd name="T15" fmla="*/ 4 h 4"/>
              <a:gd name="T16" fmla="*/ 1 w 3"/>
              <a:gd name="T17" fmla="*/ 2 h 4"/>
              <a:gd name="T18" fmla="*/ 1 w 3"/>
              <a:gd name="T19" fmla="*/ 1 h 4"/>
              <a:gd name="T20" fmla="*/ 1 w 3"/>
              <a:gd name="T2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" h="4">
                <a:moveTo>
                  <a:pt x="1" y="0"/>
                </a:moveTo>
                <a:lnTo>
                  <a:pt x="0" y="0"/>
                </a:lnTo>
                <a:lnTo>
                  <a:pt x="1" y="0"/>
                </a:lnTo>
                <a:lnTo>
                  <a:pt x="1" y="1"/>
                </a:lnTo>
                <a:lnTo>
                  <a:pt x="3" y="1"/>
                </a:lnTo>
                <a:lnTo>
                  <a:pt x="3" y="2"/>
                </a:lnTo>
                <a:lnTo>
                  <a:pt x="3" y="4"/>
                </a:lnTo>
                <a:lnTo>
                  <a:pt x="1" y="4"/>
                </a:lnTo>
                <a:lnTo>
                  <a:pt x="1" y="2"/>
                </a:lnTo>
                <a:lnTo>
                  <a:pt x="1" y="1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90" name="Freeform 1591"/>
          <p:cNvSpPr>
            <a:spLocks/>
          </p:cNvSpPr>
          <p:nvPr/>
        </p:nvSpPr>
        <p:spPr bwMode="auto">
          <a:xfrm>
            <a:off x="1481138" y="2625690"/>
            <a:ext cx="4762" cy="6350"/>
          </a:xfrm>
          <a:custGeom>
            <a:avLst/>
            <a:gdLst>
              <a:gd name="T0" fmla="*/ 1 w 3"/>
              <a:gd name="T1" fmla="*/ 0 h 4"/>
              <a:gd name="T2" fmla="*/ 1 w 3"/>
              <a:gd name="T3" fmla="*/ 0 h 4"/>
              <a:gd name="T4" fmla="*/ 1 w 3"/>
              <a:gd name="T5" fmla="*/ 0 h 4"/>
              <a:gd name="T6" fmla="*/ 1 w 3"/>
              <a:gd name="T7" fmla="*/ 2 h 4"/>
              <a:gd name="T8" fmla="*/ 2 w 3"/>
              <a:gd name="T9" fmla="*/ 3 h 4"/>
              <a:gd name="T10" fmla="*/ 3 w 3"/>
              <a:gd name="T11" fmla="*/ 4 h 4"/>
              <a:gd name="T12" fmla="*/ 1 w 3"/>
              <a:gd name="T13" fmla="*/ 4 h 4"/>
              <a:gd name="T14" fmla="*/ 0 w 3"/>
              <a:gd name="T15" fmla="*/ 1 h 4"/>
              <a:gd name="T16" fmla="*/ 1 w 3"/>
              <a:gd name="T1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4">
                <a:moveTo>
                  <a:pt x="1" y="0"/>
                </a:moveTo>
                <a:lnTo>
                  <a:pt x="1" y="0"/>
                </a:lnTo>
                <a:lnTo>
                  <a:pt x="1" y="0"/>
                </a:lnTo>
                <a:lnTo>
                  <a:pt x="1" y="2"/>
                </a:lnTo>
                <a:lnTo>
                  <a:pt x="2" y="3"/>
                </a:lnTo>
                <a:lnTo>
                  <a:pt x="3" y="4"/>
                </a:lnTo>
                <a:lnTo>
                  <a:pt x="1" y="4"/>
                </a:lnTo>
                <a:lnTo>
                  <a:pt x="0" y="1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91" name="Freeform 1592"/>
          <p:cNvSpPr>
            <a:spLocks/>
          </p:cNvSpPr>
          <p:nvPr/>
        </p:nvSpPr>
        <p:spPr bwMode="auto">
          <a:xfrm>
            <a:off x="1481138" y="2625690"/>
            <a:ext cx="4762" cy="6350"/>
          </a:xfrm>
          <a:custGeom>
            <a:avLst/>
            <a:gdLst>
              <a:gd name="T0" fmla="*/ 1 w 3"/>
              <a:gd name="T1" fmla="*/ 0 h 4"/>
              <a:gd name="T2" fmla="*/ 1 w 3"/>
              <a:gd name="T3" fmla="*/ 0 h 4"/>
              <a:gd name="T4" fmla="*/ 1 w 3"/>
              <a:gd name="T5" fmla="*/ 0 h 4"/>
              <a:gd name="T6" fmla="*/ 1 w 3"/>
              <a:gd name="T7" fmla="*/ 2 h 4"/>
              <a:gd name="T8" fmla="*/ 2 w 3"/>
              <a:gd name="T9" fmla="*/ 3 h 4"/>
              <a:gd name="T10" fmla="*/ 3 w 3"/>
              <a:gd name="T11" fmla="*/ 4 h 4"/>
              <a:gd name="T12" fmla="*/ 1 w 3"/>
              <a:gd name="T13" fmla="*/ 4 h 4"/>
              <a:gd name="T14" fmla="*/ 0 w 3"/>
              <a:gd name="T15" fmla="*/ 1 h 4"/>
              <a:gd name="T16" fmla="*/ 1 w 3"/>
              <a:gd name="T1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4">
                <a:moveTo>
                  <a:pt x="1" y="0"/>
                </a:moveTo>
                <a:lnTo>
                  <a:pt x="1" y="0"/>
                </a:lnTo>
                <a:lnTo>
                  <a:pt x="1" y="0"/>
                </a:lnTo>
                <a:lnTo>
                  <a:pt x="1" y="2"/>
                </a:lnTo>
                <a:lnTo>
                  <a:pt x="2" y="3"/>
                </a:lnTo>
                <a:lnTo>
                  <a:pt x="3" y="4"/>
                </a:lnTo>
                <a:lnTo>
                  <a:pt x="1" y="4"/>
                </a:lnTo>
                <a:lnTo>
                  <a:pt x="0" y="1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92" name="Freeform 1593"/>
          <p:cNvSpPr>
            <a:spLocks/>
          </p:cNvSpPr>
          <p:nvPr/>
        </p:nvSpPr>
        <p:spPr bwMode="auto">
          <a:xfrm>
            <a:off x="1452563" y="2597115"/>
            <a:ext cx="4762" cy="4763"/>
          </a:xfrm>
          <a:custGeom>
            <a:avLst/>
            <a:gdLst>
              <a:gd name="T0" fmla="*/ 0 w 3"/>
              <a:gd name="T1" fmla="*/ 0 h 3"/>
              <a:gd name="T2" fmla="*/ 0 w 3"/>
              <a:gd name="T3" fmla="*/ 0 h 3"/>
              <a:gd name="T4" fmla="*/ 2 w 3"/>
              <a:gd name="T5" fmla="*/ 0 h 3"/>
              <a:gd name="T6" fmla="*/ 3 w 3"/>
              <a:gd name="T7" fmla="*/ 1 h 3"/>
              <a:gd name="T8" fmla="*/ 3 w 3"/>
              <a:gd name="T9" fmla="*/ 1 h 3"/>
              <a:gd name="T10" fmla="*/ 2 w 3"/>
              <a:gd name="T11" fmla="*/ 3 h 3"/>
              <a:gd name="T12" fmla="*/ 1 w 3"/>
              <a:gd name="T13" fmla="*/ 3 h 3"/>
              <a:gd name="T14" fmla="*/ 0 w 3"/>
              <a:gd name="T15" fmla="*/ 0 h 3"/>
              <a:gd name="T16" fmla="*/ 1 w 3"/>
              <a:gd name="T17" fmla="*/ 3 h 3"/>
              <a:gd name="T18" fmla="*/ 0 w 3"/>
              <a:gd name="T1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" h="3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3" y="1"/>
                </a:lnTo>
                <a:lnTo>
                  <a:pt x="3" y="1"/>
                </a:lnTo>
                <a:lnTo>
                  <a:pt x="2" y="3"/>
                </a:lnTo>
                <a:lnTo>
                  <a:pt x="1" y="3"/>
                </a:lnTo>
                <a:lnTo>
                  <a:pt x="0" y="0"/>
                </a:lnTo>
                <a:lnTo>
                  <a:pt x="1" y="3"/>
                </a:lnTo>
                <a:lnTo>
                  <a:pt x="0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93" name="Freeform 1594"/>
          <p:cNvSpPr>
            <a:spLocks/>
          </p:cNvSpPr>
          <p:nvPr/>
        </p:nvSpPr>
        <p:spPr bwMode="auto">
          <a:xfrm>
            <a:off x="1452563" y="2597115"/>
            <a:ext cx="4762" cy="4763"/>
          </a:xfrm>
          <a:custGeom>
            <a:avLst/>
            <a:gdLst>
              <a:gd name="T0" fmla="*/ 0 w 3"/>
              <a:gd name="T1" fmla="*/ 0 h 3"/>
              <a:gd name="T2" fmla="*/ 0 w 3"/>
              <a:gd name="T3" fmla="*/ 0 h 3"/>
              <a:gd name="T4" fmla="*/ 2 w 3"/>
              <a:gd name="T5" fmla="*/ 0 h 3"/>
              <a:gd name="T6" fmla="*/ 3 w 3"/>
              <a:gd name="T7" fmla="*/ 1 h 3"/>
              <a:gd name="T8" fmla="*/ 3 w 3"/>
              <a:gd name="T9" fmla="*/ 1 h 3"/>
              <a:gd name="T10" fmla="*/ 2 w 3"/>
              <a:gd name="T11" fmla="*/ 3 h 3"/>
              <a:gd name="T12" fmla="*/ 1 w 3"/>
              <a:gd name="T13" fmla="*/ 3 h 3"/>
              <a:gd name="T14" fmla="*/ 0 w 3"/>
              <a:gd name="T15" fmla="*/ 0 h 3"/>
              <a:gd name="T16" fmla="*/ 1 w 3"/>
              <a:gd name="T17" fmla="*/ 3 h 3"/>
              <a:gd name="T18" fmla="*/ 0 w 3"/>
              <a:gd name="T19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" h="3">
                <a:moveTo>
                  <a:pt x="0" y="0"/>
                </a:moveTo>
                <a:lnTo>
                  <a:pt x="0" y="0"/>
                </a:lnTo>
                <a:lnTo>
                  <a:pt x="2" y="0"/>
                </a:lnTo>
                <a:lnTo>
                  <a:pt x="3" y="1"/>
                </a:lnTo>
                <a:lnTo>
                  <a:pt x="3" y="1"/>
                </a:lnTo>
                <a:lnTo>
                  <a:pt x="2" y="3"/>
                </a:lnTo>
                <a:lnTo>
                  <a:pt x="1" y="3"/>
                </a:lnTo>
                <a:lnTo>
                  <a:pt x="0" y="0"/>
                </a:lnTo>
                <a:lnTo>
                  <a:pt x="1" y="3"/>
                </a:lnTo>
                <a:lnTo>
                  <a:pt x="0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94" name="Freeform 1595"/>
          <p:cNvSpPr>
            <a:spLocks/>
          </p:cNvSpPr>
          <p:nvPr/>
        </p:nvSpPr>
        <p:spPr bwMode="auto">
          <a:xfrm>
            <a:off x="1462088" y="2595528"/>
            <a:ext cx="7937" cy="3175"/>
          </a:xfrm>
          <a:custGeom>
            <a:avLst/>
            <a:gdLst>
              <a:gd name="T0" fmla="*/ 1 w 5"/>
              <a:gd name="T1" fmla="*/ 0 h 2"/>
              <a:gd name="T2" fmla="*/ 2 w 5"/>
              <a:gd name="T3" fmla="*/ 1 h 2"/>
              <a:gd name="T4" fmla="*/ 5 w 5"/>
              <a:gd name="T5" fmla="*/ 1 h 2"/>
              <a:gd name="T6" fmla="*/ 5 w 5"/>
              <a:gd name="T7" fmla="*/ 1 h 2"/>
              <a:gd name="T8" fmla="*/ 4 w 5"/>
              <a:gd name="T9" fmla="*/ 1 h 2"/>
              <a:gd name="T10" fmla="*/ 1 w 5"/>
              <a:gd name="T11" fmla="*/ 2 h 2"/>
              <a:gd name="T12" fmla="*/ 0 w 5"/>
              <a:gd name="T13" fmla="*/ 2 h 2"/>
              <a:gd name="T14" fmla="*/ 1 w 5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2">
                <a:moveTo>
                  <a:pt x="1" y="0"/>
                </a:moveTo>
                <a:lnTo>
                  <a:pt x="2" y="1"/>
                </a:lnTo>
                <a:lnTo>
                  <a:pt x="5" y="1"/>
                </a:lnTo>
                <a:lnTo>
                  <a:pt x="5" y="1"/>
                </a:lnTo>
                <a:lnTo>
                  <a:pt x="4" y="1"/>
                </a:lnTo>
                <a:lnTo>
                  <a:pt x="1" y="2"/>
                </a:lnTo>
                <a:lnTo>
                  <a:pt x="0" y="2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95" name="Freeform 1596"/>
          <p:cNvSpPr>
            <a:spLocks/>
          </p:cNvSpPr>
          <p:nvPr/>
        </p:nvSpPr>
        <p:spPr bwMode="auto">
          <a:xfrm>
            <a:off x="1462088" y="2595528"/>
            <a:ext cx="7937" cy="3175"/>
          </a:xfrm>
          <a:custGeom>
            <a:avLst/>
            <a:gdLst>
              <a:gd name="T0" fmla="*/ 1 w 5"/>
              <a:gd name="T1" fmla="*/ 0 h 2"/>
              <a:gd name="T2" fmla="*/ 2 w 5"/>
              <a:gd name="T3" fmla="*/ 1 h 2"/>
              <a:gd name="T4" fmla="*/ 5 w 5"/>
              <a:gd name="T5" fmla="*/ 1 h 2"/>
              <a:gd name="T6" fmla="*/ 5 w 5"/>
              <a:gd name="T7" fmla="*/ 1 h 2"/>
              <a:gd name="T8" fmla="*/ 4 w 5"/>
              <a:gd name="T9" fmla="*/ 1 h 2"/>
              <a:gd name="T10" fmla="*/ 1 w 5"/>
              <a:gd name="T11" fmla="*/ 2 h 2"/>
              <a:gd name="T12" fmla="*/ 0 w 5"/>
              <a:gd name="T13" fmla="*/ 2 h 2"/>
              <a:gd name="T14" fmla="*/ 1 w 5"/>
              <a:gd name="T15" fmla="*/ 0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" h="2">
                <a:moveTo>
                  <a:pt x="1" y="0"/>
                </a:moveTo>
                <a:lnTo>
                  <a:pt x="2" y="1"/>
                </a:lnTo>
                <a:lnTo>
                  <a:pt x="5" y="1"/>
                </a:lnTo>
                <a:lnTo>
                  <a:pt x="5" y="1"/>
                </a:lnTo>
                <a:lnTo>
                  <a:pt x="4" y="1"/>
                </a:lnTo>
                <a:lnTo>
                  <a:pt x="1" y="2"/>
                </a:lnTo>
                <a:lnTo>
                  <a:pt x="0" y="2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96" name="Freeform 1597"/>
          <p:cNvSpPr>
            <a:spLocks/>
          </p:cNvSpPr>
          <p:nvPr/>
        </p:nvSpPr>
        <p:spPr bwMode="auto">
          <a:xfrm>
            <a:off x="1487488" y="2612990"/>
            <a:ext cx="4762" cy="6350"/>
          </a:xfrm>
          <a:custGeom>
            <a:avLst/>
            <a:gdLst>
              <a:gd name="T0" fmla="*/ 1 w 3"/>
              <a:gd name="T1" fmla="*/ 0 h 4"/>
              <a:gd name="T2" fmla="*/ 0 w 3"/>
              <a:gd name="T3" fmla="*/ 0 h 4"/>
              <a:gd name="T4" fmla="*/ 1 w 3"/>
              <a:gd name="T5" fmla="*/ 0 h 4"/>
              <a:gd name="T6" fmla="*/ 1 w 3"/>
              <a:gd name="T7" fmla="*/ 1 h 4"/>
              <a:gd name="T8" fmla="*/ 3 w 3"/>
              <a:gd name="T9" fmla="*/ 1 h 4"/>
              <a:gd name="T10" fmla="*/ 3 w 3"/>
              <a:gd name="T11" fmla="*/ 2 h 4"/>
              <a:gd name="T12" fmla="*/ 3 w 3"/>
              <a:gd name="T13" fmla="*/ 4 h 4"/>
              <a:gd name="T14" fmla="*/ 1 w 3"/>
              <a:gd name="T15" fmla="*/ 4 h 4"/>
              <a:gd name="T16" fmla="*/ 1 w 3"/>
              <a:gd name="T17" fmla="*/ 2 h 4"/>
              <a:gd name="T18" fmla="*/ 1 w 3"/>
              <a:gd name="T19" fmla="*/ 1 h 4"/>
              <a:gd name="T20" fmla="*/ 1 w 3"/>
              <a:gd name="T2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" h="4">
                <a:moveTo>
                  <a:pt x="1" y="0"/>
                </a:moveTo>
                <a:lnTo>
                  <a:pt x="0" y="0"/>
                </a:lnTo>
                <a:lnTo>
                  <a:pt x="1" y="0"/>
                </a:lnTo>
                <a:lnTo>
                  <a:pt x="1" y="1"/>
                </a:lnTo>
                <a:lnTo>
                  <a:pt x="3" y="1"/>
                </a:lnTo>
                <a:lnTo>
                  <a:pt x="3" y="2"/>
                </a:lnTo>
                <a:lnTo>
                  <a:pt x="3" y="4"/>
                </a:lnTo>
                <a:lnTo>
                  <a:pt x="1" y="4"/>
                </a:lnTo>
                <a:lnTo>
                  <a:pt x="1" y="2"/>
                </a:lnTo>
                <a:lnTo>
                  <a:pt x="1" y="1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97" name="Freeform 1598"/>
          <p:cNvSpPr>
            <a:spLocks/>
          </p:cNvSpPr>
          <p:nvPr/>
        </p:nvSpPr>
        <p:spPr bwMode="auto">
          <a:xfrm>
            <a:off x="1487488" y="2612990"/>
            <a:ext cx="4762" cy="6350"/>
          </a:xfrm>
          <a:custGeom>
            <a:avLst/>
            <a:gdLst>
              <a:gd name="T0" fmla="*/ 1 w 3"/>
              <a:gd name="T1" fmla="*/ 0 h 4"/>
              <a:gd name="T2" fmla="*/ 0 w 3"/>
              <a:gd name="T3" fmla="*/ 0 h 4"/>
              <a:gd name="T4" fmla="*/ 1 w 3"/>
              <a:gd name="T5" fmla="*/ 0 h 4"/>
              <a:gd name="T6" fmla="*/ 1 w 3"/>
              <a:gd name="T7" fmla="*/ 1 h 4"/>
              <a:gd name="T8" fmla="*/ 3 w 3"/>
              <a:gd name="T9" fmla="*/ 1 h 4"/>
              <a:gd name="T10" fmla="*/ 3 w 3"/>
              <a:gd name="T11" fmla="*/ 2 h 4"/>
              <a:gd name="T12" fmla="*/ 3 w 3"/>
              <a:gd name="T13" fmla="*/ 4 h 4"/>
              <a:gd name="T14" fmla="*/ 1 w 3"/>
              <a:gd name="T15" fmla="*/ 4 h 4"/>
              <a:gd name="T16" fmla="*/ 1 w 3"/>
              <a:gd name="T17" fmla="*/ 2 h 4"/>
              <a:gd name="T18" fmla="*/ 1 w 3"/>
              <a:gd name="T19" fmla="*/ 1 h 4"/>
              <a:gd name="T20" fmla="*/ 1 w 3"/>
              <a:gd name="T21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" h="4">
                <a:moveTo>
                  <a:pt x="1" y="0"/>
                </a:moveTo>
                <a:lnTo>
                  <a:pt x="0" y="0"/>
                </a:lnTo>
                <a:lnTo>
                  <a:pt x="1" y="0"/>
                </a:lnTo>
                <a:lnTo>
                  <a:pt x="1" y="1"/>
                </a:lnTo>
                <a:lnTo>
                  <a:pt x="3" y="1"/>
                </a:lnTo>
                <a:lnTo>
                  <a:pt x="3" y="2"/>
                </a:lnTo>
                <a:lnTo>
                  <a:pt x="3" y="4"/>
                </a:lnTo>
                <a:lnTo>
                  <a:pt x="1" y="4"/>
                </a:lnTo>
                <a:lnTo>
                  <a:pt x="1" y="2"/>
                </a:lnTo>
                <a:lnTo>
                  <a:pt x="1" y="1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98" name="Freeform 1599"/>
          <p:cNvSpPr>
            <a:spLocks/>
          </p:cNvSpPr>
          <p:nvPr/>
        </p:nvSpPr>
        <p:spPr bwMode="auto">
          <a:xfrm>
            <a:off x="1481138" y="2625690"/>
            <a:ext cx="4762" cy="6350"/>
          </a:xfrm>
          <a:custGeom>
            <a:avLst/>
            <a:gdLst>
              <a:gd name="T0" fmla="*/ 1 w 3"/>
              <a:gd name="T1" fmla="*/ 0 h 4"/>
              <a:gd name="T2" fmla="*/ 1 w 3"/>
              <a:gd name="T3" fmla="*/ 0 h 4"/>
              <a:gd name="T4" fmla="*/ 1 w 3"/>
              <a:gd name="T5" fmla="*/ 0 h 4"/>
              <a:gd name="T6" fmla="*/ 1 w 3"/>
              <a:gd name="T7" fmla="*/ 2 h 4"/>
              <a:gd name="T8" fmla="*/ 2 w 3"/>
              <a:gd name="T9" fmla="*/ 3 h 4"/>
              <a:gd name="T10" fmla="*/ 3 w 3"/>
              <a:gd name="T11" fmla="*/ 4 h 4"/>
              <a:gd name="T12" fmla="*/ 1 w 3"/>
              <a:gd name="T13" fmla="*/ 4 h 4"/>
              <a:gd name="T14" fmla="*/ 0 w 3"/>
              <a:gd name="T15" fmla="*/ 1 h 4"/>
              <a:gd name="T16" fmla="*/ 1 w 3"/>
              <a:gd name="T1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4">
                <a:moveTo>
                  <a:pt x="1" y="0"/>
                </a:moveTo>
                <a:lnTo>
                  <a:pt x="1" y="0"/>
                </a:lnTo>
                <a:lnTo>
                  <a:pt x="1" y="0"/>
                </a:lnTo>
                <a:lnTo>
                  <a:pt x="1" y="2"/>
                </a:lnTo>
                <a:lnTo>
                  <a:pt x="2" y="3"/>
                </a:lnTo>
                <a:lnTo>
                  <a:pt x="3" y="4"/>
                </a:lnTo>
                <a:lnTo>
                  <a:pt x="1" y="4"/>
                </a:lnTo>
                <a:lnTo>
                  <a:pt x="0" y="1"/>
                </a:lnTo>
                <a:lnTo>
                  <a:pt x="1" y="0"/>
                </a:lnTo>
                <a:close/>
              </a:path>
            </a:pathLst>
          </a:custGeom>
          <a:solidFill>
            <a:srgbClr val="CBC7BF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599" name="Freeform 1600"/>
          <p:cNvSpPr>
            <a:spLocks/>
          </p:cNvSpPr>
          <p:nvPr/>
        </p:nvSpPr>
        <p:spPr bwMode="auto">
          <a:xfrm>
            <a:off x="1481138" y="2625690"/>
            <a:ext cx="4762" cy="6350"/>
          </a:xfrm>
          <a:custGeom>
            <a:avLst/>
            <a:gdLst>
              <a:gd name="T0" fmla="*/ 1 w 3"/>
              <a:gd name="T1" fmla="*/ 0 h 4"/>
              <a:gd name="T2" fmla="*/ 1 w 3"/>
              <a:gd name="T3" fmla="*/ 0 h 4"/>
              <a:gd name="T4" fmla="*/ 1 w 3"/>
              <a:gd name="T5" fmla="*/ 0 h 4"/>
              <a:gd name="T6" fmla="*/ 1 w 3"/>
              <a:gd name="T7" fmla="*/ 2 h 4"/>
              <a:gd name="T8" fmla="*/ 2 w 3"/>
              <a:gd name="T9" fmla="*/ 3 h 4"/>
              <a:gd name="T10" fmla="*/ 3 w 3"/>
              <a:gd name="T11" fmla="*/ 4 h 4"/>
              <a:gd name="T12" fmla="*/ 1 w 3"/>
              <a:gd name="T13" fmla="*/ 4 h 4"/>
              <a:gd name="T14" fmla="*/ 0 w 3"/>
              <a:gd name="T15" fmla="*/ 1 h 4"/>
              <a:gd name="T16" fmla="*/ 1 w 3"/>
              <a:gd name="T17" fmla="*/ 0 h 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" h="4">
                <a:moveTo>
                  <a:pt x="1" y="0"/>
                </a:moveTo>
                <a:lnTo>
                  <a:pt x="1" y="0"/>
                </a:lnTo>
                <a:lnTo>
                  <a:pt x="1" y="0"/>
                </a:lnTo>
                <a:lnTo>
                  <a:pt x="1" y="2"/>
                </a:lnTo>
                <a:lnTo>
                  <a:pt x="2" y="3"/>
                </a:lnTo>
                <a:lnTo>
                  <a:pt x="3" y="4"/>
                </a:lnTo>
                <a:lnTo>
                  <a:pt x="1" y="4"/>
                </a:lnTo>
                <a:lnTo>
                  <a:pt x="0" y="1"/>
                </a:lnTo>
                <a:lnTo>
                  <a:pt x="1" y="0"/>
                </a:lnTo>
              </a:path>
            </a:pathLst>
          </a:custGeom>
          <a:solidFill>
            <a:srgbClr val="CBC7BF"/>
          </a:solidFill>
          <a:ln w="1" cap="flat">
            <a:solidFill>
              <a:srgbClr val="FFFFFF"/>
            </a:solidFill>
            <a:prstDash val="solid"/>
            <a:miter lim="800000"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b-NO" sz="1000">
              <a:solidFill>
                <a:srgbClr val="000000"/>
              </a:solidFill>
            </a:endParaRPr>
          </a:p>
        </p:txBody>
      </p:sp>
      <p:sp>
        <p:nvSpPr>
          <p:cNvPr id="1600" name="TextBox 1599"/>
          <p:cNvSpPr txBox="1"/>
          <p:nvPr/>
        </p:nvSpPr>
        <p:spPr>
          <a:xfrm>
            <a:off x="1161188" y="3608323"/>
            <a:ext cx="829073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 dirty="0" smtClean="0">
                <a:solidFill>
                  <a:srgbClr val="000000"/>
                </a:solidFill>
                <a:cs typeface="Arial"/>
              </a:rPr>
              <a:t>Peru</a:t>
            </a:r>
            <a:br>
              <a:rPr lang="nb-NO" sz="1000" dirty="0" smtClean="0">
                <a:solidFill>
                  <a:srgbClr val="000000"/>
                </a:solidFill>
                <a:cs typeface="Arial"/>
              </a:rPr>
            </a:br>
            <a:r>
              <a:rPr lang="nb-NO" sz="1000" dirty="0" smtClean="0">
                <a:solidFill>
                  <a:srgbClr val="000000"/>
                </a:solidFill>
                <a:cs typeface="Arial"/>
              </a:rPr>
              <a:t>163 MW</a:t>
            </a:r>
          </a:p>
          <a:p>
            <a:r>
              <a:rPr lang="nb-NO" sz="1000" dirty="0" smtClean="0">
                <a:solidFill>
                  <a:srgbClr val="000000"/>
                </a:solidFill>
                <a:cs typeface="Arial"/>
              </a:rPr>
              <a:t>(+ prosjekt)</a:t>
            </a:r>
            <a:endParaRPr lang="nb-NO" sz="10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601" name="TextBox 1600"/>
          <p:cNvSpPr txBox="1"/>
          <p:nvPr/>
        </p:nvSpPr>
        <p:spPr>
          <a:xfrm>
            <a:off x="1638918" y="4147672"/>
            <a:ext cx="59022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 dirty="0" smtClean="0">
                <a:solidFill>
                  <a:srgbClr val="000000"/>
                </a:solidFill>
                <a:cs typeface="Arial"/>
              </a:rPr>
              <a:t>Chile</a:t>
            </a:r>
          </a:p>
          <a:p>
            <a:r>
              <a:rPr lang="nb-NO" sz="1000" dirty="0" smtClean="0">
                <a:solidFill>
                  <a:srgbClr val="000000"/>
                </a:solidFill>
                <a:cs typeface="Arial"/>
              </a:rPr>
              <a:t>94 MW</a:t>
            </a:r>
            <a:endParaRPr lang="nb-NO" sz="10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602" name="TextBox 1601"/>
          <p:cNvSpPr txBox="1"/>
          <p:nvPr/>
        </p:nvSpPr>
        <p:spPr>
          <a:xfrm>
            <a:off x="3491098" y="3293232"/>
            <a:ext cx="942887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 dirty="0" smtClean="0">
                <a:solidFill>
                  <a:srgbClr val="000000"/>
                </a:solidFill>
                <a:cs typeface="Arial"/>
              </a:rPr>
              <a:t>Tyrkia</a:t>
            </a:r>
            <a:br>
              <a:rPr lang="nb-NO" sz="1000" dirty="0" smtClean="0">
                <a:solidFill>
                  <a:srgbClr val="000000"/>
                </a:solidFill>
                <a:cs typeface="Arial"/>
              </a:rPr>
            </a:br>
            <a:r>
              <a:rPr lang="nb-NO" sz="1000" dirty="0" smtClean="0">
                <a:solidFill>
                  <a:srgbClr val="000000"/>
                </a:solidFill>
                <a:cs typeface="Arial"/>
              </a:rPr>
              <a:t>20 MW</a:t>
            </a:r>
          </a:p>
          <a:p>
            <a:r>
              <a:rPr lang="nb-NO" sz="1000" dirty="0" smtClean="0">
                <a:solidFill>
                  <a:srgbClr val="000000"/>
                </a:solidFill>
                <a:cs typeface="Arial"/>
              </a:rPr>
              <a:t>(+ prosjekter)</a:t>
            </a:r>
            <a:endParaRPr lang="nb-NO" sz="10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603" name="TextBox 1602"/>
          <p:cNvSpPr txBox="1"/>
          <p:nvPr/>
        </p:nvSpPr>
        <p:spPr>
          <a:xfrm>
            <a:off x="7735887" y="2432016"/>
            <a:ext cx="10810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dirty="0" smtClean="0">
                <a:solidFill>
                  <a:srgbClr val="000000"/>
                </a:solidFill>
                <a:cs typeface="Arial"/>
              </a:rPr>
              <a:t>Nepal 21 MW</a:t>
            </a:r>
            <a:endParaRPr lang="nb-NO" sz="10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604" name="TextBox 1603"/>
          <p:cNvSpPr txBox="1"/>
          <p:nvPr/>
        </p:nvSpPr>
        <p:spPr>
          <a:xfrm>
            <a:off x="7809340" y="3332068"/>
            <a:ext cx="8370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 dirty="0" smtClean="0">
                <a:solidFill>
                  <a:srgbClr val="000000"/>
                </a:solidFill>
                <a:cs typeface="Arial"/>
              </a:rPr>
              <a:t>Filippinene </a:t>
            </a:r>
            <a:br>
              <a:rPr lang="nb-NO" sz="1000" dirty="0" smtClean="0">
                <a:solidFill>
                  <a:srgbClr val="000000"/>
                </a:solidFill>
                <a:cs typeface="Arial"/>
              </a:rPr>
            </a:br>
            <a:r>
              <a:rPr lang="nb-NO" sz="1000" dirty="0" smtClean="0">
                <a:solidFill>
                  <a:srgbClr val="000000"/>
                </a:solidFill>
                <a:cs typeface="Arial"/>
              </a:rPr>
              <a:t>179 MW</a:t>
            </a:r>
            <a:endParaRPr lang="nb-NO" sz="10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605" name="TextBox 1604"/>
          <p:cNvSpPr txBox="1"/>
          <p:nvPr/>
        </p:nvSpPr>
        <p:spPr>
          <a:xfrm>
            <a:off x="3487183" y="3977243"/>
            <a:ext cx="62549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 dirty="0" smtClean="0">
                <a:solidFill>
                  <a:srgbClr val="000000"/>
                </a:solidFill>
                <a:cs typeface="Arial"/>
              </a:rPr>
              <a:t>Brasil</a:t>
            </a:r>
          </a:p>
          <a:p>
            <a:r>
              <a:rPr lang="nb-NO" sz="1000" dirty="0" smtClean="0">
                <a:solidFill>
                  <a:srgbClr val="000000"/>
                </a:solidFill>
                <a:cs typeface="Arial"/>
              </a:rPr>
              <a:t>77 MW </a:t>
            </a:r>
          </a:p>
        </p:txBody>
      </p:sp>
      <p:sp>
        <p:nvSpPr>
          <p:cNvPr id="1606" name="TextBox 1605"/>
          <p:cNvSpPr txBox="1"/>
          <p:nvPr/>
        </p:nvSpPr>
        <p:spPr>
          <a:xfrm>
            <a:off x="1157288" y="3199106"/>
            <a:ext cx="13774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dirty="0" smtClean="0">
                <a:solidFill>
                  <a:srgbClr val="000000"/>
                </a:solidFill>
                <a:cs typeface="Arial"/>
              </a:rPr>
              <a:t>Panama</a:t>
            </a:r>
          </a:p>
          <a:p>
            <a:r>
              <a:rPr lang="nb-NO" sz="1000" dirty="0" smtClean="0">
                <a:solidFill>
                  <a:srgbClr val="000000"/>
                </a:solidFill>
                <a:cs typeface="Arial"/>
              </a:rPr>
              <a:t>(prosjekt)</a:t>
            </a:r>
            <a:endParaRPr lang="nb-NO" sz="10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607" name="TextBox 1606"/>
          <p:cNvSpPr txBox="1"/>
          <p:nvPr/>
        </p:nvSpPr>
        <p:spPr>
          <a:xfrm>
            <a:off x="5190741" y="4279903"/>
            <a:ext cx="61227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 dirty="0" smtClean="0">
                <a:solidFill>
                  <a:srgbClr val="000000"/>
                </a:solidFill>
                <a:cs typeface="Arial"/>
              </a:rPr>
              <a:t>Zambia</a:t>
            </a:r>
          </a:p>
          <a:p>
            <a:r>
              <a:rPr lang="nb-NO" sz="1000" dirty="0" smtClean="0">
                <a:solidFill>
                  <a:srgbClr val="000000"/>
                </a:solidFill>
                <a:cs typeface="Arial"/>
              </a:rPr>
              <a:t>7 MW</a:t>
            </a:r>
            <a:endParaRPr lang="nb-NO" sz="10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608" name="TextBox 1607"/>
          <p:cNvSpPr txBox="1"/>
          <p:nvPr/>
        </p:nvSpPr>
        <p:spPr>
          <a:xfrm>
            <a:off x="3929550" y="879570"/>
            <a:ext cx="837089" cy="40011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nb-NO" sz="1000" dirty="0" smtClean="0">
                <a:solidFill>
                  <a:srgbClr val="000000"/>
                </a:solidFill>
                <a:cs typeface="Arial"/>
              </a:rPr>
              <a:t>Norge</a:t>
            </a:r>
          </a:p>
          <a:p>
            <a:r>
              <a:rPr lang="nb-NO" sz="1000" dirty="0" smtClean="0">
                <a:solidFill>
                  <a:srgbClr val="000000"/>
                </a:solidFill>
                <a:cs typeface="Arial"/>
              </a:rPr>
              <a:t>12 518</a:t>
            </a:r>
            <a:r>
              <a:rPr lang="nb-NO" sz="1000" dirty="0" smtClean="0">
                <a:solidFill>
                  <a:srgbClr val="FF0000"/>
                </a:solidFill>
                <a:cs typeface="Arial"/>
              </a:rPr>
              <a:t> </a:t>
            </a:r>
            <a:r>
              <a:rPr lang="nb-NO" sz="1000" dirty="0" smtClean="0">
                <a:solidFill>
                  <a:srgbClr val="000000"/>
                </a:solidFill>
                <a:cs typeface="Arial"/>
              </a:rPr>
              <a:t>MW</a:t>
            </a:r>
            <a:endParaRPr lang="nb-NO" sz="10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609" name="TextBox 1608"/>
          <p:cNvSpPr txBox="1"/>
          <p:nvPr/>
        </p:nvSpPr>
        <p:spPr>
          <a:xfrm>
            <a:off x="4949825" y="1017475"/>
            <a:ext cx="76655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 dirty="0" smtClean="0">
                <a:solidFill>
                  <a:srgbClr val="000000"/>
                </a:solidFill>
                <a:cs typeface="Arial"/>
              </a:rPr>
              <a:t>Sverige</a:t>
            </a:r>
          </a:p>
          <a:p>
            <a:r>
              <a:rPr lang="nb-NO" sz="1000" dirty="0" smtClean="0">
                <a:solidFill>
                  <a:srgbClr val="000000"/>
                </a:solidFill>
                <a:cs typeface="Arial"/>
              </a:rPr>
              <a:t>1 315 MW</a:t>
            </a:r>
            <a:endParaRPr lang="nb-NO" sz="10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610" name="TextBox 1609"/>
          <p:cNvSpPr txBox="1"/>
          <p:nvPr/>
        </p:nvSpPr>
        <p:spPr>
          <a:xfrm>
            <a:off x="5859463" y="1150873"/>
            <a:ext cx="60305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 dirty="0" smtClean="0">
                <a:solidFill>
                  <a:srgbClr val="000000"/>
                </a:solidFill>
                <a:cs typeface="Arial"/>
              </a:rPr>
              <a:t>Finland</a:t>
            </a:r>
          </a:p>
          <a:p>
            <a:r>
              <a:rPr lang="nb-NO" sz="1000" dirty="0" smtClean="0">
                <a:solidFill>
                  <a:srgbClr val="000000"/>
                </a:solidFill>
                <a:cs typeface="Arial"/>
              </a:rPr>
              <a:t>66 MW</a:t>
            </a:r>
            <a:endParaRPr lang="nb-NO" sz="10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611" name="TextBox 1610"/>
          <p:cNvSpPr txBox="1"/>
          <p:nvPr/>
        </p:nvSpPr>
        <p:spPr>
          <a:xfrm>
            <a:off x="3166846" y="1884298"/>
            <a:ext cx="8449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dirty="0" smtClean="0">
                <a:solidFill>
                  <a:srgbClr val="000000"/>
                </a:solidFill>
                <a:cs typeface="Arial"/>
              </a:rPr>
              <a:t>UK</a:t>
            </a:r>
            <a:br>
              <a:rPr lang="nb-NO" sz="1000" dirty="0" smtClean="0">
                <a:solidFill>
                  <a:srgbClr val="000000"/>
                </a:solidFill>
                <a:cs typeface="Arial"/>
              </a:rPr>
            </a:br>
            <a:r>
              <a:rPr lang="nb-NO" sz="1000" dirty="0" smtClean="0">
                <a:solidFill>
                  <a:srgbClr val="000000"/>
                </a:solidFill>
                <a:cs typeface="Arial"/>
              </a:rPr>
              <a:t>273 MW</a:t>
            </a:r>
            <a:endParaRPr lang="nb-NO" sz="10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614" name="TextBox 1613"/>
          <p:cNvSpPr txBox="1"/>
          <p:nvPr/>
        </p:nvSpPr>
        <p:spPr>
          <a:xfrm>
            <a:off x="7645821" y="2903649"/>
            <a:ext cx="97174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 dirty="0" smtClean="0">
                <a:solidFill>
                  <a:srgbClr val="000000"/>
                </a:solidFill>
                <a:cs typeface="Arial"/>
              </a:rPr>
              <a:t>Laos 100 MW</a:t>
            </a:r>
          </a:p>
        </p:txBody>
      </p:sp>
      <p:cxnSp>
        <p:nvCxnSpPr>
          <p:cNvPr id="1617" name="Straight Connector 1616"/>
          <p:cNvCxnSpPr/>
          <p:nvPr/>
        </p:nvCxnSpPr>
        <p:spPr>
          <a:xfrm>
            <a:off x="2173288" y="4245683"/>
            <a:ext cx="446086" cy="2825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18" name="Straight Connector 1617"/>
          <p:cNvCxnSpPr/>
          <p:nvPr/>
        </p:nvCxnSpPr>
        <p:spPr>
          <a:xfrm>
            <a:off x="2033589" y="3789328"/>
            <a:ext cx="376634" cy="60622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22" name="Straight Connector 1621"/>
          <p:cNvCxnSpPr>
            <a:stCxn id="1652" idx="2"/>
            <a:endCxn id="917" idx="31"/>
          </p:cNvCxnSpPr>
          <p:nvPr/>
        </p:nvCxnSpPr>
        <p:spPr>
          <a:xfrm>
            <a:off x="4329838" y="1433478"/>
            <a:ext cx="177075" cy="352425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26" name="Straight Connector 1625"/>
          <p:cNvCxnSpPr/>
          <p:nvPr/>
        </p:nvCxnSpPr>
        <p:spPr>
          <a:xfrm>
            <a:off x="3283264" y="4099930"/>
            <a:ext cx="252000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29" name="Straight Connector 1628"/>
          <p:cNvCxnSpPr/>
          <p:nvPr/>
        </p:nvCxnSpPr>
        <p:spPr>
          <a:xfrm flipV="1">
            <a:off x="5930900" y="3051287"/>
            <a:ext cx="373063" cy="415937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32" name="Straight Connector 1631"/>
          <p:cNvCxnSpPr/>
          <p:nvPr/>
        </p:nvCxnSpPr>
        <p:spPr>
          <a:xfrm>
            <a:off x="7523162" y="3365466"/>
            <a:ext cx="279402" cy="42862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36" name="Straight Connector 1635"/>
          <p:cNvCxnSpPr>
            <a:endCxn id="975" idx="15"/>
          </p:cNvCxnSpPr>
          <p:nvPr/>
        </p:nvCxnSpPr>
        <p:spPr>
          <a:xfrm flipV="1">
            <a:off x="6372225" y="2578066"/>
            <a:ext cx="1317625" cy="176212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42" name="Straight Connector 1641"/>
          <p:cNvCxnSpPr/>
          <p:nvPr/>
        </p:nvCxnSpPr>
        <p:spPr>
          <a:xfrm>
            <a:off x="1981200" y="3336891"/>
            <a:ext cx="288000" cy="509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50" name="TextBox 1649"/>
          <p:cNvSpPr txBox="1"/>
          <p:nvPr/>
        </p:nvSpPr>
        <p:spPr>
          <a:xfrm>
            <a:off x="3036888" y="2286351"/>
            <a:ext cx="8270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dirty="0" smtClean="0">
                <a:solidFill>
                  <a:srgbClr val="000000"/>
                </a:solidFill>
                <a:cs typeface="Arial"/>
              </a:rPr>
              <a:t>Tyskland</a:t>
            </a:r>
          </a:p>
          <a:p>
            <a:r>
              <a:rPr lang="nb-NO" sz="1000" dirty="0" smtClean="0">
                <a:solidFill>
                  <a:srgbClr val="000000"/>
                </a:solidFill>
                <a:cs typeface="Arial"/>
              </a:rPr>
              <a:t>2 692 MW</a:t>
            </a:r>
            <a:endParaRPr lang="nb-NO" sz="1000" dirty="0">
              <a:solidFill>
                <a:srgbClr val="000000"/>
              </a:solidFill>
              <a:cs typeface="Arial"/>
            </a:endParaRPr>
          </a:p>
        </p:txBody>
      </p:sp>
      <p:cxnSp>
        <p:nvCxnSpPr>
          <p:cNvPr id="1655" name="Straight Connector 1654"/>
          <p:cNvCxnSpPr/>
          <p:nvPr/>
        </p:nvCxnSpPr>
        <p:spPr>
          <a:xfrm flipV="1">
            <a:off x="3814762" y="2109238"/>
            <a:ext cx="699294" cy="291028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58" name="Straight Connector 1657"/>
          <p:cNvCxnSpPr>
            <a:stCxn id="1064" idx="8"/>
          </p:cNvCxnSpPr>
          <p:nvPr/>
        </p:nvCxnSpPr>
        <p:spPr>
          <a:xfrm flipH="1">
            <a:off x="3836989" y="2409791"/>
            <a:ext cx="965199" cy="523875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61" name="TextBox 1660"/>
          <p:cNvSpPr txBox="1"/>
          <p:nvPr/>
        </p:nvSpPr>
        <p:spPr>
          <a:xfrm>
            <a:off x="5500436" y="3392453"/>
            <a:ext cx="59022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 dirty="0" smtClean="0">
                <a:solidFill>
                  <a:srgbClr val="000000"/>
                </a:solidFill>
                <a:cs typeface="Arial"/>
              </a:rPr>
              <a:t>India</a:t>
            </a:r>
          </a:p>
          <a:p>
            <a:r>
              <a:rPr lang="nb-NO" sz="1000" dirty="0" smtClean="0">
                <a:solidFill>
                  <a:srgbClr val="000000"/>
                </a:solidFill>
                <a:cs typeface="Arial"/>
              </a:rPr>
              <a:t>82 MW</a:t>
            </a:r>
            <a:endParaRPr lang="nb-NO" sz="1000" dirty="0">
              <a:solidFill>
                <a:srgbClr val="000000"/>
              </a:solidFill>
              <a:cs typeface="Arial"/>
            </a:endParaRPr>
          </a:p>
        </p:txBody>
      </p:sp>
      <p:cxnSp>
        <p:nvCxnSpPr>
          <p:cNvPr id="1668" name="Straight Connector 1667"/>
          <p:cNvCxnSpPr/>
          <p:nvPr/>
        </p:nvCxnSpPr>
        <p:spPr>
          <a:xfrm flipH="1" flipV="1">
            <a:off x="5036109" y="4030618"/>
            <a:ext cx="204229" cy="288935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71" name="Straight Connector 1670"/>
          <p:cNvCxnSpPr/>
          <p:nvPr/>
        </p:nvCxnSpPr>
        <p:spPr>
          <a:xfrm flipH="1">
            <a:off x="4709929" y="1307713"/>
            <a:ext cx="271647" cy="40834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73" name="Straight Connector 1672"/>
          <p:cNvCxnSpPr/>
          <p:nvPr/>
        </p:nvCxnSpPr>
        <p:spPr>
          <a:xfrm flipH="1">
            <a:off x="4899822" y="1535078"/>
            <a:ext cx="1010440" cy="278606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77" name="Straight Connector 1676"/>
          <p:cNvCxnSpPr>
            <a:stCxn id="222" idx="15"/>
            <a:endCxn id="1614" idx="1"/>
          </p:cNvCxnSpPr>
          <p:nvPr/>
        </p:nvCxnSpPr>
        <p:spPr>
          <a:xfrm flipV="1">
            <a:off x="7016751" y="3026760"/>
            <a:ext cx="629070" cy="29143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99" name="Straight Connector 1698"/>
          <p:cNvCxnSpPr/>
          <p:nvPr/>
        </p:nvCxnSpPr>
        <p:spPr>
          <a:xfrm flipV="1">
            <a:off x="3803650" y="1976403"/>
            <a:ext cx="468000" cy="1905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07" name="Rectangle 1706"/>
          <p:cNvSpPr/>
          <p:nvPr/>
        </p:nvSpPr>
        <p:spPr>
          <a:xfrm>
            <a:off x="435768" y="1279680"/>
            <a:ext cx="2440782" cy="1411098"/>
          </a:xfrm>
          <a:prstGeom prst="rect">
            <a:avLst/>
          </a:prstGeom>
          <a:solidFill>
            <a:srgbClr val="E9EAE5"/>
          </a:solidFill>
          <a:ln>
            <a:noFill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000" dirty="0">
              <a:solidFill>
                <a:srgbClr val="00B0DC"/>
              </a:solidFill>
              <a:cs typeface="Arial"/>
            </a:endParaRPr>
          </a:p>
        </p:txBody>
      </p:sp>
      <p:grpSp>
        <p:nvGrpSpPr>
          <p:cNvPr id="4" name="Group 1714"/>
          <p:cNvGrpSpPr/>
          <p:nvPr/>
        </p:nvGrpSpPr>
        <p:grpSpPr>
          <a:xfrm>
            <a:off x="537926" y="1307713"/>
            <a:ext cx="2571451" cy="1440215"/>
            <a:chOff x="331200" y="1198175"/>
            <a:chExt cx="2571451" cy="1440215"/>
          </a:xfrm>
        </p:grpSpPr>
        <p:sp>
          <p:nvSpPr>
            <p:cNvPr id="1708" name="TextBox 1707"/>
            <p:cNvSpPr txBox="1"/>
            <p:nvPr/>
          </p:nvSpPr>
          <p:spPr>
            <a:xfrm>
              <a:off x="331200" y="1340742"/>
              <a:ext cx="1393703" cy="10618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100" dirty="0" smtClean="0">
                  <a:solidFill>
                    <a:srgbClr val="7A6F69">
                      <a:lumMod val="75000"/>
                    </a:srgbClr>
                  </a:solidFill>
                  <a:cs typeface="Arial"/>
                </a:rPr>
                <a:t>Installert effekt*</a:t>
              </a:r>
              <a:endParaRPr lang="nb-NO" sz="1100" baseline="30000" dirty="0" smtClean="0">
                <a:solidFill>
                  <a:srgbClr val="7A6F69">
                    <a:lumMod val="75000"/>
                  </a:srgbClr>
                </a:solidFill>
                <a:cs typeface="Arial"/>
              </a:endParaRPr>
            </a:p>
            <a:p>
              <a:r>
                <a:rPr lang="nb-NO" sz="1500" b="1" dirty="0" smtClean="0">
                  <a:solidFill>
                    <a:srgbClr val="7A6F69">
                      <a:lumMod val="75000"/>
                    </a:srgbClr>
                  </a:solidFill>
                  <a:cs typeface="Arial"/>
                </a:rPr>
                <a:t>17 600 MW</a:t>
              </a:r>
            </a:p>
            <a:p>
              <a:endParaRPr lang="nb-NO" sz="1100" dirty="0" smtClean="0">
                <a:solidFill>
                  <a:srgbClr val="7A6F69">
                    <a:lumMod val="75000"/>
                  </a:srgbClr>
                </a:solidFill>
                <a:cs typeface="Arial"/>
              </a:endParaRPr>
            </a:p>
            <a:p>
              <a:r>
                <a:rPr lang="nb-NO" sz="1100" dirty="0" smtClean="0">
                  <a:solidFill>
                    <a:srgbClr val="7A6F69">
                      <a:lumMod val="75000"/>
                    </a:srgbClr>
                  </a:solidFill>
                  <a:cs typeface="Arial"/>
                </a:rPr>
                <a:t>Kraftproduksjon</a:t>
              </a:r>
              <a:br>
                <a:rPr lang="nb-NO" sz="1100" dirty="0" smtClean="0">
                  <a:solidFill>
                    <a:srgbClr val="7A6F69">
                      <a:lumMod val="75000"/>
                    </a:srgbClr>
                  </a:solidFill>
                  <a:cs typeface="Arial"/>
                </a:rPr>
              </a:br>
              <a:r>
                <a:rPr lang="nb-NO" sz="1500" b="1" dirty="0" smtClean="0">
                  <a:solidFill>
                    <a:srgbClr val="7A6F69">
                      <a:lumMod val="75000"/>
                    </a:srgbClr>
                  </a:solidFill>
                  <a:cs typeface="Arial"/>
                </a:rPr>
                <a:t>56 </a:t>
              </a:r>
              <a:r>
                <a:rPr lang="nb-NO" sz="1500" b="1" dirty="0" err="1" smtClean="0">
                  <a:solidFill>
                    <a:srgbClr val="7A6F69">
                      <a:lumMod val="75000"/>
                    </a:srgbClr>
                  </a:solidFill>
                  <a:cs typeface="Arial"/>
                </a:rPr>
                <a:t>TWh</a:t>
              </a:r>
              <a:endParaRPr lang="nb-NO" sz="1500" b="1" dirty="0">
                <a:solidFill>
                  <a:srgbClr val="7A6F69">
                    <a:lumMod val="75000"/>
                  </a:srgbClr>
                </a:solidFill>
                <a:cs typeface="Arial"/>
              </a:endParaRPr>
            </a:p>
          </p:txBody>
        </p:sp>
        <p:sp>
          <p:nvSpPr>
            <p:cNvPr id="1709" name="TextBox 1708"/>
            <p:cNvSpPr txBox="1"/>
            <p:nvPr/>
          </p:nvSpPr>
          <p:spPr>
            <a:xfrm>
              <a:off x="1691785" y="1314951"/>
              <a:ext cx="1210866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500" b="1" dirty="0" smtClean="0">
                  <a:solidFill>
                    <a:srgbClr val="7A6F69">
                      <a:lumMod val="75000"/>
                    </a:srgbClr>
                  </a:solidFill>
                  <a:cs typeface="Arial"/>
                </a:rPr>
                <a:t>97% </a:t>
              </a:r>
              <a:r>
                <a:rPr lang="nb-NO" sz="1000" dirty="0" smtClean="0">
                  <a:solidFill>
                    <a:srgbClr val="7A6F69">
                      <a:lumMod val="75000"/>
                    </a:srgbClr>
                  </a:solidFill>
                  <a:cs typeface="Arial"/>
                </a:rPr>
                <a:t/>
              </a:r>
              <a:br>
                <a:rPr lang="nb-NO" sz="1000" dirty="0" smtClean="0">
                  <a:solidFill>
                    <a:srgbClr val="7A6F69">
                      <a:lumMod val="75000"/>
                    </a:srgbClr>
                  </a:solidFill>
                  <a:cs typeface="Arial"/>
                </a:rPr>
              </a:br>
              <a:r>
                <a:rPr lang="nb-NO" sz="1000" dirty="0" smtClean="0">
                  <a:solidFill>
                    <a:srgbClr val="7A6F69">
                      <a:lumMod val="75000"/>
                    </a:srgbClr>
                  </a:solidFill>
                  <a:cs typeface="Arial"/>
                </a:rPr>
                <a:t>fornybar</a:t>
              </a:r>
              <a:br>
                <a:rPr lang="nb-NO" sz="1000" dirty="0" smtClean="0">
                  <a:solidFill>
                    <a:srgbClr val="7A6F69">
                      <a:lumMod val="75000"/>
                    </a:srgbClr>
                  </a:solidFill>
                  <a:cs typeface="Arial"/>
                </a:rPr>
              </a:br>
              <a:r>
                <a:rPr lang="nb-NO" sz="1000" dirty="0" smtClean="0">
                  <a:solidFill>
                    <a:srgbClr val="7A6F69">
                      <a:lumMod val="75000"/>
                    </a:srgbClr>
                  </a:solidFill>
                  <a:cs typeface="Arial"/>
                </a:rPr>
                <a:t>energi </a:t>
              </a:r>
            </a:p>
            <a:p>
              <a:r>
                <a:rPr lang="nb-NO" sz="1000" dirty="0" smtClean="0">
                  <a:solidFill>
                    <a:srgbClr val="7A6F69">
                      <a:lumMod val="75000"/>
                    </a:srgbClr>
                  </a:solidFill>
                  <a:cs typeface="Arial"/>
                </a:rPr>
                <a:t>                                      </a:t>
              </a:r>
            </a:p>
            <a:p>
              <a:r>
                <a:rPr lang="nb-NO" sz="1500" b="1" dirty="0" smtClean="0">
                  <a:solidFill>
                    <a:srgbClr val="7A6F69">
                      <a:lumMod val="75000"/>
                    </a:srgbClr>
                  </a:solidFill>
                  <a:cs typeface="Arial"/>
                </a:rPr>
                <a:t>3 600 </a:t>
              </a:r>
            </a:p>
            <a:p>
              <a:r>
                <a:rPr lang="nb-NO" sz="1000" dirty="0" smtClean="0">
                  <a:solidFill>
                    <a:srgbClr val="7A6F69">
                      <a:lumMod val="75000"/>
                    </a:srgbClr>
                  </a:solidFill>
                  <a:cs typeface="Arial"/>
                </a:rPr>
                <a:t>ansatte</a:t>
              </a:r>
              <a:br>
                <a:rPr lang="nb-NO" sz="1000" dirty="0" smtClean="0">
                  <a:solidFill>
                    <a:srgbClr val="7A6F69">
                      <a:lumMod val="75000"/>
                    </a:srgbClr>
                  </a:solidFill>
                  <a:cs typeface="Arial"/>
                </a:rPr>
              </a:br>
              <a:endParaRPr lang="nb-NO" sz="1000" dirty="0">
                <a:solidFill>
                  <a:srgbClr val="7A6F69">
                    <a:lumMod val="75000"/>
                  </a:srgbClr>
                </a:solidFill>
                <a:cs typeface="Arial"/>
              </a:endParaRPr>
            </a:p>
          </p:txBody>
        </p:sp>
        <p:cxnSp>
          <p:nvCxnSpPr>
            <p:cNvPr id="1711" name="Straight Connector 1710"/>
            <p:cNvCxnSpPr/>
            <p:nvPr/>
          </p:nvCxnSpPr>
          <p:spPr>
            <a:xfrm flipH="1">
              <a:off x="1656159" y="1198175"/>
              <a:ext cx="1" cy="1355033"/>
            </a:xfrm>
            <a:prstGeom prst="line">
              <a:avLst/>
            </a:prstGeom>
            <a:ln w="3175" cmpd="sng">
              <a:solidFill>
                <a:schemeClr val="tx1"/>
              </a:solidFill>
              <a:prstDash val="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1733"/>
          <p:cNvGrpSpPr/>
          <p:nvPr/>
        </p:nvGrpSpPr>
        <p:grpSpPr>
          <a:xfrm>
            <a:off x="435768" y="4433641"/>
            <a:ext cx="1010791" cy="639841"/>
            <a:chOff x="7908925" y="1017475"/>
            <a:chExt cx="1010791" cy="639841"/>
          </a:xfrm>
        </p:grpSpPr>
        <p:sp>
          <p:nvSpPr>
            <p:cNvPr id="1732" name="Rectangle 1731"/>
            <p:cNvSpPr/>
            <p:nvPr/>
          </p:nvSpPr>
          <p:spPr>
            <a:xfrm>
              <a:off x="7908925" y="1017475"/>
              <a:ext cx="1005982" cy="639841"/>
            </a:xfrm>
            <a:prstGeom prst="rect">
              <a:avLst/>
            </a:prstGeom>
            <a:solidFill>
              <a:srgbClr val="E9EAE5"/>
            </a:solidFill>
            <a:ln>
              <a:noFill/>
            </a:ln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 sz="1000" dirty="0">
                <a:solidFill>
                  <a:srgbClr val="5F574F"/>
                </a:solidFill>
                <a:cs typeface="Arial"/>
              </a:endParaRPr>
            </a:p>
          </p:txBody>
        </p:sp>
        <p:grpSp>
          <p:nvGrpSpPr>
            <p:cNvPr id="206" name="Group 1730"/>
            <p:cNvGrpSpPr/>
            <p:nvPr/>
          </p:nvGrpSpPr>
          <p:grpSpPr>
            <a:xfrm>
              <a:off x="8030563" y="1047930"/>
              <a:ext cx="889153" cy="578930"/>
              <a:chOff x="8030563" y="1209626"/>
              <a:chExt cx="889153" cy="578930"/>
            </a:xfrm>
          </p:grpSpPr>
          <p:grpSp>
            <p:nvGrpSpPr>
              <p:cNvPr id="407" name="Group 1722"/>
              <p:cNvGrpSpPr/>
              <p:nvPr/>
            </p:nvGrpSpPr>
            <p:grpSpPr>
              <a:xfrm>
                <a:off x="8030563" y="1573112"/>
                <a:ext cx="889153" cy="215444"/>
                <a:chOff x="3836988" y="4886601"/>
                <a:chExt cx="889153" cy="215444"/>
              </a:xfrm>
            </p:grpSpPr>
            <p:sp>
              <p:nvSpPr>
                <p:cNvPr id="1721" name="TextBox 1720"/>
                <p:cNvSpPr txBox="1"/>
                <p:nvPr/>
              </p:nvSpPr>
              <p:spPr>
                <a:xfrm>
                  <a:off x="3895464" y="4886601"/>
                  <a:ext cx="830677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800" dirty="0" smtClean="0">
                      <a:solidFill>
                        <a:srgbClr val="5F574F"/>
                      </a:solidFill>
                      <a:cs typeface="Arial"/>
                    </a:rPr>
                    <a:t>AGUA IMARA</a:t>
                  </a:r>
                  <a:endParaRPr lang="en-US" sz="800" dirty="0">
                    <a:solidFill>
                      <a:srgbClr val="5F574F"/>
                    </a:solidFill>
                    <a:cs typeface="Arial"/>
                  </a:endParaRPr>
                </a:p>
              </p:txBody>
            </p:sp>
            <p:sp>
              <p:nvSpPr>
                <p:cNvPr id="1722" name="Rectangle 1721"/>
                <p:cNvSpPr/>
                <p:nvPr/>
              </p:nvSpPr>
              <p:spPr>
                <a:xfrm>
                  <a:off x="3836988" y="4930804"/>
                  <a:ext cx="112712" cy="112712"/>
                </a:xfrm>
                <a:prstGeom prst="rect">
                  <a:avLst/>
                </a:prstGeom>
                <a:solidFill>
                  <a:srgbClr val="B1DEEE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5F574F"/>
                    </a:solidFill>
                  </a:endParaRPr>
                </a:p>
              </p:txBody>
            </p:sp>
          </p:grpSp>
          <p:grpSp>
            <p:nvGrpSpPr>
              <p:cNvPr id="808" name="Group 1723"/>
              <p:cNvGrpSpPr/>
              <p:nvPr/>
            </p:nvGrpSpPr>
            <p:grpSpPr>
              <a:xfrm>
                <a:off x="8030563" y="1391369"/>
                <a:ext cx="807399" cy="215444"/>
                <a:chOff x="3836988" y="4886601"/>
                <a:chExt cx="807399" cy="215444"/>
              </a:xfrm>
            </p:grpSpPr>
            <p:sp>
              <p:nvSpPr>
                <p:cNvPr id="1725" name="TextBox 1724"/>
                <p:cNvSpPr txBox="1"/>
                <p:nvPr/>
              </p:nvSpPr>
              <p:spPr>
                <a:xfrm>
                  <a:off x="3895464" y="4886601"/>
                  <a:ext cx="748923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800" dirty="0" smtClean="0">
                      <a:solidFill>
                        <a:srgbClr val="5F574F"/>
                      </a:solidFill>
                      <a:cs typeface="Arial"/>
                    </a:rPr>
                    <a:t>SN POWER</a:t>
                  </a:r>
                  <a:endParaRPr lang="en-US" sz="800" dirty="0">
                    <a:solidFill>
                      <a:srgbClr val="5F574F"/>
                    </a:solidFill>
                    <a:cs typeface="Arial"/>
                  </a:endParaRPr>
                </a:p>
              </p:txBody>
            </p:sp>
            <p:sp>
              <p:nvSpPr>
                <p:cNvPr id="1726" name="Rectangle 1725"/>
                <p:cNvSpPr/>
                <p:nvPr/>
              </p:nvSpPr>
              <p:spPr>
                <a:xfrm>
                  <a:off x="3836988" y="4954554"/>
                  <a:ext cx="112712" cy="112712"/>
                </a:xfrm>
                <a:prstGeom prst="rect">
                  <a:avLst/>
                </a:prstGeom>
                <a:solidFill>
                  <a:schemeClr val="bg1">
                    <a:lumMod val="65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5F574F"/>
                    </a:solidFill>
                  </a:endParaRPr>
                </a:p>
              </p:txBody>
            </p:sp>
          </p:grpSp>
          <p:grpSp>
            <p:nvGrpSpPr>
              <p:cNvPr id="1009" name="Group 1727"/>
              <p:cNvGrpSpPr/>
              <p:nvPr/>
            </p:nvGrpSpPr>
            <p:grpSpPr>
              <a:xfrm>
                <a:off x="8030563" y="1209626"/>
                <a:ext cx="845871" cy="215444"/>
                <a:chOff x="3836988" y="4886601"/>
                <a:chExt cx="845871" cy="215444"/>
              </a:xfrm>
            </p:grpSpPr>
            <p:sp>
              <p:nvSpPr>
                <p:cNvPr id="1729" name="TextBox 1728"/>
                <p:cNvSpPr txBox="1"/>
                <p:nvPr/>
              </p:nvSpPr>
              <p:spPr>
                <a:xfrm>
                  <a:off x="3895464" y="4886601"/>
                  <a:ext cx="787395" cy="21544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800" dirty="0" smtClean="0">
                      <a:solidFill>
                        <a:srgbClr val="5F574F"/>
                      </a:solidFill>
                      <a:cs typeface="Arial"/>
                    </a:rPr>
                    <a:t>STATKRAFT</a:t>
                  </a:r>
                  <a:endParaRPr lang="en-US" sz="800" dirty="0">
                    <a:solidFill>
                      <a:srgbClr val="5F574F"/>
                    </a:solidFill>
                    <a:cs typeface="Arial"/>
                  </a:endParaRPr>
                </a:p>
              </p:txBody>
            </p:sp>
            <p:sp>
              <p:nvSpPr>
                <p:cNvPr id="1730" name="Rectangle 1729"/>
                <p:cNvSpPr/>
                <p:nvPr/>
              </p:nvSpPr>
              <p:spPr>
                <a:xfrm>
                  <a:off x="3836988" y="4954554"/>
                  <a:ext cx="112712" cy="112712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rgbClr val="5F574F"/>
                    </a:solidFill>
                  </a:endParaRPr>
                </a:p>
              </p:txBody>
            </p:sp>
          </p:grpSp>
        </p:grpSp>
      </p:grpSp>
      <p:pic>
        <p:nvPicPr>
          <p:cNvPr id="1644" name="Picture 2" descr="Main Image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3929550" y="1233123"/>
            <a:ext cx="433014" cy="2384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5" name="Picture 9" descr="Main Image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360245" y="1219166"/>
            <a:ext cx="379060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52" name="Picture 2" descr="Main Image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4179888" y="1231525"/>
            <a:ext cx="299900" cy="201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63" name="Picture 2" descr="Main Image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5021479" y="1360288"/>
            <a:ext cx="393198" cy="2384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66" name="Picture 2" descr="Main Image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5248275" y="1368390"/>
            <a:ext cx="299900" cy="201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67" name="Picture 9" descr="Main Image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438157" y="1344578"/>
            <a:ext cx="379060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74" name="Picture 2" descr="Main Image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6276975" y="1334888"/>
            <a:ext cx="398463" cy="2384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76" name="Picture 2" descr="Main Image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3354394" y="1901616"/>
            <a:ext cx="404869" cy="2384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78" name="Picture 2" descr="Main Image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3575679" y="1910802"/>
            <a:ext cx="299900" cy="201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79" name="Picture 2" descr="Main Image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2994025" y="2633132"/>
            <a:ext cx="344487" cy="2384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80" name="Picture 2" descr="Main Image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3907321" y="3443744"/>
            <a:ext cx="423350" cy="2384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81" name="Picture 2" descr="Main Image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3487795" y="4365332"/>
            <a:ext cx="365794" cy="2367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82" name="Picture 2" descr="Main Image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1663587" y="3779803"/>
            <a:ext cx="403339" cy="2384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83" name="Picture 2" descr="Main Image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2121647" y="4312873"/>
            <a:ext cx="388192" cy="2384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84" name="Picture 2" descr="Main Image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5984812" y="3566748"/>
            <a:ext cx="406400" cy="2384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85" name="Picture 2" descr="Main Image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8329555" y="3528991"/>
            <a:ext cx="382645" cy="2384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88" name="Picture 2" descr="Main Image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8431213" y="2908309"/>
            <a:ext cx="443151" cy="2384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91" name="Picture 2" descr="Main Image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8551162" y="2462012"/>
            <a:ext cx="380697" cy="2384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05" name="Picture 2" descr="Main Image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255583" y="2628842"/>
            <a:ext cx="129957" cy="2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12" name="Picture 2" descr="Main Image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645026" y="1215966"/>
            <a:ext cx="147638" cy="20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16" name="Picture 2" descr="Main Image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5578168" y="4443687"/>
            <a:ext cx="398462" cy="2384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69" name="Picture 2" descr="Main Image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3694250" y="4348036"/>
            <a:ext cx="299900" cy="2019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75" name="Picture 2" descr="Main Image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1638986" y="3238136"/>
            <a:ext cx="352424" cy="2384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70" name="Rectangle 9"/>
          <p:cNvSpPr>
            <a:spLocks noChangeArrowheads="1"/>
          </p:cNvSpPr>
          <p:nvPr/>
        </p:nvSpPr>
        <p:spPr bwMode="auto">
          <a:xfrm>
            <a:off x="439750" y="5237826"/>
            <a:ext cx="3856025" cy="381923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/>
          <a:lstStyle/>
          <a:p>
            <a:pPr eaLnBrk="0" hangingPunct="0"/>
            <a:r>
              <a:rPr lang="nb-NO" sz="800" i="1" dirty="0" smtClean="0">
                <a:solidFill>
                  <a:srgbClr val="000000"/>
                </a:solidFill>
              </a:rPr>
              <a:t>* 2013 tall. Inkluderer:  - Installert effekt av Statkrafts direkte/indirekte eierandeler</a:t>
            </a:r>
          </a:p>
          <a:p>
            <a:pPr eaLnBrk="0" hangingPunct="0"/>
            <a:r>
              <a:rPr lang="nb-NO" sz="800" i="1" dirty="0" smtClean="0">
                <a:solidFill>
                  <a:srgbClr val="000000"/>
                </a:solidFill>
              </a:rPr>
              <a:t>	                    - Statkraft </a:t>
            </a:r>
            <a:r>
              <a:rPr lang="nb-NO" sz="800" i="1" dirty="0" err="1" smtClean="0">
                <a:solidFill>
                  <a:srgbClr val="000000"/>
                </a:solidFill>
              </a:rPr>
              <a:t>SF’s</a:t>
            </a:r>
            <a:r>
              <a:rPr lang="nb-NO" sz="800" i="1" dirty="0" smtClean="0">
                <a:solidFill>
                  <a:srgbClr val="000000"/>
                </a:solidFill>
              </a:rPr>
              <a:t> andel av installert effekt i Laos</a:t>
            </a:r>
            <a:endParaRPr lang="nb-NO" sz="800" i="1" dirty="0">
              <a:solidFill>
                <a:srgbClr val="000000"/>
              </a:solidFill>
            </a:endParaRPr>
          </a:p>
        </p:txBody>
      </p:sp>
      <p:pic>
        <p:nvPicPr>
          <p:cNvPr id="1672" name="Picture 9" descr="Main Image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896695" y="4338510"/>
            <a:ext cx="379060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92" name="TextBox 1691"/>
          <p:cNvSpPr txBox="1"/>
          <p:nvPr/>
        </p:nvSpPr>
        <p:spPr>
          <a:xfrm>
            <a:off x="3091018" y="2867580"/>
            <a:ext cx="71846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000" dirty="0" smtClean="0">
                <a:solidFill>
                  <a:srgbClr val="000000"/>
                </a:solidFill>
                <a:cs typeface="Arial"/>
              </a:rPr>
              <a:t>Albania</a:t>
            </a:r>
            <a:br>
              <a:rPr lang="nb-NO" sz="1000" dirty="0" smtClean="0">
                <a:solidFill>
                  <a:srgbClr val="000000"/>
                </a:solidFill>
                <a:cs typeface="Arial"/>
              </a:rPr>
            </a:br>
            <a:r>
              <a:rPr lang="nb-NO" sz="1000" dirty="0" smtClean="0">
                <a:solidFill>
                  <a:srgbClr val="000000"/>
                </a:solidFill>
                <a:cs typeface="Arial"/>
              </a:rPr>
              <a:t>(prosjekt)</a:t>
            </a:r>
            <a:endParaRPr lang="nb-NO" sz="1000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693" name="Picture 2" descr="Main Image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3519595" y="2901675"/>
            <a:ext cx="365406" cy="2384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694" name="Straight Connector 1693"/>
          <p:cNvCxnSpPr/>
          <p:nvPr/>
        </p:nvCxnSpPr>
        <p:spPr>
          <a:xfrm flipH="1">
            <a:off x="3957637" y="2452855"/>
            <a:ext cx="1237075" cy="935629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89" name="Picture 9" descr="Main Image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367242" y="2612990"/>
            <a:ext cx="379060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271759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Europas største produsent av fornybar energi</a:t>
            </a:r>
            <a:endParaRPr lang="nb-NO" dirty="0"/>
          </a:p>
        </p:txBody>
      </p:sp>
      <p:graphicFrame>
        <p:nvGraphicFramePr>
          <p:cNvPr id="5" name="Content Placeholder 5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01885623"/>
              </p:ext>
            </p:extLst>
          </p:nvPr>
        </p:nvGraphicFramePr>
        <p:xfrm>
          <a:off x="4665950" y="1851751"/>
          <a:ext cx="4046249" cy="30307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39165" y="5266233"/>
            <a:ext cx="647885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dirty="0" smtClean="0">
                <a:solidFill>
                  <a:srgbClr val="000000"/>
                </a:solidFill>
              </a:rPr>
              <a:t>* Justerte tall for 2012 – produksjon utenfor Europa er ikke inkludert</a:t>
            </a:r>
            <a:r>
              <a:rPr lang="en-GB" sz="1000" dirty="0" smtClean="0">
                <a:solidFill>
                  <a:srgbClr val="000000"/>
                </a:solidFill>
              </a:rPr>
              <a:t>.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961150" y="4882487"/>
            <a:ext cx="89949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0" b="1" dirty="0" smtClean="0">
                <a:solidFill>
                  <a:srgbClr val="005088"/>
                </a:solidFill>
              </a:rPr>
              <a:t>Kilde: </a:t>
            </a:r>
            <a:r>
              <a:rPr lang="nb-NO" sz="1050" b="1" dirty="0" err="1" smtClean="0">
                <a:solidFill>
                  <a:srgbClr val="005088"/>
                </a:solidFill>
              </a:rPr>
              <a:t>PwC</a:t>
            </a:r>
            <a:endParaRPr lang="nb-NO" sz="1050" b="1" dirty="0">
              <a:solidFill>
                <a:srgbClr val="005088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665951" y="1264243"/>
            <a:ext cx="447804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000" b="1" i="0" u="none" strike="noStrike" kern="1200" baseline="0">
                <a:solidFill>
                  <a:srgbClr val="00395D"/>
                </a:solidFill>
                <a:latin typeface="Arial"/>
                <a:ea typeface="Arial"/>
                <a:cs typeface="Arial"/>
              </a:defRPr>
            </a:pPr>
            <a:r>
              <a:rPr lang="en-GB" sz="1200" b="1" dirty="0" smtClean="0">
                <a:solidFill>
                  <a:srgbClr val="00395D"/>
                </a:solidFill>
                <a:latin typeface="Arial"/>
                <a:ea typeface="Arial"/>
                <a:cs typeface="Arial"/>
              </a:rPr>
              <a:t>10 </a:t>
            </a:r>
            <a:r>
              <a:rPr lang="en-GB" sz="1200" b="1" dirty="0" err="1" smtClean="0">
                <a:solidFill>
                  <a:srgbClr val="00395D"/>
                </a:solidFill>
                <a:latin typeface="Arial"/>
                <a:ea typeface="Arial"/>
                <a:cs typeface="Arial"/>
              </a:rPr>
              <a:t>største</a:t>
            </a:r>
            <a:r>
              <a:rPr lang="en-GB" sz="1200" b="1" dirty="0" smtClean="0">
                <a:solidFill>
                  <a:srgbClr val="00395D"/>
                </a:solidFill>
                <a:latin typeface="Arial"/>
                <a:ea typeface="Arial"/>
                <a:cs typeface="Arial"/>
              </a:rPr>
              <a:t> </a:t>
            </a:r>
            <a:r>
              <a:rPr lang="en-GB" sz="1200" b="1" dirty="0" err="1" smtClean="0">
                <a:solidFill>
                  <a:srgbClr val="00395D"/>
                </a:solidFill>
                <a:latin typeface="Arial"/>
                <a:ea typeface="Arial"/>
                <a:cs typeface="Arial"/>
              </a:rPr>
              <a:t>fornybare</a:t>
            </a:r>
            <a:r>
              <a:rPr lang="en-GB" sz="1200" b="1" dirty="0" smtClean="0">
                <a:solidFill>
                  <a:srgbClr val="00395D"/>
                </a:solidFill>
                <a:latin typeface="Arial"/>
                <a:ea typeface="Arial"/>
                <a:cs typeface="Arial"/>
              </a:rPr>
              <a:t> </a:t>
            </a:r>
            <a:r>
              <a:rPr lang="en-GB" sz="1200" b="1" dirty="0" err="1" smtClean="0">
                <a:solidFill>
                  <a:srgbClr val="00395D"/>
                </a:solidFill>
                <a:latin typeface="Arial"/>
                <a:ea typeface="Arial"/>
                <a:cs typeface="Arial"/>
              </a:rPr>
              <a:t>kraftprodusenter</a:t>
            </a:r>
            <a:r>
              <a:rPr lang="en-GB" sz="1200" b="1" dirty="0" smtClean="0">
                <a:solidFill>
                  <a:srgbClr val="00395D"/>
                </a:solidFill>
                <a:latin typeface="Arial"/>
                <a:ea typeface="Arial"/>
                <a:cs typeface="Arial"/>
              </a:rPr>
              <a:t> </a:t>
            </a:r>
            <a:r>
              <a:rPr lang="en-GB" sz="1200" b="1" dirty="0" err="1" smtClean="0">
                <a:solidFill>
                  <a:srgbClr val="00395D"/>
                </a:solidFill>
                <a:latin typeface="Arial"/>
                <a:ea typeface="Arial"/>
                <a:cs typeface="Arial"/>
              </a:rPr>
              <a:t>i</a:t>
            </a:r>
            <a:r>
              <a:rPr lang="en-GB" sz="1200" b="1" dirty="0" smtClean="0">
                <a:solidFill>
                  <a:srgbClr val="00395D"/>
                </a:solidFill>
                <a:latin typeface="Arial"/>
                <a:ea typeface="Arial"/>
                <a:cs typeface="Arial"/>
              </a:rPr>
              <a:t> Europa </a:t>
            </a:r>
            <a:r>
              <a:rPr lang="nb-NO" sz="1000" b="1" dirty="0" smtClean="0">
                <a:solidFill>
                  <a:srgbClr val="00395D"/>
                </a:solidFill>
                <a:latin typeface="Arial"/>
                <a:ea typeface="Arial"/>
                <a:cs typeface="Arial"/>
              </a:rPr>
              <a:t>*</a:t>
            </a:r>
            <a:endParaRPr lang="nb-NO" sz="1000" b="1" baseline="30000" dirty="0">
              <a:solidFill>
                <a:srgbClr val="00395D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95045" y="1264243"/>
            <a:ext cx="364675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400" b="1" i="0" u="none" strike="noStrike" kern="1200" baseline="0">
                <a:solidFill>
                  <a:srgbClr val="00395D"/>
                </a:solidFill>
                <a:latin typeface="Arial"/>
                <a:ea typeface="Arial"/>
                <a:cs typeface="Arial"/>
              </a:defRPr>
            </a:pPr>
            <a:r>
              <a:rPr lang="en-GB" sz="1200" b="1" dirty="0" smtClean="0">
                <a:solidFill>
                  <a:srgbClr val="00395D"/>
                </a:solidFill>
                <a:latin typeface="Arial"/>
                <a:ea typeface="Arial"/>
                <a:cs typeface="Arial"/>
              </a:rPr>
              <a:t>10 </a:t>
            </a:r>
            <a:r>
              <a:rPr lang="en-GB" sz="1200" b="1" dirty="0" err="1" smtClean="0">
                <a:solidFill>
                  <a:srgbClr val="00395D"/>
                </a:solidFill>
                <a:latin typeface="Arial"/>
                <a:ea typeface="Arial"/>
                <a:cs typeface="Arial"/>
              </a:rPr>
              <a:t>største</a:t>
            </a:r>
            <a:r>
              <a:rPr lang="en-GB" sz="1200" b="1" dirty="0" smtClean="0">
                <a:solidFill>
                  <a:srgbClr val="00395D"/>
                </a:solidFill>
                <a:latin typeface="Arial"/>
                <a:ea typeface="Arial"/>
                <a:cs typeface="Arial"/>
              </a:rPr>
              <a:t> </a:t>
            </a:r>
            <a:r>
              <a:rPr lang="en-GB" sz="1200" b="1" dirty="0" err="1" smtClean="0">
                <a:solidFill>
                  <a:srgbClr val="00395D"/>
                </a:solidFill>
                <a:latin typeface="Arial"/>
                <a:ea typeface="Arial"/>
                <a:cs typeface="Arial"/>
              </a:rPr>
              <a:t>kraftprodusenter</a:t>
            </a:r>
            <a:r>
              <a:rPr lang="en-GB" sz="1200" b="1" dirty="0" smtClean="0">
                <a:solidFill>
                  <a:srgbClr val="00395D"/>
                </a:solidFill>
                <a:latin typeface="Arial"/>
                <a:ea typeface="Arial"/>
                <a:cs typeface="Arial"/>
              </a:rPr>
              <a:t> </a:t>
            </a:r>
            <a:r>
              <a:rPr lang="en-GB" sz="1200" b="1" dirty="0" err="1" smtClean="0">
                <a:solidFill>
                  <a:srgbClr val="00395D"/>
                </a:solidFill>
                <a:latin typeface="Arial"/>
                <a:ea typeface="Arial"/>
                <a:cs typeface="Arial"/>
              </a:rPr>
              <a:t>i</a:t>
            </a:r>
            <a:r>
              <a:rPr lang="en-GB" sz="1200" b="1" dirty="0" smtClean="0">
                <a:solidFill>
                  <a:srgbClr val="00395D"/>
                </a:solidFill>
                <a:latin typeface="Arial"/>
                <a:ea typeface="Arial"/>
                <a:cs typeface="Arial"/>
              </a:rPr>
              <a:t> Europa </a:t>
            </a:r>
            <a:r>
              <a:rPr lang="nb-NO" sz="1200" b="1" dirty="0" smtClean="0">
                <a:solidFill>
                  <a:srgbClr val="00395D"/>
                </a:solidFill>
                <a:latin typeface="Arial"/>
                <a:ea typeface="Arial"/>
                <a:cs typeface="Arial"/>
              </a:rPr>
              <a:t>*</a:t>
            </a:r>
            <a:endParaRPr lang="nb-NO" sz="1200" b="1" baseline="30000" dirty="0">
              <a:solidFill>
                <a:srgbClr val="00395D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3</a:t>
            </a:fld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14956" y="4925638"/>
            <a:ext cx="98854" cy="9885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>
              <a:solidFill>
                <a:srgbClr val="FFFFFF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618360" y="4933532"/>
            <a:ext cx="98854" cy="9885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>
              <a:solidFill>
                <a:srgbClr val="FFFFFF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86555" y="4838945"/>
            <a:ext cx="90640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err="1" smtClean="0">
                <a:solidFill>
                  <a:srgbClr val="000000"/>
                </a:solidFill>
              </a:rPr>
              <a:t>Fornybar</a:t>
            </a:r>
            <a:endParaRPr lang="nb-NO" sz="1000" dirty="0">
              <a:solidFill>
                <a:srgbClr val="00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679114" y="4840627"/>
            <a:ext cx="129268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 err="1" smtClean="0">
                <a:solidFill>
                  <a:srgbClr val="000000"/>
                </a:solidFill>
              </a:rPr>
              <a:t>Fossilt</a:t>
            </a:r>
            <a:r>
              <a:rPr lang="en-GB" sz="1000" dirty="0" smtClean="0">
                <a:solidFill>
                  <a:srgbClr val="000000"/>
                </a:solidFill>
              </a:rPr>
              <a:t> / </a:t>
            </a:r>
            <a:r>
              <a:rPr lang="en-GB" sz="1000" dirty="0" err="1" smtClean="0">
                <a:solidFill>
                  <a:srgbClr val="000000"/>
                </a:solidFill>
              </a:rPr>
              <a:t>Kjernekraft</a:t>
            </a:r>
            <a:endParaRPr lang="en-GB" sz="1000" dirty="0">
              <a:solidFill>
                <a:srgbClr val="000000"/>
              </a:solidFill>
            </a:endParaRPr>
          </a:p>
        </p:txBody>
      </p:sp>
      <p:graphicFrame>
        <p:nvGraphicFramePr>
          <p:cNvPr id="17" name="Content Placeholder 7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00653774"/>
              </p:ext>
            </p:extLst>
          </p:nvPr>
        </p:nvGraphicFramePr>
        <p:xfrm>
          <a:off x="331200" y="1734127"/>
          <a:ext cx="4191500" cy="3151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Oval 7"/>
          <p:cNvSpPr/>
          <p:nvPr/>
        </p:nvSpPr>
        <p:spPr>
          <a:xfrm rot="3039209">
            <a:off x="3910988" y="4246648"/>
            <a:ext cx="308472" cy="729656"/>
          </a:xfrm>
          <a:prstGeom prst="ellipse">
            <a:avLst/>
          </a:prstGeom>
          <a:noFill/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rgbClr val="FFFFFF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 rot="3039209">
            <a:off x="5109991" y="4170662"/>
            <a:ext cx="308472" cy="729656"/>
          </a:xfrm>
          <a:prstGeom prst="ellipse">
            <a:avLst/>
          </a:prstGeom>
          <a:noFill/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3513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1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reeform 16"/>
          <p:cNvSpPr/>
          <p:nvPr/>
        </p:nvSpPr>
        <p:spPr>
          <a:xfrm>
            <a:off x="4048411" y="4201437"/>
            <a:ext cx="4663789" cy="649964"/>
          </a:xfrm>
          <a:custGeom>
            <a:avLst/>
            <a:gdLst>
              <a:gd name="connsiteX0" fmla="*/ 0 w 7109360"/>
              <a:gd name="connsiteY0" fmla="*/ 111392 h 1113924"/>
              <a:gd name="connsiteX1" fmla="*/ 32626 w 7109360"/>
              <a:gd name="connsiteY1" fmla="*/ 32626 h 1113924"/>
              <a:gd name="connsiteX2" fmla="*/ 111392 w 7109360"/>
              <a:gd name="connsiteY2" fmla="*/ 0 h 1113924"/>
              <a:gd name="connsiteX3" fmla="*/ 6997968 w 7109360"/>
              <a:gd name="connsiteY3" fmla="*/ 0 h 1113924"/>
              <a:gd name="connsiteX4" fmla="*/ 7076734 w 7109360"/>
              <a:gd name="connsiteY4" fmla="*/ 32626 h 1113924"/>
              <a:gd name="connsiteX5" fmla="*/ 7109360 w 7109360"/>
              <a:gd name="connsiteY5" fmla="*/ 111392 h 1113924"/>
              <a:gd name="connsiteX6" fmla="*/ 7109360 w 7109360"/>
              <a:gd name="connsiteY6" fmla="*/ 1002532 h 1113924"/>
              <a:gd name="connsiteX7" fmla="*/ 7076734 w 7109360"/>
              <a:gd name="connsiteY7" fmla="*/ 1081298 h 1113924"/>
              <a:gd name="connsiteX8" fmla="*/ 6997968 w 7109360"/>
              <a:gd name="connsiteY8" fmla="*/ 1113924 h 1113924"/>
              <a:gd name="connsiteX9" fmla="*/ 111392 w 7109360"/>
              <a:gd name="connsiteY9" fmla="*/ 1113924 h 1113924"/>
              <a:gd name="connsiteX10" fmla="*/ 32626 w 7109360"/>
              <a:gd name="connsiteY10" fmla="*/ 1081298 h 1113924"/>
              <a:gd name="connsiteX11" fmla="*/ 0 w 7109360"/>
              <a:gd name="connsiteY11" fmla="*/ 1002532 h 1113924"/>
              <a:gd name="connsiteX12" fmla="*/ 0 w 7109360"/>
              <a:gd name="connsiteY12" fmla="*/ 111392 h 1113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109360" h="1113924">
                <a:moveTo>
                  <a:pt x="0" y="111392"/>
                </a:moveTo>
                <a:cubicBezTo>
                  <a:pt x="0" y="81849"/>
                  <a:pt x="11736" y="53516"/>
                  <a:pt x="32626" y="32626"/>
                </a:cubicBezTo>
                <a:cubicBezTo>
                  <a:pt x="53516" y="11736"/>
                  <a:pt x="81849" y="0"/>
                  <a:pt x="111392" y="0"/>
                </a:cubicBezTo>
                <a:lnTo>
                  <a:pt x="6997968" y="0"/>
                </a:lnTo>
                <a:cubicBezTo>
                  <a:pt x="7027511" y="0"/>
                  <a:pt x="7055844" y="11736"/>
                  <a:pt x="7076734" y="32626"/>
                </a:cubicBezTo>
                <a:cubicBezTo>
                  <a:pt x="7097624" y="53516"/>
                  <a:pt x="7109360" y="81849"/>
                  <a:pt x="7109360" y="111392"/>
                </a:cubicBezTo>
                <a:lnTo>
                  <a:pt x="7109360" y="1002532"/>
                </a:lnTo>
                <a:cubicBezTo>
                  <a:pt x="7109360" y="1032075"/>
                  <a:pt x="7097624" y="1060408"/>
                  <a:pt x="7076734" y="1081298"/>
                </a:cubicBezTo>
                <a:cubicBezTo>
                  <a:pt x="7055844" y="1102188"/>
                  <a:pt x="7027511" y="1113924"/>
                  <a:pt x="6997968" y="1113924"/>
                </a:cubicBezTo>
                <a:lnTo>
                  <a:pt x="111392" y="1113924"/>
                </a:lnTo>
                <a:cubicBezTo>
                  <a:pt x="81849" y="1113924"/>
                  <a:pt x="53516" y="1102188"/>
                  <a:pt x="32626" y="1081298"/>
                </a:cubicBezTo>
                <a:cubicBezTo>
                  <a:pt x="11736" y="1060408"/>
                  <a:pt x="0" y="1032075"/>
                  <a:pt x="0" y="1002532"/>
                </a:cubicBezTo>
                <a:lnTo>
                  <a:pt x="0" y="11139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1152000" tIns="76200" rIns="76200" bIns="76200" spcCol="1270" anchor="ctr"/>
          <a:lstStyle/>
          <a:p>
            <a:pPr defTabSz="8890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b="1" dirty="0" err="1" smtClean="0">
                <a:solidFill>
                  <a:srgbClr val="00A6D3"/>
                </a:solidFill>
                <a:cs typeface="Arial" pitchFamily="34" charset="0"/>
              </a:rPr>
              <a:t>Fjernvarme</a:t>
            </a:r>
            <a:endParaRPr lang="en-US" b="1" dirty="0" smtClean="0">
              <a:solidFill>
                <a:srgbClr val="00A6D3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Statkrafts strategi</a:t>
            </a:r>
          </a:p>
        </p:txBody>
      </p: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3760869" y="1166775"/>
            <a:ext cx="5459412" cy="3673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 sz="16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4067460" y="1204532"/>
            <a:ext cx="4644739" cy="652435"/>
          </a:xfrm>
          <a:custGeom>
            <a:avLst/>
            <a:gdLst>
              <a:gd name="connsiteX0" fmla="*/ 0 w 7109360"/>
              <a:gd name="connsiteY0" fmla="*/ 111392 h 1113924"/>
              <a:gd name="connsiteX1" fmla="*/ 32626 w 7109360"/>
              <a:gd name="connsiteY1" fmla="*/ 32626 h 1113924"/>
              <a:gd name="connsiteX2" fmla="*/ 111392 w 7109360"/>
              <a:gd name="connsiteY2" fmla="*/ 0 h 1113924"/>
              <a:gd name="connsiteX3" fmla="*/ 6997968 w 7109360"/>
              <a:gd name="connsiteY3" fmla="*/ 0 h 1113924"/>
              <a:gd name="connsiteX4" fmla="*/ 7076734 w 7109360"/>
              <a:gd name="connsiteY4" fmla="*/ 32626 h 1113924"/>
              <a:gd name="connsiteX5" fmla="*/ 7109360 w 7109360"/>
              <a:gd name="connsiteY5" fmla="*/ 111392 h 1113924"/>
              <a:gd name="connsiteX6" fmla="*/ 7109360 w 7109360"/>
              <a:gd name="connsiteY6" fmla="*/ 1002532 h 1113924"/>
              <a:gd name="connsiteX7" fmla="*/ 7076734 w 7109360"/>
              <a:gd name="connsiteY7" fmla="*/ 1081298 h 1113924"/>
              <a:gd name="connsiteX8" fmla="*/ 6997968 w 7109360"/>
              <a:gd name="connsiteY8" fmla="*/ 1113924 h 1113924"/>
              <a:gd name="connsiteX9" fmla="*/ 111392 w 7109360"/>
              <a:gd name="connsiteY9" fmla="*/ 1113924 h 1113924"/>
              <a:gd name="connsiteX10" fmla="*/ 32626 w 7109360"/>
              <a:gd name="connsiteY10" fmla="*/ 1081298 h 1113924"/>
              <a:gd name="connsiteX11" fmla="*/ 0 w 7109360"/>
              <a:gd name="connsiteY11" fmla="*/ 1002532 h 1113924"/>
              <a:gd name="connsiteX12" fmla="*/ 0 w 7109360"/>
              <a:gd name="connsiteY12" fmla="*/ 111392 h 1113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109360" h="1113924">
                <a:moveTo>
                  <a:pt x="0" y="111392"/>
                </a:moveTo>
                <a:cubicBezTo>
                  <a:pt x="0" y="81849"/>
                  <a:pt x="11736" y="53516"/>
                  <a:pt x="32626" y="32626"/>
                </a:cubicBezTo>
                <a:cubicBezTo>
                  <a:pt x="53516" y="11736"/>
                  <a:pt x="81849" y="0"/>
                  <a:pt x="111392" y="0"/>
                </a:cubicBezTo>
                <a:lnTo>
                  <a:pt x="6997968" y="0"/>
                </a:lnTo>
                <a:cubicBezTo>
                  <a:pt x="7027511" y="0"/>
                  <a:pt x="7055844" y="11736"/>
                  <a:pt x="7076734" y="32626"/>
                </a:cubicBezTo>
                <a:cubicBezTo>
                  <a:pt x="7097624" y="53516"/>
                  <a:pt x="7109360" y="81849"/>
                  <a:pt x="7109360" y="111392"/>
                </a:cubicBezTo>
                <a:lnTo>
                  <a:pt x="7109360" y="1002532"/>
                </a:lnTo>
                <a:cubicBezTo>
                  <a:pt x="7109360" y="1032075"/>
                  <a:pt x="7097624" y="1060408"/>
                  <a:pt x="7076734" y="1081298"/>
                </a:cubicBezTo>
                <a:cubicBezTo>
                  <a:pt x="7055844" y="1102188"/>
                  <a:pt x="7027511" y="1113924"/>
                  <a:pt x="6997968" y="1113924"/>
                </a:cubicBezTo>
                <a:lnTo>
                  <a:pt x="111392" y="1113924"/>
                </a:lnTo>
                <a:cubicBezTo>
                  <a:pt x="81849" y="1113924"/>
                  <a:pt x="53516" y="1102188"/>
                  <a:pt x="32626" y="1081298"/>
                </a:cubicBezTo>
                <a:cubicBezTo>
                  <a:pt x="11736" y="1060408"/>
                  <a:pt x="0" y="1032075"/>
                  <a:pt x="0" y="1002532"/>
                </a:cubicBezTo>
                <a:lnTo>
                  <a:pt x="0" y="11139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1152000" tIns="76200" rIns="76200" bIns="76200" spcCol="1270" anchor="ctr"/>
          <a:lstStyle/>
          <a:p>
            <a:pPr defTabSz="889000">
              <a:lnSpc>
                <a:spcPct val="90000"/>
              </a:lnSpc>
              <a:defRPr/>
            </a:pPr>
            <a:r>
              <a:rPr lang="en-US" b="1" dirty="0" err="1" smtClean="0">
                <a:solidFill>
                  <a:srgbClr val="00A6D3"/>
                </a:solidFill>
                <a:cs typeface="Arial" pitchFamily="34" charset="0"/>
              </a:rPr>
              <a:t>Fleksibel</a:t>
            </a:r>
            <a:r>
              <a:rPr lang="en-US" b="1" dirty="0" smtClean="0">
                <a:solidFill>
                  <a:srgbClr val="00A6D3"/>
                </a:solidFill>
                <a:cs typeface="Arial" pitchFamily="34" charset="0"/>
              </a:rPr>
              <a:t> </a:t>
            </a:r>
            <a:r>
              <a:rPr lang="en-US" b="1" dirty="0" err="1" smtClean="0">
                <a:solidFill>
                  <a:srgbClr val="00A6D3"/>
                </a:solidFill>
                <a:cs typeface="Arial" pitchFamily="34" charset="0"/>
              </a:rPr>
              <a:t>produksjon</a:t>
            </a:r>
            <a:r>
              <a:rPr lang="en-US" b="1" dirty="0" smtClean="0">
                <a:solidFill>
                  <a:srgbClr val="00A6D3"/>
                </a:solidFill>
                <a:cs typeface="Arial" pitchFamily="34" charset="0"/>
              </a:rPr>
              <a:t> </a:t>
            </a:r>
            <a:r>
              <a:rPr lang="en-US" b="1" dirty="0" err="1" smtClean="0">
                <a:solidFill>
                  <a:srgbClr val="00A6D3"/>
                </a:solidFill>
                <a:cs typeface="Arial" pitchFamily="34" charset="0"/>
              </a:rPr>
              <a:t>i</a:t>
            </a:r>
            <a:r>
              <a:rPr lang="en-US" b="1" dirty="0" smtClean="0">
                <a:solidFill>
                  <a:srgbClr val="00A6D3"/>
                </a:solidFill>
                <a:cs typeface="Arial" pitchFamily="34" charset="0"/>
              </a:rPr>
              <a:t> Europa</a:t>
            </a:r>
          </a:p>
        </p:txBody>
      </p:sp>
      <p:sp>
        <p:nvSpPr>
          <p:cNvPr id="8" name="Freeform 7"/>
          <p:cNvSpPr/>
          <p:nvPr/>
        </p:nvSpPr>
        <p:spPr>
          <a:xfrm>
            <a:off x="4048412" y="3455781"/>
            <a:ext cx="4663788" cy="649964"/>
          </a:xfrm>
          <a:custGeom>
            <a:avLst/>
            <a:gdLst>
              <a:gd name="connsiteX0" fmla="*/ 0 w 7109360"/>
              <a:gd name="connsiteY0" fmla="*/ 111392 h 1113924"/>
              <a:gd name="connsiteX1" fmla="*/ 32626 w 7109360"/>
              <a:gd name="connsiteY1" fmla="*/ 32626 h 1113924"/>
              <a:gd name="connsiteX2" fmla="*/ 111392 w 7109360"/>
              <a:gd name="connsiteY2" fmla="*/ 0 h 1113924"/>
              <a:gd name="connsiteX3" fmla="*/ 6997968 w 7109360"/>
              <a:gd name="connsiteY3" fmla="*/ 0 h 1113924"/>
              <a:gd name="connsiteX4" fmla="*/ 7076734 w 7109360"/>
              <a:gd name="connsiteY4" fmla="*/ 32626 h 1113924"/>
              <a:gd name="connsiteX5" fmla="*/ 7109360 w 7109360"/>
              <a:gd name="connsiteY5" fmla="*/ 111392 h 1113924"/>
              <a:gd name="connsiteX6" fmla="*/ 7109360 w 7109360"/>
              <a:gd name="connsiteY6" fmla="*/ 1002532 h 1113924"/>
              <a:gd name="connsiteX7" fmla="*/ 7076734 w 7109360"/>
              <a:gd name="connsiteY7" fmla="*/ 1081298 h 1113924"/>
              <a:gd name="connsiteX8" fmla="*/ 6997968 w 7109360"/>
              <a:gd name="connsiteY8" fmla="*/ 1113924 h 1113924"/>
              <a:gd name="connsiteX9" fmla="*/ 111392 w 7109360"/>
              <a:gd name="connsiteY9" fmla="*/ 1113924 h 1113924"/>
              <a:gd name="connsiteX10" fmla="*/ 32626 w 7109360"/>
              <a:gd name="connsiteY10" fmla="*/ 1081298 h 1113924"/>
              <a:gd name="connsiteX11" fmla="*/ 0 w 7109360"/>
              <a:gd name="connsiteY11" fmla="*/ 1002532 h 1113924"/>
              <a:gd name="connsiteX12" fmla="*/ 0 w 7109360"/>
              <a:gd name="connsiteY12" fmla="*/ 111392 h 1113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109360" h="1113924">
                <a:moveTo>
                  <a:pt x="0" y="111392"/>
                </a:moveTo>
                <a:cubicBezTo>
                  <a:pt x="0" y="81849"/>
                  <a:pt x="11736" y="53516"/>
                  <a:pt x="32626" y="32626"/>
                </a:cubicBezTo>
                <a:cubicBezTo>
                  <a:pt x="53516" y="11736"/>
                  <a:pt x="81849" y="0"/>
                  <a:pt x="111392" y="0"/>
                </a:cubicBezTo>
                <a:lnTo>
                  <a:pt x="6997968" y="0"/>
                </a:lnTo>
                <a:cubicBezTo>
                  <a:pt x="7027511" y="0"/>
                  <a:pt x="7055844" y="11736"/>
                  <a:pt x="7076734" y="32626"/>
                </a:cubicBezTo>
                <a:cubicBezTo>
                  <a:pt x="7097624" y="53516"/>
                  <a:pt x="7109360" y="81849"/>
                  <a:pt x="7109360" y="111392"/>
                </a:cubicBezTo>
                <a:lnTo>
                  <a:pt x="7109360" y="1002532"/>
                </a:lnTo>
                <a:cubicBezTo>
                  <a:pt x="7109360" y="1032075"/>
                  <a:pt x="7097624" y="1060408"/>
                  <a:pt x="7076734" y="1081298"/>
                </a:cubicBezTo>
                <a:cubicBezTo>
                  <a:pt x="7055844" y="1102188"/>
                  <a:pt x="7027511" y="1113924"/>
                  <a:pt x="6997968" y="1113924"/>
                </a:cubicBezTo>
                <a:lnTo>
                  <a:pt x="111392" y="1113924"/>
                </a:lnTo>
                <a:cubicBezTo>
                  <a:pt x="81849" y="1113924"/>
                  <a:pt x="53516" y="1102188"/>
                  <a:pt x="32626" y="1081298"/>
                </a:cubicBezTo>
                <a:cubicBezTo>
                  <a:pt x="11736" y="1060408"/>
                  <a:pt x="0" y="1032075"/>
                  <a:pt x="0" y="1002532"/>
                </a:cubicBezTo>
                <a:lnTo>
                  <a:pt x="0" y="11139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1152000" tIns="76200" rIns="76200" bIns="76200" spcCol="1270" anchor="ctr"/>
          <a:lstStyle/>
          <a:p>
            <a:pPr defTabSz="8890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b="1" dirty="0" err="1" smtClean="0">
                <a:solidFill>
                  <a:srgbClr val="00A6D3"/>
                </a:solidFill>
                <a:cs typeface="Arial" pitchFamily="34" charset="0"/>
              </a:rPr>
              <a:t>Vindkraft</a:t>
            </a:r>
            <a:endParaRPr lang="en-US" b="1" dirty="0">
              <a:solidFill>
                <a:srgbClr val="00A6D3"/>
              </a:solidFill>
              <a:cs typeface="Arial" pitchFamily="34" charset="0"/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4048412" y="2707172"/>
            <a:ext cx="4663788" cy="649964"/>
          </a:xfrm>
          <a:custGeom>
            <a:avLst/>
            <a:gdLst>
              <a:gd name="connsiteX0" fmla="*/ 0 w 7109360"/>
              <a:gd name="connsiteY0" fmla="*/ 111392 h 1113924"/>
              <a:gd name="connsiteX1" fmla="*/ 32626 w 7109360"/>
              <a:gd name="connsiteY1" fmla="*/ 32626 h 1113924"/>
              <a:gd name="connsiteX2" fmla="*/ 111392 w 7109360"/>
              <a:gd name="connsiteY2" fmla="*/ 0 h 1113924"/>
              <a:gd name="connsiteX3" fmla="*/ 6997968 w 7109360"/>
              <a:gd name="connsiteY3" fmla="*/ 0 h 1113924"/>
              <a:gd name="connsiteX4" fmla="*/ 7076734 w 7109360"/>
              <a:gd name="connsiteY4" fmla="*/ 32626 h 1113924"/>
              <a:gd name="connsiteX5" fmla="*/ 7109360 w 7109360"/>
              <a:gd name="connsiteY5" fmla="*/ 111392 h 1113924"/>
              <a:gd name="connsiteX6" fmla="*/ 7109360 w 7109360"/>
              <a:gd name="connsiteY6" fmla="*/ 1002532 h 1113924"/>
              <a:gd name="connsiteX7" fmla="*/ 7076734 w 7109360"/>
              <a:gd name="connsiteY7" fmla="*/ 1081298 h 1113924"/>
              <a:gd name="connsiteX8" fmla="*/ 6997968 w 7109360"/>
              <a:gd name="connsiteY8" fmla="*/ 1113924 h 1113924"/>
              <a:gd name="connsiteX9" fmla="*/ 111392 w 7109360"/>
              <a:gd name="connsiteY9" fmla="*/ 1113924 h 1113924"/>
              <a:gd name="connsiteX10" fmla="*/ 32626 w 7109360"/>
              <a:gd name="connsiteY10" fmla="*/ 1081298 h 1113924"/>
              <a:gd name="connsiteX11" fmla="*/ 0 w 7109360"/>
              <a:gd name="connsiteY11" fmla="*/ 1002532 h 1113924"/>
              <a:gd name="connsiteX12" fmla="*/ 0 w 7109360"/>
              <a:gd name="connsiteY12" fmla="*/ 111392 h 1113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109360" h="1113924">
                <a:moveTo>
                  <a:pt x="0" y="111392"/>
                </a:moveTo>
                <a:cubicBezTo>
                  <a:pt x="0" y="81849"/>
                  <a:pt x="11736" y="53516"/>
                  <a:pt x="32626" y="32626"/>
                </a:cubicBezTo>
                <a:cubicBezTo>
                  <a:pt x="53516" y="11736"/>
                  <a:pt x="81849" y="0"/>
                  <a:pt x="111392" y="0"/>
                </a:cubicBezTo>
                <a:lnTo>
                  <a:pt x="6997968" y="0"/>
                </a:lnTo>
                <a:cubicBezTo>
                  <a:pt x="7027511" y="0"/>
                  <a:pt x="7055844" y="11736"/>
                  <a:pt x="7076734" y="32626"/>
                </a:cubicBezTo>
                <a:cubicBezTo>
                  <a:pt x="7097624" y="53516"/>
                  <a:pt x="7109360" y="81849"/>
                  <a:pt x="7109360" y="111392"/>
                </a:cubicBezTo>
                <a:lnTo>
                  <a:pt x="7109360" y="1002532"/>
                </a:lnTo>
                <a:cubicBezTo>
                  <a:pt x="7109360" y="1032075"/>
                  <a:pt x="7097624" y="1060408"/>
                  <a:pt x="7076734" y="1081298"/>
                </a:cubicBezTo>
                <a:cubicBezTo>
                  <a:pt x="7055844" y="1102188"/>
                  <a:pt x="7027511" y="1113924"/>
                  <a:pt x="6997968" y="1113924"/>
                </a:cubicBezTo>
                <a:lnTo>
                  <a:pt x="111392" y="1113924"/>
                </a:lnTo>
                <a:cubicBezTo>
                  <a:pt x="81849" y="1113924"/>
                  <a:pt x="53516" y="1102188"/>
                  <a:pt x="32626" y="1081298"/>
                </a:cubicBezTo>
                <a:cubicBezTo>
                  <a:pt x="11736" y="1060408"/>
                  <a:pt x="0" y="1032075"/>
                  <a:pt x="0" y="1002532"/>
                </a:cubicBezTo>
                <a:lnTo>
                  <a:pt x="0" y="11139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1152000" tIns="76200" rIns="76200" bIns="76200" spcCol="1270" anchor="ctr"/>
          <a:lstStyle/>
          <a:p>
            <a:pPr defTabSz="8890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b="1" dirty="0" err="1" smtClean="0">
                <a:solidFill>
                  <a:srgbClr val="00A6D3"/>
                </a:solidFill>
                <a:cs typeface="Arial" pitchFamily="34" charset="0"/>
              </a:rPr>
              <a:t>Internasjonal</a:t>
            </a:r>
            <a:r>
              <a:rPr lang="en-US" b="1" dirty="0" smtClean="0">
                <a:solidFill>
                  <a:srgbClr val="00A6D3"/>
                </a:solidFill>
                <a:cs typeface="Arial" pitchFamily="34" charset="0"/>
              </a:rPr>
              <a:t> </a:t>
            </a:r>
            <a:r>
              <a:rPr lang="en-US" b="1" dirty="0" err="1" smtClean="0">
                <a:solidFill>
                  <a:srgbClr val="00A6D3"/>
                </a:solidFill>
                <a:cs typeface="Arial" pitchFamily="34" charset="0"/>
              </a:rPr>
              <a:t>vannkraft</a:t>
            </a:r>
            <a:endParaRPr lang="en-US" b="1" dirty="0">
              <a:solidFill>
                <a:srgbClr val="00A6D3"/>
              </a:solidFill>
              <a:cs typeface="Arial" pitchFamily="34" charset="0"/>
            </a:endParaRPr>
          </a:p>
        </p:txBody>
      </p:sp>
      <p:pic>
        <p:nvPicPr>
          <p:cNvPr id="742" name="Picture 29" descr="http://imsv01/FotoWeb/FWbin/preview.dll/151111hk0002.tif?D=E063B858E382933EF016743091149C0ECE257547A69FBC4817FC323023C450BF585E204AF0C0DE4AA5215D94B455BABFA216C92A053889F4661C70C1EEC4D6F021EFB6AF8A65BF739A8F5B68647AB610F42F08DF84588EE7C587C49BB6AACBF031419917CBCD9A6EC6972E601AAB73DE630C1E9AF3F40BC4710651E99D4AC715C893CDC9D3EAD606D6E841035D1A6450"/>
          <p:cNvPicPr>
            <a:picLocks noChangeAspect="1" noChangeArrowheads="1"/>
          </p:cNvPicPr>
          <p:nvPr/>
        </p:nvPicPr>
        <p:blipFill rotWithShape="1">
          <a:blip r:embed="rId7" cstate="screen"/>
          <a:srcRect t="-1" r="14324" b="16829"/>
          <a:stretch/>
        </p:blipFill>
        <p:spPr bwMode="auto">
          <a:xfrm>
            <a:off x="4110669" y="3486967"/>
            <a:ext cx="925410" cy="598898"/>
          </a:xfrm>
          <a:prstGeom prst="roundRect">
            <a:avLst/>
          </a:prstGeom>
          <a:blipFill dpi="0" rotWithShape="0">
            <a:blip r:embed="rId8" cstate="screen"/>
            <a:srcRect/>
            <a:stretch>
              <a:fillRect/>
            </a:stretch>
          </a:blipFill>
          <a:ln w="25400">
            <a:noFill/>
            <a:round/>
            <a:headEnd/>
            <a:tailEnd/>
          </a:ln>
        </p:spPr>
      </p:pic>
      <p:pic>
        <p:nvPicPr>
          <p:cNvPr id="743" name="Picture 33" descr="http://imsv01/FotoWeb/FWbin/preview.dll/140909hk0010.tif?D=1918ACD01992C5A8903520201BB18AD3CE257547A69FBC4817FC323023C450BF585E204AF0C0DE4AA5215D94B455BABFA216C92A053889F4661C70C1EEC4D6F021EFB6AF8A65BF739A8F5B68647AB610F42F08DF84588EE7C587C49BB6AACBF0E882D5DE6867A0E3D58995AF1C152B34630C1E9AF3F40BC4710651E99D4AC715C893CDC9D3EAD606D6E841035D1A6450"/>
          <p:cNvPicPr>
            <a:picLocks noChangeAspect="1" noChangeArrowheads="1"/>
          </p:cNvPicPr>
          <p:nvPr/>
        </p:nvPicPr>
        <p:blipFill rotWithShape="1">
          <a:blip r:embed="rId9" cstate="screen"/>
          <a:srcRect r="14489" b="16841"/>
          <a:stretch/>
        </p:blipFill>
        <p:spPr bwMode="auto">
          <a:xfrm>
            <a:off x="4103378" y="2736400"/>
            <a:ext cx="923175" cy="598810"/>
          </a:xfrm>
          <a:prstGeom prst="roundRect">
            <a:avLst/>
          </a:prstGeom>
          <a:noFill/>
        </p:spPr>
      </p:pic>
      <p:pic>
        <p:nvPicPr>
          <p:cNvPr id="755" name="Picture 38"/>
          <p:cNvPicPr>
            <a:picLocks noChangeAspect="1" noChangeArrowheads="1"/>
          </p:cNvPicPr>
          <p:nvPr/>
        </p:nvPicPr>
        <p:blipFill>
          <a:blip r:embed="rId10" cstate="print"/>
          <a:srcRect b="18259"/>
          <a:stretch>
            <a:fillRect/>
          </a:stretch>
        </p:blipFill>
        <p:spPr bwMode="auto">
          <a:xfrm>
            <a:off x="4120718" y="1230355"/>
            <a:ext cx="915360" cy="598582"/>
          </a:xfrm>
          <a:prstGeom prst="roundRect">
            <a:avLst/>
          </a:prstGeom>
          <a:blipFill dpi="0" rotWithShape="0">
            <a:blip r:embed="rId8" cstate="screen"/>
            <a:srcRect/>
            <a:stretch>
              <a:fillRect/>
            </a:stretch>
          </a:blipFill>
          <a:ln w="25400">
            <a:noFill/>
            <a:round/>
            <a:headEnd/>
            <a:tailEnd/>
          </a:ln>
        </p:spPr>
      </p:pic>
      <p:sp>
        <p:nvSpPr>
          <p:cNvPr id="16" name="Freeform 15"/>
          <p:cNvSpPr/>
          <p:nvPr/>
        </p:nvSpPr>
        <p:spPr>
          <a:xfrm>
            <a:off x="4048455" y="1954463"/>
            <a:ext cx="4663744" cy="649964"/>
          </a:xfrm>
          <a:custGeom>
            <a:avLst/>
            <a:gdLst>
              <a:gd name="connsiteX0" fmla="*/ 0 w 7109360"/>
              <a:gd name="connsiteY0" fmla="*/ 111392 h 1113924"/>
              <a:gd name="connsiteX1" fmla="*/ 32626 w 7109360"/>
              <a:gd name="connsiteY1" fmla="*/ 32626 h 1113924"/>
              <a:gd name="connsiteX2" fmla="*/ 111392 w 7109360"/>
              <a:gd name="connsiteY2" fmla="*/ 0 h 1113924"/>
              <a:gd name="connsiteX3" fmla="*/ 6997968 w 7109360"/>
              <a:gd name="connsiteY3" fmla="*/ 0 h 1113924"/>
              <a:gd name="connsiteX4" fmla="*/ 7076734 w 7109360"/>
              <a:gd name="connsiteY4" fmla="*/ 32626 h 1113924"/>
              <a:gd name="connsiteX5" fmla="*/ 7109360 w 7109360"/>
              <a:gd name="connsiteY5" fmla="*/ 111392 h 1113924"/>
              <a:gd name="connsiteX6" fmla="*/ 7109360 w 7109360"/>
              <a:gd name="connsiteY6" fmla="*/ 1002532 h 1113924"/>
              <a:gd name="connsiteX7" fmla="*/ 7076734 w 7109360"/>
              <a:gd name="connsiteY7" fmla="*/ 1081298 h 1113924"/>
              <a:gd name="connsiteX8" fmla="*/ 6997968 w 7109360"/>
              <a:gd name="connsiteY8" fmla="*/ 1113924 h 1113924"/>
              <a:gd name="connsiteX9" fmla="*/ 111392 w 7109360"/>
              <a:gd name="connsiteY9" fmla="*/ 1113924 h 1113924"/>
              <a:gd name="connsiteX10" fmla="*/ 32626 w 7109360"/>
              <a:gd name="connsiteY10" fmla="*/ 1081298 h 1113924"/>
              <a:gd name="connsiteX11" fmla="*/ 0 w 7109360"/>
              <a:gd name="connsiteY11" fmla="*/ 1002532 h 1113924"/>
              <a:gd name="connsiteX12" fmla="*/ 0 w 7109360"/>
              <a:gd name="connsiteY12" fmla="*/ 111392 h 1113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7109360" h="1113924">
                <a:moveTo>
                  <a:pt x="0" y="111392"/>
                </a:moveTo>
                <a:cubicBezTo>
                  <a:pt x="0" y="81849"/>
                  <a:pt x="11736" y="53516"/>
                  <a:pt x="32626" y="32626"/>
                </a:cubicBezTo>
                <a:cubicBezTo>
                  <a:pt x="53516" y="11736"/>
                  <a:pt x="81849" y="0"/>
                  <a:pt x="111392" y="0"/>
                </a:cubicBezTo>
                <a:lnTo>
                  <a:pt x="6997968" y="0"/>
                </a:lnTo>
                <a:cubicBezTo>
                  <a:pt x="7027511" y="0"/>
                  <a:pt x="7055844" y="11736"/>
                  <a:pt x="7076734" y="32626"/>
                </a:cubicBezTo>
                <a:cubicBezTo>
                  <a:pt x="7097624" y="53516"/>
                  <a:pt x="7109360" y="81849"/>
                  <a:pt x="7109360" y="111392"/>
                </a:cubicBezTo>
                <a:lnTo>
                  <a:pt x="7109360" y="1002532"/>
                </a:lnTo>
                <a:cubicBezTo>
                  <a:pt x="7109360" y="1032075"/>
                  <a:pt x="7097624" y="1060408"/>
                  <a:pt x="7076734" y="1081298"/>
                </a:cubicBezTo>
                <a:cubicBezTo>
                  <a:pt x="7055844" y="1102188"/>
                  <a:pt x="7027511" y="1113924"/>
                  <a:pt x="6997968" y="1113924"/>
                </a:cubicBezTo>
                <a:lnTo>
                  <a:pt x="111392" y="1113924"/>
                </a:lnTo>
                <a:cubicBezTo>
                  <a:pt x="81849" y="1113924"/>
                  <a:pt x="53516" y="1102188"/>
                  <a:pt x="32626" y="1081298"/>
                </a:cubicBezTo>
                <a:cubicBezTo>
                  <a:pt x="11736" y="1060408"/>
                  <a:pt x="0" y="1032075"/>
                  <a:pt x="0" y="1002532"/>
                </a:cubicBezTo>
                <a:lnTo>
                  <a:pt x="0" y="11139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1152000" tIns="76200" rIns="76200" bIns="76200" spcCol="1270" anchor="ctr"/>
          <a:lstStyle/>
          <a:p>
            <a:pPr defTabSz="889000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b="1" dirty="0" err="1" smtClean="0">
                <a:solidFill>
                  <a:srgbClr val="00A6D3"/>
                </a:solidFill>
                <a:cs typeface="Arial" pitchFamily="34" charset="0"/>
              </a:rPr>
              <a:t>Markedsoperasjoner</a:t>
            </a:r>
            <a:endParaRPr lang="en-US" b="1" dirty="0">
              <a:solidFill>
                <a:srgbClr val="00A6D3"/>
              </a:solidFill>
              <a:cs typeface="Arial" pitchFamily="34" charset="0"/>
            </a:endParaRPr>
          </a:p>
        </p:txBody>
      </p:sp>
      <p:pic>
        <p:nvPicPr>
          <p:cNvPr id="22" name="Picture 4" descr="http://www.statkraftvarme.no/images/Statkraft%20HVS%2001_460_tcm84-14883.jpg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0669" y="4235571"/>
            <a:ext cx="906359" cy="604896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5" descr="http://sharepoint.statkraft.com/_layouts/FC.ImageSearch/ThumbnailHandler.ashx?url=http://sharepoint.statkraft.com/sites/photo/StatkraftPhoto/121109hk0003.jpg&amp;w=1000&amp;h=752&amp;IsDlg=1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0712" y="1971508"/>
            <a:ext cx="925410" cy="615398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300217" y="1657421"/>
            <a:ext cx="3250498" cy="2608991"/>
          </a:xfrm>
        </p:spPr>
        <p:txBody>
          <a:bodyPr/>
          <a:lstStyle/>
          <a:p>
            <a:pPr marL="0" indent="0">
              <a:buNone/>
            </a:pPr>
            <a:r>
              <a:rPr lang="nb-NO" sz="2000" b="1" dirty="0" smtClean="0">
                <a:solidFill>
                  <a:schemeClr val="accent1"/>
                </a:solidFill>
              </a:rPr>
              <a:t>Hovedretninger: </a:t>
            </a:r>
          </a:p>
          <a:p>
            <a:pPr marL="341312" indent="-342900">
              <a:buClr>
                <a:schemeClr val="accent1"/>
              </a:buClr>
              <a:buSzPct val="100000"/>
              <a:buAutoNum type="arabicParenR"/>
            </a:pPr>
            <a:r>
              <a:rPr lang="nb-NO" dirty="0" smtClean="0"/>
              <a:t>Delta i Europas omlegging til renere kraftproduksjon</a:t>
            </a:r>
            <a:endParaRPr lang="nb-NO" dirty="0"/>
          </a:p>
          <a:p>
            <a:pPr marL="341312" indent="-342900">
              <a:buClr>
                <a:schemeClr val="accent1"/>
              </a:buClr>
              <a:buSzPct val="100000"/>
              <a:buAutoNum type="arabicParenR"/>
            </a:pPr>
            <a:endParaRPr lang="nb-NO" dirty="0" smtClean="0"/>
          </a:p>
          <a:p>
            <a:pPr marL="341312" indent="-342900">
              <a:buClr>
                <a:schemeClr val="accent1"/>
              </a:buClr>
              <a:buSzPct val="100000"/>
              <a:buAutoNum type="arabicParenR"/>
            </a:pPr>
            <a:r>
              <a:rPr lang="nb-NO" dirty="0" smtClean="0"/>
              <a:t>Bidra med ny, ren produksjon i fremvoksende markeder </a:t>
            </a:r>
          </a:p>
          <a:p>
            <a:pPr marL="701675" lvl="2" indent="-342900">
              <a:buAutoNum type="arabicParenR"/>
            </a:pPr>
            <a:endParaRPr lang="nb-NO" sz="1800" dirty="0"/>
          </a:p>
        </p:txBody>
      </p:sp>
      <p:sp>
        <p:nvSpPr>
          <p:cNvPr id="3" name="Chevron 2"/>
          <p:cNvSpPr/>
          <p:nvPr/>
        </p:nvSpPr>
        <p:spPr>
          <a:xfrm>
            <a:off x="3556014" y="2707172"/>
            <a:ext cx="219694" cy="616572"/>
          </a:xfrm>
          <a:prstGeom prst="chevron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pPr/>
              <a:t>4</a:t>
            </a:fld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015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EUs energiomlegging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>
          <a:xfrm>
            <a:off x="323579" y="1491850"/>
            <a:ext cx="4040188" cy="3258345"/>
          </a:xfrm>
          <a:solidFill>
            <a:schemeClr val="accent2">
              <a:lumMod val="60000"/>
              <a:lumOff val="40000"/>
            </a:schemeClr>
          </a:solidFill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b="1" dirty="0" smtClean="0"/>
              <a:t>EUs klima- og energimål</a:t>
            </a:r>
          </a:p>
          <a:p>
            <a:pPr>
              <a:buClr>
                <a:schemeClr val="bg1"/>
              </a:buClr>
            </a:pPr>
            <a:r>
              <a:rPr lang="nb-NO" dirty="0" smtClean="0"/>
              <a:t>Vedtatte mål for 2020</a:t>
            </a:r>
          </a:p>
          <a:p>
            <a:pPr lvl="1">
              <a:buClr>
                <a:schemeClr val="bg1"/>
              </a:buClr>
            </a:pPr>
            <a:r>
              <a:rPr lang="nb-NO" dirty="0" smtClean="0"/>
              <a:t>20 / 20 / 20 – klimagassutslipp,  fornybart og energieffektivisering</a:t>
            </a:r>
          </a:p>
          <a:p>
            <a:pPr>
              <a:buClr>
                <a:schemeClr val="bg1"/>
              </a:buClr>
            </a:pPr>
            <a:r>
              <a:rPr lang="nb-NO" dirty="0" smtClean="0"/>
              <a:t>Foreslåtte mål for 2030 </a:t>
            </a:r>
          </a:p>
          <a:p>
            <a:pPr lvl="1">
              <a:buClr>
                <a:schemeClr val="bg1"/>
              </a:buClr>
            </a:pPr>
            <a:r>
              <a:rPr lang="nb-NO" dirty="0" smtClean="0"/>
              <a:t>40 % reduksjon i klimagassutslipp</a:t>
            </a:r>
          </a:p>
          <a:p>
            <a:pPr lvl="1">
              <a:buClr>
                <a:schemeClr val="bg1"/>
              </a:buClr>
            </a:pPr>
            <a:r>
              <a:rPr lang="nb-NO" dirty="0" smtClean="0"/>
              <a:t>27 % økning i fornybare energikilder</a:t>
            </a:r>
          </a:p>
          <a:p>
            <a:pPr>
              <a:buClr>
                <a:schemeClr val="bg1"/>
              </a:buClr>
            </a:pPr>
            <a:r>
              <a:rPr lang="nb-NO" dirty="0" smtClean="0"/>
              <a:t>Mål for 2050</a:t>
            </a:r>
          </a:p>
          <a:p>
            <a:pPr lvl="1">
              <a:buClr>
                <a:schemeClr val="bg1"/>
              </a:buClr>
            </a:pPr>
            <a:r>
              <a:rPr lang="nb-NO" dirty="0" smtClean="0"/>
              <a:t>80-95 % reduksjon i klimagassutslip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5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pic>
        <p:nvPicPr>
          <p:cNvPr id="614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1212" y="1691348"/>
            <a:ext cx="4460706" cy="30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098095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749" y="29817"/>
            <a:ext cx="3743844" cy="1401418"/>
          </a:xfrm>
        </p:spPr>
        <p:txBody>
          <a:bodyPr anchor="ctr"/>
          <a:lstStyle/>
          <a:p>
            <a:r>
              <a:rPr 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Prisutvikling i det Europeiske kraftmarkedet</a:t>
            </a:r>
            <a:endParaRPr lang="nb-NO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31200" y="5266233"/>
            <a:ext cx="390845" cy="304271"/>
          </a:xfrm>
        </p:spPr>
        <p:txBody>
          <a:bodyPr/>
          <a:lstStyle/>
          <a:p>
            <a:fld id="{5B2ACB19-C0E1-7345-B8BA-15A723BE30E5}" type="slidenum">
              <a:rPr lang="en-US" smtClean="0">
                <a:solidFill>
                  <a:srgbClr val="E5D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6</a:t>
            </a:fld>
            <a:endParaRPr lang="en-US" dirty="0">
              <a:solidFill>
                <a:srgbClr val="E5D1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4514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7053" y="347869"/>
            <a:ext cx="5605222" cy="2592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4515" name="Picture 3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743" y="2879886"/>
            <a:ext cx="4860240" cy="265240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</p:pic>
      <p:sp>
        <p:nvSpPr>
          <p:cNvPr id="6" name="Content Placeholder 1"/>
          <p:cNvSpPr>
            <a:spLocks noGrp="1"/>
          </p:cNvSpPr>
          <p:nvPr>
            <p:ph sz="half" idx="4294967295"/>
          </p:nvPr>
        </p:nvSpPr>
        <p:spPr>
          <a:xfrm>
            <a:off x="152296" y="1759222"/>
            <a:ext cx="3694148" cy="76531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nb-NO" dirty="0" smtClean="0"/>
              <a:t>Betydelig fall i prisene, spesielt i «</a:t>
            </a:r>
            <a:r>
              <a:rPr lang="nb-NO" dirty="0" err="1" smtClean="0"/>
              <a:t>peak</a:t>
            </a:r>
            <a:r>
              <a:rPr lang="nb-NO" dirty="0" smtClean="0"/>
              <a:t>» segmentet</a:t>
            </a:r>
          </a:p>
        </p:txBody>
      </p:sp>
      <p:sp>
        <p:nvSpPr>
          <p:cNvPr id="8" name="Content Placeholder 1"/>
          <p:cNvSpPr>
            <a:spLocks noGrp="1"/>
          </p:cNvSpPr>
          <p:nvPr>
            <p:ph sz="half" idx="4294967295"/>
          </p:nvPr>
        </p:nvSpPr>
        <p:spPr>
          <a:xfrm>
            <a:off x="5227983" y="3341300"/>
            <a:ext cx="3694148" cy="1419539"/>
          </a:xfrm>
          <a:prstGeom prst="rect">
            <a:avLst/>
          </a:prstGeom>
        </p:spPr>
        <p:txBody>
          <a:bodyPr>
            <a:normAutofit fontScale="92500"/>
          </a:bodyPr>
          <a:lstStyle/>
          <a:p>
            <a:r>
              <a:rPr lang="nb-NO" dirty="0" err="1" smtClean="0"/>
              <a:t>Pga</a:t>
            </a:r>
            <a:r>
              <a:rPr lang="nb-NO" dirty="0" smtClean="0"/>
              <a:t> fall i etterspørsel (finanskrise)</a:t>
            </a:r>
          </a:p>
          <a:p>
            <a:r>
              <a:rPr lang="nb-NO" dirty="0" smtClean="0"/>
              <a:t>Fall i kull- og CO2-priser</a:t>
            </a:r>
          </a:p>
          <a:p>
            <a:r>
              <a:rPr lang="nb-NO" dirty="0" smtClean="0"/>
              <a:t>Økt utbygging av vind- og solkraft</a:t>
            </a:r>
          </a:p>
        </p:txBody>
      </p:sp>
    </p:spTree>
    <p:extLst>
      <p:ext uri="{BB962C8B-B14F-4D97-AF65-F5344CB8AC3E}">
        <p14:creationId xmlns:p14="http://schemas.microsoft.com/office/powerpoint/2010/main" val="34956224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 smtClean="0"/>
              <a:t>Kullpriser</a:t>
            </a:r>
            <a:r>
              <a:rPr lang="nb-NO" dirty="0" smtClean="0"/>
              <a:t> er lavere enn gasspriser i Europa</a:t>
            </a: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US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7</a:t>
            </a:fld>
            <a:endParaRPr lang="en-US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19" name="Slide Number Placeholder 3"/>
          <p:cNvSpPr txBox="1">
            <a:spLocks/>
          </p:cNvSpPr>
          <p:nvPr/>
        </p:nvSpPr>
        <p:spPr>
          <a:xfrm>
            <a:off x="376270" y="5266233"/>
            <a:ext cx="390845" cy="3042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800" b="1" kern="1200">
                <a:solidFill>
                  <a:schemeClr val="accent4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nb-NO" dirty="0">
              <a:solidFill>
                <a:srgbClr val="E5D100"/>
              </a:solidFill>
            </a:endParaRPr>
          </a:p>
        </p:txBody>
      </p:sp>
      <p:graphicFrame>
        <p:nvGraphicFramePr>
          <p:cNvPr id="20" name="Content Placeholder 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469514916"/>
              </p:ext>
            </p:extLst>
          </p:nvPr>
        </p:nvGraphicFramePr>
        <p:xfrm>
          <a:off x="362434" y="1421506"/>
          <a:ext cx="5390665" cy="3578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1" name="Rectangle 20"/>
          <p:cNvSpPr/>
          <p:nvPr/>
        </p:nvSpPr>
        <p:spPr>
          <a:xfrm>
            <a:off x="1050567" y="1417414"/>
            <a:ext cx="317216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dirty="0">
                <a:solidFill>
                  <a:srgbClr val="000000"/>
                </a:solidFill>
                <a:cs typeface="Arial" panose="020B0604020202020204" pitchFamily="34" charset="0"/>
              </a:rPr>
              <a:t>Variable </a:t>
            </a:r>
            <a:r>
              <a:rPr lang="en-GB" sz="1400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driftskostnader</a:t>
            </a:r>
            <a:r>
              <a:rPr lang="en-GB" sz="1400" dirty="0" smtClean="0">
                <a:solidFill>
                  <a:srgbClr val="000000"/>
                </a:solidFill>
                <a:cs typeface="Arial" panose="020B0604020202020204" pitchFamily="34" charset="0"/>
              </a:rPr>
              <a:t> (</a:t>
            </a:r>
            <a:r>
              <a:rPr lang="nb-NO" sz="1400" dirty="0" smtClean="0">
                <a:solidFill>
                  <a:srgbClr val="000000"/>
                </a:solidFill>
                <a:cs typeface="Arial" panose="020B0604020202020204" pitchFamily="34" charset="0"/>
              </a:rPr>
              <a:t>€</a:t>
            </a:r>
            <a:r>
              <a:rPr lang="nb-NO" sz="1400" dirty="0">
                <a:solidFill>
                  <a:srgbClr val="000000"/>
                </a:solidFill>
                <a:cs typeface="Arial" panose="020B0604020202020204" pitchFamily="34" charset="0"/>
              </a:rPr>
              <a:t>/</a:t>
            </a:r>
            <a:r>
              <a:rPr lang="nb-NO" sz="1400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MWh</a:t>
            </a:r>
            <a:r>
              <a:rPr lang="nb-NO" sz="1400" dirty="0" smtClean="0">
                <a:solidFill>
                  <a:srgbClr val="000000"/>
                </a:solidFill>
                <a:cs typeface="Arial" panose="020B0604020202020204" pitchFamily="34" charset="0"/>
              </a:rPr>
              <a:t>)</a:t>
            </a:r>
            <a:endParaRPr lang="nb-NO" sz="14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endParaRPr lang="nb-NO" sz="14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>
            <a:off x="873407" y="2811482"/>
            <a:ext cx="4327243" cy="0"/>
          </a:xfrm>
          <a:prstGeom prst="line">
            <a:avLst/>
          </a:prstGeom>
          <a:ln>
            <a:solidFill>
              <a:srgbClr val="C00000"/>
            </a:solidFill>
            <a:prstDash val="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3564397" y="2211860"/>
            <a:ext cx="1969895" cy="8720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D5B700"/>
              </a:buClr>
              <a:buSzPct val="80000"/>
            </a:pPr>
            <a:r>
              <a:rPr lang="en-GB" sz="1400" dirty="0" smtClean="0">
                <a:solidFill>
                  <a:srgbClr val="000000"/>
                </a:solidFill>
                <a:cs typeface="Arial" panose="020B0604020202020204" pitchFamily="34" charset="0"/>
              </a:rPr>
              <a:t>EEX </a:t>
            </a:r>
            <a:r>
              <a:rPr lang="en-GB" sz="1400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kraftpris</a:t>
            </a:r>
            <a:r>
              <a:rPr lang="en-GB" sz="1400" dirty="0" smtClean="0">
                <a:solidFill>
                  <a:srgbClr val="000000"/>
                </a:solidFill>
                <a:cs typeface="Arial" panose="020B0604020202020204" pitchFamily="34" charset="0"/>
              </a:rPr>
              <a:t>, </a:t>
            </a:r>
            <a:r>
              <a:rPr lang="en-GB" sz="1400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Tyskland</a:t>
            </a:r>
            <a:r>
              <a:rPr lang="en-GB" sz="1400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en-GB" sz="1400" dirty="0">
                <a:solidFill>
                  <a:srgbClr val="000000"/>
                </a:solidFill>
                <a:cs typeface="Arial" panose="020B0604020202020204" pitchFamily="34" charset="0"/>
              </a:rPr>
              <a:t>2014</a:t>
            </a:r>
            <a:endParaRPr lang="nb-NO" sz="14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  <a:spcBef>
                <a:spcPts val="800"/>
              </a:spcBef>
              <a:buClr>
                <a:srgbClr val="D5B700"/>
              </a:buClr>
              <a:buSzPct val="80000"/>
            </a:pPr>
            <a:endParaRPr lang="nb-NO" sz="1200" dirty="0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290466" y="1854206"/>
            <a:ext cx="134910" cy="13475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rgbClr val="FFFFFF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280941" y="2196939"/>
            <a:ext cx="134910" cy="13475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rgbClr val="FFFFFF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290466" y="2513122"/>
            <a:ext cx="134910" cy="13475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rgbClr val="FFFFFF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425376" y="1769602"/>
            <a:ext cx="1813749" cy="10084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</a:pPr>
            <a:r>
              <a:rPr lang="nb-NO" sz="1400" dirty="0" smtClean="0">
                <a:solidFill>
                  <a:srgbClr val="000000"/>
                </a:solidFill>
                <a:cs typeface="Arial" pitchFamily="34" charset="0"/>
              </a:rPr>
              <a:t>CO2 kostnader      </a:t>
            </a:r>
          </a:p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</a:pPr>
            <a:r>
              <a:rPr lang="nb-NO" sz="1400" dirty="0" smtClean="0">
                <a:solidFill>
                  <a:srgbClr val="000000"/>
                </a:solidFill>
                <a:cs typeface="Arial" pitchFamily="34" charset="0"/>
              </a:rPr>
              <a:t>Råvarekostnader       </a:t>
            </a:r>
          </a:p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</a:pPr>
            <a:r>
              <a:rPr lang="nb-NO" sz="1400" dirty="0" smtClean="0">
                <a:solidFill>
                  <a:srgbClr val="000000"/>
                </a:solidFill>
                <a:cs typeface="Arial" pitchFamily="34" charset="0"/>
              </a:rPr>
              <a:t>Variabel </a:t>
            </a:r>
            <a:r>
              <a:rPr lang="nb-NO" sz="1400" dirty="0" err="1" smtClean="0">
                <a:solidFill>
                  <a:srgbClr val="000000"/>
                </a:solidFill>
                <a:cs typeface="Arial" pitchFamily="34" charset="0"/>
              </a:rPr>
              <a:t>OpEx</a:t>
            </a:r>
            <a:endParaRPr lang="nb-NO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7745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Endringer i EUs kraftproduksjon i 2013</a:t>
            </a: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2ACB19-C0E1-7345-B8BA-15A723BE30E5}" type="slidenum">
              <a:rPr lang="en-GB" smtClean="0">
                <a:solidFill>
                  <a:srgbClr val="000000">
                    <a:lumMod val="65000"/>
                    <a:lumOff val="35000"/>
                  </a:srgbClr>
                </a:solidFill>
              </a:rPr>
              <a:pPr/>
              <a:t>8</a:t>
            </a:fld>
            <a:endParaRPr lang="en-GB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315933734"/>
              </p:ext>
            </p:extLst>
          </p:nvPr>
        </p:nvGraphicFramePr>
        <p:xfrm>
          <a:off x="154379" y="1226447"/>
          <a:ext cx="8557821" cy="37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Rectangle 6"/>
          <p:cNvSpPr/>
          <p:nvPr/>
        </p:nvSpPr>
        <p:spPr>
          <a:xfrm>
            <a:off x="7016072" y="2222918"/>
            <a:ext cx="216000" cy="216000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016072" y="1890628"/>
            <a:ext cx="216000" cy="21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232072" y="1849835"/>
            <a:ext cx="1733797" cy="6689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</a:pPr>
            <a:r>
              <a:rPr lang="nb-NO" sz="1400" dirty="0" smtClean="0">
                <a:solidFill>
                  <a:srgbClr val="000000"/>
                </a:solidFill>
                <a:cs typeface="Arial" pitchFamily="34" charset="0"/>
              </a:rPr>
              <a:t>Ny</a:t>
            </a:r>
          </a:p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</a:pPr>
            <a:r>
              <a:rPr lang="nb-NO" sz="1400" dirty="0" err="1" smtClean="0">
                <a:solidFill>
                  <a:srgbClr val="000000"/>
                </a:solidFill>
                <a:cs typeface="Arial" pitchFamily="34" charset="0"/>
              </a:rPr>
              <a:t>Dekommisjonert</a:t>
            </a:r>
            <a:endParaRPr lang="nb-NO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5094" y="3106988"/>
            <a:ext cx="606951" cy="3109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</a:pPr>
            <a:r>
              <a:rPr lang="nb-NO" sz="1400" b="1" dirty="0" smtClean="0">
                <a:solidFill>
                  <a:srgbClr val="000000"/>
                </a:solidFill>
                <a:cs typeface="Arial" pitchFamily="34" charset="0"/>
              </a:rPr>
              <a:t>MW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15249" y="5266233"/>
            <a:ext cx="1518467" cy="278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</a:pPr>
            <a:r>
              <a:rPr lang="nb-NO" sz="1100" dirty="0" smtClean="0">
                <a:solidFill>
                  <a:srgbClr val="000000"/>
                </a:solidFill>
                <a:cs typeface="Arial" pitchFamily="34" charset="0"/>
              </a:rPr>
              <a:t>Kilde: EWEA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107209" y="4858714"/>
            <a:ext cx="7858659" cy="2954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  <a:spcBef>
                <a:spcPts val="800"/>
              </a:spcBef>
              <a:buClr>
                <a:srgbClr val="E5D100"/>
              </a:buClr>
              <a:buSzPct val="80000"/>
            </a:pPr>
            <a:r>
              <a:rPr lang="nb-NO" sz="1200" b="1" dirty="0" smtClean="0">
                <a:solidFill>
                  <a:srgbClr val="000000"/>
                </a:solidFill>
                <a:cs typeface="Arial" pitchFamily="34" charset="0"/>
              </a:rPr>
              <a:t>Vind	</a:t>
            </a:r>
            <a:r>
              <a:rPr lang="nb-NO" sz="1200" b="1" dirty="0">
                <a:solidFill>
                  <a:srgbClr val="000000"/>
                </a:solidFill>
                <a:cs typeface="Arial" pitchFamily="34" charset="0"/>
              </a:rPr>
              <a:t>        </a:t>
            </a:r>
            <a:r>
              <a:rPr lang="nb-NO" sz="1200" b="1" dirty="0" smtClean="0">
                <a:solidFill>
                  <a:srgbClr val="000000"/>
                </a:solidFill>
                <a:cs typeface="Arial" pitchFamily="34" charset="0"/>
              </a:rPr>
              <a:t>   PV</a:t>
            </a:r>
            <a:r>
              <a:rPr lang="nb-NO" sz="1200" b="1" dirty="0">
                <a:solidFill>
                  <a:srgbClr val="000000"/>
                </a:solidFill>
                <a:cs typeface="Arial" pitchFamily="34" charset="0"/>
              </a:rPr>
              <a:t>	 </a:t>
            </a:r>
            <a:r>
              <a:rPr lang="nb-NO" sz="1200" b="1" dirty="0" smtClean="0">
                <a:solidFill>
                  <a:srgbClr val="000000"/>
                </a:solidFill>
                <a:cs typeface="Arial" pitchFamily="34" charset="0"/>
              </a:rPr>
              <a:t>       Gass	      Kull	 Biomasse	  Vannkraft          CSP          Olje        Kjernekraft</a:t>
            </a:r>
          </a:p>
        </p:txBody>
      </p:sp>
    </p:spTree>
    <p:extLst>
      <p:ext uri="{BB962C8B-B14F-4D97-AF65-F5344CB8AC3E}">
        <p14:creationId xmlns:p14="http://schemas.microsoft.com/office/powerpoint/2010/main" val="889632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1199" y="245655"/>
            <a:ext cx="8381001" cy="680484"/>
          </a:xfrm>
        </p:spPr>
        <p:txBody>
          <a:bodyPr anchor="ctr"/>
          <a:lstStyle/>
          <a:p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331200" y="5266233"/>
            <a:ext cx="390845" cy="304271"/>
          </a:xfrm>
        </p:spPr>
        <p:txBody>
          <a:bodyPr/>
          <a:lstStyle/>
          <a:p>
            <a:fld id="{5B2ACB19-C0E1-7345-B8BA-15A723BE30E5}" type="slidenum">
              <a:rPr lang="en-US" smtClean="0">
                <a:solidFill>
                  <a:srgbClr val="E5D1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9</a:t>
            </a:fld>
            <a:endParaRPr lang="en-US" dirty="0">
              <a:solidFill>
                <a:srgbClr val="E5D1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38969458"/>
              </p:ext>
            </p:extLst>
          </p:nvPr>
        </p:nvGraphicFramePr>
        <p:xfrm>
          <a:off x="703275" y="926139"/>
          <a:ext cx="7856784" cy="4186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itle 1"/>
          <p:cNvSpPr txBox="1">
            <a:spLocks/>
          </p:cNvSpPr>
          <p:nvPr/>
        </p:nvSpPr>
        <p:spPr>
          <a:xfrm>
            <a:off x="331199" y="0"/>
            <a:ext cx="8381001" cy="1008000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 algn="l" defTabSz="4572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en-US" dirty="0" smtClean="0">
                <a:solidFill>
                  <a:srgbClr val="00B0DC"/>
                </a:solidFill>
              </a:rPr>
              <a:t>Installed power generation capacity Germany per technology [GW]</a:t>
            </a:r>
            <a:endParaRPr lang="de-DE" dirty="0">
              <a:solidFill>
                <a:srgbClr val="00B0D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7578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1W5z2Ohkqb6ARaqCElR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xV71K16E6eXV48qfNWC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1W5z2Ohkqb6ARaqCElR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xV71K16E6eXV48qfNWC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1W5z2Ohkqb6ARaqCElR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1W5z2Ohkqb6ARaqCElR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1W5z2Ohkqb6ARaqCEl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1W5z2Ohkqb6ARaqCEl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McK Moon"/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1W5z2Ohkqb6ARaqCElR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1W5z2Ohkqb6ARaqCElR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1W5z2Ohkqb6ARaqCElR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1W5z2Ohkqb6ARaqCElR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1W5z2Ohkqb6ARaqCElR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1W5z2Ohkqb6ARaqCElR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1W5z2Ohkqb6ARaqCElR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P11KmTmECQm2.e50sKm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P11KmTmECQm2.e50sKm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1W5z2Ohkqb6ARaqCEl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1W5z2Ohkqb6ARaqCElR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xV71K16E6eXV48qfNWC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1W5z2Ohkqb6ARaqCElR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xV71K16E6eXV48qfNWC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Office Theme">
  <a:themeElements>
    <a:clrScheme name="Custom 14">
      <a:dk1>
        <a:srgbClr val="000000"/>
      </a:dk1>
      <a:lt1>
        <a:srgbClr val="FFFFFF"/>
      </a:lt1>
      <a:dk2>
        <a:srgbClr val="00395D"/>
      </a:dk2>
      <a:lt2>
        <a:srgbClr val="CBC7BF"/>
      </a:lt2>
      <a:accent1>
        <a:srgbClr val="00A6D3"/>
      </a:accent1>
      <a:accent2>
        <a:srgbClr val="008A9B"/>
      </a:accent2>
      <a:accent3>
        <a:srgbClr val="ECDB61"/>
      </a:accent3>
      <a:accent4>
        <a:srgbClr val="D5B700"/>
      </a:accent4>
      <a:accent5>
        <a:srgbClr val="A78900"/>
      </a:accent5>
      <a:accent6>
        <a:srgbClr val="5F574F"/>
      </a:accent6>
      <a:hlink>
        <a:srgbClr val="B1DEEE"/>
      </a:hlink>
      <a:folHlink>
        <a:srgbClr val="776F6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Statkraft_CF_OL1202">
  <a:themeElements>
    <a:clrScheme name="Current">
      <a:dk1>
        <a:srgbClr val="000000"/>
      </a:dk1>
      <a:lt1>
        <a:srgbClr val="FFFFFF"/>
      </a:lt1>
      <a:dk2>
        <a:srgbClr val="00A6D3"/>
      </a:dk2>
      <a:lt2>
        <a:srgbClr val="FFFFFF"/>
      </a:lt2>
      <a:accent1>
        <a:srgbClr val="ECECEC"/>
      </a:accent1>
      <a:accent2>
        <a:srgbClr val="97D3E8"/>
      </a:accent2>
      <a:accent3>
        <a:srgbClr val="00A6D3"/>
      </a:accent3>
      <a:accent4>
        <a:srgbClr val="776F65"/>
      </a:accent4>
      <a:accent5>
        <a:srgbClr val="008A9B"/>
      </a:accent5>
      <a:accent6>
        <a:srgbClr val="808080"/>
      </a:accent6>
      <a:hlink>
        <a:srgbClr val="00A6D3"/>
      </a:hlink>
      <a:folHlink>
        <a:srgbClr val="776F65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A6D3"/>
        </a:dk2>
        <a:lt2>
          <a:srgbClr val="FFFFFF"/>
        </a:lt2>
        <a:accent1>
          <a:srgbClr val="ECECEC"/>
        </a:accent1>
        <a:accent2>
          <a:srgbClr val="97D3E8"/>
        </a:accent2>
        <a:accent3>
          <a:srgbClr val="00A6D3"/>
        </a:accent3>
        <a:accent4>
          <a:srgbClr val="776F65"/>
        </a:accent4>
        <a:accent5>
          <a:srgbClr val="008A9B"/>
        </a:accent5>
        <a:accent6>
          <a:srgbClr val="808080"/>
        </a:accent6>
        <a:hlink>
          <a:srgbClr val="00A6D3"/>
        </a:hlink>
        <a:folHlink>
          <a:srgbClr val="776F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Statkraft template English">
  <a:themeElements>
    <a:clrScheme name="Custom 7">
      <a:dk1>
        <a:srgbClr val="000000"/>
      </a:dk1>
      <a:lt1>
        <a:srgbClr val="FFFFFF"/>
      </a:lt1>
      <a:dk2>
        <a:srgbClr val="005088"/>
      </a:dk2>
      <a:lt2>
        <a:srgbClr val="BBB3B0"/>
      </a:lt2>
      <a:accent1>
        <a:srgbClr val="00B0DC"/>
      </a:accent1>
      <a:accent2>
        <a:srgbClr val="80DAF3"/>
      </a:accent2>
      <a:accent3>
        <a:srgbClr val="E84E0F"/>
      </a:accent3>
      <a:accent4>
        <a:srgbClr val="E5D100"/>
      </a:accent4>
      <a:accent5>
        <a:srgbClr val="BBB3B0"/>
      </a:accent5>
      <a:accent6>
        <a:srgbClr val="7A6F69"/>
      </a:accent6>
      <a:hlink>
        <a:srgbClr val="7A6F69"/>
      </a:hlink>
      <a:folHlink>
        <a:srgbClr val="7A6F6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76400" indent="-176400">
          <a:lnSpc>
            <a:spcPct val="110000"/>
          </a:lnSpc>
          <a:spcBef>
            <a:spcPts val="800"/>
          </a:spcBef>
          <a:buClr>
            <a:schemeClr val="accent4"/>
          </a:buClr>
          <a:buSzPct val="80000"/>
          <a:buFont typeface="Wingdings 3" pitchFamily="18" charset="2"/>
          <a:buChar char=""/>
          <a:defRPr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_Statkraft mal norsk">
  <a:themeElements>
    <a:clrScheme name="Custom 7">
      <a:dk1>
        <a:srgbClr val="000000"/>
      </a:dk1>
      <a:lt1>
        <a:srgbClr val="FFFFFF"/>
      </a:lt1>
      <a:dk2>
        <a:srgbClr val="005088"/>
      </a:dk2>
      <a:lt2>
        <a:srgbClr val="BBB3B0"/>
      </a:lt2>
      <a:accent1>
        <a:srgbClr val="00B0DC"/>
      </a:accent1>
      <a:accent2>
        <a:srgbClr val="80DAF3"/>
      </a:accent2>
      <a:accent3>
        <a:srgbClr val="E84E0F"/>
      </a:accent3>
      <a:accent4>
        <a:srgbClr val="E5D100"/>
      </a:accent4>
      <a:accent5>
        <a:srgbClr val="BBB3B0"/>
      </a:accent5>
      <a:accent6>
        <a:srgbClr val="7A6F69"/>
      </a:accent6>
      <a:hlink>
        <a:srgbClr val="7A6F69"/>
      </a:hlink>
      <a:folHlink>
        <a:srgbClr val="7A6F6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76400" indent="-176400">
          <a:lnSpc>
            <a:spcPct val="110000"/>
          </a:lnSpc>
          <a:spcBef>
            <a:spcPts val="800"/>
          </a:spcBef>
          <a:buClr>
            <a:schemeClr val="accent4"/>
          </a:buClr>
          <a:buSzPct val="80000"/>
          <a:buFont typeface="Wingdings 3" pitchFamily="18" charset="2"/>
          <a:buChar char=""/>
          <a:defRPr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2_Office Theme">
  <a:themeElements>
    <a:clrScheme name="Custom 14">
      <a:dk1>
        <a:srgbClr val="000000"/>
      </a:dk1>
      <a:lt1>
        <a:srgbClr val="FFFFFF"/>
      </a:lt1>
      <a:dk2>
        <a:srgbClr val="00395D"/>
      </a:dk2>
      <a:lt2>
        <a:srgbClr val="CBC7BF"/>
      </a:lt2>
      <a:accent1>
        <a:srgbClr val="00A6D3"/>
      </a:accent1>
      <a:accent2>
        <a:srgbClr val="008A9B"/>
      </a:accent2>
      <a:accent3>
        <a:srgbClr val="ECDB61"/>
      </a:accent3>
      <a:accent4>
        <a:srgbClr val="D5B700"/>
      </a:accent4>
      <a:accent5>
        <a:srgbClr val="A78900"/>
      </a:accent5>
      <a:accent6>
        <a:srgbClr val="5F574F"/>
      </a:accent6>
      <a:hlink>
        <a:srgbClr val="B1DEEE"/>
      </a:hlink>
      <a:folHlink>
        <a:srgbClr val="776F6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Statkraft mal norsk">
  <a:themeElements>
    <a:clrScheme name="Custom 7">
      <a:dk1>
        <a:srgbClr val="000000"/>
      </a:dk1>
      <a:lt1>
        <a:srgbClr val="FFFFFF"/>
      </a:lt1>
      <a:dk2>
        <a:srgbClr val="005088"/>
      </a:dk2>
      <a:lt2>
        <a:srgbClr val="BBB3B0"/>
      </a:lt2>
      <a:accent1>
        <a:srgbClr val="00B0DC"/>
      </a:accent1>
      <a:accent2>
        <a:srgbClr val="80DAF3"/>
      </a:accent2>
      <a:accent3>
        <a:srgbClr val="E84E0F"/>
      </a:accent3>
      <a:accent4>
        <a:srgbClr val="E5D100"/>
      </a:accent4>
      <a:accent5>
        <a:srgbClr val="BBB3B0"/>
      </a:accent5>
      <a:accent6>
        <a:srgbClr val="7A6F69"/>
      </a:accent6>
      <a:hlink>
        <a:srgbClr val="7A6F69"/>
      </a:hlink>
      <a:folHlink>
        <a:srgbClr val="7A6F6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76400" indent="-176400">
          <a:lnSpc>
            <a:spcPct val="110000"/>
          </a:lnSpc>
          <a:spcBef>
            <a:spcPts val="800"/>
          </a:spcBef>
          <a:buClr>
            <a:schemeClr val="accent4"/>
          </a:buClr>
          <a:buSzPct val="80000"/>
          <a:buFont typeface="Wingdings 3" pitchFamily="18" charset="2"/>
          <a:buChar char=""/>
          <a:defRPr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1_Office Theme">
  <a:themeElements>
    <a:clrScheme name="Custom 14">
      <a:dk1>
        <a:srgbClr val="000000"/>
      </a:dk1>
      <a:lt1>
        <a:srgbClr val="FFFFFF"/>
      </a:lt1>
      <a:dk2>
        <a:srgbClr val="00395D"/>
      </a:dk2>
      <a:lt2>
        <a:srgbClr val="CBC7BF"/>
      </a:lt2>
      <a:accent1>
        <a:srgbClr val="00A6D3"/>
      </a:accent1>
      <a:accent2>
        <a:srgbClr val="008A9B"/>
      </a:accent2>
      <a:accent3>
        <a:srgbClr val="ECDB61"/>
      </a:accent3>
      <a:accent4>
        <a:srgbClr val="D5B700"/>
      </a:accent4>
      <a:accent5>
        <a:srgbClr val="A78900"/>
      </a:accent5>
      <a:accent6>
        <a:srgbClr val="5F574F"/>
      </a:accent6>
      <a:hlink>
        <a:srgbClr val="B1DEEE"/>
      </a:hlink>
      <a:folHlink>
        <a:srgbClr val="776F6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10_Statkraft template English">
  <a:themeElements>
    <a:clrScheme name="Custom 7">
      <a:dk1>
        <a:srgbClr val="000000"/>
      </a:dk1>
      <a:lt1>
        <a:srgbClr val="FFFFFF"/>
      </a:lt1>
      <a:dk2>
        <a:srgbClr val="005088"/>
      </a:dk2>
      <a:lt2>
        <a:srgbClr val="BBB3B0"/>
      </a:lt2>
      <a:accent1>
        <a:srgbClr val="00B0DC"/>
      </a:accent1>
      <a:accent2>
        <a:srgbClr val="80DAF3"/>
      </a:accent2>
      <a:accent3>
        <a:srgbClr val="E84E0F"/>
      </a:accent3>
      <a:accent4>
        <a:srgbClr val="E5D100"/>
      </a:accent4>
      <a:accent5>
        <a:srgbClr val="BBB3B0"/>
      </a:accent5>
      <a:accent6>
        <a:srgbClr val="7A6F69"/>
      </a:accent6>
      <a:hlink>
        <a:srgbClr val="7A6F69"/>
      </a:hlink>
      <a:folHlink>
        <a:srgbClr val="7A6F6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76400" indent="-176400">
          <a:lnSpc>
            <a:spcPct val="110000"/>
          </a:lnSpc>
          <a:spcBef>
            <a:spcPts val="800"/>
          </a:spcBef>
          <a:buClr>
            <a:schemeClr val="accent4"/>
          </a:buClr>
          <a:buSzPct val="80000"/>
          <a:buFont typeface="Wingdings 3" pitchFamily="18" charset="2"/>
          <a:buChar char=""/>
          <a:defRPr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18</Words>
  <Application>Microsoft Office PowerPoint</Application>
  <PresentationFormat>Skjermfremvisning (16:10)</PresentationFormat>
  <Paragraphs>216</Paragraphs>
  <Slides>15</Slides>
  <Notes>15</Notes>
  <HiddenSlides>0</HiddenSlides>
  <MMClips>0</MMClips>
  <ScaleCrop>false</ScaleCrop>
  <HeadingPairs>
    <vt:vector size="6" baseType="variant">
      <vt:variant>
        <vt:lpstr>Tema</vt:lpstr>
      </vt:variant>
      <vt:variant>
        <vt:i4>8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5</vt:i4>
      </vt:variant>
    </vt:vector>
  </HeadingPairs>
  <TitlesOfParts>
    <vt:vector size="24" baseType="lpstr">
      <vt:lpstr>Office Theme</vt:lpstr>
      <vt:lpstr>Statkraft_CF_OL1202</vt:lpstr>
      <vt:lpstr>Statkraft template English</vt:lpstr>
      <vt:lpstr>1_Statkraft mal norsk</vt:lpstr>
      <vt:lpstr>2_Office Theme</vt:lpstr>
      <vt:lpstr>Statkraft mal norsk</vt:lpstr>
      <vt:lpstr>1_Office Theme</vt:lpstr>
      <vt:lpstr>10_Statkraft template English</vt:lpstr>
      <vt:lpstr>think-cell Slide</vt:lpstr>
      <vt:lpstr>Markedsutsikter og Statkrafts strategi  24. April 2014   </vt:lpstr>
      <vt:lpstr>Statkrafts produksjon</vt:lpstr>
      <vt:lpstr>Europas største produsent av fornybar energi</vt:lpstr>
      <vt:lpstr>Statkrafts strategi</vt:lpstr>
      <vt:lpstr>EUs energiomlegging</vt:lpstr>
      <vt:lpstr>Prisutvikling i det Europeiske kraftmarkedet</vt:lpstr>
      <vt:lpstr>Kullpriser er lavere enn gasspriser i Europa</vt:lpstr>
      <vt:lpstr>Endringer i EUs kraftproduksjon i 2013</vt:lpstr>
      <vt:lpstr> </vt:lpstr>
      <vt:lpstr>RES experiences from Denmark (Jutland)</vt:lpstr>
      <vt:lpstr>PowerPoint-presentasjon</vt:lpstr>
      <vt:lpstr>UNIK KRAFTPRODUKSJON I EUROPEISK SAMMENHENG</vt:lpstr>
      <vt:lpstr>Store muligheter innen markedsoperasjoner</vt:lpstr>
      <vt:lpstr>Statkrafts ambisjon</vt:lpstr>
      <vt:lpstr>PowerPoint-presentasjon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Statkraft_CRT_pres</dc:subject>
  <dc:creator>Christopher Øyen</dc:creator>
  <cp:lastModifiedBy>Egeland Håkon</cp:lastModifiedBy>
  <cp:revision>1353</cp:revision>
  <cp:lastPrinted>2014-04-23T17:01:03Z</cp:lastPrinted>
  <dcterms:created xsi:type="dcterms:W3CDTF">2012-01-10T09:30:23Z</dcterms:created>
  <dcterms:modified xsi:type="dcterms:W3CDTF">2014-04-24T08:43:32Z</dcterms:modified>
</cp:coreProperties>
</file>